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jpg" ContentType="image/jpeg"/>
  <Default Extension="rels" ContentType="application/vnd.openxmlformats-package.relationships+xml"/>
  <Default Extension="vml" ContentType="application/vnd.openxmlformats-officedocument.vmlDrawing"/>
  <Default Extension="wdp" ContentType="image/vnd.ms-photo"/>
  <Default Extension="png" ContentType="image/png"/>
  <Default Extension="bin" ContentType="application/vnd.openxmlformats-officedocument.oleObjec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Lst>
  <p:notesMasterIdLst>
    <p:notesMasterId r:id="rId51"/>
  </p:notesMasterIdLst>
  <p:handoutMasterIdLst>
    <p:handoutMasterId r:id="rId52"/>
  </p:handoutMasterIdLst>
  <p:sldIdLst>
    <p:sldId id="475" r:id="rId2"/>
    <p:sldId id="503" r:id="rId3"/>
    <p:sldId id="680" r:id="rId4"/>
    <p:sldId id="705" r:id="rId5"/>
    <p:sldId id="644" r:id="rId6"/>
    <p:sldId id="645" r:id="rId7"/>
    <p:sldId id="653" r:id="rId8"/>
    <p:sldId id="655" r:id="rId9"/>
    <p:sldId id="660" r:id="rId10"/>
    <p:sldId id="661" r:id="rId11"/>
    <p:sldId id="662" r:id="rId12"/>
    <p:sldId id="663" r:id="rId13"/>
    <p:sldId id="733" r:id="rId14"/>
    <p:sldId id="734" r:id="rId15"/>
    <p:sldId id="706" r:id="rId16"/>
    <p:sldId id="707" r:id="rId17"/>
    <p:sldId id="708" r:id="rId18"/>
    <p:sldId id="709" r:id="rId19"/>
    <p:sldId id="710" r:id="rId20"/>
    <p:sldId id="711" r:id="rId21"/>
    <p:sldId id="712" r:id="rId22"/>
    <p:sldId id="713" r:id="rId23"/>
    <p:sldId id="714" r:id="rId24"/>
    <p:sldId id="657" r:id="rId25"/>
    <p:sldId id="687" r:id="rId26"/>
    <p:sldId id="682" r:id="rId27"/>
    <p:sldId id="683" r:id="rId28"/>
    <p:sldId id="684" r:id="rId29"/>
    <p:sldId id="685" r:id="rId30"/>
    <p:sldId id="686" r:id="rId31"/>
    <p:sldId id="695" r:id="rId32"/>
    <p:sldId id="674" r:id="rId33"/>
    <p:sldId id="722" r:id="rId34"/>
    <p:sldId id="723" r:id="rId35"/>
    <p:sldId id="724" r:id="rId36"/>
    <p:sldId id="725" r:id="rId37"/>
    <p:sldId id="726" r:id="rId38"/>
    <p:sldId id="727" r:id="rId39"/>
    <p:sldId id="728" r:id="rId40"/>
    <p:sldId id="729" r:id="rId41"/>
    <p:sldId id="730" r:id="rId42"/>
    <p:sldId id="715" r:id="rId43"/>
    <p:sldId id="716" r:id="rId44"/>
    <p:sldId id="717" r:id="rId45"/>
    <p:sldId id="718" r:id="rId46"/>
    <p:sldId id="719" r:id="rId47"/>
    <p:sldId id="720" r:id="rId48"/>
    <p:sldId id="721" r:id="rId49"/>
    <p:sldId id="551" r:id="rId50"/>
  </p:sldIdLst>
  <p:sldSz cx="9144000" cy="5143500" type="screen16x9"/>
  <p:notesSz cx="6858000" cy="9144000"/>
  <p:defaultTextStyle>
    <a:defPPr>
      <a:defRPr lang="en-US"/>
    </a:defPPr>
    <a:lvl1pPr algn="l" defTabSz="457189"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189" algn="l" defTabSz="457189"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378" algn="l" defTabSz="457189"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566" algn="l" defTabSz="457189"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754" algn="l" defTabSz="457189"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5943" algn="l" defTabSz="457189" rtl="0" eaLnBrk="1" latinLnBrk="0" hangingPunct="1">
      <a:defRPr kern="1200">
        <a:solidFill>
          <a:schemeClr val="tx1"/>
        </a:solidFill>
        <a:latin typeface="Arial" charset="0"/>
        <a:ea typeface="ＭＳ Ｐゴシック" charset="0"/>
        <a:cs typeface="ＭＳ Ｐゴシック" charset="0"/>
      </a:defRPr>
    </a:lvl6pPr>
    <a:lvl7pPr marL="2743132" algn="l" defTabSz="457189" rtl="0" eaLnBrk="1" latinLnBrk="0" hangingPunct="1">
      <a:defRPr kern="1200">
        <a:solidFill>
          <a:schemeClr val="tx1"/>
        </a:solidFill>
        <a:latin typeface="Arial" charset="0"/>
        <a:ea typeface="ＭＳ Ｐゴシック" charset="0"/>
        <a:cs typeface="ＭＳ Ｐゴシック" charset="0"/>
      </a:defRPr>
    </a:lvl7pPr>
    <a:lvl8pPr marL="3200320" algn="l" defTabSz="457189" rtl="0" eaLnBrk="1" latinLnBrk="0" hangingPunct="1">
      <a:defRPr kern="1200">
        <a:solidFill>
          <a:schemeClr val="tx1"/>
        </a:solidFill>
        <a:latin typeface="Arial" charset="0"/>
        <a:ea typeface="ＭＳ Ｐゴシック" charset="0"/>
        <a:cs typeface="ＭＳ Ｐゴシック" charset="0"/>
      </a:defRPr>
    </a:lvl8pPr>
    <a:lvl9pPr marL="3657509" algn="l" defTabSz="457189"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307">
          <p15:clr>
            <a:srgbClr val="A4A3A4"/>
          </p15:clr>
        </p15:guide>
        <p15:guide id="2" orient="horz" pos="3053">
          <p15:clr>
            <a:srgbClr val="A4A3A4"/>
          </p15:clr>
        </p15:guide>
        <p15:guide id="3" pos="2741">
          <p15:clr>
            <a:srgbClr val="A4A3A4"/>
          </p15:clr>
        </p15:guide>
        <p15:guide id="4" pos="2453">
          <p15:clr>
            <a:srgbClr val="A4A3A4"/>
          </p15:clr>
        </p15:guide>
        <p15:guide id="5" pos="5558">
          <p15:clr>
            <a:srgbClr val="A4A3A4"/>
          </p15:clr>
        </p15:guide>
        <p15:guide id="6" pos="399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 id="1"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55A7"/>
    <a:srgbClr val="AB0810"/>
    <a:srgbClr val="FDBE24"/>
    <a:srgbClr val="FA661C"/>
    <a:srgbClr val="90BDDB"/>
    <a:srgbClr val="335FFA"/>
    <a:srgbClr val="349A97"/>
    <a:srgbClr val="2C92B6"/>
    <a:srgbClr val="489542"/>
    <a:srgbClr val="54545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6123" autoAdjust="0"/>
    <p:restoredTop sz="95833"/>
  </p:normalViewPr>
  <p:slideViewPr>
    <p:cSldViewPr snapToGrid="0" snapToObjects="1" showGuides="1">
      <p:cViewPr>
        <p:scale>
          <a:sx n="133" d="100"/>
          <a:sy n="133" d="100"/>
        </p:scale>
        <p:origin x="736" y="456"/>
      </p:cViewPr>
      <p:guideLst>
        <p:guide orient="horz" pos="307"/>
        <p:guide orient="horz" pos="3053"/>
        <p:guide pos="2741"/>
        <p:guide pos="2453"/>
        <p:guide pos="5558"/>
        <p:guide pos="3998"/>
      </p:guideLst>
    </p:cSldViewPr>
  </p:slideViewPr>
  <p:notesTextViewPr>
    <p:cViewPr>
      <p:scale>
        <a:sx n="100" d="100"/>
        <a:sy n="100" d="100"/>
      </p:scale>
      <p:origin x="0" y="0"/>
    </p:cViewPr>
  </p:notesTextViewPr>
  <p:sorterViewPr>
    <p:cViewPr>
      <p:scale>
        <a:sx n="200" d="100"/>
        <a:sy n="200" d="100"/>
      </p:scale>
      <p:origin x="0" y="227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slide" Target="slides/slide49.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oleObject" Target="Workbook3" TargetMode="External"/></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oleObject" Target="Workbook3" TargetMode="External"/></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oleObject" Target="Workbook3" TargetMode="External"/></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oleObject" Target="Workbook3"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explosion val="10"/>
            <c:spPr>
              <a:solidFill>
                <a:srgbClr val="2090BF"/>
              </a:solidFill>
              <a:ln w="19050">
                <a:solidFill>
                  <a:schemeClr val="lt1"/>
                </a:solidFill>
              </a:ln>
              <a:effectLst/>
            </c:spPr>
            <c:extLst xmlns:c16r2="http://schemas.microsoft.com/office/drawing/2015/06/chart">
              <c:ext xmlns:c16="http://schemas.microsoft.com/office/drawing/2014/chart" uri="{C3380CC4-5D6E-409C-BE32-E72D297353CC}">
                <c16:uniqueId val="{00000001-B9E1-4BB0-B8BF-8FAC9EC19A03}"/>
              </c:ext>
            </c:extLst>
          </c:dPt>
          <c:dPt>
            <c:idx val="1"/>
            <c:bubble3D val="0"/>
            <c:spPr>
              <a:solidFill>
                <a:srgbClr val="76AACD"/>
              </a:solidFill>
              <a:ln w="19050">
                <a:solidFill>
                  <a:schemeClr val="lt1"/>
                </a:solidFill>
              </a:ln>
              <a:effectLst/>
            </c:spPr>
            <c:extLst xmlns:c16r2="http://schemas.microsoft.com/office/drawing/2015/06/chart">
              <c:ext xmlns:c16="http://schemas.microsoft.com/office/drawing/2014/chart" uri="{C3380CC4-5D6E-409C-BE32-E72D297353CC}">
                <c16:uniqueId val="{00000003-B9E1-4BB0-B8BF-8FAC9EC19A03}"/>
              </c:ext>
            </c:extLst>
          </c:dPt>
          <c:dPt>
            <c:idx val="2"/>
            <c:bubble3D val="0"/>
            <c:spPr>
              <a:solidFill>
                <a:srgbClr val="56B84C"/>
              </a:solidFill>
              <a:ln w="19050">
                <a:solidFill>
                  <a:schemeClr val="lt1"/>
                </a:solidFill>
              </a:ln>
              <a:effectLst/>
            </c:spPr>
            <c:extLst xmlns:c16r2="http://schemas.microsoft.com/office/drawing/2015/06/chart">
              <c:ext xmlns:c16="http://schemas.microsoft.com/office/drawing/2014/chart" uri="{C3380CC4-5D6E-409C-BE32-E72D297353CC}">
                <c16:uniqueId val="{00000005-B9E1-4BB0-B8BF-8FAC9EC19A03}"/>
              </c:ext>
            </c:extLst>
          </c:dPt>
          <c:val>
            <c:numRef>
              <c:f>Sheet1!$A$1:$A$3</c:f>
              <c:numCache>
                <c:formatCode>General</c:formatCode>
                <c:ptCount val="3"/>
                <c:pt idx="0">
                  <c:v>20.0</c:v>
                </c:pt>
                <c:pt idx="1">
                  <c:v>20.0</c:v>
                </c:pt>
                <c:pt idx="2">
                  <c:v>20.0</c:v>
                </c:pt>
              </c:numCache>
            </c:numRef>
          </c:val>
          <c:extLst xmlns:c16r2="http://schemas.microsoft.com/office/drawing/2015/06/chart">
            <c:ext xmlns:c16="http://schemas.microsoft.com/office/drawing/2014/chart" uri="{C3380CC4-5D6E-409C-BE32-E72D297353CC}">
              <c16:uniqueId val="{00000006-B9E1-4BB0-B8BF-8FAC9EC19A0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explosion val="10"/>
            <c:spPr>
              <a:solidFill>
                <a:srgbClr val="2090BF"/>
              </a:solidFill>
              <a:ln w="19050">
                <a:solidFill>
                  <a:schemeClr val="lt1"/>
                </a:solidFill>
              </a:ln>
              <a:effectLst/>
            </c:spPr>
            <c:extLst xmlns:c16r2="http://schemas.microsoft.com/office/drawing/2015/06/chart">
              <c:ext xmlns:c16="http://schemas.microsoft.com/office/drawing/2014/chart" uri="{C3380CC4-5D6E-409C-BE32-E72D297353CC}">
                <c16:uniqueId val="{00000001-4001-4F2A-9FAD-E6B54302BEC6}"/>
              </c:ext>
            </c:extLst>
          </c:dPt>
          <c:dPt>
            <c:idx val="1"/>
            <c:bubble3D val="0"/>
            <c:spPr>
              <a:solidFill>
                <a:srgbClr val="76AACD"/>
              </a:solidFill>
              <a:ln w="19050">
                <a:solidFill>
                  <a:schemeClr val="lt1"/>
                </a:solidFill>
              </a:ln>
              <a:effectLst/>
            </c:spPr>
            <c:extLst xmlns:c16r2="http://schemas.microsoft.com/office/drawing/2015/06/chart">
              <c:ext xmlns:c16="http://schemas.microsoft.com/office/drawing/2014/chart" uri="{C3380CC4-5D6E-409C-BE32-E72D297353CC}">
                <c16:uniqueId val="{00000003-4001-4F2A-9FAD-E6B54302BEC6}"/>
              </c:ext>
            </c:extLst>
          </c:dPt>
          <c:dPt>
            <c:idx val="2"/>
            <c:bubble3D val="0"/>
            <c:spPr>
              <a:solidFill>
                <a:srgbClr val="56B84C"/>
              </a:solidFill>
              <a:ln w="19050">
                <a:solidFill>
                  <a:schemeClr val="lt1"/>
                </a:solidFill>
              </a:ln>
              <a:effectLst/>
            </c:spPr>
            <c:extLst xmlns:c16r2="http://schemas.microsoft.com/office/drawing/2015/06/chart">
              <c:ext xmlns:c16="http://schemas.microsoft.com/office/drawing/2014/chart" uri="{C3380CC4-5D6E-409C-BE32-E72D297353CC}">
                <c16:uniqueId val="{00000005-4001-4F2A-9FAD-E6B54302BEC6}"/>
              </c:ext>
            </c:extLst>
          </c:dPt>
          <c:val>
            <c:numRef>
              <c:f>Sheet1!$A$1:$A$3</c:f>
              <c:numCache>
                <c:formatCode>General</c:formatCode>
                <c:ptCount val="3"/>
                <c:pt idx="0">
                  <c:v>20.0</c:v>
                </c:pt>
                <c:pt idx="1">
                  <c:v>20.0</c:v>
                </c:pt>
                <c:pt idx="2">
                  <c:v>20.0</c:v>
                </c:pt>
              </c:numCache>
            </c:numRef>
          </c:val>
          <c:extLst xmlns:c16r2="http://schemas.microsoft.com/office/drawing/2015/06/chart">
            <c:ext xmlns:c16="http://schemas.microsoft.com/office/drawing/2014/chart" uri="{C3380CC4-5D6E-409C-BE32-E72D297353CC}">
              <c16:uniqueId val="{00000006-4001-4F2A-9FAD-E6B54302BEC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rgbClr val="2090BF"/>
              </a:solidFill>
              <a:ln w="19050">
                <a:solidFill>
                  <a:schemeClr val="lt1"/>
                </a:solidFill>
              </a:ln>
              <a:effectLst/>
            </c:spPr>
            <c:extLst xmlns:c16r2="http://schemas.microsoft.com/office/drawing/2015/06/chart">
              <c:ext xmlns:c16="http://schemas.microsoft.com/office/drawing/2014/chart" uri="{C3380CC4-5D6E-409C-BE32-E72D297353CC}">
                <c16:uniqueId val="{00000001-95D0-4C39-AD90-82566DBD07CF}"/>
              </c:ext>
            </c:extLst>
          </c:dPt>
          <c:dPt>
            <c:idx val="1"/>
            <c:bubble3D val="0"/>
            <c:explosion val="11"/>
            <c:spPr>
              <a:solidFill>
                <a:srgbClr val="76AACD"/>
              </a:solidFill>
              <a:ln w="19050">
                <a:solidFill>
                  <a:schemeClr val="lt1"/>
                </a:solidFill>
              </a:ln>
              <a:effectLst/>
            </c:spPr>
            <c:extLst xmlns:c16r2="http://schemas.microsoft.com/office/drawing/2015/06/chart">
              <c:ext xmlns:c16="http://schemas.microsoft.com/office/drawing/2014/chart" uri="{C3380CC4-5D6E-409C-BE32-E72D297353CC}">
                <c16:uniqueId val="{00000003-95D0-4C39-AD90-82566DBD07CF}"/>
              </c:ext>
            </c:extLst>
          </c:dPt>
          <c:dPt>
            <c:idx val="2"/>
            <c:bubble3D val="0"/>
            <c:spPr>
              <a:solidFill>
                <a:srgbClr val="56B84C"/>
              </a:solidFill>
              <a:ln w="19050">
                <a:solidFill>
                  <a:schemeClr val="lt1"/>
                </a:solidFill>
              </a:ln>
              <a:effectLst/>
            </c:spPr>
            <c:extLst xmlns:c16r2="http://schemas.microsoft.com/office/drawing/2015/06/chart">
              <c:ext xmlns:c16="http://schemas.microsoft.com/office/drawing/2014/chart" uri="{C3380CC4-5D6E-409C-BE32-E72D297353CC}">
                <c16:uniqueId val="{00000005-95D0-4C39-AD90-82566DBD07CF}"/>
              </c:ext>
            </c:extLst>
          </c:dPt>
          <c:val>
            <c:numRef>
              <c:f>Sheet1!$A$1:$A$3</c:f>
              <c:numCache>
                <c:formatCode>General</c:formatCode>
                <c:ptCount val="3"/>
                <c:pt idx="0">
                  <c:v>20.0</c:v>
                </c:pt>
                <c:pt idx="1">
                  <c:v>20.0</c:v>
                </c:pt>
                <c:pt idx="2">
                  <c:v>20.0</c:v>
                </c:pt>
              </c:numCache>
            </c:numRef>
          </c:val>
          <c:extLst xmlns:c16r2="http://schemas.microsoft.com/office/drawing/2015/06/chart">
            <c:ext xmlns:c16="http://schemas.microsoft.com/office/drawing/2014/chart" uri="{C3380CC4-5D6E-409C-BE32-E72D297353CC}">
              <c16:uniqueId val="{00000006-95D0-4C39-AD90-82566DBD07C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rgbClr val="2090BF"/>
              </a:solidFill>
              <a:ln w="19050">
                <a:solidFill>
                  <a:schemeClr val="lt1"/>
                </a:solidFill>
              </a:ln>
              <a:effectLst/>
            </c:spPr>
            <c:extLst xmlns:c16r2="http://schemas.microsoft.com/office/drawing/2015/06/chart">
              <c:ext xmlns:c16="http://schemas.microsoft.com/office/drawing/2014/chart" uri="{C3380CC4-5D6E-409C-BE32-E72D297353CC}">
                <c16:uniqueId val="{00000001-D494-4C7D-BC09-44FD08106145}"/>
              </c:ext>
            </c:extLst>
          </c:dPt>
          <c:dPt>
            <c:idx val="1"/>
            <c:bubble3D val="0"/>
            <c:spPr>
              <a:solidFill>
                <a:srgbClr val="76AACD"/>
              </a:solidFill>
              <a:ln w="19050">
                <a:solidFill>
                  <a:schemeClr val="lt1"/>
                </a:solidFill>
              </a:ln>
              <a:effectLst/>
            </c:spPr>
            <c:extLst xmlns:c16r2="http://schemas.microsoft.com/office/drawing/2015/06/chart">
              <c:ext xmlns:c16="http://schemas.microsoft.com/office/drawing/2014/chart" uri="{C3380CC4-5D6E-409C-BE32-E72D297353CC}">
                <c16:uniqueId val="{00000003-D494-4C7D-BC09-44FD08106145}"/>
              </c:ext>
            </c:extLst>
          </c:dPt>
          <c:dPt>
            <c:idx val="2"/>
            <c:bubble3D val="0"/>
            <c:explosion val="10"/>
            <c:spPr>
              <a:solidFill>
                <a:srgbClr val="56B84C"/>
              </a:solidFill>
              <a:ln w="19050">
                <a:solidFill>
                  <a:schemeClr val="lt1"/>
                </a:solidFill>
              </a:ln>
              <a:effectLst/>
            </c:spPr>
            <c:extLst xmlns:c16r2="http://schemas.microsoft.com/office/drawing/2015/06/chart">
              <c:ext xmlns:c16="http://schemas.microsoft.com/office/drawing/2014/chart" uri="{C3380CC4-5D6E-409C-BE32-E72D297353CC}">
                <c16:uniqueId val="{00000005-D494-4C7D-BC09-44FD08106145}"/>
              </c:ext>
            </c:extLst>
          </c:dPt>
          <c:val>
            <c:numRef>
              <c:f>Sheet1!$A$1:$A$3</c:f>
              <c:numCache>
                <c:formatCode>General</c:formatCode>
                <c:ptCount val="3"/>
                <c:pt idx="0">
                  <c:v>20.0</c:v>
                </c:pt>
                <c:pt idx="1">
                  <c:v>20.0</c:v>
                </c:pt>
                <c:pt idx="2">
                  <c:v>20.0</c:v>
                </c:pt>
              </c:numCache>
            </c:numRef>
          </c:val>
          <c:extLst xmlns:c16r2="http://schemas.microsoft.com/office/drawing/2015/06/chart">
            <c:ext xmlns:c16="http://schemas.microsoft.com/office/drawing/2014/chart" uri="{C3380CC4-5D6E-409C-BE32-E72D297353CC}">
              <c16:uniqueId val="{00000006-D494-4C7D-BC09-44FD0810614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3/21/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3/21/17</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189"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189" algn="l" defTabSz="457189"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378" algn="l" defTabSz="457189"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566" algn="l" defTabSz="457189"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754" algn="l" defTabSz="457189"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5943" algn="l" defTabSz="457189" rtl="0" eaLnBrk="1" latinLnBrk="0" hangingPunct="1">
      <a:defRPr sz="1200" kern="1200">
        <a:solidFill>
          <a:schemeClr val="tx1"/>
        </a:solidFill>
        <a:latin typeface="+mn-lt"/>
        <a:ea typeface="+mn-ea"/>
        <a:cs typeface="+mn-cs"/>
      </a:defRPr>
    </a:lvl6pPr>
    <a:lvl7pPr marL="2743132" algn="l" defTabSz="457189" rtl="0" eaLnBrk="1" latinLnBrk="0" hangingPunct="1">
      <a:defRPr sz="1200" kern="1200">
        <a:solidFill>
          <a:schemeClr val="tx1"/>
        </a:solidFill>
        <a:latin typeface="+mn-lt"/>
        <a:ea typeface="+mn-ea"/>
        <a:cs typeface="+mn-cs"/>
      </a:defRPr>
    </a:lvl7pPr>
    <a:lvl8pPr marL="3200320" algn="l" defTabSz="457189" rtl="0" eaLnBrk="1" latinLnBrk="0" hangingPunct="1">
      <a:defRPr sz="1200" kern="1200">
        <a:solidFill>
          <a:schemeClr val="tx1"/>
        </a:solidFill>
        <a:latin typeface="+mn-lt"/>
        <a:ea typeface="+mn-ea"/>
        <a:cs typeface="+mn-cs"/>
      </a:defRPr>
    </a:lvl8pPr>
    <a:lvl9pPr marL="3657509" algn="l" defTabSz="45718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gitization or</a:t>
            </a:r>
            <a:r>
              <a:rPr lang="en-US" baseline="0" dirty="0" smtClean="0"/>
              <a:t> the digital business transformation is leading the path for several market dynamics: cloud, IoT, and 5G</a:t>
            </a:r>
          </a:p>
          <a:p>
            <a:pPr marL="171450" indent="-171450">
              <a:buFont typeface="Arial" panose="020B0604020202020204" pitchFamily="34" charset="0"/>
              <a:buChar char="•"/>
            </a:pPr>
            <a:r>
              <a:rPr lang="en-US" baseline="0" dirty="0" smtClean="0"/>
              <a:t>First more applications and workloads will move to the cloud due to the scale and economic benefits. This will result in a 4 times increase in global cloud traffic through 2020, Cisco GCI</a:t>
            </a:r>
          </a:p>
          <a:p>
            <a:pPr marL="171450" indent="-171450">
              <a:buFont typeface="Arial" panose="020B0604020202020204" pitchFamily="34" charset="0"/>
              <a:buChar char="•"/>
            </a:pPr>
            <a:r>
              <a:rPr lang="en-US" baseline="0" dirty="0" smtClean="0"/>
              <a:t>There will be more IoT. As data, people, processes, and devices become increasingly connected, through 2020 nearly half of total connected devices will be machine-2-machine (M2M). Cisco VNI</a:t>
            </a:r>
          </a:p>
          <a:p>
            <a:pPr marL="171450" indent="-171450">
              <a:buFont typeface="Arial" panose="020B0604020202020204" pitchFamily="34" charset="0"/>
              <a:buChar char="•"/>
            </a:pPr>
            <a:r>
              <a:rPr lang="en-US" baseline="0" dirty="0" smtClean="0"/>
              <a:t>Video is already the majority of fixed and mobile traffic. This will continue to drive global mobile traffic to the tune of 8 times over the next four years. And as the transition to 5G occurs, video will be one of the primary beneficiaries with faster speed and improved quality. Cisco Mobile VNI</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The blending of these dynamics leads to a $2 trillion economic opportunity for service providers over the next decade through new services and operational savings (Cisco Consulting Services). But there are more transitions at bay…</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a:t>
            </a:fld>
            <a:endParaRPr lang="en-US" dirty="0"/>
          </a:p>
        </p:txBody>
      </p:sp>
    </p:spTree>
    <p:extLst>
      <p:ext uri="{BB962C8B-B14F-4D97-AF65-F5344CB8AC3E}">
        <p14:creationId xmlns:p14="http://schemas.microsoft.com/office/powerpoint/2010/main" val="10947251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ccess Agnostic, mobile core</a:t>
            </a:r>
            <a:r>
              <a:rPr lang="en-US" baseline="0" dirty="0" smtClean="0"/>
              <a:t> t</a:t>
            </a:r>
            <a:r>
              <a:rPr lang="en-US" dirty="0" smtClean="0"/>
              <a:t>o enable IOT for verticals.</a:t>
            </a:r>
          </a:p>
          <a:p>
            <a:endParaRPr lang="en-US" dirty="0"/>
          </a:p>
        </p:txBody>
      </p:sp>
      <p:sp>
        <p:nvSpPr>
          <p:cNvPr id="4" name="Slide Number Placeholder 3"/>
          <p:cNvSpPr>
            <a:spLocks noGrp="1"/>
          </p:cNvSpPr>
          <p:nvPr>
            <p:ph type="sldNum" sz="quarter" idx="10"/>
          </p:nvPr>
        </p:nvSpPr>
        <p:spPr/>
        <p:txBody>
          <a:bodyPr/>
          <a:lstStyle/>
          <a:p>
            <a:fld id="{7DB3BCFD-7A4E-4D8C-8868-AB46654BA6C1}" type="slidenum">
              <a:rPr lang="en-US" smtClean="0"/>
              <a:pPr/>
              <a:t>26</a:t>
            </a:fld>
            <a:endParaRPr lang="en-US" dirty="0"/>
          </a:p>
        </p:txBody>
      </p:sp>
    </p:spTree>
    <p:extLst>
      <p:ext uri="{BB962C8B-B14F-4D97-AF65-F5344CB8AC3E}">
        <p14:creationId xmlns:p14="http://schemas.microsoft.com/office/powerpoint/2010/main" val="4675009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ccess Agnostic, mobile core</a:t>
            </a:r>
            <a:r>
              <a:rPr lang="en-US" baseline="0" dirty="0" smtClean="0"/>
              <a:t> t</a:t>
            </a:r>
            <a:r>
              <a:rPr lang="en-US" dirty="0" smtClean="0"/>
              <a:t>o enable IOT for verticals.</a:t>
            </a:r>
          </a:p>
          <a:p>
            <a:endParaRPr lang="en-US" dirty="0"/>
          </a:p>
        </p:txBody>
      </p:sp>
      <p:sp>
        <p:nvSpPr>
          <p:cNvPr id="4" name="Slide Number Placeholder 3"/>
          <p:cNvSpPr>
            <a:spLocks noGrp="1"/>
          </p:cNvSpPr>
          <p:nvPr>
            <p:ph type="sldNum" sz="quarter" idx="10"/>
          </p:nvPr>
        </p:nvSpPr>
        <p:spPr/>
        <p:txBody>
          <a:bodyPr/>
          <a:lstStyle/>
          <a:p>
            <a:fld id="{7DB3BCFD-7A4E-4D8C-8868-AB46654BA6C1}" type="slidenum">
              <a:rPr lang="en-US" smtClean="0"/>
              <a:pPr/>
              <a:t>27</a:t>
            </a:fld>
            <a:endParaRPr lang="en-US" dirty="0"/>
          </a:p>
        </p:txBody>
      </p:sp>
    </p:spTree>
    <p:extLst>
      <p:ext uri="{BB962C8B-B14F-4D97-AF65-F5344CB8AC3E}">
        <p14:creationId xmlns:p14="http://schemas.microsoft.com/office/powerpoint/2010/main" val="17696664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pPr marL="0" indent="0">
              <a:buNone/>
            </a:pPr>
            <a:endParaRPr lang="en-US" dirty="0" smtClean="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28</a:t>
            </a:fld>
            <a:endParaRPr lang="en-US"/>
          </a:p>
        </p:txBody>
      </p:sp>
    </p:spTree>
    <p:extLst>
      <p:ext uri="{BB962C8B-B14F-4D97-AF65-F5344CB8AC3E}">
        <p14:creationId xmlns:p14="http://schemas.microsoft.com/office/powerpoint/2010/main" val="19896009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038" indent="-173038">
              <a:lnSpc>
                <a:spcPct val="85000"/>
              </a:lnSpc>
              <a:spcBef>
                <a:spcPts val="600"/>
              </a:spcBef>
              <a:buFont typeface="Wingdings" panose="05000000000000000000" pitchFamily="2" charset="2"/>
              <a:buChar char="§"/>
            </a:pPr>
            <a:endParaRPr lang="en-US" sz="1000" dirty="0" smtClean="0">
              <a:solidFill>
                <a:srgbClr val="FFFFFF"/>
              </a:solidFill>
            </a:endParaRPr>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29</a:t>
            </a:fld>
            <a:endParaRPr lang="en-US"/>
          </a:p>
        </p:txBody>
      </p:sp>
    </p:spTree>
    <p:extLst>
      <p:ext uri="{BB962C8B-B14F-4D97-AF65-F5344CB8AC3E}">
        <p14:creationId xmlns:p14="http://schemas.microsoft.com/office/powerpoint/2010/main" val="9873088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B3BCFD-7A4E-4D8C-8868-AB46654BA6C1}" type="slidenum">
              <a:rPr lang="en-US" smtClean="0"/>
              <a:pPr/>
              <a:t>30</a:t>
            </a:fld>
            <a:endParaRPr lang="en-US" dirty="0"/>
          </a:p>
        </p:txBody>
      </p:sp>
    </p:spTree>
    <p:extLst>
      <p:ext uri="{BB962C8B-B14F-4D97-AF65-F5344CB8AC3E}">
        <p14:creationId xmlns:p14="http://schemas.microsoft.com/office/powerpoint/2010/main" val="16159374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can see</a:t>
            </a:r>
            <a:r>
              <a:rPr lang="en-US" baseline="0" dirty="0" smtClean="0"/>
              <a:t> that your business customers are embracing digital transformation now.</a:t>
            </a:r>
          </a:p>
          <a:p>
            <a:r>
              <a:rPr lang="en-US" baseline="0" dirty="0" smtClean="0"/>
              <a:t>All businesses in all industries will be effected.</a:t>
            </a:r>
          </a:p>
          <a:p>
            <a:endParaRPr lang="en-US" baseline="0" dirty="0" smtClean="0"/>
          </a:p>
          <a:p>
            <a:r>
              <a:rPr lang="en-US" dirty="0" smtClean="0"/>
              <a:t>We further believe that the extent of the transformation</a:t>
            </a:r>
            <a:r>
              <a:rPr lang="en-US" baseline="0" dirty="0" smtClean="0"/>
              <a:t> means that this is a large and ready opportunity for service providers.</a:t>
            </a:r>
            <a:endParaRPr lang="en-US" dirty="0"/>
          </a:p>
        </p:txBody>
      </p:sp>
      <p:sp>
        <p:nvSpPr>
          <p:cNvPr id="4" name="Slide Number Placeholder 3"/>
          <p:cNvSpPr>
            <a:spLocks noGrp="1"/>
          </p:cNvSpPr>
          <p:nvPr>
            <p:ph type="sldNum" sz="quarter" idx="10"/>
          </p:nvPr>
        </p:nvSpPr>
        <p:spPr/>
        <p:txBody>
          <a:bodyPr/>
          <a:lstStyle/>
          <a:p>
            <a:fld id="{7DB3BCFD-7A4E-4D8C-8868-AB46654BA6C1}" type="slidenum">
              <a:rPr lang="en-US" smtClean="0"/>
              <a:pPr/>
              <a:t>34</a:t>
            </a:fld>
            <a:endParaRPr lang="en-US" dirty="0"/>
          </a:p>
        </p:txBody>
      </p:sp>
    </p:spTree>
    <p:extLst>
      <p:ext uri="{BB962C8B-B14F-4D97-AF65-F5344CB8AC3E}">
        <p14:creationId xmlns:p14="http://schemas.microsoft.com/office/powerpoint/2010/main" val="8329170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gital</a:t>
            </a:r>
            <a:r>
              <a:rPr lang="en-US" baseline="0" dirty="0" smtClean="0"/>
              <a:t> transformation has a large impact on businesses world-wide</a:t>
            </a:r>
          </a:p>
          <a:p>
            <a:endParaRPr lang="en-US" baseline="0" dirty="0" smtClean="0"/>
          </a:p>
          <a:p>
            <a:r>
              <a:rPr lang="en-US" baseline="0" dirty="0" smtClean="0"/>
              <a:t>40% of incumbents are at risk of being displaced if they don’t develop a strategy and start executing immediately.</a:t>
            </a:r>
          </a:p>
          <a:p>
            <a:endParaRPr lang="en-US" baseline="0" dirty="0" smtClean="0"/>
          </a:p>
          <a:p>
            <a:r>
              <a:rPr lang="en-US" baseline="0" dirty="0" smtClean="0"/>
              <a:t>We have estimated that through 2022, the economic value of this disruption is $14 Trillion.</a:t>
            </a:r>
          </a:p>
          <a:p>
            <a:endParaRPr lang="en-US" baseline="0" dirty="0" smtClean="0"/>
          </a:p>
          <a:p>
            <a:r>
              <a:rPr lang="en-US" baseline="0" dirty="0" smtClean="0"/>
              <a:t>But let’s narrow the scope to just network-based business IT services that you can participate in.</a:t>
            </a:r>
          </a:p>
          <a:p>
            <a:endParaRPr lang="en-US" dirty="0"/>
          </a:p>
        </p:txBody>
      </p:sp>
      <p:sp>
        <p:nvSpPr>
          <p:cNvPr id="4" name="Slide Number Placeholder 3"/>
          <p:cNvSpPr>
            <a:spLocks noGrp="1"/>
          </p:cNvSpPr>
          <p:nvPr>
            <p:ph type="sldNum" sz="quarter" idx="10"/>
          </p:nvPr>
        </p:nvSpPr>
        <p:spPr/>
        <p:txBody>
          <a:bodyPr/>
          <a:lstStyle/>
          <a:p>
            <a:fld id="{7DB3BCFD-7A4E-4D8C-8868-AB46654BA6C1}" type="slidenum">
              <a:rPr lang="en-US" smtClean="0"/>
              <a:pPr/>
              <a:t>35</a:t>
            </a:fld>
            <a:endParaRPr lang="en-US" dirty="0"/>
          </a:p>
        </p:txBody>
      </p:sp>
    </p:spTree>
    <p:extLst>
      <p:ext uri="{BB962C8B-B14F-4D97-AF65-F5344CB8AC3E}">
        <p14:creationId xmlns:p14="http://schemas.microsoft.com/office/powerpoint/2010/main" val="3730656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utting aside the specific</a:t>
            </a:r>
            <a:r>
              <a:rPr lang="en-US" baseline="0" dirty="0" smtClean="0"/>
              <a:t> IT </a:t>
            </a:r>
            <a:r>
              <a:rPr lang="en-US" dirty="0" smtClean="0"/>
              <a:t>services and</a:t>
            </a:r>
            <a:r>
              <a:rPr lang="en-US" baseline="0" dirty="0" smtClean="0"/>
              <a:t> the obvious affordability for your business customers, we wanted to understand what business customers around the world wanted or needed from their network IT operations as they fully embrace digital transformation.</a:t>
            </a:r>
          </a:p>
          <a:p>
            <a:r>
              <a:rPr lang="en-US" baseline="0" dirty="0" smtClean="0"/>
              <a:t>So we contracted a survey of small, medium and large businesses in all regions of the world.   They very clearly want a more personalized experience.   They want:</a:t>
            </a:r>
          </a:p>
          <a:p>
            <a:r>
              <a:rPr lang="en-US" baseline="0" dirty="0" smtClean="0"/>
              <a:t>The ability to turn service on or off on demand</a:t>
            </a:r>
          </a:p>
          <a:p>
            <a:r>
              <a:rPr lang="en-US" baseline="0" dirty="0" smtClean="0"/>
              <a:t>The ability to scale the service capacity up or down as they need</a:t>
            </a:r>
          </a:p>
          <a:p>
            <a:r>
              <a:rPr lang="en-US" baseline="0" dirty="0" smtClean="0"/>
              <a:t>The ability to do self-service in procuring and managing services</a:t>
            </a:r>
          </a:p>
          <a:p>
            <a:r>
              <a:rPr lang="en-US" baseline="0" dirty="0" smtClean="0"/>
              <a:t>And the ability to pay for what they consume rather than have idle capacity anytime.</a:t>
            </a:r>
          </a:p>
          <a:p>
            <a:endParaRPr lang="en-US" baseline="0" dirty="0" smtClean="0"/>
          </a:p>
          <a:p>
            <a:r>
              <a:rPr lang="en-US" baseline="0" dirty="0" smtClean="0"/>
              <a:t>Important also, is what they are willing to do if they can get these attributes across the IT services.</a:t>
            </a:r>
          </a:p>
          <a:p>
            <a:r>
              <a:rPr lang="en-US" baseline="0" dirty="0" smtClean="0"/>
              <a:t>This chart shows for the respective regions that significant numbers of them will:</a:t>
            </a:r>
          </a:p>
          <a:p>
            <a:pPr marL="171450" indent="-171450">
              <a:buFontTx/>
              <a:buChar char="-"/>
            </a:pPr>
            <a:r>
              <a:rPr lang="en-US" baseline="0" dirty="0" smtClean="0"/>
              <a:t>Add more services</a:t>
            </a:r>
          </a:p>
          <a:p>
            <a:pPr marL="171450" indent="-171450">
              <a:buFontTx/>
              <a:buChar char="-"/>
            </a:pPr>
            <a:r>
              <a:rPr lang="en-US" baseline="0" dirty="0" smtClean="0"/>
              <a:t>Expand to more of their users</a:t>
            </a:r>
          </a:p>
          <a:p>
            <a:pPr marL="171450" indent="-171450">
              <a:buFontTx/>
              <a:buChar char="-"/>
            </a:pPr>
            <a:r>
              <a:rPr lang="en-US" baseline="0" dirty="0" smtClean="0"/>
              <a:t>Recommend to others, their peers</a:t>
            </a:r>
          </a:p>
          <a:p>
            <a:pPr marL="171450" indent="-171450">
              <a:buFontTx/>
              <a:buChar char="-"/>
            </a:pPr>
            <a:r>
              <a:rPr lang="en-US" baseline="0" dirty="0" smtClean="0"/>
              <a:t>And switch providers to get these attributes</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7DB3BCFD-7A4E-4D8C-8868-AB46654BA6C1}" type="slidenum">
              <a:rPr lang="en-US" smtClean="0"/>
              <a:pPr/>
              <a:t>36</a:t>
            </a:fld>
            <a:endParaRPr lang="en-US" dirty="0"/>
          </a:p>
        </p:txBody>
      </p:sp>
    </p:spTree>
    <p:extLst>
      <p:ext uri="{BB962C8B-B14F-4D97-AF65-F5344CB8AC3E}">
        <p14:creationId xmlns:p14="http://schemas.microsoft.com/office/powerpoint/2010/main" val="17743410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how can you help:</a:t>
            </a:r>
          </a:p>
          <a:p>
            <a:endParaRPr lang="en-US" dirty="0" smtClean="0"/>
          </a:p>
          <a:p>
            <a:r>
              <a:rPr lang="en-US" dirty="0" smtClean="0"/>
              <a:t>Putting this</a:t>
            </a:r>
            <a:r>
              <a:rPr lang="en-US" baseline="0" dirty="0" smtClean="0"/>
              <a:t> collection of requirements, that we discussed, together looks like this:</a:t>
            </a:r>
          </a:p>
          <a:p>
            <a:r>
              <a:rPr lang="en-US" baseline="0" dirty="0" smtClean="0"/>
              <a:t>For the human experience:</a:t>
            </a:r>
          </a:p>
          <a:p>
            <a:pPr lvl="1"/>
            <a:r>
              <a:rPr lang="en-US" baseline="0" dirty="0" smtClean="0"/>
              <a:t>Speed deployments</a:t>
            </a:r>
          </a:p>
          <a:p>
            <a:pPr lvl="1"/>
            <a:r>
              <a:rPr lang="en-US" baseline="0" dirty="0" smtClean="0"/>
              <a:t>Scale of demand</a:t>
            </a:r>
          </a:p>
          <a:p>
            <a:pPr lvl="1"/>
            <a:r>
              <a:rPr lang="en-US" baseline="0" dirty="0" smtClean="0"/>
              <a:t>Enable self-provisioning</a:t>
            </a:r>
          </a:p>
          <a:p>
            <a:pPr lvl="1"/>
            <a:r>
              <a:rPr lang="en-US" baseline="0" dirty="0" smtClean="0"/>
              <a:t>Amplify customers experience</a:t>
            </a:r>
          </a:p>
          <a:p>
            <a:pPr lvl="1"/>
            <a:r>
              <a:rPr lang="en-US" baseline="0" dirty="0" smtClean="0"/>
              <a:t>Last but not least and on everyone business customer’s mind is secure the services and applications including all data</a:t>
            </a:r>
          </a:p>
          <a:p>
            <a:pPr lvl="0"/>
            <a:endParaRPr lang="en-US" baseline="0" dirty="0" smtClean="0"/>
          </a:p>
          <a:p>
            <a:pPr lvl="0"/>
            <a:r>
              <a:rPr lang="en-US" baseline="0" dirty="0" smtClean="0"/>
              <a:t>For the underlying network:</a:t>
            </a:r>
          </a:p>
          <a:p>
            <a:pPr lvl="1"/>
            <a:r>
              <a:rPr lang="en-US" baseline="0" dirty="0" smtClean="0"/>
              <a:t>Automation and assurance</a:t>
            </a:r>
          </a:p>
          <a:p>
            <a:pPr lvl="1"/>
            <a:r>
              <a:rPr lang="en-US" baseline="0" dirty="0" smtClean="0"/>
              <a:t>Security and compliance</a:t>
            </a:r>
          </a:p>
          <a:p>
            <a:pPr lvl="1"/>
            <a:r>
              <a:rPr lang="en-US" baseline="0" dirty="0" smtClean="0"/>
              <a:t>Insights and experiences</a:t>
            </a:r>
          </a:p>
          <a:p>
            <a:pPr lvl="0"/>
            <a:endParaRPr lang="en-US" baseline="0" dirty="0" smtClean="0"/>
          </a:p>
          <a:p>
            <a:pPr lvl="0"/>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7DB3BCFD-7A4E-4D8C-8868-AB46654BA6C1}" type="slidenum">
              <a:rPr lang="en-US" smtClean="0"/>
              <a:pPr/>
              <a:t>37</a:t>
            </a:fld>
            <a:endParaRPr lang="en-US" dirty="0"/>
          </a:p>
        </p:txBody>
      </p:sp>
    </p:spTree>
    <p:extLst>
      <p:ext uri="{BB962C8B-B14F-4D97-AF65-F5344CB8AC3E}">
        <p14:creationId xmlns:p14="http://schemas.microsoft.com/office/powerpoint/2010/main" val="8445253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a:t>
            </a:r>
            <a:r>
              <a:rPr lang="en-US" baseline="0" dirty="0" smtClean="0"/>
              <a:t> how can we help you?</a:t>
            </a:r>
          </a:p>
          <a:p>
            <a:endParaRPr lang="en-US" baseline="0" dirty="0" smtClean="0"/>
          </a:p>
          <a:p>
            <a:r>
              <a:rPr lang="en-US" baseline="0" dirty="0" smtClean="0"/>
              <a:t>First, we have developed for businesses of all sizes a network blueprint to enable them to accelerate their digital transformation.</a:t>
            </a:r>
          </a:p>
          <a:p>
            <a:r>
              <a:rPr lang="en-US" baseline="0" dirty="0" smtClean="0"/>
              <a:t>We call this the Digital Network Architecture or DNA for short.</a:t>
            </a:r>
          </a:p>
          <a:p>
            <a:endParaRPr lang="en-US" baseline="0" dirty="0" smtClean="0"/>
          </a:p>
          <a:p>
            <a:r>
              <a:rPr lang="en-US" baseline="0" dirty="0" smtClean="0"/>
              <a:t>This is the story that we tell our business customers and a story that you can use too for your business customers, our mutual customers.</a:t>
            </a:r>
          </a:p>
          <a:p>
            <a:r>
              <a:rPr lang="en-US" baseline="0" dirty="0" smtClean="0"/>
              <a:t>It consists of three main layers:</a:t>
            </a:r>
          </a:p>
          <a:p>
            <a:pPr lvl="1"/>
            <a:r>
              <a:rPr lang="en-US" baseline="0" dirty="0" smtClean="0"/>
              <a:t>Cloud Services Management</a:t>
            </a:r>
          </a:p>
          <a:p>
            <a:pPr lvl="1"/>
            <a:r>
              <a:rPr lang="en-US" baseline="0" dirty="0" smtClean="0"/>
              <a:t>Automation and Analytics</a:t>
            </a:r>
          </a:p>
          <a:p>
            <a:pPr lvl="1"/>
            <a:r>
              <a:rPr lang="en-US" baseline="0" dirty="0" smtClean="0"/>
              <a:t>Virtualization</a:t>
            </a:r>
          </a:p>
          <a:p>
            <a:pPr lvl="0"/>
            <a:r>
              <a:rPr lang="en-US" baseline="0" dirty="0" smtClean="0"/>
              <a:t>This architecture is designed to deliver to those network requirements we covered earlier.</a:t>
            </a:r>
          </a:p>
          <a:p>
            <a:pPr lvl="0"/>
            <a:endParaRPr lang="en-US" baseline="0" dirty="0" smtClean="0"/>
          </a:p>
          <a:p>
            <a:pPr lvl="0"/>
            <a:r>
              <a:rPr lang="en-US" baseline="0" dirty="0" smtClean="0"/>
              <a:t>You can leverage Cisco’s brand strength and presence in enterprise and commercial markets to better position yourselves to expand your presence in those markets of your choosing.</a:t>
            </a:r>
          </a:p>
          <a:p>
            <a:pPr lvl="0"/>
            <a:endParaRPr lang="en-US" baseline="0" dirty="0" smtClean="0"/>
          </a:p>
          <a:p>
            <a:pPr lvl="0"/>
            <a:r>
              <a:rPr lang="en-US" baseline="0" dirty="0" smtClean="0"/>
              <a:t>One thing to note though, is that this is a single organization architecture which you can use as is, however what might be more suitable for you is to be able to deliver these capabilities on a multi-tenant infrastructure.</a:t>
            </a:r>
          </a:p>
          <a:p>
            <a:pPr lvl="0"/>
            <a:endParaRPr lang="en-US" dirty="0"/>
          </a:p>
        </p:txBody>
      </p:sp>
      <p:sp>
        <p:nvSpPr>
          <p:cNvPr id="4" name="Slide Number Placeholder 3"/>
          <p:cNvSpPr>
            <a:spLocks noGrp="1"/>
          </p:cNvSpPr>
          <p:nvPr>
            <p:ph type="sldNum" sz="quarter" idx="10"/>
          </p:nvPr>
        </p:nvSpPr>
        <p:spPr/>
        <p:txBody>
          <a:bodyPr/>
          <a:lstStyle/>
          <a:p>
            <a:fld id="{7DB3BCFD-7A4E-4D8C-8868-AB46654BA6C1}" type="slidenum">
              <a:rPr lang="en-US" smtClean="0"/>
              <a:pPr/>
              <a:t>38</a:t>
            </a:fld>
            <a:endParaRPr lang="en-US" dirty="0"/>
          </a:p>
        </p:txBody>
      </p:sp>
    </p:spTree>
    <p:extLst>
      <p:ext uri="{BB962C8B-B14F-4D97-AF65-F5344CB8AC3E}">
        <p14:creationId xmlns:p14="http://schemas.microsoft.com/office/powerpoint/2010/main" val="3184434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ＭＳ Ｐゴシック" charset="0"/>
                <a:cs typeface="ＭＳ Ｐゴシック" charset="0"/>
              </a:rPr>
              <a:t>Cisco’s vision for SPs is to transform the business, experience, and architecture. </a:t>
            </a:r>
          </a:p>
          <a:p>
            <a:endParaRPr lang="en-GB" sz="1200" i="1" kern="1200" dirty="0" smtClean="0">
              <a:solidFill>
                <a:schemeClr val="tx1"/>
              </a:solidFill>
              <a:effectLst/>
              <a:latin typeface="+mn-lt"/>
              <a:ea typeface="ＭＳ Ｐゴシック" charset="0"/>
              <a:cs typeface="ＭＳ Ｐゴシック" charset="0"/>
            </a:endParaRPr>
          </a:p>
          <a:p>
            <a:endParaRPr lang="en-GB" sz="1200" i="1" kern="1200" dirty="0" smtClean="0">
              <a:solidFill>
                <a:schemeClr val="tx1"/>
              </a:solidFill>
              <a:effectLst/>
              <a:latin typeface="+mn-lt"/>
              <a:ea typeface="ＭＳ Ｐゴシック" charset="0"/>
              <a:cs typeface="ＭＳ Ｐゴシック" charset="0"/>
            </a:endParaRPr>
          </a:p>
          <a:p>
            <a:r>
              <a:rPr lang="en-GB" sz="1200" i="1" kern="1200" dirty="0" smtClean="0">
                <a:solidFill>
                  <a:schemeClr val="tx1"/>
                </a:solidFill>
                <a:effectLst/>
                <a:latin typeface="+mn-lt"/>
                <a:ea typeface="ＭＳ Ｐゴシック" charset="0"/>
                <a:cs typeface="ＭＳ Ｐゴシック" charset="0"/>
              </a:rPr>
              <a:t>SPs need to </a:t>
            </a:r>
            <a:r>
              <a:rPr lang="en-GB" sz="1200" b="1" i="1" kern="1200" dirty="0" smtClean="0">
                <a:solidFill>
                  <a:schemeClr val="tx1"/>
                </a:solidFill>
                <a:effectLst/>
                <a:latin typeface="+mn-lt"/>
                <a:ea typeface="ＭＳ Ｐゴシック" charset="0"/>
                <a:cs typeface="ＭＳ Ｐゴシック" charset="0"/>
              </a:rPr>
              <a:t>Simplify</a:t>
            </a:r>
            <a:r>
              <a:rPr lang="en-GB" sz="1200" i="1" kern="1200" dirty="0" smtClean="0">
                <a:solidFill>
                  <a:schemeClr val="tx1"/>
                </a:solidFill>
                <a:effectLst/>
                <a:latin typeface="+mn-lt"/>
                <a:ea typeface="ＭＳ Ｐゴシック" charset="0"/>
                <a:cs typeface="ＭＳ Ｐゴシック" charset="0"/>
              </a:rPr>
              <a:t> business operations and consumer offers. By </a:t>
            </a:r>
            <a:r>
              <a:rPr lang="en-GB" sz="1200" b="1" i="1" kern="1200" dirty="0" smtClean="0">
                <a:solidFill>
                  <a:schemeClr val="tx1"/>
                </a:solidFill>
                <a:effectLst/>
                <a:latin typeface="+mn-lt"/>
                <a:ea typeface="ＭＳ Ｐゴシック" charset="0"/>
                <a:cs typeface="ＭＳ Ｐゴシック" charset="0"/>
              </a:rPr>
              <a:t>Automating</a:t>
            </a:r>
            <a:r>
              <a:rPr lang="en-GB" sz="1200" i="1" kern="1200" dirty="0" smtClean="0">
                <a:solidFill>
                  <a:schemeClr val="tx1"/>
                </a:solidFill>
                <a:effectLst/>
                <a:latin typeface="+mn-lt"/>
                <a:ea typeface="ＭＳ Ｐゴシック" charset="0"/>
                <a:cs typeface="ＭＳ Ｐゴシック" charset="0"/>
              </a:rPr>
              <a:t> complex tasks through </a:t>
            </a:r>
            <a:r>
              <a:rPr lang="en-GB" sz="1200" b="1" i="1" kern="1200" dirty="0" smtClean="0">
                <a:solidFill>
                  <a:schemeClr val="tx1"/>
                </a:solidFill>
                <a:effectLst/>
                <a:latin typeface="+mn-lt"/>
                <a:ea typeface="ＭＳ Ｐゴシック" charset="0"/>
                <a:cs typeface="ＭＳ Ｐゴシック" charset="0"/>
              </a:rPr>
              <a:t>Virtualization,</a:t>
            </a:r>
            <a:r>
              <a:rPr lang="en-GB" sz="1200" i="1" kern="1200" dirty="0" smtClean="0">
                <a:solidFill>
                  <a:schemeClr val="tx1"/>
                </a:solidFill>
                <a:effectLst/>
                <a:latin typeface="+mn-lt"/>
                <a:ea typeface="ＭＳ Ｐゴシック" charset="0"/>
                <a:cs typeface="ＭＳ Ｐゴシック" charset="0"/>
              </a:rPr>
              <a:t> Cisco provides efficiency to our SP customers, enabling them to deliver value to their consumers.</a:t>
            </a:r>
            <a:r>
              <a:rPr lang="en-GB" sz="1200" kern="1200" dirty="0" smtClean="0">
                <a:solidFill>
                  <a:schemeClr val="tx1"/>
                </a:solidFill>
                <a:effectLst/>
                <a:latin typeface="+mn-lt"/>
                <a:ea typeface="ＭＳ Ｐゴシック" charset="0"/>
                <a:cs typeface="ＭＳ Ｐゴシック" charset="0"/>
              </a:rPr>
              <a:t> More on our </a:t>
            </a:r>
            <a:r>
              <a:rPr lang="en-GB" sz="1200" kern="1200" dirty="0" err="1" smtClean="0">
                <a:solidFill>
                  <a:schemeClr val="tx1"/>
                </a:solidFill>
                <a:effectLst/>
                <a:latin typeface="+mn-lt"/>
                <a:ea typeface="ＭＳ Ｐゴシック" charset="0"/>
                <a:cs typeface="ＭＳ Ｐゴシック" charset="0"/>
              </a:rPr>
              <a:t>Cisoc</a:t>
            </a:r>
            <a:r>
              <a:rPr lang="en-GB" sz="1200" kern="1200" dirty="0" smtClean="0">
                <a:solidFill>
                  <a:schemeClr val="tx1"/>
                </a:solidFill>
                <a:effectLst/>
                <a:latin typeface="+mn-lt"/>
                <a:ea typeface="ＭＳ Ｐゴシック" charset="0"/>
                <a:cs typeface="ＭＳ Ｐゴシック" charset="0"/>
              </a:rPr>
              <a:t> Open Network Architecture tenets:</a:t>
            </a:r>
            <a:endParaRPr lang="en-US" sz="1200" kern="1200" dirty="0" smtClean="0">
              <a:solidFill>
                <a:schemeClr val="tx1"/>
              </a:solidFill>
              <a:effectLst/>
              <a:latin typeface="+mn-lt"/>
              <a:ea typeface="ＭＳ Ｐゴシック" charset="0"/>
              <a:cs typeface="ＭＳ Ｐゴシック" charset="0"/>
            </a:endParaRPr>
          </a:p>
          <a:p>
            <a:pPr lvl="0"/>
            <a:r>
              <a:rPr lang="en-US" sz="1200" b="1" i="1" u="sng" kern="1200" dirty="0" smtClean="0">
                <a:solidFill>
                  <a:schemeClr val="tx1"/>
                </a:solidFill>
                <a:effectLst/>
                <a:latin typeface="+mn-lt"/>
                <a:ea typeface="ＭＳ Ｐゴシック" charset="0"/>
                <a:cs typeface="ＭＳ Ｐゴシック" charset="0"/>
              </a:rPr>
              <a:t>Virtualization</a:t>
            </a:r>
            <a:r>
              <a:rPr lang="en-US" sz="1200" b="1" kern="1200" dirty="0" smtClean="0">
                <a:solidFill>
                  <a:schemeClr val="tx1"/>
                </a:solidFill>
                <a:effectLst/>
                <a:latin typeface="+mn-lt"/>
                <a:ea typeface="ＭＳ Ｐゴシック" charset="0"/>
                <a:cs typeface="ＭＳ Ｐゴシック" charset="0"/>
              </a:rPr>
              <a:t> </a:t>
            </a:r>
            <a:r>
              <a:rPr lang="en-US" sz="1200" kern="1200" dirty="0" smtClean="0">
                <a:solidFill>
                  <a:schemeClr val="tx1"/>
                </a:solidFill>
                <a:effectLst/>
                <a:latin typeface="+mn-lt"/>
                <a:ea typeface="ＭＳ Ｐゴシック" charset="0"/>
                <a:cs typeface="ＭＳ Ｐゴシック" charset="0"/>
              </a:rPr>
              <a:t>–</a:t>
            </a:r>
            <a:r>
              <a:rPr lang="en-US" sz="1200" b="1" kern="1200" dirty="0" smtClean="0">
                <a:solidFill>
                  <a:schemeClr val="tx1"/>
                </a:solidFill>
                <a:effectLst/>
                <a:latin typeface="+mn-lt"/>
                <a:ea typeface="ＭＳ Ｐゴシック" charset="0"/>
                <a:cs typeface="ＭＳ Ｐゴシック" charset="0"/>
              </a:rPr>
              <a:t> </a:t>
            </a:r>
            <a:r>
              <a:rPr lang="en-US" sz="1200" kern="1200" dirty="0" smtClean="0">
                <a:solidFill>
                  <a:schemeClr val="tx1"/>
                </a:solidFill>
                <a:effectLst/>
                <a:latin typeface="+mn-lt"/>
                <a:ea typeface="ＭＳ Ｐゴシック" charset="0"/>
                <a:cs typeface="ＭＳ Ｐゴシック" charset="0"/>
              </a:rPr>
              <a:t>grow services and reduce cost by decoupling network functions from hardware, separating control and user plane functions, and leveraging network slicing</a:t>
            </a:r>
          </a:p>
          <a:p>
            <a:pPr lvl="0"/>
            <a:r>
              <a:rPr lang="en-US" sz="1200" b="1" i="1" u="sng" kern="1200" dirty="0" smtClean="0">
                <a:solidFill>
                  <a:schemeClr val="tx1"/>
                </a:solidFill>
                <a:effectLst/>
                <a:latin typeface="+mn-lt"/>
                <a:ea typeface="ＭＳ Ｐゴシック" charset="0"/>
                <a:cs typeface="ＭＳ Ｐゴシック" charset="0"/>
              </a:rPr>
              <a:t>Automation</a:t>
            </a:r>
            <a:r>
              <a:rPr lang="en-US" sz="1200" kern="1200" dirty="0" smtClean="0">
                <a:solidFill>
                  <a:schemeClr val="tx1"/>
                </a:solidFill>
                <a:effectLst/>
                <a:latin typeface="+mn-lt"/>
                <a:ea typeface="ＭＳ Ｐゴシック" charset="0"/>
                <a:cs typeface="ＭＳ Ｐゴシック" charset="0"/>
              </a:rPr>
              <a:t> – innovate faster and reduce complexity by utilizing orchestration to rapidly create and manage services. Optimizing the network using telemetry and analytics</a:t>
            </a:r>
          </a:p>
          <a:p>
            <a:r>
              <a:rPr lang="en-US" sz="1200" b="1" i="1" u="sng" kern="1200" dirty="0" smtClean="0">
                <a:solidFill>
                  <a:schemeClr val="tx1"/>
                </a:solidFill>
                <a:effectLst/>
                <a:latin typeface="+mn-lt"/>
                <a:ea typeface="ＭＳ Ｐゴシック" charset="0"/>
                <a:cs typeface="ＭＳ Ｐゴシック" charset="0"/>
              </a:rPr>
              <a:t>Simplification</a:t>
            </a:r>
            <a:r>
              <a:rPr lang="en-US" sz="1200" b="1" kern="1200" dirty="0" smtClean="0">
                <a:solidFill>
                  <a:schemeClr val="tx1"/>
                </a:solidFill>
                <a:effectLst/>
                <a:latin typeface="+mn-lt"/>
                <a:ea typeface="ＭＳ Ｐゴシック" charset="0"/>
                <a:cs typeface="ＭＳ Ｐゴシック" charset="0"/>
              </a:rPr>
              <a:t> </a:t>
            </a:r>
            <a:r>
              <a:rPr lang="en-US" sz="1200" kern="1200" dirty="0" smtClean="0">
                <a:solidFill>
                  <a:schemeClr val="tx1"/>
                </a:solidFill>
                <a:effectLst/>
                <a:latin typeface="+mn-lt"/>
                <a:ea typeface="ＭＳ Ｐゴシック" charset="0"/>
                <a:cs typeface="ＭＳ Ｐゴシック" charset="0"/>
              </a:rPr>
              <a:t>– expand business models by flattening the network and converging technology siloes.</a:t>
            </a:r>
            <a:r>
              <a:rPr lang="en-US" sz="1100" dirty="0" smtClean="0">
                <a:effectLst/>
              </a:rPr>
              <a:t> </a:t>
            </a:r>
            <a:endParaRPr lang="en-US" sz="1100" kern="1200" dirty="0" smtClean="0">
              <a:solidFill>
                <a:schemeClr val="tx1"/>
              </a:solidFill>
              <a:effectLst/>
            </a:endParaRPr>
          </a:p>
        </p:txBody>
      </p:sp>
      <p:sp>
        <p:nvSpPr>
          <p:cNvPr id="4" name="Slide Number Placeholder 3"/>
          <p:cNvSpPr>
            <a:spLocks noGrp="1"/>
          </p:cNvSpPr>
          <p:nvPr>
            <p:ph type="sldNum" sz="quarter" idx="10"/>
          </p:nvPr>
        </p:nvSpPr>
        <p:spPr/>
        <p:txBody>
          <a:bodyPr/>
          <a:lstStyle/>
          <a:p>
            <a:fld id="{3B7F683F-D4D6-497E-9895-9DEC0E615E8E}" type="slidenum">
              <a:rPr lang="en-US" smtClean="0">
                <a:solidFill>
                  <a:prstClr val="black"/>
                </a:solidFill>
                <a:latin typeface="Arial" panose="020B0604020202020204" pitchFamily="34" charset="0"/>
              </a:rPr>
              <a:pPr/>
              <a:t>6</a:t>
            </a:fld>
            <a:endParaRPr 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16707947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a:t>
            </a:r>
            <a:r>
              <a:rPr lang="en-US" baseline="0" dirty="0" smtClean="0"/>
              <a:t> as a companion to our DNA, we developed an architectural framework suitable for service providers that can position you to deliver DNA services.</a:t>
            </a:r>
          </a:p>
          <a:p>
            <a:r>
              <a:rPr lang="en-US" baseline="0" dirty="0" smtClean="0"/>
              <a:t>We call this the open network architecture.   It is open not just in its APIs but also in accommodating your need to have multi-vendor support.</a:t>
            </a:r>
          </a:p>
          <a:p>
            <a:r>
              <a:rPr lang="en-US" baseline="0" dirty="0" smtClean="0"/>
              <a:t>The open network architecture consists of three primary layers:</a:t>
            </a:r>
          </a:p>
          <a:p>
            <a:pPr lvl="1"/>
            <a:r>
              <a:rPr lang="en-US" baseline="0" dirty="0" smtClean="0"/>
              <a:t>Infrastructure which contains physical and virtual components</a:t>
            </a:r>
          </a:p>
          <a:p>
            <a:pPr lvl="1"/>
            <a:r>
              <a:rPr lang="en-US" baseline="0" dirty="0" smtClean="0"/>
              <a:t>Network Abstraction which comprises orchestration, automation and assurance components</a:t>
            </a:r>
          </a:p>
          <a:p>
            <a:pPr lvl="1"/>
            <a:r>
              <a:rPr lang="en-US" baseline="0" dirty="0" smtClean="0"/>
              <a:t>Services which consist of your various offers across al types including business, Video, Mobility etc.</a:t>
            </a:r>
          </a:p>
          <a:p>
            <a:pPr lvl="0"/>
            <a:r>
              <a:rPr lang="en-US" baseline="0" dirty="0" smtClean="0"/>
              <a:t>Rounding out the architecture are the service creation capabilities, the inherent rich security capabilities across all layers and of course the professional expertise that we can offer alongside.</a:t>
            </a:r>
          </a:p>
          <a:p>
            <a:pPr lvl="0"/>
            <a:endParaRPr lang="en-US" baseline="0" dirty="0" smtClean="0"/>
          </a:p>
          <a:p>
            <a:pPr lvl="0"/>
            <a:r>
              <a:rPr lang="en-US" baseline="0" dirty="0" smtClean="0"/>
              <a:t>Within this zone, we are showcasing just a few capabilities this architecture can offer.   We will </a:t>
            </a:r>
            <a:r>
              <a:rPr lang="en-US" baseline="0" dirty="0" err="1" smtClean="0"/>
              <a:t>demostrate</a:t>
            </a:r>
            <a:r>
              <a:rPr lang="en-US" baseline="0" dirty="0" smtClean="0"/>
              <a:t> Software-defined WAN capabilities and we we showcase three of our solution offers:</a:t>
            </a:r>
          </a:p>
          <a:p>
            <a:pPr lvl="0"/>
            <a:r>
              <a:rPr lang="en-US" baseline="0" dirty="0" smtClean="0"/>
              <a:t>Virtual Managed Services</a:t>
            </a:r>
          </a:p>
          <a:p>
            <a:pPr lvl="0"/>
            <a:r>
              <a:rPr lang="en-US" baseline="0" dirty="0" smtClean="0"/>
              <a:t>Meraki Services</a:t>
            </a:r>
          </a:p>
          <a:p>
            <a:pPr lvl="0"/>
            <a:r>
              <a:rPr lang="en-US" baseline="0" dirty="0" smtClean="0"/>
              <a:t>Collaboration Services with converged mobility</a:t>
            </a:r>
          </a:p>
          <a:p>
            <a:pPr lvl="0"/>
            <a:endParaRPr lang="en-US" baseline="0" dirty="0" smtClean="0"/>
          </a:p>
          <a:p>
            <a:pPr lvl="0"/>
            <a:endParaRPr lang="en-US" dirty="0"/>
          </a:p>
        </p:txBody>
      </p:sp>
      <p:sp>
        <p:nvSpPr>
          <p:cNvPr id="4" name="Slide Number Placeholder 3"/>
          <p:cNvSpPr>
            <a:spLocks noGrp="1"/>
          </p:cNvSpPr>
          <p:nvPr>
            <p:ph type="sldNum" sz="quarter" idx="10"/>
          </p:nvPr>
        </p:nvSpPr>
        <p:spPr/>
        <p:txBody>
          <a:bodyPr/>
          <a:lstStyle/>
          <a:p>
            <a:fld id="{7DB3BCFD-7A4E-4D8C-8868-AB46654BA6C1}" type="slidenum">
              <a:rPr lang="en-US" smtClean="0"/>
              <a:pPr/>
              <a:t>39</a:t>
            </a:fld>
            <a:endParaRPr lang="en-US" dirty="0"/>
          </a:p>
        </p:txBody>
      </p:sp>
    </p:spTree>
    <p:extLst>
      <p:ext uri="{BB962C8B-B14F-4D97-AF65-F5344CB8AC3E}">
        <p14:creationId xmlns:p14="http://schemas.microsoft.com/office/powerpoint/2010/main" val="14903510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sz="1600" b="0" kern="1200" dirty="0" smtClean="0">
                <a:solidFill>
                  <a:schemeClr val="tx1"/>
                </a:solidFill>
                <a:effectLst/>
              </a:rPr>
              <a:t>We have visibility and effectively enforce everywhere </a:t>
            </a:r>
          </a:p>
          <a:p>
            <a:pPr marL="171450" indent="-171450">
              <a:buFont typeface="Arial" charset="0"/>
              <a:buChar char="•"/>
            </a:pPr>
            <a:endParaRPr lang="en-US" sz="1600" b="0" kern="1200" dirty="0" smtClean="0">
              <a:solidFill>
                <a:schemeClr val="tx1"/>
              </a:solidFill>
              <a:effectLst/>
            </a:endParaRPr>
          </a:p>
          <a:p>
            <a:pPr marL="171450" indent="-171450">
              <a:buFont typeface="Arial" charset="0"/>
              <a:buChar char="•"/>
            </a:pPr>
            <a:r>
              <a:rPr lang="en-US" sz="1600" b="0" kern="1200" dirty="0" smtClean="0">
                <a:solidFill>
                  <a:schemeClr val="tx1"/>
                </a:solidFill>
                <a:effectLst/>
              </a:rPr>
              <a:t>We can share the analytics</a:t>
            </a:r>
            <a:r>
              <a:rPr lang="en-US" sz="1600" b="0" kern="1200" baseline="0" dirty="0" smtClean="0">
                <a:solidFill>
                  <a:schemeClr val="tx1"/>
                </a:solidFill>
                <a:effectLst/>
              </a:rPr>
              <a:t> findings (Talos, etc.) and learn from experiences of other analytics and then drive enforcement actions holistically – and across the device, network, and cloud</a:t>
            </a:r>
          </a:p>
          <a:p>
            <a:pPr marL="171450" indent="-171450">
              <a:buFont typeface="Arial" charset="0"/>
              <a:buChar char="•"/>
            </a:pPr>
            <a:endParaRPr lang="en-US" sz="1600" b="0" kern="1200" baseline="0" dirty="0" smtClean="0">
              <a:solidFill>
                <a:schemeClr val="tx1"/>
              </a:solidFill>
              <a:effectLst/>
            </a:endParaRPr>
          </a:p>
        </p:txBody>
      </p:sp>
      <p:sp>
        <p:nvSpPr>
          <p:cNvPr id="4" name="Slide Number Placeholder 3"/>
          <p:cNvSpPr>
            <a:spLocks noGrp="1"/>
          </p:cNvSpPr>
          <p:nvPr>
            <p:ph type="sldNum" sz="quarter" idx="10"/>
          </p:nvPr>
        </p:nvSpPr>
        <p:spPr/>
        <p:txBody>
          <a:bodyPr/>
          <a:lstStyle/>
          <a:p>
            <a:fld id="{602DB87D-6B77-4EDA-945D-D9A3E7BC547C}" type="slidenum">
              <a:rPr lang="en-US" smtClean="0"/>
              <a:t>43</a:t>
            </a:fld>
            <a:endParaRPr lang="en-US" dirty="0"/>
          </a:p>
        </p:txBody>
      </p:sp>
    </p:spTree>
    <p:extLst>
      <p:ext uri="{BB962C8B-B14F-4D97-AF65-F5344CB8AC3E}">
        <p14:creationId xmlns:p14="http://schemas.microsoft.com/office/powerpoint/2010/main" val="20914861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sz="1200" kern="1200" dirty="0" smtClean="0">
                <a:solidFill>
                  <a:schemeClr val="tx1"/>
                </a:solidFill>
                <a:effectLst/>
                <a:latin typeface="+mn-lt"/>
                <a:ea typeface="ＭＳ Ｐゴシック" charset="0"/>
                <a:cs typeface="ＭＳ Ｐゴシック" charset="0"/>
              </a:rPr>
              <a:t>For mobile operators, Cisco is introducing physical and virtual Security Gateway (</a:t>
            </a:r>
            <a:r>
              <a:rPr lang="en-US" sz="1200" kern="1200" dirty="0" err="1" smtClean="0">
                <a:solidFill>
                  <a:schemeClr val="tx1"/>
                </a:solidFill>
                <a:effectLst/>
                <a:latin typeface="+mn-lt"/>
                <a:ea typeface="ＭＳ Ｐゴシック" charset="0"/>
                <a:cs typeface="ＭＳ Ｐゴシック" charset="0"/>
              </a:rPr>
              <a:t>SecGW</a:t>
            </a:r>
            <a:r>
              <a:rPr lang="en-US" sz="1200" kern="1200" dirty="0" smtClean="0">
                <a:solidFill>
                  <a:schemeClr val="tx1"/>
                </a:solidFill>
                <a:effectLst/>
                <a:latin typeface="+mn-lt"/>
                <a:ea typeface="ＭＳ Ｐゴシック" charset="0"/>
                <a:cs typeface="ＭＳ Ｐゴシック" charset="0"/>
              </a:rPr>
              <a:t>) solutions for secure mobile backhaul. </a:t>
            </a:r>
          </a:p>
          <a:p>
            <a:pPr marL="171450" indent="-171450">
              <a:buFont typeface="Arial" charset="0"/>
              <a:buChar char="•"/>
            </a:pPr>
            <a:endParaRPr lang="en-US" sz="1200" kern="1200" dirty="0" smtClean="0">
              <a:solidFill>
                <a:schemeClr val="tx1"/>
              </a:solidFill>
              <a:effectLst/>
              <a:latin typeface="+mn-lt"/>
              <a:ea typeface="ＭＳ Ｐゴシック" charset="0"/>
              <a:cs typeface="ＭＳ Ｐゴシック" charset="0"/>
            </a:endParaRPr>
          </a:p>
          <a:p>
            <a:pPr marL="171450" indent="-171450">
              <a:buFont typeface="Arial" charset="0"/>
              <a:buChar char="•"/>
            </a:pPr>
            <a:r>
              <a:rPr lang="en-US" sz="1200" kern="1200" dirty="0" smtClean="0">
                <a:solidFill>
                  <a:schemeClr val="tx1"/>
                </a:solidFill>
                <a:effectLst/>
                <a:latin typeface="+mn-lt"/>
                <a:ea typeface="ＭＳ Ｐゴシック" charset="0"/>
                <a:cs typeface="ＭＳ Ｐゴシック" charset="0"/>
              </a:rPr>
              <a:t>As your customers</a:t>
            </a:r>
            <a:r>
              <a:rPr lang="en-US" sz="1200" kern="1200" baseline="0" dirty="0" smtClean="0">
                <a:solidFill>
                  <a:schemeClr val="tx1"/>
                </a:solidFill>
                <a:effectLst/>
                <a:latin typeface="+mn-lt"/>
                <a:ea typeface="ＭＳ Ｐゴシック" charset="0"/>
                <a:cs typeface="ＭＳ Ｐゴシック" charset="0"/>
              </a:rPr>
              <a:t> evolve their macro networks, they run the risk of data interception at few key areas: </a:t>
            </a:r>
          </a:p>
          <a:p>
            <a:pPr marL="171450" indent="-171450">
              <a:buFont typeface="Arial" charset="0"/>
              <a:buChar char="•"/>
            </a:pPr>
            <a:r>
              <a:rPr lang="en-US" sz="1200" kern="1200" dirty="0" smtClean="0">
                <a:solidFill>
                  <a:schemeClr val="tx1"/>
                </a:solidFill>
                <a:effectLst/>
                <a:latin typeface="+mn-lt"/>
                <a:ea typeface="ＭＳ Ｐゴシック" charset="0"/>
                <a:cs typeface="ＭＳ Ｐゴシック" charset="0"/>
              </a:rPr>
              <a:t>For example, Unsecured backhaul is a primary attack vector</a:t>
            </a:r>
            <a:r>
              <a:rPr lang="en-US" sz="1200" kern="1200" baseline="0" dirty="0" smtClean="0">
                <a:solidFill>
                  <a:schemeClr val="tx1"/>
                </a:solidFill>
                <a:effectLst/>
                <a:latin typeface="+mn-lt"/>
                <a:ea typeface="ＭＳ Ｐゴシック" charset="0"/>
                <a:cs typeface="ＭＳ Ｐゴシック" charset="0"/>
              </a:rPr>
              <a:t>. The data has the potential to be pulled down at any stage in the transmission between the mobile device and Evolved Packet Core (EPC).</a:t>
            </a:r>
          </a:p>
          <a:p>
            <a:pPr marL="171450" indent="-171450">
              <a:buFont typeface="Arial" charset="0"/>
              <a:buChar char="•"/>
            </a:pPr>
            <a:r>
              <a:rPr lang="en-US" sz="1200" kern="1200" dirty="0" smtClean="0">
                <a:solidFill>
                  <a:schemeClr val="tx1"/>
                </a:solidFill>
                <a:effectLst/>
                <a:latin typeface="+mn-lt"/>
                <a:ea typeface="ＭＳ Ｐゴシック" charset="0"/>
                <a:cs typeface="ＭＳ Ｐゴシック" charset="0"/>
              </a:rPr>
              <a:t>In addition, the proliferation of cell</a:t>
            </a:r>
            <a:r>
              <a:rPr lang="en-US" sz="1200" kern="1200" baseline="0" dirty="0" smtClean="0">
                <a:solidFill>
                  <a:schemeClr val="tx1"/>
                </a:solidFill>
                <a:effectLst/>
                <a:latin typeface="+mn-lt"/>
                <a:ea typeface="ＭＳ Ｐゴシック" charset="0"/>
                <a:cs typeface="ＭＳ Ｐゴシック" charset="0"/>
              </a:rPr>
              <a:t> towers presents an explosion in the number of staging points for an attack that could bring down your customer’s mobile packet core network.</a:t>
            </a:r>
            <a:endParaRPr lang="en-US" sz="1200" kern="1200" dirty="0" smtClean="0">
              <a:solidFill>
                <a:schemeClr val="tx1"/>
              </a:solidFill>
              <a:effectLst/>
              <a:latin typeface="+mn-lt"/>
              <a:ea typeface="ＭＳ Ｐゴシック" charset="0"/>
              <a:cs typeface="ＭＳ Ｐゴシック" charset="0"/>
            </a:endParaRPr>
          </a:p>
          <a:p>
            <a:pPr marL="171450" indent="-171450">
              <a:buFont typeface="Arial" charset="0"/>
              <a:buChar char="•"/>
            </a:pPr>
            <a:r>
              <a:rPr lang="en-US" sz="1200" kern="1200" dirty="0" smtClean="0">
                <a:solidFill>
                  <a:schemeClr val="tx1"/>
                </a:solidFill>
                <a:effectLst/>
                <a:latin typeface="+mn-lt"/>
                <a:ea typeface="ＭＳ Ｐゴシック" charset="0"/>
                <a:cs typeface="ＭＳ Ｐゴシック" charset="0"/>
              </a:rPr>
              <a:t>To protect against</a:t>
            </a:r>
            <a:r>
              <a:rPr lang="en-US" sz="1200" kern="1200" baseline="0" dirty="0" smtClean="0">
                <a:solidFill>
                  <a:schemeClr val="tx1"/>
                </a:solidFill>
                <a:effectLst/>
                <a:latin typeface="+mn-lt"/>
                <a:ea typeface="ＭＳ Ｐゴシック" charset="0"/>
                <a:cs typeface="ＭＳ Ｐゴシック" charset="0"/>
              </a:rPr>
              <a:t> these types of threats, your customers need a security gateway that authenticates and encrypts traffic to protect the EPC and reduce the potential for network disruption.</a:t>
            </a:r>
            <a:endParaRPr lang="en-US" sz="1200" kern="1200" dirty="0" smtClean="0">
              <a:solidFill>
                <a:schemeClr val="tx1"/>
              </a:solidFill>
              <a:effectLst/>
              <a:latin typeface="+mn-lt"/>
              <a:ea typeface="ＭＳ Ｐゴシック" charset="0"/>
              <a:cs typeface="ＭＳ Ｐゴシック" charset="0"/>
            </a:endParaRPr>
          </a:p>
          <a:p>
            <a:pPr marL="171450" indent="-171450">
              <a:buFont typeface="Arial" charset="0"/>
              <a:buChar char="•"/>
            </a:pPr>
            <a:endParaRPr lang="en-US" sz="1200" kern="1200" dirty="0" smtClean="0">
              <a:solidFill>
                <a:schemeClr val="tx1"/>
              </a:solidFill>
              <a:effectLst/>
              <a:latin typeface="+mn-lt"/>
              <a:ea typeface="ＭＳ Ｐゴシック" charset="0"/>
              <a:cs typeface="ＭＳ Ｐゴシック" charset="0"/>
            </a:endParaRPr>
          </a:p>
          <a:p>
            <a:pPr marL="171450" marR="0" indent="-171450" algn="l" defTabSz="457200" rtl="0" eaLnBrk="0" fontAlgn="base" latinLnBrk="0" hangingPunct="0">
              <a:lnSpc>
                <a:spcPct val="100000"/>
              </a:lnSpc>
              <a:spcBef>
                <a:spcPct val="30000"/>
              </a:spcBef>
              <a:spcAft>
                <a:spcPct val="0"/>
              </a:spcAft>
              <a:buClrTx/>
              <a:buSzTx/>
              <a:buFont typeface="Arial" charset="0"/>
              <a:buChar char="•"/>
              <a:tabLst/>
              <a:defRPr/>
            </a:pPr>
            <a:r>
              <a:rPr lang="en-US" sz="1200" kern="1200" dirty="0" smtClean="0">
                <a:solidFill>
                  <a:schemeClr val="tx1"/>
                </a:solidFill>
                <a:effectLst/>
                <a:latin typeface="+mn-lt"/>
                <a:ea typeface="ＭＳ Ｐゴシック" charset="0"/>
                <a:cs typeface="ＭＳ Ｐゴシック" charset="0"/>
              </a:rPr>
              <a:t>Cisco has</a:t>
            </a:r>
            <a:r>
              <a:rPr lang="en-US" sz="1200" kern="1200" baseline="0" dirty="0" smtClean="0">
                <a:solidFill>
                  <a:schemeClr val="tx1"/>
                </a:solidFill>
                <a:effectLst/>
                <a:latin typeface="+mn-lt"/>
                <a:ea typeface="ＭＳ Ｐゴシック" charset="0"/>
                <a:cs typeface="ＭＳ Ｐゴシック" charset="0"/>
              </a:rPr>
              <a:t> a long heritage of selling Cisco Security Gateway solutions to Mobile Operators (such as the SAMI module on the Cisco 7600 Router Series). Cisco is now offering new Security Gateway capabilities </a:t>
            </a:r>
            <a:r>
              <a:rPr lang="en-US" sz="1200" kern="1200" dirty="0" smtClean="0">
                <a:solidFill>
                  <a:schemeClr val="tx1"/>
                </a:solidFill>
                <a:effectLst/>
                <a:latin typeface="+mn-lt"/>
                <a:ea typeface="ＭＳ Ｐゴシック" charset="0"/>
                <a:cs typeface="ＭＳ Ｐゴシック" charset="0"/>
              </a:rPr>
              <a:t>on physical appliances including Firepower 9300, Firepower 4100, ASR 900 serie</a:t>
            </a:r>
            <a:r>
              <a:rPr lang="en-US" sz="1200" kern="1200" baseline="0" dirty="0" smtClean="0">
                <a:solidFill>
                  <a:schemeClr val="tx1"/>
                </a:solidFill>
                <a:effectLst/>
                <a:latin typeface="+mn-lt"/>
                <a:ea typeface="ＭＳ Ｐゴシック" charset="0"/>
                <a:cs typeface="ＭＳ Ｐゴシック" charset="0"/>
              </a:rPr>
              <a:t>s as well as virtual form factors on </a:t>
            </a:r>
            <a:r>
              <a:rPr lang="en-US" sz="1200" kern="1200" dirty="0" err="1" smtClean="0">
                <a:solidFill>
                  <a:schemeClr val="tx1"/>
                </a:solidFill>
                <a:effectLst/>
                <a:latin typeface="+mn-lt"/>
                <a:ea typeface="ＭＳ Ｐゴシック" charset="0"/>
                <a:cs typeface="ＭＳ Ｐゴシック" charset="0"/>
              </a:rPr>
              <a:t>ASAv</a:t>
            </a:r>
            <a:r>
              <a:rPr lang="en-US" sz="1200" kern="1200" dirty="0" smtClean="0">
                <a:solidFill>
                  <a:schemeClr val="tx1"/>
                </a:solidFill>
                <a:effectLst/>
                <a:latin typeface="+mn-lt"/>
                <a:ea typeface="ＭＳ Ｐゴシック" charset="0"/>
                <a:cs typeface="ＭＳ Ｐゴシック" charset="0"/>
              </a:rPr>
              <a:t>. </a:t>
            </a:r>
          </a:p>
          <a:p>
            <a:pPr marL="171450" indent="-171450">
              <a:buFont typeface="Arial" charset="0"/>
              <a:buChar char="•"/>
            </a:pPr>
            <a:endParaRPr lang="en-US" sz="1200" kern="1200" dirty="0" smtClean="0">
              <a:solidFill>
                <a:schemeClr val="tx1"/>
              </a:solidFill>
              <a:effectLst/>
              <a:latin typeface="+mn-lt"/>
              <a:ea typeface="ＭＳ Ｐゴシック" charset="0"/>
              <a:cs typeface="ＭＳ Ｐゴシック" charset="0"/>
            </a:endParaRPr>
          </a:p>
          <a:p>
            <a:pPr marL="171450" indent="-171450">
              <a:buFont typeface="Arial" charset="0"/>
              <a:buChar char="•"/>
            </a:pPr>
            <a:r>
              <a:rPr lang="en-US" sz="1200" kern="1200" dirty="0" smtClean="0">
                <a:solidFill>
                  <a:schemeClr val="tx1"/>
                </a:solidFill>
                <a:effectLst/>
                <a:latin typeface="+mn-lt"/>
                <a:ea typeface="ＭＳ Ｐゴシック" charset="0"/>
                <a:cs typeface="ＭＳ Ｐゴシック" charset="0"/>
              </a:rPr>
              <a:t>These solutions enable</a:t>
            </a:r>
            <a:r>
              <a:rPr lang="en-US" sz="1200" kern="1200" baseline="0" dirty="0" smtClean="0">
                <a:solidFill>
                  <a:schemeClr val="tx1"/>
                </a:solidFill>
                <a:effectLst/>
                <a:latin typeface="+mn-lt"/>
                <a:ea typeface="ＭＳ Ｐゴシック" charset="0"/>
                <a:cs typeface="ＭＳ Ｐゴシック" charset="0"/>
              </a:rPr>
              <a:t> </a:t>
            </a:r>
            <a:r>
              <a:rPr lang="en-US" sz="1200" kern="1200" dirty="0" smtClean="0">
                <a:solidFill>
                  <a:schemeClr val="tx1"/>
                </a:solidFill>
                <a:effectLst/>
                <a:latin typeface="+mn-lt"/>
                <a:ea typeface="ＭＳ Ｐゴシック" charset="0"/>
                <a:cs typeface="ＭＳ Ｐゴシック" charset="0"/>
              </a:rPr>
              <a:t>your customers to confidently drive forward with LTE, LTE-advanced and future proofing their</a:t>
            </a:r>
            <a:r>
              <a:rPr lang="en-US" sz="1200" kern="1200" baseline="0" dirty="0" smtClean="0">
                <a:solidFill>
                  <a:schemeClr val="tx1"/>
                </a:solidFill>
                <a:effectLst/>
                <a:latin typeface="+mn-lt"/>
                <a:ea typeface="ＭＳ Ｐゴシック" charset="0"/>
                <a:cs typeface="ＭＳ Ｐゴシック" charset="0"/>
              </a:rPr>
              <a:t> </a:t>
            </a:r>
            <a:r>
              <a:rPr lang="en-US" sz="1200" kern="1200" dirty="0" smtClean="0">
                <a:solidFill>
                  <a:schemeClr val="tx1"/>
                </a:solidFill>
                <a:effectLst/>
                <a:latin typeface="+mn-lt"/>
                <a:ea typeface="ＭＳ Ｐゴシック" charset="0"/>
                <a:cs typeface="ＭＳ Ｐゴシック" charset="0"/>
              </a:rPr>
              <a:t>journey to 5G. </a:t>
            </a:r>
          </a:p>
          <a:p>
            <a:pPr marL="171450" indent="-171450">
              <a:buFont typeface="Arial" charset="0"/>
              <a:buChar char="•"/>
            </a:pPr>
            <a:endParaRPr lang="en-US" sz="1200" kern="1200" dirty="0" smtClean="0">
              <a:solidFill>
                <a:schemeClr val="tx1"/>
              </a:solidFill>
              <a:effectLst/>
              <a:latin typeface="+mn-lt"/>
              <a:ea typeface="ＭＳ Ｐゴシック" charset="0"/>
              <a:cs typeface="ＭＳ Ｐゴシック" charset="0"/>
            </a:endParaRPr>
          </a:p>
          <a:p>
            <a:pPr marL="171450" indent="-171450">
              <a:buFont typeface="Arial" charset="0"/>
              <a:buChar char="•"/>
            </a:pPr>
            <a:r>
              <a:rPr lang="en-US" sz="1200" kern="1200" dirty="0" smtClean="0">
                <a:solidFill>
                  <a:schemeClr val="tx1"/>
                </a:solidFill>
                <a:effectLst/>
                <a:latin typeface="+mn-lt"/>
                <a:ea typeface="ＭＳ Ｐゴシック" charset="0"/>
                <a:cs typeface="ＭＳ Ｐゴシック" charset="0"/>
              </a:rPr>
              <a:t>Security Gateway minimizes the potential damage of interception by providing end-to-end encryption, securing IPsec Tunnels and strengthening the perimeter between the radio access network (RAN) and the EPC. </a:t>
            </a:r>
          </a:p>
          <a:p>
            <a:r>
              <a:rPr lang="en-US" sz="1200" kern="1200" dirty="0" smtClean="0">
                <a:solidFill>
                  <a:schemeClr val="tx1"/>
                </a:solidFill>
                <a:effectLst/>
                <a:latin typeface="+mn-lt"/>
                <a:ea typeface="ＭＳ Ｐゴシック" charset="0"/>
                <a:cs typeface="ＭＳ Ｐゴシック" charset="0"/>
              </a:rPr>
              <a:t> </a:t>
            </a:r>
          </a:p>
          <a:p>
            <a:r>
              <a:rPr lang="en-US" sz="1200" kern="1200" dirty="0" smtClean="0">
                <a:solidFill>
                  <a:schemeClr val="tx1"/>
                </a:solidFill>
                <a:effectLst/>
                <a:latin typeface="+mn-lt"/>
                <a:ea typeface="ＭＳ Ｐゴシック" charset="0"/>
                <a:cs typeface="ＭＳ Ｐゴシック" charset="0"/>
              </a:rPr>
              <a:t>With Cisco Security Gateway solutions, Service Providers get the following unique capabilities:</a:t>
            </a:r>
          </a:p>
          <a:p>
            <a:pPr marL="171450" lvl="0" indent="-171450">
              <a:buFont typeface="Arial" charset="0"/>
              <a:buChar char="•"/>
            </a:pPr>
            <a:r>
              <a:rPr lang="en-US" sz="1200" kern="1200" dirty="0" smtClean="0">
                <a:solidFill>
                  <a:schemeClr val="tx1"/>
                </a:solidFill>
                <a:effectLst/>
                <a:latin typeface="+mn-lt"/>
                <a:ea typeface="ＭＳ Ｐゴシック" charset="0"/>
                <a:cs typeface="ＭＳ Ｐゴシック" charset="0"/>
              </a:rPr>
              <a:t>Clustering technology on Firepower enables mobile SPs to scale high-throughput IPsec and security gateway functionality across multiple processing modules on Firepower 9300 or across multiple Firepower 4100 series platforms as needed, to predictably pay as your needs grow. </a:t>
            </a:r>
          </a:p>
          <a:p>
            <a:pPr marL="171450" lvl="0" indent="-171450">
              <a:buFont typeface="Arial" charset="0"/>
              <a:buChar char="•"/>
            </a:pPr>
            <a:r>
              <a:rPr lang="en-US" sz="1200" kern="1200" dirty="0" smtClean="0">
                <a:solidFill>
                  <a:schemeClr val="tx1"/>
                </a:solidFill>
                <a:effectLst/>
                <a:latin typeface="+mn-lt"/>
                <a:ea typeface="ＭＳ Ｐゴシック" charset="0"/>
                <a:cs typeface="ＭＳ Ｐゴシック" charset="0"/>
              </a:rPr>
              <a:t>These capabilities allow mobile SPs to optimize security gateway performance while also reducing power and cooling costs. </a:t>
            </a:r>
          </a:p>
          <a:p>
            <a:r>
              <a:rPr lang="en-US" sz="1200" kern="1200" dirty="0" smtClean="0">
                <a:solidFill>
                  <a:schemeClr val="tx1"/>
                </a:solidFill>
                <a:effectLst/>
                <a:latin typeface="+mn-lt"/>
                <a:ea typeface="ＭＳ Ｐゴシック" charset="0"/>
                <a:cs typeface="ＭＳ Ｐゴシック" charset="0"/>
              </a:rPr>
              <a:t> </a:t>
            </a:r>
          </a:p>
          <a:p>
            <a:r>
              <a:rPr lang="en-US" sz="1200" kern="1200" dirty="0" smtClean="0">
                <a:solidFill>
                  <a:schemeClr val="tx1"/>
                </a:solidFill>
                <a:effectLst/>
                <a:latin typeface="+mn-lt"/>
                <a:ea typeface="ＭＳ Ｐゴシック" charset="0"/>
                <a:cs typeface="ＭＳ Ｐゴシック" charset="0"/>
              </a:rPr>
              <a:t>With Cisco Security Gateway, Service Providers get </a:t>
            </a:r>
            <a:r>
              <a:rPr lang="en-US" sz="1200" b="0" kern="1200" dirty="0" smtClean="0">
                <a:solidFill>
                  <a:schemeClr val="tx1"/>
                </a:solidFill>
                <a:effectLst/>
                <a:latin typeface="+mn-lt"/>
                <a:ea typeface="ＭＳ Ｐゴシック" charset="0"/>
                <a:cs typeface="ＭＳ Ｐゴシック" charset="0"/>
              </a:rPr>
              <a:t>superior performance, exceptional flexibility, and enduring reliability. </a:t>
            </a:r>
          </a:p>
          <a:p>
            <a:endParaRPr lang="en-US" sz="1200" b="0" kern="1200" dirty="0" smtClean="0">
              <a:solidFill>
                <a:schemeClr val="tx1"/>
              </a:solidFill>
              <a:effectLst/>
              <a:latin typeface="+mn-lt"/>
              <a:ea typeface="ＭＳ Ｐゴシック" charset="0"/>
              <a:cs typeface="ＭＳ Ｐゴシック" charset="0"/>
            </a:endParaRPr>
          </a:p>
          <a:p>
            <a:r>
              <a:rPr lang="en-US" sz="1200" b="0" kern="1200" dirty="0" smtClean="0">
                <a:solidFill>
                  <a:schemeClr val="tx1"/>
                </a:solidFill>
                <a:effectLst/>
                <a:latin typeface="+mn-lt"/>
                <a:ea typeface="ＭＳ Ｐゴシック" charset="0"/>
                <a:cs typeface="ＭＳ Ｐゴシック" charset="0"/>
              </a:rPr>
              <a:t>We are already</a:t>
            </a:r>
            <a:r>
              <a:rPr lang="en-US" sz="1200" b="0" kern="1200" baseline="0" dirty="0" smtClean="0">
                <a:solidFill>
                  <a:schemeClr val="tx1"/>
                </a:solidFill>
                <a:effectLst/>
                <a:latin typeface="+mn-lt"/>
                <a:ea typeface="ＭＳ Ｐゴシック" charset="0"/>
                <a:cs typeface="ＭＳ Ｐゴシック" charset="0"/>
              </a:rPr>
              <a:t> seeing customer adoption. Cisco and Ericsson announced recently that Vodafone Hutchinson Australia (VHA) selected security gateway on Firepower as part of their Virtualized Packet Core architecture towards 5G.</a:t>
            </a:r>
          </a:p>
          <a:p>
            <a:endParaRPr lang="en-US" sz="1200" kern="1200" dirty="0" smtClean="0">
              <a:solidFill>
                <a:schemeClr val="tx1"/>
              </a:solidFill>
              <a:effectLst/>
              <a:latin typeface="+mn-lt"/>
              <a:ea typeface="ＭＳ Ｐゴシック" charset="0"/>
              <a:cs typeface="ＭＳ Ｐゴシック" charset="0"/>
            </a:endParaRPr>
          </a:p>
          <a:p>
            <a:endParaRPr lang="en-US" sz="1400" dirty="0" smtClean="0">
              <a:solidFill>
                <a:schemeClr val="tx2"/>
              </a:solidFill>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4</a:t>
            </a:fld>
            <a:endParaRPr lang="en-US"/>
          </a:p>
        </p:txBody>
      </p:sp>
    </p:spTree>
    <p:extLst>
      <p:ext uri="{BB962C8B-B14F-4D97-AF65-F5344CB8AC3E}">
        <p14:creationId xmlns:p14="http://schemas.microsoft.com/office/powerpoint/2010/main" val="1123738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ＭＳ Ｐゴシック" charset="0"/>
                <a:cs typeface="ＭＳ Ｐゴシック" charset="0"/>
              </a:rPr>
              <a:t>Cisco Umbrella for Service Providers is a new cloud delivered managed security service that helps service providers to</a:t>
            </a:r>
            <a:r>
              <a:rPr lang="en-US" sz="1200" kern="1200" baseline="0" dirty="0" smtClean="0">
                <a:solidFill>
                  <a:schemeClr val="tx1"/>
                </a:solidFill>
                <a:effectLst/>
                <a:latin typeface="+mn-lt"/>
                <a:ea typeface="ＭＳ Ｐゴシック" charset="0"/>
                <a:cs typeface="ＭＳ Ｐゴシック" charset="0"/>
              </a:rPr>
              <a:t> protect their customers while allowing Service Providers to monetize new business opportunities.</a:t>
            </a:r>
            <a:endParaRPr lang="en-US" sz="1200" kern="1200" dirty="0" smtClean="0">
              <a:solidFill>
                <a:schemeClr val="tx1"/>
              </a:solidFill>
              <a:effectLst/>
              <a:latin typeface="+mn-lt"/>
              <a:ea typeface="ＭＳ Ｐゴシック" charset="0"/>
              <a:cs typeface="ＭＳ Ｐゴシック" charset="0"/>
            </a:endParaRPr>
          </a:p>
          <a:p>
            <a:endParaRPr lang="en-US" sz="1200" kern="1200" dirty="0" smtClean="0">
              <a:solidFill>
                <a:schemeClr val="tx1"/>
              </a:solidFill>
              <a:latin typeface="+mn-lt"/>
              <a:ea typeface="ＭＳ Ｐゴシック" charset="0"/>
              <a:cs typeface="ＭＳ Ｐゴシック" charset="0"/>
            </a:endParaRPr>
          </a:p>
          <a:p>
            <a:r>
              <a:rPr lang="en-US" sz="1200" kern="1200" dirty="0" smtClean="0">
                <a:solidFill>
                  <a:schemeClr val="tx1"/>
                </a:solidFill>
                <a:latin typeface="+mn-lt"/>
                <a:ea typeface="ＭＳ Ｐゴシック" charset="0"/>
                <a:cs typeface="ＭＳ Ｐゴシック" charset="0"/>
              </a:rPr>
              <a:t>This new</a:t>
            </a:r>
            <a:r>
              <a:rPr lang="en-US" sz="1200" kern="1200" baseline="0" dirty="0" smtClean="0">
                <a:solidFill>
                  <a:schemeClr val="tx1"/>
                </a:solidFill>
                <a:latin typeface="+mn-lt"/>
                <a:ea typeface="ＭＳ Ｐゴシック" charset="0"/>
                <a:cs typeface="ＭＳ Ｐゴシック" charset="0"/>
              </a:rPr>
              <a:t> solution is extremely simple for Service Providers to attach, configure, and manage.</a:t>
            </a:r>
            <a:endParaRPr lang="en-US" sz="1200" kern="1200" dirty="0" smtClean="0">
              <a:solidFill>
                <a:schemeClr val="tx1"/>
              </a:solidFill>
              <a:latin typeface="+mn-lt"/>
              <a:ea typeface="ＭＳ Ｐゴシック" charset="0"/>
              <a:cs typeface="ＭＳ Ｐゴシック" charset="0"/>
            </a:endParaRPr>
          </a:p>
          <a:p>
            <a:endParaRPr lang="en-US" sz="1200" kern="1200" dirty="0" smtClean="0">
              <a:solidFill>
                <a:schemeClr val="tx1"/>
              </a:solidFill>
              <a:latin typeface="+mn-lt"/>
              <a:ea typeface="ＭＳ Ｐゴシック" charset="0"/>
              <a:cs typeface="ＭＳ Ｐゴシック" charset="0"/>
            </a:endParaRPr>
          </a:p>
          <a:p>
            <a:r>
              <a:rPr lang="en-US" sz="1200" kern="1200" dirty="0" smtClean="0">
                <a:solidFill>
                  <a:schemeClr val="tx1"/>
                </a:solidFill>
                <a:latin typeface="+mn-lt"/>
                <a:ea typeface="ＭＳ Ｐゴシック" charset="0"/>
                <a:cs typeface="ＭＳ Ｐゴシック" charset="0"/>
              </a:rPr>
              <a:t>With</a:t>
            </a:r>
            <a:r>
              <a:rPr lang="en-US" sz="1200" kern="1200" baseline="0" dirty="0" smtClean="0">
                <a:solidFill>
                  <a:schemeClr val="tx1"/>
                </a:solidFill>
                <a:latin typeface="+mn-lt"/>
                <a:ea typeface="ＭＳ Ｐゴシック" charset="0"/>
                <a:cs typeface="ＭＳ Ｐゴシック" charset="0"/>
              </a:rPr>
              <a:t> Cisco Umbrella, SPs gain unmatched visibility and threat intelligence driven by Cisco’s view of the Internet that spans across 100 billion DNS request a day, 160 countries, and over 85 million users who use Cisco Umbrella on a daily basis.</a:t>
            </a:r>
            <a:endParaRPr lang="en-US" sz="1200" kern="1200" dirty="0" smtClean="0">
              <a:solidFill>
                <a:schemeClr val="tx1"/>
              </a:solidFill>
              <a:latin typeface="+mn-lt"/>
              <a:ea typeface="ＭＳ Ｐゴシック" charset="0"/>
              <a:cs typeface="ＭＳ Ｐゴシック" charset="0"/>
            </a:endParaRPr>
          </a:p>
          <a:p>
            <a:endParaRPr lang="en-US" sz="1200" kern="1200" dirty="0" smtClean="0">
              <a:solidFill>
                <a:schemeClr val="tx1"/>
              </a:solidFill>
              <a:latin typeface="+mn-lt"/>
              <a:ea typeface="ＭＳ Ｐゴシック" charset="0"/>
              <a:cs typeface="ＭＳ Ｐゴシック" charset="0"/>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ＭＳ Ｐゴシック" charset="0"/>
                <a:cs typeface="ＭＳ Ｐゴシック" charset="0"/>
              </a:rPr>
              <a:t>With Cisco Umbrella for Service Providers, SPs can now offer a ‘clean pipe</a:t>
            </a:r>
            <a:r>
              <a:rPr lang="en-US" sz="1200" kern="1200" baseline="0" dirty="0" smtClean="0">
                <a:solidFill>
                  <a:schemeClr val="tx1"/>
                </a:solidFill>
                <a:effectLst/>
                <a:latin typeface="+mn-lt"/>
                <a:ea typeface="ＭＳ Ｐゴシック" charset="0"/>
                <a:cs typeface="ＭＳ Ｐゴシック" charset="0"/>
              </a:rPr>
              <a:t>’ for SMB customers </a:t>
            </a:r>
            <a:r>
              <a:rPr lang="en-US" sz="1200" kern="1200" dirty="0" smtClean="0">
                <a:solidFill>
                  <a:schemeClr val="tx1"/>
                </a:solidFill>
                <a:effectLst/>
                <a:latin typeface="+mn-lt"/>
                <a:ea typeface="ＭＳ Ｐゴシック" charset="0"/>
                <a:cs typeface="ＭＳ Ｐゴシック" charset="0"/>
              </a:rPr>
              <a:t>that can easily extend to a full MSSP offering</a:t>
            </a:r>
            <a:r>
              <a:rPr lang="en-US" sz="1200" kern="1200" baseline="0" dirty="0" smtClean="0">
                <a:solidFill>
                  <a:schemeClr val="tx1"/>
                </a:solidFill>
                <a:effectLst/>
                <a:latin typeface="+mn-lt"/>
                <a:ea typeface="ＭＳ Ｐゴシック" charset="0"/>
                <a:cs typeface="ＭＳ Ｐゴシック" charset="0"/>
              </a:rPr>
              <a:t> for enterprises. </a:t>
            </a:r>
            <a:endParaRPr lang="en-US" sz="1200" kern="1200" dirty="0" smtClean="0">
              <a:solidFill>
                <a:schemeClr val="tx1"/>
              </a:solidFill>
              <a:effectLst/>
              <a:latin typeface="+mn-lt"/>
              <a:ea typeface="ＭＳ Ｐゴシック" charset="0"/>
              <a:cs typeface="ＭＳ Ｐゴシック" charset="0"/>
            </a:endParaRPr>
          </a:p>
          <a:p>
            <a:pPr marL="0" marR="0" indent="0" algn="l" defTabSz="457200" rtl="0" eaLnBrk="0" fontAlgn="base" latinLnBrk="0" hangingPunct="0">
              <a:lnSpc>
                <a:spcPct val="100000"/>
              </a:lnSpc>
              <a:spcBef>
                <a:spcPct val="30000"/>
              </a:spcBef>
              <a:spcAft>
                <a:spcPct val="0"/>
              </a:spcAft>
              <a:buClrTx/>
              <a:buSzTx/>
              <a:buFontTx/>
              <a:buNone/>
              <a:tabLst/>
              <a:defRPr/>
            </a:pPr>
            <a:endParaRPr lang="en-US" sz="1200" kern="1200" dirty="0" smtClean="0">
              <a:solidFill>
                <a:schemeClr val="tx1"/>
              </a:solidFill>
              <a:effectLst/>
              <a:latin typeface="+mn-lt"/>
              <a:ea typeface="ＭＳ Ｐゴシック" charset="0"/>
              <a:cs typeface="ＭＳ Ｐゴシック" charset="0"/>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ＭＳ Ｐゴシック" charset="0"/>
                <a:cs typeface="ＭＳ Ｐゴシック" charset="0"/>
              </a:rPr>
              <a:t>Also, we are seeing significant interest for Cisco</a:t>
            </a:r>
            <a:r>
              <a:rPr lang="en-US" sz="1200" kern="1200" baseline="0" dirty="0" smtClean="0">
                <a:solidFill>
                  <a:schemeClr val="tx1"/>
                </a:solidFill>
                <a:effectLst/>
                <a:latin typeface="+mn-lt"/>
                <a:ea typeface="ＭＳ Ｐゴシック" charset="0"/>
                <a:cs typeface="ＭＳ Ｐゴシック" charset="0"/>
              </a:rPr>
              <a:t> Umbrella from Mobile Operators who are looking to deliver network based security for the consumer market. </a:t>
            </a:r>
          </a:p>
          <a:p>
            <a:pPr marL="0" marR="0" indent="0" algn="l" defTabSz="457200" rtl="0" eaLnBrk="0" fontAlgn="base" latinLnBrk="0" hangingPunct="0">
              <a:lnSpc>
                <a:spcPct val="100000"/>
              </a:lnSpc>
              <a:spcBef>
                <a:spcPct val="30000"/>
              </a:spcBef>
              <a:spcAft>
                <a:spcPct val="0"/>
              </a:spcAft>
              <a:buClrTx/>
              <a:buSzTx/>
              <a:buFontTx/>
              <a:buNone/>
              <a:tabLst/>
              <a:defRPr/>
            </a:pPr>
            <a:endParaRPr lang="en-US" sz="1200" kern="1200" baseline="0" dirty="0" smtClean="0">
              <a:solidFill>
                <a:schemeClr val="tx1"/>
              </a:solidFill>
              <a:effectLst/>
              <a:latin typeface="+mn-lt"/>
              <a:ea typeface="ＭＳ Ｐゴシック" charset="0"/>
              <a:cs typeface="ＭＳ Ｐゴシック" charset="0"/>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US" sz="1200" kern="1200" baseline="0" dirty="0" smtClean="0">
                <a:solidFill>
                  <a:schemeClr val="tx1"/>
                </a:solidFill>
                <a:effectLst/>
                <a:latin typeface="+mn-lt"/>
                <a:ea typeface="ＭＳ Ｐゴシック" charset="0"/>
                <a:cs typeface="ＭＳ Ｐゴシック" charset="0"/>
              </a:rPr>
              <a:t>Mobile SPs can take advantage soon with the new Umbrella integration with the Evolved Packet Core (EPC).</a:t>
            </a:r>
            <a:endParaRPr lang="en-US" sz="1200" kern="1200" dirty="0" smtClean="0">
              <a:solidFill>
                <a:schemeClr val="tx1"/>
              </a:solidFill>
              <a:effectLst/>
              <a:latin typeface="+mn-lt"/>
              <a:ea typeface="ＭＳ Ｐゴシック" charset="0"/>
              <a:cs typeface="ＭＳ Ｐゴシック" charset="0"/>
            </a:endParaRPr>
          </a:p>
          <a:p>
            <a:endParaRPr lang="en-US" sz="1200" kern="1200" dirty="0" smtClean="0">
              <a:solidFill>
                <a:schemeClr val="tx1"/>
              </a:solidFill>
              <a:effectLst/>
              <a:latin typeface="+mn-lt"/>
              <a:ea typeface="ＭＳ Ｐゴシック"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5</a:t>
            </a:fld>
            <a:endParaRPr lang="en-US"/>
          </a:p>
        </p:txBody>
      </p:sp>
    </p:spTree>
    <p:extLst>
      <p:ext uri="{BB962C8B-B14F-4D97-AF65-F5344CB8AC3E}">
        <p14:creationId xmlns:p14="http://schemas.microsoft.com/office/powerpoint/2010/main" val="11073735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200" b="1" dirty="0" smtClean="0">
                <a:latin typeface="Cambria" panose="02040503050406030204" pitchFamily="18" charset="0"/>
                <a:ea typeface="MS Mincho"/>
                <a:cs typeface="Times New Roman" panose="02020603050405020304" pitchFamily="18" charset="0"/>
              </a:rPr>
              <a:t>At Mobile World Congress, Cisco, the world’s leading cyber security vendor, and Samsung, the world’s leading mobile device manufacturer, are announcing a new strategic partnership to redesign secure enterprise mobility. </a:t>
            </a:r>
          </a:p>
          <a:p>
            <a:pPr marL="0" marR="0">
              <a:spcBef>
                <a:spcPts val="0"/>
              </a:spcBef>
              <a:spcAft>
                <a:spcPts val="0"/>
              </a:spcAft>
            </a:pPr>
            <a:endParaRPr lang="en-US" sz="1200" b="1" dirty="0" smtClean="0">
              <a:latin typeface="Cambria" panose="02040503050406030204" pitchFamily="18" charset="0"/>
              <a:ea typeface="MS Mincho"/>
              <a:cs typeface="Times New Roman" panose="02020603050405020304" pitchFamily="18" charset="0"/>
            </a:endParaRPr>
          </a:p>
          <a:p>
            <a:pPr marL="0" marR="0">
              <a:spcBef>
                <a:spcPts val="0"/>
              </a:spcBef>
              <a:spcAft>
                <a:spcPts val="0"/>
              </a:spcAft>
            </a:pPr>
            <a:r>
              <a:rPr lang="en-US" sz="1200" b="1" dirty="0" smtClean="0">
                <a:latin typeface="Cambria" panose="02040503050406030204" pitchFamily="18" charset="0"/>
                <a:ea typeface="MS Mincho"/>
                <a:cs typeface="Times New Roman" panose="02020603050405020304" pitchFamily="18" charset="0"/>
              </a:rPr>
              <a:t>Cisco and Samsung will enable enterprises and service providers to extend visibility and device level protection to offer the most robust mobile device security platform for the enterprise.</a:t>
            </a:r>
          </a:p>
          <a:p>
            <a:pPr marL="0" marR="0">
              <a:spcBef>
                <a:spcPts val="0"/>
              </a:spcBef>
              <a:spcAft>
                <a:spcPts val="0"/>
              </a:spcAft>
            </a:pPr>
            <a:endParaRPr lang="en-US" sz="1200" b="1" dirty="0" smtClean="0">
              <a:latin typeface="Cambria" panose="02040503050406030204" pitchFamily="18" charset="0"/>
              <a:ea typeface="MS Mincho"/>
              <a:cs typeface="Times New Roman" panose="02020603050405020304" pitchFamily="18" charset="0"/>
            </a:endParaRPr>
          </a:p>
          <a:p>
            <a:pPr marL="0" marR="0">
              <a:spcBef>
                <a:spcPts val="0"/>
              </a:spcBef>
              <a:spcAft>
                <a:spcPts val="0"/>
              </a:spcAft>
            </a:pPr>
            <a:r>
              <a:rPr lang="en-US" sz="1200" b="1" dirty="0" smtClean="0">
                <a:latin typeface="Cambria" panose="02040503050406030204" pitchFamily="18" charset="0"/>
                <a:ea typeface="MS Mincho"/>
                <a:cs typeface="Times New Roman" panose="02020603050405020304" pitchFamily="18" charset="0"/>
              </a:rPr>
              <a:t>Samsung Knox, the award-winning defense-grade mobile security platform, together with Cisco AnyConnect and Stealthwatch, will offer enterprises unparalleled endpoint visibility and intelligence for the most secure enterprise mobile security solution available. </a:t>
            </a:r>
            <a:endParaRPr lang="en-US" sz="1200" b="1" dirty="0">
              <a:latin typeface="Cambria" panose="02040503050406030204" pitchFamily="18" charset="0"/>
              <a:ea typeface="MS Mincho"/>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6</a:t>
            </a:fld>
            <a:endParaRPr lang="en-US"/>
          </a:p>
        </p:txBody>
      </p:sp>
    </p:spTree>
    <p:extLst>
      <p:ext uri="{BB962C8B-B14F-4D97-AF65-F5344CB8AC3E}">
        <p14:creationId xmlns:p14="http://schemas.microsoft.com/office/powerpoint/2010/main" val="11775678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7</a:t>
            </a:fld>
            <a:endParaRPr lang="en-US"/>
          </a:p>
        </p:txBody>
      </p:sp>
    </p:spTree>
    <p:extLst>
      <p:ext uri="{BB962C8B-B14F-4D97-AF65-F5344CB8AC3E}">
        <p14:creationId xmlns:p14="http://schemas.microsoft.com/office/powerpoint/2010/main" val="1773786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7</a:t>
            </a:fld>
            <a:endParaRPr lang="en-US"/>
          </a:p>
        </p:txBody>
      </p:sp>
    </p:spTree>
    <p:extLst>
      <p:ext uri="{BB962C8B-B14F-4D97-AF65-F5344CB8AC3E}">
        <p14:creationId xmlns:p14="http://schemas.microsoft.com/office/powerpoint/2010/main" val="16689886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a:t>
            </a:r>
            <a:r>
              <a:rPr lang="en-US" baseline="0" dirty="0"/>
              <a:t> can go after new services business opportunity today if you have a network that is more efficient, more automated, more agile.  </a:t>
            </a:r>
          </a:p>
          <a:p>
            <a:r>
              <a:rPr lang="en-US" baseline="0" dirty="0"/>
              <a:t>In other words, a network that is 5G ready.</a:t>
            </a:r>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9</a:t>
            </a:fld>
            <a:endParaRPr lang="en-US">
              <a:solidFill>
                <a:prstClr val="black"/>
              </a:solidFill>
            </a:endParaRPr>
          </a:p>
        </p:txBody>
      </p:sp>
    </p:spTree>
    <p:extLst>
      <p:ext uri="{BB962C8B-B14F-4D97-AF65-F5344CB8AC3E}">
        <p14:creationId xmlns:p14="http://schemas.microsoft.com/office/powerpoint/2010/main" val="5480014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a:t>What do we mean by a “unifying network fabric” and what is an “Enablement Platform”?</a:t>
            </a:r>
          </a:p>
          <a:p>
            <a:endParaRPr lang="en-US" sz="1000" dirty="0"/>
          </a:p>
          <a:p>
            <a:r>
              <a:rPr lang="en-US" sz="1000" dirty="0"/>
              <a:t>Unifying network fabric:</a:t>
            </a:r>
          </a:p>
          <a:p>
            <a:pPr marL="171450" indent="-171450">
              <a:buFont typeface="Arial" panose="020B0604020202020204" pitchFamily="34" charset="0"/>
              <a:buChar char="•"/>
            </a:pPr>
            <a:r>
              <a:rPr lang="en-US" sz="1000" dirty="0"/>
              <a:t>Today the SP network is made up of domains; Mobile Backhaul, Edge and Core, Packet core, services, Data Centers, OSS/BSS, Management and Orchestration, etc.  </a:t>
            </a:r>
          </a:p>
          <a:p>
            <a:pPr marL="171450" indent="-171450">
              <a:buFont typeface="Arial" panose="020B0604020202020204" pitchFamily="34" charset="0"/>
              <a:buChar char="•"/>
            </a:pPr>
            <a:r>
              <a:rPr lang="en-US" sz="1000" dirty="0"/>
              <a:t>Cisco’s 5G strategic offering unifies these domains into a single network operated by advanced automation, orchestration, telemetry and machine learning management.  </a:t>
            </a:r>
          </a:p>
          <a:p>
            <a:endParaRPr lang="en-US" sz="1000" dirty="0"/>
          </a:p>
          <a:p>
            <a:r>
              <a:rPr lang="en-US" sz="1000" dirty="0"/>
              <a:t>Enablement Platform:</a:t>
            </a:r>
          </a:p>
          <a:p>
            <a:pPr marL="171450" indent="-171450">
              <a:buFont typeface="Arial" panose="020B0604020202020204" pitchFamily="34" charset="0"/>
              <a:buChar char="•"/>
            </a:pPr>
            <a:r>
              <a:rPr lang="en-US" sz="1000" dirty="0"/>
              <a:t>With all former domains communicating and interoperating as one, your network will be an enablement platform as it will be enabled to provide end-to-end network slices providing the exacting requirements of mission critical services like connected transportation, </a:t>
            </a:r>
            <a:r>
              <a:rPr lang="en-US" sz="1000" dirty="0" err="1"/>
              <a:t>tele</a:t>
            </a:r>
            <a:r>
              <a:rPr lang="en-US" sz="1000" dirty="0"/>
              <a:t>-robotic surgery, remote drone fleet management, etc.  </a:t>
            </a:r>
          </a:p>
          <a:p>
            <a:pPr marL="171450" indent="-171450">
              <a:buFont typeface="Arial" panose="020B0604020202020204" pitchFamily="34" charset="0"/>
              <a:buChar char="•"/>
            </a:pPr>
            <a:r>
              <a:rPr lang="en-US" sz="1000" dirty="0"/>
              <a:t>The open APIs, management and orchestration will make service creation fast and easy.</a:t>
            </a:r>
          </a:p>
          <a:p>
            <a:pPr marL="171450" indent="-171450">
              <a:buFont typeface="Arial" panose="020B0604020202020204" pitchFamily="34" charset="0"/>
              <a:buChar char="•"/>
            </a:pPr>
            <a:r>
              <a:rPr lang="en-US" sz="1000" dirty="0"/>
              <a:t>Advanced analytics, telemetry, and machine learning will provide hands-free operations and service assurance.</a:t>
            </a:r>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0</a:t>
            </a:fld>
            <a:endParaRPr lang="en-US"/>
          </a:p>
        </p:txBody>
      </p:sp>
    </p:spTree>
    <p:extLst>
      <p:ext uri="{BB962C8B-B14F-4D97-AF65-F5344CB8AC3E}">
        <p14:creationId xmlns:p14="http://schemas.microsoft.com/office/powerpoint/2010/main" val="7383117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B3BCFD-7A4E-4D8C-8868-AB46654BA6C1}" type="slidenum">
              <a:rPr lang="en-US" smtClean="0"/>
              <a:pPr/>
              <a:t>11</a:t>
            </a:fld>
            <a:endParaRPr lang="en-US" dirty="0"/>
          </a:p>
        </p:txBody>
      </p:sp>
    </p:spTree>
    <p:extLst>
      <p:ext uri="{BB962C8B-B14F-4D97-AF65-F5344CB8AC3E}">
        <p14:creationId xmlns:p14="http://schemas.microsoft.com/office/powerpoint/2010/main" val="1869359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CN working natively with IP, delivering 5G experience over</a:t>
            </a:r>
            <a:r>
              <a:rPr lang="en-US" baseline="0" dirty="0" smtClean="0"/>
              <a:t> existing radio</a:t>
            </a:r>
            <a:endParaRPr lang="en-US" dirty="0"/>
          </a:p>
        </p:txBody>
      </p:sp>
      <p:sp>
        <p:nvSpPr>
          <p:cNvPr id="4" name="Slide Number Placeholder 3"/>
          <p:cNvSpPr>
            <a:spLocks noGrp="1"/>
          </p:cNvSpPr>
          <p:nvPr>
            <p:ph type="sldNum" sz="quarter" idx="10"/>
          </p:nvPr>
        </p:nvSpPr>
        <p:spPr/>
        <p:txBody>
          <a:bodyPr/>
          <a:lstStyle/>
          <a:p>
            <a:fld id="{7DB3BCFD-7A4E-4D8C-8868-AB46654BA6C1}" type="slidenum">
              <a:rPr lang="en-US" smtClean="0"/>
              <a:pPr/>
              <a:t>12</a:t>
            </a:fld>
            <a:endParaRPr lang="en-US" dirty="0"/>
          </a:p>
        </p:txBody>
      </p:sp>
    </p:spTree>
    <p:extLst>
      <p:ext uri="{BB962C8B-B14F-4D97-AF65-F5344CB8AC3E}">
        <p14:creationId xmlns:p14="http://schemas.microsoft.com/office/powerpoint/2010/main" val="15550283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baseline="0" dirty="0" smtClean="0"/>
              <a:t>Service is designed to significantly increase the ARPU VF generates from video services in a TV market that is predominantly free to air </a:t>
            </a:r>
          </a:p>
          <a:p>
            <a:endParaRPr lang="en-US" dirty="0" smtClean="0"/>
          </a:p>
          <a:p>
            <a:endParaRPr lang="en-US" dirty="0" smtClean="0"/>
          </a:p>
          <a:p>
            <a:endParaRPr lang="en-US" baseline="0" dirty="0" smtClean="0"/>
          </a:p>
          <a:p>
            <a:endParaRPr lang="en-US" dirty="0" smtClean="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2</a:t>
            </a:fld>
            <a:endParaRPr lang="en-US"/>
          </a:p>
        </p:txBody>
      </p:sp>
    </p:spTree>
    <p:extLst>
      <p:ext uri="{BB962C8B-B14F-4D97-AF65-F5344CB8AC3E}">
        <p14:creationId xmlns:p14="http://schemas.microsoft.com/office/powerpoint/2010/main" val="20770825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Image Placeholder 1"/>
          <p:cNvSpPr>
            <a:spLocks noGrp="1" noRot="1" noChangeAspect="1" noTextEdi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val="1"/>
            </a:ext>
            <a:ext uri="{909E8E84-426E-40dd-AFC4-6F175D3DCCD1}">
              <a14:hiddenFill xmlns="" xmlns:a14="http://schemas.microsoft.com/office/drawing/2010/main">
                <a:solidFill>
                  <a:srgbClr val="FFFFFF"/>
                </a:solidFill>
              </a14:hiddenFill>
            </a:ext>
          </a:extLst>
        </p:spPr>
      </p:sp>
      <p:sp>
        <p:nvSpPr>
          <p:cNvPr id="64514" name="Notes Placeholder 2"/>
          <p:cNvSpPr>
            <a:spLocks noGrp="1"/>
          </p:cNvSpPr>
          <p:nvPr>
            <p:ph type="body" idx="1"/>
          </p:nvPr>
        </p:nvSpPr>
        <p:spPr bwMode="auto">
          <a:noFill/>
          <a:extLst>
            <a:ext uri="{FAA26D3D-D897-4be2-8F04-BA451C77F1D7}">
              <ma14:placeholderFlag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dirty="0"/>
          </a:p>
        </p:txBody>
      </p:sp>
      <p:sp>
        <p:nvSpPr>
          <p:cNvPr id="64515"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ct val="0"/>
              </a:spcBef>
              <a:spcAft>
                <a:spcPct val="0"/>
              </a:spcAft>
            </a:pPr>
            <a:fld id="{07A92C9F-2493-EB4B-8737-3D15058339EC}" type="slidenum">
              <a:rPr lang="en-US" sz="1200">
                <a:latin typeface="Arial" pitchFamily="34" charset="0"/>
                <a:cs typeface="Arial" pitchFamily="34" charset="0"/>
              </a:rPr>
              <a:pPr eaLnBrk="1" fontAlgn="base" hangingPunct="1">
                <a:spcBef>
                  <a:spcPct val="0"/>
                </a:spcBef>
                <a:spcAft>
                  <a:spcPct val="0"/>
                </a:spcAft>
              </a:pPr>
              <a:t>25</a:t>
            </a:fld>
            <a:endParaRPr lang="en-US" sz="1200">
              <a:latin typeface="Arial" pitchFamily="34" charset="0"/>
              <a:cs typeface="Arial" pitchFamily="34" charset="0"/>
            </a:endParaRPr>
          </a:p>
        </p:txBody>
      </p:sp>
    </p:spTree>
    <p:extLst>
      <p:ext uri="{BB962C8B-B14F-4D97-AF65-F5344CB8AC3E}">
        <p14:creationId xmlns:p14="http://schemas.microsoft.com/office/powerpoint/2010/main" val="10901965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emf"/><Relationship Id="rId3"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2.emf"/><Relationship Id="rId1" Type="http://schemas.openxmlformats.org/officeDocument/2006/relationships/slideMaster" Target="../slideMasters/slideMaster1.xml"/><Relationship Id="rId2" Type="http://schemas.openxmlformats.org/officeDocument/2006/relationships/image" Target="../media/image6.jpe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eg"/><Relationship Id="rId3"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7" name="Picture 6" descr="logo_black.ai"/>
          <p:cNvPicPr>
            <a:picLocks noChangeAspect="1"/>
          </p:cNvPicPr>
          <p:nvPr/>
        </p:nvPicPr>
        <p:blipFill>
          <a:blip r:embed="rId2">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421200" y="324000"/>
            <a:ext cx="949596" cy="585216"/>
          </a:xfrm>
          <a:prstGeom prst="rect">
            <a:avLst/>
          </a:prstGeom>
        </p:spPr>
      </p:pic>
      <p:sp>
        <p:nvSpPr>
          <p:cNvPr id="16" name="Subtitle 2"/>
          <p:cNvSpPr>
            <a:spLocks noGrp="1"/>
          </p:cNvSpPr>
          <p:nvPr>
            <p:ph type="subTitle" idx="1" hasCustomPrompt="1"/>
          </p:nvPr>
        </p:nvSpPr>
        <p:spPr>
          <a:xfrm>
            <a:off x="469497" y="3793199"/>
            <a:ext cx="8296421" cy="288131"/>
          </a:xfrm>
          <a:prstGeom prst="rect">
            <a:avLst/>
          </a:prstGeom>
        </p:spPr>
        <p:txBody>
          <a:bodyPr lIns="91418" tIns="45709" rIns="91418" bIns="45709" anchor="b" anchorCtr="0">
            <a:noAutofit/>
          </a:bodyPr>
          <a:lstStyle>
            <a:lvl1pPr marL="0" indent="0" algn="l">
              <a:buNone/>
              <a:defRPr sz="1400" b="0" i="0">
                <a:solidFill>
                  <a:srgbClr val="FFFFFE"/>
                </a:solidFill>
                <a:latin typeface="+mn-lt"/>
                <a:cs typeface="CiscoSans"/>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dirty="0" smtClean="0"/>
              <a:t>Speaker Name</a:t>
            </a:r>
            <a:endParaRPr lang="en-US" dirty="0"/>
          </a:p>
        </p:txBody>
      </p:sp>
      <p:sp>
        <p:nvSpPr>
          <p:cNvPr id="17" name="Text Placeholder 38"/>
          <p:cNvSpPr>
            <a:spLocks noGrp="1"/>
          </p:cNvSpPr>
          <p:nvPr>
            <p:ph type="body" sz="quarter" idx="11" hasCustomPrompt="1"/>
          </p:nvPr>
        </p:nvSpPr>
        <p:spPr>
          <a:xfrm>
            <a:off x="469497" y="4033196"/>
            <a:ext cx="8296421" cy="288131"/>
          </a:xfrm>
          <a:prstGeom prst="rect">
            <a:avLst/>
          </a:prstGeom>
        </p:spPr>
        <p:txBody>
          <a:bodyPr lIns="91418" tIns="45709" rIns="91418" bIns="45709"/>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8" name="Text Placeholder 40"/>
          <p:cNvSpPr>
            <a:spLocks noGrp="1"/>
          </p:cNvSpPr>
          <p:nvPr>
            <p:ph type="body" sz="quarter" idx="12" hasCustomPrompt="1"/>
          </p:nvPr>
        </p:nvSpPr>
        <p:spPr>
          <a:xfrm>
            <a:off x="469497" y="4273193"/>
            <a:ext cx="8296421" cy="288131"/>
          </a:xfrm>
          <a:prstGeom prst="rect">
            <a:avLst/>
          </a:prstGeom>
        </p:spPr>
        <p:txBody>
          <a:bodyPr lIns="91418" tIns="45709" rIns="91418" bIns="45709"/>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9" name="Text Placeholder 2"/>
          <p:cNvSpPr>
            <a:spLocks noGrp="1"/>
          </p:cNvSpPr>
          <p:nvPr>
            <p:ph type="body" sz="quarter" idx="13" hasCustomPrompt="1"/>
          </p:nvPr>
        </p:nvSpPr>
        <p:spPr>
          <a:xfrm>
            <a:off x="463293" y="3211463"/>
            <a:ext cx="8302625" cy="299001"/>
          </a:xfrm>
          <a:prstGeom prst="rect">
            <a:avLst/>
          </a:prstGeom>
        </p:spPr>
        <p:txBody>
          <a:bodyPr lIns="91418" tIns="45709" rIns="91418" bIns="45709"/>
          <a:lstStyle>
            <a:lvl1pPr marL="0" indent="0">
              <a:buFont typeface="Arial" panose="020B0604020202020204" pitchFamily="34" charset="0"/>
              <a:buNone/>
              <a:defRPr sz="2200" baseline="0">
                <a:solidFill>
                  <a:srgbClr val="FFFFFE"/>
                </a:solidFill>
                <a:latin typeface="+mj-lt"/>
              </a:defRPr>
            </a:lvl1pPr>
            <a:lvl2pPr marL="304774" indent="0">
              <a:buNone/>
              <a:defRPr/>
            </a:lvl2pPr>
            <a:lvl3pPr marL="427391" indent="0">
              <a:buNone/>
              <a:defRPr/>
            </a:lvl3pPr>
            <a:lvl4pPr marL="516681" indent="0">
              <a:buNone/>
              <a:defRPr/>
            </a:lvl4pPr>
            <a:lvl5pPr marL="601206" indent="0">
              <a:buNone/>
              <a:defRPr/>
            </a:lvl5pPr>
          </a:lstStyle>
          <a:p>
            <a:pPr lvl="0"/>
            <a:r>
              <a:rPr lang="en-GB" dirty="0" smtClean="0"/>
              <a:t>Subtitle Goes Here</a:t>
            </a:r>
          </a:p>
        </p:txBody>
      </p:sp>
      <p:sp>
        <p:nvSpPr>
          <p:cNvPr id="2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2122942396"/>
      </p:ext>
    </p:extLst>
  </p:cSld>
  <p:clrMapOvr>
    <a:masterClrMapping/>
  </p:clrMapOvr>
  <p:transition spd="slow">
    <p:wip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18" tIns="45709" rIns="91418" bIns="45709">
            <a:noAutofit/>
          </a:bodyPr>
          <a:lstStyle>
            <a:lvl1pPr marL="280921" indent="-223787">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82" indent="-215849">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39" indent="-171411">
              <a:buClr>
                <a:schemeClr val="tx1"/>
              </a:buClr>
              <a:buSzPct val="80000"/>
              <a:buFont typeface="Arial"/>
              <a:buChar char="•"/>
              <a:defRPr sz="1600" b="0" i="0">
                <a:solidFill>
                  <a:srgbClr val="676767"/>
                </a:solidFill>
                <a:latin typeface="+mn-lt"/>
                <a:cs typeface="CiscoSans ExtraLight"/>
              </a:defRPr>
            </a:lvl3pPr>
            <a:lvl4pPr marL="911012" indent="-171411">
              <a:buClr>
                <a:schemeClr val="tx1"/>
              </a:buClr>
              <a:buSzPct val="80000"/>
              <a:buFont typeface="Arial"/>
              <a:buChar char="•"/>
              <a:defRPr sz="1400" b="0" i="0">
                <a:solidFill>
                  <a:srgbClr val="676767"/>
                </a:solidFill>
                <a:latin typeface="+mn-lt"/>
                <a:cs typeface="CiscoSans ExtraLight"/>
              </a:defRPr>
            </a:lvl4pPr>
            <a:lvl5pPr marL="1082423" indent="-168236">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2" tIns="45711" rIns="91422" bIns="45711"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316443340"/>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7" y="1347788"/>
            <a:ext cx="3901123" cy="3083094"/>
          </a:xfrm>
          <a:prstGeom prst="rect">
            <a:avLst/>
          </a:prstGeom>
        </p:spPr>
        <p:txBody>
          <a:bodyPr lIns="91418" tIns="45709" rIns="91418" bIns="45709">
            <a:noAutofit/>
          </a:bodyPr>
          <a:lstStyle>
            <a:lvl1pPr marL="228549" indent="-171411">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094" indent="-215849">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05" indent="-171411">
              <a:buClr>
                <a:schemeClr val="tx1"/>
              </a:buClr>
              <a:buSzPct val="80000"/>
              <a:buFont typeface="Arial"/>
              <a:buChar char="•"/>
              <a:defRPr sz="1600" b="0" i="0">
                <a:solidFill>
                  <a:schemeClr val="tx1"/>
                </a:solidFill>
                <a:latin typeface="+mn-lt"/>
                <a:cs typeface="CiscoSans ExtraLight"/>
              </a:defRPr>
            </a:lvl3pPr>
            <a:lvl4pPr marL="799914" indent="-171411">
              <a:buClr>
                <a:schemeClr val="tx1"/>
              </a:buClr>
              <a:buSzPct val="80000"/>
              <a:buFont typeface="Arial"/>
              <a:buChar char="•"/>
              <a:defRPr sz="1400" b="0" i="0">
                <a:solidFill>
                  <a:schemeClr val="tx1"/>
                </a:solidFill>
                <a:latin typeface="+mn-lt"/>
                <a:cs typeface="CiscoSans ExtraLight"/>
              </a:defRPr>
            </a:lvl4pPr>
            <a:lvl5pPr marL="971323" indent="-171411">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18" tIns="45709" rIns="91418" bIns="45709">
            <a:noAutofit/>
          </a:bodyPr>
          <a:lstStyle>
            <a:lvl1pPr marL="228549" indent="-171411">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094" indent="-215849">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05" indent="-171411">
              <a:buClr>
                <a:schemeClr val="tx1"/>
              </a:buClr>
              <a:buSzPct val="80000"/>
              <a:buFont typeface="Arial"/>
              <a:buChar char="•"/>
              <a:defRPr sz="1600" b="0" i="0">
                <a:solidFill>
                  <a:schemeClr val="tx1"/>
                </a:solidFill>
                <a:latin typeface="+mn-lt"/>
                <a:cs typeface="CiscoSans ExtraLight"/>
              </a:defRPr>
            </a:lvl3pPr>
            <a:lvl4pPr marL="799914" indent="-171411">
              <a:buClr>
                <a:schemeClr val="tx1"/>
              </a:buClr>
              <a:buSzPct val="80000"/>
              <a:buFont typeface="Arial"/>
              <a:buChar char="•"/>
              <a:defRPr sz="1400" b="0" i="0">
                <a:solidFill>
                  <a:schemeClr val="tx1"/>
                </a:solidFill>
                <a:latin typeface="+mn-lt"/>
                <a:cs typeface="CiscoSans ExtraLight"/>
              </a:defRPr>
            </a:lvl4pPr>
            <a:lvl5pPr marL="971323" indent="-171411">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2" tIns="45711" rIns="91422" bIns="45711"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155326683"/>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1"/>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9" y="302506"/>
            <a:ext cx="3715995" cy="826447"/>
          </a:xfrm>
          <a:prstGeom prst="rect">
            <a:avLst/>
          </a:prstGeom>
        </p:spPr>
        <p:txBody>
          <a:bodyPr lIns="61711" tIns="34286" rIns="61711" bIns="34286" rtlCol="0">
            <a:noAutofit/>
          </a:bodyPr>
          <a:lstStyle>
            <a:lvl1pPr algn="l" defTabSz="685703"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5" y="302506"/>
            <a:ext cx="3715995" cy="826446"/>
          </a:xfrm>
          <a:prstGeom prst="rect">
            <a:avLst/>
          </a:prstGeom>
        </p:spPr>
        <p:txBody>
          <a:bodyPr lIns="91418" tIns="45709" rIns="91418" bIns="45709" anchor="ctr" anchorCtr="0">
            <a:noAutofit/>
          </a:bodyPr>
          <a:lstStyle>
            <a:lvl1pPr marL="0" marR="0" indent="0" algn="l" defTabSz="685703"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467929" y="1347788"/>
            <a:ext cx="3715995" cy="3083094"/>
          </a:xfrm>
          <a:prstGeom prst="rect">
            <a:avLst/>
          </a:prstGeom>
        </p:spPr>
        <p:txBody>
          <a:bodyPr lIns="91418" tIns="45709" rIns="91418" bIns="45709">
            <a:noAutofit/>
          </a:bodyPr>
          <a:lstStyle>
            <a:lvl1pPr marL="228549" indent="-171411">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094" indent="-215849">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05" indent="-171411">
              <a:buClr>
                <a:schemeClr val="tx1"/>
              </a:buClr>
              <a:buSzPct val="80000"/>
              <a:buFont typeface="Arial"/>
              <a:buChar char="•"/>
              <a:defRPr sz="1600" b="0" i="0">
                <a:solidFill>
                  <a:schemeClr val="tx1"/>
                </a:solidFill>
                <a:latin typeface="+mn-lt"/>
                <a:cs typeface="CiscoSans ExtraLight"/>
              </a:defRPr>
            </a:lvl3pPr>
            <a:lvl4pPr marL="799914" indent="-171411">
              <a:buClr>
                <a:schemeClr val="tx1"/>
              </a:buClr>
              <a:buSzPct val="80000"/>
              <a:buFont typeface="Arial"/>
              <a:buChar char="•"/>
              <a:defRPr sz="1400" b="0" i="0">
                <a:solidFill>
                  <a:schemeClr val="tx1"/>
                </a:solidFill>
                <a:latin typeface="+mn-lt"/>
                <a:cs typeface="CiscoSans ExtraLight"/>
              </a:defRPr>
            </a:lvl4pPr>
            <a:lvl5pPr marL="971323" indent="-171411">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905965" y="1347788"/>
            <a:ext cx="3715995" cy="3083094"/>
          </a:xfrm>
          <a:prstGeom prst="rect">
            <a:avLst/>
          </a:prstGeom>
        </p:spPr>
        <p:txBody>
          <a:bodyPr lIns="91418" tIns="45709" rIns="91418" bIns="45709">
            <a:noAutofit/>
          </a:bodyPr>
          <a:lstStyle>
            <a:lvl1pPr marL="228549" indent="-171411">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094" indent="-215849">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05" indent="-171411">
              <a:buClr>
                <a:schemeClr val="tx1"/>
              </a:buClr>
              <a:buSzPct val="80000"/>
              <a:buFont typeface="Arial"/>
              <a:buChar char="•"/>
              <a:defRPr sz="1600" b="0" i="0">
                <a:solidFill>
                  <a:schemeClr val="tx1"/>
                </a:solidFill>
                <a:latin typeface="+mn-lt"/>
                <a:cs typeface="CiscoSans ExtraLight"/>
              </a:defRPr>
            </a:lvl3pPr>
            <a:lvl4pPr marL="799914" indent="-171411">
              <a:buClr>
                <a:schemeClr val="tx1"/>
              </a:buClr>
              <a:buSzPct val="80000"/>
              <a:buFont typeface="Arial"/>
              <a:buChar char="•"/>
              <a:defRPr sz="1400" b="0" i="0">
                <a:solidFill>
                  <a:schemeClr val="tx1"/>
                </a:solidFill>
                <a:latin typeface="+mn-lt"/>
                <a:cs typeface="CiscoSans ExtraLight"/>
              </a:defRPr>
            </a:lvl4pPr>
            <a:lvl5pPr marL="971323" indent="-171411">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4047600002"/>
      </p:ext>
    </p:extLst>
  </p:cSld>
  <p:clrMapOvr>
    <a:masterClrMapping/>
  </p:clrMapOvr>
  <p:transition spd="med">
    <p:fade/>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1"/>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1"/>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4" y="228319"/>
            <a:ext cx="2337109" cy="770461"/>
          </a:xfrm>
          <a:prstGeom prst="rect">
            <a:avLst/>
          </a:prstGeom>
        </p:spPr>
        <p:txBody>
          <a:bodyPr lIns="91418" tIns="45709" rIns="91418" bIns="45709" anchor="b" anchorCtr="0">
            <a:noAutofit/>
          </a:bodyPr>
          <a:lstStyle>
            <a:lvl1pPr marL="0" marR="0" indent="0" algn="l" defTabSz="685703"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29" y="227839"/>
            <a:ext cx="2337109" cy="770461"/>
          </a:xfrm>
          <a:prstGeom prst="rect">
            <a:avLst/>
          </a:prstGeom>
        </p:spPr>
        <p:txBody>
          <a:bodyPr lIns="91418" tIns="45709" rIns="91418" bIns="45709" anchor="b" anchorCtr="0">
            <a:noAutofit/>
          </a:bodyPr>
          <a:lstStyle>
            <a:lvl1pPr marL="0" marR="0" indent="0" algn="l" defTabSz="685703"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4" y="220479"/>
            <a:ext cx="2337109" cy="770461"/>
          </a:xfrm>
          <a:prstGeom prst="rect">
            <a:avLst/>
          </a:prstGeom>
        </p:spPr>
        <p:txBody>
          <a:bodyPr lIns="91418" tIns="45709" rIns="91418" bIns="45709" anchor="b" anchorCtr="0">
            <a:noAutofit/>
          </a:bodyPr>
          <a:lstStyle>
            <a:lvl1pPr marL="0" marR="0" indent="0" algn="l" defTabSz="685703"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461964" y="1201094"/>
            <a:ext cx="2337110" cy="3314904"/>
          </a:xfrm>
          <a:prstGeom prst="rect">
            <a:avLst/>
          </a:prstGeom>
        </p:spPr>
        <p:txBody>
          <a:bodyPr lIns="91418" tIns="45709" rIns="91418" bIns="45709">
            <a:noAutofit/>
          </a:bodyPr>
          <a:lstStyle>
            <a:lvl1pPr marL="233310" indent="-171411">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00" indent="-171411">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18" tIns="45709" rIns="91418" bIns="45709">
            <a:noAutofit/>
          </a:bodyPr>
          <a:lstStyle>
            <a:lvl1pPr marL="233310" indent="-171411">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00" indent="-171411">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354813" y="1200321"/>
            <a:ext cx="2337110" cy="3314904"/>
          </a:xfrm>
          <a:prstGeom prst="rect">
            <a:avLst/>
          </a:prstGeom>
        </p:spPr>
        <p:txBody>
          <a:bodyPr lIns="91418" tIns="45709" rIns="91418" bIns="45709">
            <a:noAutofit/>
          </a:bodyPr>
          <a:lstStyle>
            <a:lvl1pPr marL="233310" indent="-171411">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00" indent="-171411">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Tree>
    <p:extLst>
      <p:ext uri="{BB962C8B-B14F-4D97-AF65-F5344CB8AC3E}">
        <p14:creationId xmlns:p14="http://schemas.microsoft.com/office/powerpoint/2010/main" val="4147258287"/>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6"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anchor="ctr"/>
          <a:lstStyle/>
          <a:p>
            <a:pPr algn="ctr" fontAlgn="auto">
              <a:spcBef>
                <a:spcPts val="0"/>
              </a:spcBef>
              <a:spcAft>
                <a:spcPts val="0"/>
              </a:spcAft>
              <a:defRPr/>
            </a:pPr>
            <a:endParaRPr lang="en-US">
              <a:latin typeface="+mj-lt"/>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18" tIns="45709" rIns="91418" bIns="45709">
            <a:noAutofit/>
          </a:bodyPr>
          <a:lstStyle>
            <a:lvl1pPr marL="85716" indent="-85716" algn="l" defTabSz="685703"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6" indent="-85716" algn="l" defTabSz="685703" rtl="0" eaLnBrk="1" latinLnBrk="0" hangingPunct="1">
              <a:defRPr lang="en-US" sz="1500" kern="1200" dirty="0" smtClean="0">
                <a:solidFill>
                  <a:schemeClr val="accent2"/>
                </a:solidFill>
                <a:latin typeface="Ciscolight" pitchFamily="2" charset="0"/>
                <a:ea typeface="+mn-ea"/>
                <a:cs typeface="+mn-cs"/>
              </a:defRPr>
            </a:lvl2pPr>
            <a:lvl3pPr marL="85716" indent="-85716" algn="l" defTabSz="685703" rtl="0" eaLnBrk="1" latinLnBrk="0" hangingPunct="1">
              <a:defRPr lang="en-US" sz="1500" kern="1200" dirty="0" smtClean="0">
                <a:solidFill>
                  <a:schemeClr val="accent2"/>
                </a:solidFill>
                <a:latin typeface="Ciscolight" pitchFamily="2" charset="0"/>
                <a:ea typeface="+mn-ea"/>
                <a:cs typeface="+mn-cs"/>
              </a:defRPr>
            </a:lvl3pPr>
            <a:lvl4pPr marL="85716" indent="-85716" algn="l" defTabSz="685703" rtl="0" eaLnBrk="1" latinLnBrk="0" hangingPunct="1">
              <a:defRPr lang="en-US" sz="1500" kern="1200" dirty="0" smtClean="0">
                <a:solidFill>
                  <a:schemeClr val="accent2"/>
                </a:solidFill>
                <a:latin typeface="Ciscolight" pitchFamily="2" charset="0"/>
                <a:ea typeface="+mn-ea"/>
                <a:cs typeface="+mn-cs"/>
              </a:defRPr>
            </a:lvl4pPr>
            <a:lvl5pPr marL="85716" indent="-85716" algn="l" defTabSz="685703"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7" y="3552444"/>
            <a:ext cx="3506245" cy="253746"/>
          </a:xfrm>
          <a:prstGeom prst="rect">
            <a:avLst/>
          </a:prstGeom>
        </p:spPr>
        <p:txBody>
          <a:bodyPr lIns="91418" tIns="45709" rIns="91418" bIns="45709">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437767" y="1347788"/>
            <a:ext cx="3901123" cy="3083094"/>
          </a:xfrm>
          <a:prstGeom prst="rect">
            <a:avLst/>
          </a:prstGeom>
        </p:spPr>
        <p:txBody>
          <a:bodyPr lIns="91418" tIns="45709" rIns="91418" bIns="45709">
            <a:noAutofit/>
          </a:bodyPr>
          <a:lstStyle>
            <a:lvl1pPr marL="228549" indent="-171411">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094" indent="-215849">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05" indent="-171411">
              <a:buClr>
                <a:schemeClr val="tx1"/>
              </a:buClr>
              <a:buSzPct val="80000"/>
              <a:buFont typeface="Arial"/>
              <a:buChar char="•"/>
              <a:defRPr sz="1600" b="0" i="0">
                <a:solidFill>
                  <a:schemeClr val="tx1"/>
                </a:solidFill>
                <a:latin typeface="+mn-lt"/>
                <a:cs typeface="CiscoSans ExtraLight"/>
              </a:defRPr>
            </a:lvl3pPr>
            <a:lvl4pPr marL="799914" indent="-171411">
              <a:buClr>
                <a:schemeClr val="tx1"/>
              </a:buClr>
              <a:buSzPct val="80000"/>
              <a:buFont typeface="Arial"/>
              <a:buChar char="•"/>
              <a:defRPr sz="1400" b="0" i="0">
                <a:solidFill>
                  <a:schemeClr val="tx1"/>
                </a:solidFill>
                <a:latin typeface="+mn-lt"/>
                <a:cs typeface="CiscoSans ExtraLight"/>
              </a:defRPr>
            </a:lvl4pPr>
            <a:lvl5pPr marL="971323" indent="-171411">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2" tIns="45711" rIns="91422" bIns="45711"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4081477610"/>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2" tIns="45711" rIns="91422" bIns="45711"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896724465"/>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18" tIns="45709" rIns="91418" bIns="45709" anchor="b" anchorCtr="0">
            <a:noAutofit/>
          </a:bodyPr>
          <a:lstStyle>
            <a:lvl1pPr marL="0" indent="0" algn="l" defTabSz="603560">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Click to edit text </a:t>
            </a:r>
          </a:p>
        </p:txBody>
      </p:sp>
      <p:sp>
        <p:nvSpPr>
          <p:cNvPr id="4" name="Title 1"/>
          <p:cNvSpPr>
            <a:spLocks noGrp="1"/>
          </p:cNvSpPr>
          <p:nvPr>
            <p:ph type="ctrTitle" hasCustomPrompt="1"/>
          </p:nvPr>
        </p:nvSpPr>
        <p:spPr>
          <a:xfrm>
            <a:off x="287923" y="1540552"/>
            <a:ext cx="7972248" cy="2278837"/>
          </a:xfrm>
          <a:prstGeom prst="rect">
            <a:avLst/>
          </a:prstGeom>
        </p:spPr>
        <p:txBody>
          <a:bodyPr anchor="ctr">
            <a:noAutofit/>
          </a:bodyPr>
          <a:lstStyle>
            <a:lvl1pPr marL="183596" indent="-399958" algn="l">
              <a:lnSpc>
                <a:spcPct val="90000"/>
              </a:lnSpc>
              <a:defRPr sz="4600" b="0" i="1" spc="0" baseline="0">
                <a:solidFill>
                  <a:srgbClr val="3E6BB4"/>
                </a:solidFill>
                <a:latin typeface="+mj-lt"/>
                <a:cs typeface="CiscoSans Thin"/>
              </a:defRPr>
            </a:lvl1pPr>
          </a:lstStyle>
          <a:p>
            <a:r>
              <a:rPr lang="en-GB" dirty="0" smtClean="0"/>
              <a:t>“Quote Goes Here”</a:t>
            </a:r>
            <a:endParaRPr lang="en-US" dirty="0"/>
          </a:p>
        </p:txBody>
      </p:sp>
    </p:spTree>
    <p:extLst>
      <p:ext uri="{BB962C8B-B14F-4D97-AF65-F5344CB8AC3E}">
        <p14:creationId xmlns:p14="http://schemas.microsoft.com/office/powerpoint/2010/main" val="212914017"/>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1"/>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4" y="1439061"/>
            <a:ext cx="3820348" cy="2265389"/>
          </a:xfrm>
        </p:spPr>
        <p:txBody>
          <a:bodyPr lIns="61714" tIns="34287" rIns="61714" bIns="34287" rtlCol="0" anchor="ctr">
            <a:noAutofit/>
          </a:bodyPr>
          <a:lstStyle>
            <a:lvl1pPr marL="0" indent="0" algn="l" defTabSz="685731"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smtClean="0"/>
              <a:t>Title Goes Here</a:t>
            </a:r>
            <a:endParaRPr lang="en-US" dirty="0"/>
          </a:p>
        </p:txBody>
      </p:sp>
      <p:sp>
        <p:nvSpPr>
          <p:cNvPr id="9" name="Text Placeholder 3"/>
          <p:cNvSpPr>
            <a:spLocks noGrp="1"/>
          </p:cNvSpPr>
          <p:nvPr>
            <p:ph type="body" sz="quarter" idx="11" hasCustomPrompt="1"/>
          </p:nvPr>
        </p:nvSpPr>
        <p:spPr>
          <a:xfrm>
            <a:off x="4922521" y="654518"/>
            <a:ext cx="3865880" cy="3840480"/>
          </a:xfrm>
          <a:prstGeom prst="rect">
            <a:avLst/>
          </a:prstGeom>
        </p:spPr>
        <p:txBody>
          <a:bodyPr lIns="91418" tIns="45709" rIns="91418" bIns="45709"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smtClean="0"/>
              <a:t>Click to edit text</a:t>
            </a:r>
          </a:p>
        </p:txBody>
      </p:sp>
    </p:spTree>
    <p:extLst>
      <p:ext uri="{BB962C8B-B14F-4D97-AF65-F5344CB8AC3E}">
        <p14:creationId xmlns:p14="http://schemas.microsoft.com/office/powerpoint/2010/main" val="2961399751"/>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9"/>
            <a:ext cx="8345488" cy="2658728"/>
          </a:xfrm>
          <a:prstGeom prst="rect">
            <a:avLst/>
          </a:prstGeom>
        </p:spPr>
        <p:txBody>
          <a:bodyPr lIns="91418" tIns="45709" rIns="91418" bIns="45709">
            <a:noAutofit/>
          </a:bodyPr>
          <a:lstStyle>
            <a:lvl1pPr marL="0" indent="0" algn="ctr">
              <a:buNone/>
              <a:defRPr sz="2000" baseline="0">
                <a:solidFill>
                  <a:schemeClr val="tx1"/>
                </a:solidFill>
                <a:latin typeface="+mn-lt"/>
              </a:defRPr>
            </a:lvl1pPr>
          </a:lstStyle>
          <a:p>
            <a:pPr lvl="0"/>
            <a:r>
              <a:rPr lang="en-US" noProof="0" smtClean="0"/>
              <a:t>Click icon to add table</a:t>
            </a:r>
            <a:endParaRPr lang="en-GB" noProof="0" dirty="0"/>
          </a:p>
        </p:txBody>
      </p:sp>
      <p:sp>
        <p:nvSpPr>
          <p:cNvPr id="6" name="Text Placeholder 9"/>
          <p:cNvSpPr>
            <a:spLocks noGrp="1"/>
          </p:cNvSpPr>
          <p:nvPr>
            <p:ph type="body" sz="quarter" idx="11" hasCustomPrompt="1"/>
          </p:nvPr>
        </p:nvSpPr>
        <p:spPr>
          <a:xfrm>
            <a:off x="437768" y="4148221"/>
            <a:ext cx="7180312" cy="326233"/>
          </a:xfrm>
          <a:prstGeom prst="rect">
            <a:avLst/>
          </a:prstGeom>
        </p:spPr>
        <p:txBody>
          <a:bodyPr wrap="square" lIns="91418" tIns="45709" rIns="91418" bIns="45709" anchor="b" anchorCtr="0">
            <a:noAutofit/>
          </a:bodyPr>
          <a:lstStyle>
            <a:lvl1pPr algn="l" defTabSz="603560">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hasCustomPrompt="1"/>
          </p:nvPr>
        </p:nvSpPr>
        <p:spPr bwMode="auto">
          <a:xfrm>
            <a:off x="437766" y="341314"/>
            <a:ext cx="8345488" cy="731837"/>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2" tIns="45711" rIns="91422" bIns="45711" numCol="1" anchor="ctr" anchorCtr="0" compatLnSpc="1">
            <a:prstTxWarp prst="textNoShape">
              <a:avLst/>
            </a:prstTxWarp>
          </a:bodyPr>
          <a:lstStyle/>
          <a:p>
            <a:pPr lvl="0"/>
            <a:r>
              <a:rPr lang="en-GB" dirty="0" smtClean="0"/>
              <a:t>Title Goes Here</a:t>
            </a:r>
            <a:endParaRPr lang="en-GB" dirty="0"/>
          </a:p>
        </p:txBody>
      </p:sp>
    </p:spTree>
    <p:extLst>
      <p:ext uri="{BB962C8B-B14F-4D97-AF65-F5344CB8AC3E}">
        <p14:creationId xmlns:p14="http://schemas.microsoft.com/office/powerpoint/2010/main" val="939503203"/>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6"/>
            <a:ext cx="8345488" cy="2660650"/>
          </a:xfrm>
          <a:prstGeom prst="rect">
            <a:avLst/>
          </a:prstGeom>
        </p:spPr>
        <p:txBody>
          <a:bodyPr vert="horz" lIns="91418" tIns="45709" rIns="91418" bIns="45709">
            <a:noAutofit/>
          </a:bodyPr>
          <a:lstStyle>
            <a:lvl1pPr marL="0" indent="0" algn="ctr">
              <a:buNone/>
              <a:defRPr sz="2000" b="0" i="0">
                <a:solidFill>
                  <a:schemeClr val="tx1"/>
                </a:solidFill>
                <a:latin typeface="+mn-lt"/>
                <a:cs typeface="CiscoSans ExtraLight"/>
              </a:defRPr>
            </a:lvl1pPr>
          </a:lstStyle>
          <a:p>
            <a:pPr lvl="0"/>
            <a:r>
              <a:rPr lang="en-US" noProof="0" smtClean="0"/>
              <a:t>Click icon to add chart</a:t>
            </a:r>
            <a:endParaRPr lang="en-US" noProof="0" dirty="0"/>
          </a:p>
        </p:txBody>
      </p:sp>
      <p:sp>
        <p:nvSpPr>
          <p:cNvPr id="7" name="Text Placeholder 9"/>
          <p:cNvSpPr>
            <a:spLocks noGrp="1"/>
          </p:cNvSpPr>
          <p:nvPr>
            <p:ph type="body" sz="quarter" idx="11" hasCustomPrompt="1"/>
          </p:nvPr>
        </p:nvSpPr>
        <p:spPr>
          <a:xfrm>
            <a:off x="437768" y="4148221"/>
            <a:ext cx="7180312" cy="326233"/>
          </a:xfrm>
          <a:prstGeom prst="rect">
            <a:avLst/>
          </a:prstGeom>
        </p:spPr>
        <p:txBody>
          <a:bodyPr wrap="square" lIns="91418" tIns="45709" rIns="91418" bIns="45709" anchor="b" anchorCtr="0">
            <a:noAutofit/>
          </a:bodyPr>
          <a:lstStyle>
            <a:lvl1pPr algn="l" defTabSz="603560">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2" tIns="45711" rIns="91422" bIns="45711"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702563678"/>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3" tIns="34287" rIns="68573" bIns="34287" anchor="ctr"/>
          <a:lstStyle/>
          <a:p>
            <a:endParaRPr lang="en-US"/>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3" tIns="34287" rIns="68573" bIns="34287" anchor="ctr"/>
          <a:lstStyle/>
          <a:p>
            <a:endParaRPr lang="en-US"/>
          </a:p>
        </p:txBody>
      </p:sp>
      <p:sp>
        <p:nvSpPr>
          <p:cNvPr id="3" name="Subtitle 2"/>
          <p:cNvSpPr>
            <a:spLocks noGrp="1"/>
          </p:cNvSpPr>
          <p:nvPr>
            <p:ph type="subTitle" idx="1" hasCustomPrompt="1"/>
          </p:nvPr>
        </p:nvSpPr>
        <p:spPr>
          <a:xfrm>
            <a:off x="499916" y="3209551"/>
            <a:ext cx="4684867" cy="288131"/>
          </a:xfrm>
          <a:prstGeom prst="rect">
            <a:avLst/>
          </a:prstGeom>
        </p:spPr>
        <p:txBody>
          <a:bodyPr vert="horz" lIns="68573" tIns="34287" rIns="68573" bIns="34287" rtlCol="0">
            <a:noAutofit/>
          </a:bodyPr>
          <a:lstStyle>
            <a:lvl1pPr marL="0" indent="0" algn="l" defTabSz="685731"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63" indent="0" algn="ctr">
              <a:buNone/>
              <a:defRPr>
                <a:solidFill>
                  <a:schemeClr val="tx1">
                    <a:tint val="75000"/>
                  </a:schemeClr>
                </a:solidFill>
              </a:defRPr>
            </a:lvl2pPr>
            <a:lvl3pPr marL="685731" indent="0" algn="ctr">
              <a:buNone/>
              <a:defRPr>
                <a:solidFill>
                  <a:schemeClr val="tx1">
                    <a:tint val="75000"/>
                  </a:schemeClr>
                </a:solidFill>
              </a:defRPr>
            </a:lvl3pPr>
            <a:lvl4pPr marL="1028597" indent="0" algn="ctr">
              <a:buNone/>
              <a:defRPr>
                <a:solidFill>
                  <a:schemeClr val="tx1">
                    <a:tint val="75000"/>
                  </a:schemeClr>
                </a:solidFill>
              </a:defRPr>
            </a:lvl4pPr>
            <a:lvl5pPr marL="1371464" indent="0" algn="ctr">
              <a:buNone/>
              <a:defRPr>
                <a:solidFill>
                  <a:schemeClr val="tx1">
                    <a:tint val="75000"/>
                  </a:schemeClr>
                </a:solidFill>
              </a:defRPr>
            </a:lvl5pPr>
            <a:lvl6pPr marL="1714326" indent="0" algn="ctr">
              <a:buNone/>
              <a:defRPr>
                <a:solidFill>
                  <a:schemeClr val="tx1">
                    <a:tint val="75000"/>
                  </a:schemeClr>
                </a:solidFill>
              </a:defRPr>
            </a:lvl6pPr>
            <a:lvl7pPr marL="2057195" indent="0" algn="ctr">
              <a:buNone/>
              <a:defRPr>
                <a:solidFill>
                  <a:schemeClr val="tx1">
                    <a:tint val="75000"/>
                  </a:schemeClr>
                </a:solidFill>
              </a:defRPr>
            </a:lvl7pPr>
            <a:lvl8pPr marL="2400060" indent="0" algn="ctr">
              <a:buNone/>
              <a:defRPr>
                <a:solidFill>
                  <a:schemeClr val="tx1">
                    <a:tint val="75000"/>
                  </a:schemeClr>
                </a:solidFill>
              </a:defRPr>
            </a:lvl8pPr>
            <a:lvl9pPr marL="2742928" indent="0" algn="ctr">
              <a:buNone/>
              <a:defRPr>
                <a:solidFill>
                  <a:schemeClr val="tx1">
                    <a:tint val="75000"/>
                  </a:schemeClr>
                </a:solidFill>
              </a:defRPr>
            </a:lvl9pPr>
          </a:lstStyle>
          <a:p>
            <a:pPr lvl="0"/>
            <a:r>
              <a:rPr lang="en-GB" dirty="0" smtClean="0"/>
              <a:t>Presenter Name and Title Go Here</a:t>
            </a:r>
            <a:endParaRPr lang="en-US" dirty="0"/>
          </a:p>
        </p:txBody>
      </p:sp>
      <p:sp>
        <p:nvSpPr>
          <p:cNvPr id="2" name="Title 1"/>
          <p:cNvSpPr>
            <a:spLocks noGrp="1"/>
          </p:cNvSpPr>
          <p:nvPr>
            <p:ph type="ctrTitle" hasCustomPrompt="1"/>
          </p:nvPr>
        </p:nvSpPr>
        <p:spPr>
          <a:xfrm>
            <a:off x="459526" y="2462028"/>
            <a:ext cx="4712557" cy="766763"/>
          </a:xfrm>
        </p:spPr>
        <p:txBody>
          <a:bodyPr lIns="61714" tIns="34287" rIns="61714" bIns="34287" rtlCol="0" anchor="b">
            <a:noAutofit/>
          </a:bodyPr>
          <a:lstStyle>
            <a:lvl1pPr marL="0" indent="0" algn="l" defTabSz="685731" rtl="0" eaLnBrk="1" latinLnBrk="0" hangingPunct="1">
              <a:lnSpc>
                <a:spcPct val="80000"/>
              </a:lnSpc>
              <a:spcBef>
                <a:spcPct val="0"/>
              </a:spcBef>
              <a:buClr>
                <a:schemeClr val="tx1"/>
              </a:buClr>
              <a:buFont typeface="Ciscolight" pitchFamily="2" charset="0"/>
              <a:buNone/>
              <a:defRPr lang="en-US" sz="5200" b="0" kern="1200" spc="0" baseline="0" dirty="0">
                <a:solidFill>
                  <a:srgbClr val="3E6BB4"/>
                </a:solidFill>
                <a:latin typeface="+mj-lt"/>
                <a:ea typeface="+mj-ea"/>
                <a:cs typeface="+mj-cs"/>
              </a:defRPr>
            </a:lvl1pPr>
          </a:lstStyle>
          <a:p>
            <a:r>
              <a:rPr lang="en-GB" dirty="0" smtClean="0"/>
              <a:t>Demo Tit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18" tIns="45709" rIns="91418" bIns="45709" anchor="ctr" anchorCtr="1"/>
          <a:lstStyle>
            <a:lvl1pPr marL="0" indent="0" algn="ctr">
              <a:buNone/>
              <a:defRPr>
                <a:solidFill>
                  <a:schemeClr val="accent3"/>
                </a:solidFill>
                <a:latin typeface="+mj-l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885005480"/>
      </p:ext>
    </p:extLst>
  </p:cSld>
  <p:clrMapOvr>
    <a:masterClrMapping/>
  </p:clrMapOvr>
  <p:transition spd="slow">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7" y="1349456"/>
            <a:ext cx="4007001" cy="3040773"/>
          </a:xfrm>
          <a:prstGeom prst="rect">
            <a:avLst/>
          </a:prstGeom>
        </p:spPr>
        <p:txBody>
          <a:bodyPr lIns="91418" tIns="45709" rIns="91418" bIns="45709"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75"/>
            <a:ext cx="4073346" cy="3039397"/>
          </a:xfrm>
          <a:prstGeom prst="rect">
            <a:avLst/>
          </a:prstGeom>
        </p:spPr>
        <p:txBody>
          <a:bodyPr vert="horz" lIns="91418" tIns="45709" rIns="91418" bIns="45709">
            <a:noAutofit/>
          </a:bodyPr>
          <a:lstStyle>
            <a:lvl1pPr marL="0" indent="0" algn="ctr">
              <a:buNone/>
              <a:defRPr sz="2000">
                <a:solidFill>
                  <a:schemeClr val="tx1"/>
                </a:solidFill>
                <a:latin typeface="+mn-lt"/>
                <a:cs typeface="CiscoSans ExtraLight"/>
              </a:defRPr>
            </a:lvl1pPr>
          </a:lstStyle>
          <a:p>
            <a:pPr lvl="0"/>
            <a:r>
              <a:rPr lang="en-US" noProof="0" smtClean="0"/>
              <a:t>Click icon to add chart</a:t>
            </a:r>
            <a:endParaRPr lang="en-US" noProof="0"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2" tIns="45711" rIns="91422" bIns="45711"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681295434"/>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7" y="1349354"/>
            <a:ext cx="4003995" cy="3040875"/>
          </a:xfrm>
          <a:prstGeom prst="rect">
            <a:avLst/>
          </a:prstGeom>
        </p:spPr>
        <p:txBody>
          <a:bodyPr lIns="91418" tIns="45709" rIns="91418" bIns="45709"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18" tIns="45709" rIns="91418" bIns="45709">
            <a:noAutofit/>
          </a:bodyPr>
          <a:lstStyle>
            <a:lvl1pPr marL="0" indent="0" algn="ctr">
              <a:buNone/>
              <a:defRPr sz="2000" b="0" i="0">
                <a:solidFill>
                  <a:schemeClr val="tx1"/>
                </a:solidFill>
                <a:latin typeface="+mn-lt"/>
                <a:cs typeface="CiscoSans ExtraLight"/>
              </a:defRPr>
            </a:lvl1pPr>
          </a:lstStyle>
          <a:p>
            <a:pPr lvl="0"/>
            <a:r>
              <a:rPr lang="en-US" noProof="0" smtClean="0"/>
              <a:t>Click icon to add picture</a:t>
            </a:r>
            <a:endParaRPr lang="en-US" noProof="0"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2" tIns="45711" rIns="91422" bIns="45711"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569835746"/>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Oval 2"/>
          <p:cNvSpPr/>
          <p:nvPr userDrawn="1"/>
        </p:nvSpPr>
        <p:spPr>
          <a:xfrm>
            <a:off x="6085117"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dirty="0" smtClean="0">
              <a:latin typeface="Arial"/>
              <a:cs typeface="Arial"/>
            </a:endParaRPr>
          </a:p>
        </p:txBody>
      </p:sp>
      <p:sp>
        <p:nvSpPr>
          <p:cNvPr id="4" name="Oval 3"/>
          <p:cNvSpPr/>
          <p:nvPr userDrawn="1"/>
        </p:nvSpPr>
        <p:spPr>
          <a:xfrm>
            <a:off x="3423231"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dirty="0" smtClean="0">
              <a:latin typeface="Arial"/>
              <a:cs typeface="Arial"/>
            </a:endParaRPr>
          </a:p>
        </p:txBody>
      </p:sp>
      <p:sp>
        <p:nvSpPr>
          <p:cNvPr id="7" name="Oval 6"/>
          <p:cNvSpPr/>
          <p:nvPr userDrawn="1"/>
        </p:nvSpPr>
        <p:spPr>
          <a:xfrm>
            <a:off x="764272"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dirty="0" smtClean="0">
              <a:latin typeface="Arial"/>
              <a:cs typeface="Arial"/>
            </a:endParaRPr>
          </a:p>
        </p:txBody>
      </p:sp>
      <p:sp>
        <p:nvSpPr>
          <p:cNvPr id="17" name="Text Placeholder 17"/>
          <p:cNvSpPr>
            <a:spLocks noGrp="1"/>
          </p:cNvSpPr>
          <p:nvPr>
            <p:ph type="body" sz="quarter" idx="11" hasCustomPrompt="1"/>
          </p:nvPr>
        </p:nvSpPr>
        <p:spPr>
          <a:xfrm>
            <a:off x="777486" y="2800143"/>
            <a:ext cx="2292136" cy="603661"/>
          </a:xfrm>
          <a:prstGeom prst="rect">
            <a:avLst/>
          </a:prstGeom>
        </p:spPr>
        <p:txBody>
          <a:bodyPr lIns="91418" tIns="45709" rIns="91418" bIns="45709"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8" name="Text Placeholder 17"/>
          <p:cNvSpPr>
            <a:spLocks noGrp="1"/>
          </p:cNvSpPr>
          <p:nvPr>
            <p:ph type="body" sz="quarter" idx="12" hasCustomPrompt="1"/>
          </p:nvPr>
        </p:nvSpPr>
        <p:spPr>
          <a:xfrm>
            <a:off x="3436445" y="2798196"/>
            <a:ext cx="2292136" cy="603661"/>
          </a:xfrm>
          <a:prstGeom prst="rect">
            <a:avLst/>
          </a:prstGeom>
        </p:spPr>
        <p:txBody>
          <a:bodyPr lIns="91418" tIns="45709" rIns="91418" bIns="45709"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9" name="Text Placeholder 17"/>
          <p:cNvSpPr>
            <a:spLocks noGrp="1"/>
          </p:cNvSpPr>
          <p:nvPr>
            <p:ph type="body" sz="quarter" idx="13" hasCustomPrompt="1"/>
          </p:nvPr>
        </p:nvSpPr>
        <p:spPr>
          <a:xfrm>
            <a:off x="6098331" y="2798196"/>
            <a:ext cx="2292136" cy="603661"/>
          </a:xfrm>
          <a:prstGeom prst="rect">
            <a:avLst/>
          </a:prstGeom>
        </p:spPr>
        <p:txBody>
          <a:bodyPr lIns="91418" tIns="45709" rIns="91418" bIns="45709"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lIns="91438" tIns="45719" rIns="91438" bIns="45719"/>
          <a:lstStyle>
            <a:lvl1pPr marL="0" indent="0" algn="ctr">
              <a:buNone/>
              <a:defRPr sz="1200">
                <a:solidFill>
                  <a:schemeClr val="bg1"/>
                </a:solidFill>
              </a:defRPr>
            </a:lvl1pPr>
          </a:lstStyle>
          <a:p>
            <a:r>
              <a:rPr lang="en-US" dirty="0" smtClean="0"/>
              <a:t>Icon</a:t>
            </a:r>
            <a:endParaRPr lang="en-US" dirty="0"/>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lIns="91438" tIns="45719" rIns="91438" bIns="45719"/>
          <a:lstStyle>
            <a:lvl1pPr marL="0" indent="0" algn="ctr">
              <a:buNone/>
              <a:defRPr sz="1200">
                <a:solidFill>
                  <a:schemeClr val="bg1"/>
                </a:solidFill>
              </a:defRPr>
            </a:lvl1pPr>
          </a:lstStyle>
          <a:p>
            <a:r>
              <a:rPr lang="en-US" dirty="0" smtClean="0"/>
              <a:t>Icon</a:t>
            </a:r>
            <a:endParaRPr lang="en-US" dirty="0"/>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lIns="91438" tIns="45719" rIns="91438" bIns="45719"/>
          <a:lstStyle>
            <a:lvl1pPr marL="0" indent="0" algn="ctr">
              <a:buNone/>
              <a:defRPr sz="1200">
                <a:solidFill>
                  <a:schemeClr val="bg1"/>
                </a:solidFill>
              </a:defRPr>
            </a:lvl1pPr>
          </a:lstStyle>
          <a:p>
            <a:r>
              <a:rPr lang="en-US" dirty="0" smtClean="0"/>
              <a:t>Icon</a:t>
            </a:r>
            <a:endParaRPr lang="en-US" dirty="0"/>
          </a:p>
        </p:txBody>
      </p:sp>
    </p:spTree>
    <p:extLst>
      <p:ext uri="{BB962C8B-B14F-4D97-AF65-F5344CB8AC3E}">
        <p14:creationId xmlns:p14="http://schemas.microsoft.com/office/powerpoint/2010/main" val="1378820260"/>
      </p:ext>
    </p:extLst>
  </p:cSld>
  <p:clrMapOvr>
    <a:masterClrMapping/>
  </p:clrMapOvr>
  <p:transition spd="slow">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2" y="1622395"/>
            <a:ext cx="2306251" cy="2305968"/>
          </a:xfrm>
          <a:prstGeom prst="ellipse">
            <a:avLst/>
          </a:prstGeom>
          <a:solidFill>
            <a:sysClr val="windowText" lastClr="000000">
              <a:alpha val="30000"/>
            </a:sysClr>
          </a:solidFill>
          <a:ln w="25400" cap="flat" cmpd="sng" algn="ctr">
            <a:noFill/>
            <a:prstDash val="solid"/>
          </a:ln>
          <a:effectLst/>
        </p:spPr>
        <p:txBody>
          <a:bodyPr lIns="68576" tIns="34289" rIns="68576" bIns="34289" anchor="ctr"/>
          <a:lstStyle/>
          <a:p>
            <a:pPr marL="0" marR="0" lvl="0" indent="0" algn="ctr"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4" name="Oval 43"/>
          <p:cNvSpPr/>
          <p:nvPr userDrawn="1"/>
        </p:nvSpPr>
        <p:spPr>
          <a:xfrm>
            <a:off x="3422843" y="1622395"/>
            <a:ext cx="2306251" cy="2305968"/>
          </a:xfrm>
          <a:prstGeom prst="ellipse">
            <a:avLst/>
          </a:prstGeom>
          <a:solidFill>
            <a:sysClr val="windowText" lastClr="000000">
              <a:alpha val="30000"/>
            </a:sysClr>
          </a:solidFill>
          <a:ln w="25400" cap="flat" cmpd="sng" algn="ctr">
            <a:noFill/>
            <a:prstDash val="solid"/>
          </a:ln>
          <a:effectLst/>
        </p:spPr>
        <p:txBody>
          <a:bodyPr lIns="68576" tIns="34289" rIns="68576" bIns="34289" anchor="ctr"/>
          <a:lstStyle/>
          <a:p>
            <a:pPr marL="0" marR="0" lvl="0" indent="0" algn="ctr"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5" name="Oval 44"/>
          <p:cNvSpPr/>
          <p:nvPr userDrawn="1"/>
        </p:nvSpPr>
        <p:spPr>
          <a:xfrm>
            <a:off x="6087360" y="1622395"/>
            <a:ext cx="2306251" cy="2305968"/>
          </a:xfrm>
          <a:prstGeom prst="ellipse">
            <a:avLst/>
          </a:prstGeom>
          <a:solidFill>
            <a:sysClr val="windowText" lastClr="000000">
              <a:alpha val="30000"/>
            </a:sysClr>
          </a:solidFill>
          <a:ln w="25400" cap="flat" cmpd="sng" algn="ctr">
            <a:noFill/>
            <a:prstDash val="solid"/>
          </a:ln>
          <a:effectLst/>
        </p:spPr>
        <p:txBody>
          <a:bodyPr lIns="68576" tIns="34289" rIns="68576" bIns="34289" anchor="ctr"/>
          <a:lstStyle/>
          <a:p>
            <a:pPr marL="0" marR="0" lvl="0" indent="0" algn="ctr"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2" tIns="45711" rIns="91422" bIns="45711" numCol="1" anchor="ctr" anchorCtr="0" compatLnSpc="1">
            <a:prstTxWarp prst="textNoShape">
              <a:avLst/>
            </a:prstTxWarp>
          </a:bodyPr>
          <a:lstStyle/>
          <a:p>
            <a:pPr lvl="0"/>
            <a:r>
              <a:rPr lang="en-US" smtClean="0"/>
              <a:t>Click to edit Master title style</a:t>
            </a:r>
            <a:endParaRPr lang="en-GB" dirty="0"/>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2" tIns="45711" rIns="91422" bIns="45711" anchor="ctr" anchorCtr="0"/>
          <a:lstStyle>
            <a:lvl1pPr algn="l">
              <a:buFontTx/>
              <a:buNone/>
              <a:defRPr sz="1300" baseline="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r>
              <a:rPr lang="en-US" noProof="0" dirty="0" smtClean="0"/>
              <a:t>	</a:t>
            </a:r>
          </a:p>
          <a:p>
            <a:pPr lvl="0"/>
            <a:r>
              <a:rPr lang="en-US" noProof="0" dirty="0" smtClean="0"/>
              <a:t>	Drag picture to placeholder or click icon to add</a:t>
            </a:r>
            <a:endParaRPr lang="en-US" noProof="0" dirty="0"/>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2" tIns="45711" rIns="91422" bIns="45711"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2" tIns="45711" rIns="91422" bIns="45711"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9" name="Text Placeholder 17"/>
          <p:cNvSpPr>
            <a:spLocks noGrp="1"/>
          </p:cNvSpPr>
          <p:nvPr>
            <p:ph type="body" sz="quarter" idx="13" hasCustomPrompt="1"/>
          </p:nvPr>
        </p:nvSpPr>
        <p:spPr>
          <a:xfrm>
            <a:off x="788798" y="3873139"/>
            <a:ext cx="2292136" cy="603661"/>
          </a:xfrm>
          <a:prstGeom prst="rect">
            <a:avLst/>
          </a:prstGeom>
        </p:spPr>
        <p:txBody>
          <a:bodyPr lIns="91418" tIns="45709" rIns="91418" bIns="45709"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0" name="Text Placeholder 17"/>
          <p:cNvSpPr>
            <a:spLocks noGrp="1"/>
          </p:cNvSpPr>
          <p:nvPr>
            <p:ph type="body" sz="quarter" idx="14" hasCustomPrompt="1"/>
          </p:nvPr>
        </p:nvSpPr>
        <p:spPr>
          <a:xfrm>
            <a:off x="3436818" y="3871192"/>
            <a:ext cx="2292136" cy="603661"/>
          </a:xfrm>
          <a:prstGeom prst="rect">
            <a:avLst/>
          </a:prstGeom>
        </p:spPr>
        <p:txBody>
          <a:bodyPr lIns="91418" tIns="45709" rIns="91418" bIns="45709"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Text Placeholder 17"/>
          <p:cNvSpPr>
            <a:spLocks noGrp="1"/>
          </p:cNvSpPr>
          <p:nvPr>
            <p:ph type="body" sz="quarter" idx="15" hasCustomPrompt="1"/>
          </p:nvPr>
        </p:nvSpPr>
        <p:spPr>
          <a:xfrm>
            <a:off x="6101336" y="3871192"/>
            <a:ext cx="2292136" cy="603661"/>
          </a:xfrm>
          <a:prstGeom prst="rect">
            <a:avLst/>
          </a:prstGeom>
        </p:spPr>
        <p:txBody>
          <a:bodyPr lIns="91418" tIns="45709" rIns="91418" bIns="45709"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Tree>
    <p:extLst>
      <p:ext uri="{BB962C8B-B14F-4D97-AF65-F5344CB8AC3E}">
        <p14:creationId xmlns:p14="http://schemas.microsoft.com/office/powerpoint/2010/main" val="2519629538"/>
      </p:ext>
    </p:extLst>
  </p:cSld>
  <p:clrMapOvr>
    <a:masterClrMapping/>
  </p:clrMapOvr>
  <p:transition spd="slow">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4" y="4629151"/>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18" tIns="45709" rIns="91418" bIns="45709"/>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
        <p:nvSpPr>
          <p:cNvPr id="6" name="Text Placeholder 2"/>
          <p:cNvSpPr>
            <a:spLocks noGrp="1"/>
          </p:cNvSpPr>
          <p:nvPr>
            <p:ph type="body" sz="quarter" idx="11" hasCustomPrompt="1"/>
          </p:nvPr>
        </p:nvSpPr>
        <p:spPr bwMode="auto">
          <a:xfrm>
            <a:off x="500064" y="3486479"/>
            <a:ext cx="8139112" cy="500992"/>
          </a:xfrm>
          <a:prstGeom prst="rect">
            <a:avLst/>
          </a:prstGeom>
          <a:solidFill>
            <a:schemeClr val="bg1">
              <a:alpha val="70000"/>
            </a:schemeClr>
          </a:solidFill>
          <a:extLst/>
        </p:spPr>
        <p:txBody>
          <a:bodyPr wrap="square" lIns="107997" tIns="0" rIns="91438" bIns="45719" numCol="1" anchor="ctr" anchorCtr="0" compatLnSpc="1">
            <a:prstTxWarp prst="textNoShape">
              <a:avLst/>
            </a:prstTxWarp>
            <a:spAutoFit/>
          </a:bodyPr>
          <a:lstStyle>
            <a:lvl1pPr marL="172796"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1172492827"/>
      </p:ext>
    </p:extLst>
  </p:cSld>
  <p:clrMapOvr>
    <a:masterClrMapping/>
  </p:clrMapOvr>
  <p:transition spd="slow">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4" y="301038"/>
            <a:ext cx="8563172" cy="2542175"/>
          </a:xfrm>
          <a:prstGeom prst="rect">
            <a:avLst/>
          </a:prstGeom>
        </p:spPr>
        <p:txBody>
          <a:bodyPr vert="horz" lIns="91418" tIns="45709" rIns="91418" bIns="45709"/>
          <a:lstStyle>
            <a:lvl1pPr marL="0" indent="0" algn="ctr">
              <a:buNone/>
              <a:defRPr sz="2200" baseline="0">
                <a:solidFill>
                  <a:srgbClr val="676767"/>
                </a:solidFill>
                <a:latin typeface="+mn-lt"/>
                <a:cs typeface="CiscoSans ExtraLight"/>
              </a:defRPr>
            </a:lvl1pPr>
          </a:lstStyle>
          <a:p>
            <a:pPr lvl="0"/>
            <a:r>
              <a:rPr lang="en-US" noProof="0" smtClean="0"/>
              <a:t>Click icon to add picture</a:t>
            </a:r>
            <a:endParaRPr lang="en-US" noProof="0" dirty="0"/>
          </a:p>
        </p:txBody>
      </p:sp>
      <p:sp>
        <p:nvSpPr>
          <p:cNvPr id="4" name="Text Placeholder 3"/>
          <p:cNvSpPr>
            <a:spLocks noGrp="1"/>
          </p:cNvSpPr>
          <p:nvPr>
            <p:ph type="body" sz="quarter" idx="11" hasCustomPrompt="1"/>
          </p:nvPr>
        </p:nvSpPr>
        <p:spPr>
          <a:xfrm>
            <a:off x="448786" y="3054519"/>
            <a:ext cx="8364236" cy="564257"/>
          </a:xfrm>
          <a:prstGeom prst="rect">
            <a:avLst/>
          </a:prstGeom>
        </p:spPr>
        <p:txBody>
          <a:bodyPr vert="horz" wrap="square" lIns="91438" tIns="45719" rIns="91438" bIns="45719">
            <a:spAutoFit/>
          </a:bodyPr>
          <a:lstStyle>
            <a:lvl1pPr marL="0" indent="0">
              <a:buNone/>
              <a:defRPr sz="3200" baseline="0">
                <a:solidFill>
                  <a:srgbClr val="676767"/>
                </a:solidFill>
              </a:defRPr>
            </a:lvl1pPr>
          </a:lstStyle>
          <a:p>
            <a:pPr lvl="0"/>
            <a:r>
              <a:rPr lang="en-GB" dirty="0" smtClean="0"/>
              <a:t>Text Goes Here</a:t>
            </a:r>
          </a:p>
        </p:txBody>
      </p:sp>
    </p:spTree>
    <p:extLst>
      <p:ext uri="{BB962C8B-B14F-4D97-AF65-F5344CB8AC3E}">
        <p14:creationId xmlns:p14="http://schemas.microsoft.com/office/powerpoint/2010/main" val="3473071393"/>
      </p:ext>
    </p:extLst>
  </p:cSld>
  <p:clrMapOvr>
    <a:masterClrMapping/>
  </p:clrMapOvr>
  <p:transition spd="slow">
    <p:wip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4" y="4629151"/>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18" tIns="45709" rIns="91418" bIns="45709"/>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1712124705"/>
      </p:ext>
    </p:extLst>
  </p:cSld>
  <p:clrMapOvr>
    <a:masterClrMapping/>
  </p:clrMapOvr>
  <p:transition spd="slow">
    <p:wip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2"/>
            <a:ext cx="8480388" cy="4266646"/>
          </a:xfrm>
          <a:prstGeom prst="rect">
            <a:avLst/>
          </a:prstGeom>
        </p:spPr>
        <p:txBody>
          <a:bodyPr vert="horz" lIns="91422" tIns="45711" rIns="91422" bIns="45711"/>
          <a:lstStyle>
            <a:lvl1pPr marL="0" indent="0" algn="ctr">
              <a:buNone/>
              <a:defRPr sz="1500"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4278971332"/>
      </p:ext>
    </p:extLst>
  </p:cSld>
  <p:clrMapOvr>
    <a:masterClrMapping/>
  </p:clrMapOvr>
  <p:transition spd="slow">
    <p:wip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1" y="596901"/>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fontAlgn="auto">
              <a:spcBef>
                <a:spcPts val="0"/>
              </a:spcBef>
              <a:spcAft>
                <a:spcPts val="0"/>
              </a:spcAft>
              <a:defRPr/>
            </a:pPr>
            <a:endParaRPr lang="en-US">
              <a:latin typeface="+mj-lt"/>
            </a:endParaRPr>
          </a:p>
        </p:txBody>
      </p:sp>
      <p:sp>
        <p:nvSpPr>
          <p:cNvPr id="5" name="Rectangle 4"/>
          <p:cNvSpPr/>
          <p:nvPr/>
        </p:nvSpPr>
        <p:spPr>
          <a:xfrm>
            <a:off x="1892301" y="3595689"/>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1900239" y="596646"/>
            <a:ext cx="5329238" cy="3003804"/>
          </a:xfrm>
          <a:prstGeom prst="rect">
            <a:avLst/>
          </a:prstGeom>
          <a:solidFill>
            <a:schemeClr val="bg1">
              <a:alpha val="30000"/>
            </a:schemeClr>
          </a:solidFill>
          <a:ln>
            <a:solidFill>
              <a:srgbClr val="676767"/>
            </a:solidFill>
          </a:ln>
          <a:effectLst/>
        </p:spPr>
        <p:txBody>
          <a:bodyPr lIns="91422" tIns="45711" rIns="91422" bIns="45711"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11" name="Title 10"/>
          <p:cNvSpPr>
            <a:spLocks noGrp="1"/>
          </p:cNvSpPr>
          <p:nvPr>
            <p:ph type="title" hasCustomPrompt="1"/>
          </p:nvPr>
        </p:nvSpPr>
        <p:spPr>
          <a:xfrm>
            <a:off x="2065872" y="3655079"/>
            <a:ext cx="5074070" cy="628650"/>
          </a:xfrm>
        </p:spPr>
        <p:txBody>
          <a:bodyPr anchor="ctr"/>
          <a:lstStyle>
            <a:lvl1pPr>
              <a:defRPr sz="2000">
                <a:solidFill>
                  <a:srgbClr val="676767"/>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4218626708"/>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1" y="233364"/>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6" tIns="34289" rIns="68576" bIns="34289" rtlCol="0" anchor="ctr" anchorCtr="0">
            <a:normAutofit/>
          </a:bodyPr>
          <a:lstStyle>
            <a:lvl1pPr marL="0" indent="0" algn="ctr" defTabSz="685760"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430936" y="2480694"/>
            <a:ext cx="6729865" cy="1614419"/>
          </a:xfrm>
        </p:spPr>
        <p:txBody>
          <a:bodyPr>
            <a:noAutofit/>
          </a:bodyPr>
          <a:lstStyle>
            <a:lvl1pPr marL="0" marR="0" indent="0" algn="l" defTabSz="685760"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smtClean="0"/>
              <a:t>Click to edit title</a:t>
            </a:r>
            <a:endParaRPr lang="en-US" dirty="0" smtClean="0"/>
          </a:p>
        </p:txBody>
      </p:sp>
    </p:spTree>
    <p:extLst>
      <p:ext uri="{BB962C8B-B14F-4D97-AF65-F5344CB8AC3E}">
        <p14:creationId xmlns:p14="http://schemas.microsoft.com/office/powerpoint/2010/main" val="1525520392"/>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smtClean="0"/>
              <a:t>Section Title Goes Here</a:t>
            </a:r>
            <a:endParaRPr lang="en-US" dirty="0"/>
          </a:p>
        </p:txBody>
      </p:sp>
      <p:sp>
        <p:nvSpPr>
          <p:cNvPr id="7" name="Rectangle 7"/>
          <p:cNvSpPr>
            <a:spLocks noChangeArrowheads="1"/>
          </p:cNvSpPr>
          <p:nvPr userDrawn="1"/>
        </p:nvSpPr>
        <p:spPr bwMode="ltGray">
          <a:xfrm>
            <a:off x="8513569" y="4742908"/>
            <a:ext cx="220553" cy="154517"/>
          </a:xfrm>
          <a:prstGeom prst="rect">
            <a:avLst/>
          </a:prstGeom>
          <a:noFill/>
          <a:ln w="9525" algn="ctr">
            <a:noFill/>
            <a:miter lim="800000"/>
            <a:headEnd/>
            <a:tailEnd/>
          </a:ln>
          <a:effectLst/>
        </p:spPr>
        <p:txBody>
          <a:bodyPr wrap="none" lIns="61585" tIns="30791" rIns="61585" bIns="30791" anchor="b">
            <a:spAutoFit/>
          </a:bodyPr>
          <a:lstStyle/>
          <a:p>
            <a:pPr algn="r" defTabSz="610729"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29"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8" name="Rectangle 4"/>
          <p:cNvSpPr>
            <a:spLocks noChangeArrowheads="1"/>
          </p:cNvSpPr>
          <p:nvPr userDrawn="1"/>
        </p:nvSpPr>
        <p:spPr bwMode="ltGray">
          <a:xfrm>
            <a:off x="5867508" y="4741653"/>
            <a:ext cx="2658018" cy="154518"/>
          </a:xfrm>
          <a:prstGeom prst="rect">
            <a:avLst/>
          </a:prstGeom>
          <a:noFill/>
          <a:ln w="9525">
            <a:noFill/>
            <a:miter lim="800000"/>
            <a:headEnd/>
            <a:tailEnd/>
          </a:ln>
          <a:effectLst/>
        </p:spPr>
        <p:txBody>
          <a:bodyPr lIns="61585" tIns="30791" rIns="61585" bIns="30791" anchor="b">
            <a:spAutoFit/>
          </a:bodyPr>
          <a:lstStyle/>
          <a:p>
            <a:pPr defTabSz="610729" fontAlgn="auto">
              <a:spcBef>
                <a:spcPts val="0"/>
              </a:spcBef>
              <a:spcAft>
                <a:spcPts val="0"/>
              </a:spcAft>
              <a:defRPr/>
            </a:pPr>
            <a:r>
              <a:rPr lang="en-US" sz="600" dirty="0">
                <a:solidFill>
                  <a:schemeClr val="bg1">
                    <a:alpha val="60000"/>
                  </a:schemeClr>
                </a:solidFill>
                <a:latin typeface="+mn-lt"/>
                <a:ea typeface="+mn-ea"/>
                <a:cs typeface="CiscoSans Thin"/>
              </a:rPr>
              <a:t>© 2014  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screen">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431059221"/>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8"/>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4992624" y="546735"/>
            <a:ext cx="3630168" cy="3869818"/>
          </a:xfrm>
          <a:prstGeom prst="rect">
            <a:avLst/>
          </a:prstGeom>
          <a:solidFill>
            <a:schemeClr val="bg1">
              <a:alpha val="30000"/>
            </a:schemeClr>
          </a:solidFill>
          <a:ln>
            <a:solidFill>
              <a:srgbClr val="2968AF"/>
            </a:solidFill>
          </a:ln>
          <a:effectLst/>
        </p:spPr>
        <p:txBody>
          <a:bodyPr lIns="91422" tIns="45711" rIns="91422" bIns="45711"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437670" y="546735"/>
            <a:ext cx="4349918" cy="813985"/>
          </a:xfrm>
        </p:spPr>
        <p:txBody>
          <a:bodyPr wrap="none" anchor="t" anchorCtr="0">
            <a:noAutofit/>
          </a:bodyPr>
          <a:lstStyle>
            <a:lvl1pPr>
              <a:lnSpc>
                <a:spcPct val="90000"/>
              </a:lnSpc>
              <a:defRPr sz="2500">
                <a:solidFill>
                  <a:schemeClr val="bg1"/>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3528887019"/>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4"/>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7" rIns="68573" bIns="34287" anchor="ctr"/>
          <a:lstStyle/>
          <a:p>
            <a:pPr algn="ctr" fontAlgn="auto">
              <a:spcBef>
                <a:spcPts val="0"/>
              </a:spcBef>
              <a:spcAft>
                <a:spcPts val="0"/>
              </a:spcAft>
              <a:defRPr/>
            </a:pPr>
            <a:endParaRPr lang="en-US">
              <a:latin typeface="CiscoSans"/>
              <a:cs typeface="CiscoSans"/>
            </a:endParaRPr>
          </a:p>
        </p:txBody>
      </p:sp>
      <p:sp>
        <p:nvSpPr>
          <p:cNvPr id="10" name="Rectangle 9"/>
          <p:cNvSpPr/>
          <p:nvPr/>
        </p:nvSpPr>
        <p:spPr>
          <a:xfrm>
            <a:off x="334963" y="233364"/>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7" rIns="68573" bIns="34287" anchor="ctr"/>
          <a:lstStyle/>
          <a:p>
            <a:pPr algn="ctr" fontAlgn="auto">
              <a:spcBef>
                <a:spcPts val="0"/>
              </a:spcBef>
              <a:spcAft>
                <a:spcPts val="0"/>
              </a:spcAft>
              <a:defRPr/>
            </a:pPr>
            <a:endParaRPr lang="en-US">
              <a:latin typeface="CiscoSans"/>
              <a:cs typeface="CiscoSans"/>
            </a:endParaRPr>
          </a:p>
        </p:txBody>
      </p:sp>
      <p:sp>
        <p:nvSpPr>
          <p:cNvPr id="11" name="Rectangle 10"/>
          <p:cNvSpPr/>
          <p:nvPr/>
        </p:nvSpPr>
        <p:spPr>
          <a:xfrm>
            <a:off x="6980239"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7" rIns="68573" bIns="34287" anchor="ctr"/>
          <a:lstStyle/>
          <a:p>
            <a:pPr algn="ctr" fontAlgn="auto">
              <a:spcBef>
                <a:spcPts val="0"/>
              </a:spcBef>
              <a:spcAft>
                <a:spcPts val="0"/>
              </a:spcAft>
              <a:defRPr/>
            </a:pPr>
            <a:endParaRPr lang="en-US">
              <a:latin typeface="CiscoSans"/>
              <a:cs typeface="CiscoSans"/>
            </a:endParaRPr>
          </a:p>
        </p:txBody>
      </p:sp>
      <p:sp>
        <p:nvSpPr>
          <p:cNvPr id="12" name="Rectangle 11"/>
          <p:cNvSpPr/>
          <p:nvPr/>
        </p:nvSpPr>
        <p:spPr>
          <a:xfrm>
            <a:off x="334964" y="2271714"/>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7" rIns="68573" bIns="34287" anchor="ctr"/>
          <a:lstStyle/>
          <a:p>
            <a:pPr algn="ctr" fontAlgn="auto">
              <a:spcBef>
                <a:spcPts val="0"/>
              </a:spcBef>
              <a:spcAft>
                <a:spcPts val="0"/>
              </a:spcAft>
              <a:defRPr/>
            </a:pPr>
            <a:endParaRPr lang="en-US">
              <a:latin typeface="CiscoSans"/>
              <a:cs typeface="CiscoSans"/>
            </a:endParaRPr>
          </a:p>
        </p:txBody>
      </p:sp>
      <p:sp>
        <p:nvSpPr>
          <p:cNvPr id="13" name="Rectangle 12"/>
          <p:cNvSpPr/>
          <p:nvPr/>
        </p:nvSpPr>
        <p:spPr>
          <a:xfrm>
            <a:off x="2911476" y="2271714"/>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7" rIns="68573" bIns="34287" anchor="ctr"/>
          <a:lstStyle/>
          <a:p>
            <a:pPr algn="ctr" fontAlgn="auto">
              <a:spcBef>
                <a:spcPts val="0"/>
              </a:spcBef>
              <a:spcAft>
                <a:spcPts val="0"/>
              </a:spcAft>
              <a:defRPr/>
            </a:pPr>
            <a:endParaRPr lang="en-US">
              <a:latin typeface="CiscoSans"/>
              <a:cs typeface="CiscoSans"/>
            </a:endParaRPr>
          </a:p>
        </p:txBody>
      </p:sp>
      <p:sp>
        <p:nvSpPr>
          <p:cNvPr id="14" name="Rectangle 13"/>
          <p:cNvSpPr/>
          <p:nvPr/>
        </p:nvSpPr>
        <p:spPr>
          <a:xfrm>
            <a:off x="6980239"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7" rIns="68573" bIns="34287" anchor="ctr"/>
          <a:lstStyle/>
          <a:p>
            <a:pPr algn="ctr" fontAlgn="auto">
              <a:spcBef>
                <a:spcPts val="0"/>
              </a:spcBef>
              <a:spcAft>
                <a:spcPts val="0"/>
              </a:spcAft>
              <a:defRPr/>
            </a:pPr>
            <a:endParaRPr lang="en-US">
              <a:latin typeface="CiscoSans"/>
              <a:cs typeface="CiscoSans"/>
            </a:endParaRPr>
          </a:p>
        </p:txBody>
      </p:sp>
      <p:sp>
        <p:nvSpPr>
          <p:cNvPr id="15" name="Rectangle 14"/>
          <p:cNvSpPr/>
          <p:nvPr/>
        </p:nvSpPr>
        <p:spPr>
          <a:xfrm>
            <a:off x="6980239"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7" rIns="68573" bIns="34287" anchor="ctr"/>
          <a:lstStyle/>
          <a:p>
            <a:pPr algn="ctr" fontAlgn="auto">
              <a:spcBef>
                <a:spcPts val="0"/>
              </a:spcBef>
              <a:spcAft>
                <a:spcPts val="0"/>
              </a:spcAft>
              <a:defRPr/>
            </a:pPr>
            <a:endParaRPr lang="en-US">
              <a:latin typeface="CiscoSans"/>
              <a:cs typeface="CiscoSans"/>
            </a:endParaRPr>
          </a:p>
        </p:txBody>
      </p:sp>
      <p:sp>
        <p:nvSpPr>
          <p:cNvPr id="49" name="Picture Placeholder 25"/>
          <p:cNvSpPr>
            <a:spLocks noGrp="1"/>
          </p:cNvSpPr>
          <p:nvPr>
            <p:ph type="pic" sz="quarter" idx="11"/>
          </p:nvPr>
        </p:nvSpPr>
        <p:spPr>
          <a:xfrm>
            <a:off x="3668996" y="233363"/>
            <a:ext cx="3267861" cy="1995489"/>
          </a:xfrm>
          <a:prstGeom prst="rect">
            <a:avLst/>
          </a:prstGeom>
          <a:solidFill>
            <a:schemeClr val="bg1">
              <a:alpha val="30000"/>
            </a:schemeClr>
          </a:solidFill>
          <a:ln>
            <a:solidFill>
              <a:schemeClr val="bg2"/>
            </a:solidFill>
          </a:ln>
          <a:effectLst/>
        </p:spPr>
        <p:txBody>
          <a:bodyPr vert="horz" lIns="68573" tIns="34287" rIns="68573" bIns="34287" rtlCol="0" anchor="ctr" anchorCtr="0">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3" tIns="34287" rIns="68573" bIns="34287" rtlCol="0" anchor="ctr" anchorCtr="0">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3" tIns="34287" rIns="68573" bIns="34287" rtlCol="0" anchor="ctr" anchorCtr="0">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3" name="Picture Placeholder 25"/>
          <p:cNvSpPr>
            <a:spLocks noGrp="1"/>
          </p:cNvSpPr>
          <p:nvPr>
            <p:ph type="pic" sz="quarter" idx="13"/>
          </p:nvPr>
        </p:nvSpPr>
        <p:spPr>
          <a:xfrm>
            <a:off x="320824" y="2271719"/>
            <a:ext cx="2537420" cy="2594201"/>
          </a:xfrm>
          <a:prstGeom prst="rect">
            <a:avLst/>
          </a:prstGeom>
          <a:solidFill>
            <a:schemeClr val="bg1">
              <a:alpha val="30000"/>
            </a:schemeClr>
          </a:solidFill>
          <a:ln>
            <a:solidFill>
              <a:schemeClr val="bg2"/>
            </a:solidFill>
          </a:ln>
          <a:effectLst/>
        </p:spPr>
        <p:txBody>
          <a:bodyPr vert="horz" lIns="68573" tIns="34287" rIns="68573" bIns="34287" rtlCol="0" anchor="ctr" anchorCtr="0">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5" name="Picture Placeholder 25"/>
          <p:cNvSpPr>
            <a:spLocks noGrp="1"/>
          </p:cNvSpPr>
          <p:nvPr>
            <p:ph type="pic" sz="quarter" idx="14"/>
          </p:nvPr>
        </p:nvSpPr>
        <p:spPr>
          <a:xfrm>
            <a:off x="2908335" y="2271719"/>
            <a:ext cx="4028516" cy="2594201"/>
          </a:xfrm>
          <a:prstGeom prst="rect">
            <a:avLst/>
          </a:prstGeom>
          <a:solidFill>
            <a:schemeClr val="bg1">
              <a:alpha val="30000"/>
            </a:schemeClr>
          </a:solidFill>
          <a:ln>
            <a:solidFill>
              <a:schemeClr val="bg2"/>
            </a:solidFill>
          </a:ln>
          <a:effectLst/>
        </p:spPr>
        <p:txBody>
          <a:bodyPr vert="horz" lIns="68573" tIns="34287" rIns="68573" bIns="34287" rtlCol="0" anchor="ctr" anchorCtr="0">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3" tIns="34287" rIns="68573" bIns="34287" rtlCol="0" anchor="ctr" anchorCtr="0">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3" tIns="34287" rIns="68573" bIns="34287" rtlCol="0" anchor="ctr" anchorCtr="0">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160276131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4686166"/>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9"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3" tIns="34287" rIns="68573" bIns="34287" rtlCol="0" anchor="ctr">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168270472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3" tIns="34287" rIns="68573" bIns="34287" rtlCol="0" anchor="ctr">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53198928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
            <a:ext cx="9144000" cy="5149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92089" y="1643063"/>
            <a:ext cx="8759825" cy="185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958759565"/>
      </p:ext>
    </p:extLst>
  </p:cSld>
  <p:clrMapOvr>
    <a:masterClrMapping/>
  </p:clrMapOvr>
  <p:transition spd="slow">
    <p:wip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Title_Photo">
    <p:spTree>
      <p:nvGrpSpPr>
        <p:cNvPr id="1" name=""/>
        <p:cNvGrpSpPr/>
        <p:nvPr/>
      </p:nvGrpSpPr>
      <p:grpSpPr>
        <a:xfrm>
          <a:off x="0" y="0"/>
          <a:ext cx="0" cy="0"/>
          <a:chOff x="0" y="0"/>
          <a:chExt cx="0" cy="0"/>
        </a:xfrm>
      </p:grpSpPr>
      <p:pic>
        <p:nvPicPr>
          <p:cNvPr id="11" name="Picture Placeholder 8"/>
          <p:cNvPicPr>
            <a:picLocks noChangeAspect="1"/>
          </p:cNvPicPr>
          <p:nvPr userDrawn="1"/>
        </p:nvPicPr>
        <p:blipFill>
          <a:blip r:embed="rId2" cstate="screen">
            <a:duotone>
              <a:schemeClr val="accent2">
                <a:shade val="45000"/>
                <a:satMod val="135000"/>
              </a:schemeClr>
              <a:prstClr val="white"/>
            </a:duotone>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a:ext>
            </a:extLst>
          </a:blip>
          <a:stretch>
            <a:fillRect/>
          </a:stretch>
        </p:blipFill>
        <p:spPr bwMode="auto">
          <a:xfrm>
            <a:off x="0" y="0"/>
            <a:ext cx="9144000" cy="514350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 name="Picture 8" descr="logo_black.ai"/>
          <p:cNvPicPr>
            <a:picLocks noChangeAspect="1"/>
          </p:cNvPicPr>
          <p:nvPr userDrawn="1"/>
        </p:nvPicPr>
        <p:blipFill>
          <a:blip r:embed="rId4">
            <a:alphaModFix amt="82000"/>
            <a:extLst>
              <a:ext uri="{28A0092B-C50C-407E-A947-70E740481C1C}">
                <a14:useLocalDpi xmlns:a14="http://schemas.microsoft.com/office/drawing/2010/main"/>
              </a:ext>
            </a:extLst>
          </a:blip>
          <a:srcRect/>
          <a:stretch>
            <a:fillRect/>
          </a:stretch>
        </p:blipFill>
        <p:spPr bwMode="auto">
          <a:xfrm>
            <a:off x="425451" y="320676"/>
            <a:ext cx="949325" cy="585788"/>
          </a:xfrm>
          <a:prstGeom prst="rect">
            <a:avLst/>
          </a:prstGeom>
          <a:noFill/>
          <a:ln>
            <a:noFill/>
          </a:ln>
          <a:extLst>
            <a:ext uri="{909E8E84-426E-40dd-AFC4-6F175D3DCCD1}">
              <a14:hiddenFill xmlns:a14="http://schemas.microsoft.com/office/drawing/2010/main" xmlns="">
                <a:solidFill>
                  <a:srgbClr val="FFFFFF">
                    <a:alpha val="81960"/>
                  </a:srgbClr>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 Placeholder 2"/>
          <p:cNvSpPr>
            <a:spLocks noGrp="1"/>
          </p:cNvSpPr>
          <p:nvPr>
            <p:ph type="body" sz="quarter" idx="13" hasCustomPrompt="1"/>
          </p:nvPr>
        </p:nvSpPr>
        <p:spPr>
          <a:xfrm>
            <a:off x="463293" y="3211463"/>
            <a:ext cx="8302625" cy="299001"/>
          </a:xfrm>
          <a:prstGeom prst="rect">
            <a:avLst/>
          </a:prstGeom>
        </p:spPr>
        <p:txBody>
          <a:bodyPr lIns="91418" tIns="45709" rIns="91418" bIns="45709"/>
          <a:lstStyle>
            <a:lvl1pPr marL="0" indent="0">
              <a:buFont typeface="Arial" panose="020B0604020202020204" pitchFamily="34" charset="0"/>
              <a:buNone/>
              <a:defRPr sz="2200" baseline="0">
                <a:solidFill>
                  <a:srgbClr val="4D4D4D"/>
                </a:solidFill>
                <a:latin typeface="+mj-lt"/>
              </a:defRPr>
            </a:lvl1pPr>
            <a:lvl2pPr marL="304774" indent="0">
              <a:buNone/>
              <a:defRPr/>
            </a:lvl2pPr>
            <a:lvl3pPr marL="427391" indent="0">
              <a:buNone/>
              <a:defRPr/>
            </a:lvl3pPr>
            <a:lvl4pPr marL="516681" indent="0">
              <a:buNone/>
              <a:defRPr/>
            </a:lvl4pPr>
            <a:lvl5pPr marL="601206" indent="0">
              <a:buNone/>
              <a:defRPr/>
            </a:lvl5pPr>
          </a:lstStyle>
          <a:p>
            <a:pPr lvl="0"/>
            <a:r>
              <a:rPr lang="en-GB" dirty="0" smtClean="0"/>
              <a:t>Subtitle Goes Here</a:t>
            </a:r>
          </a:p>
        </p:txBody>
      </p:sp>
      <p:sp>
        <p:nvSpPr>
          <p:cNvPr id="1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4D4D4D"/>
                </a:solidFill>
                <a:latin typeface="+mj-lt"/>
                <a:cs typeface="CiscoSans Thin"/>
              </a:defRPr>
            </a:lvl1pPr>
          </a:lstStyle>
          <a:p>
            <a:r>
              <a:rPr lang="en-GB" dirty="0" smtClean="0"/>
              <a:t>Presentation Title Goes Here</a:t>
            </a:r>
            <a:endParaRPr lang="en-US" dirty="0"/>
          </a:p>
        </p:txBody>
      </p:sp>
      <p:sp>
        <p:nvSpPr>
          <p:cNvPr id="21" name="Subtitle 2"/>
          <p:cNvSpPr>
            <a:spLocks noGrp="1"/>
          </p:cNvSpPr>
          <p:nvPr>
            <p:ph type="subTitle" idx="1" hasCustomPrompt="1"/>
          </p:nvPr>
        </p:nvSpPr>
        <p:spPr>
          <a:xfrm>
            <a:off x="469497" y="3793199"/>
            <a:ext cx="8296421" cy="288131"/>
          </a:xfrm>
          <a:prstGeom prst="rect">
            <a:avLst/>
          </a:prstGeom>
        </p:spPr>
        <p:txBody>
          <a:bodyPr lIns="91418" tIns="45709" rIns="91418" bIns="45709" anchor="b" anchorCtr="0">
            <a:noAutofit/>
          </a:bodyPr>
          <a:lstStyle>
            <a:lvl1pPr marL="0" indent="0" algn="l">
              <a:buNone/>
              <a:defRPr sz="1400" b="0" i="0">
                <a:solidFill>
                  <a:srgbClr val="676767"/>
                </a:solidFill>
                <a:latin typeface="+mn-lt"/>
                <a:cs typeface="CiscoSans"/>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dirty="0" smtClean="0"/>
              <a:t>Speaker Name</a:t>
            </a:r>
            <a:endParaRPr lang="en-US" dirty="0"/>
          </a:p>
        </p:txBody>
      </p:sp>
      <p:sp>
        <p:nvSpPr>
          <p:cNvPr id="22" name="Text Placeholder 38"/>
          <p:cNvSpPr>
            <a:spLocks noGrp="1"/>
          </p:cNvSpPr>
          <p:nvPr>
            <p:ph type="body" sz="quarter" idx="11" hasCustomPrompt="1"/>
          </p:nvPr>
        </p:nvSpPr>
        <p:spPr>
          <a:xfrm>
            <a:off x="469497" y="4033196"/>
            <a:ext cx="8296421" cy="288131"/>
          </a:xfrm>
          <a:prstGeom prst="rect">
            <a:avLst/>
          </a:prstGeom>
        </p:spPr>
        <p:txBody>
          <a:bodyPr lIns="91418" tIns="45709" rIns="91418" bIns="45709"/>
          <a:lstStyle>
            <a:lvl1pPr marL="0" indent="0" algn="l">
              <a:buFontTx/>
              <a:buNone/>
              <a:defRPr lang="en-US" sz="1400" b="0" i="0" kern="1200" dirty="0" smtClean="0">
                <a:solidFill>
                  <a:srgbClr val="676767"/>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23" name="Text Placeholder 40"/>
          <p:cNvSpPr>
            <a:spLocks noGrp="1"/>
          </p:cNvSpPr>
          <p:nvPr>
            <p:ph type="body" sz="quarter" idx="12" hasCustomPrompt="1"/>
          </p:nvPr>
        </p:nvSpPr>
        <p:spPr>
          <a:xfrm>
            <a:off x="469497" y="4273193"/>
            <a:ext cx="8296421" cy="288131"/>
          </a:xfrm>
          <a:prstGeom prst="rect">
            <a:avLst/>
          </a:prstGeom>
        </p:spPr>
        <p:txBody>
          <a:bodyPr lIns="91418" tIns="45709" rIns="91418" bIns="45709"/>
          <a:lstStyle>
            <a:lvl1pPr marL="0" indent="0" algn="l">
              <a:buFontTx/>
              <a:buNone/>
              <a:defRPr lang="en-US" sz="1400" b="0" i="0" kern="1200" dirty="0" smtClean="0">
                <a:solidFill>
                  <a:srgbClr val="676767"/>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Tree>
    <p:extLst>
      <p:ext uri="{BB962C8B-B14F-4D97-AF65-F5344CB8AC3E}">
        <p14:creationId xmlns:p14="http://schemas.microsoft.com/office/powerpoint/2010/main" val="3435381026"/>
      </p:ext>
    </p:extLst>
  </p:cSld>
  <p:clrMapOvr>
    <a:masterClrMapping/>
  </p:clrMapOvr>
  <p:transition spd="slow">
    <p:wip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Closing_Photo">
    <p:spTree>
      <p:nvGrpSpPr>
        <p:cNvPr id="1" name=""/>
        <p:cNvGrpSpPr/>
        <p:nvPr/>
      </p:nvGrpSpPr>
      <p:grpSpPr>
        <a:xfrm>
          <a:off x="0" y="0"/>
          <a:ext cx="0" cy="0"/>
          <a:chOff x="0" y="0"/>
          <a:chExt cx="0" cy="0"/>
        </a:xfrm>
      </p:grpSpPr>
      <p:pic>
        <p:nvPicPr>
          <p:cNvPr id="16" name="Picture Placeholder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16" y="-2571"/>
            <a:ext cx="9150431" cy="5148643"/>
          </a:xfrm>
          <a:prstGeom prst="rect">
            <a:avLst/>
          </a:prstGeom>
        </p:spPr>
      </p:pic>
      <p:pic>
        <p:nvPicPr>
          <p:cNvPr id="17" name="Picture 16" descr="pref_1-line_logo+tagline-rt-white-CMYK.ai"/>
          <p:cNvPicPr>
            <a:picLocks noChangeAspect="1"/>
          </p:cNvPicPr>
          <p:nvPr userDrawn="1"/>
        </p:nvPicPr>
        <p:blipFill rotWithShape="1">
          <a:blip r:embed="rId3" cstate="screen">
            <a:duotone>
              <a:prstClr val="black"/>
              <a:schemeClr val="accent3">
                <a:tint val="45000"/>
                <a:satMod val="400000"/>
              </a:schemeClr>
            </a:duotone>
            <a:lum bright="-100000" contrast="-100000"/>
            <a:alphaModFix amt="60000"/>
            <a:extLst>
              <a:ext uri="{28A0092B-C50C-407E-A947-70E740481C1C}">
                <a14:useLocalDpi xmlns:a14="http://schemas.microsoft.com/office/drawing/2010/main"/>
              </a:ext>
            </a:extLst>
          </a:blip>
          <a:srcRect l="17105" r="59410"/>
          <a:stretch/>
        </p:blipFill>
        <p:spPr>
          <a:xfrm>
            <a:off x="3543299" y="1643634"/>
            <a:ext cx="2057400" cy="1856232"/>
          </a:xfrm>
          <a:prstGeom prst="rect">
            <a:avLst/>
          </a:prstGeom>
        </p:spPr>
      </p:pic>
    </p:spTree>
    <p:extLst>
      <p:ext uri="{BB962C8B-B14F-4D97-AF65-F5344CB8AC3E}">
        <p14:creationId xmlns:p14="http://schemas.microsoft.com/office/powerpoint/2010/main" val="302061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Rectangle 5"/>
          <p:cNvSpPr>
            <a:spLocks noChangeArrowheads="1"/>
          </p:cNvSpPr>
          <p:nvPr userDrawn="1"/>
        </p:nvSpPr>
        <p:spPr bwMode="hidden">
          <a:xfrm>
            <a:off x="0" y="2520553"/>
            <a:ext cx="9144000" cy="2622947"/>
          </a:xfrm>
          <a:prstGeom prst="rect">
            <a:avLst/>
          </a:prstGeom>
          <a:gradFill rotWithShape="1">
            <a:gsLst>
              <a:gs pos="0">
                <a:srgbClr val="FFFFFF">
                  <a:alpha val="0"/>
                </a:srgbClr>
              </a:gs>
              <a:gs pos="100000">
                <a:srgbClr val="0183B7">
                  <a:alpha val="50000"/>
                </a:srgbClr>
              </a:gs>
            </a:gsLst>
            <a:lin ang="5400000" scaled="1"/>
          </a:gradFill>
          <a:ln w="9525" algn="ctr">
            <a:noFill/>
            <a:miter lim="800000"/>
            <a:headEnd/>
            <a:tailEnd/>
          </a:ln>
          <a:effectLst/>
        </p:spPr>
        <p:txBody>
          <a:bodyPr lIns="61593" tIns="30796" rIns="61593" bIns="30796" anchor="ctr">
            <a:noAutofit/>
          </a:bodyPr>
          <a:lstStyle/>
          <a:p>
            <a:endParaRPr lang="en-US" dirty="0"/>
          </a:p>
        </p:txBody>
      </p:sp>
      <p:sp>
        <p:nvSpPr>
          <p:cNvPr id="2" name="Title 1"/>
          <p:cNvSpPr>
            <a:spLocks noGrp="1"/>
          </p:cNvSpPr>
          <p:nvPr>
            <p:ph type="title" hasCustomPrompt="1"/>
          </p:nvPr>
        </p:nvSpPr>
        <p:spPr>
          <a:xfrm>
            <a:off x="793752" y="228600"/>
            <a:ext cx="7435849" cy="628650"/>
          </a:xfrm>
        </p:spPr>
        <p:txBody>
          <a:bodyPr/>
          <a:lstStyle/>
          <a:p>
            <a:r>
              <a:rPr lang="en-US" dirty="0" smtClean="0"/>
              <a:t>Slide Title Goes Here</a:t>
            </a:r>
            <a:endParaRPr lang="en-US" dirty="0"/>
          </a:p>
        </p:txBody>
      </p:sp>
      <p:sp>
        <p:nvSpPr>
          <p:cNvPr id="3" name="Content Placeholder 2"/>
          <p:cNvSpPr>
            <a:spLocks noGrp="1"/>
          </p:cNvSpPr>
          <p:nvPr>
            <p:ph idx="1" hasCustomPrompt="1"/>
          </p:nvPr>
        </p:nvSpPr>
        <p:spPr>
          <a:xfrm>
            <a:off x="793752" y="1200151"/>
            <a:ext cx="7435849" cy="3394472"/>
          </a:xfrm>
          <a:prstGeom prst="rect">
            <a:avLst/>
          </a:prstGeom>
        </p:spPr>
        <p:txBody>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hasCustomPrompt="1"/>
          </p:nvPr>
        </p:nvSpPr>
        <p:spPr>
          <a:xfrm>
            <a:off x="793752" y="889907"/>
            <a:ext cx="7435849" cy="285750"/>
          </a:xfrm>
          <a:prstGeom prst="rect">
            <a:avLst/>
          </a:prstGeom>
        </p:spPr>
        <p:txBody>
          <a:bodyPr anchor="ctr" anchorCtr="0">
            <a:noAutofit/>
          </a:bodyPr>
          <a:lstStyle>
            <a:lvl1pPr>
              <a:buFontTx/>
              <a:buNone/>
              <a:defRPr sz="1800"/>
            </a:lvl1pPr>
            <a:lvl2pPr>
              <a:defRPr sz="1800"/>
            </a:lvl2pPr>
            <a:lvl3pPr>
              <a:defRPr sz="1800"/>
            </a:lvl3pPr>
            <a:lvl4pPr>
              <a:defRPr sz="1800"/>
            </a:lvl4pPr>
            <a:lvl5pPr>
              <a:defRPr sz="1800"/>
            </a:lvl5pPr>
          </a:lstStyle>
          <a:p>
            <a:pPr lvl="0"/>
            <a:r>
              <a:rPr lang="en-US" dirty="0" smtClean="0"/>
              <a:t>Subtitle Goes Here</a:t>
            </a:r>
            <a:endParaRPr lang="en-US" dirty="0"/>
          </a:p>
        </p:txBody>
      </p:sp>
      <p:sp>
        <p:nvSpPr>
          <p:cNvPr id="10" name="Text Placeholder 9"/>
          <p:cNvSpPr>
            <a:spLocks noGrp="1"/>
          </p:cNvSpPr>
          <p:nvPr>
            <p:ph type="body" sz="quarter" idx="11"/>
          </p:nvPr>
        </p:nvSpPr>
        <p:spPr>
          <a:xfrm>
            <a:off x="793750" y="4756235"/>
            <a:ext cx="7461250" cy="253916"/>
          </a:xfrm>
          <a:prstGeom prst="rect">
            <a:avLst/>
          </a:prstGeom>
        </p:spPr>
        <p:txBody>
          <a:bodyPr wrap="square" anchor="b" anchorCtr="0">
            <a:spAutoFit/>
          </a:bodyPr>
          <a:lstStyle>
            <a:lvl1pPr algn="l" defTabSz="603647">
              <a:lnSpc>
                <a:spcPct val="100000"/>
              </a:lnSpc>
              <a:spcBef>
                <a:spcPct val="50000"/>
              </a:spcBef>
              <a:buNone/>
              <a:defRPr sz="1050"/>
            </a:lvl1pPr>
            <a:lvl2pPr>
              <a:buFont typeface="Arial" pitchFamily="34" charset="0"/>
              <a:buNone/>
              <a:defRPr sz="1050"/>
            </a:lvl2pPr>
            <a:lvl3pPr>
              <a:buFont typeface="Arial" pitchFamily="34" charset="0"/>
              <a:buNone/>
              <a:defRPr sz="1050"/>
            </a:lvl3pPr>
            <a:lvl4pPr>
              <a:buFont typeface="Arial" pitchFamily="34" charset="0"/>
              <a:buNone/>
              <a:defRPr sz="1050"/>
            </a:lvl4pPr>
            <a:lvl5pPr>
              <a:buFont typeface="Arial" pitchFamily="34" charset="0"/>
              <a:buNone/>
              <a:defRPr sz="1050"/>
            </a:lvl5pPr>
          </a:lstStyle>
          <a:p>
            <a:pPr lvl="0"/>
            <a:endParaRPr lang="en-US" dirty="0" smtClean="0"/>
          </a:p>
        </p:txBody>
      </p:sp>
    </p:spTree>
    <p:extLst>
      <p:ext uri="{BB962C8B-B14F-4D97-AF65-F5344CB8AC3E}">
        <p14:creationId xmlns:p14="http://schemas.microsoft.com/office/powerpoint/2010/main" val="905356620"/>
      </p:ext>
    </p:extLst>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Slide Number Placeholder 2"/>
          <p:cNvSpPr>
            <a:spLocks noGrp="1"/>
          </p:cNvSpPr>
          <p:nvPr>
            <p:ph type="sldNum" sz="quarter" idx="10"/>
          </p:nvPr>
        </p:nvSpPr>
        <p:spPr>
          <a:xfrm>
            <a:off x="9010919" y="5005000"/>
            <a:ext cx="94577" cy="92333"/>
          </a:xfrm>
          <a:prstGeom prst="rect">
            <a:avLst/>
          </a:prstGeom>
        </p:spPr>
        <p:txBody>
          <a:bodyPr/>
          <a:lstStyle/>
          <a:p>
            <a:fld id="{75DD04D1-EEAE-46DB-A58B-EEB3999969E6}" type="slidenum">
              <a:rPr lang="en-US" smtClean="0"/>
              <a:t>‹#›</a:t>
            </a:fld>
            <a:endParaRPr lang="en-US"/>
          </a:p>
        </p:txBody>
      </p:sp>
    </p:spTree>
    <p:extLst>
      <p:ext uri="{BB962C8B-B14F-4D97-AF65-F5344CB8AC3E}">
        <p14:creationId xmlns:p14="http://schemas.microsoft.com/office/powerpoint/2010/main" val="769201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0" tIns="34286" rIns="68570" bIns="34286" anchor="ctr"/>
          <a:lstStyle/>
          <a:p>
            <a:endParaRPr lang="en-US"/>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70" tIns="34286" rIns="68570" bIns="34286" anchor="ctr"/>
          <a:lstStyle/>
          <a:p>
            <a:endParaRPr lang="en-US"/>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smtClean="0"/>
              <a:t>Section Title Goes Here</a:t>
            </a:r>
            <a:endParaRPr lang="en-US" dirty="0"/>
          </a:p>
        </p:txBody>
      </p:sp>
    </p:spTree>
    <p:extLst>
      <p:ext uri="{BB962C8B-B14F-4D97-AF65-F5344CB8AC3E}">
        <p14:creationId xmlns:p14="http://schemas.microsoft.com/office/powerpoint/2010/main" val="3712191514"/>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4" name="Text Placeholder 3"/>
          <p:cNvSpPr>
            <a:spLocks noGrp="1"/>
          </p:cNvSpPr>
          <p:nvPr>
            <p:ph type="body" sz="quarter" idx="10" hasCustomPrompt="1"/>
          </p:nvPr>
        </p:nvSpPr>
        <p:spPr>
          <a:xfrm>
            <a:off x="253267" y="884766"/>
            <a:ext cx="8637468" cy="3546559"/>
          </a:xfrm>
          <a:prstGeom prst="rect">
            <a:avLst/>
          </a:prstGeo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1"/>
          </p:nvPr>
        </p:nvSpPr>
        <p:spPr>
          <a:xfrm>
            <a:off x="9010919" y="5005000"/>
            <a:ext cx="94577" cy="92333"/>
          </a:xfrm>
          <a:prstGeom prst="rect">
            <a:avLst/>
          </a:prstGeom>
        </p:spPr>
        <p:txBody>
          <a:bodyPr/>
          <a:lstStyle/>
          <a:p>
            <a:fld id="{75DD04D1-EEAE-46DB-A58B-EEB3999969E6}" type="slidenum">
              <a:rPr lang="en-US" smtClean="0"/>
              <a:pPr/>
              <a:t>‹#›</a:t>
            </a:fld>
            <a:endParaRPr lang="en-US" dirty="0"/>
          </a:p>
        </p:txBody>
      </p:sp>
    </p:spTree>
    <p:extLst>
      <p:ext uri="{BB962C8B-B14F-4D97-AF65-F5344CB8AC3E}">
        <p14:creationId xmlns:p14="http://schemas.microsoft.com/office/powerpoint/2010/main" val="63389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Bullet Slide With Title and Sub">
    <p:spTree>
      <p:nvGrpSpPr>
        <p:cNvPr id="1" name=""/>
        <p:cNvGrpSpPr/>
        <p:nvPr/>
      </p:nvGrpSpPr>
      <p:grpSpPr>
        <a:xfrm>
          <a:off x="0" y="0"/>
          <a:ext cx="0" cy="0"/>
          <a:chOff x="0" y="0"/>
          <a:chExt cx="0" cy="0"/>
        </a:xfrm>
      </p:grpSpPr>
      <p:sp>
        <p:nvSpPr>
          <p:cNvPr id="6" name="Title Placeholder 5"/>
          <p:cNvSpPr>
            <a:spLocks noGrp="1"/>
          </p:cNvSpPr>
          <p:nvPr>
            <p:ph type="title"/>
          </p:nvPr>
        </p:nvSpPr>
        <p:spPr bwMode="auto">
          <a:xfrm>
            <a:off x="437766" y="341314"/>
            <a:ext cx="8345488" cy="520874"/>
          </a:xfrm>
          <a:prstGeom prst="rect">
            <a:avLst/>
          </a:prstGeom>
          <a:noFill/>
          <a:ln>
            <a:noFill/>
          </a:ln>
          <a:extLst>
            <a:ext uri="{FAA26D3D-D897-4be2-8F04-BA451C77F1D7}">
              <ma14:placeholderFlag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bodyPr>
          <a:lstStyle/>
          <a:p>
            <a:pPr lvl="0"/>
            <a:r>
              <a:rPr lang="en-US" smtClean="0"/>
              <a:t>Click to edit Master title style</a:t>
            </a:r>
            <a:endParaRPr lang="en-GB" dirty="0"/>
          </a:p>
        </p:txBody>
      </p:sp>
      <p:sp>
        <p:nvSpPr>
          <p:cNvPr id="8" name="Text Placeholder 10"/>
          <p:cNvSpPr>
            <a:spLocks noGrp="1"/>
          </p:cNvSpPr>
          <p:nvPr>
            <p:ph type="body" sz="quarter" idx="11"/>
          </p:nvPr>
        </p:nvSpPr>
        <p:spPr>
          <a:xfrm>
            <a:off x="441123" y="811385"/>
            <a:ext cx="8345926" cy="353934"/>
          </a:xfrm>
          <a:prstGeom prst="rect">
            <a:avLst/>
          </a:prstGeom>
        </p:spPr>
        <p:txBody>
          <a:bodyPr vert="horz"/>
          <a:lstStyle>
            <a:lvl1pPr marL="0" indent="0">
              <a:buNone/>
              <a:defRPr sz="2000">
                <a:ea typeface="Arial"/>
                <a:cs typeface="Arial"/>
              </a:defRPr>
            </a:lvl1pPr>
          </a:lstStyle>
          <a:p>
            <a:pPr lvl="0"/>
            <a:r>
              <a:rPr lang="en-US" smtClean="0"/>
              <a:t>Click to edit Master text styles</a:t>
            </a:r>
          </a:p>
        </p:txBody>
      </p:sp>
      <p:sp>
        <p:nvSpPr>
          <p:cNvPr id="5" name="Text Placeholder 3"/>
          <p:cNvSpPr>
            <a:spLocks noGrp="1"/>
          </p:cNvSpPr>
          <p:nvPr>
            <p:ph type="body" sz="quarter" idx="10" hasCustomPrompt="1"/>
          </p:nvPr>
        </p:nvSpPr>
        <p:spPr>
          <a:xfrm>
            <a:off x="454604"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5169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6757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2" y="1347789"/>
            <a:ext cx="8280057" cy="3073946"/>
          </a:xfrm>
          <a:prstGeom prst="rect">
            <a:avLst/>
          </a:prstGeom>
        </p:spPr>
        <p:txBody>
          <a:bodyPr lIns="91418" tIns="45709" rIns="91418" bIns="45709">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2" tIns="45711" rIns="91422" bIns="45711"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749167052"/>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18" tIns="45709" rIns="91418" bIns="45709">
            <a:noAutofit/>
          </a:bodyPr>
          <a:lstStyle>
            <a:lvl1pPr marL="280921" indent="-223787">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82" indent="-215849">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39" indent="-171411">
              <a:buClr>
                <a:schemeClr val="tx1"/>
              </a:buClr>
              <a:buSzPct val="80000"/>
              <a:buFont typeface="Arial"/>
              <a:buChar char="•"/>
              <a:defRPr sz="1600" b="0" i="0">
                <a:solidFill>
                  <a:srgbClr val="676767"/>
                </a:solidFill>
                <a:latin typeface="+mn-lt"/>
                <a:cs typeface="CiscoSans ExtraLight"/>
              </a:defRPr>
            </a:lvl3pPr>
            <a:lvl4pPr marL="911012" indent="-171411">
              <a:buClr>
                <a:schemeClr val="tx1"/>
              </a:buClr>
              <a:buSzPct val="80000"/>
              <a:buFont typeface="Arial"/>
              <a:buChar char="•"/>
              <a:defRPr sz="1400" b="0" i="0">
                <a:solidFill>
                  <a:srgbClr val="676767"/>
                </a:solidFill>
                <a:latin typeface="+mn-lt"/>
                <a:cs typeface="CiscoSans ExtraLight"/>
              </a:defRPr>
            </a:lvl4pPr>
            <a:lvl5pPr marL="1082423" indent="-168236">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2" tIns="45711" rIns="91422" bIns="45711"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78301120"/>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18" tIns="45709" rIns="91418" bIns="45709">
            <a:noAutofit/>
          </a:bodyPr>
          <a:lstStyle>
            <a:lvl1pPr marL="57134"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33"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28" indent="0">
              <a:buClr>
                <a:schemeClr val="tx1"/>
              </a:buClr>
              <a:buSzPct val="80000"/>
              <a:buFont typeface="Arial"/>
              <a:buNone/>
              <a:defRPr sz="1600" b="0" i="0">
                <a:solidFill>
                  <a:srgbClr val="676767"/>
                </a:solidFill>
                <a:latin typeface="+mn-lt"/>
                <a:cs typeface="CiscoSans ExtraLight"/>
              </a:defRPr>
            </a:lvl3pPr>
            <a:lvl4pPr marL="739601" indent="0">
              <a:buClr>
                <a:schemeClr val="tx1"/>
              </a:buClr>
              <a:buSzPct val="80000"/>
              <a:buFont typeface="Arial"/>
              <a:buNone/>
              <a:defRPr sz="1400" b="0" i="0">
                <a:solidFill>
                  <a:srgbClr val="676767"/>
                </a:solidFill>
                <a:latin typeface="+mn-lt"/>
                <a:cs typeface="CiscoSans ExtraLight"/>
              </a:defRPr>
            </a:lvl4pPr>
            <a:lvl5pPr marL="914187"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2" tIns="45711" rIns="91422" bIns="45711"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914425567"/>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1" y="895601"/>
            <a:ext cx="8398739" cy="3168210"/>
          </a:xfrm>
          <a:prstGeom prst="rect">
            <a:avLst/>
          </a:prstGeom>
        </p:spPr>
        <p:txBody>
          <a:bodyPr lIns="91418" tIns="45709" rIns="91418" bIns="45709">
            <a:noAutofit/>
          </a:bodyPr>
          <a:lstStyle>
            <a:lvl1pPr marL="57134"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33"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28" indent="0">
              <a:buClr>
                <a:schemeClr val="tx1"/>
              </a:buClr>
              <a:buSzPct val="80000"/>
              <a:buFont typeface="Arial"/>
              <a:buNone/>
              <a:defRPr sz="1600" b="0" i="0">
                <a:solidFill>
                  <a:srgbClr val="676767"/>
                </a:solidFill>
                <a:latin typeface="+mn-lt"/>
                <a:cs typeface="CiscoSans ExtraLight"/>
              </a:defRPr>
            </a:lvl3pPr>
            <a:lvl4pPr marL="739601" indent="0">
              <a:buClr>
                <a:schemeClr val="tx1"/>
              </a:buClr>
              <a:buSzPct val="80000"/>
              <a:buFont typeface="Arial"/>
              <a:buNone/>
              <a:defRPr sz="1400" b="0" i="0">
                <a:solidFill>
                  <a:srgbClr val="676767"/>
                </a:solidFill>
                <a:latin typeface="+mn-lt"/>
                <a:cs typeface="CiscoSans ExtraLight"/>
              </a:defRPr>
            </a:lvl4pPr>
            <a:lvl5pPr marL="914187"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4110407128"/>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91418" tIns="45709" rIns="91418" bIns="45709">
            <a:noAutofit/>
          </a:bodyPr>
          <a:lstStyle>
            <a:lvl1pPr marL="212395" indent="-392390">
              <a:lnSpc>
                <a:spcPts val="4440"/>
              </a:lnSpc>
              <a:spcBef>
                <a:spcPts val="0"/>
              </a:spcBef>
              <a:buClr>
                <a:schemeClr val="tx1"/>
              </a:buClr>
              <a:buSzPct val="80000"/>
              <a:buFont typeface="Arial"/>
              <a:buChar char="•"/>
              <a:defRPr sz="3700" b="0" i="0">
                <a:solidFill>
                  <a:srgbClr val="676767"/>
                </a:solidFill>
                <a:latin typeface="+mn-lt"/>
                <a:cs typeface="CiscoSans ExtraLight"/>
              </a:defRPr>
            </a:lvl1pPr>
            <a:lvl2pPr marL="507882" indent="-215849">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39" indent="-171411">
              <a:buClr>
                <a:schemeClr val="tx1"/>
              </a:buClr>
              <a:buSzPct val="80000"/>
              <a:buFont typeface="Arial"/>
              <a:buChar char="•"/>
              <a:defRPr sz="1600" b="0" i="0">
                <a:solidFill>
                  <a:srgbClr val="676767"/>
                </a:solidFill>
                <a:latin typeface="+mn-lt"/>
                <a:cs typeface="CiscoSans ExtraLight"/>
              </a:defRPr>
            </a:lvl3pPr>
            <a:lvl4pPr marL="911012" indent="-171411">
              <a:buClr>
                <a:schemeClr val="tx1"/>
              </a:buClr>
              <a:buSzPct val="80000"/>
              <a:buFont typeface="Arial"/>
              <a:buChar char="•"/>
              <a:defRPr sz="1400" b="0" i="0">
                <a:solidFill>
                  <a:srgbClr val="676767"/>
                </a:solidFill>
                <a:latin typeface="+mn-lt"/>
                <a:cs typeface="CiscoSans ExtraLight"/>
              </a:defRPr>
            </a:lvl4pPr>
            <a:lvl5pPr marL="1082423" indent="-168236">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74137170"/>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theme" Target="../theme/theme1.xml"/><Relationship Id="rId4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2" tIns="45711" rIns="91422" bIns="45711" numCol="1" anchor="ctr" anchorCtr="0" compatLnSpc="1">
            <a:prstTxWarp prst="textNoShape">
              <a:avLst/>
            </a:prstTxWarp>
          </a:bodyPr>
          <a:lstStyle/>
          <a:p>
            <a:pPr lvl="0"/>
            <a:r>
              <a:rPr lang="en-GB" dirty="0" smtClean="0"/>
              <a:t>Title Goes Here</a:t>
            </a:r>
            <a:endParaRPr lang="en-GB" dirty="0"/>
          </a:p>
        </p:txBody>
      </p:sp>
      <p:sp>
        <p:nvSpPr>
          <p:cNvPr id="12" name="Rectangle 7"/>
          <p:cNvSpPr>
            <a:spLocks noChangeArrowheads="1"/>
          </p:cNvSpPr>
          <p:nvPr/>
        </p:nvSpPr>
        <p:spPr bwMode="ltGray">
          <a:xfrm>
            <a:off x="8513569" y="4742908"/>
            <a:ext cx="220553" cy="154517"/>
          </a:xfrm>
          <a:prstGeom prst="rect">
            <a:avLst/>
          </a:prstGeom>
          <a:noFill/>
          <a:ln w="9525" algn="ctr">
            <a:noFill/>
            <a:miter lim="800000"/>
            <a:headEnd/>
            <a:tailEnd/>
          </a:ln>
          <a:effectLst/>
        </p:spPr>
        <p:txBody>
          <a:bodyPr wrap="none" lIns="61585" tIns="30791" rIns="61585" bIns="30791" anchor="b">
            <a:spAutoFit/>
          </a:bodyPr>
          <a:lstStyle/>
          <a:p>
            <a:pPr algn="r" defTabSz="610729" fontAlgn="auto">
              <a:spcBef>
                <a:spcPts val="0"/>
              </a:spcBef>
              <a:spcAft>
                <a:spcPts val="0"/>
              </a:spcAft>
              <a:defRPr/>
            </a:pPr>
            <a:fld id="{4ABDCABE-3F10-B64C-92F1-862014417034}" type="slidenum">
              <a:rPr lang="en-US" sz="600">
                <a:solidFill>
                  <a:srgbClr val="000000">
                    <a:alpha val="25000"/>
                  </a:srgbClr>
                </a:solidFill>
                <a:latin typeface="+mn-lt"/>
                <a:ea typeface="+mn-ea"/>
                <a:cs typeface="CiscoSans Thin"/>
              </a:rPr>
              <a:pPr algn="r" defTabSz="610729"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5" tIns="30791" rIns="61585" bIns="30791" anchor="b">
            <a:spAutoFit/>
          </a:bodyPr>
          <a:lstStyle/>
          <a:p>
            <a:pPr defTabSz="610729" fontAlgn="auto">
              <a:spcBef>
                <a:spcPts val="0"/>
              </a:spcBef>
              <a:spcAft>
                <a:spcPts val="0"/>
              </a:spcAft>
              <a:defRPr/>
            </a:pPr>
            <a:r>
              <a:rPr lang="en-US" sz="600" dirty="0">
                <a:solidFill>
                  <a:srgbClr val="000000">
                    <a:alpha val="25000"/>
                  </a:srgbClr>
                </a:solidFill>
                <a:latin typeface="+mn-lt"/>
                <a:ea typeface="+mn-ea"/>
                <a:cs typeface="CiscoSans Thin"/>
              </a:rPr>
              <a:t>© 2014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44" cstate="screen">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874" r:id="rId1"/>
    <p:sldLayoutId id="2147483875" r:id="rId2"/>
    <p:sldLayoutId id="2147483877" r:id="rId3"/>
    <p:sldLayoutId id="2147483876" r:id="rId4"/>
    <p:sldLayoutId id="2147483878" r:id="rId5"/>
    <p:sldLayoutId id="2147483881" r:id="rId6"/>
    <p:sldLayoutId id="2147483880" r:id="rId7"/>
    <p:sldLayoutId id="2147483905" r:id="rId8"/>
    <p:sldLayoutId id="2147483906" r:id="rId9"/>
    <p:sldLayoutId id="2147483879" r:id="rId10"/>
    <p:sldLayoutId id="2147483883" r:id="rId11"/>
    <p:sldLayoutId id="2147483886" r:id="rId12"/>
    <p:sldLayoutId id="2147483887" r:id="rId13"/>
    <p:sldLayoutId id="2147483884" r:id="rId14"/>
    <p:sldLayoutId id="2147483885" r:id="rId15"/>
    <p:sldLayoutId id="2147483907" r:id="rId16"/>
    <p:sldLayoutId id="2147483889" r:id="rId17"/>
    <p:sldLayoutId id="2147483890" r:id="rId18"/>
    <p:sldLayoutId id="2147483891" r:id="rId19"/>
    <p:sldLayoutId id="2147483892" r:id="rId20"/>
    <p:sldLayoutId id="2147483893" r:id="rId21"/>
    <p:sldLayoutId id="2147483917" r:id="rId22"/>
    <p:sldLayoutId id="2147483918" r:id="rId23"/>
    <p:sldLayoutId id="2147483895" r:id="rId24"/>
    <p:sldLayoutId id="2147483871" r:id="rId25"/>
    <p:sldLayoutId id="2147483898" r:id="rId26"/>
    <p:sldLayoutId id="2147483908" r:id="rId27"/>
    <p:sldLayoutId id="2147483909" r:id="rId28"/>
    <p:sldLayoutId id="2147483910" r:id="rId29"/>
    <p:sldLayoutId id="2147483911" r:id="rId30"/>
    <p:sldLayoutId id="2147483914" r:id="rId31"/>
    <p:sldLayoutId id="2147483896" r:id="rId32"/>
    <p:sldLayoutId id="2147483912" r:id="rId33"/>
    <p:sldLayoutId id="2147483913" r:id="rId34"/>
    <p:sldLayoutId id="2147483897" r:id="rId35"/>
    <p:sldLayoutId id="2147483928" r:id="rId36"/>
    <p:sldLayoutId id="2147483929" r:id="rId37"/>
    <p:sldLayoutId id="2147483930" r:id="rId38"/>
    <p:sldLayoutId id="2147483931" r:id="rId39"/>
    <p:sldLayoutId id="2147483932" r:id="rId40"/>
    <p:sldLayoutId id="2147483933" r:id="rId41"/>
    <p:sldLayoutId id="2147483934" r:id="rId42"/>
  </p:sldLayoutIdLst>
  <p:transition spd="slow">
    <p:wipe/>
  </p:transition>
  <p:timing>
    <p:tnLst>
      <p:par>
        <p:cTn id="1" dur="indefinite" restart="never" nodeType="tmRoot"/>
      </p:par>
    </p:tnLst>
  </p:timing>
  <p:txStyles>
    <p:titleStyle>
      <a:lvl1pPr algn="l" defTabSz="684196"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8.tif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6.xml"/><Relationship Id="rId3"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image" Target="../media/image19.tiff"/></Relationships>
</file>

<file path=ppt/slides/_rels/slide14.xml.rels><?xml version="1.0" encoding="UTF-8" standalone="yes"?>
<Relationships xmlns="http://schemas.openxmlformats.org/package/2006/relationships"><Relationship Id="rId3" Type="http://schemas.openxmlformats.org/officeDocument/2006/relationships/hyperlink" Target="http://blogs.cisco.com/sp/transform-your-5g-mobile-networks-with-a-new-approach-to-security" TargetMode="External"/><Relationship Id="rId4" Type="http://schemas.openxmlformats.org/officeDocument/2006/relationships/hyperlink" Target="http://www.cisco.com/c/en/us/solutions/service-provider/mobile-internet/index.html?CAMPAIGN=MWC+Launch&amp;COUNTRY_SITE=us&amp;POSITION=Social+media+organic&amp;REFERRING_SITE=Facebook&amp;CREATIVE=Facebook" TargetMode="External"/><Relationship Id="rId5" Type="http://schemas.openxmlformats.org/officeDocument/2006/relationships/hyperlink" Target="http://www.cisco.com/c/dam/en/us/solutions/collateral/service-provider/ultra-services-platform/mwc17-hicn-video-wp.pdf" TargetMode="External"/><Relationship Id="rId6" Type="http://schemas.openxmlformats.org/officeDocument/2006/relationships/hyperlink" Target="http://www.lightreading.com/lg_redirect.asp?piddl_lgid_docid=730210&amp;piddl_lg_pcode=wprightcolumn" TargetMode="External"/><Relationship Id="rId7" Type="http://schemas.openxmlformats.org/officeDocument/2006/relationships/hyperlink" Target="http://www.cisco.com/c/en/us/solutions/service-provider/mobile-internet/mobility-technical-documents.html#5g" TargetMode="External"/><Relationship Id="rId1" Type="http://schemas.openxmlformats.org/officeDocument/2006/relationships/slideLayout" Target="../slideLayouts/slideLayout15.xml"/><Relationship Id="rId2" Type="http://schemas.openxmlformats.org/officeDocument/2006/relationships/hyperlink" Target="https://newsroom.cisco.com/press-release-content?type=press-release&amp;articleId=1825693"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16.tiff"/><Relationship Id="rId3" Type="http://schemas.openxmlformats.org/officeDocument/2006/relationships/image" Target="../media/image17.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0.jp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2.jp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3.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9.tif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4.jp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5.jpg"/></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27.png"/><Relationship Id="rId1" Type="http://schemas.openxmlformats.org/officeDocument/2006/relationships/slideLayout" Target="../slideLayouts/slideLayout40.xml"/><Relationship Id="rId2" Type="http://schemas.openxmlformats.org/officeDocument/2006/relationships/notesSlide" Target="../notesSlides/notesSlide8.xml"/></Relationships>
</file>

<file path=ppt/slides/_rels/slide23.xml.rels><?xml version="1.0" encoding="UTF-8" standalone="yes"?>
<Relationships xmlns="http://schemas.openxmlformats.org/package/2006/relationships"><Relationship Id="rId3" Type="http://schemas.openxmlformats.org/officeDocument/2006/relationships/hyperlink" Target="http://blogs.cisco.com/sp" TargetMode="External"/><Relationship Id="rId4" Type="http://schemas.openxmlformats.org/officeDocument/2006/relationships/hyperlink" Target="mailto:yaagami@cisco.com" TargetMode="External"/><Relationship Id="rId5" Type="http://schemas.openxmlformats.org/officeDocument/2006/relationships/hyperlink" Target="mailto:addavies@cisco.com" TargetMode="External"/><Relationship Id="rId6" Type="http://schemas.openxmlformats.org/officeDocument/2006/relationships/hyperlink" Target="mailto:jafield@cisco.com" TargetMode="External"/><Relationship Id="rId7" Type="http://schemas.openxmlformats.org/officeDocument/2006/relationships/image" Target="../media/image28.jpeg"/><Relationship Id="rId8" Type="http://schemas.openxmlformats.org/officeDocument/2006/relationships/image" Target="../media/image29.png"/><Relationship Id="rId9" Type="http://schemas.openxmlformats.org/officeDocument/2006/relationships/image" Target="../media/image30.png"/><Relationship Id="rId10" Type="http://schemas.openxmlformats.org/officeDocument/2006/relationships/image" Target="../media/image31.JPG"/><Relationship Id="rId1" Type="http://schemas.openxmlformats.org/officeDocument/2006/relationships/slideLayout" Target="../slideLayouts/slideLayout15.xml"/><Relationship Id="rId2" Type="http://schemas.openxmlformats.org/officeDocument/2006/relationships/hyperlink" Target="http://www.cisco.com/go/infinitevideo"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16.tiff"/><Relationship Id="rId3" Type="http://schemas.openxmlformats.org/officeDocument/2006/relationships/image" Target="../media/image1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1.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5.xml"/><Relationship Id="rId4" Type="http://schemas.openxmlformats.org/officeDocument/2006/relationships/notesSlide" Target="../notesSlides/notesSlide12.xml"/><Relationship Id="rId5" Type="http://schemas.openxmlformats.org/officeDocument/2006/relationships/oleObject" Target="../embeddings/oleObject2.bin"/><Relationship Id="rId6" Type="http://schemas.openxmlformats.org/officeDocument/2006/relationships/image" Target="../media/image32.emf"/><Relationship Id="rId1" Type="http://schemas.openxmlformats.org/officeDocument/2006/relationships/vmlDrawing" Target="../drawings/vmlDrawing2.vml"/><Relationship Id="rId2" Type="http://schemas.openxmlformats.org/officeDocument/2006/relationships/tags" Target="../tags/tag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3.xml"/><Relationship Id="rId3" Type="http://schemas.openxmlformats.org/officeDocument/2006/relationships/image" Target="../media/image33.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0.jpeg"/><Relationship Id="rId3" Type="http://schemas.openxmlformats.org/officeDocument/2006/relationships/image" Target="../media/image11.jp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4.xml"/><Relationship Id="rId3" Type="http://schemas.openxmlformats.org/officeDocument/2006/relationships/image" Target="../media/image3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image" Target="../media/image35.tiff"/><Relationship Id="rId3" Type="http://schemas.openxmlformats.org/officeDocument/2006/relationships/image" Target="../media/image36.png"/></Relationships>
</file>

<file path=ppt/slides/_rels/slide32.xml.rels><?xml version="1.0" encoding="UTF-8" standalone="yes"?>
<Relationships xmlns="http://schemas.openxmlformats.org/package/2006/relationships"><Relationship Id="rId3" Type="http://schemas.openxmlformats.org/officeDocument/2006/relationships/hyperlink" Target="https://blogs.cisco.com/digital/next-phase-of-smart-city-adoption" TargetMode="External"/><Relationship Id="rId4" Type="http://schemas.openxmlformats.org/officeDocument/2006/relationships/hyperlink" Target="http://www.cisco.com/c/en/us/solutions/service-provider/ultra-services-platform/index.html" TargetMode="External"/><Relationship Id="rId5" Type="http://schemas.openxmlformats.org/officeDocument/2006/relationships/hyperlink" Target="http://www.cisco.com/c/en/us/solutions/collateral/service-provider/ultra-services-platform/cisco-ultra-iot-at-a-glance.html" TargetMode="External"/><Relationship Id="rId6" Type="http://schemas.openxmlformats.org/officeDocument/2006/relationships/hyperlink" Target="http://www.cisco.com/c/dam/en_us/solutions/industries/docs/at-a-glance-c45-736521.pdf" TargetMode="External"/><Relationship Id="rId7" Type="http://schemas.openxmlformats.org/officeDocument/2006/relationships/hyperlink" Target="http://www.cisco.com/c/en/us/products/switches/asset-management-suite/index.html" TargetMode="External"/><Relationship Id="rId8" Type="http://schemas.openxmlformats.org/officeDocument/2006/relationships/hyperlink" Target="http://www.cisco.com/c/en/us/solutions/internet-of-things/lorawan-solution.html" TargetMode="External"/><Relationship Id="rId9" Type="http://schemas.openxmlformats.org/officeDocument/2006/relationships/hyperlink" Target="http://www.cisco.com/c/en/us/solutions/service-provider/mobile-internet/video-listing.html#universal-wi-fi-solutions" TargetMode="External"/><Relationship Id="rId1" Type="http://schemas.openxmlformats.org/officeDocument/2006/relationships/slideLayout" Target="../slideLayouts/slideLayout15.xml"/><Relationship Id="rId2" Type="http://schemas.openxmlformats.org/officeDocument/2006/relationships/hyperlink" Target="https://blogs.cisco.com/sp/service-provider-iot-solutions-can-drive-digitization"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16.tiff"/><Relationship Id="rId3" Type="http://schemas.openxmlformats.org/officeDocument/2006/relationships/image" Target="../media/image17.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2.xml"/><Relationship Id="rId2" Type="http://schemas.openxmlformats.org/officeDocument/2006/relationships/notesSlide" Target="../notesSlides/notesSlide1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1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1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1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20.xml"/></Relationships>
</file>

<file path=ppt/slides/_rels/slide4.xml.rels><?xml version="1.0" encoding="UTF-8" standalone="yes"?>
<Relationships xmlns="http://schemas.openxmlformats.org/package/2006/relationships"><Relationship Id="rId11" Type="http://schemas.openxmlformats.org/officeDocument/2006/relationships/hyperlink" Target="https://newsroom.cisco.com/press-release-content?type=webcontent&amp;articleId=1826511" TargetMode="External"/><Relationship Id="rId12" Type="http://schemas.openxmlformats.org/officeDocument/2006/relationships/hyperlink" Target="https://newsroom.cisco.com/press-release-content?type=webcontent&amp;articleId=1826671" TargetMode="External"/><Relationship Id="rId1" Type="http://schemas.openxmlformats.org/officeDocument/2006/relationships/slideLayout" Target="../slideLayouts/slideLayout8.xml"/><Relationship Id="rId2" Type="http://schemas.openxmlformats.org/officeDocument/2006/relationships/hyperlink" Target="https://newsroom.cisco.com/press-release-content?type=press-release&amp;articleId=1823545" TargetMode="External"/><Relationship Id="rId3" Type="http://schemas.openxmlformats.org/officeDocument/2006/relationships/hyperlink" Target="https://newsroom.cisco.com/press-release-content?type=webcontent&amp;articleId=1825654" TargetMode="External"/><Relationship Id="rId4" Type="http://schemas.openxmlformats.org/officeDocument/2006/relationships/hyperlink" Target="https://newsroom.cisco.com/press-release-content?type=webcontent&amp;articleId=1824609" TargetMode="External"/><Relationship Id="rId5" Type="http://schemas.openxmlformats.org/officeDocument/2006/relationships/hyperlink" Target="http://investor.cisco.com/investor-relations/news-and-events/news/news-details/2017/Cisco-Keeps-Steady-Drumbeat-on-Security-With-New-Solutions-for-Mobile-Networks/default.aspx" TargetMode="External"/><Relationship Id="rId6" Type="http://schemas.openxmlformats.org/officeDocument/2006/relationships/hyperlink" Target="https://newsroom.cisco.com/press-release-content?type=webcontent&amp;articleId=1825693" TargetMode="External"/><Relationship Id="rId7" Type="http://schemas.openxmlformats.org/officeDocument/2006/relationships/hyperlink" Target="https://newsroom.cisco.com/press-release-content?type=press-release&amp;articleId=1826139" TargetMode="External"/><Relationship Id="rId8" Type="http://schemas.openxmlformats.org/officeDocument/2006/relationships/hyperlink" Target="https://newsroom.cisco.com/press-release-content?type=press-release&amp;articleId=1826174" TargetMode="External"/><Relationship Id="rId9" Type="http://schemas.openxmlformats.org/officeDocument/2006/relationships/hyperlink" Target="https://newsroom.cisco.com/press-release-content?type=press-release&amp;articleId=1826164" TargetMode="External"/><Relationship Id="rId10" Type="http://schemas.openxmlformats.org/officeDocument/2006/relationships/hyperlink" Target="https://newsroom.cisco.com/press-release-content?type=press-release&amp;articleId=1826093"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image" Target="../media/image37.png"/><Relationship Id="rId3" Type="http://schemas.openxmlformats.org/officeDocument/2006/relationships/image" Target="../media/image38.png"/></Relationships>
</file>

<file path=ppt/slides/_rels/slide41.xml.rels><?xml version="1.0" encoding="UTF-8" standalone="yes"?>
<Relationships xmlns="http://schemas.openxmlformats.org/package/2006/relationships"><Relationship Id="rId3" Type="http://schemas.openxmlformats.org/officeDocument/2006/relationships/hyperlink" Target="http://www.cisco.com/c/en/us/solutions/service-provider/mobile-internet/collaboration-mobile-convergence-infographic.html" TargetMode="External"/><Relationship Id="rId4" Type="http://schemas.openxmlformats.org/officeDocument/2006/relationships/hyperlink" Target="https://meraki.cisco.com/" TargetMode="External"/><Relationship Id="rId5" Type="http://schemas.openxmlformats.org/officeDocument/2006/relationships/hyperlink" Target="http://www.cisco.com/c/en/us/solutions/service-provider/virtual-managed-services/index.html" TargetMode="External"/><Relationship Id="rId6" Type="http://schemas.openxmlformats.org/officeDocument/2006/relationships/hyperlink" Target="http://www.ngena.net/" TargetMode="External"/><Relationship Id="rId7" Type="http://schemas.openxmlformats.org/officeDocument/2006/relationships/hyperlink" Target="http://www.cisco.com/c/en/us/solutions/service-provider/solutions-cloud-providers/index.html" TargetMode="External"/><Relationship Id="rId8" Type="http://schemas.openxmlformats.org/officeDocument/2006/relationships/hyperlink" Target="http://www.cisco.com/c/en/us/solutions/collaboration/ciscospark.html" TargetMode="External"/><Relationship Id="rId1" Type="http://schemas.openxmlformats.org/officeDocument/2006/relationships/slideLayout" Target="../slideLayouts/slideLayout15.xml"/><Relationship Id="rId2" Type="http://schemas.openxmlformats.org/officeDocument/2006/relationships/hyperlink" Target="http://blogs.cisco.com/sp/cisco-and-samsung-are-redefining-secure-mobility" TargetMode="Externa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16.tiff"/><Relationship Id="rId3" Type="http://schemas.openxmlformats.org/officeDocument/2006/relationships/image" Target="../media/image17.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1.xml"/><Relationship Id="rId2" Type="http://schemas.openxmlformats.org/officeDocument/2006/relationships/notesSlide" Target="../notesSlides/notesSlide21.xml"/><Relationship Id="rId3" Type="http://schemas.openxmlformats.org/officeDocument/2006/relationships/image" Target="../media/image39.png"/></Relationships>
</file>

<file path=ppt/slides/_rels/slide44.xml.rels><?xml version="1.0" encoding="UTF-8" standalone="yes"?>
<Relationships xmlns="http://schemas.openxmlformats.org/package/2006/relationships"><Relationship Id="rId3" Type="http://schemas.openxmlformats.org/officeDocument/2006/relationships/chart" Target="../charts/chart1.xml"/><Relationship Id="rId4" Type="http://schemas.openxmlformats.org/officeDocument/2006/relationships/image" Target="../media/image40.png"/><Relationship Id="rId5" Type="http://schemas.openxmlformats.org/officeDocument/2006/relationships/image" Target="../media/image41.png"/><Relationship Id="rId6" Type="http://schemas.openxmlformats.org/officeDocument/2006/relationships/image" Target="../media/image42.png"/><Relationship Id="rId7" Type="http://schemas.openxmlformats.org/officeDocument/2006/relationships/image" Target="../media/image43.png"/><Relationship Id="rId8" Type="http://schemas.openxmlformats.org/officeDocument/2006/relationships/chart" Target="../charts/chart2.xml"/><Relationship Id="rId1" Type="http://schemas.openxmlformats.org/officeDocument/2006/relationships/slideLayout" Target="../slideLayouts/slideLayout15.xml"/><Relationship Id="rId2" Type="http://schemas.openxmlformats.org/officeDocument/2006/relationships/notesSlide" Target="../notesSlides/notesSlide22.xml"/></Relationships>
</file>

<file path=ppt/slides/_rels/slide45.xml.rels><?xml version="1.0" encoding="UTF-8" standalone="yes"?>
<Relationships xmlns="http://schemas.openxmlformats.org/package/2006/relationships"><Relationship Id="rId3" Type="http://schemas.openxmlformats.org/officeDocument/2006/relationships/chart" Target="../charts/chart3.xml"/><Relationship Id="rId4" Type="http://schemas.openxmlformats.org/officeDocument/2006/relationships/image" Target="../media/image44.png"/><Relationship Id="rId5" Type="http://schemas.microsoft.com/office/2007/relationships/hdphoto" Target="../media/hdphoto2.wdp"/><Relationship Id="rId6" Type="http://schemas.openxmlformats.org/officeDocument/2006/relationships/image" Target="../media/image45.png"/><Relationship Id="rId7" Type="http://schemas.microsoft.com/office/2007/relationships/hdphoto" Target="../media/hdphoto3.wdp"/><Relationship Id="rId8" Type="http://schemas.openxmlformats.org/officeDocument/2006/relationships/image" Target="../media/image46.png"/><Relationship Id="rId9" Type="http://schemas.openxmlformats.org/officeDocument/2006/relationships/image" Target="../media/image47.png"/><Relationship Id="rId1" Type="http://schemas.openxmlformats.org/officeDocument/2006/relationships/slideLayout" Target="../slideLayouts/slideLayout15.xml"/><Relationship Id="rId2" Type="http://schemas.openxmlformats.org/officeDocument/2006/relationships/notesSlide" Target="../notesSlides/notesSlide23.xml"/></Relationships>
</file>

<file path=ppt/slides/_rels/slide46.xml.rels><?xml version="1.0" encoding="UTF-8" standalone="yes"?>
<Relationships xmlns="http://schemas.openxmlformats.org/package/2006/relationships"><Relationship Id="rId3" Type="http://schemas.openxmlformats.org/officeDocument/2006/relationships/chart" Target="../charts/chart4.xml"/><Relationship Id="rId4" Type="http://schemas.openxmlformats.org/officeDocument/2006/relationships/image" Target="../media/image48.tiff"/><Relationship Id="rId5" Type="http://schemas.openxmlformats.org/officeDocument/2006/relationships/image" Target="../media/image49.png"/><Relationship Id="rId6" Type="http://schemas.openxmlformats.org/officeDocument/2006/relationships/image" Target="../media/image50.png"/><Relationship Id="rId1" Type="http://schemas.openxmlformats.org/officeDocument/2006/relationships/slideLayout" Target="../slideLayouts/slideLayout15.xml"/><Relationship Id="rId2" Type="http://schemas.openxmlformats.org/officeDocument/2006/relationships/notesSlide" Target="../notesSlides/notesSlide24.xml"/></Relationships>
</file>

<file path=ppt/slides/_rels/slide47.xml.rels><?xml version="1.0" encoding="UTF-8" standalone="yes"?>
<Relationships xmlns="http://schemas.openxmlformats.org/package/2006/relationships"><Relationship Id="rId9" Type="http://schemas.openxmlformats.org/officeDocument/2006/relationships/hyperlink" Target="http://www.eweek.com/security/cisco-scales-mobile-security-for-5g.html" TargetMode="External"/><Relationship Id="rId20" Type="http://schemas.openxmlformats.org/officeDocument/2006/relationships/hyperlink" Target="http://www.eldiariomontanes.es/agencias/201702/28/cisco-presenta-surtido-soluciones-902767.html" TargetMode="External"/><Relationship Id="rId21" Type="http://schemas.openxmlformats.org/officeDocument/2006/relationships/hyperlink" Target="http://www.elnortedecastilla.es/agencias/201702/28/cisco-presenta-surtido-soluciones-902767.html" TargetMode="External"/><Relationship Id="rId22" Type="http://schemas.openxmlformats.org/officeDocument/2006/relationships/hyperlink" Target="http://www.finanzas.com/noticias/empresas/20170228/cisco-presenta-surtido-soluciones-3575697.html" TargetMode="External"/><Relationship Id="rId23" Type="http://schemas.openxmlformats.org/officeDocument/2006/relationships/hyperlink" Target="http://haycanal.com/noticias/10445/cisco-refuerza-la-seguridad-para-las-redes-moviles" TargetMode="External"/><Relationship Id="rId24" Type="http://schemas.openxmlformats.org/officeDocument/2006/relationships/hyperlink" Target="http://www.hoy.es/agencias/201702/28/cisco-presenta-surtido-soluciones-902767.html" TargetMode="External"/><Relationship Id="rId25" Type="http://schemas.openxmlformats.org/officeDocument/2006/relationships/hyperlink" Target="http://www.invertia.com/noticias/cisco-presenta-surtido-soluciones-seguridad-llegada-g-3192317.htm" TargetMode="External"/><Relationship Id="rId26" Type="http://schemas.openxmlformats.org/officeDocument/2006/relationships/hyperlink" Target="http://www.larioja.com/agencias/201702/28/cisco-presenta-surtido-soluciones-902767.html" TargetMode="External"/><Relationship Id="rId27" Type="http://schemas.openxmlformats.org/officeDocument/2006/relationships/hyperlink" Target="http://www.lavanguardia.com/vida/20170228/42382061722/cisco-presenta-un-surtido-de-soluciones-de-seguridad-ante-la-llegada-del-5g.html" TargetMode="External"/><Relationship Id="rId28" Type="http://schemas.openxmlformats.org/officeDocument/2006/relationships/hyperlink" Target="http://www.laverdad.es/agencias/201702/28/cisco-presenta-surtido-soluciones-902767.html" TargetMode="External"/><Relationship Id="rId29" Type="http://schemas.openxmlformats.org/officeDocument/2006/relationships/hyperlink" Target="http://www.lasprovincias.es/agencias/201702/28/cisco-presenta-surtido-soluciones-902767.html" TargetMode="External"/><Relationship Id="rId30" Type="http://schemas.openxmlformats.org/officeDocument/2006/relationships/hyperlink" Target="http://www.muycomputerpro.com/2017/02/27/cisco-seguridad-redes-moviles" TargetMode="External"/><Relationship Id="rId31" Type="http://schemas.openxmlformats.org/officeDocument/2006/relationships/hyperlink" Target="http://www.noticias2d.com/2017/02/27/cisco-refuerza-la-seguridad-para-las-redes-moviles/" TargetMode="External"/><Relationship Id="rId10" Type="http://schemas.openxmlformats.org/officeDocument/2006/relationships/hyperlink" Target="http://www.zdnet.com/article/cisco-brings-5g-architecture-to-verizons-mobile-network-trials/" TargetMode="External"/><Relationship Id="rId11" Type="http://schemas.openxmlformats.org/officeDocument/2006/relationships/hyperlink" Target="http://www.channelnomics.com/channelnomics-us/analysis/3005269/cisco-security-leaders-going-crazy-under-a-pile-of-vendors" TargetMode="External"/><Relationship Id="rId12" Type="http://schemas.openxmlformats.org/officeDocument/2006/relationships/hyperlink" Target="https://www.strategyanalytics.com/strategy-analytics/blogs/enterprise/mobile-workforce/mobile-workforce/2017/02/28/mobile-workforce-strategies-(mws)-@-mwc-2017---volte-business-apps-mobile-security-and-samsung-galaxy-book-for-enterprise#.WL3Rozvyu" TargetMode="External"/><Relationship Id="rId13" Type="http://schemas.openxmlformats.org/officeDocument/2006/relationships/hyperlink" Target="http://www.bitmag.com.br/2017/02/mwc-cisco-reforca-seguranca-para-redes-moveis/" TargetMode="External"/><Relationship Id="rId14" Type="http://schemas.openxmlformats.org/officeDocument/2006/relationships/hyperlink" Target="http://www.diariovasco.com/agencias/201702/28/cisco-presenta-surtido-soluciones-902767.html" TargetMode="External"/><Relationship Id="rId15" Type="http://schemas.openxmlformats.org/officeDocument/2006/relationships/hyperlink" Target="http://www.diariosur.es/agencias/201702/28/cisco-presenta-surtido-soluciones-902767.html" TargetMode="External"/><Relationship Id="rId16" Type="http://schemas.openxmlformats.org/officeDocument/2006/relationships/hyperlink" Target="http://www.efefuturo.com/noticia/seguridad-cisco-5g/" TargetMode="External"/><Relationship Id="rId17" Type="http://schemas.openxmlformats.org/officeDocument/2006/relationships/hyperlink" Target="http://www.elcomercio.es/agencias/201702/28/cisco-presenta-surtido-soluciones-902767.html" TargetMode="External"/><Relationship Id="rId18" Type="http://schemas.openxmlformats.org/officeDocument/2006/relationships/hyperlink" Target="http://www.eldia.es/agencias/9108340-Cisco-presenta-surtido-soluciones-seguridad-llegada-5G" TargetMode="External"/><Relationship Id="rId19" Type="http://schemas.openxmlformats.org/officeDocument/2006/relationships/hyperlink" Target="http://www.eldiario.es/cultura/tecnologia/Cisco-presenta-soluciones-seguridad-llegada_0_617338659.html" TargetMode="External"/><Relationship Id="rId1" Type="http://schemas.openxmlformats.org/officeDocument/2006/relationships/slideLayout" Target="../slideLayouts/slideLayout40.xml"/><Relationship Id="rId2" Type="http://schemas.openxmlformats.org/officeDocument/2006/relationships/notesSlide" Target="../notesSlides/notesSlide25.xml"/><Relationship Id="rId3" Type="http://schemas.openxmlformats.org/officeDocument/2006/relationships/hyperlink" Target="http://www.convergedigest.com/2017/02/cisco-intros-security-architecture-for.html" TargetMode="External"/><Relationship Id="rId4" Type="http://schemas.openxmlformats.org/officeDocument/2006/relationships/hyperlink" Target="http://www.investopedia.com/stock-analysis/022717/cisco-unveils-new-mobile-data-security-solution.aspx" TargetMode="External"/><Relationship Id="rId5" Type="http://schemas.openxmlformats.org/officeDocument/2006/relationships/hyperlink" Target="http://www.telecomlead.com/telecom-equipment/mwc-2017-cisco-unveils-security-architecture-mobile-operators-74835" TargetMode="External"/><Relationship Id="rId6" Type="http://schemas.openxmlformats.org/officeDocument/2006/relationships/hyperlink" Target="https://www.telecompaper.com/news/cisco-introduces-security-umbrella-for-mobile-operators--1185599" TargetMode="External"/><Relationship Id="rId7" Type="http://schemas.openxmlformats.org/officeDocument/2006/relationships/hyperlink" Target="http://thetechnews.com/2017/02/27/cisco-brings-security-architecture-for-telecom-operators/" TargetMode="External"/><Relationship Id="rId8" Type="http://schemas.openxmlformats.org/officeDocument/2006/relationships/hyperlink" Target="https://www.sdxcentral.com/articles/news/cisco-opendns-unfolds-managed-security-service/2017/03/"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blogs.cisco.com/sp/cisco-and-ericsson-enable-service-providers-and-enterprises-to-embrace-network-function-virtualization-nfv-and-deliver-cloud-based-security-services" TargetMode="External"/><Relationship Id="rId4" Type="http://schemas.openxmlformats.org/officeDocument/2006/relationships/hyperlink" Target="http://blogs.cisco.com/sp/mobile-network-security-paves-the-road-to-5g" TargetMode="External"/><Relationship Id="rId5" Type="http://schemas.openxmlformats.org/officeDocument/2006/relationships/hyperlink" Target="http://blogs.cisco.com/sp/be-the-first-to-deliver-a-secure-network" TargetMode="External"/><Relationship Id="rId6" Type="http://schemas.openxmlformats.org/officeDocument/2006/relationships/hyperlink" Target="http://blogs.cisco.com/sp/cisco-and-samsung-are-redefining-secure-mobility" TargetMode="External"/><Relationship Id="rId7" Type="http://schemas.openxmlformats.org/officeDocument/2006/relationships/hyperlink" Target="http://blogs.cisco.com/sp/service-provider-security-architecture-part-1" TargetMode="External"/><Relationship Id="rId8" Type="http://schemas.openxmlformats.org/officeDocument/2006/relationships/hyperlink" Target="http://blogs.cisco.com/sp/service-provider-security-architecture-part-2" TargetMode="External"/><Relationship Id="rId9" Type="http://schemas.openxmlformats.org/officeDocument/2006/relationships/hyperlink" Target="http://www.cisco.com/c/en/us/solutions/service-provider/service-provider-security-solutions/index.html" TargetMode="External"/><Relationship Id="rId10" Type="http://schemas.openxmlformats.org/officeDocument/2006/relationships/hyperlink" Target="https://umbrella.cisco.com/partners/sp" TargetMode="External"/><Relationship Id="rId1" Type="http://schemas.openxmlformats.org/officeDocument/2006/relationships/slideLayout" Target="../slideLayouts/slideLayout15.xml"/><Relationship Id="rId2" Type="http://schemas.openxmlformats.org/officeDocument/2006/relationships/hyperlink" Target="https://blogs.cisco.com/news/cisco-enables-a-secure-path-to-network-transformation-for-mobile-operators" TargetMode="Externa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13.png"/><Relationship Id="rId1" Type="http://schemas.openxmlformats.org/officeDocument/2006/relationships/slideLayout" Target="../slideLayouts/slideLayout15.xml"/><Relationship Id="rId2" Type="http://schemas.openxmlformats.org/officeDocument/2006/relationships/notesSlide" Target="../notesSlides/notesSlide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4" Type="http://schemas.openxmlformats.org/officeDocument/2006/relationships/notesSlide" Target="../notesSlides/notesSlide2.xml"/><Relationship Id="rId5" Type="http://schemas.openxmlformats.org/officeDocument/2006/relationships/oleObject" Target="../embeddings/oleObject1.bin"/><Relationship Id="rId6" Type="http://schemas.openxmlformats.org/officeDocument/2006/relationships/image" Target="../media/image14.emf"/><Relationship Id="rId7" Type="http://schemas.openxmlformats.org/officeDocument/2006/relationships/image" Target="../media/image15.png"/><Relationship Id="rId1" Type="http://schemas.openxmlformats.org/officeDocument/2006/relationships/vmlDrawing" Target="../drawings/vmlDrawing1.vml"/><Relationship Id="rId2" Type="http://schemas.openxmlformats.org/officeDocument/2006/relationships/tags" Target="../tags/tag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3.xml"/><Relationship Id="rId3" Type="http://schemas.openxmlformats.org/officeDocument/2006/relationships/image" Target="../media/image16.tif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16.tiff"/><Relationship Id="rId3" Type="http://schemas.openxmlformats.org/officeDocument/2006/relationships/image" Target="../media/image1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5"/>
          <p:cNvSpPr>
            <a:spLocks noGrp="1"/>
          </p:cNvSpPr>
          <p:nvPr>
            <p:ph type="ctrTitle"/>
          </p:nvPr>
        </p:nvSpPr>
        <p:spPr>
          <a:xfrm>
            <a:off x="224683" y="1187753"/>
            <a:ext cx="8340152" cy="775763"/>
          </a:xfrm>
        </p:spPr>
        <p:txBody>
          <a:bodyPr/>
          <a:lstStyle/>
          <a:p>
            <a:pPr algn="ctr">
              <a:defRPr/>
            </a:pPr>
            <a:r>
              <a:rPr lang="en-US" sz="3600" dirty="0"/>
              <a:t>Cisco Recap </a:t>
            </a:r>
            <a:r>
              <a:rPr lang="en-US" sz="3600" dirty="0" smtClean="0"/>
              <a:t>@MWC </a:t>
            </a:r>
            <a:r>
              <a:rPr sz="3600" dirty="0" smtClean="0"/>
              <a:t>201</a:t>
            </a:r>
            <a:r>
              <a:rPr lang="en-US" sz="3600" dirty="0" smtClean="0"/>
              <a:t>7</a:t>
            </a:r>
            <a:endParaRPr sz="2400" dirty="0"/>
          </a:p>
        </p:txBody>
      </p:sp>
      <p:pic>
        <p:nvPicPr>
          <p:cNvPr id="2" name="Picture 1"/>
          <p:cNvPicPr>
            <a:picLocks noChangeAspect="1"/>
          </p:cNvPicPr>
          <p:nvPr/>
        </p:nvPicPr>
        <p:blipFill>
          <a:blip r:embed="rId2"/>
          <a:stretch>
            <a:fillRect/>
          </a:stretch>
        </p:blipFill>
        <p:spPr>
          <a:xfrm>
            <a:off x="290154" y="2162905"/>
            <a:ext cx="8581293" cy="2681654"/>
          </a:xfrm>
          <a:prstGeom prst="rect">
            <a:avLst/>
          </a:prstGeom>
        </p:spPr>
      </p:pic>
    </p:spTree>
    <p:extLst>
      <p:ext uri="{BB962C8B-B14F-4D97-AF65-F5344CB8AC3E}">
        <p14:creationId xmlns:p14="http://schemas.microsoft.com/office/powerpoint/2010/main" val="2326301552"/>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0" y="3494274"/>
            <a:ext cx="9144000" cy="2349500"/>
            <a:chOff x="0" y="3494274"/>
            <a:chExt cx="9144000" cy="2349500"/>
          </a:xfrm>
        </p:grpSpPr>
        <p:sp>
          <p:nvSpPr>
            <p:cNvPr id="10" name="Oval 132"/>
            <p:cNvSpPr/>
            <p:nvPr/>
          </p:nvSpPr>
          <p:spPr>
            <a:xfrm>
              <a:off x="0" y="3494274"/>
              <a:ext cx="9144000" cy="2349500"/>
            </a:xfrm>
            <a:custGeom>
              <a:avLst/>
              <a:gdLst/>
              <a:ahLst/>
              <a:cxnLst/>
              <a:rect l="l" t="t" r="r" b="b"/>
              <a:pathLst>
                <a:path w="9144000" h="2349500">
                  <a:moveTo>
                    <a:pt x="4572001" y="0"/>
                  </a:moveTo>
                  <a:cubicBezTo>
                    <a:pt x="6178885" y="0"/>
                    <a:pt x="7719132" y="236148"/>
                    <a:pt x="9144000" y="671150"/>
                  </a:cubicBezTo>
                  <a:lnTo>
                    <a:pt x="9144000" y="2349500"/>
                  </a:lnTo>
                  <a:lnTo>
                    <a:pt x="0" y="2349500"/>
                  </a:lnTo>
                  <a:lnTo>
                    <a:pt x="0" y="671150"/>
                  </a:lnTo>
                  <a:cubicBezTo>
                    <a:pt x="1424869" y="236148"/>
                    <a:pt x="2965116" y="0"/>
                    <a:pt x="4572001" y="0"/>
                  </a:cubicBezTo>
                  <a:close/>
                </a:path>
              </a:pathLst>
            </a:custGeom>
            <a:gradFill flip="none" rotWithShape="1">
              <a:gsLst>
                <a:gs pos="0">
                  <a:schemeClr val="accent3"/>
                </a:gs>
                <a:gs pos="75000">
                  <a:srgbClr val="4AA7D4"/>
                </a:gs>
              </a:gsLst>
              <a:lin ang="54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1"/>
            <p:cNvSpPr>
              <a:spLocks noEditPoints="1"/>
            </p:cNvSpPr>
            <p:nvPr/>
          </p:nvSpPr>
          <p:spPr bwMode="auto">
            <a:xfrm>
              <a:off x="761630" y="3560314"/>
              <a:ext cx="8382370" cy="2283460"/>
            </a:xfrm>
            <a:custGeom>
              <a:avLst/>
              <a:gdLst>
                <a:gd name="T0" fmla="*/ 251 w 5010"/>
                <a:gd name="T1" fmla="*/ 1324 h 1365"/>
                <a:gd name="T2" fmla="*/ 619 w 5010"/>
                <a:gd name="T3" fmla="*/ 1284 h 1365"/>
                <a:gd name="T4" fmla="*/ 957 w 5010"/>
                <a:gd name="T5" fmla="*/ 1254 h 1365"/>
                <a:gd name="T6" fmla="*/ 1103 w 5010"/>
                <a:gd name="T7" fmla="*/ 1225 h 1365"/>
                <a:gd name="T8" fmla="*/ 2303 w 5010"/>
                <a:gd name="T9" fmla="*/ 1205 h 1365"/>
                <a:gd name="T10" fmla="*/ 2378 w 5010"/>
                <a:gd name="T11" fmla="*/ 1185 h 1365"/>
                <a:gd name="T12" fmla="*/ 2452 w 5010"/>
                <a:gd name="T13" fmla="*/ 1145 h 1365"/>
                <a:gd name="T14" fmla="*/ 2686 w 5010"/>
                <a:gd name="T15" fmla="*/ 1105 h 1365"/>
                <a:gd name="T16" fmla="*/ 2811 w 5010"/>
                <a:gd name="T17" fmla="*/ 1075 h 1365"/>
                <a:gd name="T18" fmla="*/ 2808 w 5010"/>
                <a:gd name="T19" fmla="*/ 1045 h 1365"/>
                <a:gd name="T20" fmla="*/ 2780 w 5010"/>
                <a:gd name="T21" fmla="*/ 1026 h 1365"/>
                <a:gd name="T22" fmla="*/ 2721 w 5010"/>
                <a:gd name="T23" fmla="*/ 1007 h 1365"/>
                <a:gd name="T24" fmla="*/ 3455 w 5010"/>
                <a:gd name="T25" fmla="*/ 968 h 1365"/>
                <a:gd name="T26" fmla="*/ 3456 w 5010"/>
                <a:gd name="T27" fmla="*/ 928 h 1365"/>
                <a:gd name="T28" fmla="*/ 2955 w 5010"/>
                <a:gd name="T29" fmla="*/ 899 h 1365"/>
                <a:gd name="T30" fmla="*/ 2508 w 5010"/>
                <a:gd name="T31" fmla="*/ 871 h 1365"/>
                <a:gd name="T32" fmla="*/ 2321 w 5010"/>
                <a:gd name="T33" fmla="*/ 854 h 1365"/>
                <a:gd name="T34" fmla="*/ 1948 w 5010"/>
                <a:gd name="T35" fmla="*/ 836 h 1365"/>
                <a:gd name="T36" fmla="*/ 3925 w 5010"/>
                <a:gd name="T37" fmla="*/ 816 h 1365"/>
                <a:gd name="T38" fmla="*/ 3292 w 5010"/>
                <a:gd name="T39" fmla="*/ 780 h 1365"/>
                <a:gd name="T40" fmla="*/ 2275 w 5010"/>
                <a:gd name="T41" fmla="*/ 754 h 1365"/>
                <a:gd name="T42" fmla="*/ 232 w 5010"/>
                <a:gd name="T43" fmla="*/ 739 h 1365"/>
                <a:gd name="T44" fmla="*/ 3214 w 5010"/>
                <a:gd name="T45" fmla="*/ 732 h 1365"/>
                <a:gd name="T46" fmla="*/ 2046 w 5010"/>
                <a:gd name="T47" fmla="*/ 718 h 1365"/>
                <a:gd name="T48" fmla="*/ 3908 w 5010"/>
                <a:gd name="T49" fmla="*/ 701 h 1365"/>
                <a:gd name="T50" fmla="*/ 2808 w 5010"/>
                <a:gd name="T51" fmla="*/ 665 h 1365"/>
                <a:gd name="T52" fmla="*/ 263 w 5010"/>
                <a:gd name="T53" fmla="*/ 651 h 1365"/>
                <a:gd name="T54" fmla="*/ 3401 w 5010"/>
                <a:gd name="T55" fmla="*/ 633 h 1365"/>
                <a:gd name="T56" fmla="*/ 2851 w 5010"/>
                <a:gd name="T57" fmla="*/ 617 h 1365"/>
                <a:gd name="T58" fmla="*/ 143 w 5010"/>
                <a:gd name="T59" fmla="*/ 615 h 1365"/>
                <a:gd name="T60" fmla="*/ 3152 w 5010"/>
                <a:gd name="T61" fmla="*/ 585 h 1365"/>
                <a:gd name="T62" fmla="*/ 732 w 5010"/>
                <a:gd name="T63" fmla="*/ 561 h 1365"/>
                <a:gd name="T64" fmla="*/ 3445 w 5010"/>
                <a:gd name="T65" fmla="*/ 544 h 1365"/>
                <a:gd name="T66" fmla="*/ 2076 w 5010"/>
                <a:gd name="T67" fmla="*/ 521 h 1365"/>
                <a:gd name="T68" fmla="*/ 3955 w 5010"/>
                <a:gd name="T69" fmla="*/ 522 h 1365"/>
                <a:gd name="T70" fmla="*/ 2756 w 5010"/>
                <a:gd name="T71" fmla="*/ 511 h 1365"/>
                <a:gd name="T72" fmla="*/ 343 w 5010"/>
                <a:gd name="T73" fmla="*/ 486 h 1365"/>
                <a:gd name="T74" fmla="*/ 2786 w 5010"/>
                <a:gd name="T75" fmla="*/ 459 h 1365"/>
                <a:gd name="T76" fmla="*/ 491 w 5010"/>
                <a:gd name="T77" fmla="*/ 447 h 1365"/>
                <a:gd name="T78" fmla="*/ 2540 w 5010"/>
                <a:gd name="T79" fmla="*/ 430 h 1365"/>
                <a:gd name="T80" fmla="*/ 447 w 5010"/>
                <a:gd name="T81" fmla="*/ 429 h 1365"/>
                <a:gd name="T82" fmla="*/ 2783 w 5010"/>
                <a:gd name="T83" fmla="*/ 421 h 1365"/>
                <a:gd name="T84" fmla="*/ 515 w 5010"/>
                <a:gd name="T85" fmla="*/ 398 h 1365"/>
                <a:gd name="T86" fmla="*/ 2539 w 5010"/>
                <a:gd name="T87" fmla="*/ 373 h 1365"/>
                <a:gd name="T88" fmla="*/ 453 w 5010"/>
                <a:gd name="T89" fmla="*/ 359 h 1365"/>
                <a:gd name="T90" fmla="*/ 2707 w 5010"/>
                <a:gd name="T91" fmla="*/ 343 h 1365"/>
                <a:gd name="T92" fmla="*/ 478 w 5010"/>
                <a:gd name="T93" fmla="*/ 343 h 1365"/>
                <a:gd name="T94" fmla="*/ 2972 w 5010"/>
                <a:gd name="T95" fmla="*/ 334 h 1365"/>
                <a:gd name="T96" fmla="*/ 776 w 5010"/>
                <a:gd name="T97" fmla="*/ 311 h 1365"/>
                <a:gd name="T98" fmla="*/ 3391 w 5010"/>
                <a:gd name="T99" fmla="*/ 280 h 1365"/>
                <a:gd name="T100" fmla="*/ 1563 w 5010"/>
                <a:gd name="T101" fmla="*/ 265 h 1365"/>
                <a:gd name="T102" fmla="*/ 3544 w 5010"/>
                <a:gd name="T103" fmla="*/ 251 h 1365"/>
                <a:gd name="T104" fmla="*/ 1320 w 5010"/>
                <a:gd name="T105" fmla="*/ 250 h 1365"/>
                <a:gd name="T106" fmla="*/ 3443 w 5010"/>
                <a:gd name="T107" fmla="*/ 242 h 1365"/>
                <a:gd name="T108" fmla="*/ 832 w 5010"/>
                <a:gd name="T109" fmla="*/ 223 h 1365"/>
                <a:gd name="T110" fmla="*/ 3012 w 5010"/>
                <a:gd name="T111" fmla="*/ 194 h 1365"/>
                <a:gd name="T112" fmla="*/ 679 w 5010"/>
                <a:gd name="T113" fmla="*/ 186 h 1365"/>
                <a:gd name="T114" fmla="*/ 2663 w 5010"/>
                <a:gd name="T115" fmla="*/ 168 h 1365"/>
                <a:gd name="T116" fmla="*/ 3808 w 5010"/>
                <a:gd name="T117" fmla="*/ 168 h 1365"/>
                <a:gd name="T118" fmla="*/ 2757 w 5010"/>
                <a:gd name="T119" fmla="*/ 159 h 1365"/>
                <a:gd name="T120" fmla="*/ 1289 w 5010"/>
                <a:gd name="T121" fmla="*/ 135 h 1365"/>
                <a:gd name="T122" fmla="*/ 1773 w 5010"/>
                <a:gd name="T123" fmla="*/ 89 h 1365"/>
                <a:gd name="T124" fmla="*/ 1436 w 5010"/>
                <a:gd name="T125" fmla="*/ 33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10" h="1365">
                  <a:moveTo>
                    <a:pt x="4603" y="1364"/>
                  </a:moveTo>
                  <a:cubicBezTo>
                    <a:pt x="4601" y="1364"/>
                    <a:pt x="4599" y="1365"/>
                    <a:pt x="4597" y="1365"/>
                  </a:cubicBezTo>
                  <a:cubicBezTo>
                    <a:pt x="4609" y="1365"/>
                    <a:pt x="4609" y="1365"/>
                    <a:pt x="4609" y="1365"/>
                  </a:cubicBezTo>
                  <a:cubicBezTo>
                    <a:pt x="4607" y="1365"/>
                    <a:pt x="4605" y="1364"/>
                    <a:pt x="4603" y="1364"/>
                  </a:cubicBezTo>
                  <a:cubicBezTo>
                    <a:pt x="4603" y="1364"/>
                    <a:pt x="4603" y="1364"/>
                    <a:pt x="4603" y="1364"/>
                  </a:cubicBezTo>
                  <a:moveTo>
                    <a:pt x="4653" y="1364"/>
                  </a:moveTo>
                  <a:cubicBezTo>
                    <a:pt x="4651" y="1364"/>
                    <a:pt x="4649" y="1365"/>
                    <a:pt x="4647" y="1365"/>
                  </a:cubicBezTo>
                  <a:cubicBezTo>
                    <a:pt x="4659" y="1365"/>
                    <a:pt x="4659" y="1365"/>
                    <a:pt x="4659" y="1365"/>
                  </a:cubicBezTo>
                  <a:cubicBezTo>
                    <a:pt x="4657" y="1365"/>
                    <a:pt x="4655" y="1364"/>
                    <a:pt x="4653" y="1364"/>
                  </a:cubicBezTo>
                  <a:cubicBezTo>
                    <a:pt x="4653" y="1364"/>
                    <a:pt x="4653" y="1364"/>
                    <a:pt x="4653" y="1364"/>
                  </a:cubicBezTo>
                  <a:moveTo>
                    <a:pt x="4700" y="1364"/>
                  </a:moveTo>
                  <a:cubicBezTo>
                    <a:pt x="4698" y="1364"/>
                    <a:pt x="4696" y="1364"/>
                    <a:pt x="4694" y="1365"/>
                  </a:cubicBezTo>
                  <a:cubicBezTo>
                    <a:pt x="4707" y="1365"/>
                    <a:pt x="4707" y="1365"/>
                    <a:pt x="4707" y="1365"/>
                  </a:cubicBezTo>
                  <a:cubicBezTo>
                    <a:pt x="4704" y="1364"/>
                    <a:pt x="4702" y="1364"/>
                    <a:pt x="4700" y="1364"/>
                  </a:cubicBezTo>
                  <a:cubicBezTo>
                    <a:pt x="4700" y="1364"/>
                    <a:pt x="4700" y="1364"/>
                    <a:pt x="4700" y="1364"/>
                  </a:cubicBezTo>
                  <a:moveTo>
                    <a:pt x="4747" y="1364"/>
                  </a:moveTo>
                  <a:cubicBezTo>
                    <a:pt x="4745" y="1364"/>
                    <a:pt x="4743" y="1364"/>
                    <a:pt x="4741" y="1365"/>
                  </a:cubicBezTo>
                  <a:cubicBezTo>
                    <a:pt x="4754" y="1365"/>
                    <a:pt x="4754" y="1365"/>
                    <a:pt x="4754" y="1365"/>
                  </a:cubicBezTo>
                  <a:cubicBezTo>
                    <a:pt x="4752" y="1364"/>
                    <a:pt x="4749" y="1364"/>
                    <a:pt x="4747" y="1364"/>
                  </a:cubicBezTo>
                  <a:cubicBezTo>
                    <a:pt x="4747" y="1364"/>
                    <a:pt x="4747" y="1364"/>
                    <a:pt x="4747" y="1364"/>
                  </a:cubicBezTo>
                  <a:moveTo>
                    <a:pt x="4794" y="1364"/>
                  </a:moveTo>
                  <a:cubicBezTo>
                    <a:pt x="4792" y="1364"/>
                    <a:pt x="4790" y="1364"/>
                    <a:pt x="4788" y="1365"/>
                  </a:cubicBezTo>
                  <a:cubicBezTo>
                    <a:pt x="4802" y="1365"/>
                    <a:pt x="4802" y="1365"/>
                    <a:pt x="4802" y="1365"/>
                  </a:cubicBezTo>
                  <a:cubicBezTo>
                    <a:pt x="4800" y="1364"/>
                    <a:pt x="4797" y="1364"/>
                    <a:pt x="4795" y="1364"/>
                  </a:cubicBezTo>
                  <a:cubicBezTo>
                    <a:pt x="4795" y="1364"/>
                    <a:pt x="4794" y="1364"/>
                    <a:pt x="4794" y="1364"/>
                  </a:cubicBezTo>
                  <a:moveTo>
                    <a:pt x="4842" y="1364"/>
                  </a:moveTo>
                  <a:cubicBezTo>
                    <a:pt x="4840" y="1364"/>
                    <a:pt x="4838" y="1364"/>
                    <a:pt x="4836" y="1365"/>
                  </a:cubicBezTo>
                  <a:cubicBezTo>
                    <a:pt x="4851" y="1365"/>
                    <a:pt x="4851" y="1365"/>
                    <a:pt x="4851" y="1365"/>
                  </a:cubicBezTo>
                  <a:cubicBezTo>
                    <a:pt x="4848" y="1364"/>
                    <a:pt x="4845" y="1364"/>
                    <a:pt x="4842" y="1364"/>
                  </a:cubicBezTo>
                  <a:cubicBezTo>
                    <a:pt x="4842" y="1364"/>
                    <a:pt x="4842" y="1364"/>
                    <a:pt x="4842" y="1364"/>
                  </a:cubicBezTo>
                  <a:moveTo>
                    <a:pt x="4988" y="1364"/>
                  </a:moveTo>
                  <a:cubicBezTo>
                    <a:pt x="4985" y="1364"/>
                    <a:pt x="4983" y="1364"/>
                    <a:pt x="4981" y="1365"/>
                  </a:cubicBezTo>
                  <a:cubicBezTo>
                    <a:pt x="4997" y="1365"/>
                    <a:pt x="4997" y="1365"/>
                    <a:pt x="4997" y="1365"/>
                  </a:cubicBezTo>
                  <a:cubicBezTo>
                    <a:pt x="4994" y="1364"/>
                    <a:pt x="4991" y="1364"/>
                    <a:pt x="4988" y="1364"/>
                  </a:cubicBezTo>
                  <a:cubicBezTo>
                    <a:pt x="4988" y="1364"/>
                    <a:pt x="4988" y="1364"/>
                    <a:pt x="4988" y="1364"/>
                  </a:cubicBezTo>
                  <a:moveTo>
                    <a:pt x="254" y="1343"/>
                  </a:moveTo>
                  <a:cubicBezTo>
                    <a:pt x="245" y="1343"/>
                    <a:pt x="234" y="1348"/>
                    <a:pt x="230" y="1353"/>
                  </a:cubicBezTo>
                  <a:cubicBezTo>
                    <a:pt x="226" y="1359"/>
                    <a:pt x="230" y="1363"/>
                    <a:pt x="240" y="1363"/>
                  </a:cubicBezTo>
                  <a:cubicBezTo>
                    <a:pt x="249" y="1363"/>
                    <a:pt x="259" y="1359"/>
                    <a:pt x="263" y="1353"/>
                  </a:cubicBezTo>
                  <a:cubicBezTo>
                    <a:pt x="267" y="1348"/>
                    <a:pt x="263" y="1343"/>
                    <a:pt x="254" y="1343"/>
                  </a:cubicBezTo>
                  <a:cubicBezTo>
                    <a:pt x="254" y="1343"/>
                    <a:pt x="254" y="1343"/>
                    <a:pt x="254" y="1343"/>
                  </a:cubicBezTo>
                  <a:moveTo>
                    <a:pt x="301" y="1343"/>
                  </a:moveTo>
                  <a:cubicBezTo>
                    <a:pt x="291" y="1343"/>
                    <a:pt x="281" y="1348"/>
                    <a:pt x="277" y="1353"/>
                  </a:cubicBezTo>
                  <a:cubicBezTo>
                    <a:pt x="273" y="1359"/>
                    <a:pt x="278" y="1363"/>
                    <a:pt x="287" y="1363"/>
                  </a:cubicBezTo>
                  <a:cubicBezTo>
                    <a:pt x="296" y="1363"/>
                    <a:pt x="306" y="1359"/>
                    <a:pt x="310" y="1353"/>
                  </a:cubicBezTo>
                  <a:cubicBezTo>
                    <a:pt x="314" y="1348"/>
                    <a:pt x="310" y="1343"/>
                    <a:pt x="301" y="1343"/>
                  </a:cubicBezTo>
                  <a:cubicBezTo>
                    <a:pt x="301" y="1343"/>
                    <a:pt x="301" y="1343"/>
                    <a:pt x="301" y="1343"/>
                  </a:cubicBezTo>
                  <a:moveTo>
                    <a:pt x="348" y="1343"/>
                  </a:moveTo>
                  <a:cubicBezTo>
                    <a:pt x="339" y="1343"/>
                    <a:pt x="328" y="1348"/>
                    <a:pt x="324" y="1353"/>
                  </a:cubicBezTo>
                  <a:cubicBezTo>
                    <a:pt x="321" y="1359"/>
                    <a:pt x="325" y="1363"/>
                    <a:pt x="334" y="1363"/>
                  </a:cubicBezTo>
                  <a:cubicBezTo>
                    <a:pt x="343" y="1363"/>
                    <a:pt x="354" y="1359"/>
                    <a:pt x="358" y="1353"/>
                  </a:cubicBezTo>
                  <a:cubicBezTo>
                    <a:pt x="361" y="1348"/>
                    <a:pt x="357" y="1343"/>
                    <a:pt x="348" y="1343"/>
                  </a:cubicBezTo>
                  <a:cubicBezTo>
                    <a:pt x="348" y="1343"/>
                    <a:pt x="348" y="1343"/>
                    <a:pt x="348" y="1343"/>
                  </a:cubicBezTo>
                  <a:moveTo>
                    <a:pt x="396" y="1343"/>
                  </a:moveTo>
                  <a:cubicBezTo>
                    <a:pt x="387" y="1343"/>
                    <a:pt x="377" y="1347"/>
                    <a:pt x="373" y="1353"/>
                  </a:cubicBezTo>
                  <a:cubicBezTo>
                    <a:pt x="370" y="1359"/>
                    <a:pt x="374" y="1363"/>
                    <a:pt x="383" y="1363"/>
                  </a:cubicBezTo>
                  <a:cubicBezTo>
                    <a:pt x="392" y="1363"/>
                    <a:pt x="403" y="1359"/>
                    <a:pt x="406" y="1353"/>
                  </a:cubicBezTo>
                  <a:cubicBezTo>
                    <a:pt x="410" y="1347"/>
                    <a:pt x="405" y="1343"/>
                    <a:pt x="396" y="1343"/>
                  </a:cubicBezTo>
                  <a:cubicBezTo>
                    <a:pt x="396" y="1343"/>
                    <a:pt x="396" y="1343"/>
                    <a:pt x="396" y="1343"/>
                  </a:cubicBezTo>
                  <a:moveTo>
                    <a:pt x="443" y="1343"/>
                  </a:moveTo>
                  <a:cubicBezTo>
                    <a:pt x="434" y="1343"/>
                    <a:pt x="424" y="1347"/>
                    <a:pt x="420" y="1353"/>
                  </a:cubicBezTo>
                  <a:cubicBezTo>
                    <a:pt x="417" y="1359"/>
                    <a:pt x="421" y="1363"/>
                    <a:pt x="430" y="1363"/>
                  </a:cubicBezTo>
                  <a:cubicBezTo>
                    <a:pt x="439" y="1363"/>
                    <a:pt x="450" y="1359"/>
                    <a:pt x="453" y="1353"/>
                  </a:cubicBezTo>
                  <a:cubicBezTo>
                    <a:pt x="457" y="1347"/>
                    <a:pt x="452" y="1343"/>
                    <a:pt x="443" y="1343"/>
                  </a:cubicBezTo>
                  <a:cubicBezTo>
                    <a:pt x="443" y="1343"/>
                    <a:pt x="443" y="1343"/>
                    <a:pt x="443" y="1343"/>
                  </a:cubicBezTo>
                  <a:moveTo>
                    <a:pt x="490" y="1343"/>
                  </a:moveTo>
                  <a:cubicBezTo>
                    <a:pt x="481" y="1343"/>
                    <a:pt x="471" y="1347"/>
                    <a:pt x="468" y="1353"/>
                  </a:cubicBezTo>
                  <a:cubicBezTo>
                    <a:pt x="464" y="1358"/>
                    <a:pt x="469" y="1363"/>
                    <a:pt x="478" y="1363"/>
                  </a:cubicBezTo>
                  <a:cubicBezTo>
                    <a:pt x="487" y="1363"/>
                    <a:pt x="497" y="1358"/>
                    <a:pt x="501" y="1353"/>
                  </a:cubicBezTo>
                  <a:cubicBezTo>
                    <a:pt x="504" y="1347"/>
                    <a:pt x="500" y="1343"/>
                    <a:pt x="490" y="1343"/>
                  </a:cubicBezTo>
                  <a:cubicBezTo>
                    <a:pt x="490" y="1343"/>
                    <a:pt x="490" y="1343"/>
                    <a:pt x="490" y="1343"/>
                  </a:cubicBezTo>
                  <a:moveTo>
                    <a:pt x="538" y="1343"/>
                  </a:moveTo>
                  <a:cubicBezTo>
                    <a:pt x="529" y="1343"/>
                    <a:pt x="519" y="1347"/>
                    <a:pt x="515" y="1353"/>
                  </a:cubicBezTo>
                  <a:cubicBezTo>
                    <a:pt x="512" y="1358"/>
                    <a:pt x="517" y="1363"/>
                    <a:pt x="526" y="1363"/>
                  </a:cubicBezTo>
                  <a:cubicBezTo>
                    <a:pt x="535" y="1363"/>
                    <a:pt x="545" y="1358"/>
                    <a:pt x="548" y="1353"/>
                  </a:cubicBezTo>
                  <a:cubicBezTo>
                    <a:pt x="552" y="1347"/>
                    <a:pt x="547" y="1343"/>
                    <a:pt x="538" y="1343"/>
                  </a:cubicBezTo>
                  <a:cubicBezTo>
                    <a:pt x="538" y="1343"/>
                    <a:pt x="538" y="1343"/>
                    <a:pt x="538" y="1343"/>
                  </a:cubicBezTo>
                  <a:moveTo>
                    <a:pt x="585" y="1342"/>
                  </a:moveTo>
                  <a:cubicBezTo>
                    <a:pt x="576" y="1343"/>
                    <a:pt x="566" y="1347"/>
                    <a:pt x="562" y="1353"/>
                  </a:cubicBezTo>
                  <a:cubicBezTo>
                    <a:pt x="559" y="1358"/>
                    <a:pt x="564" y="1363"/>
                    <a:pt x="573" y="1363"/>
                  </a:cubicBezTo>
                  <a:cubicBezTo>
                    <a:pt x="582" y="1363"/>
                    <a:pt x="592" y="1358"/>
                    <a:pt x="595" y="1353"/>
                  </a:cubicBezTo>
                  <a:cubicBezTo>
                    <a:pt x="599" y="1347"/>
                    <a:pt x="594" y="1342"/>
                    <a:pt x="585" y="1342"/>
                  </a:cubicBezTo>
                  <a:cubicBezTo>
                    <a:pt x="585" y="1342"/>
                    <a:pt x="585" y="1342"/>
                    <a:pt x="585" y="1342"/>
                  </a:cubicBezTo>
                  <a:moveTo>
                    <a:pt x="632" y="1342"/>
                  </a:moveTo>
                  <a:cubicBezTo>
                    <a:pt x="623" y="1342"/>
                    <a:pt x="613" y="1347"/>
                    <a:pt x="610" y="1353"/>
                  </a:cubicBezTo>
                  <a:cubicBezTo>
                    <a:pt x="606" y="1358"/>
                    <a:pt x="611" y="1363"/>
                    <a:pt x="620" y="1363"/>
                  </a:cubicBezTo>
                  <a:cubicBezTo>
                    <a:pt x="629" y="1363"/>
                    <a:pt x="639" y="1358"/>
                    <a:pt x="643" y="1353"/>
                  </a:cubicBezTo>
                  <a:cubicBezTo>
                    <a:pt x="646" y="1347"/>
                    <a:pt x="641" y="1342"/>
                    <a:pt x="632" y="1342"/>
                  </a:cubicBezTo>
                  <a:cubicBezTo>
                    <a:pt x="632" y="1342"/>
                    <a:pt x="632" y="1342"/>
                    <a:pt x="632" y="1342"/>
                  </a:cubicBezTo>
                  <a:moveTo>
                    <a:pt x="679" y="1342"/>
                  </a:moveTo>
                  <a:cubicBezTo>
                    <a:pt x="670" y="1342"/>
                    <a:pt x="660" y="1347"/>
                    <a:pt x="657" y="1352"/>
                  </a:cubicBezTo>
                  <a:cubicBezTo>
                    <a:pt x="653" y="1358"/>
                    <a:pt x="658" y="1363"/>
                    <a:pt x="667" y="1363"/>
                  </a:cubicBezTo>
                  <a:cubicBezTo>
                    <a:pt x="677" y="1363"/>
                    <a:pt x="687" y="1358"/>
                    <a:pt x="690" y="1352"/>
                  </a:cubicBezTo>
                  <a:cubicBezTo>
                    <a:pt x="693" y="1347"/>
                    <a:pt x="688" y="1342"/>
                    <a:pt x="679" y="1342"/>
                  </a:cubicBezTo>
                  <a:cubicBezTo>
                    <a:pt x="679" y="1342"/>
                    <a:pt x="679" y="1342"/>
                    <a:pt x="679" y="1342"/>
                  </a:cubicBezTo>
                  <a:moveTo>
                    <a:pt x="726" y="1342"/>
                  </a:moveTo>
                  <a:cubicBezTo>
                    <a:pt x="717" y="1342"/>
                    <a:pt x="707" y="1347"/>
                    <a:pt x="704" y="1352"/>
                  </a:cubicBezTo>
                  <a:cubicBezTo>
                    <a:pt x="701" y="1358"/>
                    <a:pt x="706" y="1363"/>
                    <a:pt x="715" y="1363"/>
                  </a:cubicBezTo>
                  <a:cubicBezTo>
                    <a:pt x="724" y="1363"/>
                    <a:pt x="734" y="1358"/>
                    <a:pt x="737" y="1352"/>
                  </a:cubicBezTo>
                  <a:cubicBezTo>
                    <a:pt x="740" y="1347"/>
                    <a:pt x="735" y="1342"/>
                    <a:pt x="726" y="1342"/>
                  </a:cubicBezTo>
                  <a:cubicBezTo>
                    <a:pt x="726" y="1342"/>
                    <a:pt x="726" y="1342"/>
                    <a:pt x="726" y="1342"/>
                  </a:cubicBezTo>
                  <a:moveTo>
                    <a:pt x="774" y="1342"/>
                  </a:moveTo>
                  <a:cubicBezTo>
                    <a:pt x="765" y="1342"/>
                    <a:pt x="755" y="1347"/>
                    <a:pt x="752" y="1352"/>
                  </a:cubicBezTo>
                  <a:cubicBezTo>
                    <a:pt x="749" y="1358"/>
                    <a:pt x="754" y="1362"/>
                    <a:pt x="763" y="1362"/>
                  </a:cubicBezTo>
                  <a:cubicBezTo>
                    <a:pt x="772" y="1362"/>
                    <a:pt x="782" y="1358"/>
                    <a:pt x="785" y="1352"/>
                  </a:cubicBezTo>
                  <a:cubicBezTo>
                    <a:pt x="788" y="1347"/>
                    <a:pt x="783" y="1342"/>
                    <a:pt x="774" y="1342"/>
                  </a:cubicBezTo>
                  <a:cubicBezTo>
                    <a:pt x="774" y="1342"/>
                    <a:pt x="774" y="1342"/>
                    <a:pt x="774" y="1342"/>
                  </a:cubicBezTo>
                  <a:moveTo>
                    <a:pt x="820" y="1342"/>
                  </a:moveTo>
                  <a:cubicBezTo>
                    <a:pt x="811" y="1342"/>
                    <a:pt x="802" y="1347"/>
                    <a:pt x="799" y="1352"/>
                  </a:cubicBezTo>
                  <a:cubicBezTo>
                    <a:pt x="796" y="1358"/>
                    <a:pt x="801" y="1362"/>
                    <a:pt x="810" y="1362"/>
                  </a:cubicBezTo>
                  <a:cubicBezTo>
                    <a:pt x="819" y="1362"/>
                    <a:pt x="829" y="1358"/>
                    <a:pt x="832" y="1352"/>
                  </a:cubicBezTo>
                  <a:cubicBezTo>
                    <a:pt x="835" y="1347"/>
                    <a:pt x="830" y="1342"/>
                    <a:pt x="821" y="1342"/>
                  </a:cubicBezTo>
                  <a:cubicBezTo>
                    <a:pt x="821" y="1342"/>
                    <a:pt x="821" y="1342"/>
                    <a:pt x="820" y="1342"/>
                  </a:cubicBezTo>
                  <a:moveTo>
                    <a:pt x="868" y="1342"/>
                  </a:moveTo>
                  <a:cubicBezTo>
                    <a:pt x="858" y="1342"/>
                    <a:pt x="849" y="1346"/>
                    <a:pt x="846" y="1352"/>
                  </a:cubicBezTo>
                  <a:cubicBezTo>
                    <a:pt x="843" y="1358"/>
                    <a:pt x="848" y="1362"/>
                    <a:pt x="857" y="1362"/>
                  </a:cubicBezTo>
                  <a:cubicBezTo>
                    <a:pt x="867" y="1362"/>
                    <a:pt x="876" y="1358"/>
                    <a:pt x="879" y="1352"/>
                  </a:cubicBezTo>
                  <a:cubicBezTo>
                    <a:pt x="882" y="1346"/>
                    <a:pt x="877" y="1342"/>
                    <a:pt x="868" y="1342"/>
                  </a:cubicBezTo>
                  <a:cubicBezTo>
                    <a:pt x="868" y="1342"/>
                    <a:pt x="868" y="1342"/>
                    <a:pt x="868" y="1342"/>
                  </a:cubicBezTo>
                  <a:moveTo>
                    <a:pt x="914" y="1342"/>
                  </a:moveTo>
                  <a:cubicBezTo>
                    <a:pt x="905" y="1342"/>
                    <a:pt x="896" y="1346"/>
                    <a:pt x="893" y="1352"/>
                  </a:cubicBezTo>
                  <a:cubicBezTo>
                    <a:pt x="890" y="1358"/>
                    <a:pt x="895" y="1362"/>
                    <a:pt x="905" y="1362"/>
                  </a:cubicBezTo>
                  <a:cubicBezTo>
                    <a:pt x="914" y="1362"/>
                    <a:pt x="923" y="1358"/>
                    <a:pt x="926" y="1352"/>
                  </a:cubicBezTo>
                  <a:cubicBezTo>
                    <a:pt x="929" y="1346"/>
                    <a:pt x="924" y="1342"/>
                    <a:pt x="914" y="1342"/>
                  </a:cubicBezTo>
                  <a:cubicBezTo>
                    <a:pt x="914" y="1342"/>
                    <a:pt x="914" y="1342"/>
                    <a:pt x="914" y="1342"/>
                  </a:cubicBezTo>
                  <a:moveTo>
                    <a:pt x="962" y="1342"/>
                  </a:moveTo>
                  <a:cubicBezTo>
                    <a:pt x="953" y="1342"/>
                    <a:pt x="943" y="1346"/>
                    <a:pt x="940" y="1352"/>
                  </a:cubicBezTo>
                  <a:cubicBezTo>
                    <a:pt x="938" y="1358"/>
                    <a:pt x="943" y="1362"/>
                    <a:pt x="952" y="1362"/>
                  </a:cubicBezTo>
                  <a:cubicBezTo>
                    <a:pt x="961" y="1362"/>
                    <a:pt x="971" y="1357"/>
                    <a:pt x="973" y="1352"/>
                  </a:cubicBezTo>
                  <a:cubicBezTo>
                    <a:pt x="976" y="1346"/>
                    <a:pt x="971" y="1342"/>
                    <a:pt x="962" y="1342"/>
                  </a:cubicBezTo>
                  <a:cubicBezTo>
                    <a:pt x="962" y="1342"/>
                    <a:pt x="962" y="1342"/>
                    <a:pt x="962" y="1342"/>
                  </a:cubicBezTo>
                  <a:moveTo>
                    <a:pt x="1009" y="1342"/>
                  </a:moveTo>
                  <a:cubicBezTo>
                    <a:pt x="1000" y="1342"/>
                    <a:pt x="991" y="1346"/>
                    <a:pt x="988" y="1352"/>
                  </a:cubicBezTo>
                  <a:cubicBezTo>
                    <a:pt x="985" y="1357"/>
                    <a:pt x="991" y="1362"/>
                    <a:pt x="1000" y="1362"/>
                  </a:cubicBezTo>
                  <a:cubicBezTo>
                    <a:pt x="1009" y="1362"/>
                    <a:pt x="1019" y="1357"/>
                    <a:pt x="1021" y="1352"/>
                  </a:cubicBezTo>
                  <a:cubicBezTo>
                    <a:pt x="1024" y="1346"/>
                    <a:pt x="1018" y="1342"/>
                    <a:pt x="1009" y="1342"/>
                  </a:cubicBezTo>
                  <a:cubicBezTo>
                    <a:pt x="1009" y="1342"/>
                    <a:pt x="1009" y="1342"/>
                    <a:pt x="1009" y="1342"/>
                  </a:cubicBezTo>
                  <a:moveTo>
                    <a:pt x="2185" y="1340"/>
                  </a:moveTo>
                  <a:cubicBezTo>
                    <a:pt x="2176" y="1340"/>
                    <a:pt x="2168" y="1345"/>
                    <a:pt x="2167" y="1351"/>
                  </a:cubicBezTo>
                  <a:cubicBezTo>
                    <a:pt x="2167" y="1356"/>
                    <a:pt x="2174" y="1361"/>
                    <a:pt x="2183" y="1361"/>
                  </a:cubicBezTo>
                  <a:cubicBezTo>
                    <a:pt x="2192" y="1361"/>
                    <a:pt x="2200" y="1356"/>
                    <a:pt x="2200" y="1351"/>
                  </a:cubicBezTo>
                  <a:cubicBezTo>
                    <a:pt x="2201" y="1345"/>
                    <a:pt x="2194" y="1340"/>
                    <a:pt x="2185" y="1340"/>
                  </a:cubicBezTo>
                  <a:cubicBezTo>
                    <a:pt x="2185" y="1340"/>
                    <a:pt x="2185" y="1340"/>
                    <a:pt x="2185" y="1340"/>
                  </a:cubicBezTo>
                  <a:moveTo>
                    <a:pt x="2231" y="1340"/>
                  </a:moveTo>
                  <a:cubicBezTo>
                    <a:pt x="2222" y="1340"/>
                    <a:pt x="2215" y="1345"/>
                    <a:pt x="2214" y="1351"/>
                  </a:cubicBezTo>
                  <a:cubicBezTo>
                    <a:pt x="2214" y="1356"/>
                    <a:pt x="2221" y="1361"/>
                    <a:pt x="2230" y="1361"/>
                  </a:cubicBezTo>
                  <a:cubicBezTo>
                    <a:pt x="2239" y="1361"/>
                    <a:pt x="2247" y="1356"/>
                    <a:pt x="2247" y="1350"/>
                  </a:cubicBezTo>
                  <a:cubicBezTo>
                    <a:pt x="2248" y="1345"/>
                    <a:pt x="2241" y="1340"/>
                    <a:pt x="2232" y="1340"/>
                  </a:cubicBezTo>
                  <a:cubicBezTo>
                    <a:pt x="2231" y="1340"/>
                    <a:pt x="2231" y="1340"/>
                    <a:pt x="2231" y="1340"/>
                  </a:cubicBezTo>
                  <a:moveTo>
                    <a:pt x="2279" y="1340"/>
                  </a:moveTo>
                  <a:cubicBezTo>
                    <a:pt x="2270" y="1340"/>
                    <a:pt x="2262" y="1345"/>
                    <a:pt x="2262" y="1350"/>
                  </a:cubicBezTo>
                  <a:cubicBezTo>
                    <a:pt x="2261" y="1356"/>
                    <a:pt x="2268" y="1361"/>
                    <a:pt x="2277" y="1361"/>
                  </a:cubicBezTo>
                  <a:cubicBezTo>
                    <a:pt x="2287" y="1361"/>
                    <a:pt x="2294" y="1356"/>
                    <a:pt x="2295" y="1350"/>
                  </a:cubicBezTo>
                  <a:cubicBezTo>
                    <a:pt x="2295" y="1345"/>
                    <a:pt x="2288" y="1340"/>
                    <a:pt x="2279" y="1340"/>
                  </a:cubicBezTo>
                  <a:cubicBezTo>
                    <a:pt x="2279" y="1340"/>
                    <a:pt x="2279" y="1340"/>
                    <a:pt x="2279" y="1340"/>
                  </a:cubicBezTo>
                  <a:moveTo>
                    <a:pt x="2325" y="1340"/>
                  </a:moveTo>
                  <a:cubicBezTo>
                    <a:pt x="2316" y="1340"/>
                    <a:pt x="2308" y="1345"/>
                    <a:pt x="2308" y="1350"/>
                  </a:cubicBezTo>
                  <a:cubicBezTo>
                    <a:pt x="2308" y="1356"/>
                    <a:pt x="2315" y="1361"/>
                    <a:pt x="2324" y="1361"/>
                  </a:cubicBezTo>
                  <a:cubicBezTo>
                    <a:pt x="2333" y="1361"/>
                    <a:pt x="2341" y="1356"/>
                    <a:pt x="2341" y="1350"/>
                  </a:cubicBezTo>
                  <a:cubicBezTo>
                    <a:pt x="2341" y="1345"/>
                    <a:pt x="2334" y="1340"/>
                    <a:pt x="2325" y="1340"/>
                  </a:cubicBezTo>
                  <a:cubicBezTo>
                    <a:pt x="2325" y="1340"/>
                    <a:pt x="2325" y="1340"/>
                    <a:pt x="2325" y="1340"/>
                  </a:cubicBezTo>
                  <a:moveTo>
                    <a:pt x="2372" y="1340"/>
                  </a:moveTo>
                  <a:cubicBezTo>
                    <a:pt x="2363" y="1340"/>
                    <a:pt x="2355" y="1345"/>
                    <a:pt x="2355" y="1350"/>
                  </a:cubicBezTo>
                  <a:cubicBezTo>
                    <a:pt x="2355" y="1356"/>
                    <a:pt x="2362" y="1360"/>
                    <a:pt x="2371" y="1360"/>
                  </a:cubicBezTo>
                  <a:cubicBezTo>
                    <a:pt x="2380" y="1360"/>
                    <a:pt x="2388" y="1356"/>
                    <a:pt x="2388" y="1350"/>
                  </a:cubicBezTo>
                  <a:cubicBezTo>
                    <a:pt x="2388" y="1345"/>
                    <a:pt x="2381" y="1340"/>
                    <a:pt x="2372" y="1340"/>
                  </a:cubicBezTo>
                  <a:cubicBezTo>
                    <a:pt x="2372" y="1340"/>
                    <a:pt x="2372" y="1340"/>
                    <a:pt x="2372" y="1340"/>
                  </a:cubicBezTo>
                  <a:moveTo>
                    <a:pt x="2419" y="1340"/>
                  </a:moveTo>
                  <a:cubicBezTo>
                    <a:pt x="2410" y="1340"/>
                    <a:pt x="2403" y="1345"/>
                    <a:pt x="2402" y="1350"/>
                  </a:cubicBezTo>
                  <a:cubicBezTo>
                    <a:pt x="2402" y="1356"/>
                    <a:pt x="2410" y="1360"/>
                    <a:pt x="2419" y="1360"/>
                  </a:cubicBezTo>
                  <a:cubicBezTo>
                    <a:pt x="2428" y="1360"/>
                    <a:pt x="2435" y="1356"/>
                    <a:pt x="2435" y="1350"/>
                  </a:cubicBezTo>
                  <a:cubicBezTo>
                    <a:pt x="2435" y="1344"/>
                    <a:pt x="2428" y="1340"/>
                    <a:pt x="2419" y="1340"/>
                  </a:cubicBezTo>
                  <a:cubicBezTo>
                    <a:pt x="2419" y="1340"/>
                    <a:pt x="2419" y="1340"/>
                    <a:pt x="2419" y="1340"/>
                  </a:cubicBezTo>
                  <a:moveTo>
                    <a:pt x="2468" y="1340"/>
                  </a:moveTo>
                  <a:cubicBezTo>
                    <a:pt x="2459" y="1340"/>
                    <a:pt x="2451" y="1344"/>
                    <a:pt x="2451" y="1350"/>
                  </a:cubicBezTo>
                  <a:cubicBezTo>
                    <a:pt x="2451" y="1356"/>
                    <a:pt x="2459" y="1360"/>
                    <a:pt x="2468" y="1360"/>
                  </a:cubicBezTo>
                  <a:cubicBezTo>
                    <a:pt x="2477" y="1360"/>
                    <a:pt x="2484" y="1356"/>
                    <a:pt x="2484" y="1350"/>
                  </a:cubicBezTo>
                  <a:cubicBezTo>
                    <a:pt x="2484" y="1344"/>
                    <a:pt x="2477" y="1340"/>
                    <a:pt x="2468" y="1340"/>
                  </a:cubicBezTo>
                  <a:cubicBezTo>
                    <a:pt x="2468" y="1340"/>
                    <a:pt x="2468" y="1340"/>
                    <a:pt x="2468" y="1340"/>
                  </a:cubicBezTo>
                  <a:moveTo>
                    <a:pt x="2514" y="1340"/>
                  </a:moveTo>
                  <a:cubicBezTo>
                    <a:pt x="2505" y="1340"/>
                    <a:pt x="2498" y="1344"/>
                    <a:pt x="2498" y="1350"/>
                  </a:cubicBezTo>
                  <a:cubicBezTo>
                    <a:pt x="2498" y="1356"/>
                    <a:pt x="2506" y="1360"/>
                    <a:pt x="2515" y="1360"/>
                  </a:cubicBezTo>
                  <a:cubicBezTo>
                    <a:pt x="2524" y="1360"/>
                    <a:pt x="2531" y="1356"/>
                    <a:pt x="2531" y="1350"/>
                  </a:cubicBezTo>
                  <a:cubicBezTo>
                    <a:pt x="2531" y="1344"/>
                    <a:pt x="2524" y="1340"/>
                    <a:pt x="2514" y="1340"/>
                  </a:cubicBezTo>
                  <a:cubicBezTo>
                    <a:pt x="2514" y="1340"/>
                    <a:pt x="2514" y="1340"/>
                    <a:pt x="2514" y="1340"/>
                  </a:cubicBezTo>
                  <a:moveTo>
                    <a:pt x="2562" y="1340"/>
                  </a:moveTo>
                  <a:cubicBezTo>
                    <a:pt x="2553" y="1340"/>
                    <a:pt x="2545" y="1344"/>
                    <a:pt x="2545" y="1350"/>
                  </a:cubicBezTo>
                  <a:cubicBezTo>
                    <a:pt x="2546" y="1356"/>
                    <a:pt x="2553" y="1360"/>
                    <a:pt x="2562" y="1360"/>
                  </a:cubicBezTo>
                  <a:cubicBezTo>
                    <a:pt x="2571" y="1360"/>
                    <a:pt x="2579" y="1355"/>
                    <a:pt x="2578" y="1350"/>
                  </a:cubicBezTo>
                  <a:cubicBezTo>
                    <a:pt x="2578" y="1344"/>
                    <a:pt x="2571" y="1340"/>
                    <a:pt x="2562" y="1340"/>
                  </a:cubicBezTo>
                  <a:cubicBezTo>
                    <a:pt x="2562" y="1340"/>
                    <a:pt x="2562" y="1340"/>
                    <a:pt x="2562" y="1340"/>
                  </a:cubicBezTo>
                  <a:moveTo>
                    <a:pt x="2609" y="1340"/>
                  </a:moveTo>
                  <a:cubicBezTo>
                    <a:pt x="2600" y="1340"/>
                    <a:pt x="2593" y="1344"/>
                    <a:pt x="2593" y="1350"/>
                  </a:cubicBezTo>
                  <a:cubicBezTo>
                    <a:pt x="2593" y="1355"/>
                    <a:pt x="2601" y="1360"/>
                    <a:pt x="2610" y="1360"/>
                  </a:cubicBezTo>
                  <a:cubicBezTo>
                    <a:pt x="2619" y="1360"/>
                    <a:pt x="2626" y="1355"/>
                    <a:pt x="2626" y="1350"/>
                  </a:cubicBezTo>
                  <a:cubicBezTo>
                    <a:pt x="2626" y="1344"/>
                    <a:pt x="2618" y="1340"/>
                    <a:pt x="2609" y="1340"/>
                  </a:cubicBezTo>
                  <a:cubicBezTo>
                    <a:pt x="2609" y="1340"/>
                    <a:pt x="2609" y="1340"/>
                    <a:pt x="2609" y="1340"/>
                  </a:cubicBezTo>
                  <a:moveTo>
                    <a:pt x="2656" y="1339"/>
                  </a:moveTo>
                  <a:cubicBezTo>
                    <a:pt x="2647" y="1339"/>
                    <a:pt x="2640" y="1344"/>
                    <a:pt x="2640" y="1350"/>
                  </a:cubicBezTo>
                  <a:cubicBezTo>
                    <a:pt x="2640" y="1355"/>
                    <a:pt x="2648" y="1360"/>
                    <a:pt x="2657" y="1360"/>
                  </a:cubicBezTo>
                  <a:cubicBezTo>
                    <a:pt x="2666" y="1360"/>
                    <a:pt x="2674" y="1355"/>
                    <a:pt x="2673" y="1350"/>
                  </a:cubicBezTo>
                  <a:cubicBezTo>
                    <a:pt x="2673" y="1344"/>
                    <a:pt x="2665" y="1339"/>
                    <a:pt x="2656" y="1339"/>
                  </a:cubicBezTo>
                  <a:cubicBezTo>
                    <a:pt x="2656" y="1339"/>
                    <a:pt x="2656" y="1339"/>
                    <a:pt x="2656" y="1339"/>
                  </a:cubicBezTo>
                  <a:moveTo>
                    <a:pt x="2704" y="1339"/>
                  </a:moveTo>
                  <a:cubicBezTo>
                    <a:pt x="2694" y="1339"/>
                    <a:pt x="2687" y="1344"/>
                    <a:pt x="2688" y="1350"/>
                  </a:cubicBezTo>
                  <a:cubicBezTo>
                    <a:pt x="2688" y="1355"/>
                    <a:pt x="2696" y="1360"/>
                    <a:pt x="2705" y="1360"/>
                  </a:cubicBezTo>
                  <a:cubicBezTo>
                    <a:pt x="2714" y="1360"/>
                    <a:pt x="2721" y="1355"/>
                    <a:pt x="2721" y="1350"/>
                  </a:cubicBezTo>
                  <a:cubicBezTo>
                    <a:pt x="2720" y="1344"/>
                    <a:pt x="2713" y="1339"/>
                    <a:pt x="2704" y="1339"/>
                  </a:cubicBezTo>
                  <a:cubicBezTo>
                    <a:pt x="2704" y="1339"/>
                    <a:pt x="2704" y="1339"/>
                    <a:pt x="2704" y="1339"/>
                  </a:cubicBezTo>
                  <a:moveTo>
                    <a:pt x="2749" y="1339"/>
                  </a:moveTo>
                  <a:cubicBezTo>
                    <a:pt x="2740" y="1339"/>
                    <a:pt x="2733" y="1344"/>
                    <a:pt x="2733" y="1349"/>
                  </a:cubicBezTo>
                  <a:cubicBezTo>
                    <a:pt x="2734" y="1355"/>
                    <a:pt x="2742" y="1360"/>
                    <a:pt x="2751" y="1360"/>
                  </a:cubicBezTo>
                  <a:cubicBezTo>
                    <a:pt x="2760" y="1360"/>
                    <a:pt x="2767" y="1355"/>
                    <a:pt x="2766" y="1349"/>
                  </a:cubicBezTo>
                  <a:cubicBezTo>
                    <a:pt x="2766" y="1344"/>
                    <a:pt x="2758" y="1339"/>
                    <a:pt x="2749" y="1339"/>
                  </a:cubicBezTo>
                  <a:cubicBezTo>
                    <a:pt x="2749" y="1339"/>
                    <a:pt x="2749" y="1339"/>
                    <a:pt x="2749" y="1339"/>
                  </a:cubicBezTo>
                  <a:moveTo>
                    <a:pt x="2939" y="1339"/>
                  </a:moveTo>
                  <a:cubicBezTo>
                    <a:pt x="2930" y="1339"/>
                    <a:pt x="2923" y="1343"/>
                    <a:pt x="2924" y="1349"/>
                  </a:cubicBezTo>
                  <a:cubicBezTo>
                    <a:pt x="2925" y="1355"/>
                    <a:pt x="2933" y="1359"/>
                    <a:pt x="2942" y="1359"/>
                  </a:cubicBezTo>
                  <a:cubicBezTo>
                    <a:pt x="2951" y="1359"/>
                    <a:pt x="2958" y="1355"/>
                    <a:pt x="2957" y="1349"/>
                  </a:cubicBezTo>
                  <a:cubicBezTo>
                    <a:pt x="2956" y="1343"/>
                    <a:pt x="2948" y="1339"/>
                    <a:pt x="2939" y="1339"/>
                  </a:cubicBezTo>
                  <a:cubicBezTo>
                    <a:pt x="2939" y="1339"/>
                    <a:pt x="2939" y="1339"/>
                    <a:pt x="2939" y="1339"/>
                  </a:cubicBezTo>
                  <a:moveTo>
                    <a:pt x="4632" y="1333"/>
                  </a:moveTo>
                  <a:cubicBezTo>
                    <a:pt x="4623" y="1333"/>
                    <a:pt x="4619" y="1338"/>
                    <a:pt x="4622" y="1344"/>
                  </a:cubicBezTo>
                  <a:cubicBezTo>
                    <a:pt x="4626" y="1349"/>
                    <a:pt x="4637" y="1354"/>
                    <a:pt x="4646" y="1354"/>
                  </a:cubicBezTo>
                  <a:cubicBezTo>
                    <a:pt x="4655" y="1354"/>
                    <a:pt x="4659" y="1349"/>
                    <a:pt x="4655" y="1343"/>
                  </a:cubicBezTo>
                  <a:cubicBezTo>
                    <a:pt x="4651" y="1338"/>
                    <a:pt x="4641" y="1333"/>
                    <a:pt x="4632" y="1333"/>
                  </a:cubicBezTo>
                  <a:cubicBezTo>
                    <a:pt x="4632" y="1333"/>
                    <a:pt x="4632" y="1333"/>
                    <a:pt x="4632" y="1333"/>
                  </a:cubicBezTo>
                  <a:moveTo>
                    <a:pt x="4725" y="1333"/>
                  </a:moveTo>
                  <a:cubicBezTo>
                    <a:pt x="4716" y="1333"/>
                    <a:pt x="4712" y="1338"/>
                    <a:pt x="4716" y="1343"/>
                  </a:cubicBezTo>
                  <a:cubicBezTo>
                    <a:pt x="4720" y="1349"/>
                    <a:pt x="4730" y="1354"/>
                    <a:pt x="4739" y="1354"/>
                  </a:cubicBezTo>
                  <a:cubicBezTo>
                    <a:pt x="4749" y="1354"/>
                    <a:pt x="4753" y="1349"/>
                    <a:pt x="4749" y="1343"/>
                  </a:cubicBezTo>
                  <a:cubicBezTo>
                    <a:pt x="4745" y="1338"/>
                    <a:pt x="4734" y="1333"/>
                    <a:pt x="4725" y="1333"/>
                  </a:cubicBezTo>
                  <a:cubicBezTo>
                    <a:pt x="4725" y="1333"/>
                    <a:pt x="4725" y="1333"/>
                    <a:pt x="4725" y="1333"/>
                  </a:cubicBezTo>
                  <a:moveTo>
                    <a:pt x="4772" y="1333"/>
                  </a:moveTo>
                  <a:cubicBezTo>
                    <a:pt x="4763" y="1333"/>
                    <a:pt x="4759" y="1338"/>
                    <a:pt x="4763" y="1343"/>
                  </a:cubicBezTo>
                  <a:cubicBezTo>
                    <a:pt x="4767" y="1349"/>
                    <a:pt x="4778" y="1354"/>
                    <a:pt x="4787" y="1354"/>
                  </a:cubicBezTo>
                  <a:cubicBezTo>
                    <a:pt x="4796" y="1353"/>
                    <a:pt x="4800" y="1349"/>
                    <a:pt x="4796" y="1343"/>
                  </a:cubicBezTo>
                  <a:cubicBezTo>
                    <a:pt x="4792" y="1338"/>
                    <a:pt x="4781" y="1333"/>
                    <a:pt x="4772" y="1333"/>
                  </a:cubicBezTo>
                  <a:cubicBezTo>
                    <a:pt x="4772" y="1333"/>
                    <a:pt x="4772" y="1333"/>
                    <a:pt x="4772" y="1333"/>
                  </a:cubicBezTo>
                  <a:moveTo>
                    <a:pt x="4964" y="1333"/>
                  </a:moveTo>
                  <a:cubicBezTo>
                    <a:pt x="4955" y="1333"/>
                    <a:pt x="4951" y="1337"/>
                    <a:pt x="4955" y="1343"/>
                  </a:cubicBezTo>
                  <a:cubicBezTo>
                    <a:pt x="4960" y="1349"/>
                    <a:pt x="4971" y="1353"/>
                    <a:pt x="4980" y="1353"/>
                  </a:cubicBezTo>
                  <a:cubicBezTo>
                    <a:pt x="4989" y="1353"/>
                    <a:pt x="4993" y="1348"/>
                    <a:pt x="4988" y="1343"/>
                  </a:cubicBezTo>
                  <a:cubicBezTo>
                    <a:pt x="4984" y="1337"/>
                    <a:pt x="4973" y="1333"/>
                    <a:pt x="4964" y="1333"/>
                  </a:cubicBezTo>
                  <a:cubicBezTo>
                    <a:pt x="4964" y="1333"/>
                    <a:pt x="4964" y="1333"/>
                    <a:pt x="4964" y="1333"/>
                  </a:cubicBezTo>
                  <a:moveTo>
                    <a:pt x="5002" y="1343"/>
                  </a:moveTo>
                  <a:cubicBezTo>
                    <a:pt x="5004" y="1345"/>
                    <a:pt x="5007" y="1347"/>
                    <a:pt x="5010" y="1349"/>
                  </a:cubicBezTo>
                  <a:cubicBezTo>
                    <a:pt x="5010" y="1332"/>
                    <a:pt x="5010" y="1332"/>
                    <a:pt x="5010" y="1332"/>
                  </a:cubicBezTo>
                  <a:cubicBezTo>
                    <a:pt x="5001" y="1332"/>
                    <a:pt x="4997" y="1337"/>
                    <a:pt x="5002" y="1343"/>
                  </a:cubicBezTo>
                  <a:moveTo>
                    <a:pt x="274" y="1314"/>
                  </a:moveTo>
                  <a:cubicBezTo>
                    <a:pt x="265" y="1314"/>
                    <a:pt x="254" y="1318"/>
                    <a:pt x="251" y="1324"/>
                  </a:cubicBezTo>
                  <a:cubicBezTo>
                    <a:pt x="247" y="1330"/>
                    <a:pt x="251" y="1334"/>
                    <a:pt x="260" y="1334"/>
                  </a:cubicBezTo>
                  <a:cubicBezTo>
                    <a:pt x="269" y="1334"/>
                    <a:pt x="279" y="1330"/>
                    <a:pt x="283" y="1324"/>
                  </a:cubicBezTo>
                  <a:cubicBezTo>
                    <a:pt x="287" y="1318"/>
                    <a:pt x="283" y="1314"/>
                    <a:pt x="274" y="1314"/>
                  </a:cubicBezTo>
                  <a:cubicBezTo>
                    <a:pt x="274" y="1314"/>
                    <a:pt x="274" y="1314"/>
                    <a:pt x="274" y="1314"/>
                  </a:cubicBezTo>
                  <a:moveTo>
                    <a:pt x="320" y="1314"/>
                  </a:moveTo>
                  <a:cubicBezTo>
                    <a:pt x="311" y="1314"/>
                    <a:pt x="301" y="1318"/>
                    <a:pt x="297" y="1324"/>
                  </a:cubicBezTo>
                  <a:cubicBezTo>
                    <a:pt x="293" y="1330"/>
                    <a:pt x="298" y="1334"/>
                    <a:pt x="307" y="1334"/>
                  </a:cubicBezTo>
                  <a:cubicBezTo>
                    <a:pt x="316" y="1334"/>
                    <a:pt x="326" y="1330"/>
                    <a:pt x="330" y="1324"/>
                  </a:cubicBezTo>
                  <a:cubicBezTo>
                    <a:pt x="334" y="1318"/>
                    <a:pt x="329" y="1314"/>
                    <a:pt x="320" y="1314"/>
                  </a:cubicBezTo>
                  <a:cubicBezTo>
                    <a:pt x="320" y="1314"/>
                    <a:pt x="320" y="1314"/>
                    <a:pt x="320" y="1314"/>
                  </a:cubicBezTo>
                  <a:moveTo>
                    <a:pt x="367" y="1314"/>
                  </a:moveTo>
                  <a:cubicBezTo>
                    <a:pt x="358" y="1314"/>
                    <a:pt x="348" y="1318"/>
                    <a:pt x="344" y="1324"/>
                  </a:cubicBezTo>
                  <a:cubicBezTo>
                    <a:pt x="340" y="1329"/>
                    <a:pt x="345" y="1334"/>
                    <a:pt x="354" y="1334"/>
                  </a:cubicBezTo>
                  <a:cubicBezTo>
                    <a:pt x="363" y="1334"/>
                    <a:pt x="373" y="1329"/>
                    <a:pt x="377" y="1324"/>
                  </a:cubicBezTo>
                  <a:cubicBezTo>
                    <a:pt x="381" y="1318"/>
                    <a:pt x="376" y="1314"/>
                    <a:pt x="367" y="1314"/>
                  </a:cubicBezTo>
                  <a:cubicBezTo>
                    <a:pt x="367" y="1314"/>
                    <a:pt x="367" y="1314"/>
                    <a:pt x="367" y="1314"/>
                  </a:cubicBezTo>
                  <a:moveTo>
                    <a:pt x="415" y="1314"/>
                  </a:moveTo>
                  <a:cubicBezTo>
                    <a:pt x="406" y="1314"/>
                    <a:pt x="396" y="1318"/>
                    <a:pt x="392" y="1324"/>
                  </a:cubicBezTo>
                  <a:cubicBezTo>
                    <a:pt x="389" y="1329"/>
                    <a:pt x="393" y="1334"/>
                    <a:pt x="402" y="1334"/>
                  </a:cubicBezTo>
                  <a:cubicBezTo>
                    <a:pt x="411" y="1334"/>
                    <a:pt x="422" y="1329"/>
                    <a:pt x="425" y="1324"/>
                  </a:cubicBezTo>
                  <a:cubicBezTo>
                    <a:pt x="429" y="1318"/>
                    <a:pt x="424" y="1314"/>
                    <a:pt x="415" y="1314"/>
                  </a:cubicBezTo>
                  <a:cubicBezTo>
                    <a:pt x="415" y="1314"/>
                    <a:pt x="415" y="1314"/>
                    <a:pt x="415" y="1314"/>
                  </a:cubicBezTo>
                  <a:moveTo>
                    <a:pt x="462" y="1313"/>
                  </a:moveTo>
                  <a:cubicBezTo>
                    <a:pt x="453" y="1313"/>
                    <a:pt x="442" y="1318"/>
                    <a:pt x="439" y="1324"/>
                  </a:cubicBezTo>
                  <a:cubicBezTo>
                    <a:pt x="435" y="1329"/>
                    <a:pt x="440" y="1334"/>
                    <a:pt x="449" y="1334"/>
                  </a:cubicBezTo>
                  <a:cubicBezTo>
                    <a:pt x="458" y="1334"/>
                    <a:pt x="468" y="1329"/>
                    <a:pt x="472" y="1324"/>
                  </a:cubicBezTo>
                  <a:cubicBezTo>
                    <a:pt x="475" y="1318"/>
                    <a:pt x="471" y="1313"/>
                    <a:pt x="462" y="1313"/>
                  </a:cubicBezTo>
                  <a:cubicBezTo>
                    <a:pt x="462" y="1313"/>
                    <a:pt x="462" y="1313"/>
                    <a:pt x="462" y="1313"/>
                  </a:cubicBezTo>
                  <a:moveTo>
                    <a:pt x="509" y="1313"/>
                  </a:moveTo>
                  <a:cubicBezTo>
                    <a:pt x="500" y="1313"/>
                    <a:pt x="489" y="1318"/>
                    <a:pt x="486" y="1324"/>
                  </a:cubicBezTo>
                  <a:cubicBezTo>
                    <a:pt x="482" y="1329"/>
                    <a:pt x="487" y="1334"/>
                    <a:pt x="496" y="1334"/>
                  </a:cubicBezTo>
                  <a:cubicBezTo>
                    <a:pt x="505" y="1334"/>
                    <a:pt x="515" y="1329"/>
                    <a:pt x="519" y="1323"/>
                  </a:cubicBezTo>
                  <a:cubicBezTo>
                    <a:pt x="522" y="1318"/>
                    <a:pt x="518" y="1313"/>
                    <a:pt x="509" y="1313"/>
                  </a:cubicBezTo>
                  <a:cubicBezTo>
                    <a:pt x="509" y="1313"/>
                    <a:pt x="509" y="1313"/>
                    <a:pt x="509" y="1313"/>
                  </a:cubicBezTo>
                  <a:moveTo>
                    <a:pt x="556" y="1313"/>
                  </a:moveTo>
                  <a:cubicBezTo>
                    <a:pt x="547" y="1313"/>
                    <a:pt x="537" y="1318"/>
                    <a:pt x="533" y="1323"/>
                  </a:cubicBezTo>
                  <a:cubicBezTo>
                    <a:pt x="530" y="1329"/>
                    <a:pt x="534" y="1334"/>
                    <a:pt x="544" y="1334"/>
                  </a:cubicBezTo>
                  <a:cubicBezTo>
                    <a:pt x="553" y="1334"/>
                    <a:pt x="563" y="1329"/>
                    <a:pt x="566" y="1323"/>
                  </a:cubicBezTo>
                  <a:cubicBezTo>
                    <a:pt x="569" y="1318"/>
                    <a:pt x="565" y="1313"/>
                    <a:pt x="556" y="1313"/>
                  </a:cubicBezTo>
                  <a:cubicBezTo>
                    <a:pt x="556" y="1313"/>
                    <a:pt x="556" y="1313"/>
                    <a:pt x="556" y="1313"/>
                  </a:cubicBezTo>
                  <a:moveTo>
                    <a:pt x="602" y="1313"/>
                  </a:moveTo>
                  <a:cubicBezTo>
                    <a:pt x="593" y="1313"/>
                    <a:pt x="583" y="1318"/>
                    <a:pt x="580" y="1323"/>
                  </a:cubicBezTo>
                  <a:cubicBezTo>
                    <a:pt x="576" y="1329"/>
                    <a:pt x="581" y="1333"/>
                    <a:pt x="590" y="1333"/>
                  </a:cubicBezTo>
                  <a:cubicBezTo>
                    <a:pt x="599" y="1333"/>
                    <a:pt x="609" y="1329"/>
                    <a:pt x="613" y="1323"/>
                  </a:cubicBezTo>
                  <a:cubicBezTo>
                    <a:pt x="616" y="1318"/>
                    <a:pt x="611" y="1313"/>
                    <a:pt x="602" y="1313"/>
                  </a:cubicBezTo>
                  <a:cubicBezTo>
                    <a:pt x="602" y="1313"/>
                    <a:pt x="602" y="1313"/>
                    <a:pt x="602" y="1313"/>
                  </a:cubicBezTo>
                  <a:moveTo>
                    <a:pt x="649" y="1313"/>
                  </a:moveTo>
                  <a:cubicBezTo>
                    <a:pt x="640" y="1313"/>
                    <a:pt x="630" y="1318"/>
                    <a:pt x="627" y="1323"/>
                  </a:cubicBezTo>
                  <a:cubicBezTo>
                    <a:pt x="623" y="1329"/>
                    <a:pt x="628" y="1333"/>
                    <a:pt x="637" y="1333"/>
                  </a:cubicBezTo>
                  <a:cubicBezTo>
                    <a:pt x="646" y="1333"/>
                    <a:pt x="656" y="1329"/>
                    <a:pt x="659" y="1323"/>
                  </a:cubicBezTo>
                  <a:cubicBezTo>
                    <a:pt x="663" y="1318"/>
                    <a:pt x="658" y="1313"/>
                    <a:pt x="649" y="1313"/>
                  </a:cubicBezTo>
                  <a:cubicBezTo>
                    <a:pt x="649" y="1313"/>
                    <a:pt x="649" y="1313"/>
                    <a:pt x="649" y="1313"/>
                  </a:cubicBezTo>
                  <a:moveTo>
                    <a:pt x="695" y="1313"/>
                  </a:moveTo>
                  <a:cubicBezTo>
                    <a:pt x="686" y="1313"/>
                    <a:pt x="676" y="1318"/>
                    <a:pt x="673" y="1323"/>
                  </a:cubicBezTo>
                  <a:cubicBezTo>
                    <a:pt x="670" y="1329"/>
                    <a:pt x="675" y="1333"/>
                    <a:pt x="684" y="1333"/>
                  </a:cubicBezTo>
                  <a:cubicBezTo>
                    <a:pt x="693" y="1333"/>
                    <a:pt x="703" y="1329"/>
                    <a:pt x="706" y="1323"/>
                  </a:cubicBezTo>
                  <a:cubicBezTo>
                    <a:pt x="709" y="1317"/>
                    <a:pt x="704" y="1313"/>
                    <a:pt x="695" y="1313"/>
                  </a:cubicBezTo>
                  <a:cubicBezTo>
                    <a:pt x="695" y="1313"/>
                    <a:pt x="695" y="1313"/>
                    <a:pt x="695" y="1313"/>
                  </a:cubicBezTo>
                  <a:moveTo>
                    <a:pt x="742" y="1313"/>
                  </a:moveTo>
                  <a:cubicBezTo>
                    <a:pt x="733" y="1313"/>
                    <a:pt x="723" y="1317"/>
                    <a:pt x="720" y="1323"/>
                  </a:cubicBezTo>
                  <a:cubicBezTo>
                    <a:pt x="717" y="1329"/>
                    <a:pt x="722" y="1333"/>
                    <a:pt x="731" y="1333"/>
                  </a:cubicBezTo>
                  <a:cubicBezTo>
                    <a:pt x="740" y="1333"/>
                    <a:pt x="750" y="1329"/>
                    <a:pt x="753" y="1323"/>
                  </a:cubicBezTo>
                  <a:cubicBezTo>
                    <a:pt x="756" y="1317"/>
                    <a:pt x="751" y="1313"/>
                    <a:pt x="742" y="1313"/>
                  </a:cubicBezTo>
                  <a:cubicBezTo>
                    <a:pt x="742" y="1313"/>
                    <a:pt x="742" y="1313"/>
                    <a:pt x="742" y="1313"/>
                  </a:cubicBezTo>
                  <a:moveTo>
                    <a:pt x="789" y="1313"/>
                  </a:moveTo>
                  <a:cubicBezTo>
                    <a:pt x="780" y="1313"/>
                    <a:pt x="770" y="1317"/>
                    <a:pt x="767" y="1323"/>
                  </a:cubicBezTo>
                  <a:cubicBezTo>
                    <a:pt x="764" y="1329"/>
                    <a:pt x="769" y="1333"/>
                    <a:pt x="778" y="1333"/>
                  </a:cubicBezTo>
                  <a:cubicBezTo>
                    <a:pt x="788" y="1333"/>
                    <a:pt x="797" y="1328"/>
                    <a:pt x="800" y="1323"/>
                  </a:cubicBezTo>
                  <a:cubicBezTo>
                    <a:pt x="803" y="1317"/>
                    <a:pt x="798" y="1313"/>
                    <a:pt x="789" y="1313"/>
                  </a:cubicBezTo>
                  <a:cubicBezTo>
                    <a:pt x="789" y="1313"/>
                    <a:pt x="789" y="1313"/>
                    <a:pt x="789" y="1313"/>
                  </a:cubicBezTo>
                  <a:moveTo>
                    <a:pt x="836" y="1313"/>
                  </a:moveTo>
                  <a:cubicBezTo>
                    <a:pt x="827" y="1313"/>
                    <a:pt x="817" y="1317"/>
                    <a:pt x="814" y="1323"/>
                  </a:cubicBezTo>
                  <a:cubicBezTo>
                    <a:pt x="811" y="1328"/>
                    <a:pt x="816" y="1333"/>
                    <a:pt x="825" y="1333"/>
                  </a:cubicBezTo>
                  <a:cubicBezTo>
                    <a:pt x="834" y="1333"/>
                    <a:pt x="844" y="1328"/>
                    <a:pt x="847" y="1323"/>
                  </a:cubicBezTo>
                  <a:cubicBezTo>
                    <a:pt x="850" y="1317"/>
                    <a:pt x="845" y="1313"/>
                    <a:pt x="836" y="1313"/>
                  </a:cubicBezTo>
                  <a:cubicBezTo>
                    <a:pt x="836" y="1313"/>
                    <a:pt x="836" y="1313"/>
                    <a:pt x="836" y="1313"/>
                  </a:cubicBezTo>
                  <a:moveTo>
                    <a:pt x="882" y="1313"/>
                  </a:moveTo>
                  <a:cubicBezTo>
                    <a:pt x="873" y="1313"/>
                    <a:pt x="864" y="1317"/>
                    <a:pt x="861" y="1323"/>
                  </a:cubicBezTo>
                  <a:cubicBezTo>
                    <a:pt x="858" y="1328"/>
                    <a:pt x="863" y="1333"/>
                    <a:pt x="872" y="1333"/>
                  </a:cubicBezTo>
                  <a:cubicBezTo>
                    <a:pt x="881" y="1333"/>
                    <a:pt x="891" y="1328"/>
                    <a:pt x="894" y="1323"/>
                  </a:cubicBezTo>
                  <a:cubicBezTo>
                    <a:pt x="896" y="1317"/>
                    <a:pt x="891" y="1313"/>
                    <a:pt x="882" y="1313"/>
                  </a:cubicBezTo>
                  <a:cubicBezTo>
                    <a:pt x="882" y="1313"/>
                    <a:pt x="882" y="1313"/>
                    <a:pt x="882" y="1313"/>
                  </a:cubicBezTo>
                  <a:moveTo>
                    <a:pt x="929" y="1312"/>
                  </a:moveTo>
                  <a:cubicBezTo>
                    <a:pt x="920" y="1312"/>
                    <a:pt x="910" y="1317"/>
                    <a:pt x="907" y="1323"/>
                  </a:cubicBezTo>
                  <a:cubicBezTo>
                    <a:pt x="905" y="1328"/>
                    <a:pt x="910" y="1333"/>
                    <a:pt x="919" y="1333"/>
                  </a:cubicBezTo>
                  <a:cubicBezTo>
                    <a:pt x="928" y="1333"/>
                    <a:pt x="937" y="1328"/>
                    <a:pt x="940" y="1323"/>
                  </a:cubicBezTo>
                  <a:cubicBezTo>
                    <a:pt x="943" y="1317"/>
                    <a:pt x="938" y="1312"/>
                    <a:pt x="929" y="1312"/>
                  </a:cubicBezTo>
                  <a:cubicBezTo>
                    <a:pt x="929" y="1312"/>
                    <a:pt x="929" y="1312"/>
                    <a:pt x="929" y="1312"/>
                  </a:cubicBezTo>
                  <a:moveTo>
                    <a:pt x="2187" y="1312"/>
                  </a:moveTo>
                  <a:cubicBezTo>
                    <a:pt x="2178" y="1312"/>
                    <a:pt x="2170" y="1317"/>
                    <a:pt x="2170" y="1323"/>
                  </a:cubicBezTo>
                  <a:cubicBezTo>
                    <a:pt x="2169" y="1328"/>
                    <a:pt x="2176" y="1333"/>
                    <a:pt x="2185" y="1333"/>
                  </a:cubicBezTo>
                  <a:cubicBezTo>
                    <a:pt x="2194" y="1333"/>
                    <a:pt x="2202" y="1328"/>
                    <a:pt x="2203" y="1323"/>
                  </a:cubicBezTo>
                  <a:cubicBezTo>
                    <a:pt x="2203" y="1317"/>
                    <a:pt x="2196" y="1312"/>
                    <a:pt x="2187" y="1312"/>
                  </a:cubicBezTo>
                  <a:cubicBezTo>
                    <a:pt x="2187" y="1312"/>
                    <a:pt x="2187" y="1312"/>
                    <a:pt x="2187" y="1312"/>
                  </a:cubicBezTo>
                  <a:moveTo>
                    <a:pt x="975" y="1312"/>
                  </a:moveTo>
                  <a:cubicBezTo>
                    <a:pt x="966" y="1312"/>
                    <a:pt x="957" y="1317"/>
                    <a:pt x="954" y="1323"/>
                  </a:cubicBezTo>
                  <a:cubicBezTo>
                    <a:pt x="952" y="1328"/>
                    <a:pt x="957" y="1333"/>
                    <a:pt x="966" y="1333"/>
                  </a:cubicBezTo>
                  <a:cubicBezTo>
                    <a:pt x="975" y="1333"/>
                    <a:pt x="984" y="1328"/>
                    <a:pt x="987" y="1322"/>
                  </a:cubicBezTo>
                  <a:cubicBezTo>
                    <a:pt x="990" y="1317"/>
                    <a:pt x="984" y="1312"/>
                    <a:pt x="975" y="1312"/>
                  </a:cubicBezTo>
                  <a:cubicBezTo>
                    <a:pt x="975" y="1312"/>
                    <a:pt x="975" y="1312"/>
                    <a:pt x="975" y="1312"/>
                  </a:cubicBezTo>
                  <a:moveTo>
                    <a:pt x="2233" y="1312"/>
                  </a:moveTo>
                  <a:cubicBezTo>
                    <a:pt x="2224" y="1312"/>
                    <a:pt x="2217" y="1317"/>
                    <a:pt x="2216" y="1323"/>
                  </a:cubicBezTo>
                  <a:cubicBezTo>
                    <a:pt x="2216" y="1328"/>
                    <a:pt x="2223" y="1333"/>
                    <a:pt x="2232" y="1333"/>
                  </a:cubicBezTo>
                  <a:cubicBezTo>
                    <a:pt x="2241" y="1333"/>
                    <a:pt x="2249" y="1328"/>
                    <a:pt x="2249" y="1323"/>
                  </a:cubicBezTo>
                  <a:cubicBezTo>
                    <a:pt x="2250" y="1317"/>
                    <a:pt x="2243" y="1312"/>
                    <a:pt x="2234" y="1312"/>
                  </a:cubicBezTo>
                  <a:cubicBezTo>
                    <a:pt x="2234" y="1312"/>
                    <a:pt x="2233" y="1312"/>
                    <a:pt x="2233" y="1312"/>
                  </a:cubicBezTo>
                  <a:moveTo>
                    <a:pt x="1023" y="1312"/>
                  </a:moveTo>
                  <a:cubicBezTo>
                    <a:pt x="1014" y="1312"/>
                    <a:pt x="1004" y="1317"/>
                    <a:pt x="1002" y="1322"/>
                  </a:cubicBezTo>
                  <a:cubicBezTo>
                    <a:pt x="999" y="1328"/>
                    <a:pt x="1004" y="1333"/>
                    <a:pt x="1013" y="1333"/>
                  </a:cubicBezTo>
                  <a:cubicBezTo>
                    <a:pt x="1022" y="1333"/>
                    <a:pt x="1032" y="1328"/>
                    <a:pt x="1034" y="1322"/>
                  </a:cubicBezTo>
                  <a:cubicBezTo>
                    <a:pt x="1037" y="1317"/>
                    <a:pt x="1032" y="1312"/>
                    <a:pt x="1023" y="1312"/>
                  </a:cubicBezTo>
                  <a:cubicBezTo>
                    <a:pt x="1023" y="1312"/>
                    <a:pt x="1023" y="1312"/>
                    <a:pt x="1023" y="1312"/>
                  </a:cubicBezTo>
                  <a:moveTo>
                    <a:pt x="2280" y="1312"/>
                  </a:moveTo>
                  <a:cubicBezTo>
                    <a:pt x="2271" y="1312"/>
                    <a:pt x="2264" y="1317"/>
                    <a:pt x="2263" y="1322"/>
                  </a:cubicBezTo>
                  <a:cubicBezTo>
                    <a:pt x="2263" y="1328"/>
                    <a:pt x="2270" y="1333"/>
                    <a:pt x="2279" y="1333"/>
                  </a:cubicBezTo>
                  <a:cubicBezTo>
                    <a:pt x="2288" y="1333"/>
                    <a:pt x="2296" y="1328"/>
                    <a:pt x="2296" y="1322"/>
                  </a:cubicBezTo>
                  <a:cubicBezTo>
                    <a:pt x="2296" y="1317"/>
                    <a:pt x="2289" y="1312"/>
                    <a:pt x="2280" y="1312"/>
                  </a:cubicBezTo>
                  <a:cubicBezTo>
                    <a:pt x="2280" y="1312"/>
                    <a:pt x="2280" y="1312"/>
                    <a:pt x="2280" y="1312"/>
                  </a:cubicBezTo>
                  <a:moveTo>
                    <a:pt x="1065" y="1312"/>
                  </a:moveTo>
                  <a:cubicBezTo>
                    <a:pt x="1056" y="1312"/>
                    <a:pt x="1046" y="1317"/>
                    <a:pt x="1044" y="1322"/>
                  </a:cubicBezTo>
                  <a:cubicBezTo>
                    <a:pt x="1041" y="1328"/>
                    <a:pt x="1047" y="1333"/>
                    <a:pt x="1056" y="1332"/>
                  </a:cubicBezTo>
                  <a:cubicBezTo>
                    <a:pt x="1065" y="1332"/>
                    <a:pt x="1074" y="1328"/>
                    <a:pt x="1077" y="1322"/>
                  </a:cubicBezTo>
                  <a:cubicBezTo>
                    <a:pt x="1079" y="1317"/>
                    <a:pt x="1074" y="1312"/>
                    <a:pt x="1065" y="1312"/>
                  </a:cubicBezTo>
                  <a:cubicBezTo>
                    <a:pt x="1065" y="1312"/>
                    <a:pt x="1065" y="1312"/>
                    <a:pt x="1065" y="1312"/>
                  </a:cubicBezTo>
                  <a:moveTo>
                    <a:pt x="2326" y="1312"/>
                  </a:moveTo>
                  <a:cubicBezTo>
                    <a:pt x="2317" y="1312"/>
                    <a:pt x="2310" y="1317"/>
                    <a:pt x="2309" y="1322"/>
                  </a:cubicBezTo>
                  <a:cubicBezTo>
                    <a:pt x="2309" y="1328"/>
                    <a:pt x="2316" y="1333"/>
                    <a:pt x="2325" y="1333"/>
                  </a:cubicBezTo>
                  <a:cubicBezTo>
                    <a:pt x="2334" y="1333"/>
                    <a:pt x="2342" y="1328"/>
                    <a:pt x="2342" y="1322"/>
                  </a:cubicBezTo>
                  <a:cubicBezTo>
                    <a:pt x="2342" y="1317"/>
                    <a:pt x="2335" y="1312"/>
                    <a:pt x="2326" y="1312"/>
                  </a:cubicBezTo>
                  <a:cubicBezTo>
                    <a:pt x="2326" y="1312"/>
                    <a:pt x="2326" y="1312"/>
                    <a:pt x="2326" y="1312"/>
                  </a:cubicBezTo>
                  <a:moveTo>
                    <a:pt x="2373" y="1312"/>
                  </a:moveTo>
                  <a:cubicBezTo>
                    <a:pt x="2364" y="1312"/>
                    <a:pt x="2356" y="1317"/>
                    <a:pt x="2356" y="1322"/>
                  </a:cubicBezTo>
                  <a:cubicBezTo>
                    <a:pt x="2356" y="1328"/>
                    <a:pt x="2363" y="1332"/>
                    <a:pt x="2372" y="1332"/>
                  </a:cubicBezTo>
                  <a:cubicBezTo>
                    <a:pt x="2381" y="1332"/>
                    <a:pt x="2389" y="1328"/>
                    <a:pt x="2389" y="1322"/>
                  </a:cubicBezTo>
                  <a:cubicBezTo>
                    <a:pt x="2389" y="1317"/>
                    <a:pt x="2382" y="1312"/>
                    <a:pt x="2373" y="1312"/>
                  </a:cubicBezTo>
                  <a:cubicBezTo>
                    <a:pt x="2373" y="1312"/>
                    <a:pt x="2373" y="1312"/>
                    <a:pt x="2373" y="1312"/>
                  </a:cubicBezTo>
                  <a:moveTo>
                    <a:pt x="2419" y="1312"/>
                  </a:moveTo>
                  <a:cubicBezTo>
                    <a:pt x="2410" y="1312"/>
                    <a:pt x="2403" y="1317"/>
                    <a:pt x="2403" y="1322"/>
                  </a:cubicBezTo>
                  <a:cubicBezTo>
                    <a:pt x="2403" y="1328"/>
                    <a:pt x="2410" y="1332"/>
                    <a:pt x="2419" y="1332"/>
                  </a:cubicBezTo>
                  <a:cubicBezTo>
                    <a:pt x="2428" y="1332"/>
                    <a:pt x="2436" y="1328"/>
                    <a:pt x="2436" y="1322"/>
                  </a:cubicBezTo>
                  <a:cubicBezTo>
                    <a:pt x="2436" y="1316"/>
                    <a:pt x="2428" y="1312"/>
                    <a:pt x="2419" y="1312"/>
                  </a:cubicBezTo>
                  <a:cubicBezTo>
                    <a:pt x="2419" y="1312"/>
                    <a:pt x="2419" y="1312"/>
                    <a:pt x="2419" y="1312"/>
                  </a:cubicBezTo>
                  <a:moveTo>
                    <a:pt x="2468" y="1312"/>
                  </a:moveTo>
                  <a:cubicBezTo>
                    <a:pt x="2459" y="1312"/>
                    <a:pt x="2451" y="1316"/>
                    <a:pt x="2451" y="1322"/>
                  </a:cubicBezTo>
                  <a:cubicBezTo>
                    <a:pt x="2451" y="1328"/>
                    <a:pt x="2459" y="1332"/>
                    <a:pt x="2468" y="1332"/>
                  </a:cubicBezTo>
                  <a:cubicBezTo>
                    <a:pt x="2477" y="1332"/>
                    <a:pt x="2484" y="1328"/>
                    <a:pt x="2484" y="1322"/>
                  </a:cubicBezTo>
                  <a:cubicBezTo>
                    <a:pt x="2484" y="1316"/>
                    <a:pt x="2477" y="1312"/>
                    <a:pt x="2468" y="1312"/>
                  </a:cubicBezTo>
                  <a:cubicBezTo>
                    <a:pt x="2468" y="1312"/>
                    <a:pt x="2468" y="1312"/>
                    <a:pt x="2468" y="1312"/>
                  </a:cubicBezTo>
                  <a:moveTo>
                    <a:pt x="2514" y="1312"/>
                  </a:moveTo>
                  <a:cubicBezTo>
                    <a:pt x="2505" y="1312"/>
                    <a:pt x="2498" y="1316"/>
                    <a:pt x="2498" y="1322"/>
                  </a:cubicBezTo>
                  <a:cubicBezTo>
                    <a:pt x="2498" y="1328"/>
                    <a:pt x="2505" y="1332"/>
                    <a:pt x="2514" y="1332"/>
                  </a:cubicBezTo>
                  <a:cubicBezTo>
                    <a:pt x="2523" y="1332"/>
                    <a:pt x="2531" y="1328"/>
                    <a:pt x="2531" y="1322"/>
                  </a:cubicBezTo>
                  <a:cubicBezTo>
                    <a:pt x="2530" y="1316"/>
                    <a:pt x="2523" y="1312"/>
                    <a:pt x="2514" y="1312"/>
                  </a:cubicBezTo>
                  <a:cubicBezTo>
                    <a:pt x="2514" y="1312"/>
                    <a:pt x="2514" y="1312"/>
                    <a:pt x="2514" y="1312"/>
                  </a:cubicBezTo>
                  <a:moveTo>
                    <a:pt x="2561" y="1312"/>
                  </a:moveTo>
                  <a:cubicBezTo>
                    <a:pt x="2552" y="1312"/>
                    <a:pt x="2545" y="1316"/>
                    <a:pt x="2545" y="1322"/>
                  </a:cubicBezTo>
                  <a:cubicBezTo>
                    <a:pt x="2545" y="1328"/>
                    <a:pt x="2552" y="1332"/>
                    <a:pt x="2561" y="1332"/>
                  </a:cubicBezTo>
                  <a:cubicBezTo>
                    <a:pt x="2570" y="1332"/>
                    <a:pt x="2578" y="1327"/>
                    <a:pt x="2577" y="1322"/>
                  </a:cubicBezTo>
                  <a:cubicBezTo>
                    <a:pt x="2577" y="1316"/>
                    <a:pt x="2570" y="1312"/>
                    <a:pt x="2561" y="1312"/>
                  </a:cubicBezTo>
                  <a:cubicBezTo>
                    <a:pt x="2561" y="1312"/>
                    <a:pt x="2561" y="1312"/>
                    <a:pt x="2561" y="1312"/>
                  </a:cubicBezTo>
                  <a:moveTo>
                    <a:pt x="2608" y="1312"/>
                  </a:moveTo>
                  <a:cubicBezTo>
                    <a:pt x="2599" y="1312"/>
                    <a:pt x="2592" y="1316"/>
                    <a:pt x="2592" y="1322"/>
                  </a:cubicBezTo>
                  <a:cubicBezTo>
                    <a:pt x="2592" y="1327"/>
                    <a:pt x="2600" y="1332"/>
                    <a:pt x="2609" y="1332"/>
                  </a:cubicBezTo>
                  <a:cubicBezTo>
                    <a:pt x="2618" y="1332"/>
                    <a:pt x="2625" y="1327"/>
                    <a:pt x="2625" y="1322"/>
                  </a:cubicBezTo>
                  <a:cubicBezTo>
                    <a:pt x="2624" y="1316"/>
                    <a:pt x="2617" y="1312"/>
                    <a:pt x="2608" y="1312"/>
                  </a:cubicBezTo>
                  <a:cubicBezTo>
                    <a:pt x="2608" y="1312"/>
                    <a:pt x="2608" y="1312"/>
                    <a:pt x="2608" y="1312"/>
                  </a:cubicBezTo>
                  <a:moveTo>
                    <a:pt x="2654" y="1311"/>
                  </a:moveTo>
                  <a:cubicBezTo>
                    <a:pt x="2645" y="1311"/>
                    <a:pt x="2638" y="1316"/>
                    <a:pt x="2639" y="1322"/>
                  </a:cubicBezTo>
                  <a:cubicBezTo>
                    <a:pt x="2639" y="1327"/>
                    <a:pt x="2646" y="1332"/>
                    <a:pt x="2656" y="1332"/>
                  </a:cubicBezTo>
                  <a:cubicBezTo>
                    <a:pt x="2665" y="1332"/>
                    <a:pt x="2672" y="1327"/>
                    <a:pt x="2671" y="1322"/>
                  </a:cubicBezTo>
                  <a:cubicBezTo>
                    <a:pt x="2671" y="1316"/>
                    <a:pt x="2663" y="1311"/>
                    <a:pt x="2654" y="1311"/>
                  </a:cubicBezTo>
                  <a:cubicBezTo>
                    <a:pt x="2654" y="1311"/>
                    <a:pt x="2654" y="1311"/>
                    <a:pt x="2654" y="1311"/>
                  </a:cubicBezTo>
                  <a:moveTo>
                    <a:pt x="2701" y="1311"/>
                  </a:moveTo>
                  <a:cubicBezTo>
                    <a:pt x="2692" y="1311"/>
                    <a:pt x="2685" y="1316"/>
                    <a:pt x="2686" y="1322"/>
                  </a:cubicBezTo>
                  <a:cubicBezTo>
                    <a:pt x="2686" y="1327"/>
                    <a:pt x="2694" y="1332"/>
                    <a:pt x="2703" y="1332"/>
                  </a:cubicBezTo>
                  <a:cubicBezTo>
                    <a:pt x="2712" y="1332"/>
                    <a:pt x="2719" y="1327"/>
                    <a:pt x="2719" y="1322"/>
                  </a:cubicBezTo>
                  <a:cubicBezTo>
                    <a:pt x="2718" y="1316"/>
                    <a:pt x="2710" y="1311"/>
                    <a:pt x="2701" y="1311"/>
                  </a:cubicBezTo>
                  <a:cubicBezTo>
                    <a:pt x="2701" y="1311"/>
                    <a:pt x="2701" y="1311"/>
                    <a:pt x="2701" y="1311"/>
                  </a:cubicBezTo>
                  <a:moveTo>
                    <a:pt x="2746" y="1311"/>
                  </a:moveTo>
                  <a:cubicBezTo>
                    <a:pt x="2737" y="1311"/>
                    <a:pt x="2730" y="1316"/>
                    <a:pt x="2731" y="1321"/>
                  </a:cubicBezTo>
                  <a:cubicBezTo>
                    <a:pt x="2731" y="1327"/>
                    <a:pt x="2739" y="1332"/>
                    <a:pt x="2748" y="1332"/>
                  </a:cubicBezTo>
                  <a:cubicBezTo>
                    <a:pt x="2757" y="1332"/>
                    <a:pt x="2764" y="1327"/>
                    <a:pt x="2764" y="1321"/>
                  </a:cubicBezTo>
                  <a:cubicBezTo>
                    <a:pt x="2763" y="1316"/>
                    <a:pt x="2755" y="1311"/>
                    <a:pt x="2746" y="1311"/>
                  </a:cubicBezTo>
                  <a:cubicBezTo>
                    <a:pt x="2746" y="1311"/>
                    <a:pt x="2746" y="1311"/>
                    <a:pt x="2746" y="1311"/>
                  </a:cubicBezTo>
                  <a:moveTo>
                    <a:pt x="4751" y="1303"/>
                  </a:moveTo>
                  <a:cubicBezTo>
                    <a:pt x="4742" y="1303"/>
                    <a:pt x="4738" y="1308"/>
                    <a:pt x="4742" y="1314"/>
                  </a:cubicBezTo>
                  <a:cubicBezTo>
                    <a:pt x="4746" y="1319"/>
                    <a:pt x="4756" y="1324"/>
                    <a:pt x="4765" y="1324"/>
                  </a:cubicBezTo>
                  <a:cubicBezTo>
                    <a:pt x="4775" y="1324"/>
                    <a:pt x="4778" y="1319"/>
                    <a:pt x="4774" y="1313"/>
                  </a:cubicBezTo>
                  <a:cubicBezTo>
                    <a:pt x="4770" y="1308"/>
                    <a:pt x="4760" y="1303"/>
                    <a:pt x="4751" y="1303"/>
                  </a:cubicBezTo>
                  <a:cubicBezTo>
                    <a:pt x="4751" y="1303"/>
                    <a:pt x="4751" y="1303"/>
                    <a:pt x="4751" y="1303"/>
                  </a:cubicBezTo>
                  <a:moveTo>
                    <a:pt x="4798" y="1303"/>
                  </a:moveTo>
                  <a:cubicBezTo>
                    <a:pt x="4789" y="1303"/>
                    <a:pt x="4785" y="1308"/>
                    <a:pt x="4789" y="1313"/>
                  </a:cubicBezTo>
                  <a:cubicBezTo>
                    <a:pt x="4793" y="1319"/>
                    <a:pt x="4804" y="1324"/>
                    <a:pt x="4813" y="1324"/>
                  </a:cubicBezTo>
                  <a:cubicBezTo>
                    <a:pt x="4822" y="1324"/>
                    <a:pt x="4826" y="1319"/>
                    <a:pt x="4822" y="1313"/>
                  </a:cubicBezTo>
                  <a:cubicBezTo>
                    <a:pt x="4817" y="1308"/>
                    <a:pt x="4807" y="1303"/>
                    <a:pt x="4798" y="1303"/>
                  </a:cubicBezTo>
                  <a:cubicBezTo>
                    <a:pt x="4798" y="1303"/>
                    <a:pt x="4798" y="1303"/>
                    <a:pt x="4798" y="1303"/>
                  </a:cubicBezTo>
                  <a:moveTo>
                    <a:pt x="4941" y="1303"/>
                  </a:moveTo>
                  <a:cubicBezTo>
                    <a:pt x="4932" y="1303"/>
                    <a:pt x="4928" y="1307"/>
                    <a:pt x="4932" y="1313"/>
                  </a:cubicBezTo>
                  <a:cubicBezTo>
                    <a:pt x="4937" y="1319"/>
                    <a:pt x="4948" y="1323"/>
                    <a:pt x="4957" y="1323"/>
                  </a:cubicBezTo>
                  <a:cubicBezTo>
                    <a:pt x="4966" y="1323"/>
                    <a:pt x="4969" y="1319"/>
                    <a:pt x="4965" y="1313"/>
                  </a:cubicBezTo>
                  <a:cubicBezTo>
                    <a:pt x="4961" y="1307"/>
                    <a:pt x="4950" y="1303"/>
                    <a:pt x="4941" y="1303"/>
                  </a:cubicBezTo>
                  <a:cubicBezTo>
                    <a:pt x="4941" y="1303"/>
                    <a:pt x="4941" y="1303"/>
                    <a:pt x="4941" y="1303"/>
                  </a:cubicBezTo>
                  <a:moveTo>
                    <a:pt x="248" y="1285"/>
                  </a:moveTo>
                  <a:cubicBezTo>
                    <a:pt x="239" y="1285"/>
                    <a:pt x="228" y="1289"/>
                    <a:pt x="225" y="1295"/>
                  </a:cubicBezTo>
                  <a:cubicBezTo>
                    <a:pt x="221" y="1300"/>
                    <a:pt x="225" y="1305"/>
                    <a:pt x="234" y="1305"/>
                  </a:cubicBezTo>
                  <a:cubicBezTo>
                    <a:pt x="243" y="1305"/>
                    <a:pt x="253" y="1300"/>
                    <a:pt x="257" y="1295"/>
                  </a:cubicBezTo>
                  <a:cubicBezTo>
                    <a:pt x="261" y="1289"/>
                    <a:pt x="257" y="1285"/>
                    <a:pt x="248" y="1285"/>
                  </a:cubicBezTo>
                  <a:cubicBezTo>
                    <a:pt x="248" y="1285"/>
                    <a:pt x="248" y="1285"/>
                    <a:pt x="248" y="1285"/>
                  </a:cubicBezTo>
                  <a:moveTo>
                    <a:pt x="294" y="1285"/>
                  </a:moveTo>
                  <a:cubicBezTo>
                    <a:pt x="285" y="1285"/>
                    <a:pt x="275" y="1289"/>
                    <a:pt x="271" y="1295"/>
                  </a:cubicBezTo>
                  <a:cubicBezTo>
                    <a:pt x="267" y="1300"/>
                    <a:pt x="271" y="1305"/>
                    <a:pt x="280" y="1305"/>
                  </a:cubicBezTo>
                  <a:cubicBezTo>
                    <a:pt x="289" y="1305"/>
                    <a:pt x="300" y="1300"/>
                    <a:pt x="303" y="1295"/>
                  </a:cubicBezTo>
                  <a:cubicBezTo>
                    <a:pt x="307" y="1289"/>
                    <a:pt x="303" y="1285"/>
                    <a:pt x="294" y="1285"/>
                  </a:cubicBezTo>
                  <a:cubicBezTo>
                    <a:pt x="294" y="1285"/>
                    <a:pt x="294" y="1285"/>
                    <a:pt x="294" y="1285"/>
                  </a:cubicBezTo>
                  <a:moveTo>
                    <a:pt x="340" y="1284"/>
                  </a:moveTo>
                  <a:cubicBezTo>
                    <a:pt x="331" y="1284"/>
                    <a:pt x="321" y="1289"/>
                    <a:pt x="317" y="1295"/>
                  </a:cubicBezTo>
                  <a:cubicBezTo>
                    <a:pt x="313" y="1300"/>
                    <a:pt x="317" y="1305"/>
                    <a:pt x="326" y="1305"/>
                  </a:cubicBezTo>
                  <a:cubicBezTo>
                    <a:pt x="335" y="1305"/>
                    <a:pt x="346" y="1300"/>
                    <a:pt x="350" y="1295"/>
                  </a:cubicBezTo>
                  <a:cubicBezTo>
                    <a:pt x="353" y="1289"/>
                    <a:pt x="349" y="1284"/>
                    <a:pt x="340" y="1284"/>
                  </a:cubicBezTo>
                  <a:cubicBezTo>
                    <a:pt x="340" y="1284"/>
                    <a:pt x="340" y="1284"/>
                    <a:pt x="340" y="1284"/>
                  </a:cubicBezTo>
                  <a:moveTo>
                    <a:pt x="387" y="1284"/>
                  </a:moveTo>
                  <a:cubicBezTo>
                    <a:pt x="378" y="1284"/>
                    <a:pt x="367" y="1289"/>
                    <a:pt x="364" y="1295"/>
                  </a:cubicBezTo>
                  <a:cubicBezTo>
                    <a:pt x="360" y="1300"/>
                    <a:pt x="364" y="1305"/>
                    <a:pt x="373" y="1305"/>
                  </a:cubicBezTo>
                  <a:cubicBezTo>
                    <a:pt x="382" y="1305"/>
                    <a:pt x="392" y="1300"/>
                    <a:pt x="396" y="1294"/>
                  </a:cubicBezTo>
                  <a:cubicBezTo>
                    <a:pt x="400" y="1289"/>
                    <a:pt x="395" y="1284"/>
                    <a:pt x="387" y="1284"/>
                  </a:cubicBezTo>
                  <a:cubicBezTo>
                    <a:pt x="387" y="1284"/>
                    <a:pt x="387" y="1284"/>
                    <a:pt x="387" y="1284"/>
                  </a:cubicBezTo>
                  <a:moveTo>
                    <a:pt x="434" y="1284"/>
                  </a:moveTo>
                  <a:cubicBezTo>
                    <a:pt x="425" y="1284"/>
                    <a:pt x="415" y="1289"/>
                    <a:pt x="411" y="1294"/>
                  </a:cubicBezTo>
                  <a:cubicBezTo>
                    <a:pt x="408" y="1300"/>
                    <a:pt x="412" y="1305"/>
                    <a:pt x="421" y="1305"/>
                  </a:cubicBezTo>
                  <a:cubicBezTo>
                    <a:pt x="430" y="1305"/>
                    <a:pt x="440" y="1300"/>
                    <a:pt x="444" y="1294"/>
                  </a:cubicBezTo>
                  <a:cubicBezTo>
                    <a:pt x="447" y="1289"/>
                    <a:pt x="443" y="1284"/>
                    <a:pt x="434" y="1284"/>
                  </a:cubicBezTo>
                  <a:cubicBezTo>
                    <a:pt x="434" y="1284"/>
                    <a:pt x="434" y="1284"/>
                    <a:pt x="434" y="1284"/>
                  </a:cubicBezTo>
                  <a:moveTo>
                    <a:pt x="480" y="1284"/>
                  </a:moveTo>
                  <a:cubicBezTo>
                    <a:pt x="471" y="1284"/>
                    <a:pt x="461" y="1289"/>
                    <a:pt x="458" y="1294"/>
                  </a:cubicBezTo>
                  <a:cubicBezTo>
                    <a:pt x="454" y="1300"/>
                    <a:pt x="458" y="1304"/>
                    <a:pt x="467" y="1304"/>
                  </a:cubicBezTo>
                  <a:cubicBezTo>
                    <a:pt x="476" y="1304"/>
                    <a:pt x="487" y="1300"/>
                    <a:pt x="490" y="1294"/>
                  </a:cubicBezTo>
                  <a:cubicBezTo>
                    <a:pt x="494" y="1289"/>
                    <a:pt x="489" y="1284"/>
                    <a:pt x="480" y="1284"/>
                  </a:cubicBezTo>
                  <a:cubicBezTo>
                    <a:pt x="480" y="1284"/>
                    <a:pt x="480" y="1284"/>
                    <a:pt x="480" y="1284"/>
                  </a:cubicBezTo>
                  <a:moveTo>
                    <a:pt x="527" y="1284"/>
                  </a:moveTo>
                  <a:cubicBezTo>
                    <a:pt x="518" y="1284"/>
                    <a:pt x="508" y="1289"/>
                    <a:pt x="504" y="1294"/>
                  </a:cubicBezTo>
                  <a:cubicBezTo>
                    <a:pt x="501" y="1300"/>
                    <a:pt x="505" y="1304"/>
                    <a:pt x="514" y="1304"/>
                  </a:cubicBezTo>
                  <a:cubicBezTo>
                    <a:pt x="523" y="1304"/>
                    <a:pt x="533" y="1300"/>
                    <a:pt x="537" y="1294"/>
                  </a:cubicBezTo>
                  <a:cubicBezTo>
                    <a:pt x="540" y="1289"/>
                    <a:pt x="536" y="1284"/>
                    <a:pt x="527" y="1284"/>
                  </a:cubicBezTo>
                  <a:cubicBezTo>
                    <a:pt x="527" y="1284"/>
                    <a:pt x="527" y="1284"/>
                    <a:pt x="527" y="1284"/>
                  </a:cubicBezTo>
                  <a:moveTo>
                    <a:pt x="573" y="1284"/>
                  </a:moveTo>
                  <a:cubicBezTo>
                    <a:pt x="564" y="1284"/>
                    <a:pt x="554" y="1289"/>
                    <a:pt x="551" y="1294"/>
                  </a:cubicBezTo>
                  <a:cubicBezTo>
                    <a:pt x="548" y="1300"/>
                    <a:pt x="552" y="1304"/>
                    <a:pt x="561" y="1304"/>
                  </a:cubicBezTo>
                  <a:cubicBezTo>
                    <a:pt x="570" y="1304"/>
                    <a:pt x="580" y="1300"/>
                    <a:pt x="584" y="1294"/>
                  </a:cubicBezTo>
                  <a:cubicBezTo>
                    <a:pt x="587" y="1288"/>
                    <a:pt x="582" y="1284"/>
                    <a:pt x="573" y="1284"/>
                  </a:cubicBezTo>
                  <a:cubicBezTo>
                    <a:pt x="573" y="1284"/>
                    <a:pt x="573" y="1284"/>
                    <a:pt x="573" y="1284"/>
                  </a:cubicBezTo>
                  <a:moveTo>
                    <a:pt x="619" y="1284"/>
                  </a:moveTo>
                  <a:cubicBezTo>
                    <a:pt x="610" y="1284"/>
                    <a:pt x="600" y="1288"/>
                    <a:pt x="597" y="1294"/>
                  </a:cubicBezTo>
                  <a:cubicBezTo>
                    <a:pt x="594" y="1300"/>
                    <a:pt x="598" y="1304"/>
                    <a:pt x="607" y="1304"/>
                  </a:cubicBezTo>
                  <a:cubicBezTo>
                    <a:pt x="616" y="1304"/>
                    <a:pt x="626" y="1300"/>
                    <a:pt x="630" y="1294"/>
                  </a:cubicBezTo>
                  <a:cubicBezTo>
                    <a:pt x="633" y="1288"/>
                    <a:pt x="628" y="1284"/>
                    <a:pt x="619" y="1284"/>
                  </a:cubicBezTo>
                  <a:cubicBezTo>
                    <a:pt x="619" y="1284"/>
                    <a:pt x="619" y="1284"/>
                    <a:pt x="619" y="1284"/>
                  </a:cubicBezTo>
                  <a:moveTo>
                    <a:pt x="666" y="1284"/>
                  </a:moveTo>
                  <a:cubicBezTo>
                    <a:pt x="657" y="1284"/>
                    <a:pt x="647" y="1288"/>
                    <a:pt x="644" y="1294"/>
                  </a:cubicBezTo>
                  <a:cubicBezTo>
                    <a:pt x="640" y="1300"/>
                    <a:pt x="645" y="1304"/>
                    <a:pt x="654" y="1304"/>
                  </a:cubicBezTo>
                  <a:cubicBezTo>
                    <a:pt x="663" y="1304"/>
                    <a:pt x="673" y="1299"/>
                    <a:pt x="676" y="1294"/>
                  </a:cubicBezTo>
                  <a:cubicBezTo>
                    <a:pt x="679" y="1288"/>
                    <a:pt x="675" y="1284"/>
                    <a:pt x="666" y="1284"/>
                  </a:cubicBezTo>
                  <a:cubicBezTo>
                    <a:pt x="666" y="1284"/>
                    <a:pt x="666" y="1284"/>
                    <a:pt x="666" y="1284"/>
                  </a:cubicBezTo>
                  <a:moveTo>
                    <a:pt x="712" y="1284"/>
                  </a:moveTo>
                  <a:cubicBezTo>
                    <a:pt x="703" y="1284"/>
                    <a:pt x="693" y="1288"/>
                    <a:pt x="690" y="1294"/>
                  </a:cubicBezTo>
                  <a:cubicBezTo>
                    <a:pt x="686" y="1299"/>
                    <a:pt x="691" y="1304"/>
                    <a:pt x="700" y="1304"/>
                  </a:cubicBezTo>
                  <a:cubicBezTo>
                    <a:pt x="709" y="1304"/>
                    <a:pt x="719" y="1299"/>
                    <a:pt x="722" y="1294"/>
                  </a:cubicBezTo>
                  <a:cubicBezTo>
                    <a:pt x="725" y="1288"/>
                    <a:pt x="721" y="1284"/>
                    <a:pt x="712" y="1284"/>
                  </a:cubicBezTo>
                  <a:cubicBezTo>
                    <a:pt x="712" y="1284"/>
                    <a:pt x="712" y="1284"/>
                    <a:pt x="712" y="1284"/>
                  </a:cubicBezTo>
                  <a:moveTo>
                    <a:pt x="758" y="1283"/>
                  </a:moveTo>
                  <a:cubicBezTo>
                    <a:pt x="749" y="1284"/>
                    <a:pt x="739" y="1288"/>
                    <a:pt x="736" y="1294"/>
                  </a:cubicBezTo>
                  <a:cubicBezTo>
                    <a:pt x="733" y="1299"/>
                    <a:pt x="738" y="1304"/>
                    <a:pt x="747" y="1304"/>
                  </a:cubicBezTo>
                  <a:cubicBezTo>
                    <a:pt x="756" y="1304"/>
                    <a:pt x="766" y="1299"/>
                    <a:pt x="769" y="1294"/>
                  </a:cubicBezTo>
                  <a:cubicBezTo>
                    <a:pt x="772" y="1288"/>
                    <a:pt x="767" y="1283"/>
                    <a:pt x="758" y="1283"/>
                  </a:cubicBezTo>
                  <a:cubicBezTo>
                    <a:pt x="758" y="1283"/>
                    <a:pt x="758" y="1283"/>
                    <a:pt x="758" y="1283"/>
                  </a:cubicBezTo>
                  <a:moveTo>
                    <a:pt x="805" y="1283"/>
                  </a:moveTo>
                  <a:cubicBezTo>
                    <a:pt x="796" y="1283"/>
                    <a:pt x="786" y="1288"/>
                    <a:pt x="783" y="1294"/>
                  </a:cubicBezTo>
                  <a:cubicBezTo>
                    <a:pt x="780" y="1299"/>
                    <a:pt x="785" y="1304"/>
                    <a:pt x="794" y="1304"/>
                  </a:cubicBezTo>
                  <a:cubicBezTo>
                    <a:pt x="803" y="1304"/>
                    <a:pt x="813" y="1299"/>
                    <a:pt x="816" y="1294"/>
                  </a:cubicBezTo>
                  <a:cubicBezTo>
                    <a:pt x="818" y="1288"/>
                    <a:pt x="814" y="1283"/>
                    <a:pt x="805" y="1283"/>
                  </a:cubicBezTo>
                  <a:cubicBezTo>
                    <a:pt x="805" y="1283"/>
                    <a:pt x="805" y="1283"/>
                    <a:pt x="805" y="1283"/>
                  </a:cubicBezTo>
                  <a:moveTo>
                    <a:pt x="851" y="1283"/>
                  </a:moveTo>
                  <a:cubicBezTo>
                    <a:pt x="842" y="1283"/>
                    <a:pt x="832" y="1288"/>
                    <a:pt x="829" y="1293"/>
                  </a:cubicBezTo>
                  <a:cubicBezTo>
                    <a:pt x="826" y="1299"/>
                    <a:pt x="831" y="1304"/>
                    <a:pt x="840" y="1304"/>
                  </a:cubicBezTo>
                  <a:cubicBezTo>
                    <a:pt x="849" y="1304"/>
                    <a:pt x="859" y="1299"/>
                    <a:pt x="862" y="1293"/>
                  </a:cubicBezTo>
                  <a:cubicBezTo>
                    <a:pt x="865" y="1288"/>
                    <a:pt x="860" y="1283"/>
                    <a:pt x="851" y="1283"/>
                  </a:cubicBezTo>
                  <a:cubicBezTo>
                    <a:pt x="851" y="1283"/>
                    <a:pt x="851" y="1283"/>
                    <a:pt x="851" y="1283"/>
                  </a:cubicBezTo>
                  <a:moveTo>
                    <a:pt x="897" y="1283"/>
                  </a:moveTo>
                  <a:cubicBezTo>
                    <a:pt x="888" y="1283"/>
                    <a:pt x="878" y="1288"/>
                    <a:pt x="876" y="1293"/>
                  </a:cubicBezTo>
                  <a:cubicBezTo>
                    <a:pt x="873" y="1299"/>
                    <a:pt x="878" y="1304"/>
                    <a:pt x="887" y="1303"/>
                  </a:cubicBezTo>
                  <a:cubicBezTo>
                    <a:pt x="896" y="1303"/>
                    <a:pt x="905" y="1299"/>
                    <a:pt x="908" y="1293"/>
                  </a:cubicBezTo>
                  <a:cubicBezTo>
                    <a:pt x="911" y="1288"/>
                    <a:pt x="906" y="1283"/>
                    <a:pt x="897" y="1283"/>
                  </a:cubicBezTo>
                  <a:cubicBezTo>
                    <a:pt x="897" y="1283"/>
                    <a:pt x="897" y="1283"/>
                    <a:pt x="897" y="1283"/>
                  </a:cubicBezTo>
                  <a:moveTo>
                    <a:pt x="943" y="1283"/>
                  </a:moveTo>
                  <a:cubicBezTo>
                    <a:pt x="934" y="1283"/>
                    <a:pt x="924" y="1288"/>
                    <a:pt x="922" y="1293"/>
                  </a:cubicBezTo>
                  <a:cubicBezTo>
                    <a:pt x="919" y="1299"/>
                    <a:pt x="924" y="1303"/>
                    <a:pt x="933" y="1303"/>
                  </a:cubicBezTo>
                  <a:cubicBezTo>
                    <a:pt x="942" y="1303"/>
                    <a:pt x="951" y="1299"/>
                    <a:pt x="954" y="1293"/>
                  </a:cubicBezTo>
                  <a:cubicBezTo>
                    <a:pt x="957" y="1288"/>
                    <a:pt x="952" y="1283"/>
                    <a:pt x="943" y="1283"/>
                  </a:cubicBezTo>
                  <a:cubicBezTo>
                    <a:pt x="943" y="1283"/>
                    <a:pt x="943" y="1283"/>
                    <a:pt x="943" y="1283"/>
                  </a:cubicBezTo>
                  <a:moveTo>
                    <a:pt x="989" y="1283"/>
                  </a:moveTo>
                  <a:cubicBezTo>
                    <a:pt x="980" y="1283"/>
                    <a:pt x="971" y="1288"/>
                    <a:pt x="968" y="1293"/>
                  </a:cubicBezTo>
                  <a:cubicBezTo>
                    <a:pt x="966" y="1299"/>
                    <a:pt x="971" y="1303"/>
                    <a:pt x="980" y="1303"/>
                  </a:cubicBezTo>
                  <a:cubicBezTo>
                    <a:pt x="989" y="1303"/>
                    <a:pt x="998" y="1299"/>
                    <a:pt x="1001" y="1293"/>
                  </a:cubicBezTo>
                  <a:cubicBezTo>
                    <a:pt x="1003" y="1287"/>
                    <a:pt x="998" y="1283"/>
                    <a:pt x="989" y="1283"/>
                  </a:cubicBezTo>
                  <a:cubicBezTo>
                    <a:pt x="989" y="1283"/>
                    <a:pt x="989" y="1283"/>
                    <a:pt x="989" y="1283"/>
                  </a:cubicBezTo>
                  <a:moveTo>
                    <a:pt x="2190" y="1283"/>
                  </a:moveTo>
                  <a:cubicBezTo>
                    <a:pt x="2181" y="1283"/>
                    <a:pt x="2173" y="1288"/>
                    <a:pt x="2173" y="1293"/>
                  </a:cubicBezTo>
                  <a:cubicBezTo>
                    <a:pt x="2172" y="1299"/>
                    <a:pt x="2179" y="1303"/>
                    <a:pt x="2188" y="1303"/>
                  </a:cubicBezTo>
                  <a:cubicBezTo>
                    <a:pt x="2197" y="1303"/>
                    <a:pt x="2205" y="1299"/>
                    <a:pt x="2205" y="1293"/>
                  </a:cubicBezTo>
                  <a:cubicBezTo>
                    <a:pt x="2205" y="1287"/>
                    <a:pt x="2199" y="1283"/>
                    <a:pt x="2190" y="1283"/>
                  </a:cubicBezTo>
                  <a:cubicBezTo>
                    <a:pt x="2190" y="1283"/>
                    <a:pt x="2190" y="1283"/>
                    <a:pt x="2190" y="1283"/>
                  </a:cubicBezTo>
                  <a:moveTo>
                    <a:pt x="1036" y="1283"/>
                  </a:moveTo>
                  <a:cubicBezTo>
                    <a:pt x="1027" y="1283"/>
                    <a:pt x="1018" y="1287"/>
                    <a:pt x="1015" y="1293"/>
                  </a:cubicBezTo>
                  <a:cubicBezTo>
                    <a:pt x="1013" y="1299"/>
                    <a:pt x="1018" y="1303"/>
                    <a:pt x="1027" y="1303"/>
                  </a:cubicBezTo>
                  <a:cubicBezTo>
                    <a:pt x="1036" y="1303"/>
                    <a:pt x="1045" y="1299"/>
                    <a:pt x="1048" y="1293"/>
                  </a:cubicBezTo>
                  <a:cubicBezTo>
                    <a:pt x="1050" y="1287"/>
                    <a:pt x="1045" y="1283"/>
                    <a:pt x="1036" y="1283"/>
                  </a:cubicBezTo>
                  <a:cubicBezTo>
                    <a:pt x="1036" y="1283"/>
                    <a:pt x="1036" y="1283"/>
                    <a:pt x="1036" y="1283"/>
                  </a:cubicBezTo>
                  <a:moveTo>
                    <a:pt x="2236" y="1283"/>
                  </a:moveTo>
                  <a:cubicBezTo>
                    <a:pt x="2227" y="1283"/>
                    <a:pt x="2219" y="1287"/>
                    <a:pt x="2219" y="1293"/>
                  </a:cubicBezTo>
                  <a:cubicBezTo>
                    <a:pt x="2218" y="1299"/>
                    <a:pt x="2225" y="1303"/>
                    <a:pt x="2234" y="1303"/>
                  </a:cubicBezTo>
                  <a:cubicBezTo>
                    <a:pt x="2243" y="1303"/>
                    <a:pt x="2251" y="1299"/>
                    <a:pt x="2251" y="1293"/>
                  </a:cubicBezTo>
                  <a:cubicBezTo>
                    <a:pt x="2251" y="1287"/>
                    <a:pt x="2245" y="1283"/>
                    <a:pt x="2236" y="1283"/>
                  </a:cubicBezTo>
                  <a:cubicBezTo>
                    <a:pt x="2236" y="1283"/>
                    <a:pt x="2236" y="1283"/>
                    <a:pt x="2236" y="1283"/>
                  </a:cubicBezTo>
                  <a:moveTo>
                    <a:pt x="1078" y="1283"/>
                  </a:moveTo>
                  <a:cubicBezTo>
                    <a:pt x="1069" y="1283"/>
                    <a:pt x="1060" y="1287"/>
                    <a:pt x="1057" y="1293"/>
                  </a:cubicBezTo>
                  <a:cubicBezTo>
                    <a:pt x="1055" y="1299"/>
                    <a:pt x="1060" y="1303"/>
                    <a:pt x="1069" y="1303"/>
                  </a:cubicBezTo>
                  <a:cubicBezTo>
                    <a:pt x="1078" y="1303"/>
                    <a:pt x="1087" y="1299"/>
                    <a:pt x="1090" y="1293"/>
                  </a:cubicBezTo>
                  <a:cubicBezTo>
                    <a:pt x="1092" y="1287"/>
                    <a:pt x="1087" y="1283"/>
                    <a:pt x="1078" y="1283"/>
                  </a:cubicBezTo>
                  <a:cubicBezTo>
                    <a:pt x="1078" y="1283"/>
                    <a:pt x="1078" y="1283"/>
                    <a:pt x="1078" y="1283"/>
                  </a:cubicBezTo>
                  <a:moveTo>
                    <a:pt x="2282" y="1283"/>
                  </a:moveTo>
                  <a:cubicBezTo>
                    <a:pt x="2273" y="1283"/>
                    <a:pt x="2266" y="1287"/>
                    <a:pt x="2265" y="1293"/>
                  </a:cubicBezTo>
                  <a:cubicBezTo>
                    <a:pt x="2265" y="1299"/>
                    <a:pt x="2272" y="1303"/>
                    <a:pt x="2281" y="1303"/>
                  </a:cubicBezTo>
                  <a:cubicBezTo>
                    <a:pt x="2290" y="1303"/>
                    <a:pt x="2297" y="1299"/>
                    <a:pt x="2298" y="1293"/>
                  </a:cubicBezTo>
                  <a:cubicBezTo>
                    <a:pt x="2298" y="1287"/>
                    <a:pt x="2291" y="1283"/>
                    <a:pt x="2282" y="1283"/>
                  </a:cubicBezTo>
                  <a:cubicBezTo>
                    <a:pt x="2282" y="1283"/>
                    <a:pt x="2282" y="1283"/>
                    <a:pt x="2282" y="1283"/>
                  </a:cubicBezTo>
                  <a:moveTo>
                    <a:pt x="1128" y="1283"/>
                  </a:moveTo>
                  <a:cubicBezTo>
                    <a:pt x="1119" y="1283"/>
                    <a:pt x="1110" y="1287"/>
                    <a:pt x="1107" y="1293"/>
                  </a:cubicBezTo>
                  <a:cubicBezTo>
                    <a:pt x="1105" y="1298"/>
                    <a:pt x="1110" y="1303"/>
                    <a:pt x="1119" y="1303"/>
                  </a:cubicBezTo>
                  <a:cubicBezTo>
                    <a:pt x="1128" y="1303"/>
                    <a:pt x="1138" y="1298"/>
                    <a:pt x="1140" y="1293"/>
                  </a:cubicBezTo>
                  <a:cubicBezTo>
                    <a:pt x="1142" y="1287"/>
                    <a:pt x="1137" y="1283"/>
                    <a:pt x="1128" y="1283"/>
                  </a:cubicBezTo>
                  <a:cubicBezTo>
                    <a:pt x="1128" y="1283"/>
                    <a:pt x="1128" y="1283"/>
                    <a:pt x="1128" y="1283"/>
                  </a:cubicBezTo>
                  <a:moveTo>
                    <a:pt x="2328" y="1283"/>
                  </a:moveTo>
                  <a:cubicBezTo>
                    <a:pt x="2319" y="1283"/>
                    <a:pt x="2311" y="1287"/>
                    <a:pt x="2311" y="1293"/>
                  </a:cubicBezTo>
                  <a:cubicBezTo>
                    <a:pt x="2311" y="1299"/>
                    <a:pt x="2318" y="1303"/>
                    <a:pt x="2327" y="1303"/>
                  </a:cubicBezTo>
                  <a:cubicBezTo>
                    <a:pt x="2336" y="1303"/>
                    <a:pt x="2343" y="1298"/>
                    <a:pt x="2343" y="1293"/>
                  </a:cubicBezTo>
                  <a:cubicBezTo>
                    <a:pt x="2344" y="1287"/>
                    <a:pt x="2337" y="1283"/>
                    <a:pt x="2328" y="1283"/>
                  </a:cubicBezTo>
                  <a:cubicBezTo>
                    <a:pt x="2328" y="1283"/>
                    <a:pt x="2328" y="1283"/>
                    <a:pt x="2328" y="1283"/>
                  </a:cubicBezTo>
                  <a:moveTo>
                    <a:pt x="2374" y="1283"/>
                  </a:moveTo>
                  <a:cubicBezTo>
                    <a:pt x="2365" y="1283"/>
                    <a:pt x="2357" y="1287"/>
                    <a:pt x="2357" y="1293"/>
                  </a:cubicBezTo>
                  <a:cubicBezTo>
                    <a:pt x="2357" y="1298"/>
                    <a:pt x="2364" y="1303"/>
                    <a:pt x="2373" y="1303"/>
                  </a:cubicBezTo>
                  <a:cubicBezTo>
                    <a:pt x="2382" y="1303"/>
                    <a:pt x="2389" y="1298"/>
                    <a:pt x="2389" y="1293"/>
                  </a:cubicBezTo>
                  <a:cubicBezTo>
                    <a:pt x="2390" y="1287"/>
                    <a:pt x="2382" y="1283"/>
                    <a:pt x="2374" y="1283"/>
                  </a:cubicBezTo>
                  <a:cubicBezTo>
                    <a:pt x="2374" y="1283"/>
                    <a:pt x="2374" y="1283"/>
                    <a:pt x="2374" y="1283"/>
                  </a:cubicBezTo>
                  <a:moveTo>
                    <a:pt x="2420" y="1282"/>
                  </a:moveTo>
                  <a:cubicBezTo>
                    <a:pt x="2411" y="1282"/>
                    <a:pt x="2404" y="1287"/>
                    <a:pt x="2403" y="1293"/>
                  </a:cubicBezTo>
                  <a:cubicBezTo>
                    <a:pt x="2403" y="1298"/>
                    <a:pt x="2411" y="1303"/>
                    <a:pt x="2420" y="1303"/>
                  </a:cubicBezTo>
                  <a:cubicBezTo>
                    <a:pt x="2429" y="1303"/>
                    <a:pt x="2436" y="1298"/>
                    <a:pt x="2436" y="1293"/>
                  </a:cubicBezTo>
                  <a:cubicBezTo>
                    <a:pt x="2436" y="1287"/>
                    <a:pt x="2429" y="1282"/>
                    <a:pt x="2420" y="1282"/>
                  </a:cubicBezTo>
                  <a:cubicBezTo>
                    <a:pt x="2420" y="1282"/>
                    <a:pt x="2420" y="1282"/>
                    <a:pt x="2420" y="1282"/>
                  </a:cubicBezTo>
                  <a:moveTo>
                    <a:pt x="2468" y="1282"/>
                  </a:moveTo>
                  <a:cubicBezTo>
                    <a:pt x="2459" y="1282"/>
                    <a:pt x="2451" y="1287"/>
                    <a:pt x="2451" y="1293"/>
                  </a:cubicBezTo>
                  <a:cubicBezTo>
                    <a:pt x="2451" y="1298"/>
                    <a:pt x="2459" y="1303"/>
                    <a:pt x="2468" y="1303"/>
                  </a:cubicBezTo>
                  <a:cubicBezTo>
                    <a:pt x="2477" y="1303"/>
                    <a:pt x="2484" y="1298"/>
                    <a:pt x="2484" y="1292"/>
                  </a:cubicBezTo>
                  <a:cubicBezTo>
                    <a:pt x="2484" y="1287"/>
                    <a:pt x="2477" y="1282"/>
                    <a:pt x="2468" y="1282"/>
                  </a:cubicBezTo>
                  <a:cubicBezTo>
                    <a:pt x="2468" y="1282"/>
                    <a:pt x="2468" y="1282"/>
                    <a:pt x="2468" y="1282"/>
                  </a:cubicBezTo>
                  <a:moveTo>
                    <a:pt x="2514" y="1282"/>
                  </a:moveTo>
                  <a:cubicBezTo>
                    <a:pt x="2505" y="1282"/>
                    <a:pt x="2497" y="1287"/>
                    <a:pt x="2497" y="1292"/>
                  </a:cubicBezTo>
                  <a:cubicBezTo>
                    <a:pt x="2498" y="1298"/>
                    <a:pt x="2505" y="1303"/>
                    <a:pt x="2514" y="1303"/>
                  </a:cubicBezTo>
                  <a:cubicBezTo>
                    <a:pt x="2523" y="1303"/>
                    <a:pt x="2530" y="1298"/>
                    <a:pt x="2530" y="1292"/>
                  </a:cubicBezTo>
                  <a:cubicBezTo>
                    <a:pt x="2530" y="1287"/>
                    <a:pt x="2522" y="1282"/>
                    <a:pt x="2514" y="1282"/>
                  </a:cubicBezTo>
                  <a:cubicBezTo>
                    <a:pt x="2514" y="1282"/>
                    <a:pt x="2514" y="1282"/>
                    <a:pt x="2514" y="1282"/>
                  </a:cubicBezTo>
                  <a:moveTo>
                    <a:pt x="2560" y="1282"/>
                  </a:moveTo>
                  <a:cubicBezTo>
                    <a:pt x="2551" y="1282"/>
                    <a:pt x="2544" y="1287"/>
                    <a:pt x="2544" y="1292"/>
                  </a:cubicBezTo>
                  <a:cubicBezTo>
                    <a:pt x="2544" y="1298"/>
                    <a:pt x="2552" y="1303"/>
                    <a:pt x="2560" y="1303"/>
                  </a:cubicBezTo>
                  <a:cubicBezTo>
                    <a:pt x="2569" y="1303"/>
                    <a:pt x="2577" y="1298"/>
                    <a:pt x="2576" y="1292"/>
                  </a:cubicBezTo>
                  <a:cubicBezTo>
                    <a:pt x="2576" y="1287"/>
                    <a:pt x="2569" y="1282"/>
                    <a:pt x="2560" y="1282"/>
                  </a:cubicBezTo>
                  <a:cubicBezTo>
                    <a:pt x="2560" y="1282"/>
                    <a:pt x="2560" y="1282"/>
                    <a:pt x="2560" y="1282"/>
                  </a:cubicBezTo>
                  <a:moveTo>
                    <a:pt x="2607" y="1282"/>
                  </a:moveTo>
                  <a:cubicBezTo>
                    <a:pt x="2598" y="1282"/>
                    <a:pt x="2591" y="1287"/>
                    <a:pt x="2591" y="1292"/>
                  </a:cubicBezTo>
                  <a:cubicBezTo>
                    <a:pt x="2591" y="1298"/>
                    <a:pt x="2599" y="1302"/>
                    <a:pt x="2608" y="1302"/>
                  </a:cubicBezTo>
                  <a:cubicBezTo>
                    <a:pt x="2617" y="1302"/>
                    <a:pt x="2624" y="1298"/>
                    <a:pt x="2623" y="1292"/>
                  </a:cubicBezTo>
                  <a:cubicBezTo>
                    <a:pt x="2623" y="1287"/>
                    <a:pt x="2616" y="1282"/>
                    <a:pt x="2607" y="1282"/>
                  </a:cubicBezTo>
                  <a:cubicBezTo>
                    <a:pt x="2607" y="1282"/>
                    <a:pt x="2607" y="1282"/>
                    <a:pt x="2607" y="1282"/>
                  </a:cubicBezTo>
                  <a:moveTo>
                    <a:pt x="2653" y="1282"/>
                  </a:moveTo>
                  <a:cubicBezTo>
                    <a:pt x="2644" y="1282"/>
                    <a:pt x="2637" y="1286"/>
                    <a:pt x="2637" y="1292"/>
                  </a:cubicBezTo>
                  <a:cubicBezTo>
                    <a:pt x="2637" y="1298"/>
                    <a:pt x="2645" y="1302"/>
                    <a:pt x="2654" y="1302"/>
                  </a:cubicBezTo>
                  <a:cubicBezTo>
                    <a:pt x="2663" y="1302"/>
                    <a:pt x="2670" y="1298"/>
                    <a:pt x="2669" y="1292"/>
                  </a:cubicBezTo>
                  <a:cubicBezTo>
                    <a:pt x="2669" y="1286"/>
                    <a:pt x="2662" y="1282"/>
                    <a:pt x="2653" y="1282"/>
                  </a:cubicBezTo>
                  <a:cubicBezTo>
                    <a:pt x="2653" y="1282"/>
                    <a:pt x="2653" y="1282"/>
                    <a:pt x="2653" y="1282"/>
                  </a:cubicBezTo>
                  <a:moveTo>
                    <a:pt x="2699" y="1282"/>
                  </a:moveTo>
                  <a:cubicBezTo>
                    <a:pt x="2690" y="1282"/>
                    <a:pt x="2683" y="1286"/>
                    <a:pt x="2684" y="1292"/>
                  </a:cubicBezTo>
                  <a:cubicBezTo>
                    <a:pt x="2684" y="1298"/>
                    <a:pt x="2692" y="1302"/>
                    <a:pt x="2701" y="1302"/>
                  </a:cubicBezTo>
                  <a:cubicBezTo>
                    <a:pt x="2710" y="1302"/>
                    <a:pt x="2717" y="1298"/>
                    <a:pt x="2716" y="1292"/>
                  </a:cubicBezTo>
                  <a:cubicBezTo>
                    <a:pt x="2716" y="1286"/>
                    <a:pt x="2708" y="1282"/>
                    <a:pt x="2699" y="1282"/>
                  </a:cubicBezTo>
                  <a:cubicBezTo>
                    <a:pt x="2699" y="1282"/>
                    <a:pt x="2699" y="1282"/>
                    <a:pt x="2699" y="1282"/>
                  </a:cubicBezTo>
                  <a:moveTo>
                    <a:pt x="2744" y="1282"/>
                  </a:moveTo>
                  <a:cubicBezTo>
                    <a:pt x="2735" y="1282"/>
                    <a:pt x="2728" y="1286"/>
                    <a:pt x="2728" y="1292"/>
                  </a:cubicBezTo>
                  <a:cubicBezTo>
                    <a:pt x="2729" y="1298"/>
                    <a:pt x="2737" y="1302"/>
                    <a:pt x="2746" y="1302"/>
                  </a:cubicBezTo>
                  <a:cubicBezTo>
                    <a:pt x="2755" y="1302"/>
                    <a:pt x="2761" y="1298"/>
                    <a:pt x="2761" y="1292"/>
                  </a:cubicBezTo>
                  <a:cubicBezTo>
                    <a:pt x="2760" y="1286"/>
                    <a:pt x="2753" y="1282"/>
                    <a:pt x="2744" y="1282"/>
                  </a:cubicBezTo>
                  <a:cubicBezTo>
                    <a:pt x="2744" y="1282"/>
                    <a:pt x="2744" y="1282"/>
                    <a:pt x="2744" y="1282"/>
                  </a:cubicBezTo>
                  <a:moveTo>
                    <a:pt x="4544" y="1275"/>
                  </a:moveTo>
                  <a:cubicBezTo>
                    <a:pt x="4535" y="1275"/>
                    <a:pt x="4531" y="1280"/>
                    <a:pt x="4534" y="1286"/>
                  </a:cubicBezTo>
                  <a:cubicBezTo>
                    <a:pt x="4538" y="1291"/>
                    <a:pt x="4548" y="1296"/>
                    <a:pt x="4557" y="1296"/>
                  </a:cubicBezTo>
                  <a:cubicBezTo>
                    <a:pt x="4566" y="1296"/>
                    <a:pt x="4571" y="1291"/>
                    <a:pt x="4567" y="1286"/>
                  </a:cubicBezTo>
                  <a:cubicBezTo>
                    <a:pt x="4563" y="1280"/>
                    <a:pt x="4553" y="1275"/>
                    <a:pt x="4544" y="1275"/>
                  </a:cubicBezTo>
                  <a:cubicBezTo>
                    <a:pt x="4544" y="1275"/>
                    <a:pt x="4544" y="1275"/>
                    <a:pt x="4544" y="1275"/>
                  </a:cubicBezTo>
                  <a:moveTo>
                    <a:pt x="268" y="1255"/>
                  </a:moveTo>
                  <a:cubicBezTo>
                    <a:pt x="260" y="1255"/>
                    <a:pt x="249" y="1260"/>
                    <a:pt x="245" y="1266"/>
                  </a:cubicBezTo>
                  <a:cubicBezTo>
                    <a:pt x="241" y="1271"/>
                    <a:pt x="245" y="1276"/>
                    <a:pt x="254" y="1276"/>
                  </a:cubicBezTo>
                  <a:cubicBezTo>
                    <a:pt x="263" y="1276"/>
                    <a:pt x="274" y="1271"/>
                    <a:pt x="277" y="1265"/>
                  </a:cubicBezTo>
                  <a:cubicBezTo>
                    <a:pt x="281" y="1260"/>
                    <a:pt x="277" y="1255"/>
                    <a:pt x="269" y="1255"/>
                  </a:cubicBezTo>
                  <a:cubicBezTo>
                    <a:pt x="268" y="1255"/>
                    <a:pt x="268" y="1255"/>
                    <a:pt x="268" y="1255"/>
                  </a:cubicBezTo>
                  <a:moveTo>
                    <a:pt x="314" y="1255"/>
                  </a:moveTo>
                  <a:cubicBezTo>
                    <a:pt x="305" y="1255"/>
                    <a:pt x="295" y="1260"/>
                    <a:pt x="291" y="1265"/>
                  </a:cubicBezTo>
                  <a:cubicBezTo>
                    <a:pt x="287" y="1271"/>
                    <a:pt x="291" y="1276"/>
                    <a:pt x="300" y="1276"/>
                  </a:cubicBezTo>
                  <a:cubicBezTo>
                    <a:pt x="309" y="1276"/>
                    <a:pt x="320" y="1271"/>
                    <a:pt x="323" y="1265"/>
                  </a:cubicBezTo>
                  <a:cubicBezTo>
                    <a:pt x="327" y="1260"/>
                    <a:pt x="323" y="1255"/>
                    <a:pt x="314" y="1255"/>
                  </a:cubicBezTo>
                  <a:cubicBezTo>
                    <a:pt x="314" y="1255"/>
                    <a:pt x="314" y="1255"/>
                    <a:pt x="314" y="1255"/>
                  </a:cubicBezTo>
                  <a:moveTo>
                    <a:pt x="360" y="1255"/>
                  </a:moveTo>
                  <a:cubicBezTo>
                    <a:pt x="351" y="1255"/>
                    <a:pt x="341" y="1260"/>
                    <a:pt x="337" y="1265"/>
                  </a:cubicBezTo>
                  <a:cubicBezTo>
                    <a:pt x="333" y="1271"/>
                    <a:pt x="337" y="1275"/>
                    <a:pt x="346" y="1275"/>
                  </a:cubicBezTo>
                  <a:cubicBezTo>
                    <a:pt x="355" y="1275"/>
                    <a:pt x="365" y="1271"/>
                    <a:pt x="369" y="1265"/>
                  </a:cubicBezTo>
                  <a:cubicBezTo>
                    <a:pt x="373" y="1260"/>
                    <a:pt x="369" y="1255"/>
                    <a:pt x="360" y="1255"/>
                  </a:cubicBezTo>
                  <a:cubicBezTo>
                    <a:pt x="360" y="1255"/>
                    <a:pt x="360" y="1255"/>
                    <a:pt x="360" y="1255"/>
                  </a:cubicBezTo>
                  <a:moveTo>
                    <a:pt x="406" y="1255"/>
                  </a:moveTo>
                  <a:cubicBezTo>
                    <a:pt x="397" y="1255"/>
                    <a:pt x="387" y="1260"/>
                    <a:pt x="383" y="1265"/>
                  </a:cubicBezTo>
                  <a:cubicBezTo>
                    <a:pt x="379" y="1271"/>
                    <a:pt x="384" y="1275"/>
                    <a:pt x="392" y="1275"/>
                  </a:cubicBezTo>
                  <a:cubicBezTo>
                    <a:pt x="401" y="1275"/>
                    <a:pt x="412" y="1271"/>
                    <a:pt x="415" y="1265"/>
                  </a:cubicBezTo>
                  <a:cubicBezTo>
                    <a:pt x="419" y="1260"/>
                    <a:pt x="415" y="1255"/>
                    <a:pt x="406" y="1255"/>
                  </a:cubicBezTo>
                  <a:cubicBezTo>
                    <a:pt x="406" y="1255"/>
                    <a:pt x="406" y="1255"/>
                    <a:pt x="406" y="1255"/>
                  </a:cubicBezTo>
                  <a:moveTo>
                    <a:pt x="453" y="1255"/>
                  </a:moveTo>
                  <a:cubicBezTo>
                    <a:pt x="444" y="1255"/>
                    <a:pt x="434" y="1260"/>
                    <a:pt x="430" y="1265"/>
                  </a:cubicBezTo>
                  <a:cubicBezTo>
                    <a:pt x="427" y="1271"/>
                    <a:pt x="431" y="1275"/>
                    <a:pt x="440" y="1275"/>
                  </a:cubicBezTo>
                  <a:cubicBezTo>
                    <a:pt x="449" y="1275"/>
                    <a:pt x="459" y="1271"/>
                    <a:pt x="463" y="1265"/>
                  </a:cubicBezTo>
                  <a:cubicBezTo>
                    <a:pt x="466" y="1259"/>
                    <a:pt x="462" y="1255"/>
                    <a:pt x="453" y="1255"/>
                  </a:cubicBezTo>
                  <a:cubicBezTo>
                    <a:pt x="453" y="1255"/>
                    <a:pt x="453" y="1255"/>
                    <a:pt x="453" y="1255"/>
                  </a:cubicBezTo>
                  <a:moveTo>
                    <a:pt x="499" y="1255"/>
                  </a:moveTo>
                  <a:cubicBezTo>
                    <a:pt x="490" y="1255"/>
                    <a:pt x="480" y="1259"/>
                    <a:pt x="476" y="1265"/>
                  </a:cubicBezTo>
                  <a:cubicBezTo>
                    <a:pt x="473" y="1271"/>
                    <a:pt x="477" y="1275"/>
                    <a:pt x="486" y="1275"/>
                  </a:cubicBezTo>
                  <a:cubicBezTo>
                    <a:pt x="495" y="1275"/>
                    <a:pt x="505" y="1271"/>
                    <a:pt x="508" y="1265"/>
                  </a:cubicBezTo>
                  <a:cubicBezTo>
                    <a:pt x="512" y="1259"/>
                    <a:pt x="508" y="1255"/>
                    <a:pt x="499" y="1255"/>
                  </a:cubicBezTo>
                  <a:cubicBezTo>
                    <a:pt x="499" y="1255"/>
                    <a:pt x="499" y="1255"/>
                    <a:pt x="499" y="1255"/>
                  </a:cubicBezTo>
                  <a:moveTo>
                    <a:pt x="545" y="1255"/>
                  </a:moveTo>
                  <a:cubicBezTo>
                    <a:pt x="536" y="1255"/>
                    <a:pt x="526" y="1259"/>
                    <a:pt x="522" y="1265"/>
                  </a:cubicBezTo>
                  <a:cubicBezTo>
                    <a:pt x="519" y="1271"/>
                    <a:pt x="523" y="1275"/>
                    <a:pt x="532" y="1275"/>
                  </a:cubicBezTo>
                  <a:cubicBezTo>
                    <a:pt x="541" y="1275"/>
                    <a:pt x="551" y="1270"/>
                    <a:pt x="554" y="1265"/>
                  </a:cubicBezTo>
                  <a:cubicBezTo>
                    <a:pt x="558" y="1259"/>
                    <a:pt x="553" y="1255"/>
                    <a:pt x="545" y="1255"/>
                  </a:cubicBezTo>
                  <a:cubicBezTo>
                    <a:pt x="545" y="1255"/>
                    <a:pt x="545" y="1255"/>
                    <a:pt x="545" y="1255"/>
                  </a:cubicBezTo>
                  <a:moveTo>
                    <a:pt x="591" y="1255"/>
                  </a:moveTo>
                  <a:cubicBezTo>
                    <a:pt x="582" y="1255"/>
                    <a:pt x="572" y="1259"/>
                    <a:pt x="569" y="1265"/>
                  </a:cubicBezTo>
                  <a:cubicBezTo>
                    <a:pt x="565" y="1270"/>
                    <a:pt x="570" y="1275"/>
                    <a:pt x="579" y="1275"/>
                  </a:cubicBezTo>
                  <a:cubicBezTo>
                    <a:pt x="588" y="1275"/>
                    <a:pt x="598" y="1270"/>
                    <a:pt x="601" y="1265"/>
                  </a:cubicBezTo>
                  <a:cubicBezTo>
                    <a:pt x="604" y="1259"/>
                    <a:pt x="600" y="1255"/>
                    <a:pt x="591" y="1255"/>
                  </a:cubicBezTo>
                  <a:cubicBezTo>
                    <a:pt x="591" y="1255"/>
                    <a:pt x="591" y="1255"/>
                    <a:pt x="591" y="1255"/>
                  </a:cubicBezTo>
                  <a:moveTo>
                    <a:pt x="636" y="1254"/>
                  </a:moveTo>
                  <a:cubicBezTo>
                    <a:pt x="628" y="1255"/>
                    <a:pt x="618" y="1259"/>
                    <a:pt x="614" y="1265"/>
                  </a:cubicBezTo>
                  <a:cubicBezTo>
                    <a:pt x="611" y="1270"/>
                    <a:pt x="616" y="1275"/>
                    <a:pt x="625" y="1275"/>
                  </a:cubicBezTo>
                  <a:cubicBezTo>
                    <a:pt x="634" y="1275"/>
                    <a:pt x="643" y="1270"/>
                    <a:pt x="647" y="1265"/>
                  </a:cubicBezTo>
                  <a:cubicBezTo>
                    <a:pt x="650" y="1259"/>
                    <a:pt x="645" y="1254"/>
                    <a:pt x="636" y="1254"/>
                  </a:cubicBezTo>
                  <a:cubicBezTo>
                    <a:pt x="636" y="1254"/>
                    <a:pt x="636" y="1254"/>
                    <a:pt x="636" y="1254"/>
                  </a:cubicBezTo>
                  <a:moveTo>
                    <a:pt x="682" y="1254"/>
                  </a:moveTo>
                  <a:cubicBezTo>
                    <a:pt x="673" y="1254"/>
                    <a:pt x="664" y="1259"/>
                    <a:pt x="660" y="1265"/>
                  </a:cubicBezTo>
                  <a:cubicBezTo>
                    <a:pt x="657" y="1270"/>
                    <a:pt x="662" y="1275"/>
                    <a:pt x="671" y="1275"/>
                  </a:cubicBezTo>
                  <a:cubicBezTo>
                    <a:pt x="680" y="1275"/>
                    <a:pt x="689" y="1270"/>
                    <a:pt x="693" y="1264"/>
                  </a:cubicBezTo>
                  <a:cubicBezTo>
                    <a:pt x="696" y="1259"/>
                    <a:pt x="691" y="1254"/>
                    <a:pt x="682" y="1254"/>
                  </a:cubicBezTo>
                  <a:cubicBezTo>
                    <a:pt x="682" y="1254"/>
                    <a:pt x="682" y="1254"/>
                    <a:pt x="682" y="1254"/>
                  </a:cubicBezTo>
                  <a:moveTo>
                    <a:pt x="728" y="1254"/>
                  </a:moveTo>
                  <a:cubicBezTo>
                    <a:pt x="719" y="1254"/>
                    <a:pt x="709" y="1259"/>
                    <a:pt x="706" y="1264"/>
                  </a:cubicBezTo>
                  <a:cubicBezTo>
                    <a:pt x="703" y="1270"/>
                    <a:pt x="708" y="1275"/>
                    <a:pt x="717" y="1275"/>
                  </a:cubicBezTo>
                  <a:cubicBezTo>
                    <a:pt x="725" y="1275"/>
                    <a:pt x="735" y="1270"/>
                    <a:pt x="738" y="1264"/>
                  </a:cubicBezTo>
                  <a:cubicBezTo>
                    <a:pt x="741" y="1259"/>
                    <a:pt x="737" y="1254"/>
                    <a:pt x="728" y="1254"/>
                  </a:cubicBezTo>
                  <a:cubicBezTo>
                    <a:pt x="728" y="1254"/>
                    <a:pt x="728" y="1254"/>
                    <a:pt x="728" y="1254"/>
                  </a:cubicBezTo>
                  <a:moveTo>
                    <a:pt x="774" y="1254"/>
                  </a:moveTo>
                  <a:cubicBezTo>
                    <a:pt x="765" y="1254"/>
                    <a:pt x="755" y="1259"/>
                    <a:pt x="752" y="1264"/>
                  </a:cubicBezTo>
                  <a:cubicBezTo>
                    <a:pt x="749" y="1270"/>
                    <a:pt x="754" y="1274"/>
                    <a:pt x="763" y="1274"/>
                  </a:cubicBezTo>
                  <a:cubicBezTo>
                    <a:pt x="772" y="1274"/>
                    <a:pt x="781" y="1270"/>
                    <a:pt x="784" y="1264"/>
                  </a:cubicBezTo>
                  <a:cubicBezTo>
                    <a:pt x="787" y="1259"/>
                    <a:pt x="783" y="1254"/>
                    <a:pt x="774" y="1254"/>
                  </a:cubicBezTo>
                  <a:cubicBezTo>
                    <a:pt x="774" y="1254"/>
                    <a:pt x="774" y="1254"/>
                    <a:pt x="774" y="1254"/>
                  </a:cubicBezTo>
                  <a:moveTo>
                    <a:pt x="820" y="1254"/>
                  </a:moveTo>
                  <a:cubicBezTo>
                    <a:pt x="811" y="1254"/>
                    <a:pt x="802" y="1259"/>
                    <a:pt x="799" y="1264"/>
                  </a:cubicBezTo>
                  <a:cubicBezTo>
                    <a:pt x="796" y="1270"/>
                    <a:pt x="800" y="1274"/>
                    <a:pt x="809" y="1274"/>
                  </a:cubicBezTo>
                  <a:cubicBezTo>
                    <a:pt x="818" y="1274"/>
                    <a:pt x="828" y="1270"/>
                    <a:pt x="831" y="1264"/>
                  </a:cubicBezTo>
                  <a:cubicBezTo>
                    <a:pt x="834" y="1259"/>
                    <a:pt x="829" y="1254"/>
                    <a:pt x="820" y="1254"/>
                  </a:cubicBezTo>
                  <a:cubicBezTo>
                    <a:pt x="820" y="1254"/>
                    <a:pt x="820" y="1254"/>
                    <a:pt x="820" y="1254"/>
                  </a:cubicBezTo>
                  <a:moveTo>
                    <a:pt x="866" y="1254"/>
                  </a:moveTo>
                  <a:cubicBezTo>
                    <a:pt x="857" y="1254"/>
                    <a:pt x="847" y="1258"/>
                    <a:pt x="844" y="1264"/>
                  </a:cubicBezTo>
                  <a:cubicBezTo>
                    <a:pt x="841" y="1270"/>
                    <a:pt x="846" y="1274"/>
                    <a:pt x="855" y="1274"/>
                  </a:cubicBezTo>
                  <a:cubicBezTo>
                    <a:pt x="864" y="1274"/>
                    <a:pt x="874" y="1270"/>
                    <a:pt x="877" y="1264"/>
                  </a:cubicBezTo>
                  <a:cubicBezTo>
                    <a:pt x="879" y="1258"/>
                    <a:pt x="874" y="1254"/>
                    <a:pt x="866" y="1254"/>
                  </a:cubicBezTo>
                  <a:cubicBezTo>
                    <a:pt x="866" y="1254"/>
                    <a:pt x="866" y="1254"/>
                    <a:pt x="866" y="1254"/>
                  </a:cubicBezTo>
                  <a:moveTo>
                    <a:pt x="911" y="1254"/>
                  </a:moveTo>
                  <a:cubicBezTo>
                    <a:pt x="903" y="1254"/>
                    <a:pt x="893" y="1258"/>
                    <a:pt x="890" y="1264"/>
                  </a:cubicBezTo>
                  <a:cubicBezTo>
                    <a:pt x="887" y="1270"/>
                    <a:pt x="892" y="1274"/>
                    <a:pt x="901" y="1274"/>
                  </a:cubicBezTo>
                  <a:cubicBezTo>
                    <a:pt x="910" y="1274"/>
                    <a:pt x="920" y="1270"/>
                    <a:pt x="922" y="1264"/>
                  </a:cubicBezTo>
                  <a:cubicBezTo>
                    <a:pt x="925" y="1258"/>
                    <a:pt x="920" y="1254"/>
                    <a:pt x="911" y="1254"/>
                  </a:cubicBezTo>
                  <a:cubicBezTo>
                    <a:pt x="911" y="1254"/>
                    <a:pt x="911" y="1254"/>
                    <a:pt x="911" y="1254"/>
                  </a:cubicBezTo>
                  <a:moveTo>
                    <a:pt x="957" y="1254"/>
                  </a:moveTo>
                  <a:cubicBezTo>
                    <a:pt x="948" y="1254"/>
                    <a:pt x="939" y="1258"/>
                    <a:pt x="936" y="1264"/>
                  </a:cubicBezTo>
                  <a:cubicBezTo>
                    <a:pt x="933" y="1270"/>
                    <a:pt x="938" y="1274"/>
                    <a:pt x="947" y="1274"/>
                  </a:cubicBezTo>
                  <a:cubicBezTo>
                    <a:pt x="956" y="1274"/>
                    <a:pt x="965" y="1269"/>
                    <a:pt x="968" y="1264"/>
                  </a:cubicBezTo>
                  <a:cubicBezTo>
                    <a:pt x="971" y="1258"/>
                    <a:pt x="966" y="1254"/>
                    <a:pt x="957" y="1254"/>
                  </a:cubicBezTo>
                  <a:cubicBezTo>
                    <a:pt x="957" y="1254"/>
                    <a:pt x="957" y="1254"/>
                    <a:pt x="957" y="1254"/>
                  </a:cubicBezTo>
                  <a:moveTo>
                    <a:pt x="1003" y="1254"/>
                  </a:moveTo>
                  <a:cubicBezTo>
                    <a:pt x="994" y="1254"/>
                    <a:pt x="985" y="1258"/>
                    <a:pt x="982" y="1264"/>
                  </a:cubicBezTo>
                  <a:cubicBezTo>
                    <a:pt x="979" y="1269"/>
                    <a:pt x="984" y="1274"/>
                    <a:pt x="993" y="1274"/>
                  </a:cubicBezTo>
                  <a:cubicBezTo>
                    <a:pt x="1002" y="1274"/>
                    <a:pt x="1012" y="1269"/>
                    <a:pt x="1014" y="1264"/>
                  </a:cubicBezTo>
                  <a:cubicBezTo>
                    <a:pt x="1017" y="1258"/>
                    <a:pt x="1012" y="1254"/>
                    <a:pt x="1003" y="1254"/>
                  </a:cubicBezTo>
                  <a:cubicBezTo>
                    <a:pt x="1003" y="1254"/>
                    <a:pt x="1003" y="1254"/>
                    <a:pt x="1003" y="1254"/>
                  </a:cubicBezTo>
                  <a:moveTo>
                    <a:pt x="1049" y="1253"/>
                  </a:moveTo>
                  <a:cubicBezTo>
                    <a:pt x="1040" y="1253"/>
                    <a:pt x="1031" y="1258"/>
                    <a:pt x="1029" y="1264"/>
                  </a:cubicBezTo>
                  <a:cubicBezTo>
                    <a:pt x="1026" y="1269"/>
                    <a:pt x="1031" y="1274"/>
                    <a:pt x="1040" y="1274"/>
                  </a:cubicBezTo>
                  <a:cubicBezTo>
                    <a:pt x="1049" y="1274"/>
                    <a:pt x="1058" y="1269"/>
                    <a:pt x="1061" y="1264"/>
                  </a:cubicBezTo>
                  <a:cubicBezTo>
                    <a:pt x="1063" y="1258"/>
                    <a:pt x="1058" y="1253"/>
                    <a:pt x="1049" y="1253"/>
                  </a:cubicBezTo>
                  <a:cubicBezTo>
                    <a:pt x="1049" y="1253"/>
                    <a:pt x="1049" y="1253"/>
                    <a:pt x="1049" y="1253"/>
                  </a:cubicBezTo>
                  <a:moveTo>
                    <a:pt x="2192" y="1253"/>
                  </a:moveTo>
                  <a:cubicBezTo>
                    <a:pt x="2183" y="1253"/>
                    <a:pt x="2176" y="1258"/>
                    <a:pt x="2175" y="1264"/>
                  </a:cubicBezTo>
                  <a:cubicBezTo>
                    <a:pt x="2175" y="1269"/>
                    <a:pt x="2182" y="1274"/>
                    <a:pt x="2190" y="1274"/>
                  </a:cubicBezTo>
                  <a:cubicBezTo>
                    <a:pt x="2199" y="1274"/>
                    <a:pt x="2207" y="1269"/>
                    <a:pt x="2207" y="1264"/>
                  </a:cubicBezTo>
                  <a:cubicBezTo>
                    <a:pt x="2208" y="1258"/>
                    <a:pt x="2201" y="1253"/>
                    <a:pt x="2192" y="1253"/>
                  </a:cubicBezTo>
                  <a:cubicBezTo>
                    <a:pt x="2192" y="1253"/>
                    <a:pt x="2192" y="1253"/>
                    <a:pt x="2192" y="1253"/>
                  </a:cubicBezTo>
                  <a:moveTo>
                    <a:pt x="1091" y="1253"/>
                  </a:moveTo>
                  <a:cubicBezTo>
                    <a:pt x="1082" y="1253"/>
                    <a:pt x="1073" y="1258"/>
                    <a:pt x="1070" y="1264"/>
                  </a:cubicBezTo>
                  <a:cubicBezTo>
                    <a:pt x="1068" y="1269"/>
                    <a:pt x="1073" y="1274"/>
                    <a:pt x="1082" y="1274"/>
                  </a:cubicBezTo>
                  <a:cubicBezTo>
                    <a:pt x="1091" y="1274"/>
                    <a:pt x="1100" y="1269"/>
                    <a:pt x="1102" y="1264"/>
                  </a:cubicBezTo>
                  <a:cubicBezTo>
                    <a:pt x="1105" y="1258"/>
                    <a:pt x="1100" y="1253"/>
                    <a:pt x="1091" y="1253"/>
                  </a:cubicBezTo>
                  <a:cubicBezTo>
                    <a:pt x="1091" y="1253"/>
                    <a:pt x="1091" y="1253"/>
                    <a:pt x="1091" y="1253"/>
                  </a:cubicBezTo>
                  <a:moveTo>
                    <a:pt x="2238" y="1253"/>
                  </a:moveTo>
                  <a:cubicBezTo>
                    <a:pt x="2229" y="1253"/>
                    <a:pt x="2221" y="1258"/>
                    <a:pt x="2221" y="1264"/>
                  </a:cubicBezTo>
                  <a:cubicBezTo>
                    <a:pt x="2220" y="1269"/>
                    <a:pt x="2227" y="1274"/>
                    <a:pt x="2236" y="1274"/>
                  </a:cubicBezTo>
                  <a:cubicBezTo>
                    <a:pt x="2245" y="1274"/>
                    <a:pt x="2253" y="1269"/>
                    <a:pt x="2253" y="1263"/>
                  </a:cubicBezTo>
                  <a:cubicBezTo>
                    <a:pt x="2253" y="1258"/>
                    <a:pt x="2247" y="1253"/>
                    <a:pt x="2238" y="1253"/>
                  </a:cubicBezTo>
                  <a:cubicBezTo>
                    <a:pt x="2238" y="1253"/>
                    <a:pt x="2238" y="1253"/>
                    <a:pt x="2238" y="1253"/>
                  </a:cubicBezTo>
                  <a:moveTo>
                    <a:pt x="1140" y="1253"/>
                  </a:moveTo>
                  <a:cubicBezTo>
                    <a:pt x="1132" y="1253"/>
                    <a:pt x="1122" y="1258"/>
                    <a:pt x="1120" y="1263"/>
                  </a:cubicBezTo>
                  <a:cubicBezTo>
                    <a:pt x="1118" y="1269"/>
                    <a:pt x="1123" y="1274"/>
                    <a:pt x="1132" y="1274"/>
                  </a:cubicBezTo>
                  <a:cubicBezTo>
                    <a:pt x="1141" y="1274"/>
                    <a:pt x="1150" y="1269"/>
                    <a:pt x="1152" y="1263"/>
                  </a:cubicBezTo>
                  <a:cubicBezTo>
                    <a:pt x="1155" y="1258"/>
                    <a:pt x="1149" y="1253"/>
                    <a:pt x="1140" y="1253"/>
                  </a:cubicBezTo>
                  <a:cubicBezTo>
                    <a:pt x="1140" y="1253"/>
                    <a:pt x="1140" y="1253"/>
                    <a:pt x="1140" y="1253"/>
                  </a:cubicBezTo>
                  <a:moveTo>
                    <a:pt x="2284" y="1253"/>
                  </a:moveTo>
                  <a:cubicBezTo>
                    <a:pt x="2275" y="1253"/>
                    <a:pt x="2267" y="1258"/>
                    <a:pt x="2267" y="1263"/>
                  </a:cubicBezTo>
                  <a:cubicBezTo>
                    <a:pt x="2267" y="1269"/>
                    <a:pt x="2274" y="1274"/>
                    <a:pt x="2282" y="1274"/>
                  </a:cubicBezTo>
                  <a:cubicBezTo>
                    <a:pt x="2291" y="1274"/>
                    <a:pt x="2299" y="1269"/>
                    <a:pt x="2299" y="1263"/>
                  </a:cubicBezTo>
                  <a:cubicBezTo>
                    <a:pt x="2299" y="1258"/>
                    <a:pt x="2293" y="1253"/>
                    <a:pt x="2284" y="1253"/>
                  </a:cubicBezTo>
                  <a:cubicBezTo>
                    <a:pt x="2284" y="1253"/>
                    <a:pt x="2284" y="1253"/>
                    <a:pt x="2284" y="1253"/>
                  </a:cubicBezTo>
                  <a:moveTo>
                    <a:pt x="2329" y="1253"/>
                  </a:moveTo>
                  <a:cubicBezTo>
                    <a:pt x="2320" y="1253"/>
                    <a:pt x="2313" y="1258"/>
                    <a:pt x="2312" y="1263"/>
                  </a:cubicBezTo>
                  <a:cubicBezTo>
                    <a:pt x="2312" y="1269"/>
                    <a:pt x="2319" y="1274"/>
                    <a:pt x="2328" y="1274"/>
                  </a:cubicBezTo>
                  <a:cubicBezTo>
                    <a:pt x="2337" y="1273"/>
                    <a:pt x="2344" y="1269"/>
                    <a:pt x="2344" y="1263"/>
                  </a:cubicBezTo>
                  <a:cubicBezTo>
                    <a:pt x="2345" y="1258"/>
                    <a:pt x="2338" y="1253"/>
                    <a:pt x="2329" y="1253"/>
                  </a:cubicBezTo>
                  <a:cubicBezTo>
                    <a:pt x="2329" y="1253"/>
                    <a:pt x="2329" y="1253"/>
                    <a:pt x="2329" y="1253"/>
                  </a:cubicBezTo>
                  <a:moveTo>
                    <a:pt x="2374" y="1253"/>
                  </a:moveTo>
                  <a:cubicBezTo>
                    <a:pt x="2366" y="1253"/>
                    <a:pt x="2358" y="1258"/>
                    <a:pt x="2358" y="1263"/>
                  </a:cubicBezTo>
                  <a:cubicBezTo>
                    <a:pt x="2358" y="1269"/>
                    <a:pt x="2365" y="1273"/>
                    <a:pt x="2374" y="1273"/>
                  </a:cubicBezTo>
                  <a:cubicBezTo>
                    <a:pt x="2383" y="1273"/>
                    <a:pt x="2390" y="1269"/>
                    <a:pt x="2390" y="1263"/>
                  </a:cubicBezTo>
                  <a:cubicBezTo>
                    <a:pt x="2390" y="1258"/>
                    <a:pt x="2383" y="1253"/>
                    <a:pt x="2374" y="1253"/>
                  </a:cubicBezTo>
                  <a:cubicBezTo>
                    <a:pt x="2374" y="1253"/>
                    <a:pt x="2374" y="1253"/>
                    <a:pt x="2374" y="1253"/>
                  </a:cubicBezTo>
                  <a:moveTo>
                    <a:pt x="2420" y="1253"/>
                  </a:moveTo>
                  <a:cubicBezTo>
                    <a:pt x="2411" y="1253"/>
                    <a:pt x="2404" y="1257"/>
                    <a:pt x="2404" y="1263"/>
                  </a:cubicBezTo>
                  <a:cubicBezTo>
                    <a:pt x="2404" y="1269"/>
                    <a:pt x="2411" y="1273"/>
                    <a:pt x="2420" y="1273"/>
                  </a:cubicBezTo>
                  <a:cubicBezTo>
                    <a:pt x="2429" y="1273"/>
                    <a:pt x="2436" y="1269"/>
                    <a:pt x="2436" y="1263"/>
                  </a:cubicBezTo>
                  <a:cubicBezTo>
                    <a:pt x="2436" y="1257"/>
                    <a:pt x="2429" y="1253"/>
                    <a:pt x="2420" y="1253"/>
                  </a:cubicBezTo>
                  <a:cubicBezTo>
                    <a:pt x="2420" y="1253"/>
                    <a:pt x="2420" y="1253"/>
                    <a:pt x="2420" y="1253"/>
                  </a:cubicBezTo>
                  <a:moveTo>
                    <a:pt x="2468" y="1253"/>
                  </a:moveTo>
                  <a:cubicBezTo>
                    <a:pt x="2459" y="1253"/>
                    <a:pt x="2451" y="1257"/>
                    <a:pt x="2451" y="1263"/>
                  </a:cubicBezTo>
                  <a:cubicBezTo>
                    <a:pt x="2451" y="1269"/>
                    <a:pt x="2459" y="1273"/>
                    <a:pt x="2468" y="1273"/>
                  </a:cubicBezTo>
                  <a:cubicBezTo>
                    <a:pt x="2476" y="1273"/>
                    <a:pt x="2484" y="1269"/>
                    <a:pt x="2484" y="1263"/>
                  </a:cubicBezTo>
                  <a:cubicBezTo>
                    <a:pt x="2484" y="1257"/>
                    <a:pt x="2476" y="1253"/>
                    <a:pt x="2468" y="1253"/>
                  </a:cubicBezTo>
                  <a:cubicBezTo>
                    <a:pt x="2468" y="1253"/>
                    <a:pt x="2468" y="1253"/>
                    <a:pt x="2468" y="1253"/>
                  </a:cubicBezTo>
                  <a:moveTo>
                    <a:pt x="2513" y="1253"/>
                  </a:moveTo>
                  <a:cubicBezTo>
                    <a:pt x="2504" y="1253"/>
                    <a:pt x="2497" y="1257"/>
                    <a:pt x="2497" y="1263"/>
                  </a:cubicBezTo>
                  <a:cubicBezTo>
                    <a:pt x="2497" y="1269"/>
                    <a:pt x="2504" y="1273"/>
                    <a:pt x="2513" y="1273"/>
                  </a:cubicBezTo>
                  <a:cubicBezTo>
                    <a:pt x="2522" y="1273"/>
                    <a:pt x="2529" y="1268"/>
                    <a:pt x="2529" y="1263"/>
                  </a:cubicBezTo>
                  <a:cubicBezTo>
                    <a:pt x="2529" y="1257"/>
                    <a:pt x="2522" y="1253"/>
                    <a:pt x="2513" y="1253"/>
                  </a:cubicBezTo>
                  <a:cubicBezTo>
                    <a:pt x="2513" y="1253"/>
                    <a:pt x="2513" y="1253"/>
                    <a:pt x="2513" y="1253"/>
                  </a:cubicBezTo>
                  <a:moveTo>
                    <a:pt x="2559" y="1253"/>
                  </a:moveTo>
                  <a:cubicBezTo>
                    <a:pt x="2550" y="1253"/>
                    <a:pt x="2543" y="1257"/>
                    <a:pt x="2543" y="1263"/>
                  </a:cubicBezTo>
                  <a:cubicBezTo>
                    <a:pt x="2543" y="1268"/>
                    <a:pt x="2551" y="1273"/>
                    <a:pt x="2560" y="1273"/>
                  </a:cubicBezTo>
                  <a:cubicBezTo>
                    <a:pt x="2568" y="1273"/>
                    <a:pt x="2576" y="1268"/>
                    <a:pt x="2575" y="1263"/>
                  </a:cubicBezTo>
                  <a:cubicBezTo>
                    <a:pt x="2575" y="1257"/>
                    <a:pt x="2568" y="1253"/>
                    <a:pt x="2559" y="1253"/>
                  </a:cubicBezTo>
                  <a:cubicBezTo>
                    <a:pt x="2559" y="1253"/>
                    <a:pt x="2559" y="1253"/>
                    <a:pt x="2559" y="1253"/>
                  </a:cubicBezTo>
                  <a:moveTo>
                    <a:pt x="2605" y="1252"/>
                  </a:moveTo>
                  <a:cubicBezTo>
                    <a:pt x="2596" y="1252"/>
                    <a:pt x="2589" y="1257"/>
                    <a:pt x="2590" y="1263"/>
                  </a:cubicBezTo>
                  <a:cubicBezTo>
                    <a:pt x="2590" y="1268"/>
                    <a:pt x="2597" y="1273"/>
                    <a:pt x="2606" y="1273"/>
                  </a:cubicBezTo>
                  <a:cubicBezTo>
                    <a:pt x="2615" y="1273"/>
                    <a:pt x="2622" y="1268"/>
                    <a:pt x="2622" y="1263"/>
                  </a:cubicBezTo>
                  <a:cubicBezTo>
                    <a:pt x="2622" y="1257"/>
                    <a:pt x="2614" y="1252"/>
                    <a:pt x="2605" y="1252"/>
                  </a:cubicBezTo>
                  <a:cubicBezTo>
                    <a:pt x="2605" y="1252"/>
                    <a:pt x="2605" y="1252"/>
                    <a:pt x="2605" y="1252"/>
                  </a:cubicBezTo>
                  <a:moveTo>
                    <a:pt x="2651" y="1252"/>
                  </a:moveTo>
                  <a:cubicBezTo>
                    <a:pt x="2642" y="1252"/>
                    <a:pt x="2635" y="1257"/>
                    <a:pt x="2635" y="1263"/>
                  </a:cubicBezTo>
                  <a:cubicBezTo>
                    <a:pt x="2636" y="1268"/>
                    <a:pt x="2643" y="1273"/>
                    <a:pt x="2652" y="1273"/>
                  </a:cubicBezTo>
                  <a:cubicBezTo>
                    <a:pt x="2661" y="1273"/>
                    <a:pt x="2668" y="1268"/>
                    <a:pt x="2667" y="1263"/>
                  </a:cubicBezTo>
                  <a:cubicBezTo>
                    <a:pt x="2667" y="1257"/>
                    <a:pt x="2660" y="1252"/>
                    <a:pt x="2651" y="1252"/>
                  </a:cubicBezTo>
                  <a:cubicBezTo>
                    <a:pt x="2651" y="1252"/>
                    <a:pt x="2651" y="1252"/>
                    <a:pt x="2651" y="1252"/>
                  </a:cubicBezTo>
                  <a:moveTo>
                    <a:pt x="2697" y="1252"/>
                  </a:moveTo>
                  <a:cubicBezTo>
                    <a:pt x="2688" y="1252"/>
                    <a:pt x="2681" y="1257"/>
                    <a:pt x="2682" y="1262"/>
                  </a:cubicBezTo>
                  <a:cubicBezTo>
                    <a:pt x="2682" y="1268"/>
                    <a:pt x="2690" y="1273"/>
                    <a:pt x="2699" y="1273"/>
                  </a:cubicBezTo>
                  <a:cubicBezTo>
                    <a:pt x="2707" y="1273"/>
                    <a:pt x="2714" y="1268"/>
                    <a:pt x="2714" y="1262"/>
                  </a:cubicBezTo>
                  <a:cubicBezTo>
                    <a:pt x="2713" y="1257"/>
                    <a:pt x="2706" y="1252"/>
                    <a:pt x="2697" y="1252"/>
                  </a:cubicBezTo>
                  <a:cubicBezTo>
                    <a:pt x="2697" y="1252"/>
                    <a:pt x="2697" y="1252"/>
                    <a:pt x="2697" y="1252"/>
                  </a:cubicBezTo>
                  <a:moveTo>
                    <a:pt x="4250" y="1245"/>
                  </a:moveTo>
                  <a:cubicBezTo>
                    <a:pt x="4241" y="1245"/>
                    <a:pt x="4237" y="1250"/>
                    <a:pt x="4240" y="1255"/>
                  </a:cubicBezTo>
                  <a:cubicBezTo>
                    <a:pt x="4243" y="1261"/>
                    <a:pt x="4253" y="1265"/>
                    <a:pt x="4262" y="1265"/>
                  </a:cubicBezTo>
                  <a:cubicBezTo>
                    <a:pt x="4271" y="1265"/>
                    <a:pt x="4275" y="1261"/>
                    <a:pt x="4272" y="1255"/>
                  </a:cubicBezTo>
                  <a:cubicBezTo>
                    <a:pt x="4269" y="1249"/>
                    <a:pt x="4259" y="1245"/>
                    <a:pt x="4250" y="1245"/>
                  </a:cubicBezTo>
                  <a:cubicBezTo>
                    <a:pt x="4250" y="1245"/>
                    <a:pt x="4250" y="1245"/>
                    <a:pt x="4250" y="1245"/>
                  </a:cubicBezTo>
                  <a:moveTo>
                    <a:pt x="4295" y="1245"/>
                  </a:moveTo>
                  <a:cubicBezTo>
                    <a:pt x="4286" y="1245"/>
                    <a:pt x="4282" y="1249"/>
                    <a:pt x="4285" y="1255"/>
                  </a:cubicBezTo>
                  <a:cubicBezTo>
                    <a:pt x="4288" y="1261"/>
                    <a:pt x="4298" y="1265"/>
                    <a:pt x="4307" y="1265"/>
                  </a:cubicBezTo>
                  <a:cubicBezTo>
                    <a:pt x="4316" y="1265"/>
                    <a:pt x="4320" y="1261"/>
                    <a:pt x="4317" y="1255"/>
                  </a:cubicBezTo>
                  <a:cubicBezTo>
                    <a:pt x="4314" y="1249"/>
                    <a:pt x="4304" y="1245"/>
                    <a:pt x="4295" y="1245"/>
                  </a:cubicBezTo>
                  <a:cubicBezTo>
                    <a:pt x="4295" y="1245"/>
                    <a:pt x="4295" y="1245"/>
                    <a:pt x="4295" y="1245"/>
                  </a:cubicBezTo>
                  <a:moveTo>
                    <a:pt x="4845" y="1241"/>
                  </a:moveTo>
                  <a:cubicBezTo>
                    <a:pt x="4836" y="1241"/>
                    <a:pt x="4832" y="1246"/>
                    <a:pt x="4836" y="1252"/>
                  </a:cubicBezTo>
                  <a:cubicBezTo>
                    <a:pt x="4841" y="1257"/>
                    <a:pt x="4851" y="1262"/>
                    <a:pt x="4860" y="1262"/>
                  </a:cubicBezTo>
                  <a:cubicBezTo>
                    <a:pt x="4869" y="1262"/>
                    <a:pt x="4873" y="1257"/>
                    <a:pt x="4868" y="1251"/>
                  </a:cubicBezTo>
                  <a:cubicBezTo>
                    <a:pt x="4864" y="1246"/>
                    <a:pt x="4854" y="1241"/>
                    <a:pt x="4845" y="1241"/>
                  </a:cubicBezTo>
                  <a:cubicBezTo>
                    <a:pt x="4845" y="1241"/>
                    <a:pt x="4845" y="1241"/>
                    <a:pt x="4845" y="1241"/>
                  </a:cubicBezTo>
                  <a:moveTo>
                    <a:pt x="4889" y="1241"/>
                  </a:moveTo>
                  <a:cubicBezTo>
                    <a:pt x="4880" y="1241"/>
                    <a:pt x="4877" y="1246"/>
                    <a:pt x="4881" y="1251"/>
                  </a:cubicBezTo>
                  <a:cubicBezTo>
                    <a:pt x="4885" y="1257"/>
                    <a:pt x="4896" y="1262"/>
                    <a:pt x="4905" y="1262"/>
                  </a:cubicBezTo>
                  <a:cubicBezTo>
                    <a:pt x="4914" y="1262"/>
                    <a:pt x="4917" y="1257"/>
                    <a:pt x="4913" y="1251"/>
                  </a:cubicBezTo>
                  <a:cubicBezTo>
                    <a:pt x="4909" y="1246"/>
                    <a:pt x="4898" y="1241"/>
                    <a:pt x="4889" y="1241"/>
                  </a:cubicBezTo>
                  <a:cubicBezTo>
                    <a:pt x="4889" y="1241"/>
                    <a:pt x="4889" y="1241"/>
                    <a:pt x="4889" y="1241"/>
                  </a:cubicBezTo>
                  <a:moveTo>
                    <a:pt x="4935" y="1241"/>
                  </a:moveTo>
                  <a:cubicBezTo>
                    <a:pt x="4926" y="1241"/>
                    <a:pt x="4922" y="1246"/>
                    <a:pt x="4927" y="1251"/>
                  </a:cubicBezTo>
                  <a:cubicBezTo>
                    <a:pt x="4931" y="1257"/>
                    <a:pt x="4942" y="1262"/>
                    <a:pt x="4951" y="1262"/>
                  </a:cubicBezTo>
                  <a:cubicBezTo>
                    <a:pt x="4960" y="1262"/>
                    <a:pt x="4963" y="1257"/>
                    <a:pt x="4959" y="1251"/>
                  </a:cubicBezTo>
                  <a:cubicBezTo>
                    <a:pt x="4954" y="1246"/>
                    <a:pt x="4944" y="1241"/>
                    <a:pt x="4935" y="1241"/>
                  </a:cubicBezTo>
                  <a:cubicBezTo>
                    <a:pt x="4935" y="1241"/>
                    <a:pt x="4935" y="1241"/>
                    <a:pt x="4935" y="1241"/>
                  </a:cubicBezTo>
                  <a:moveTo>
                    <a:pt x="4981" y="1241"/>
                  </a:moveTo>
                  <a:cubicBezTo>
                    <a:pt x="4972" y="1241"/>
                    <a:pt x="4969" y="1246"/>
                    <a:pt x="4973" y="1251"/>
                  </a:cubicBezTo>
                  <a:cubicBezTo>
                    <a:pt x="4978" y="1257"/>
                    <a:pt x="4989" y="1262"/>
                    <a:pt x="4998" y="1262"/>
                  </a:cubicBezTo>
                  <a:cubicBezTo>
                    <a:pt x="5006" y="1261"/>
                    <a:pt x="5010" y="1257"/>
                    <a:pt x="5005" y="1251"/>
                  </a:cubicBezTo>
                  <a:cubicBezTo>
                    <a:pt x="5001" y="1245"/>
                    <a:pt x="4990" y="1241"/>
                    <a:pt x="4981" y="1241"/>
                  </a:cubicBezTo>
                  <a:cubicBezTo>
                    <a:pt x="4981" y="1241"/>
                    <a:pt x="4981" y="1241"/>
                    <a:pt x="4981" y="1241"/>
                  </a:cubicBezTo>
                  <a:moveTo>
                    <a:pt x="243" y="1228"/>
                  </a:moveTo>
                  <a:cubicBezTo>
                    <a:pt x="234" y="1228"/>
                    <a:pt x="224" y="1232"/>
                    <a:pt x="220" y="1238"/>
                  </a:cubicBezTo>
                  <a:cubicBezTo>
                    <a:pt x="216" y="1243"/>
                    <a:pt x="219" y="1248"/>
                    <a:pt x="228" y="1248"/>
                  </a:cubicBezTo>
                  <a:cubicBezTo>
                    <a:pt x="237" y="1248"/>
                    <a:pt x="248" y="1243"/>
                    <a:pt x="251" y="1238"/>
                  </a:cubicBezTo>
                  <a:cubicBezTo>
                    <a:pt x="255" y="1232"/>
                    <a:pt x="252" y="1228"/>
                    <a:pt x="243" y="1228"/>
                  </a:cubicBezTo>
                  <a:cubicBezTo>
                    <a:pt x="243" y="1228"/>
                    <a:pt x="243" y="1228"/>
                    <a:pt x="243" y="1228"/>
                  </a:cubicBezTo>
                  <a:moveTo>
                    <a:pt x="288" y="1227"/>
                  </a:moveTo>
                  <a:cubicBezTo>
                    <a:pt x="279" y="1228"/>
                    <a:pt x="269" y="1232"/>
                    <a:pt x="265" y="1238"/>
                  </a:cubicBezTo>
                  <a:cubicBezTo>
                    <a:pt x="261" y="1243"/>
                    <a:pt x="265" y="1248"/>
                    <a:pt x="274" y="1248"/>
                  </a:cubicBezTo>
                  <a:cubicBezTo>
                    <a:pt x="283" y="1248"/>
                    <a:pt x="293" y="1243"/>
                    <a:pt x="297" y="1238"/>
                  </a:cubicBezTo>
                  <a:cubicBezTo>
                    <a:pt x="301" y="1232"/>
                    <a:pt x="297" y="1227"/>
                    <a:pt x="288" y="1227"/>
                  </a:cubicBezTo>
                  <a:cubicBezTo>
                    <a:pt x="288" y="1227"/>
                    <a:pt x="288" y="1227"/>
                    <a:pt x="288" y="1227"/>
                  </a:cubicBezTo>
                  <a:moveTo>
                    <a:pt x="333" y="1227"/>
                  </a:moveTo>
                  <a:cubicBezTo>
                    <a:pt x="325" y="1227"/>
                    <a:pt x="314" y="1232"/>
                    <a:pt x="310" y="1238"/>
                  </a:cubicBezTo>
                  <a:cubicBezTo>
                    <a:pt x="307" y="1243"/>
                    <a:pt x="311" y="1248"/>
                    <a:pt x="319" y="1248"/>
                  </a:cubicBezTo>
                  <a:cubicBezTo>
                    <a:pt x="328" y="1248"/>
                    <a:pt x="339" y="1243"/>
                    <a:pt x="342" y="1237"/>
                  </a:cubicBezTo>
                  <a:cubicBezTo>
                    <a:pt x="346" y="1232"/>
                    <a:pt x="342" y="1227"/>
                    <a:pt x="333" y="1227"/>
                  </a:cubicBezTo>
                  <a:cubicBezTo>
                    <a:pt x="333" y="1227"/>
                    <a:pt x="333" y="1227"/>
                    <a:pt x="333" y="1227"/>
                  </a:cubicBezTo>
                  <a:moveTo>
                    <a:pt x="378" y="1227"/>
                  </a:moveTo>
                  <a:cubicBezTo>
                    <a:pt x="370" y="1227"/>
                    <a:pt x="360" y="1232"/>
                    <a:pt x="356" y="1237"/>
                  </a:cubicBezTo>
                  <a:cubicBezTo>
                    <a:pt x="352" y="1243"/>
                    <a:pt x="356" y="1248"/>
                    <a:pt x="365" y="1248"/>
                  </a:cubicBezTo>
                  <a:cubicBezTo>
                    <a:pt x="374" y="1248"/>
                    <a:pt x="384" y="1243"/>
                    <a:pt x="388" y="1237"/>
                  </a:cubicBezTo>
                  <a:cubicBezTo>
                    <a:pt x="391" y="1232"/>
                    <a:pt x="387" y="1227"/>
                    <a:pt x="379" y="1227"/>
                  </a:cubicBezTo>
                  <a:cubicBezTo>
                    <a:pt x="379" y="1227"/>
                    <a:pt x="379" y="1227"/>
                    <a:pt x="378" y="1227"/>
                  </a:cubicBezTo>
                  <a:moveTo>
                    <a:pt x="424" y="1227"/>
                  </a:moveTo>
                  <a:cubicBezTo>
                    <a:pt x="415" y="1227"/>
                    <a:pt x="405" y="1232"/>
                    <a:pt x="401" y="1237"/>
                  </a:cubicBezTo>
                  <a:cubicBezTo>
                    <a:pt x="398" y="1243"/>
                    <a:pt x="402" y="1247"/>
                    <a:pt x="411" y="1247"/>
                  </a:cubicBezTo>
                  <a:cubicBezTo>
                    <a:pt x="420" y="1247"/>
                    <a:pt x="430" y="1243"/>
                    <a:pt x="433" y="1237"/>
                  </a:cubicBezTo>
                  <a:cubicBezTo>
                    <a:pt x="437" y="1232"/>
                    <a:pt x="433" y="1227"/>
                    <a:pt x="424" y="1227"/>
                  </a:cubicBezTo>
                  <a:cubicBezTo>
                    <a:pt x="424" y="1227"/>
                    <a:pt x="424" y="1227"/>
                    <a:pt x="424" y="1227"/>
                  </a:cubicBezTo>
                  <a:moveTo>
                    <a:pt x="471" y="1227"/>
                  </a:moveTo>
                  <a:cubicBezTo>
                    <a:pt x="462" y="1227"/>
                    <a:pt x="452" y="1232"/>
                    <a:pt x="448" y="1237"/>
                  </a:cubicBezTo>
                  <a:cubicBezTo>
                    <a:pt x="445" y="1243"/>
                    <a:pt x="449" y="1247"/>
                    <a:pt x="458" y="1247"/>
                  </a:cubicBezTo>
                  <a:cubicBezTo>
                    <a:pt x="467" y="1247"/>
                    <a:pt x="477" y="1243"/>
                    <a:pt x="480" y="1237"/>
                  </a:cubicBezTo>
                  <a:cubicBezTo>
                    <a:pt x="484" y="1232"/>
                    <a:pt x="480" y="1227"/>
                    <a:pt x="471" y="1227"/>
                  </a:cubicBezTo>
                  <a:cubicBezTo>
                    <a:pt x="471" y="1227"/>
                    <a:pt x="471" y="1227"/>
                    <a:pt x="471" y="1227"/>
                  </a:cubicBezTo>
                  <a:moveTo>
                    <a:pt x="516" y="1227"/>
                  </a:moveTo>
                  <a:cubicBezTo>
                    <a:pt x="507" y="1227"/>
                    <a:pt x="497" y="1232"/>
                    <a:pt x="494" y="1237"/>
                  </a:cubicBezTo>
                  <a:cubicBezTo>
                    <a:pt x="490" y="1243"/>
                    <a:pt x="495" y="1247"/>
                    <a:pt x="503" y="1247"/>
                  </a:cubicBezTo>
                  <a:cubicBezTo>
                    <a:pt x="512" y="1247"/>
                    <a:pt x="522" y="1243"/>
                    <a:pt x="526" y="1237"/>
                  </a:cubicBezTo>
                  <a:cubicBezTo>
                    <a:pt x="529" y="1231"/>
                    <a:pt x="525" y="1227"/>
                    <a:pt x="516" y="1227"/>
                  </a:cubicBezTo>
                  <a:cubicBezTo>
                    <a:pt x="516" y="1227"/>
                    <a:pt x="516" y="1227"/>
                    <a:pt x="516" y="1227"/>
                  </a:cubicBezTo>
                  <a:moveTo>
                    <a:pt x="562" y="1227"/>
                  </a:moveTo>
                  <a:cubicBezTo>
                    <a:pt x="553" y="1227"/>
                    <a:pt x="543" y="1231"/>
                    <a:pt x="539" y="1237"/>
                  </a:cubicBezTo>
                  <a:cubicBezTo>
                    <a:pt x="536" y="1243"/>
                    <a:pt x="540" y="1247"/>
                    <a:pt x="549" y="1247"/>
                  </a:cubicBezTo>
                  <a:cubicBezTo>
                    <a:pt x="558" y="1247"/>
                    <a:pt x="568" y="1243"/>
                    <a:pt x="571" y="1237"/>
                  </a:cubicBezTo>
                  <a:cubicBezTo>
                    <a:pt x="575" y="1231"/>
                    <a:pt x="570" y="1227"/>
                    <a:pt x="562" y="1227"/>
                  </a:cubicBezTo>
                  <a:cubicBezTo>
                    <a:pt x="562" y="1227"/>
                    <a:pt x="562" y="1227"/>
                    <a:pt x="562" y="1227"/>
                  </a:cubicBezTo>
                  <a:moveTo>
                    <a:pt x="608" y="1227"/>
                  </a:moveTo>
                  <a:cubicBezTo>
                    <a:pt x="599" y="1227"/>
                    <a:pt x="589" y="1231"/>
                    <a:pt x="586" y="1237"/>
                  </a:cubicBezTo>
                  <a:cubicBezTo>
                    <a:pt x="582" y="1242"/>
                    <a:pt x="587" y="1247"/>
                    <a:pt x="595" y="1247"/>
                  </a:cubicBezTo>
                  <a:cubicBezTo>
                    <a:pt x="604" y="1247"/>
                    <a:pt x="614" y="1242"/>
                    <a:pt x="617" y="1237"/>
                  </a:cubicBezTo>
                  <a:cubicBezTo>
                    <a:pt x="621" y="1231"/>
                    <a:pt x="616" y="1227"/>
                    <a:pt x="608" y="1227"/>
                  </a:cubicBezTo>
                  <a:cubicBezTo>
                    <a:pt x="608" y="1227"/>
                    <a:pt x="608" y="1227"/>
                    <a:pt x="608" y="1227"/>
                  </a:cubicBezTo>
                  <a:moveTo>
                    <a:pt x="653" y="1227"/>
                  </a:moveTo>
                  <a:cubicBezTo>
                    <a:pt x="644" y="1227"/>
                    <a:pt x="634" y="1231"/>
                    <a:pt x="631" y="1237"/>
                  </a:cubicBezTo>
                  <a:cubicBezTo>
                    <a:pt x="628" y="1242"/>
                    <a:pt x="632" y="1247"/>
                    <a:pt x="641" y="1247"/>
                  </a:cubicBezTo>
                  <a:cubicBezTo>
                    <a:pt x="650" y="1247"/>
                    <a:pt x="659" y="1242"/>
                    <a:pt x="663" y="1237"/>
                  </a:cubicBezTo>
                  <a:cubicBezTo>
                    <a:pt x="666" y="1231"/>
                    <a:pt x="661" y="1227"/>
                    <a:pt x="653" y="1227"/>
                  </a:cubicBezTo>
                  <a:cubicBezTo>
                    <a:pt x="653" y="1227"/>
                    <a:pt x="653" y="1227"/>
                    <a:pt x="653" y="1227"/>
                  </a:cubicBezTo>
                  <a:moveTo>
                    <a:pt x="698" y="1226"/>
                  </a:moveTo>
                  <a:cubicBezTo>
                    <a:pt x="689" y="1226"/>
                    <a:pt x="680" y="1231"/>
                    <a:pt x="676" y="1237"/>
                  </a:cubicBezTo>
                  <a:cubicBezTo>
                    <a:pt x="673" y="1242"/>
                    <a:pt x="678" y="1247"/>
                    <a:pt x="687" y="1247"/>
                  </a:cubicBezTo>
                  <a:cubicBezTo>
                    <a:pt x="695" y="1247"/>
                    <a:pt x="705" y="1242"/>
                    <a:pt x="708" y="1237"/>
                  </a:cubicBezTo>
                  <a:cubicBezTo>
                    <a:pt x="711" y="1231"/>
                    <a:pt x="707" y="1226"/>
                    <a:pt x="698" y="1226"/>
                  </a:cubicBezTo>
                  <a:cubicBezTo>
                    <a:pt x="698" y="1226"/>
                    <a:pt x="698" y="1226"/>
                    <a:pt x="698" y="1226"/>
                  </a:cubicBezTo>
                  <a:moveTo>
                    <a:pt x="743" y="1226"/>
                  </a:moveTo>
                  <a:cubicBezTo>
                    <a:pt x="734" y="1226"/>
                    <a:pt x="725" y="1231"/>
                    <a:pt x="722" y="1237"/>
                  </a:cubicBezTo>
                  <a:cubicBezTo>
                    <a:pt x="719" y="1242"/>
                    <a:pt x="723" y="1247"/>
                    <a:pt x="732" y="1247"/>
                  </a:cubicBezTo>
                  <a:cubicBezTo>
                    <a:pt x="741" y="1247"/>
                    <a:pt x="750" y="1242"/>
                    <a:pt x="754" y="1236"/>
                  </a:cubicBezTo>
                  <a:cubicBezTo>
                    <a:pt x="757" y="1231"/>
                    <a:pt x="752" y="1226"/>
                    <a:pt x="743" y="1226"/>
                  </a:cubicBezTo>
                  <a:cubicBezTo>
                    <a:pt x="743" y="1226"/>
                    <a:pt x="743" y="1226"/>
                    <a:pt x="743" y="1226"/>
                  </a:cubicBezTo>
                  <a:moveTo>
                    <a:pt x="789" y="1226"/>
                  </a:moveTo>
                  <a:cubicBezTo>
                    <a:pt x="780" y="1226"/>
                    <a:pt x="770" y="1231"/>
                    <a:pt x="767" y="1236"/>
                  </a:cubicBezTo>
                  <a:cubicBezTo>
                    <a:pt x="764" y="1242"/>
                    <a:pt x="769" y="1247"/>
                    <a:pt x="778" y="1247"/>
                  </a:cubicBezTo>
                  <a:cubicBezTo>
                    <a:pt x="787" y="1247"/>
                    <a:pt x="796" y="1242"/>
                    <a:pt x="799" y="1236"/>
                  </a:cubicBezTo>
                  <a:cubicBezTo>
                    <a:pt x="802" y="1231"/>
                    <a:pt x="798" y="1226"/>
                    <a:pt x="789" y="1226"/>
                  </a:cubicBezTo>
                  <a:cubicBezTo>
                    <a:pt x="789" y="1226"/>
                    <a:pt x="789" y="1226"/>
                    <a:pt x="789" y="1226"/>
                  </a:cubicBezTo>
                  <a:moveTo>
                    <a:pt x="835" y="1226"/>
                  </a:moveTo>
                  <a:cubicBezTo>
                    <a:pt x="826" y="1226"/>
                    <a:pt x="816" y="1231"/>
                    <a:pt x="813" y="1236"/>
                  </a:cubicBezTo>
                  <a:cubicBezTo>
                    <a:pt x="810" y="1242"/>
                    <a:pt x="815" y="1246"/>
                    <a:pt x="824" y="1246"/>
                  </a:cubicBezTo>
                  <a:cubicBezTo>
                    <a:pt x="833" y="1246"/>
                    <a:pt x="842" y="1242"/>
                    <a:pt x="845" y="1236"/>
                  </a:cubicBezTo>
                  <a:cubicBezTo>
                    <a:pt x="848" y="1231"/>
                    <a:pt x="843" y="1226"/>
                    <a:pt x="835" y="1226"/>
                  </a:cubicBezTo>
                  <a:cubicBezTo>
                    <a:pt x="835" y="1226"/>
                    <a:pt x="835" y="1226"/>
                    <a:pt x="835" y="1226"/>
                  </a:cubicBezTo>
                  <a:moveTo>
                    <a:pt x="880" y="1226"/>
                  </a:moveTo>
                  <a:cubicBezTo>
                    <a:pt x="871" y="1226"/>
                    <a:pt x="862" y="1231"/>
                    <a:pt x="859" y="1236"/>
                  </a:cubicBezTo>
                  <a:cubicBezTo>
                    <a:pt x="856" y="1242"/>
                    <a:pt x="861" y="1246"/>
                    <a:pt x="869" y="1246"/>
                  </a:cubicBezTo>
                  <a:cubicBezTo>
                    <a:pt x="878" y="1246"/>
                    <a:pt x="888" y="1242"/>
                    <a:pt x="891" y="1236"/>
                  </a:cubicBezTo>
                  <a:cubicBezTo>
                    <a:pt x="893" y="1231"/>
                    <a:pt x="889" y="1226"/>
                    <a:pt x="880" y="1226"/>
                  </a:cubicBezTo>
                  <a:cubicBezTo>
                    <a:pt x="880" y="1226"/>
                    <a:pt x="880" y="1226"/>
                    <a:pt x="880" y="1226"/>
                  </a:cubicBezTo>
                  <a:moveTo>
                    <a:pt x="925" y="1226"/>
                  </a:moveTo>
                  <a:cubicBezTo>
                    <a:pt x="916" y="1226"/>
                    <a:pt x="907" y="1230"/>
                    <a:pt x="904" y="1236"/>
                  </a:cubicBezTo>
                  <a:cubicBezTo>
                    <a:pt x="901" y="1242"/>
                    <a:pt x="906" y="1246"/>
                    <a:pt x="915" y="1246"/>
                  </a:cubicBezTo>
                  <a:cubicBezTo>
                    <a:pt x="924" y="1246"/>
                    <a:pt x="933" y="1242"/>
                    <a:pt x="936" y="1236"/>
                  </a:cubicBezTo>
                  <a:cubicBezTo>
                    <a:pt x="939" y="1230"/>
                    <a:pt x="934" y="1226"/>
                    <a:pt x="925" y="1226"/>
                  </a:cubicBezTo>
                  <a:cubicBezTo>
                    <a:pt x="925" y="1226"/>
                    <a:pt x="925" y="1226"/>
                    <a:pt x="925" y="1226"/>
                  </a:cubicBezTo>
                  <a:moveTo>
                    <a:pt x="970" y="1226"/>
                  </a:moveTo>
                  <a:cubicBezTo>
                    <a:pt x="962" y="1226"/>
                    <a:pt x="952" y="1230"/>
                    <a:pt x="950" y="1236"/>
                  </a:cubicBezTo>
                  <a:cubicBezTo>
                    <a:pt x="947" y="1242"/>
                    <a:pt x="952" y="1246"/>
                    <a:pt x="961" y="1246"/>
                  </a:cubicBezTo>
                  <a:cubicBezTo>
                    <a:pt x="969" y="1246"/>
                    <a:pt x="979" y="1241"/>
                    <a:pt x="981" y="1236"/>
                  </a:cubicBezTo>
                  <a:cubicBezTo>
                    <a:pt x="984" y="1230"/>
                    <a:pt x="979" y="1226"/>
                    <a:pt x="970" y="1226"/>
                  </a:cubicBezTo>
                  <a:cubicBezTo>
                    <a:pt x="970" y="1226"/>
                    <a:pt x="970" y="1226"/>
                    <a:pt x="970" y="1226"/>
                  </a:cubicBezTo>
                  <a:moveTo>
                    <a:pt x="1016" y="1226"/>
                  </a:moveTo>
                  <a:cubicBezTo>
                    <a:pt x="1007" y="1226"/>
                    <a:pt x="998" y="1230"/>
                    <a:pt x="995" y="1236"/>
                  </a:cubicBezTo>
                  <a:cubicBezTo>
                    <a:pt x="993" y="1241"/>
                    <a:pt x="998" y="1246"/>
                    <a:pt x="1006" y="1246"/>
                  </a:cubicBezTo>
                  <a:cubicBezTo>
                    <a:pt x="1015" y="1246"/>
                    <a:pt x="1025" y="1241"/>
                    <a:pt x="1027" y="1236"/>
                  </a:cubicBezTo>
                  <a:cubicBezTo>
                    <a:pt x="1030" y="1230"/>
                    <a:pt x="1025" y="1226"/>
                    <a:pt x="1016" y="1226"/>
                  </a:cubicBezTo>
                  <a:cubicBezTo>
                    <a:pt x="1016" y="1226"/>
                    <a:pt x="1016" y="1226"/>
                    <a:pt x="1016" y="1226"/>
                  </a:cubicBezTo>
                  <a:moveTo>
                    <a:pt x="1062" y="1226"/>
                  </a:moveTo>
                  <a:cubicBezTo>
                    <a:pt x="1053" y="1226"/>
                    <a:pt x="1044" y="1230"/>
                    <a:pt x="1041" y="1236"/>
                  </a:cubicBezTo>
                  <a:cubicBezTo>
                    <a:pt x="1039" y="1241"/>
                    <a:pt x="1044" y="1246"/>
                    <a:pt x="1053" y="1246"/>
                  </a:cubicBezTo>
                  <a:cubicBezTo>
                    <a:pt x="1061" y="1246"/>
                    <a:pt x="1071" y="1241"/>
                    <a:pt x="1073" y="1236"/>
                  </a:cubicBezTo>
                  <a:cubicBezTo>
                    <a:pt x="1076" y="1230"/>
                    <a:pt x="1071" y="1226"/>
                    <a:pt x="1062" y="1226"/>
                  </a:cubicBezTo>
                  <a:cubicBezTo>
                    <a:pt x="1062" y="1226"/>
                    <a:pt x="1062" y="1226"/>
                    <a:pt x="1062" y="1226"/>
                  </a:cubicBezTo>
                  <a:moveTo>
                    <a:pt x="1103" y="1225"/>
                  </a:moveTo>
                  <a:cubicBezTo>
                    <a:pt x="1094" y="1225"/>
                    <a:pt x="1085" y="1230"/>
                    <a:pt x="1082" y="1236"/>
                  </a:cubicBezTo>
                  <a:cubicBezTo>
                    <a:pt x="1080" y="1241"/>
                    <a:pt x="1085" y="1246"/>
                    <a:pt x="1094" y="1246"/>
                  </a:cubicBezTo>
                  <a:cubicBezTo>
                    <a:pt x="1103" y="1246"/>
                    <a:pt x="1112" y="1241"/>
                    <a:pt x="1114" y="1236"/>
                  </a:cubicBezTo>
                  <a:cubicBezTo>
                    <a:pt x="1117" y="1230"/>
                    <a:pt x="1112" y="1225"/>
                    <a:pt x="1103" y="1225"/>
                  </a:cubicBezTo>
                  <a:cubicBezTo>
                    <a:pt x="1103" y="1225"/>
                    <a:pt x="1103" y="1225"/>
                    <a:pt x="1103" y="1225"/>
                  </a:cubicBezTo>
                  <a:moveTo>
                    <a:pt x="1152" y="1225"/>
                  </a:moveTo>
                  <a:cubicBezTo>
                    <a:pt x="1143" y="1225"/>
                    <a:pt x="1134" y="1230"/>
                    <a:pt x="1132" y="1235"/>
                  </a:cubicBezTo>
                  <a:cubicBezTo>
                    <a:pt x="1130" y="1241"/>
                    <a:pt x="1135" y="1246"/>
                    <a:pt x="1144" y="1246"/>
                  </a:cubicBezTo>
                  <a:cubicBezTo>
                    <a:pt x="1152" y="1246"/>
                    <a:pt x="1161" y="1241"/>
                    <a:pt x="1164" y="1235"/>
                  </a:cubicBezTo>
                  <a:cubicBezTo>
                    <a:pt x="1166" y="1230"/>
                    <a:pt x="1161" y="1225"/>
                    <a:pt x="1152" y="1225"/>
                  </a:cubicBezTo>
                  <a:cubicBezTo>
                    <a:pt x="1152" y="1225"/>
                    <a:pt x="1152" y="1225"/>
                    <a:pt x="1152" y="1225"/>
                  </a:cubicBezTo>
                  <a:moveTo>
                    <a:pt x="2195" y="1224"/>
                  </a:moveTo>
                  <a:cubicBezTo>
                    <a:pt x="2186" y="1224"/>
                    <a:pt x="2178" y="1229"/>
                    <a:pt x="2178" y="1234"/>
                  </a:cubicBezTo>
                  <a:cubicBezTo>
                    <a:pt x="2177" y="1240"/>
                    <a:pt x="2184" y="1244"/>
                    <a:pt x="2193" y="1244"/>
                  </a:cubicBezTo>
                  <a:cubicBezTo>
                    <a:pt x="2202" y="1244"/>
                    <a:pt x="2209" y="1240"/>
                    <a:pt x="2210" y="1234"/>
                  </a:cubicBezTo>
                  <a:cubicBezTo>
                    <a:pt x="2210" y="1228"/>
                    <a:pt x="2204" y="1224"/>
                    <a:pt x="2195" y="1224"/>
                  </a:cubicBezTo>
                  <a:cubicBezTo>
                    <a:pt x="2195" y="1224"/>
                    <a:pt x="2195" y="1224"/>
                    <a:pt x="2195" y="1224"/>
                  </a:cubicBezTo>
                  <a:moveTo>
                    <a:pt x="2240" y="1224"/>
                  </a:moveTo>
                  <a:cubicBezTo>
                    <a:pt x="2231" y="1224"/>
                    <a:pt x="2224" y="1228"/>
                    <a:pt x="2223" y="1234"/>
                  </a:cubicBezTo>
                  <a:cubicBezTo>
                    <a:pt x="2223" y="1240"/>
                    <a:pt x="2230" y="1244"/>
                    <a:pt x="2238" y="1244"/>
                  </a:cubicBezTo>
                  <a:cubicBezTo>
                    <a:pt x="2247" y="1244"/>
                    <a:pt x="2255" y="1240"/>
                    <a:pt x="2255" y="1234"/>
                  </a:cubicBezTo>
                  <a:cubicBezTo>
                    <a:pt x="2255" y="1228"/>
                    <a:pt x="2249" y="1224"/>
                    <a:pt x="2240" y="1224"/>
                  </a:cubicBezTo>
                  <a:cubicBezTo>
                    <a:pt x="2240" y="1224"/>
                    <a:pt x="2240" y="1224"/>
                    <a:pt x="2240" y="1224"/>
                  </a:cubicBezTo>
                  <a:moveTo>
                    <a:pt x="2285" y="1224"/>
                  </a:moveTo>
                  <a:cubicBezTo>
                    <a:pt x="2277" y="1224"/>
                    <a:pt x="2269" y="1228"/>
                    <a:pt x="2269" y="1234"/>
                  </a:cubicBezTo>
                  <a:cubicBezTo>
                    <a:pt x="2268" y="1240"/>
                    <a:pt x="2275" y="1244"/>
                    <a:pt x="2284" y="1244"/>
                  </a:cubicBezTo>
                  <a:cubicBezTo>
                    <a:pt x="2293" y="1244"/>
                    <a:pt x="2300" y="1240"/>
                    <a:pt x="2301" y="1234"/>
                  </a:cubicBezTo>
                  <a:cubicBezTo>
                    <a:pt x="2301" y="1228"/>
                    <a:pt x="2294" y="1224"/>
                    <a:pt x="2285" y="1224"/>
                  </a:cubicBezTo>
                  <a:cubicBezTo>
                    <a:pt x="2285" y="1224"/>
                    <a:pt x="2285" y="1224"/>
                    <a:pt x="2285" y="1224"/>
                  </a:cubicBezTo>
                  <a:moveTo>
                    <a:pt x="2330" y="1224"/>
                  </a:moveTo>
                  <a:cubicBezTo>
                    <a:pt x="2321" y="1224"/>
                    <a:pt x="2314" y="1228"/>
                    <a:pt x="2314" y="1234"/>
                  </a:cubicBezTo>
                  <a:cubicBezTo>
                    <a:pt x="2313" y="1239"/>
                    <a:pt x="2320" y="1244"/>
                    <a:pt x="2329" y="1244"/>
                  </a:cubicBezTo>
                  <a:cubicBezTo>
                    <a:pt x="2338" y="1244"/>
                    <a:pt x="2345" y="1239"/>
                    <a:pt x="2346" y="1234"/>
                  </a:cubicBezTo>
                  <a:cubicBezTo>
                    <a:pt x="2346" y="1228"/>
                    <a:pt x="2339" y="1224"/>
                    <a:pt x="2330" y="1224"/>
                  </a:cubicBezTo>
                  <a:cubicBezTo>
                    <a:pt x="2330" y="1224"/>
                    <a:pt x="2330" y="1224"/>
                    <a:pt x="2330" y="1224"/>
                  </a:cubicBezTo>
                  <a:moveTo>
                    <a:pt x="2375" y="1223"/>
                  </a:moveTo>
                  <a:cubicBezTo>
                    <a:pt x="2366" y="1223"/>
                    <a:pt x="2359" y="1228"/>
                    <a:pt x="2359" y="1234"/>
                  </a:cubicBezTo>
                  <a:cubicBezTo>
                    <a:pt x="2359" y="1239"/>
                    <a:pt x="2366" y="1244"/>
                    <a:pt x="2375" y="1244"/>
                  </a:cubicBezTo>
                  <a:cubicBezTo>
                    <a:pt x="2383" y="1244"/>
                    <a:pt x="2391" y="1239"/>
                    <a:pt x="2391" y="1234"/>
                  </a:cubicBezTo>
                  <a:cubicBezTo>
                    <a:pt x="2391" y="1228"/>
                    <a:pt x="2384" y="1223"/>
                    <a:pt x="2375" y="1223"/>
                  </a:cubicBezTo>
                  <a:cubicBezTo>
                    <a:pt x="2375" y="1223"/>
                    <a:pt x="2375" y="1223"/>
                    <a:pt x="2375" y="1223"/>
                  </a:cubicBezTo>
                  <a:moveTo>
                    <a:pt x="2421" y="1223"/>
                  </a:moveTo>
                  <a:cubicBezTo>
                    <a:pt x="2412" y="1223"/>
                    <a:pt x="2405" y="1228"/>
                    <a:pt x="2405" y="1234"/>
                  </a:cubicBezTo>
                  <a:cubicBezTo>
                    <a:pt x="2405" y="1239"/>
                    <a:pt x="2412" y="1244"/>
                    <a:pt x="2420" y="1244"/>
                  </a:cubicBezTo>
                  <a:cubicBezTo>
                    <a:pt x="2429" y="1244"/>
                    <a:pt x="2436" y="1239"/>
                    <a:pt x="2436" y="1234"/>
                  </a:cubicBezTo>
                  <a:cubicBezTo>
                    <a:pt x="2437" y="1228"/>
                    <a:pt x="2430" y="1223"/>
                    <a:pt x="2421" y="1223"/>
                  </a:cubicBezTo>
                  <a:cubicBezTo>
                    <a:pt x="2421" y="1223"/>
                    <a:pt x="2421" y="1223"/>
                    <a:pt x="2421" y="1223"/>
                  </a:cubicBezTo>
                  <a:moveTo>
                    <a:pt x="2468" y="1223"/>
                  </a:moveTo>
                  <a:cubicBezTo>
                    <a:pt x="2459" y="1223"/>
                    <a:pt x="2452" y="1228"/>
                    <a:pt x="2452" y="1233"/>
                  </a:cubicBezTo>
                  <a:cubicBezTo>
                    <a:pt x="2452" y="1239"/>
                    <a:pt x="2459" y="1244"/>
                    <a:pt x="2468" y="1244"/>
                  </a:cubicBezTo>
                  <a:cubicBezTo>
                    <a:pt x="2476" y="1244"/>
                    <a:pt x="2484" y="1239"/>
                    <a:pt x="2483" y="1233"/>
                  </a:cubicBezTo>
                  <a:cubicBezTo>
                    <a:pt x="2483" y="1228"/>
                    <a:pt x="2476" y="1223"/>
                    <a:pt x="2468" y="1223"/>
                  </a:cubicBezTo>
                  <a:cubicBezTo>
                    <a:pt x="2468" y="1223"/>
                    <a:pt x="2468" y="1223"/>
                    <a:pt x="2468" y="1223"/>
                  </a:cubicBezTo>
                  <a:moveTo>
                    <a:pt x="2513" y="1223"/>
                  </a:moveTo>
                  <a:cubicBezTo>
                    <a:pt x="2504" y="1223"/>
                    <a:pt x="2497" y="1228"/>
                    <a:pt x="2497" y="1233"/>
                  </a:cubicBezTo>
                  <a:cubicBezTo>
                    <a:pt x="2497" y="1239"/>
                    <a:pt x="2504" y="1244"/>
                    <a:pt x="2513" y="1244"/>
                  </a:cubicBezTo>
                  <a:cubicBezTo>
                    <a:pt x="2522" y="1244"/>
                    <a:pt x="2529" y="1239"/>
                    <a:pt x="2529" y="1233"/>
                  </a:cubicBezTo>
                  <a:cubicBezTo>
                    <a:pt x="2529" y="1228"/>
                    <a:pt x="2521" y="1223"/>
                    <a:pt x="2513" y="1223"/>
                  </a:cubicBezTo>
                  <a:cubicBezTo>
                    <a:pt x="2513" y="1223"/>
                    <a:pt x="2513" y="1223"/>
                    <a:pt x="2513" y="1223"/>
                  </a:cubicBezTo>
                  <a:moveTo>
                    <a:pt x="2558" y="1223"/>
                  </a:moveTo>
                  <a:cubicBezTo>
                    <a:pt x="2549" y="1223"/>
                    <a:pt x="2542" y="1228"/>
                    <a:pt x="2542" y="1233"/>
                  </a:cubicBezTo>
                  <a:cubicBezTo>
                    <a:pt x="2543" y="1239"/>
                    <a:pt x="2550" y="1243"/>
                    <a:pt x="2559" y="1243"/>
                  </a:cubicBezTo>
                  <a:cubicBezTo>
                    <a:pt x="2568" y="1243"/>
                    <a:pt x="2575" y="1239"/>
                    <a:pt x="2574" y="1233"/>
                  </a:cubicBezTo>
                  <a:cubicBezTo>
                    <a:pt x="2574" y="1228"/>
                    <a:pt x="2567" y="1223"/>
                    <a:pt x="2558" y="1223"/>
                  </a:cubicBezTo>
                  <a:cubicBezTo>
                    <a:pt x="2558" y="1223"/>
                    <a:pt x="2558" y="1223"/>
                    <a:pt x="2558" y="1223"/>
                  </a:cubicBezTo>
                  <a:moveTo>
                    <a:pt x="2604" y="1223"/>
                  </a:moveTo>
                  <a:cubicBezTo>
                    <a:pt x="2595" y="1223"/>
                    <a:pt x="2588" y="1227"/>
                    <a:pt x="2589" y="1233"/>
                  </a:cubicBezTo>
                  <a:cubicBezTo>
                    <a:pt x="2589" y="1239"/>
                    <a:pt x="2596" y="1243"/>
                    <a:pt x="2605" y="1243"/>
                  </a:cubicBezTo>
                  <a:cubicBezTo>
                    <a:pt x="2614" y="1243"/>
                    <a:pt x="2621" y="1239"/>
                    <a:pt x="2620" y="1233"/>
                  </a:cubicBezTo>
                  <a:cubicBezTo>
                    <a:pt x="2620" y="1227"/>
                    <a:pt x="2613" y="1223"/>
                    <a:pt x="2604" y="1223"/>
                  </a:cubicBezTo>
                  <a:cubicBezTo>
                    <a:pt x="2604" y="1223"/>
                    <a:pt x="2604" y="1223"/>
                    <a:pt x="2604" y="1223"/>
                  </a:cubicBezTo>
                  <a:moveTo>
                    <a:pt x="2649" y="1223"/>
                  </a:moveTo>
                  <a:cubicBezTo>
                    <a:pt x="2640" y="1223"/>
                    <a:pt x="2633" y="1227"/>
                    <a:pt x="2634" y="1233"/>
                  </a:cubicBezTo>
                  <a:cubicBezTo>
                    <a:pt x="2634" y="1239"/>
                    <a:pt x="2641" y="1243"/>
                    <a:pt x="2650" y="1243"/>
                  </a:cubicBezTo>
                  <a:cubicBezTo>
                    <a:pt x="2659" y="1243"/>
                    <a:pt x="2666" y="1239"/>
                    <a:pt x="2666" y="1233"/>
                  </a:cubicBezTo>
                  <a:cubicBezTo>
                    <a:pt x="2665" y="1227"/>
                    <a:pt x="2658" y="1223"/>
                    <a:pt x="2649" y="1223"/>
                  </a:cubicBezTo>
                  <a:cubicBezTo>
                    <a:pt x="2649" y="1223"/>
                    <a:pt x="2649" y="1223"/>
                    <a:pt x="2649" y="1223"/>
                  </a:cubicBezTo>
                  <a:moveTo>
                    <a:pt x="2695" y="1223"/>
                  </a:moveTo>
                  <a:cubicBezTo>
                    <a:pt x="2686" y="1223"/>
                    <a:pt x="2679" y="1227"/>
                    <a:pt x="2680" y="1233"/>
                  </a:cubicBezTo>
                  <a:cubicBezTo>
                    <a:pt x="2680" y="1239"/>
                    <a:pt x="2688" y="1243"/>
                    <a:pt x="2696" y="1243"/>
                  </a:cubicBezTo>
                  <a:cubicBezTo>
                    <a:pt x="2705" y="1243"/>
                    <a:pt x="2712" y="1238"/>
                    <a:pt x="2712" y="1233"/>
                  </a:cubicBezTo>
                  <a:cubicBezTo>
                    <a:pt x="2711" y="1227"/>
                    <a:pt x="2704" y="1223"/>
                    <a:pt x="2695" y="1223"/>
                  </a:cubicBezTo>
                  <a:cubicBezTo>
                    <a:pt x="2695" y="1223"/>
                    <a:pt x="2695" y="1223"/>
                    <a:pt x="2695" y="1223"/>
                  </a:cubicBezTo>
                  <a:moveTo>
                    <a:pt x="4145" y="1219"/>
                  </a:moveTo>
                  <a:cubicBezTo>
                    <a:pt x="4137" y="1219"/>
                    <a:pt x="4132" y="1223"/>
                    <a:pt x="4135" y="1229"/>
                  </a:cubicBezTo>
                  <a:cubicBezTo>
                    <a:pt x="4138" y="1235"/>
                    <a:pt x="4148" y="1239"/>
                    <a:pt x="4156" y="1239"/>
                  </a:cubicBezTo>
                  <a:cubicBezTo>
                    <a:pt x="4165" y="1239"/>
                    <a:pt x="4170" y="1235"/>
                    <a:pt x="4167" y="1229"/>
                  </a:cubicBezTo>
                  <a:cubicBezTo>
                    <a:pt x="4164" y="1223"/>
                    <a:pt x="4154" y="1219"/>
                    <a:pt x="4145" y="1219"/>
                  </a:cubicBezTo>
                  <a:cubicBezTo>
                    <a:pt x="4145" y="1219"/>
                    <a:pt x="4145" y="1219"/>
                    <a:pt x="4145" y="1219"/>
                  </a:cubicBezTo>
                  <a:moveTo>
                    <a:pt x="4825" y="1215"/>
                  </a:moveTo>
                  <a:cubicBezTo>
                    <a:pt x="4816" y="1215"/>
                    <a:pt x="4813" y="1220"/>
                    <a:pt x="4817" y="1225"/>
                  </a:cubicBezTo>
                  <a:cubicBezTo>
                    <a:pt x="4821" y="1231"/>
                    <a:pt x="4832" y="1236"/>
                    <a:pt x="4840" y="1236"/>
                  </a:cubicBezTo>
                  <a:cubicBezTo>
                    <a:pt x="4849" y="1236"/>
                    <a:pt x="4853" y="1231"/>
                    <a:pt x="4849" y="1225"/>
                  </a:cubicBezTo>
                  <a:cubicBezTo>
                    <a:pt x="4844" y="1220"/>
                    <a:pt x="4834" y="1215"/>
                    <a:pt x="4825" y="1215"/>
                  </a:cubicBezTo>
                  <a:cubicBezTo>
                    <a:pt x="4825" y="1215"/>
                    <a:pt x="4825" y="1215"/>
                    <a:pt x="4825" y="1215"/>
                  </a:cubicBezTo>
                  <a:moveTo>
                    <a:pt x="4869" y="1215"/>
                  </a:moveTo>
                  <a:cubicBezTo>
                    <a:pt x="4860" y="1215"/>
                    <a:pt x="4857" y="1220"/>
                    <a:pt x="4861" y="1225"/>
                  </a:cubicBezTo>
                  <a:cubicBezTo>
                    <a:pt x="4865" y="1231"/>
                    <a:pt x="4876" y="1236"/>
                    <a:pt x="4885" y="1236"/>
                  </a:cubicBezTo>
                  <a:cubicBezTo>
                    <a:pt x="4894" y="1236"/>
                    <a:pt x="4897" y="1231"/>
                    <a:pt x="4893" y="1225"/>
                  </a:cubicBezTo>
                  <a:cubicBezTo>
                    <a:pt x="4888" y="1220"/>
                    <a:pt x="4878" y="1215"/>
                    <a:pt x="4869" y="1215"/>
                  </a:cubicBezTo>
                  <a:cubicBezTo>
                    <a:pt x="4869" y="1215"/>
                    <a:pt x="4869" y="1215"/>
                    <a:pt x="4869" y="1215"/>
                  </a:cubicBezTo>
                  <a:moveTo>
                    <a:pt x="4914" y="1215"/>
                  </a:moveTo>
                  <a:cubicBezTo>
                    <a:pt x="4906" y="1215"/>
                    <a:pt x="4902" y="1220"/>
                    <a:pt x="4907" y="1225"/>
                  </a:cubicBezTo>
                  <a:cubicBezTo>
                    <a:pt x="4911" y="1231"/>
                    <a:pt x="4922" y="1236"/>
                    <a:pt x="4930" y="1236"/>
                  </a:cubicBezTo>
                  <a:cubicBezTo>
                    <a:pt x="4939" y="1235"/>
                    <a:pt x="4943" y="1231"/>
                    <a:pt x="4938" y="1225"/>
                  </a:cubicBezTo>
                  <a:cubicBezTo>
                    <a:pt x="4934" y="1219"/>
                    <a:pt x="4923" y="1215"/>
                    <a:pt x="4915" y="1215"/>
                  </a:cubicBezTo>
                  <a:cubicBezTo>
                    <a:pt x="4914" y="1215"/>
                    <a:pt x="4914" y="1215"/>
                    <a:pt x="4914" y="1215"/>
                  </a:cubicBezTo>
                  <a:moveTo>
                    <a:pt x="4960" y="1215"/>
                  </a:moveTo>
                  <a:cubicBezTo>
                    <a:pt x="4952" y="1215"/>
                    <a:pt x="4948" y="1219"/>
                    <a:pt x="4953" y="1225"/>
                  </a:cubicBezTo>
                  <a:cubicBezTo>
                    <a:pt x="4957" y="1231"/>
                    <a:pt x="4968" y="1235"/>
                    <a:pt x="4977" y="1235"/>
                  </a:cubicBezTo>
                  <a:cubicBezTo>
                    <a:pt x="4986" y="1235"/>
                    <a:pt x="4989" y="1231"/>
                    <a:pt x="4984" y="1225"/>
                  </a:cubicBezTo>
                  <a:cubicBezTo>
                    <a:pt x="4980" y="1219"/>
                    <a:pt x="4969" y="1215"/>
                    <a:pt x="4960" y="1215"/>
                  </a:cubicBezTo>
                  <a:cubicBezTo>
                    <a:pt x="4960" y="1215"/>
                    <a:pt x="4960" y="1215"/>
                    <a:pt x="4960" y="1215"/>
                  </a:cubicBezTo>
                  <a:moveTo>
                    <a:pt x="264" y="1198"/>
                  </a:moveTo>
                  <a:cubicBezTo>
                    <a:pt x="255" y="1198"/>
                    <a:pt x="245" y="1203"/>
                    <a:pt x="241" y="1209"/>
                  </a:cubicBezTo>
                  <a:cubicBezTo>
                    <a:pt x="237" y="1214"/>
                    <a:pt x="240" y="1219"/>
                    <a:pt x="249" y="1219"/>
                  </a:cubicBezTo>
                  <a:cubicBezTo>
                    <a:pt x="258" y="1219"/>
                    <a:pt x="268" y="1214"/>
                    <a:pt x="272" y="1208"/>
                  </a:cubicBezTo>
                  <a:cubicBezTo>
                    <a:pt x="276" y="1203"/>
                    <a:pt x="272" y="1198"/>
                    <a:pt x="264" y="1198"/>
                  </a:cubicBezTo>
                  <a:cubicBezTo>
                    <a:pt x="264" y="1198"/>
                    <a:pt x="264" y="1198"/>
                    <a:pt x="264" y="1198"/>
                  </a:cubicBezTo>
                  <a:moveTo>
                    <a:pt x="308" y="1198"/>
                  </a:moveTo>
                  <a:cubicBezTo>
                    <a:pt x="300" y="1198"/>
                    <a:pt x="289" y="1203"/>
                    <a:pt x="285" y="1208"/>
                  </a:cubicBezTo>
                  <a:cubicBezTo>
                    <a:pt x="282" y="1214"/>
                    <a:pt x="285" y="1218"/>
                    <a:pt x="294" y="1218"/>
                  </a:cubicBezTo>
                  <a:cubicBezTo>
                    <a:pt x="303" y="1218"/>
                    <a:pt x="313" y="1214"/>
                    <a:pt x="317" y="1208"/>
                  </a:cubicBezTo>
                  <a:cubicBezTo>
                    <a:pt x="321" y="1203"/>
                    <a:pt x="317" y="1198"/>
                    <a:pt x="308" y="1198"/>
                  </a:cubicBezTo>
                  <a:cubicBezTo>
                    <a:pt x="308" y="1198"/>
                    <a:pt x="308" y="1198"/>
                    <a:pt x="308" y="1198"/>
                  </a:cubicBezTo>
                  <a:moveTo>
                    <a:pt x="353" y="1198"/>
                  </a:moveTo>
                  <a:cubicBezTo>
                    <a:pt x="345" y="1198"/>
                    <a:pt x="334" y="1203"/>
                    <a:pt x="331" y="1208"/>
                  </a:cubicBezTo>
                  <a:cubicBezTo>
                    <a:pt x="327" y="1214"/>
                    <a:pt x="331" y="1218"/>
                    <a:pt x="339" y="1218"/>
                  </a:cubicBezTo>
                  <a:cubicBezTo>
                    <a:pt x="348" y="1218"/>
                    <a:pt x="358" y="1214"/>
                    <a:pt x="362" y="1208"/>
                  </a:cubicBezTo>
                  <a:cubicBezTo>
                    <a:pt x="366" y="1203"/>
                    <a:pt x="362" y="1198"/>
                    <a:pt x="353" y="1198"/>
                  </a:cubicBezTo>
                  <a:cubicBezTo>
                    <a:pt x="353" y="1198"/>
                    <a:pt x="353" y="1198"/>
                    <a:pt x="353" y="1198"/>
                  </a:cubicBezTo>
                  <a:moveTo>
                    <a:pt x="398" y="1198"/>
                  </a:moveTo>
                  <a:cubicBezTo>
                    <a:pt x="389" y="1198"/>
                    <a:pt x="379" y="1203"/>
                    <a:pt x="375" y="1208"/>
                  </a:cubicBezTo>
                  <a:cubicBezTo>
                    <a:pt x="372" y="1214"/>
                    <a:pt x="376" y="1218"/>
                    <a:pt x="385" y="1218"/>
                  </a:cubicBezTo>
                  <a:cubicBezTo>
                    <a:pt x="393" y="1218"/>
                    <a:pt x="403" y="1214"/>
                    <a:pt x="407" y="1208"/>
                  </a:cubicBezTo>
                  <a:cubicBezTo>
                    <a:pt x="411" y="1202"/>
                    <a:pt x="407" y="1198"/>
                    <a:pt x="398" y="1198"/>
                  </a:cubicBezTo>
                  <a:cubicBezTo>
                    <a:pt x="398" y="1198"/>
                    <a:pt x="398" y="1198"/>
                    <a:pt x="398" y="1198"/>
                  </a:cubicBezTo>
                  <a:moveTo>
                    <a:pt x="443" y="1198"/>
                  </a:moveTo>
                  <a:cubicBezTo>
                    <a:pt x="434" y="1198"/>
                    <a:pt x="424" y="1202"/>
                    <a:pt x="421" y="1208"/>
                  </a:cubicBezTo>
                  <a:cubicBezTo>
                    <a:pt x="417" y="1214"/>
                    <a:pt x="421" y="1218"/>
                    <a:pt x="430" y="1218"/>
                  </a:cubicBezTo>
                  <a:cubicBezTo>
                    <a:pt x="439" y="1218"/>
                    <a:pt x="449" y="1214"/>
                    <a:pt x="452" y="1208"/>
                  </a:cubicBezTo>
                  <a:cubicBezTo>
                    <a:pt x="456" y="1202"/>
                    <a:pt x="452" y="1198"/>
                    <a:pt x="443" y="1198"/>
                  </a:cubicBezTo>
                  <a:cubicBezTo>
                    <a:pt x="443" y="1198"/>
                    <a:pt x="443" y="1198"/>
                    <a:pt x="443" y="1198"/>
                  </a:cubicBezTo>
                  <a:moveTo>
                    <a:pt x="490" y="1198"/>
                  </a:moveTo>
                  <a:cubicBezTo>
                    <a:pt x="481" y="1198"/>
                    <a:pt x="471" y="1202"/>
                    <a:pt x="467" y="1208"/>
                  </a:cubicBezTo>
                  <a:cubicBezTo>
                    <a:pt x="464" y="1214"/>
                    <a:pt x="468" y="1218"/>
                    <a:pt x="477" y="1218"/>
                  </a:cubicBezTo>
                  <a:cubicBezTo>
                    <a:pt x="485" y="1218"/>
                    <a:pt x="495" y="1213"/>
                    <a:pt x="499" y="1208"/>
                  </a:cubicBezTo>
                  <a:cubicBezTo>
                    <a:pt x="502" y="1202"/>
                    <a:pt x="498" y="1198"/>
                    <a:pt x="490" y="1198"/>
                  </a:cubicBezTo>
                  <a:cubicBezTo>
                    <a:pt x="490" y="1198"/>
                    <a:pt x="490" y="1198"/>
                    <a:pt x="490" y="1198"/>
                  </a:cubicBezTo>
                  <a:moveTo>
                    <a:pt x="534" y="1198"/>
                  </a:moveTo>
                  <a:cubicBezTo>
                    <a:pt x="526" y="1198"/>
                    <a:pt x="516" y="1202"/>
                    <a:pt x="512" y="1208"/>
                  </a:cubicBezTo>
                  <a:cubicBezTo>
                    <a:pt x="509" y="1213"/>
                    <a:pt x="513" y="1218"/>
                    <a:pt x="522" y="1218"/>
                  </a:cubicBezTo>
                  <a:cubicBezTo>
                    <a:pt x="530" y="1218"/>
                    <a:pt x="540" y="1213"/>
                    <a:pt x="544" y="1208"/>
                  </a:cubicBezTo>
                  <a:cubicBezTo>
                    <a:pt x="547" y="1202"/>
                    <a:pt x="543" y="1198"/>
                    <a:pt x="534" y="1198"/>
                  </a:cubicBezTo>
                  <a:cubicBezTo>
                    <a:pt x="534" y="1198"/>
                    <a:pt x="534" y="1198"/>
                    <a:pt x="534" y="1198"/>
                  </a:cubicBezTo>
                  <a:moveTo>
                    <a:pt x="579" y="1197"/>
                  </a:moveTo>
                  <a:cubicBezTo>
                    <a:pt x="571" y="1197"/>
                    <a:pt x="561" y="1202"/>
                    <a:pt x="557" y="1208"/>
                  </a:cubicBezTo>
                  <a:cubicBezTo>
                    <a:pt x="554" y="1213"/>
                    <a:pt x="558" y="1218"/>
                    <a:pt x="567" y="1218"/>
                  </a:cubicBezTo>
                  <a:cubicBezTo>
                    <a:pt x="576" y="1218"/>
                    <a:pt x="586" y="1213"/>
                    <a:pt x="589" y="1208"/>
                  </a:cubicBezTo>
                  <a:cubicBezTo>
                    <a:pt x="592" y="1202"/>
                    <a:pt x="588" y="1197"/>
                    <a:pt x="579" y="1197"/>
                  </a:cubicBezTo>
                  <a:cubicBezTo>
                    <a:pt x="579" y="1197"/>
                    <a:pt x="579" y="1197"/>
                    <a:pt x="579" y="1197"/>
                  </a:cubicBezTo>
                  <a:moveTo>
                    <a:pt x="625" y="1197"/>
                  </a:moveTo>
                  <a:cubicBezTo>
                    <a:pt x="616" y="1197"/>
                    <a:pt x="606" y="1202"/>
                    <a:pt x="603" y="1208"/>
                  </a:cubicBezTo>
                  <a:cubicBezTo>
                    <a:pt x="600" y="1213"/>
                    <a:pt x="604" y="1218"/>
                    <a:pt x="613" y="1218"/>
                  </a:cubicBezTo>
                  <a:cubicBezTo>
                    <a:pt x="622" y="1218"/>
                    <a:pt x="631" y="1213"/>
                    <a:pt x="635" y="1207"/>
                  </a:cubicBezTo>
                  <a:cubicBezTo>
                    <a:pt x="638" y="1202"/>
                    <a:pt x="634" y="1197"/>
                    <a:pt x="625" y="1197"/>
                  </a:cubicBezTo>
                  <a:cubicBezTo>
                    <a:pt x="625" y="1197"/>
                    <a:pt x="625" y="1197"/>
                    <a:pt x="625" y="1197"/>
                  </a:cubicBezTo>
                  <a:moveTo>
                    <a:pt x="670" y="1197"/>
                  </a:moveTo>
                  <a:cubicBezTo>
                    <a:pt x="661" y="1197"/>
                    <a:pt x="651" y="1202"/>
                    <a:pt x="648" y="1207"/>
                  </a:cubicBezTo>
                  <a:cubicBezTo>
                    <a:pt x="645" y="1213"/>
                    <a:pt x="649" y="1218"/>
                    <a:pt x="658" y="1218"/>
                  </a:cubicBezTo>
                  <a:cubicBezTo>
                    <a:pt x="667" y="1218"/>
                    <a:pt x="676" y="1213"/>
                    <a:pt x="680" y="1207"/>
                  </a:cubicBezTo>
                  <a:cubicBezTo>
                    <a:pt x="683" y="1202"/>
                    <a:pt x="678" y="1197"/>
                    <a:pt x="670" y="1197"/>
                  </a:cubicBezTo>
                  <a:cubicBezTo>
                    <a:pt x="670" y="1197"/>
                    <a:pt x="670" y="1197"/>
                    <a:pt x="670" y="1197"/>
                  </a:cubicBezTo>
                  <a:moveTo>
                    <a:pt x="715" y="1197"/>
                  </a:moveTo>
                  <a:cubicBezTo>
                    <a:pt x="706" y="1197"/>
                    <a:pt x="696" y="1202"/>
                    <a:pt x="693" y="1207"/>
                  </a:cubicBezTo>
                  <a:cubicBezTo>
                    <a:pt x="690" y="1213"/>
                    <a:pt x="694" y="1217"/>
                    <a:pt x="703" y="1217"/>
                  </a:cubicBezTo>
                  <a:cubicBezTo>
                    <a:pt x="712" y="1217"/>
                    <a:pt x="722" y="1213"/>
                    <a:pt x="725" y="1207"/>
                  </a:cubicBezTo>
                  <a:cubicBezTo>
                    <a:pt x="728" y="1202"/>
                    <a:pt x="723" y="1197"/>
                    <a:pt x="715" y="1197"/>
                  </a:cubicBezTo>
                  <a:cubicBezTo>
                    <a:pt x="715" y="1197"/>
                    <a:pt x="715" y="1197"/>
                    <a:pt x="715" y="1197"/>
                  </a:cubicBezTo>
                  <a:moveTo>
                    <a:pt x="759" y="1197"/>
                  </a:moveTo>
                  <a:cubicBezTo>
                    <a:pt x="751" y="1197"/>
                    <a:pt x="741" y="1202"/>
                    <a:pt x="738" y="1207"/>
                  </a:cubicBezTo>
                  <a:cubicBezTo>
                    <a:pt x="735" y="1213"/>
                    <a:pt x="739" y="1217"/>
                    <a:pt x="748" y="1217"/>
                  </a:cubicBezTo>
                  <a:cubicBezTo>
                    <a:pt x="757" y="1217"/>
                    <a:pt x="767" y="1213"/>
                    <a:pt x="770" y="1207"/>
                  </a:cubicBezTo>
                  <a:cubicBezTo>
                    <a:pt x="773" y="1202"/>
                    <a:pt x="768" y="1197"/>
                    <a:pt x="759" y="1197"/>
                  </a:cubicBezTo>
                  <a:cubicBezTo>
                    <a:pt x="759" y="1197"/>
                    <a:pt x="759" y="1197"/>
                    <a:pt x="759" y="1197"/>
                  </a:cubicBezTo>
                  <a:moveTo>
                    <a:pt x="804" y="1197"/>
                  </a:moveTo>
                  <a:cubicBezTo>
                    <a:pt x="796" y="1197"/>
                    <a:pt x="786" y="1201"/>
                    <a:pt x="783" y="1207"/>
                  </a:cubicBezTo>
                  <a:cubicBezTo>
                    <a:pt x="780" y="1213"/>
                    <a:pt x="785" y="1217"/>
                    <a:pt x="794" y="1217"/>
                  </a:cubicBezTo>
                  <a:cubicBezTo>
                    <a:pt x="802" y="1217"/>
                    <a:pt x="812" y="1213"/>
                    <a:pt x="815" y="1207"/>
                  </a:cubicBezTo>
                  <a:cubicBezTo>
                    <a:pt x="818" y="1201"/>
                    <a:pt x="813" y="1197"/>
                    <a:pt x="805" y="1197"/>
                  </a:cubicBezTo>
                  <a:cubicBezTo>
                    <a:pt x="804" y="1197"/>
                    <a:pt x="804" y="1197"/>
                    <a:pt x="804" y="1197"/>
                  </a:cubicBezTo>
                  <a:moveTo>
                    <a:pt x="850" y="1197"/>
                  </a:moveTo>
                  <a:cubicBezTo>
                    <a:pt x="841" y="1197"/>
                    <a:pt x="832" y="1201"/>
                    <a:pt x="829" y="1207"/>
                  </a:cubicBezTo>
                  <a:cubicBezTo>
                    <a:pt x="826" y="1213"/>
                    <a:pt x="831" y="1217"/>
                    <a:pt x="839" y="1217"/>
                  </a:cubicBezTo>
                  <a:cubicBezTo>
                    <a:pt x="848" y="1217"/>
                    <a:pt x="858" y="1212"/>
                    <a:pt x="860" y="1207"/>
                  </a:cubicBezTo>
                  <a:cubicBezTo>
                    <a:pt x="863" y="1201"/>
                    <a:pt x="859" y="1197"/>
                    <a:pt x="850" y="1197"/>
                  </a:cubicBezTo>
                  <a:cubicBezTo>
                    <a:pt x="850" y="1197"/>
                    <a:pt x="850" y="1197"/>
                    <a:pt x="850" y="1197"/>
                  </a:cubicBezTo>
                  <a:moveTo>
                    <a:pt x="895" y="1197"/>
                  </a:moveTo>
                  <a:cubicBezTo>
                    <a:pt x="886" y="1197"/>
                    <a:pt x="877" y="1201"/>
                    <a:pt x="874" y="1207"/>
                  </a:cubicBezTo>
                  <a:cubicBezTo>
                    <a:pt x="871" y="1212"/>
                    <a:pt x="876" y="1217"/>
                    <a:pt x="884" y="1217"/>
                  </a:cubicBezTo>
                  <a:cubicBezTo>
                    <a:pt x="893" y="1217"/>
                    <a:pt x="903" y="1212"/>
                    <a:pt x="905" y="1207"/>
                  </a:cubicBezTo>
                  <a:cubicBezTo>
                    <a:pt x="908" y="1201"/>
                    <a:pt x="903" y="1197"/>
                    <a:pt x="895" y="1197"/>
                  </a:cubicBezTo>
                  <a:cubicBezTo>
                    <a:pt x="895" y="1197"/>
                    <a:pt x="895" y="1197"/>
                    <a:pt x="895" y="1197"/>
                  </a:cubicBezTo>
                  <a:moveTo>
                    <a:pt x="940" y="1196"/>
                  </a:moveTo>
                  <a:cubicBezTo>
                    <a:pt x="931" y="1197"/>
                    <a:pt x="922" y="1201"/>
                    <a:pt x="919" y="1207"/>
                  </a:cubicBezTo>
                  <a:cubicBezTo>
                    <a:pt x="916" y="1212"/>
                    <a:pt x="921" y="1217"/>
                    <a:pt x="930" y="1217"/>
                  </a:cubicBezTo>
                  <a:cubicBezTo>
                    <a:pt x="938" y="1217"/>
                    <a:pt x="948" y="1212"/>
                    <a:pt x="950" y="1207"/>
                  </a:cubicBezTo>
                  <a:cubicBezTo>
                    <a:pt x="953" y="1201"/>
                    <a:pt x="948" y="1196"/>
                    <a:pt x="940" y="1196"/>
                  </a:cubicBezTo>
                  <a:cubicBezTo>
                    <a:pt x="940" y="1196"/>
                    <a:pt x="940" y="1196"/>
                    <a:pt x="940" y="1196"/>
                  </a:cubicBezTo>
                  <a:moveTo>
                    <a:pt x="984" y="1196"/>
                  </a:moveTo>
                  <a:cubicBezTo>
                    <a:pt x="976" y="1196"/>
                    <a:pt x="966" y="1201"/>
                    <a:pt x="964" y="1207"/>
                  </a:cubicBezTo>
                  <a:cubicBezTo>
                    <a:pt x="961" y="1212"/>
                    <a:pt x="966" y="1217"/>
                    <a:pt x="975" y="1217"/>
                  </a:cubicBezTo>
                  <a:cubicBezTo>
                    <a:pt x="983" y="1217"/>
                    <a:pt x="993" y="1212"/>
                    <a:pt x="995" y="1206"/>
                  </a:cubicBezTo>
                  <a:cubicBezTo>
                    <a:pt x="998" y="1201"/>
                    <a:pt x="993" y="1196"/>
                    <a:pt x="984" y="1196"/>
                  </a:cubicBezTo>
                  <a:cubicBezTo>
                    <a:pt x="984" y="1196"/>
                    <a:pt x="984" y="1196"/>
                    <a:pt x="984" y="1196"/>
                  </a:cubicBezTo>
                  <a:moveTo>
                    <a:pt x="1029" y="1196"/>
                  </a:moveTo>
                  <a:cubicBezTo>
                    <a:pt x="1021" y="1196"/>
                    <a:pt x="1012" y="1201"/>
                    <a:pt x="1009" y="1206"/>
                  </a:cubicBezTo>
                  <a:cubicBezTo>
                    <a:pt x="1006" y="1212"/>
                    <a:pt x="1011" y="1217"/>
                    <a:pt x="1020" y="1217"/>
                  </a:cubicBezTo>
                  <a:cubicBezTo>
                    <a:pt x="1029" y="1217"/>
                    <a:pt x="1038" y="1212"/>
                    <a:pt x="1041" y="1206"/>
                  </a:cubicBezTo>
                  <a:cubicBezTo>
                    <a:pt x="1043" y="1201"/>
                    <a:pt x="1038" y="1196"/>
                    <a:pt x="1030" y="1196"/>
                  </a:cubicBezTo>
                  <a:cubicBezTo>
                    <a:pt x="1029" y="1196"/>
                    <a:pt x="1029" y="1196"/>
                    <a:pt x="1029" y="1196"/>
                  </a:cubicBezTo>
                  <a:moveTo>
                    <a:pt x="1075" y="1196"/>
                  </a:moveTo>
                  <a:cubicBezTo>
                    <a:pt x="1066" y="1196"/>
                    <a:pt x="1057" y="1201"/>
                    <a:pt x="1055" y="1206"/>
                  </a:cubicBezTo>
                  <a:cubicBezTo>
                    <a:pt x="1052" y="1212"/>
                    <a:pt x="1057" y="1216"/>
                    <a:pt x="1066" y="1216"/>
                  </a:cubicBezTo>
                  <a:cubicBezTo>
                    <a:pt x="1075" y="1216"/>
                    <a:pt x="1084" y="1212"/>
                    <a:pt x="1086" y="1206"/>
                  </a:cubicBezTo>
                  <a:cubicBezTo>
                    <a:pt x="1089" y="1201"/>
                    <a:pt x="1084" y="1196"/>
                    <a:pt x="1075" y="1196"/>
                  </a:cubicBezTo>
                  <a:cubicBezTo>
                    <a:pt x="1075" y="1196"/>
                    <a:pt x="1075" y="1196"/>
                    <a:pt x="1075" y="1196"/>
                  </a:cubicBezTo>
                  <a:moveTo>
                    <a:pt x="1116" y="1196"/>
                  </a:moveTo>
                  <a:cubicBezTo>
                    <a:pt x="1107" y="1196"/>
                    <a:pt x="1098" y="1201"/>
                    <a:pt x="1095" y="1206"/>
                  </a:cubicBezTo>
                  <a:cubicBezTo>
                    <a:pt x="1093" y="1212"/>
                    <a:pt x="1098" y="1216"/>
                    <a:pt x="1107" y="1216"/>
                  </a:cubicBezTo>
                  <a:cubicBezTo>
                    <a:pt x="1116" y="1216"/>
                    <a:pt x="1125" y="1212"/>
                    <a:pt x="1127" y="1206"/>
                  </a:cubicBezTo>
                  <a:cubicBezTo>
                    <a:pt x="1129" y="1201"/>
                    <a:pt x="1124" y="1196"/>
                    <a:pt x="1116" y="1196"/>
                  </a:cubicBezTo>
                  <a:cubicBezTo>
                    <a:pt x="1116" y="1196"/>
                    <a:pt x="1116" y="1196"/>
                    <a:pt x="1116" y="1196"/>
                  </a:cubicBezTo>
                  <a:moveTo>
                    <a:pt x="2153" y="1195"/>
                  </a:moveTo>
                  <a:cubicBezTo>
                    <a:pt x="2144" y="1195"/>
                    <a:pt x="2137" y="1199"/>
                    <a:pt x="2136" y="1205"/>
                  </a:cubicBezTo>
                  <a:cubicBezTo>
                    <a:pt x="2135" y="1211"/>
                    <a:pt x="2142" y="1215"/>
                    <a:pt x="2151" y="1215"/>
                  </a:cubicBezTo>
                  <a:cubicBezTo>
                    <a:pt x="2160" y="1215"/>
                    <a:pt x="2167" y="1211"/>
                    <a:pt x="2168" y="1205"/>
                  </a:cubicBezTo>
                  <a:cubicBezTo>
                    <a:pt x="2168" y="1199"/>
                    <a:pt x="2162" y="1195"/>
                    <a:pt x="2153" y="1195"/>
                  </a:cubicBezTo>
                  <a:cubicBezTo>
                    <a:pt x="2153" y="1195"/>
                    <a:pt x="2153" y="1195"/>
                    <a:pt x="2153" y="1195"/>
                  </a:cubicBezTo>
                  <a:moveTo>
                    <a:pt x="2198" y="1195"/>
                  </a:moveTo>
                  <a:cubicBezTo>
                    <a:pt x="2190" y="1195"/>
                    <a:pt x="2182" y="1199"/>
                    <a:pt x="2182" y="1205"/>
                  </a:cubicBezTo>
                  <a:cubicBezTo>
                    <a:pt x="2181" y="1211"/>
                    <a:pt x="2188" y="1215"/>
                    <a:pt x="2197" y="1215"/>
                  </a:cubicBezTo>
                  <a:cubicBezTo>
                    <a:pt x="2205" y="1215"/>
                    <a:pt x="2213" y="1210"/>
                    <a:pt x="2213" y="1205"/>
                  </a:cubicBezTo>
                  <a:cubicBezTo>
                    <a:pt x="2214" y="1199"/>
                    <a:pt x="2207" y="1195"/>
                    <a:pt x="2198" y="1195"/>
                  </a:cubicBezTo>
                  <a:cubicBezTo>
                    <a:pt x="2198" y="1195"/>
                    <a:pt x="2198" y="1195"/>
                    <a:pt x="2198" y="1195"/>
                  </a:cubicBezTo>
                  <a:moveTo>
                    <a:pt x="2243" y="1195"/>
                  </a:moveTo>
                  <a:cubicBezTo>
                    <a:pt x="2234" y="1195"/>
                    <a:pt x="2227" y="1199"/>
                    <a:pt x="2226" y="1205"/>
                  </a:cubicBezTo>
                  <a:cubicBezTo>
                    <a:pt x="2226" y="1210"/>
                    <a:pt x="2232" y="1215"/>
                    <a:pt x="2241" y="1215"/>
                  </a:cubicBezTo>
                  <a:cubicBezTo>
                    <a:pt x="2250" y="1215"/>
                    <a:pt x="2257" y="1210"/>
                    <a:pt x="2258" y="1205"/>
                  </a:cubicBezTo>
                  <a:cubicBezTo>
                    <a:pt x="2258" y="1199"/>
                    <a:pt x="2251" y="1195"/>
                    <a:pt x="2243" y="1195"/>
                  </a:cubicBezTo>
                  <a:cubicBezTo>
                    <a:pt x="2243" y="1195"/>
                    <a:pt x="2243" y="1195"/>
                    <a:pt x="2243" y="1195"/>
                  </a:cubicBezTo>
                  <a:moveTo>
                    <a:pt x="2287" y="1194"/>
                  </a:moveTo>
                  <a:cubicBezTo>
                    <a:pt x="2279" y="1194"/>
                    <a:pt x="2271" y="1199"/>
                    <a:pt x="2271" y="1205"/>
                  </a:cubicBezTo>
                  <a:cubicBezTo>
                    <a:pt x="2271" y="1210"/>
                    <a:pt x="2277" y="1215"/>
                    <a:pt x="2286" y="1215"/>
                  </a:cubicBezTo>
                  <a:cubicBezTo>
                    <a:pt x="2295" y="1215"/>
                    <a:pt x="2302" y="1210"/>
                    <a:pt x="2303" y="1205"/>
                  </a:cubicBezTo>
                  <a:cubicBezTo>
                    <a:pt x="2303" y="1199"/>
                    <a:pt x="2296" y="1194"/>
                    <a:pt x="2287" y="1194"/>
                  </a:cubicBezTo>
                  <a:cubicBezTo>
                    <a:pt x="2287" y="1194"/>
                    <a:pt x="2287" y="1194"/>
                    <a:pt x="2287" y="1194"/>
                  </a:cubicBezTo>
                  <a:moveTo>
                    <a:pt x="2332" y="1194"/>
                  </a:moveTo>
                  <a:cubicBezTo>
                    <a:pt x="2324" y="1194"/>
                    <a:pt x="2316" y="1199"/>
                    <a:pt x="2316" y="1205"/>
                  </a:cubicBezTo>
                  <a:cubicBezTo>
                    <a:pt x="2316" y="1210"/>
                    <a:pt x="2323" y="1215"/>
                    <a:pt x="2332" y="1215"/>
                  </a:cubicBezTo>
                  <a:cubicBezTo>
                    <a:pt x="2340" y="1215"/>
                    <a:pt x="2348" y="1210"/>
                    <a:pt x="2348" y="1204"/>
                  </a:cubicBezTo>
                  <a:cubicBezTo>
                    <a:pt x="2348" y="1199"/>
                    <a:pt x="2341" y="1194"/>
                    <a:pt x="2333" y="1194"/>
                  </a:cubicBezTo>
                  <a:cubicBezTo>
                    <a:pt x="2333" y="1194"/>
                    <a:pt x="2332" y="1194"/>
                    <a:pt x="2332" y="1194"/>
                  </a:cubicBezTo>
                  <a:moveTo>
                    <a:pt x="2378" y="1194"/>
                  </a:moveTo>
                  <a:cubicBezTo>
                    <a:pt x="2369" y="1194"/>
                    <a:pt x="2362" y="1199"/>
                    <a:pt x="2362" y="1204"/>
                  </a:cubicBezTo>
                  <a:cubicBezTo>
                    <a:pt x="2362" y="1210"/>
                    <a:pt x="2369" y="1215"/>
                    <a:pt x="2377" y="1215"/>
                  </a:cubicBezTo>
                  <a:cubicBezTo>
                    <a:pt x="2386" y="1215"/>
                    <a:pt x="2393" y="1210"/>
                    <a:pt x="2393" y="1204"/>
                  </a:cubicBezTo>
                  <a:cubicBezTo>
                    <a:pt x="2394" y="1199"/>
                    <a:pt x="2387" y="1194"/>
                    <a:pt x="2378" y="1194"/>
                  </a:cubicBezTo>
                  <a:cubicBezTo>
                    <a:pt x="2378" y="1194"/>
                    <a:pt x="2378" y="1194"/>
                    <a:pt x="2378" y="1194"/>
                  </a:cubicBezTo>
                  <a:moveTo>
                    <a:pt x="2423" y="1194"/>
                  </a:moveTo>
                  <a:cubicBezTo>
                    <a:pt x="2414" y="1194"/>
                    <a:pt x="2407" y="1199"/>
                    <a:pt x="2407" y="1204"/>
                  </a:cubicBezTo>
                  <a:cubicBezTo>
                    <a:pt x="2407" y="1210"/>
                    <a:pt x="2414" y="1214"/>
                    <a:pt x="2422" y="1214"/>
                  </a:cubicBezTo>
                  <a:cubicBezTo>
                    <a:pt x="2431" y="1214"/>
                    <a:pt x="2438" y="1210"/>
                    <a:pt x="2438" y="1204"/>
                  </a:cubicBezTo>
                  <a:cubicBezTo>
                    <a:pt x="2438" y="1199"/>
                    <a:pt x="2431" y="1194"/>
                    <a:pt x="2423" y="1194"/>
                  </a:cubicBezTo>
                  <a:cubicBezTo>
                    <a:pt x="2423" y="1194"/>
                    <a:pt x="2423" y="1194"/>
                    <a:pt x="2423" y="1194"/>
                  </a:cubicBezTo>
                  <a:moveTo>
                    <a:pt x="2468" y="1194"/>
                  </a:moveTo>
                  <a:cubicBezTo>
                    <a:pt x="2459" y="1194"/>
                    <a:pt x="2452" y="1199"/>
                    <a:pt x="2452" y="1204"/>
                  </a:cubicBezTo>
                  <a:cubicBezTo>
                    <a:pt x="2452" y="1210"/>
                    <a:pt x="2459" y="1214"/>
                    <a:pt x="2468" y="1214"/>
                  </a:cubicBezTo>
                  <a:cubicBezTo>
                    <a:pt x="2476" y="1214"/>
                    <a:pt x="2483" y="1210"/>
                    <a:pt x="2483" y="1204"/>
                  </a:cubicBezTo>
                  <a:cubicBezTo>
                    <a:pt x="2483" y="1198"/>
                    <a:pt x="2476" y="1194"/>
                    <a:pt x="2468" y="1194"/>
                  </a:cubicBezTo>
                  <a:cubicBezTo>
                    <a:pt x="2468" y="1194"/>
                    <a:pt x="2468" y="1194"/>
                    <a:pt x="2468" y="1194"/>
                  </a:cubicBezTo>
                  <a:moveTo>
                    <a:pt x="2512" y="1194"/>
                  </a:moveTo>
                  <a:cubicBezTo>
                    <a:pt x="2504" y="1194"/>
                    <a:pt x="2497" y="1198"/>
                    <a:pt x="2497" y="1204"/>
                  </a:cubicBezTo>
                  <a:cubicBezTo>
                    <a:pt x="2497" y="1210"/>
                    <a:pt x="2504" y="1214"/>
                    <a:pt x="2512" y="1214"/>
                  </a:cubicBezTo>
                  <a:cubicBezTo>
                    <a:pt x="2521" y="1214"/>
                    <a:pt x="2528" y="1210"/>
                    <a:pt x="2528" y="1204"/>
                  </a:cubicBezTo>
                  <a:cubicBezTo>
                    <a:pt x="2528" y="1198"/>
                    <a:pt x="2521" y="1194"/>
                    <a:pt x="2512" y="1194"/>
                  </a:cubicBezTo>
                  <a:cubicBezTo>
                    <a:pt x="2512" y="1194"/>
                    <a:pt x="2512" y="1194"/>
                    <a:pt x="2512" y="1194"/>
                  </a:cubicBezTo>
                  <a:moveTo>
                    <a:pt x="2557" y="1194"/>
                  </a:moveTo>
                  <a:cubicBezTo>
                    <a:pt x="2549" y="1194"/>
                    <a:pt x="2542" y="1198"/>
                    <a:pt x="2542" y="1204"/>
                  </a:cubicBezTo>
                  <a:cubicBezTo>
                    <a:pt x="2542" y="1210"/>
                    <a:pt x="2549" y="1214"/>
                    <a:pt x="2558" y="1214"/>
                  </a:cubicBezTo>
                  <a:cubicBezTo>
                    <a:pt x="2567" y="1214"/>
                    <a:pt x="2574" y="1209"/>
                    <a:pt x="2573" y="1204"/>
                  </a:cubicBezTo>
                  <a:cubicBezTo>
                    <a:pt x="2573" y="1198"/>
                    <a:pt x="2566" y="1194"/>
                    <a:pt x="2557" y="1194"/>
                  </a:cubicBezTo>
                  <a:cubicBezTo>
                    <a:pt x="2557" y="1194"/>
                    <a:pt x="2557" y="1194"/>
                    <a:pt x="2557" y="1194"/>
                  </a:cubicBezTo>
                  <a:moveTo>
                    <a:pt x="2603" y="1194"/>
                  </a:moveTo>
                  <a:cubicBezTo>
                    <a:pt x="2594" y="1194"/>
                    <a:pt x="2587" y="1198"/>
                    <a:pt x="2587" y="1204"/>
                  </a:cubicBezTo>
                  <a:cubicBezTo>
                    <a:pt x="2588" y="1209"/>
                    <a:pt x="2595" y="1214"/>
                    <a:pt x="2604" y="1214"/>
                  </a:cubicBezTo>
                  <a:cubicBezTo>
                    <a:pt x="2612" y="1214"/>
                    <a:pt x="2619" y="1209"/>
                    <a:pt x="2619" y="1204"/>
                  </a:cubicBezTo>
                  <a:cubicBezTo>
                    <a:pt x="2619" y="1198"/>
                    <a:pt x="2611" y="1194"/>
                    <a:pt x="2603" y="1194"/>
                  </a:cubicBezTo>
                  <a:cubicBezTo>
                    <a:pt x="2603" y="1194"/>
                    <a:pt x="2603" y="1194"/>
                    <a:pt x="2603" y="1194"/>
                  </a:cubicBezTo>
                  <a:moveTo>
                    <a:pt x="2647" y="1193"/>
                  </a:moveTo>
                  <a:cubicBezTo>
                    <a:pt x="2639" y="1193"/>
                    <a:pt x="2632" y="1198"/>
                    <a:pt x="2632" y="1204"/>
                  </a:cubicBezTo>
                  <a:cubicBezTo>
                    <a:pt x="2632" y="1209"/>
                    <a:pt x="2640" y="1214"/>
                    <a:pt x="2649" y="1214"/>
                  </a:cubicBezTo>
                  <a:cubicBezTo>
                    <a:pt x="2657" y="1214"/>
                    <a:pt x="2664" y="1209"/>
                    <a:pt x="2664" y="1204"/>
                  </a:cubicBezTo>
                  <a:cubicBezTo>
                    <a:pt x="2663" y="1198"/>
                    <a:pt x="2656" y="1193"/>
                    <a:pt x="2647" y="1193"/>
                  </a:cubicBezTo>
                  <a:cubicBezTo>
                    <a:pt x="2647" y="1193"/>
                    <a:pt x="2647" y="1193"/>
                    <a:pt x="2647" y="1193"/>
                  </a:cubicBezTo>
                  <a:moveTo>
                    <a:pt x="2693" y="1193"/>
                  </a:moveTo>
                  <a:cubicBezTo>
                    <a:pt x="2684" y="1193"/>
                    <a:pt x="2677" y="1198"/>
                    <a:pt x="2678" y="1204"/>
                  </a:cubicBezTo>
                  <a:cubicBezTo>
                    <a:pt x="2678" y="1209"/>
                    <a:pt x="2685" y="1214"/>
                    <a:pt x="2694" y="1214"/>
                  </a:cubicBezTo>
                  <a:cubicBezTo>
                    <a:pt x="2703" y="1214"/>
                    <a:pt x="2710" y="1209"/>
                    <a:pt x="2709" y="1203"/>
                  </a:cubicBezTo>
                  <a:cubicBezTo>
                    <a:pt x="2709" y="1198"/>
                    <a:pt x="2701" y="1193"/>
                    <a:pt x="2693" y="1193"/>
                  </a:cubicBezTo>
                  <a:cubicBezTo>
                    <a:pt x="2693" y="1193"/>
                    <a:pt x="2693" y="1193"/>
                    <a:pt x="2693" y="1193"/>
                  </a:cubicBezTo>
                  <a:moveTo>
                    <a:pt x="4040" y="1188"/>
                  </a:moveTo>
                  <a:cubicBezTo>
                    <a:pt x="4031" y="1188"/>
                    <a:pt x="4026" y="1193"/>
                    <a:pt x="4029" y="1199"/>
                  </a:cubicBezTo>
                  <a:cubicBezTo>
                    <a:pt x="4032" y="1204"/>
                    <a:pt x="4041" y="1209"/>
                    <a:pt x="4050" y="1209"/>
                  </a:cubicBezTo>
                  <a:cubicBezTo>
                    <a:pt x="4059" y="1209"/>
                    <a:pt x="4064" y="1204"/>
                    <a:pt x="4061" y="1198"/>
                  </a:cubicBezTo>
                  <a:cubicBezTo>
                    <a:pt x="4058" y="1193"/>
                    <a:pt x="4049" y="1188"/>
                    <a:pt x="4040" y="1188"/>
                  </a:cubicBezTo>
                  <a:cubicBezTo>
                    <a:pt x="4040" y="1188"/>
                    <a:pt x="4040" y="1188"/>
                    <a:pt x="4040" y="1188"/>
                  </a:cubicBezTo>
                  <a:moveTo>
                    <a:pt x="4083" y="1188"/>
                  </a:moveTo>
                  <a:cubicBezTo>
                    <a:pt x="4075" y="1188"/>
                    <a:pt x="4070" y="1193"/>
                    <a:pt x="4073" y="1198"/>
                  </a:cubicBezTo>
                  <a:cubicBezTo>
                    <a:pt x="4076" y="1204"/>
                    <a:pt x="4085" y="1209"/>
                    <a:pt x="4094" y="1209"/>
                  </a:cubicBezTo>
                  <a:cubicBezTo>
                    <a:pt x="4103" y="1209"/>
                    <a:pt x="4107" y="1204"/>
                    <a:pt x="4104" y="1198"/>
                  </a:cubicBezTo>
                  <a:cubicBezTo>
                    <a:pt x="4102" y="1193"/>
                    <a:pt x="4092" y="1188"/>
                    <a:pt x="4084" y="1188"/>
                  </a:cubicBezTo>
                  <a:cubicBezTo>
                    <a:pt x="4083" y="1188"/>
                    <a:pt x="4083" y="1188"/>
                    <a:pt x="4083" y="1188"/>
                  </a:cubicBezTo>
                  <a:moveTo>
                    <a:pt x="4397" y="1186"/>
                  </a:moveTo>
                  <a:cubicBezTo>
                    <a:pt x="4388" y="1187"/>
                    <a:pt x="4384" y="1191"/>
                    <a:pt x="4387" y="1197"/>
                  </a:cubicBezTo>
                  <a:cubicBezTo>
                    <a:pt x="4391" y="1203"/>
                    <a:pt x="4401" y="1207"/>
                    <a:pt x="4409" y="1207"/>
                  </a:cubicBezTo>
                  <a:cubicBezTo>
                    <a:pt x="4418" y="1207"/>
                    <a:pt x="4422" y="1202"/>
                    <a:pt x="4419" y="1197"/>
                  </a:cubicBezTo>
                  <a:cubicBezTo>
                    <a:pt x="4415" y="1191"/>
                    <a:pt x="4405" y="1186"/>
                    <a:pt x="4397" y="1186"/>
                  </a:cubicBezTo>
                  <a:cubicBezTo>
                    <a:pt x="4397" y="1186"/>
                    <a:pt x="4397" y="1186"/>
                    <a:pt x="4397" y="1186"/>
                  </a:cubicBezTo>
                  <a:moveTo>
                    <a:pt x="4442" y="1186"/>
                  </a:moveTo>
                  <a:cubicBezTo>
                    <a:pt x="4433" y="1186"/>
                    <a:pt x="4429" y="1191"/>
                    <a:pt x="4433" y="1197"/>
                  </a:cubicBezTo>
                  <a:cubicBezTo>
                    <a:pt x="4436" y="1202"/>
                    <a:pt x="4446" y="1207"/>
                    <a:pt x="4455" y="1207"/>
                  </a:cubicBezTo>
                  <a:cubicBezTo>
                    <a:pt x="4464" y="1207"/>
                    <a:pt x="4468" y="1202"/>
                    <a:pt x="4464" y="1197"/>
                  </a:cubicBezTo>
                  <a:cubicBezTo>
                    <a:pt x="4461" y="1191"/>
                    <a:pt x="4451" y="1186"/>
                    <a:pt x="4442" y="1186"/>
                  </a:cubicBezTo>
                  <a:cubicBezTo>
                    <a:pt x="4442" y="1186"/>
                    <a:pt x="4442" y="1186"/>
                    <a:pt x="4442" y="1186"/>
                  </a:cubicBezTo>
                  <a:moveTo>
                    <a:pt x="4712" y="1186"/>
                  </a:moveTo>
                  <a:cubicBezTo>
                    <a:pt x="4703" y="1186"/>
                    <a:pt x="4700" y="1190"/>
                    <a:pt x="4704" y="1196"/>
                  </a:cubicBezTo>
                  <a:cubicBezTo>
                    <a:pt x="4708" y="1202"/>
                    <a:pt x="4718" y="1206"/>
                    <a:pt x="4727" y="1206"/>
                  </a:cubicBezTo>
                  <a:cubicBezTo>
                    <a:pt x="4736" y="1206"/>
                    <a:pt x="4739" y="1202"/>
                    <a:pt x="4735" y="1196"/>
                  </a:cubicBezTo>
                  <a:cubicBezTo>
                    <a:pt x="4731" y="1190"/>
                    <a:pt x="4721" y="1186"/>
                    <a:pt x="4712" y="1186"/>
                  </a:cubicBezTo>
                  <a:cubicBezTo>
                    <a:pt x="4712" y="1186"/>
                    <a:pt x="4712" y="1186"/>
                    <a:pt x="4712" y="1186"/>
                  </a:cubicBezTo>
                  <a:moveTo>
                    <a:pt x="4757" y="1186"/>
                  </a:moveTo>
                  <a:cubicBezTo>
                    <a:pt x="4749" y="1186"/>
                    <a:pt x="4745" y="1190"/>
                    <a:pt x="4749" y="1196"/>
                  </a:cubicBezTo>
                  <a:cubicBezTo>
                    <a:pt x="4753" y="1202"/>
                    <a:pt x="4764" y="1206"/>
                    <a:pt x="4772" y="1206"/>
                  </a:cubicBezTo>
                  <a:cubicBezTo>
                    <a:pt x="4781" y="1206"/>
                    <a:pt x="4785" y="1201"/>
                    <a:pt x="4781" y="1196"/>
                  </a:cubicBezTo>
                  <a:cubicBezTo>
                    <a:pt x="4776" y="1190"/>
                    <a:pt x="4766" y="1186"/>
                    <a:pt x="4757" y="1186"/>
                  </a:cubicBezTo>
                  <a:cubicBezTo>
                    <a:pt x="4757" y="1186"/>
                    <a:pt x="4757" y="1186"/>
                    <a:pt x="4757" y="1186"/>
                  </a:cubicBezTo>
                  <a:moveTo>
                    <a:pt x="4803" y="1185"/>
                  </a:moveTo>
                  <a:cubicBezTo>
                    <a:pt x="4794" y="1185"/>
                    <a:pt x="4791" y="1190"/>
                    <a:pt x="4795" y="1196"/>
                  </a:cubicBezTo>
                  <a:cubicBezTo>
                    <a:pt x="4799" y="1201"/>
                    <a:pt x="4809" y="1206"/>
                    <a:pt x="4818" y="1206"/>
                  </a:cubicBezTo>
                  <a:cubicBezTo>
                    <a:pt x="4827" y="1206"/>
                    <a:pt x="4831" y="1201"/>
                    <a:pt x="4826" y="1196"/>
                  </a:cubicBezTo>
                  <a:cubicBezTo>
                    <a:pt x="4822" y="1190"/>
                    <a:pt x="4812" y="1185"/>
                    <a:pt x="4803" y="1185"/>
                  </a:cubicBezTo>
                  <a:cubicBezTo>
                    <a:pt x="4803" y="1185"/>
                    <a:pt x="4803" y="1185"/>
                    <a:pt x="4803" y="1185"/>
                  </a:cubicBezTo>
                  <a:moveTo>
                    <a:pt x="4846" y="1185"/>
                  </a:moveTo>
                  <a:cubicBezTo>
                    <a:pt x="4838" y="1185"/>
                    <a:pt x="4834" y="1190"/>
                    <a:pt x="4838" y="1196"/>
                  </a:cubicBezTo>
                  <a:cubicBezTo>
                    <a:pt x="4843" y="1201"/>
                    <a:pt x="4853" y="1206"/>
                    <a:pt x="4862" y="1206"/>
                  </a:cubicBezTo>
                  <a:cubicBezTo>
                    <a:pt x="4871" y="1206"/>
                    <a:pt x="4874" y="1201"/>
                    <a:pt x="4870" y="1196"/>
                  </a:cubicBezTo>
                  <a:cubicBezTo>
                    <a:pt x="4866" y="1190"/>
                    <a:pt x="4855" y="1185"/>
                    <a:pt x="4846" y="1185"/>
                  </a:cubicBezTo>
                  <a:cubicBezTo>
                    <a:pt x="4846" y="1185"/>
                    <a:pt x="4846" y="1185"/>
                    <a:pt x="4846" y="1185"/>
                  </a:cubicBezTo>
                  <a:moveTo>
                    <a:pt x="4891" y="1185"/>
                  </a:moveTo>
                  <a:cubicBezTo>
                    <a:pt x="4883" y="1185"/>
                    <a:pt x="4879" y="1190"/>
                    <a:pt x="4884" y="1195"/>
                  </a:cubicBezTo>
                  <a:cubicBezTo>
                    <a:pt x="4888" y="1201"/>
                    <a:pt x="4899" y="1206"/>
                    <a:pt x="4907" y="1206"/>
                  </a:cubicBezTo>
                  <a:cubicBezTo>
                    <a:pt x="4916" y="1206"/>
                    <a:pt x="4920" y="1201"/>
                    <a:pt x="4915" y="1195"/>
                  </a:cubicBezTo>
                  <a:cubicBezTo>
                    <a:pt x="4911" y="1190"/>
                    <a:pt x="4900" y="1185"/>
                    <a:pt x="4891" y="1185"/>
                  </a:cubicBezTo>
                  <a:cubicBezTo>
                    <a:pt x="4891" y="1185"/>
                    <a:pt x="4891" y="1185"/>
                    <a:pt x="4891" y="1185"/>
                  </a:cubicBezTo>
                  <a:moveTo>
                    <a:pt x="285" y="1168"/>
                  </a:moveTo>
                  <a:cubicBezTo>
                    <a:pt x="276" y="1168"/>
                    <a:pt x="266" y="1172"/>
                    <a:pt x="262" y="1178"/>
                  </a:cubicBezTo>
                  <a:cubicBezTo>
                    <a:pt x="258" y="1184"/>
                    <a:pt x="262" y="1188"/>
                    <a:pt x="271" y="1188"/>
                  </a:cubicBezTo>
                  <a:cubicBezTo>
                    <a:pt x="279" y="1188"/>
                    <a:pt x="290" y="1183"/>
                    <a:pt x="294" y="1178"/>
                  </a:cubicBezTo>
                  <a:cubicBezTo>
                    <a:pt x="298" y="1172"/>
                    <a:pt x="294" y="1168"/>
                    <a:pt x="285" y="1168"/>
                  </a:cubicBezTo>
                  <a:cubicBezTo>
                    <a:pt x="285" y="1168"/>
                    <a:pt x="285" y="1168"/>
                    <a:pt x="285" y="1168"/>
                  </a:cubicBezTo>
                  <a:moveTo>
                    <a:pt x="329" y="1168"/>
                  </a:moveTo>
                  <a:cubicBezTo>
                    <a:pt x="321" y="1168"/>
                    <a:pt x="311" y="1172"/>
                    <a:pt x="307" y="1178"/>
                  </a:cubicBezTo>
                  <a:cubicBezTo>
                    <a:pt x="303" y="1183"/>
                    <a:pt x="307" y="1188"/>
                    <a:pt x="315" y="1188"/>
                  </a:cubicBezTo>
                  <a:cubicBezTo>
                    <a:pt x="324" y="1188"/>
                    <a:pt x="334" y="1183"/>
                    <a:pt x="338" y="1178"/>
                  </a:cubicBezTo>
                  <a:cubicBezTo>
                    <a:pt x="342" y="1172"/>
                    <a:pt x="338" y="1168"/>
                    <a:pt x="329" y="1168"/>
                  </a:cubicBezTo>
                  <a:cubicBezTo>
                    <a:pt x="329" y="1168"/>
                    <a:pt x="329" y="1168"/>
                    <a:pt x="329" y="1168"/>
                  </a:cubicBezTo>
                  <a:moveTo>
                    <a:pt x="374" y="1168"/>
                  </a:moveTo>
                  <a:cubicBezTo>
                    <a:pt x="365" y="1168"/>
                    <a:pt x="355" y="1172"/>
                    <a:pt x="351" y="1178"/>
                  </a:cubicBezTo>
                  <a:cubicBezTo>
                    <a:pt x="348" y="1183"/>
                    <a:pt x="352" y="1188"/>
                    <a:pt x="360" y="1188"/>
                  </a:cubicBezTo>
                  <a:cubicBezTo>
                    <a:pt x="369" y="1188"/>
                    <a:pt x="379" y="1183"/>
                    <a:pt x="383" y="1178"/>
                  </a:cubicBezTo>
                  <a:cubicBezTo>
                    <a:pt x="387" y="1172"/>
                    <a:pt x="383" y="1168"/>
                    <a:pt x="374" y="1168"/>
                  </a:cubicBezTo>
                  <a:cubicBezTo>
                    <a:pt x="374" y="1168"/>
                    <a:pt x="374" y="1168"/>
                    <a:pt x="374" y="1168"/>
                  </a:cubicBezTo>
                  <a:moveTo>
                    <a:pt x="418" y="1167"/>
                  </a:moveTo>
                  <a:cubicBezTo>
                    <a:pt x="410" y="1167"/>
                    <a:pt x="400" y="1172"/>
                    <a:pt x="396" y="1178"/>
                  </a:cubicBezTo>
                  <a:cubicBezTo>
                    <a:pt x="392" y="1183"/>
                    <a:pt x="396" y="1188"/>
                    <a:pt x="405" y="1188"/>
                  </a:cubicBezTo>
                  <a:cubicBezTo>
                    <a:pt x="413" y="1188"/>
                    <a:pt x="424" y="1183"/>
                    <a:pt x="427" y="1178"/>
                  </a:cubicBezTo>
                  <a:cubicBezTo>
                    <a:pt x="431" y="1172"/>
                    <a:pt x="427" y="1167"/>
                    <a:pt x="418" y="1167"/>
                  </a:cubicBezTo>
                  <a:cubicBezTo>
                    <a:pt x="418" y="1167"/>
                    <a:pt x="418" y="1167"/>
                    <a:pt x="418" y="1167"/>
                  </a:cubicBezTo>
                  <a:moveTo>
                    <a:pt x="463" y="1167"/>
                  </a:moveTo>
                  <a:cubicBezTo>
                    <a:pt x="454" y="1167"/>
                    <a:pt x="444" y="1172"/>
                    <a:pt x="441" y="1177"/>
                  </a:cubicBezTo>
                  <a:cubicBezTo>
                    <a:pt x="437" y="1183"/>
                    <a:pt x="441" y="1188"/>
                    <a:pt x="450" y="1188"/>
                  </a:cubicBezTo>
                  <a:cubicBezTo>
                    <a:pt x="458" y="1188"/>
                    <a:pt x="468" y="1183"/>
                    <a:pt x="472" y="1177"/>
                  </a:cubicBezTo>
                  <a:cubicBezTo>
                    <a:pt x="476" y="1172"/>
                    <a:pt x="472" y="1167"/>
                    <a:pt x="463" y="1167"/>
                  </a:cubicBezTo>
                  <a:cubicBezTo>
                    <a:pt x="463" y="1167"/>
                    <a:pt x="463" y="1167"/>
                    <a:pt x="463" y="1167"/>
                  </a:cubicBezTo>
                  <a:moveTo>
                    <a:pt x="509" y="1167"/>
                  </a:moveTo>
                  <a:cubicBezTo>
                    <a:pt x="500" y="1167"/>
                    <a:pt x="490" y="1172"/>
                    <a:pt x="487" y="1177"/>
                  </a:cubicBezTo>
                  <a:cubicBezTo>
                    <a:pt x="483" y="1183"/>
                    <a:pt x="487" y="1187"/>
                    <a:pt x="496" y="1187"/>
                  </a:cubicBezTo>
                  <a:cubicBezTo>
                    <a:pt x="505" y="1187"/>
                    <a:pt x="515" y="1183"/>
                    <a:pt x="518" y="1177"/>
                  </a:cubicBezTo>
                  <a:cubicBezTo>
                    <a:pt x="522" y="1172"/>
                    <a:pt x="518" y="1167"/>
                    <a:pt x="509" y="1167"/>
                  </a:cubicBezTo>
                  <a:cubicBezTo>
                    <a:pt x="509" y="1167"/>
                    <a:pt x="509" y="1167"/>
                    <a:pt x="509" y="1167"/>
                  </a:cubicBezTo>
                  <a:moveTo>
                    <a:pt x="553" y="1167"/>
                  </a:moveTo>
                  <a:cubicBezTo>
                    <a:pt x="545" y="1167"/>
                    <a:pt x="535" y="1172"/>
                    <a:pt x="531" y="1177"/>
                  </a:cubicBezTo>
                  <a:cubicBezTo>
                    <a:pt x="528" y="1183"/>
                    <a:pt x="532" y="1187"/>
                    <a:pt x="541" y="1187"/>
                  </a:cubicBezTo>
                  <a:cubicBezTo>
                    <a:pt x="549" y="1187"/>
                    <a:pt x="559" y="1183"/>
                    <a:pt x="563" y="1177"/>
                  </a:cubicBezTo>
                  <a:cubicBezTo>
                    <a:pt x="566" y="1172"/>
                    <a:pt x="562" y="1167"/>
                    <a:pt x="553" y="1167"/>
                  </a:cubicBezTo>
                  <a:cubicBezTo>
                    <a:pt x="553" y="1167"/>
                    <a:pt x="553" y="1167"/>
                    <a:pt x="553" y="1167"/>
                  </a:cubicBezTo>
                  <a:moveTo>
                    <a:pt x="598" y="1167"/>
                  </a:moveTo>
                  <a:cubicBezTo>
                    <a:pt x="589" y="1167"/>
                    <a:pt x="580" y="1171"/>
                    <a:pt x="576" y="1177"/>
                  </a:cubicBezTo>
                  <a:cubicBezTo>
                    <a:pt x="573" y="1183"/>
                    <a:pt x="577" y="1187"/>
                    <a:pt x="586" y="1187"/>
                  </a:cubicBezTo>
                  <a:cubicBezTo>
                    <a:pt x="594" y="1187"/>
                    <a:pt x="604" y="1183"/>
                    <a:pt x="607" y="1177"/>
                  </a:cubicBezTo>
                  <a:cubicBezTo>
                    <a:pt x="611" y="1171"/>
                    <a:pt x="607" y="1167"/>
                    <a:pt x="598" y="1167"/>
                  </a:cubicBezTo>
                  <a:cubicBezTo>
                    <a:pt x="598" y="1167"/>
                    <a:pt x="598" y="1167"/>
                    <a:pt x="598" y="1167"/>
                  </a:cubicBezTo>
                  <a:moveTo>
                    <a:pt x="643" y="1167"/>
                  </a:moveTo>
                  <a:cubicBezTo>
                    <a:pt x="634" y="1167"/>
                    <a:pt x="625" y="1171"/>
                    <a:pt x="621" y="1177"/>
                  </a:cubicBezTo>
                  <a:cubicBezTo>
                    <a:pt x="618" y="1183"/>
                    <a:pt x="622" y="1187"/>
                    <a:pt x="631" y="1187"/>
                  </a:cubicBezTo>
                  <a:cubicBezTo>
                    <a:pt x="640" y="1187"/>
                    <a:pt x="649" y="1182"/>
                    <a:pt x="653" y="1177"/>
                  </a:cubicBezTo>
                  <a:cubicBezTo>
                    <a:pt x="656" y="1171"/>
                    <a:pt x="652" y="1167"/>
                    <a:pt x="643" y="1167"/>
                  </a:cubicBezTo>
                  <a:cubicBezTo>
                    <a:pt x="643" y="1167"/>
                    <a:pt x="643" y="1167"/>
                    <a:pt x="643" y="1167"/>
                  </a:cubicBezTo>
                  <a:moveTo>
                    <a:pt x="687" y="1167"/>
                  </a:moveTo>
                  <a:cubicBezTo>
                    <a:pt x="679" y="1167"/>
                    <a:pt x="669" y="1171"/>
                    <a:pt x="666" y="1177"/>
                  </a:cubicBezTo>
                  <a:cubicBezTo>
                    <a:pt x="663" y="1182"/>
                    <a:pt x="667" y="1187"/>
                    <a:pt x="676" y="1187"/>
                  </a:cubicBezTo>
                  <a:cubicBezTo>
                    <a:pt x="684" y="1187"/>
                    <a:pt x="694" y="1182"/>
                    <a:pt x="697" y="1177"/>
                  </a:cubicBezTo>
                  <a:cubicBezTo>
                    <a:pt x="700" y="1171"/>
                    <a:pt x="696" y="1167"/>
                    <a:pt x="687" y="1167"/>
                  </a:cubicBezTo>
                  <a:cubicBezTo>
                    <a:pt x="687" y="1167"/>
                    <a:pt x="687" y="1167"/>
                    <a:pt x="687" y="1167"/>
                  </a:cubicBezTo>
                  <a:moveTo>
                    <a:pt x="732" y="1167"/>
                  </a:moveTo>
                  <a:cubicBezTo>
                    <a:pt x="723" y="1167"/>
                    <a:pt x="714" y="1171"/>
                    <a:pt x="710" y="1177"/>
                  </a:cubicBezTo>
                  <a:cubicBezTo>
                    <a:pt x="707" y="1182"/>
                    <a:pt x="712" y="1187"/>
                    <a:pt x="720" y="1187"/>
                  </a:cubicBezTo>
                  <a:cubicBezTo>
                    <a:pt x="729" y="1187"/>
                    <a:pt x="739" y="1182"/>
                    <a:pt x="742" y="1177"/>
                  </a:cubicBezTo>
                  <a:cubicBezTo>
                    <a:pt x="745" y="1171"/>
                    <a:pt x="740" y="1167"/>
                    <a:pt x="732" y="1167"/>
                  </a:cubicBezTo>
                  <a:cubicBezTo>
                    <a:pt x="732" y="1167"/>
                    <a:pt x="732" y="1167"/>
                    <a:pt x="732" y="1167"/>
                  </a:cubicBezTo>
                  <a:moveTo>
                    <a:pt x="776" y="1166"/>
                  </a:moveTo>
                  <a:cubicBezTo>
                    <a:pt x="767" y="1166"/>
                    <a:pt x="758" y="1171"/>
                    <a:pt x="755" y="1177"/>
                  </a:cubicBezTo>
                  <a:cubicBezTo>
                    <a:pt x="752" y="1182"/>
                    <a:pt x="756" y="1187"/>
                    <a:pt x="765" y="1187"/>
                  </a:cubicBezTo>
                  <a:cubicBezTo>
                    <a:pt x="774" y="1187"/>
                    <a:pt x="783" y="1182"/>
                    <a:pt x="786" y="1176"/>
                  </a:cubicBezTo>
                  <a:cubicBezTo>
                    <a:pt x="789" y="1171"/>
                    <a:pt x="785" y="1166"/>
                    <a:pt x="776" y="1166"/>
                  </a:cubicBezTo>
                  <a:cubicBezTo>
                    <a:pt x="776" y="1166"/>
                    <a:pt x="776" y="1166"/>
                    <a:pt x="776" y="1166"/>
                  </a:cubicBezTo>
                  <a:moveTo>
                    <a:pt x="821" y="1166"/>
                  </a:moveTo>
                  <a:cubicBezTo>
                    <a:pt x="812" y="1166"/>
                    <a:pt x="803" y="1171"/>
                    <a:pt x="800" y="1176"/>
                  </a:cubicBezTo>
                  <a:cubicBezTo>
                    <a:pt x="797" y="1182"/>
                    <a:pt x="801" y="1187"/>
                    <a:pt x="810" y="1187"/>
                  </a:cubicBezTo>
                  <a:cubicBezTo>
                    <a:pt x="819" y="1187"/>
                    <a:pt x="828" y="1182"/>
                    <a:pt x="831" y="1176"/>
                  </a:cubicBezTo>
                  <a:cubicBezTo>
                    <a:pt x="834" y="1171"/>
                    <a:pt x="829" y="1166"/>
                    <a:pt x="821" y="1166"/>
                  </a:cubicBezTo>
                  <a:cubicBezTo>
                    <a:pt x="821" y="1166"/>
                    <a:pt x="821" y="1166"/>
                    <a:pt x="821" y="1166"/>
                  </a:cubicBezTo>
                  <a:moveTo>
                    <a:pt x="866" y="1166"/>
                  </a:moveTo>
                  <a:cubicBezTo>
                    <a:pt x="857" y="1166"/>
                    <a:pt x="848" y="1171"/>
                    <a:pt x="845" y="1176"/>
                  </a:cubicBezTo>
                  <a:cubicBezTo>
                    <a:pt x="842" y="1182"/>
                    <a:pt x="847" y="1186"/>
                    <a:pt x="855" y="1186"/>
                  </a:cubicBezTo>
                  <a:cubicBezTo>
                    <a:pt x="864" y="1186"/>
                    <a:pt x="873" y="1182"/>
                    <a:pt x="876" y="1176"/>
                  </a:cubicBezTo>
                  <a:cubicBezTo>
                    <a:pt x="879" y="1171"/>
                    <a:pt x="874" y="1166"/>
                    <a:pt x="866" y="1166"/>
                  </a:cubicBezTo>
                  <a:cubicBezTo>
                    <a:pt x="866" y="1166"/>
                    <a:pt x="866" y="1166"/>
                    <a:pt x="866" y="1166"/>
                  </a:cubicBezTo>
                  <a:moveTo>
                    <a:pt x="910" y="1166"/>
                  </a:moveTo>
                  <a:cubicBezTo>
                    <a:pt x="901" y="1166"/>
                    <a:pt x="892" y="1171"/>
                    <a:pt x="889" y="1176"/>
                  </a:cubicBezTo>
                  <a:cubicBezTo>
                    <a:pt x="886" y="1182"/>
                    <a:pt x="891" y="1186"/>
                    <a:pt x="900" y="1186"/>
                  </a:cubicBezTo>
                  <a:cubicBezTo>
                    <a:pt x="909" y="1186"/>
                    <a:pt x="918" y="1182"/>
                    <a:pt x="921" y="1176"/>
                  </a:cubicBezTo>
                  <a:cubicBezTo>
                    <a:pt x="923" y="1171"/>
                    <a:pt x="919" y="1166"/>
                    <a:pt x="910" y="1166"/>
                  </a:cubicBezTo>
                  <a:cubicBezTo>
                    <a:pt x="910" y="1166"/>
                    <a:pt x="910" y="1166"/>
                    <a:pt x="910" y="1166"/>
                  </a:cubicBezTo>
                  <a:moveTo>
                    <a:pt x="955" y="1166"/>
                  </a:moveTo>
                  <a:cubicBezTo>
                    <a:pt x="946" y="1166"/>
                    <a:pt x="937" y="1170"/>
                    <a:pt x="934" y="1176"/>
                  </a:cubicBezTo>
                  <a:cubicBezTo>
                    <a:pt x="931" y="1182"/>
                    <a:pt x="936" y="1186"/>
                    <a:pt x="945" y="1186"/>
                  </a:cubicBezTo>
                  <a:cubicBezTo>
                    <a:pt x="953" y="1186"/>
                    <a:pt x="963" y="1182"/>
                    <a:pt x="965" y="1176"/>
                  </a:cubicBezTo>
                  <a:cubicBezTo>
                    <a:pt x="968" y="1170"/>
                    <a:pt x="963" y="1166"/>
                    <a:pt x="955" y="1166"/>
                  </a:cubicBezTo>
                  <a:cubicBezTo>
                    <a:pt x="955" y="1166"/>
                    <a:pt x="955" y="1166"/>
                    <a:pt x="955" y="1166"/>
                  </a:cubicBezTo>
                  <a:moveTo>
                    <a:pt x="999" y="1166"/>
                  </a:moveTo>
                  <a:cubicBezTo>
                    <a:pt x="990" y="1166"/>
                    <a:pt x="981" y="1170"/>
                    <a:pt x="978" y="1176"/>
                  </a:cubicBezTo>
                  <a:cubicBezTo>
                    <a:pt x="976" y="1182"/>
                    <a:pt x="981" y="1186"/>
                    <a:pt x="989" y="1186"/>
                  </a:cubicBezTo>
                  <a:cubicBezTo>
                    <a:pt x="998" y="1186"/>
                    <a:pt x="1007" y="1182"/>
                    <a:pt x="1010" y="1176"/>
                  </a:cubicBezTo>
                  <a:cubicBezTo>
                    <a:pt x="1012" y="1170"/>
                    <a:pt x="1008" y="1166"/>
                    <a:pt x="999" y="1166"/>
                  </a:cubicBezTo>
                  <a:cubicBezTo>
                    <a:pt x="999" y="1166"/>
                    <a:pt x="999" y="1166"/>
                    <a:pt x="999" y="1166"/>
                  </a:cubicBezTo>
                  <a:moveTo>
                    <a:pt x="2111" y="1165"/>
                  </a:moveTo>
                  <a:cubicBezTo>
                    <a:pt x="2103" y="1165"/>
                    <a:pt x="2095" y="1170"/>
                    <a:pt x="2094" y="1176"/>
                  </a:cubicBezTo>
                  <a:cubicBezTo>
                    <a:pt x="2094" y="1181"/>
                    <a:pt x="2100" y="1186"/>
                    <a:pt x="2109" y="1186"/>
                  </a:cubicBezTo>
                  <a:cubicBezTo>
                    <a:pt x="2118" y="1186"/>
                    <a:pt x="2125" y="1181"/>
                    <a:pt x="2126" y="1176"/>
                  </a:cubicBezTo>
                  <a:cubicBezTo>
                    <a:pt x="2126" y="1170"/>
                    <a:pt x="2120" y="1165"/>
                    <a:pt x="2111" y="1165"/>
                  </a:cubicBezTo>
                  <a:cubicBezTo>
                    <a:pt x="2111" y="1165"/>
                    <a:pt x="2111" y="1165"/>
                    <a:pt x="2111" y="1165"/>
                  </a:cubicBezTo>
                  <a:moveTo>
                    <a:pt x="2156" y="1165"/>
                  </a:moveTo>
                  <a:cubicBezTo>
                    <a:pt x="2147" y="1165"/>
                    <a:pt x="2140" y="1170"/>
                    <a:pt x="2139" y="1175"/>
                  </a:cubicBezTo>
                  <a:cubicBezTo>
                    <a:pt x="2139" y="1181"/>
                    <a:pt x="2145" y="1186"/>
                    <a:pt x="2154" y="1186"/>
                  </a:cubicBezTo>
                  <a:cubicBezTo>
                    <a:pt x="2162" y="1186"/>
                    <a:pt x="2170" y="1181"/>
                    <a:pt x="2170" y="1175"/>
                  </a:cubicBezTo>
                  <a:cubicBezTo>
                    <a:pt x="2171" y="1170"/>
                    <a:pt x="2164" y="1165"/>
                    <a:pt x="2156" y="1165"/>
                  </a:cubicBezTo>
                  <a:cubicBezTo>
                    <a:pt x="2156" y="1165"/>
                    <a:pt x="2156" y="1165"/>
                    <a:pt x="2156" y="1165"/>
                  </a:cubicBezTo>
                  <a:moveTo>
                    <a:pt x="2201" y="1165"/>
                  </a:moveTo>
                  <a:cubicBezTo>
                    <a:pt x="2192" y="1165"/>
                    <a:pt x="2185" y="1170"/>
                    <a:pt x="2184" y="1175"/>
                  </a:cubicBezTo>
                  <a:cubicBezTo>
                    <a:pt x="2184" y="1181"/>
                    <a:pt x="2190" y="1186"/>
                    <a:pt x="2199" y="1186"/>
                  </a:cubicBezTo>
                  <a:cubicBezTo>
                    <a:pt x="2208" y="1186"/>
                    <a:pt x="2215" y="1181"/>
                    <a:pt x="2216" y="1175"/>
                  </a:cubicBezTo>
                  <a:cubicBezTo>
                    <a:pt x="2216" y="1170"/>
                    <a:pt x="2210" y="1165"/>
                    <a:pt x="2201" y="1165"/>
                  </a:cubicBezTo>
                  <a:cubicBezTo>
                    <a:pt x="2201" y="1165"/>
                    <a:pt x="2201" y="1165"/>
                    <a:pt x="2201" y="1165"/>
                  </a:cubicBezTo>
                  <a:moveTo>
                    <a:pt x="2245" y="1165"/>
                  </a:moveTo>
                  <a:cubicBezTo>
                    <a:pt x="2236" y="1165"/>
                    <a:pt x="2229" y="1170"/>
                    <a:pt x="2228" y="1175"/>
                  </a:cubicBezTo>
                  <a:cubicBezTo>
                    <a:pt x="2228" y="1181"/>
                    <a:pt x="2235" y="1185"/>
                    <a:pt x="2243" y="1185"/>
                  </a:cubicBezTo>
                  <a:cubicBezTo>
                    <a:pt x="2252" y="1185"/>
                    <a:pt x="2259" y="1181"/>
                    <a:pt x="2260" y="1175"/>
                  </a:cubicBezTo>
                  <a:cubicBezTo>
                    <a:pt x="2260" y="1170"/>
                    <a:pt x="2253" y="1165"/>
                    <a:pt x="2245" y="1165"/>
                  </a:cubicBezTo>
                  <a:cubicBezTo>
                    <a:pt x="2245" y="1165"/>
                    <a:pt x="2245" y="1165"/>
                    <a:pt x="2245" y="1165"/>
                  </a:cubicBezTo>
                  <a:moveTo>
                    <a:pt x="2289" y="1165"/>
                  </a:moveTo>
                  <a:cubicBezTo>
                    <a:pt x="2280" y="1165"/>
                    <a:pt x="2273" y="1169"/>
                    <a:pt x="2273" y="1175"/>
                  </a:cubicBezTo>
                  <a:cubicBezTo>
                    <a:pt x="2273" y="1181"/>
                    <a:pt x="2279" y="1185"/>
                    <a:pt x="2288" y="1185"/>
                  </a:cubicBezTo>
                  <a:cubicBezTo>
                    <a:pt x="2297" y="1185"/>
                    <a:pt x="2304" y="1181"/>
                    <a:pt x="2304" y="1175"/>
                  </a:cubicBezTo>
                  <a:cubicBezTo>
                    <a:pt x="2304" y="1169"/>
                    <a:pt x="2298" y="1165"/>
                    <a:pt x="2289" y="1165"/>
                  </a:cubicBezTo>
                  <a:cubicBezTo>
                    <a:pt x="2289" y="1165"/>
                    <a:pt x="2289" y="1165"/>
                    <a:pt x="2289" y="1165"/>
                  </a:cubicBezTo>
                  <a:moveTo>
                    <a:pt x="2334" y="1165"/>
                  </a:moveTo>
                  <a:cubicBezTo>
                    <a:pt x="2325" y="1165"/>
                    <a:pt x="2318" y="1169"/>
                    <a:pt x="2318" y="1175"/>
                  </a:cubicBezTo>
                  <a:cubicBezTo>
                    <a:pt x="2317" y="1181"/>
                    <a:pt x="2324" y="1185"/>
                    <a:pt x="2333" y="1185"/>
                  </a:cubicBezTo>
                  <a:cubicBezTo>
                    <a:pt x="2342" y="1185"/>
                    <a:pt x="2349" y="1181"/>
                    <a:pt x="2349" y="1175"/>
                  </a:cubicBezTo>
                  <a:cubicBezTo>
                    <a:pt x="2349" y="1169"/>
                    <a:pt x="2342" y="1165"/>
                    <a:pt x="2334" y="1165"/>
                  </a:cubicBezTo>
                  <a:cubicBezTo>
                    <a:pt x="2334" y="1165"/>
                    <a:pt x="2334" y="1165"/>
                    <a:pt x="2334" y="1165"/>
                  </a:cubicBezTo>
                  <a:moveTo>
                    <a:pt x="2379" y="1165"/>
                  </a:moveTo>
                  <a:cubicBezTo>
                    <a:pt x="2370" y="1165"/>
                    <a:pt x="2363" y="1169"/>
                    <a:pt x="2363" y="1175"/>
                  </a:cubicBezTo>
                  <a:cubicBezTo>
                    <a:pt x="2363" y="1181"/>
                    <a:pt x="2370" y="1185"/>
                    <a:pt x="2378" y="1185"/>
                  </a:cubicBezTo>
                  <a:cubicBezTo>
                    <a:pt x="2387" y="1185"/>
                    <a:pt x="2394" y="1180"/>
                    <a:pt x="2394" y="1175"/>
                  </a:cubicBezTo>
                  <a:cubicBezTo>
                    <a:pt x="2394" y="1169"/>
                    <a:pt x="2387" y="1165"/>
                    <a:pt x="2379" y="1165"/>
                  </a:cubicBezTo>
                  <a:cubicBezTo>
                    <a:pt x="2379" y="1165"/>
                    <a:pt x="2379" y="1165"/>
                    <a:pt x="2379" y="1165"/>
                  </a:cubicBezTo>
                  <a:moveTo>
                    <a:pt x="2423" y="1164"/>
                  </a:moveTo>
                  <a:cubicBezTo>
                    <a:pt x="2414" y="1165"/>
                    <a:pt x="2407" y="1169"/>
                    <a:pt x="2407" y="1175"/>
                  </a:cubicBezTo>
                  <a:cubicBezTo>
                    <a:pt x="2407" y="1180"/>
                    <a:pt x="2414" y="1185"/>
                    <a:pt x="2423" y="1185"/>
                  </a:cubicBezTo>
                  <a:cubicBezTo>
                    <a:pt x="2431" y="1185"/>
                    <a:pt x="2438" y="1180"/>
                    <a:pt x="2439" y="1175"/>
                  </a:cubicBezTo>
                  <a:cubicBezTo>
                    <a:pt x="2439" y="1169"/>
                    <a:pt x="2432" y="1164"/>
                    <a:pt x="2423" y="1164"/>
                  </a:cubicBezTo>
                  <a:cubicBezTo>
                    <a:pt x="2423" y="1164"/>
                    <a:pt x="2423" y="1164"/>
                    <a:pt x="2423" y="1164"/>
                  </a:cubicBezTo>
                  <a:moveTo>
                    <a:pt x="2468" y="1164"/>
                  </a:moveTo>
                  <a:cubicBezTo>
                    <a:pt x="2459" y="1164"/>
                    <a:pt x="2452" y="1169"/>
                    <a:pt x="2452" y="1175"/>
                  </a:cubicBezTo>
                  <a:cubicBezTo>
                    <a:pt x="2452" y="1180"/>
                    <a:pt x="2459" y="1185"/>
                    <a:pt x="2468" y="1185"/>
                  </a:cubicBezTo>
                  <a:cubicBezTo>
                    <a:pt x="2476" y="1185"/>
                    <a:pt x="2483" y="1180"/>
                    <a:pt x="2483" y="1175"/>
                  </a:cubicBezTo>
                  <a:cubicBezTo>
                    <a:pt x="2483" y="1169"/>
                    <a:pt x="2476" y="1164"/>
                    <a:pt x="2468" y="1164"/>
                  </a:cubicBezTo>
                  <a:cubicBezTo>
                    <a:pt x="2468" y="1164"/>
                    <a:pt x="2468" y="1164"/>
                    <a:pt x="2468" y="1164"/>
                  </a:cubicBezTo>
                  <a:moveTo>
                    <a:pt x="2512" y="1164"/>
                  </a:moveTo>
                  <a:cubicBezTo>
                    <a:pt x="2503" y="1164"/>
                    <a:pt x="2496" y="1169"/>
                    <a:pt x="2496" y="1174"/>
                  </a:cubicBezTo>
                  <a:cubicBezTo>
                    <a:pt x="2496" y="1180"/>
                    <a:pt x="2503" y="1185"/>
                    <a:pt x="2512" y="1185"/>
                  </a:cubicBezTo>
                  <a:cubicBezTo>
                    <a:pt x="2521" y="1185"/>
                    <a:pt x="2528" y="1180"/>
                    <a:pt x="2528" y="1174"/>
                  </a:cubicBezTo>
                  <a:cubicBezTo>
                    <a:pt x="2527" y="1169"/>
                    <a:pt x="2520" y="1164"/>
                    <a:pt x="2512" y="1164"/>
                  </a:cubicBezTo>
                  <a:cubicBezTo>
                    <a:pt x="2512" y="1164"/>
                    <a:pt x="2512" y="1164"/>
                    <a:pt x="2512" y="1164"/>
                  </a:cubicBezTo>
                  <a:moveTo>
                    <a:pt x="2556" y="1164"/>
                  </a:moveTo>
                  <a:cubicBezTo>
                    <a:pt x="2548" y="1164"/>
                    <a:pt x="2541" y="1169"/>
                    <a:pt x="2541" y="1174"/>
                  </a:cubicBezTo>
                  <a:cubicBezTo>
                    <a:pt x="2541" y="1180"/>
                    <a:pt x="2548" y="1185"/>
                    <a:pt x="2557" y="1185"/>
                  </a:cubicBezTo>
                  <a:cubicBezTo>
                    <a:pt x="2566" y="1185"/>
                    <a:pt x="2573" y="1180"/>
                    <a:pt x="2572" y="1174"/>
                  </a:cubicBezTo>
                  <a:cubicBezTo>
                    <a:pt x="2572" y="1169"/>
                    <a:pt x="2565" y="1164"/>
                    <a:pt x="2556" y="1164"/>
                  </a:cubicBezTo>
                  <a:cubicBezTo>
                    <a:pt x="2556" y="1164"/>
                    <a:pt x="2556" y="1164"/>
                    <a:pt x="2556" y="1164"/>
                  </a:cubicBezTo>
                  <a:moveTo>
                    <a:pt x="2601" y="1164"/>
                  </a:moveTo>
                  <a:cubicBezTo>
                    <a:pt x="2593" y="1164"/>
                    <a:pt x="2586" y="1169"/>
                    <a:pt x="2586" y="1174"/>
                  </a:cubicBezTo>
                  <a:cubicBezTo>
                    <a:pt x="2586" y="1180"/>
                    <a:pt x="2594" y="1184"/>
                    <a:pt x="2602" y="1184"/>
                  </a:cubicBezTo>
                  <a:cubicBezTo>
                    <a:pt x="2611" y="1184"/>
                    <a:pt x="2618" y="1180"/>
                    <a:pt x="2618" y="1174"/>
                  </a:cubicBezTo>
                  <a:cubicBezTo>
                    <a:pt x="2617" y="1169"/>
                    <a:pt x="2610" y="1164"/>
                    <a:pt x="2602" y="1164"/>
                  </a:cubicBezTo>
                  <a:cubicBezTo>
                    <a:pt x="2601" y="1164"/>
                    <a:pt x="2601" y="1164"/>
                    <a:pt x="2601" y="1164"/>
                  </a:cubicBezTo>
                  <a:moveTo>
                    <a:pt x="2646" y="1164"/>
                  </a:moveTo>
                  <a:cubicBezTo>
                    <a:pt x="2637" y="1164"/>
                    <a:pt x="2630" y="1168"/>
                    <a:pt x="2631" y="1174"/>
                  </a:cubicBezTo>
                  <a:cubicBezTo>
                    <a:pt x="2631" y="1180"/>
                    <a:pt x="2638" y="1184"/>
                    <a:pt x="2647" y="1184"/>
                  </a:cubicBezTo>
                  <a:cubicBezTo>
                    <a:pt x="2656" y="1184"/>
                    <a:pt x="2662" y="1180"/>
                    <a:pt x="2662" y="1174"/>
                  </a:cubicBezTo>
                  <a:cubicBezTo>
                    <a:pt x="2662" y="1168"/>
                    <a:pt x="2654" y="1164"/>
                    <a:pt x="2646" y="1164"/>
                  </a:cubicBezTo>
                  <a:cubicBezTo>
                    <a:pt x="2646" y="1164"/>
                    <a:pt x="2646" y="1164"/>
                    <a:pt x="2646" y="1164"/>
                  </a:cubicBezTo>
                  <a:moveTo>
                    <a:pt x="2691" y="1164"/>
                  </a:moveTo>
                  <a:cubicBezTo>
                    <a:pt x="2682" y="1164"/>
                    <a:pt x="2675" y="1168"/>
                    <a:pt x="2676" y="1174"/>
                  </a:cubicBezTo>
                  <a:cubicBezTo>
                    <a:pt x="2676" y="1180"/>
                    <a:pt x="2683" y="1184"/>
                    <a:pt x="2692" y="1184"/>
                  </a:cubicBezTo>
                  <a:cubicBezTo>
                    <a:pt x="2701" y="1184"/>
                    <a:pt x="2707" y="1180"/>
                    <a:pt x="2707" y="1174"/>
                  </a:cubicBezTo>
                  <a:cubicBezTo>
                    <a:pt x="2707" y="1168"/>
                    <a:pt x="2699" y="1164"/>
                    <a:pt x="2691" y="1164"/>
                  </a:cubicBezTo>
                  <a:cubicBezTo>
                    <a:pt x="2691" y="1164"/>
                    <a:pt x="2691" y="1164"/>
                    <a:pt x="2691" y="1164"/>
                  </a:cubicBezTo>
                  <a:moveTo>
                    <a:pt x="2734" y="1164"/>
                  </a:moveTo>
                  <a:cubicBezTo>
                    <a:pt x="2725" y="1164"/>
                    <a:pt x="2718" y="1168"/>
                    <a:pt x="2719" y="1174"/>
                  </a:cubicBezTo>
                  <a:cubicBezTo>
                    <a:pt x="2719" y="1180"/>
                    <a:pt x="2727" y="1184"/>
                    <a:pt x="2735" y="1184"/>
                  </a:cubicBezTo>
                  <a:cubicBezTo>
                    <a:pt x="2744" y="1184"/>
                    <a:pt x="2751" y="1179"/>
                    <a:pt x="2750" y="1174"/>
                  </a:cubicBezTo>
                  <a:cubicBezTo>
                    <a:pt x="2750" y="1168"/>
                    <a:pt x="2742" y="1164"/>
                    <a:pt x="2734" y="1164"/>
                  </a:cubicBezTo>
                  <a:cubicBezTo>
                    <a:pt x="2734" y="1164"/>
                    <a:pt x="2734" y="1164"/>
                    <a:pt x="2734" y="1164"/>
                  </a:cubicBezTo>
                  <a:moveTo>
                    <a:pt x="4380" y="1159"/>
                  </a:moveTo>
                  <a:cubicBezTo>
                    <a:pt x="4371" y="1159"/>
                    <a:pt x="4367" y="1164"/>
                    <a:pt x="4370" y="1169"/>
                  </a:cubicBezTo>
                  <a:cubicBezTo>
                    <a:pt x="4374" y="1175"/>
                    <a:pt x="4384" y="1180"/>
                    <a:pt x="4392" y="1180"/>
                  </a:cubicBezTo>
                  <a:cubicBezTo>
                    <a:pt x="4401" y="1180"/>
                    <a:pt x="4405" y="1175"/>
                    <a:pt x="4402" y="1169"/>
                  </a:cubicBezTo>
                  <a:cubicBezTo>
                    <a:pt x="4398" y="1164"/>
                    <a:pt x="4388" y="1159"/>
                    <a:pt x="4380" y="1159"/>
                  </a:cubicBezTo>
                  <a:cubicBezTo>
                    <a:pt x="4380" y="1159"/>
                    <a:pt x="4380" y="1159"/>
                    <a:pt x="4380" y="1159"/>
                  </a:cubicBezTo>
                  <a:moveTo>
                    <a:pt x="4422" y="1159"/>
                  </a:moveTo>
                  <a:cubicBezTo>
                    <a:pt x="4413" y="1159"/>
                    <a:pt x="4409" y="1164"/>
                    <a:pt x="4412" y="1169"/>
                  </a:cubicBezTo>
                  <a:cubicBezTo>
                    <a:pt x="4416" y="1175"/>
                    <a:pt x="4426" y="1180"/>
                    <a:pt x="4434" y="1179"/>
                  </a:cubicBezTo>
                  <a:cubicBezTo>
                    <a:pt x="4443" y="1179"/>
                    <a:pt x="4447" y="1175"/>
                    <a:pt x="4444" y="1169"/>
                  </a:cubicBezTo>
                  <a:cubicBezTo>
                    <a:pt x="4440" y="1163"/>
                    <a:pt x="4430" y="1159"/>
                    <a:pt x="4422" y="1159"/>
                  </a:cubicBezTo>
                  <a:cubicBezTo>
                    <a:pt x="4422" y="1159"/>
                    <a:pt x="4422" y="1159"/>
                    <a:pt x="4422" y="1159"/>
                  </a:cubicBezTo>
                  <a:moveTo>
                    <a:pt x="4024" y="1157"/>
                  </a:moveTo>
                  <a:cubicBezTo>
                    <a:pt x="4016" y="1157"/>
                    <a:pt x="4011" y="1162"/>
                    <a:pt x="4014" y="1168"/>
                  </a:cubicBezTo>
                  <a:cubicBezTo>
                    <a:pt x="4017" y="1173"/>
                    <a:pt x="4026" y="1178"/>
                    <a:pt x="4035" y="1178"/>
                  </a:cubicBezTo>
                  <a:cubicBezTo>
                    <a:pt x="4043" y="1178"/>
                    <a:pt x="4048" y="1173"/>
                    <a:pt x="4045" y="1167"/>
                  </a:cubicBezTo>
                  <a:cubicBezTo>
                    <a:pt x="4042" y="1162"/>
                    <a:pt x="4033" y="1157"/>
                    <a:pt x="4024" y="1157"/>
                  </a:cubicBezTo>
                  <a:cubicBezTo>
                    <a:pt x="4024" y="1157"/>
                    <a:pt x="4024" y="1157"/>
                    <a:pt x="4024" y="1157"/>
                  </a:cubicBezTo>
                  <a:moveTo>
                    <a:pt x="4067" y="1157"/>
                  </a:moveTo>
                  <a:cubicBezTo>
                    <a:pt x="4059" y="1157"/>
                    <a:pt x="4054" y="1162"/>
                    <a:pt x="4057" y="1167"/>
                  </a:cubicBezTo>
                  <a:cubicBezTo>
                    <a:pt x="4060" y="1173"/>
                    <a:pt x="4069" y="1178"/>
                    <a:pt x="4078" y="1178"/>
                  </a:cubicBezTo>
                  <a:cubicBezTo>
                    <a:pt x="4087" y="1178"/>
                    <a:pt x="4091" y="1173"/>
                    <a:pt x="4088" y="1167"/>
                  </a:cubicBezTo>
                  <a:cubicBezTo>
                    <a:pt x="4085" y="1162"/>
                    <a:pt x="4076" y="1157"/>
                    <a:pt x="4068" y="1157"/>
                  </a:cubicBezTo>
                  <a:cubicBezTo>
                    <a:pt x="4068" y="1157"/>
                    <a:pt x="4067" y="1157"/>
                    <a:pt x="4067" y="1157"/>
                  </a:cubicBezTo>
                  <a:moveTo>
                    <a:pt x="4201" y="1157"/>
                  </a:moveTo>
                  <a:cubicBezTo>
                    <a:pt x="4192" y="1157"/>
                    <a:pt x="4188" y="1162"/>
                    <a:pt x="4191" y="1167"/>
                  </a:cubicBezTo>
                  <a:cubicBezTo>
                    <a:pt x="4194" y="1173"/>
                    <a:pt x="4204" y="1178"/>
                    <a:pt x="4212" y="1178"/>
                  </a:cubicBezTo>
                  <a:cubicBezTo>
                    <a:pt x="4221" y="1178"/>
                    <a:pt x="4225" y="1173"/>
                    <a:pt x="4222" y="1167"/>
                  </a:cubicBezTo>
                  <a:cubicBezTo>
                    <a:pt x="4219" y="1162"/>
                    <a:pt x="4209" y="1157"/>
                    <a:pt x="4201" y="1157"/>
                  </a:cubicBezTo>
                  <a:cubicBezTo>
                    <a:pt x="4201" y="1157"/>
                    <a:pt x="4201" y="1157"/>
                    <a:pt x="4201" y="1157"/>
                  </a:cubicBezTo>
                  <a:moveTo>
                    <a:pt x="4245" y="1157"/>
                  </a:moveTo>
                  <a:cubicBezTo>
                    <a:pt x="4236" y="1157"/>
                    <a:pt x="4232" y="1162"/>
                    <a:pt x="4235" y="1167"/>
                  </a:cubicBezTo>
                  <a:cubicBezTo>
                    <a:pt x="4238" y="1173"/>
                    <a:pt x="4248" y="1177"/>
                    <a:pt x="4256" y="1177"/>
                  </a:cubicBezTo>
                  <a:cubicBezTo>
                    <a:pt x="4265" y="1177"/>
                    <a:pt x="4269" y="1173"/>
                    <a:pt x="4266" y="1167"/>
                  </a:cubicBezTo>
                  <a:cubicBezTo>
                    <a:pt x="4263" y="1161"/>
                    <a:pt x="4253" y="1157"/>
                    <a:pt x="4245" y="1157"/>
                  </a:cubicBezTo>
                  <a:cubicBezTo>
                    <a:pt x="4245" y="1157"/>
                    <a:pt x="4245" y="1157"/>
                    <a:pt x="4245" y="1157"/>
                  </a:cubicBezTo>
                  <a:moveTo>
                    <a:pt x="4289" y="1157"/>
                  </a:moveTo>
                  <a:cubicBezTo>
                    <a:pt x="4280" y="1157"/>
                    <a:pt x="4276" y="1161"/>
                    <a:pt x="4279" y="1167"/>
                  </a:cubicBezTo>
                  <a:cubicBezTo>
                    <a:pt x="4283" y="1173"/>
                    <a:pt x="4292" y="1177"/>
                    <a:pt x="4301" y="1177"/>
                  </a:cubicBezTo>
                  <a:cubicBezTo>
                    <a:pt x="4309" y="1177"/>
                    <a:pt x="4314" y="1173"/>
                    <a:pt x="4310" y="1167"/>
                  </a:cubicBezTo>
                  <a:cubicBezTo>
                    <a:pt x="4307" y="1161"/>
                    <a:pt x="4297" y="1157"/>
                    <a:pt x="4289" y="1157"/>
                  </a:cubicBezTo>
                  <a:cubicBezTo>
                    <a:pt x="4289" y="1157"/>
                    <a:pt x="4289" y="1157"/>
                    <a:pt x="4289" y="1157"/>
                  </a:cubicBezTo>
                  <a:moveTo>
                    <a:pt x="4648" y="1156"/>
                  </a:moveTo>
                  <a:cubicBezTo>
                    <a:pt x="4639" y="1156"/>
                    <a:pt x="4635" y="1161"/>
                    <a:pt x="4639" y="1166"/>
                  </a:cubicBezTo>
                  <a:cubicBezTo>
                    <a:pt x="4643" y="1172"/>
                    <a:pt x="4653" y="1177"/>
                    <a:pt x="4662" y="1177"/>
                  </a:cubicBezTo>
                  <a:cubicBezTo>
                    <a:pt x="4671" y="1177"/>
                    <a:pt x="4674" y="1172"/>
                    <a:pt x="4670" y="1166"/>
                  </a:cubicBezTo>
                  <a:cubicBezTo>
                    <a:pt x="4666" y="1161"/>
                    <a:pt x="4656" y="1156"/>
                    <a:pt x="4648" y="1156"/>
                  </a:cubicBezTo>
                  <a:cubicBezTo>
                    <a:pt x="4648" y="1156"/>
                    <a:pt x="4648" y="1156"/>
                    <a:pt x="4648" y="1156"/>
                  </a:cubicBezTo>
                  <a:moveTo>
                    <a:pt x="4736" y="1156"/>
                  </a:moveTo>
                  <a:cubicBezTo>
                    <a:pt x="4727" y="1156"/>
                    <a:pt x="4723" y="1160"/>
                    <a:pt x="4728" y="1166"/>
                  </a:cubicBezTo>
                  <a:cubicBezTo>
                    <a:pt x="4732" y="1172"/>
                    <a:pt x="4742" y="1176"/>
                    <a:pt x="4751" y="1176"/>
                  </a:cubicBezTo>
                  <a:cubicBezTo>
                    <a:pt x="4759" y="1176"/>
                    <a:pt x="4763" y="1172"/>
                    <a:pt x="4759" y="1166"/>
                  </a:cubicBezTo>
                  <a:cubicBezTo>
                    <a:pt x="4755" y="1160"/>
                    <a:pt x="4744" y="1156"/>
                    <a:pt x="4736" y="1156"/>
                  </a:cubicBezTo>
                  <a:cubicBezTo>
                    <a:pt x="4736" y="1156"/>
                    <a:pt x="4736" y="1156"/>
                    <a:pt x="4736" y="1156"/>
                  </a:cubicBezTo>
                  <a:moveTo>
                    <a:pt x="4781" y="1156"/>
                  </a:moveTo>
                  <a:cubicBezTo>
                    <a:pt x="4772" y="1156"/>
                    <a:pt x="4769" y="1160"/>
                    <a:pt x="4773" y="1166"/>
                  </a:cubicBezTo>
                  <a:cubicBezTo>
                    <a:pt x="4777" y="1172"/>
                    <a:pt x="4787" y="1176"/>
                    <a:pt x="4796" y="1176"/>
                  </a:cubicBezTo>
                  <a:cubicBezTo>
                    <a:pt x="4805" y="1176"/>
                    <a:pt x="4808" y="1172"/>
                    <a:pt x="4804" y="1166"/>
                  </a:cubicBezTo>
                  <a:cubicBezTo>
                    <a:pt x="4800" y="1160"/>
                    <a:pt x="4789" y="1156"/>
                    <a:pt x="4781" y="1156"/>
                  </a:cubicBezTo>
                  <a:cubicBezTo>
                    <a:pt x="4781" y="1156"/>
                    <a:pt x="4781" y="1156"/>
                    <a:pt x="4781" y="1156"/>
                  </a:cubicBezTo>
                  <a:moveTo>
                    <a:pt x="306" y="1138"/>
                  </a:moveTo>
                  <a:cubicBezTo>
                    <a:pt x="297" y="1139"/>
                    <a:pt x="287" y="1143"/>
                    <a:pt x="283" y="1149"/>
                  </a:cubicBezTo>
                  <a:cubicBezTo>
                    <a:pt x="279" y="1154"/>
                    <a:pt x="283" y="1159"/>
                    <a:pt x="291" y="1159"/>
                  </a:cubicBezTo>
                  <a:cubicBezTo>
                    <a:pt x="300" y="1159"/>
                    <a:pt x="310" y="1154"/>
                    <a:pt x="314" y="1149"/>
                  </a:cubicBezTo>
                  <a:cubicBezTo>
                    <a:pt x="318" y="1143"/>
                    <a:pt x="314" y="1138"/>
                    <a:pt x="306" y="1138"/>
                  </a:cubicBezTo>
                  <a:cubicBezTo>
                    <a:pt x="306" y="1138"/>
                    <a:pt x="306" y="1138"/>
                    <a:pt x="306" y="1138"/>
                  </a:cubicBezTo>
                  <a:moveTo>
                    <a:pt x="350" y="1138"/>
                  </a:moveTo>
                  <a:cubicBezTo>
                    <a:pt x="341" y="1138"/>
                    <a:pt x="331" y="1143"/>
                    <a:pt x="327" y="1149"/>
                  </a:cubicBezTo>
                  <a:cubicBezTo>
                    <a:pt x="323" y="1154"/>
                    <a:pt x="327" y="1159"/>
                    <a:pt x="336" y="1159"/>
                  </a:cubicBezTo>
                  <a:cubicBezTo>
                    <a:pt x="344" y="1159"/>
                    <a:pt x="354" y="1154"/>
                    <a:pt x="358" y="1148"/>
                  </a:cubicBezTo>
                  <a:cubicBezTo>
                    <a:pt x="362" y="1143"/>
                    <a:pt x="358" y="1138"/>
                    <a:pt x="350" y="1138"/>
                  </a:cubicBezTo>
                  <a:cubicBezTo>
                    <a:pt x="350" y="1138"/>
                    <a:pt x="350" y="1138"/>
                    <a:pt x="350" y="1138"/>
                  </a:cubicBezTo>
                  <a:moveTo>
                    <a:pt x="394" y="1138"/>
                  </a:moveTo>
                  <a:cubicBezTo>
                    <a:pt x="385" y="1138"/>
                    <a:pt x="375" y="1143"/>
                    <a:pt x="371" y="1148"/>
                  </a:cubicBezTo>
                  <a:cubicBezTo>
                    <a:pt x="368" y="1154"/>
                    <a:pt x="372" y="1159"/>
                    <a:pt x="380" y="1159"/>
                  </a:cubicBezTo>
                  <a:cubicBezTo>
                    <a:pt x="389" y="1158"/>
                    <a:pt x="399" y="1154"/>
                    <a:pt x="402" y="1148"/>
                  </a:cubicBezTo>
                  <a:cubicBezTo>
                    <a:pt x="406" y="1143"/>
                    <a:pt x="402" y="1138"/>
                    <a:pt x="394" y="1138"/>
                  </a:cubicBezTo>
                  <a:cubicBezTo>
                    <a:pt x="394" y="1138"/>
                    <a:pt x="394" y="1138"/>
                    <a:pt x="394" y="1138"/>
                  </a:cubicBezTo>
                  <a:moveTo>
                    <a:pt x="438" y="1138"/>
                  </a:moveTo>
                  <a:cubicBezTo>
                    <a:pt x="429" y="1138"/>
                    <a:pt x="419" y="1143"/>
                    <a:pt x="415" y="1148"/>
                  </a:cubicBezTo>
                  <a:cubicBezTo>
                    <a:pt x="412" y="1154"/>
                    <a:pt x="416" y="1158"/>
                    <a:pt x="424" y="1158"/>
                  </a:cubicBezTo>
                  <a:cubicBezTo>
                    <a:pt x="433" y="1158"/>
                    <a:pt x="443" y="1154"/>
                    <a:pt x="446" y="1148"/>
                  </a:cubicBezTo>
                  <a:cubicBezTo>
                    <a:pt x="450" y="1143"/>
                    <a:pt x="446" y="1138"/>
                    <a:pt x="438" y="1138"/>
                  </a:cubicBezTo>
                  <a:cubicBezTo>
                    <a:pt x="438" y="1138"/>
                    <a:pt x="438" y="1138"/>
                    <a:pt x="438" y="1138"/>
                  </a:cubicBezTo>
                  <a:moveTo>
                    <a:pt x="482" y="1138"/>
                  </a:moveTo>
                  <a:cubicBezTo>
                    <a:pt x="473" y="1138"/>
                    <a:pt x="464" y="1143"/>
                    <a:pt x="460" y="1148"/>
                  </a:cubicBezTo>
                  <a:cubicBezTo>
                    <a:pt x="456" y="1154"/>
                    <a:pt x="460" y="1158"/>
                    <a:pt x="469" y="1158"/>
                  </a:cubicBezTo>
                  <a:cubicBezTo>
                    <a:pt x="477" y="1158"/>
                    <a:pt x="487" y="1154"/>
                    <a:pt x="491" y="1148"/>
                  </a:cubicBezTo>
                  <a:cubicBezTo>
                    <a:pt x="494" y="1142"/>
                    <a:pt x="490" y="1138"/>
                    <a:pt x="482" y="1138"/>
                  </a:cubicBezTo>
                  <a:cubicBezTo>
                    <a:pt x="482" y="1138"/>
                    <a:pt x="482" y="1138"/>
                    <a:pt x="482" y="1138"/>
                  </a:cubicBezTo>
                  <a:moveTo>
                    <a:pt x="527" y="1138"/>
                  </a:moveTo>
                  <a:cubicBezTo>
                    <a:pt x="519" y="1138"/>
                    <a:pt x="509" y="1142"/>
                    <a:pt x="506" y="1148"/>
                  </a:cubicBezTo>
                  <a:cubicBezTo>
                    <a:pt x="502" y="1154"/>
                    <a:pt x="506" y="1158"/>
                    <a:pt x="515" y="1158"/>
                  </a:cubicBezTo>
                  <a:cubicBezTo>
                    <a:pt x="523" y="1158"/>
                    <a:pt x="533" y="1154"/>
                    <a:pt x="537" y="1148"/>
                  </a:cubicBezTo>
                  <a:cubicBezTo>
                    <a:pt x="540" y="1142"/>
                    <a:pt x="536" y="1138"/>
                    <a:pt x="528" y="1138"/>
                  </a:cubicBezTo>
                  <a:cubicBezTo>
                    <a:pt x="528" y="1138"/>
                    <a:pt x="527" y="1138"/>
                    <a:pt x="527" y="1138"/>
                  </a:cubicBezTo>
                  <a:moveTo>
                    <a:pt x="571" y="1138"/>
                  </a:moveTo>
                  <a:cubicBezTo>
                    <a:pt x="563" y="1138"/>
                    <a:pt x="553" y="1142"/>
                    <a:pt x="550" y="1148"/>
                  </a:cubicBezTo>
                  <a:cubicBezTo>
                    <a:pt x="546" y="1154"/>
                    <a:pt x="550" y="1158"/>
                    <a:pt x="559" y="1158"/>
                  </a:cubicBezTo>
                  <a:cubicBezTo>
                    <a:pt x="567" y="1158"/>
                    <a:pt x="577" y="1153"/>
                    <a:pt x="581" y="1148"/>
                  </a:cubicBezTo>
                  <a:cubicBezTo>
                    <a:pt x="584" y="1142"/>
                    <a:pt x="580" y="1138"/>
                    <a:pt x="571" y="1138"/>
                  </a:cubicBezTo>
                  <a:cubicBezTo>
                    <a:pt x="571" y="1138"/>
                    <a:pt x="571" y="1138"/>
                    <a:pt x="571" y="1138"/>
                  </a:cubicBezTo>
                  <a:moveTo>
                    <a:pt x="616" y="1138"/>
                  </a:moveTo>
                  <a:cubicBezTo>
                    <a:pt x="607" y="1138"/>
                    <a:pt x="597" y="1142"/>
                    <a:pt x="594" y="1148"/>
                  </a:cubicBezTo>
                  <a:cubicBezTo>
                    <a:pt x="591" y="1153"/>
                    <a:pt x="595" y="1158"/>
                    <a:pt x="603" y="1158"/>
                  </a:cubicBezTo>
                  <a:cubicBezTo>
                    <a:pt x="612" y="1158"/>
                    <a:pt x="622" y="1153"/>
                    <a:pt x="625" y="1148"/>
                  </a:cubicBezTo>
                  <a:cubicBezTo>
                    <a:pt x="628" y="1142"/>
                    <a:pt x="624" y="1138"/>
                    <a:pt x="616" y="1138"/>
                  </a:cubicBezTo>
                  <a:cubicBezTo>
                    <a:pt x="616" y="1138"/>
                    <a:pt x="616" y="1138"/>
                    <a:pt x="616" y="1138"/>
                  </a:cubicBezTo>
                  <a:moveTo>
                    <a:pt x="660" y="1137"/>
                  </a:moveTo>
                  <a:cubicBezTo>
                    <a:pt x="652" y="1137"/>
                    <a:pt x="642" y="1142"/>
                    <a:pt x="639" y="1148"/>
                  </a:cubicBezTo>
                  <a:cubicBezTo>
                    <a:pt x="635" y="1153"/>
                    <a:pt x="640" y="1158"/>
                    <a:pt x="648" y="1158"/>
                  </a:cubicBezTo>
                  <a:cubicBezTo>
                    <a:pt x="657" y="1158"/>
                    <a:pt x="666" y="1153"/>
                    <a:pt x="670" y="1148"/>
                  </a:cubicBezTo>
                  <a:cubicBezTo>
                    <a:pt x="673" y="1142"/>
                    <a:pt x="669" y="1137"/>
                    <a:pt x="660" y="1137"/>
                  </a:cubicBezTo>
                  <a:cubicBezTo>
                    <a:pt x="660" y="1137"/>
                    <a:pt x="660" y="1137"/>
                    <a:pt x="660" y="1137"/>
                  </a:cubicBezTo>
                  <a:moveTo>
                    <a:pt x="704" y="1137"/>
                  </a:moveTo>
                  <a:cubicBezTo>
                    <a:pt x="696" y="1137"/>
                    <a:pt x="686" y="1142"/>
                    <a:pt x="683" y="1148"/>
                  </a:cubicBezTo>
                  <a:cubicBezTo>
                    <a:pt x="680" y="1153"/>
                    <a:pt x="684" y="1158"/>
                    <a:pt x="692" y="1158"/>
                  </a:cubicBezTo>
                  <a:cubicBezTo>
                    <a:pt x="701" y="1158"/>
                    <a:pt x="711" y="1153"/>
                    <a:pt x="714" y="1147"/>
                  </a:cubicBezTo>
                  <a:cubicBezTo>
                    <a:pt x="717" y="1142"/>
                    <a:pt x="713" y="1137"/>
                    <a:pt x="704" y="1137"/>
                  </a:cubicBezTo>
                  <a:cubicBezTo>
                    <a:pt x="704" y="1137"/>
                    <a:pt x="704" y="1137"/>
                    <a:pt x="704" y="1137"/>
                  </a:cubicBezTo>
                  <a:moveTo>
                    <a:pt x="748" y="1137"/>
                  </a:moveTo>
                  <a:cubicBezTo>
                    <a:pt x="740" y="1137"/>
                    <a:pt x="730" y="1142"/>
                    <a:pt x="727" y="1147"/>
                  </a:cubicBezTo>
                  <a:cubicBezTo>
                    <a:pt x="724" y="1153"/>
                    <a:pt x="728" y="1158"/>
                    <a:pt x="737" y="1157"/>
                  </a:cubicBezTo>
                  <a:cubicBezTo>
                    <a:pt x="745" y="1157"/>
                    <a:pt x="755" y="1153"/>
                    <a:pt x="758" y="1147"/>
                  </a:cubicBezTo>
                  <a:cubicBezTo>
                    <a:pt x="761" y="1142"/>
                    <a:pt x="757" y="1137"/>
                    <a:pt x="748" y="1137"/>
                  </a:cubicBezTo>
                  <a:cubicBezTo>
                    <a:pt x="748" y="1137"/>
                    <a:pt x="748" y="1137"/>
                    <a:pt x="748" y="1137"/>
                  </a:cubicBezTo>
                  <a:moveTo>
                    <a:pt x="792" y="1137"/>
                  </a:moveTo>
                  <a:cubicBezTo>
                    <a:pt x="784" y="1137"/>
                    <a:pt x="774" y="1142"/>
                    <a:pt x="771" y="1147"/>
                  </a:cubicBezTo>
                  <a:cubicBezTo>
                    <a:pt x="768" y="1153"/>
                    <a:pt x="772" y="1157"/>
                    <a:pt x="781" y="1157"/>
                  </a:cubicBezTo>
                  <a:cubicBezTo>
                    <a:pt x="790" y="1157"/>
                    <a:pt x="799" y="1153"/>
                    <a:pt x="802" y="1147"/>
                  </a:cubicBezTo>
                  <a:cubicBezTo>
                    <a:pt x="805" y="1142"/>
                    <a:pt x="801" y="1137"/>
                    <a:pt x="792" y="1137"/>
                  </a:cubicBezTo>
                  <a:cubicBezTo>
                    <a:pt x="792" y="1137"/>
                    <a:pt x="792" y="1137"/>
                    <a:pt x="792" y="1137"/>
                  </a:cubicBezTo>
                  <a:moveTo>
                    <a:pt x="836" y="1137"/>
                  </a:moveTo>
                  <a:cubicBezTo>
                    <a:pt x="828" y="1137"/>
                    <a:pt x="818" y="1141"/>
                    <a:pt x="815" y="1147"/>
                  </a:cubicBezTo>
                  <a:cubicBezTo>
                    <a:pt x="812" y="1153"/>
                    <a:pt x="817" y="1157"/>
                    <a:pt x="826" y="1157"/>
                  </a:cubicBezTo>
                  <a:cubicBezTo>
                    <a:pt x="834" y="1157"/>
                    <a:pt x="843" y="1153"/>
                    <a:pt x="846" y="1147"/>
                  </a:cubicBezTo>
                  <a:cubicBezTo>
                    <a:pt x="849" y="1141"/>
                    <a:pt x="845" y="1137"/>
                    <a:pt x="836" y="1137"/>
                  </a:cubicBezTo>
                  <a:cubicBezTo>
                    <a:pt x="836" y="1137"/>
                    <a:pt x="836" y="1137"/>
                    <a:pt x="836" y="1137"/>
                  </a:cubicBezTo>
                  <a:moveTo>
                    <a:pt x="881" y="1137"/>
                  </a:moveTo>
                  <a:cubicBezTo>
                    <a:pt x="872" y="1137"/>
                    <a:pt x="863" y="1141"/>
                    <a:pt x="860" y="1147"/>
                  </a:cubicBezTo>
                  <a:cubicBezTo>
                    <a:pt x="857" y="1153"/>
                    <a:pt x="862" y="1157"/>
                    <a:pt x="870" y="1157"/>
                  </a:cubicBezTo>
                  <a:cubicBezTo>
                    <a:pt x="879" y="1157"/>
                    <a:pt x="888" y="1153"/>
                    <a:pt x="891" y="1147"/>
                  </a:cubicBezTo>
                  <a:cubicBezTo>
                    <a:pt x="894" y="1141"/>
                    <a:pt x="890" y="1137"/>
                    <a:pt x="881" y="1137"/>
                  </a:cubicBezTo>
                  <a:cubicBezTo>
                    <a:pt x="881" y="1137"/>
                    <a:pt x="881" y="1137"/>
                    <a:pt x="881" y="1137"/>
                  </a:cubicBezTo>
                  <a:moveTo>
                    <a:pt x="925" y="1137"/>
                  </a:moveTo>
                  <a:cubicBezTo>
                    <a:pt x="916" y="1137"/>
                    <a:pt x="907" y="1141"/>
                    <a:pt x="904" y="1147"/>
                  </a:cubicBezTo>
                  <a:cubicBezTo>
                    <a:pt x="901" y="1152"/>
                    <a:pt x="906" y="1157"/>
                    <a:pt x="915" y="1157"/>
                  </a:cubicBezTo>
                  <a:cubicBezTo>
                    <a:pt x="923" y="1157"/>
                    <a:pt x="932" y="1152"/>
                    <a:pt x="935" y="1147"/>
                  </a:cubicBezTo>
                  <a:cubicBezTo>
                    <a:pt x="938" y="1141"/>
                    <a:pt x="933" y="1137"/>
                    <a:pt x="925" y="1137"/>
                  </a:cubicBezTo>
                  <a:cubicBezTo>
                    <a:pt x="925" y="1137"/>
                    <a:pt x="925" y="1137"/>
                    <a:pt x="925" y="1137"/>
                  </a:cubicBezTo>
                  <a:moveTo>
                    <a:pt x="2115" y="1136"/>
                  </a:moveTo>
                  <a:cubicBezTo>
                    <a:pt x="2106" y="1136"/>
                    <a:pt x="2099" y="1140"/>
                    <a:pt x="2098" y="1146"/>
                  </a:cubicBezTo>
                  <a:cubicBezTo>
                    <a:pt x="2097" y="1152"/>
                    <a:pt x="2104" y="1156"/>
                    <a:pt x="2112" y="1156"/>
                  </a:cubicBezTo>
                  <a:cubicBezTo>
                    <a:pt x="2121" y="1156"/>
                    <a:pt x="2128" y="1152"/>
                    <a:pt x="2129" y="1146"/>
                  </a:cubicBezTo>
                  <a:cubicBezTo>
                    <a:pt x="2130" y="1140"/>
                    <a:pt x="2123" y="1136"/>
                    <a:pt x="2115" y="1136"/>
                  </a:cubicBezTo>
                  <a:cubicBezTo>
                    <a:pt x="2115" y="1136"/>
                    <a:pt x="2115" y="1136"/>
                    <a:pt x="2115" y="1136"/>
                  </a:cubicBezTo>
                  <a:moveTo>
                    <a:pt x="2159" y="1136"/>
                  </a:moveTo>
                  <a:cubicBezTo>
                    <a:pt x="2150" y="1136"/>
                    <a:pt x="2143" y="1140"/>
                    <a:pt x="2142" y="1146"/>
                  </a:cubicBezTo>
                  <a:cubicBezTo>
                    <a:pt x="2142" y="1152"/>
                    <a:pt x="2148" y="1156"/>
                    <a:pt x="2157" y="1156"/>
                  </a:cubicBezTo>
                  <a:cubicBezTo>
                    <a:pt x="2165" y="1156"/>
                    <a:pt x="2173" y="1152"/>
                    <a:pt x="2173" y="1146"/>
                  </a:cubicBezTo>
                  <a:cubicBezTo>
                    <a:pt x="2174" y="1140"/>
                    <a:pt x="2167" y="1136"/>
                    <a:pt x="2159" y="1136"/>
                  </a:cubicBezTo>
                  <a:cubicBezTo>
                    <a:pt x="2159" y="1136"/>
                    <a:pt x="2159" y="1136"/>
                    <a:pt x="2159" y="1136"/>
                  </a:cubicBezTo>
                  <a:moveTo>
                    <a:pt x="2203" y="1136"/>
                  </a:moveTo>
                  <a:cubicBezTo>
                    <a:pt x="2195" y="1136"/>
                    <a:pt x="2188" y="1140"/>
                    <a:pt x="2187" y="1146"/>
                  </a:cubicBezTo>
                  <a:cubicBezTo>
                    <a:pt x="2187" y="1152"/>
                    <a:pt x="2193" y="1156"/>
                    <a:pt x="2202" y="1156"/>
                  </a:cubicBezTo>
                  <a:cubicBezTo>
                    <a:pt x="2210" y="1156"/>
                    <a:pt x="2218" y="1151"/>
                    <a:pt x="2218" y="1146"/>
                  </a:cubicBezTo>
                  <a:cubicBezTo>
                    <a:pt x="2219" y="1140"/>
                    <a:pt x="2212" y="1136"/>
                    <a:pt x="2203" y="1136"/>
                  </a:cubicBezTo>
                  <a:cubicBezTo>
                    <a:pt x="2203" y="1136"/>
                    <a:pt x="2203" y="1136"/>
                    <a:pt x="2203" y="1136"/>
                  </a:cubicBezTo>
                  <a:moveTo>
                    <a:pt x="2247" y="1135"/>
                  </a:moveTo>
                  <a:cubicBezTo>
                    <a:pt x="2238" y="1135"/>
                    <a:pt x="2231" y="1140"/>
                    <a:pt x="2231" y="1146"/>
                  </a:cubicBezTo>
                  <a:cubicBezTo>
                    <a:pt x="2230" y="1151"/>
                    <a:pt x="2237" y="1156"/>
                    <a:pt x="2245" y="1156"/>
                  </a:cubicBezTo>
                  <a:cubicBezTo>
                    <a:pt x="2254" y="1156"/>
                    <a:pt x="2261" y="1151"/>
                    <a:pt x="2262" y="1146"/>
                  </a:cubicBezTo>
                  <a:cubicBezTo>
                    <a:pt x="2262" y="1140"/>
                    <a:pt x="2256" y="1135"/>
                    <a:pt x="2247" y="1135"/>
                  </a:cubicBezTo>
                  <a:cubicBezTo>
                    <a:pt x="2247" y="1135"/>
                    <a:pt x="2247" y="1135"/>
                    <a:pt x="2247" y="1135"/>
                  </a:cubicBezTo>
                  <a:moveTo>
                    <a:pt x="2291" y="1135"/>
                  </a:moveTo>
                  <a:cubicBezTo>
                    <a:pt x="2282" y="1135"/>
                    <a:pt x="2275" y="1140"/>
                    <a:pt x="2275" y="1146"/>
                  </a:cubicBezTo>
                  <a:cubicBezTo>
                    <a:pt x="2274" y="1151"/>
                    <a:pt x="2281" y="1156"/>
                    <a:pt x="2290" y="1156"/>
                  </a:cubicBezTo>
                  <a:cubicBezTo>
                    <a:pt x="2298" y="1156"/>
                    <a:pt x="2305" y="1151"/>
                    <a:pt x="2306" y="1146"/>
                  </a:cubicBezTo>
                  <a:cubicBezTo>
                    <a:pt x="2306" y="1140"/>
                    <a:pt x="2299" y="1135"/>
                    <a:pt x="2291" y="1135"/>
                  </a:cubicBezTo>
                  <a:cubicBezTo>
                    <a:pt x="2291" y="1135"/>
                    <a:pt x="2291" y="1135"/>
                    <a:pt x="2291" y="1135"/>
                  </a:cubicBezTo>
                  <a:moveTo>
                    <a:pt x="2335" y="1135"/>
                  </a:moveTo>
                  <a:cubicBezTo>
                    <a:pt x="2327" y="1135"/>
                    <a:pt x="2319" y="1140"/>
                    <a:pt x="2319" y="1145"/>
                  </a:cubicBezTo>
                  <a:cubicBezTo>
                    <a:pt x="2319" y="1151"/>
                    <a:pt x="2326" y="1156"/>
                    <a:pt x="2334" y="1156"/>
                  </a:cubicBezTo>
                  <a:cubicBezTo>
                    <a:pt x="2343" y="1156"/>
                    <a:pt x="2350" y="1151"/>
                    <a:pt x="2350" y="1145"/>
                  </a:cubicBezTo>
                  <a:cubicBezTo>
                    <a:pt x="2350" y="1140"/>
                    <a:pt x="2344" y="1135"/>
                    <a:pt x="2335" y="1135"/>
                  </a:cubicBezTo>
                  <a:cubicBezTo>
                    <a:pt x="2335" y="1135"/>
                    <a:pt x="2335" y="1135"/>
                    <a:pt x="2335" y="1135"/>
                  </a:cubicBezTo>
                  <a:moveTo>
                    <a:pt x="2380" y="1135"/>
                  </a:moveTo>
                  <a:cubicBezTo>
                    <a:pt x="2371" y="1135"/>
                    <a:pt x="2364" y="1140"/>
                    <a:pt x="2364" y="1145"/>
                  </a:cubicBezTo>
                  <a:cubicBezTo>
                    <a:pt x="2364" y="1151"/>
                    <a:pt x="2370" y="1156"/>
                    <a:pt x="2379" y="1156"/>
                  </a:cubicBezTo>
                  <a:cubicBezTo>
                    <a:pt x="2388" y="1156"/>
                    <a:pt x="2395" y="1151"/>
                    <a:pt x="2395" y="1145"/>
                  </a:cubicBezTo>
                  <a:cubicBezTo>
                    <a:pt x="2395" y="1140"/>
                    <a:pt x="2388" y="1135"/>
                    <a:pt x="2380" y="1135"/>
                  </a:cubicBezTo>
                  <a:cubicBezTo>
                    <a:pt x="2380" y="1135"/>
                    <a:pt x="2380" y="1135"/>
                    <a:pt x="2380" y="1135"/>
                  </a:cubicBezTo>
                  <a:moveTo>
                    <a:pt x="2423" y="1135"/>
                  </a:moveTo>
                  <a:cubicBezTo>
                    <a:pt x="2415" y="1135"/>
                    <a:pt x="2408" y="1140"/>
                    <a:pt x="2408" y="1145"/>
                  </a:cubicBezTo>
                  <a:cubicBezTo>
                    <a:pt x="2408" y="1151"/>
                    <a:pt x="2415" y="1155"/>
                    <a:pt x="2423" y="1155"/>
                  </a:cubicBezTo>
                  <a:cubicBezTo>
                    <a:pt x="2432" y="1155"/>
                    <a:pt x="2439" y="1151"/>
                    <a:pt x="2439" y="1145"/>
                  </a:cubicBezTo>
                  <a:cubicBezTo>
                    <a:pt x="2439" y="1139"/>
                    <a:pt x="2432" y="1135"/>
                    <a:pt x="2424" y="1135"/>
                  </a:cubicBezTo>
                  <a:cubicBezTo>
                    <a:pt x="2424" y="1135"/>
                    <a:pt x="2423" y="1135"/>
                    <a:pt x="2423" y="1135"/>
                  </a:cubicBezTo>
                  <a:moveTo>
                    <a:pt x="2468" y="1135"/>
                  </a:moveTo>
                  <a:cubicBezTo>
                    <a:pt x="2459" y="1135"/>
                    <a:pt x="2452" y="1139"/>
                    <a:pt x="2452" y="1145"/>
                  </a:cubicBezTo>
                  <a:cubicBezTo>
                    <a:pt x="2452" y="1151"/>
                    <a:pt x="2459" y="1155"/>
                    <a:pt x="2468" y="1155"/>
                  </a:cubicBezTo>
                  <a:cubicBezTo>
                    <a:pt x="2476" y="1155"/>
                    <a:pt x="2483" y="1151"/>
                    <a:pt x="2483" y="1145"/>
                  </a:cubicBezTo>
                  <a:cubicBezTo>
                    <a:pt x="2483" y="1139"/>
                    <a:pt x="2476" y="1135"/>
                    <a:pt x="2468" y="1135"/>
                  </a:cubicBezTo>
                  <a:cubicBezTo>
                    <a:pt x="2468" y="1135"/>
                    <a:pt x="2468" y="1135"/>
                    <a:pt x="2468" y="1135"/>
                  </a:cubicBezTo>
                  <a:moveTo>
                    <a:pt x="2511" y="1135"/>
                  </a:moveTo>
                  <a:cubicBezTo>
                    <a:pt x="2503" y="1135"/>
                    <a:pt x="2496" y="1139"/>
                    <a:pt x="2496" y="1145"/>
                  </a:cubicBezTo>
                  <a:cubicBezTo>
                    <a:pt x="2496" y="1151"/>
                    <a:pt x="2503" y="1155"/>
                    <a:pt x="2512" y="1155"/>
                  </a:cubicBezTo>
                  <a:cubicBezTo>
                    <a:pt x="2520" y="1155"/>
                    <a:pt x="2527" y="1151"/>
                    <a:pt x="2527" y="1145"/>
                  </a:cubicBezTo>
                  <a:cubicBezTo>
                    <a:pt x="2527" y="1139"/>
                    <a:pt x="2520" y="1135"/>
                    <a:pt x="2511" y="1135"/>
                  </a:cubicBezTo>
                  <a:cubicBezTo>
                    <a:pt x="2511" y="1135"/>
                    <a:pt x="2511" y="1135"/>
                    <a:pt x="2511" y="1135"/>
                  </a:cubicBezTo>
                  <a:moveTo>
                    <a:pt x="2556" y="1135"/>
                  </a:moveTo>
                  <a:cubicBezTo>
                    <a:pt x="2547" y="1135"/>
                    <a:pt x="2540" y="1139"/>
                    <a:pt x="2540" y="1145"/>
                  </a:cubicBezTo>
                  <a:cubicBezTo>
                    <a:pt x="2541" y="1150"/>
                    <a:pt x="2548" y="1155"/>
                    <a:pt x="2556" y="1155"/>
                  </a:cubicBezTo>
                  <a:cubicBezTo>
                    <a:pt x="2565" y="1155"/>
                    <a:pt x="2572" y="1150"/>
                    <a:pt x="2571" y="1145"/>
                  </a:cubicBezTo>
                  <a:cubicBezTo>
                    <a:pt x="2571" y="1139"/>
                    <a:pt x="2564" y="1135"/>
                    <a:pt x="2556" y="1135"/>
                  </a:cubicBezTo>
                  <a:cubicBezTo>
                    <a:pt x="2556" y="1135"/>
                    <a:pt x="2556" y="1135"/>
                    <a:pt x="2556" y="1135"/>
                  </a:cubicBezTo>
                  <a:moveTo>
                    <a:pt x="2600" y="1134"/>
                  </a:moveTo>
                  <a:cubicBezTo>
                    <a:pt x="2592" y="1134"/>
                    <a:pt x="2585" y="1139"/>
                    <a:pt x="2585" y="1145"/>
                  </a:cubicBezTo>
                  <a:cubicBezTo>
                    <a:pt x="2585" y="1150"/>
                    <a:pt x="2592" y="1155"/>
                    <a:pt x="2601" y="1155"/>
                  </a:cubicBezTo>
                  <a:cubicBezTo>
                    <a:pt x="2610" y="1155"/>
                    <a:pt x="2616" y="1150"/>
                    <a:pt x="2616" y="1145"/>
                  </a:cubicBezTo>
                  <a:cubicBezTo>
                    <a:pt x="2616" y="1139"/>
                    <a:pt x="2609" y="1134"/>
                    <a:pt x="2600" y="1134"/>
                  </a:cubicBezTo>
                  <a:cubicBezTo>
                    <a:pt x="2600" y="1134"/>
                    <a:pt x="2600" y="1134"/>
                    <a:pt x="2600" y="1134"/>
                  </a:cubicBezTo>
                  <a:moveTo>
                    <a:pt x="2644" y="1134"/>
                  </a:moveTo>
                  <a:cubicBezTo>
                    <a:pt x="2635" y="1134"/>
                    <a:pt x="2629" y="1139"/>
                    <a:pt x="2629" y="1145"/>
                  </a:cubicBezTo>
                  <a:cubicBezTo>
                    <a:pt x="2629" y="1150"/>
                    <a:pt x="2637" y="1155"/>
                    <a:pt x="2645" y="1155"/>
                  </a:cubicBezTo>
                  <a:cubicBezTo>
                    <a:pt x="2654" y="1155"/>
                    <a:pt x="2660" y="1150"/>
                    <a:pt x="2660" y="1144"/>
                  </a:cubicBezTo>
                  <a:cubicBezTo>
                    <a:pt x="2660" y="1139"/>
                    <a:pt x="2653" y="1134"/>
                    <a:pt x="2644" y="1134"/>
                  </a:cubicBezTo>
                  <a:cubicBezTo>
                    <a:pt x="2644" y="1134"/>
                    <a:pt x="2644" y="1134"/>
                    <a:pt x="2644" y="1134"/>
                  </a:cubicBezTo>
                  <a:moveTo>
                    <a:pt x="2689" y="1134"/>
                  </a:moveTo>
                  <a:cubicBezTo>
                    <a:pt x="2680" y="1134"/>
                    <a:pt x="2673" y="1139"/>
                    <a:pt x="2674" y="1144"/>
                  </a:cubicBezTo>
                  <a:cubicBezTo>
                    <a:pt x="2674" y="1150"/>
                    <a:pt x="2681" y="1155"/>
                    <a:pt x="2690" y="1155"/>
                  </a:cubicBezTo>
                  <a:cubicBezTo>
                    <a:pt x="2699" y="1155"/>
                    <a:pt x="2705" y="1150"/>
                    <a:pt x="2705" y="1144"/>
                  </a:cubicBezTo>
                  <a:cubicBezTo>
                    <a:pt x="2704" y="1139"/>
                    <a:pt x="2697" y="1134"/>
                    <a:pt x="2689" y="1134"/>
                  </a:cubicBezTo>
                  <a:cubicBezTo>
                    <a:pt x="2689" y="1134"/>
                    <a:pt x="2689" y="1134"/>
                    <a:pt x="2689" y="1134"/>
                  </a:cubicBezTo>
                  <a:moveTo>
                    <a:pt x="2731" y="1134"/>
                  </a:moveTo>
                  <a:cubicBezTo>
                    <a:pt x="2723" y="1134"/>
                    <a:pt x="2716" y="1139"/>
                    <a:pt x="2716" y="1144"/>
                  </a:cubicBezTo>
                  <a:cubicBezTo>
                    <a:pt x="2717" y="1150"/>
                    <a:pt x="2724" y="1155"/>
                    <a:pt x="2733" y="1155"/>
                  </a:cubicBezTo>
                  <a:cubicBezTo>
                    <a:pt x="2741" y="1154"/>
                    <a:pt x="2748" y="1150"/>
                    <a:pt x="2747" y="1144"/>
                  </a:cubicBezTo>
                  <a:cubicBezTo>
                    <a:pt x="2747" y="1139"/>
                    <a:pt x="2740" y="1134"/>
                    <a:pt x="2731" y="1134"/>
                  </a:cubicBezTo>
                  <a:cubicBezTo>
                    <a:pt x="2731" y="1134"/>
                    <a:pt x="2731" y="1134"/>
                    <a:pt x="2731" y="1134"/>
                  </a:cubicBezTo>
                  <a:moveTo>
                    <a:pt x="2776" y="1134"/>
                  </a:moveTo>
                  <a:cubicBezTo>
                    <a:pt x="2767" y="1134"/>
                    <a:pt x="2761" y="1139"/>
                    <a:pt x="2761" y="1144"/>
                  </a:cubicBezTo>
                  <a:cubicBezTo>
                    <a:pt x="2762" y="1150"/>
                    <a:pt x="2769" y="1154"/>
                    <a:pt x="2778" y="1154"/>
                  </a:cubicBezTo>
                  <a:cubicBezTo>
                    <a:pt x="2786" y="1154"/>
                    <a:pt x="2793" y="1150"/>
                    <a:pt x="2792" y="1144"/>
                  </a:cubicBezTo>
                  <a:cubicBezTo>
                    <a:pt x="2791" y="1138"/>
                    <a:pt x="2784" y="1134"/>
                    <a:pt x="2776" y="1134"/>
                  </a:cubicBezTo>
                  <a:cubicBezTo>
                    <a:pt x="2776" y="1134"/>
                    <a:pt x="2776" y="1134"/>
                    <a:pt x="2776" y="1134"/>
                  </a:cubicBezTo>
                  <a:moveTo>
                    <a:pt x="4186" y="1131"/>
                  </a:moveTo>
                  <a:cubicBezTo>
                    <a:pt x="4178" y="1131"/>
                    <a:pt x="4173" y="1136"/>
                    <a:pt x="4177" y="1141"/>
                  </a:cubicBezTo>
                  <a:cubicBezTo>
                    <a:pt x="4180" y="1147"/>
                    <a:pt x="4189" y="1152"/>
                    <a:pt x="4198" y="1152"/>
                  </a:cubicBezTo>
                  <a:cubicBezTo>
                    <a:pt x="4206" y="1151"/>
                    <a:pt x="4211" y="1147"/>
                    <a:pt x="4208" y="1141"/>
                  </a:cubicBezTo>
                  <a:cubicBezTo>
                    <a:pt x="4204" y="1136"/>
                    <a:pt x="4195" y="1131"/>
                    <a:pt x="4186" y="1131"/>
                  </a:cubicBezTo>
                  <a:cubicBezTo>
                    <a:pt x="4186" y="1131"/>
                    <a:pt x="4186" y="1131"/>
                    <a:pt x="4186" y="1131"/>
                  </a:cubicBezTo>
                  <a:moveTo>
                    <a:pt x="4230" y="1131"/>
                  </a:moveTo>
                  <a:cubicBezTo>
                    <a:pt x="4221" y="1131"/>
                    <a:pt x="4217" y="1135"/>
                    <a:pt x="4220" y="1141"/>
                  </a:cubicBezTo>
                  <a:cubicBezTo>
                    <a:pt x="4223" y="1147"/>
                    <a:pt x="4233" y="1151"/>
                    <a:pt x="4242" y="1151"/>
                  </a:cubicBezTo>
                  <a:cubicBezTo>
                    <a:pt x="4250" y="1151"/>
                    <a:pt x="4254" y="1147"/>
                    <a:pt x="4251" y="1141"/>
                  </a:cubicBezTo>
                  <a:cubicBezTo>
                    <a:pt x="4248" y="1135"/>
                    <a:pt x="4238" y="1131"/>
                    <a:pt x="4230" y="1131"/>
                  </a:cubicBezTo>
                  <a:cubicBezTo>
                    <a:pt x="4230" y="1131"/>
                    <a:pt x="4230" y="1131"/>
                    <a:pt x="4230" y="1131"/>
                  </a:cubicBezTo>
                  <a:moveTo>
                    <a:pt x="4274" y="1131"/>
                  </a:moveTo>
                  <a:cubicBezTo>
                    <a:pt x="4265" y="1131"/>
                    <a:pt x="4261" y="1135"/>
                    <a:pt x="4264" y="1141"/>
                  </a:cubicBezTo>
                  <a:cubicBezTo>
                    <a:pt x="4267" y="1147"/>
                    <a:pt x="4277" y="1151"/>
                    <a:pt x="4286" y="1151"/>
                  </a:cubicBezTo>
                  <a:cubicBezTo>
                    <a:pt x="4294" y="1151"/>
                    <a:pt x="4298" y="1147"/>
                    <a:pt x="4295" y="1141"/>
                  </a:cubicBezTo>
                  <a:cubicBezTo>
                    <a:pt x="4292" y="1135"/>
                    <a:pt x="4282" y="1131"/>
                    <a:pt x="4274" y="1131"/>
                  </a:cubicBezTo>
                  <a:cubicBezTo>
                    <a:pt x="4274" y="1131"/>
                    <a:pt x="4274" y="1131"/>
                    <a:pt x="4274" y="1131"/>
                  </a:cubicBezTo>
                  <a:moveTo>
                    <a:pt x="4318" y="1131"/>
                  </a:moveTo>
                  <a:cubicBezTo>
                    <a:pt x="4309" y="1131"/>
                    <a:pt x="4305" y="1135"/>
                    <a:pt x="4308" y="1141"/>
                  </a:cubicBezTo>
                  <a:cubicBezTo>
                    <a:pt x="4312" y="1147"/>
                    <a:pt x="4322" y="1151"/>
                    <a:pt x="4330" y="1151"/>
                  </a:cubicBezTo>
                  <a:cubicBezTo>
                    <a:pt x="4339" y="1151"/>
                    <a:pt x="4343" y="1146"/>
                    <a:pt x="4339" y="1141"/>
                  </a:cubicBezTo>
                  <a:cubicBezTo>
                    <a:pt x="4336" y="1135"/>
                    <a:pt x="4326" y="1131"/>
                    <a:pt x="4318" y="1131"/>
                  </a:cubicBezTo>
                  <a:cubicBezTo>
                    <a:pt x="4318" y="1131"/>
                    <a:pt x="4318" y="1131"/>
                    <a:pt x="4318" y="1131"/>
                  </a:cubicBezTo>
                  <a:moveTo>
                    <a:pt x="4362" y="1130"/>
                  </a:moveTo>
                  <a:cubicBezTo>
                    <a:pt x="4354" y="1130"/>
                    <a:pt x="4350" y="1135"/>
                    <a:pt x="4353" y="1141"/>
                  </a:cubicBezTo>
                  <a:cubicBezTo>
                    <a:pt x="4357" y="1146"/>
                    <a:pt x="4366" y="1151"/>
                    <a:pt x="4375" y="1151"/>
                  </a:cubicBezTo>
                  <a:cubicBezTo>
                    <a:pt x="4383" y="1151"/>
                    <a:pt x="4388" y="1146"/>
                    <a:pt x="4384" y="1141"/>
                  </a:cubicBezTo>
                  <a:cubicBezTo>
                    <a:pt x="4381" y="1135"/>
                    <a:pt x="4371" y="1130"/>
                    <a:pt x="4362" y="1130"/>
                  </a:cubicBezTo>
                  <a:cubicBezTo>
                    <a:pt x="4362" y="1130"/>
                    <a:pt x="4362" y="1130"/>
                    <a:pt x="4362" y="1130"/>
                  </a:cubicBezTo>
                  <a:moveTo>
                    <a:pt x="3965" y="1128"/>
                  </a:moveTo>
                  <a:cubicBezTo>
                    <a:pt x="3957" y="1128"/>
                    <a:pt x="3952" y="1132"/>
                    <a:pt x="3955" y="1138"/>
                  </a:cubicBezTo>
                  <a:cubicBezTo>
                    <a:pt x="3958" y="1144"/>
                    <a:pt x="3967" y="1148"/>
                    <a:pt x="3975" y="1148"/>
                  </a:cubicBezTo>
                  <a:cubicBezTo>
                    <a:pt x="3984" y="1148"/>
                    <a:pt x="3989" y="1144"/>
                    <a:pt x="3986" y="1138"/>
                  </a:cubicBezTo>
                  <a:cubicBezTo>
                    <a:pt x="3983" y="1132"/>
                    <a:pt x="3974" y="1128"/>
                    <a:pt x="3965" y="1128"/>
                  </a:cubicBezTo>
                  <a:cubicBezTo>
                    <a:pt x="3965" y="1128"/>
                    <a:pt x="3965" y="1128"/>
                    <a:pt x="3965" y="1128"/>
                  </a:cubicBezTo>
                  <a:moveTo>
                    <a:pt x="4010" y="1128"/>
                  </a:moveTo>
                  <a:cubicBezTo>
                    <a:pt x="4001" y="1128"/>
                    <a:pt x="3996" y="1132"/>
                    <a:pt x="3999" y="1138"/>
                  </a:cubicBezTo>
                  <a:cubicBezTo>
                    <a:pt x="4002" y="1144"/>
                    <a:pt x="4011" y="1148"/>
                    <a:pt x="4020" y="1148"/>
                  </a:cubicBezTo>
                  <a:cubicBezTo>
                    <a:pt x="4028" y="1148"/>
                    <a:pt x="4033" y="1143"/>
                    <a:pt x="4030" y="1138"/>
                  </a:cubicBezTo>
                  <a:cubicBezTo>
                    <a:pt x="4027" y="1132"/>
                    <a:pt x="4018" y="1128"/>
                    <a:pt x="4010" y="1128"/>
                  </a:cubicBezTo>
                  <a:cubicBezTo>
                    <a:pt x="4010" y="1128"/>
                    <a:pt x="4010" y="1128"/>
                    <a:pt x="4010" y="1128"/>
                  </a:cubicBezTo>
                  <a:moveTo>
                    <a:pt x="4534" y="1122"/>
                  </a:moveTo>
                  <a:cubicBezTo>
                    <a:pt x="4525" y="1122"/>
                    <a:pt x="4521" y="1127"/>
                    <a:pt x="4525" y="1133"/>
                  </a:cubicBezTo>
                  <a:cubicBezTo>
                    <a:pt x="4529" y="1138"/>
                    <a:pt x="4539" y="1143"/>
                    <a:pt x="4548" y="1143"/>
                  </a:cubicBezTo>
                  <a:cubicBezTo>
                    <a:pt x="4556" y="1143"/>
                    <a:pt x="4560" y="1138"/>
                    <a:pt x="4556" y="1132"/>
                  </a:cubicBezTo>
                  <a:cubicBezTo>
                    <a:pt x="4552" y="1127"/>
                    <a:pt x="4542" y="1122"/>
                    <a:pt x="4534" y="1122"/>
                  </a:cubicBezTo>
                  <a:cubicBezTo>
                    <a:pt x="4534" y="1122"/>
                    <a:pt x="4534" y="1122"/>
                    <a:pt x="4534" y="1122"/>
                  </a:cubicBezTo>
                  <a:moveTo>
                    <a:pt x="325" y="1111"/>
                  </a:moveTo>
                  <a:cubicBezTo>
                    <a:pt x="317" y="1111"/>
                    <a:pt x="307" y="1115"/>
                    <a:pt x="303" y="1121"/>
                  </a:cubicBezTo>
                  <a:cubicBezTo>
                    <a:pt x="299" y="1127"/>
                    <a:pt x="302" y="1131"/>
                    <a:pt x="311" y="1131"/>
                  </a:cubicBezTo>
                  <a:cubicBezTo>
                    <a:pt x="319" y="1131"/>
                    <a:pt x="329" y="1127"/>
                    <a:pt x="333" y="1121"/>
                  </a:cubicBezTo>
                  <a:cubicBezTo>
                    <a:pt x="337" y="1115"/>
                    <a:pt x="334" y="1111"/>
                    <a:pt x="325" y="1111"/>
                  </a:cubicBezTo>
                  <a:cubicBezTo>
                    <a:pt x="325" y="1111"/>
                    <a:pt x="325" y="1111"/>
                    <a:pt x="325" y="1111"/>
                  </a:cubicBezTo>
                  <a:moveTo>
                    <a:pt x="369" y="1111"/>
                  </a:moveTo>
                  <a:cubicBezTo>
                    <a:pt x="360" y="1111"/>
                    <a:pt x="350" y="1115"/>
                    <a:pt x="346" y="1121"/>
                  </a:cubicBezTo>
                  <a:cubicBezTo>
                    <a:pt x="342" y="1127"/>
                    <a:pt x="346" y="1131"/>
                    <a:pt x="355" y="1131"/>
                  </a:cubicBezTo>
                  <a:cubicBezTo>
                    <a:pt x="363" y="1131"/>
                    <a:pt x="373" y="1126"/>
                    <a:pt x="377" y="1121"/>
                  </a:cubicBezTo>
                  <a:cubicBezTo>
                    <a:pt x="381" y="1115"/>
                    <a:pt x="377" y="1111"/>
                    <a:pt x="369" y="1111"/>
                  </a:cubicBezTo>
                  <a:cubicBezTo>
                    <a:pt x="369" y="1111"/>
                    <a:pt x="369" y="1111"/>
                    <a:pt x="369" y="1111"/>
                  </a:cubicBezTo>
                  <a:moveTo>
                    <a:pt x="412" y="1111"/>
                  </a:moveTo>
                  <a:cubicBezTo>
                    <a:pt x="404" y="1111"/>
                    <a:pt x="394" y="1115"/>
                    <a:pt x="390" y="1121"/>
                  </a:cubicBezTo>
                  <a:cubicBezTo>
                    <a:pt x="386" y="1126"/>
                    <a:pt x="390" y="1131"/>
                    <a:pt x="399" y="1131"/>
                  </a:cubicBezTo>
                  <a:cubicBezTo>
                    <a:pt x="407" y="1131"/>
                    <a:pt x="417" y="1126"/>
                    <a:pt x="421" y="1121"/>
                  </a:cubicBezTo>
                  <a:cubicBezTo>
                    <a:pt x="425" y="1115"/>
                    <a:pt x="421" y="1111"/>
                    <a:pt x="412" y="1111"/>
                  </a:cubicBezTo>
                  <a:cubicBezTo>
                    <a:pt x="412" y="1111"/>
                    <a:pt x="412" y="1111"/>
                    <a:pt x="412" y="1111"/>
                  </a:cubicBezTo>
                  <a:moveTo>
                    <a:pt x="456" y="1110"/>
                  </a:moveTo>
                  <a:cubicBezTo>
                    <a:pt x="447" y="1111"/>
                    <a:pt x="437" y="1115"/>
                    <a:pt x="434" y="1121"/>
                  </a:cubicBezTo>
                  <a:cubicBezTo>
                    <a:pt x="430" y="1126"/>
                    <a:pt x="434" y="1131"/>
                    <a:pt x="442" y="1131"/>
                  </a:cubicBezTo>
                  <a:cubicBezTo>
                    <a:pt x="451" y="1131"/>
                    <a:pt x="461" y="1126"/>
                    <a:pt x="465" y="1121"/>
                  </a:cubicBezTo>
                  <a:cubicBezTo>
                    <a:pt x="468" y="1115"/>
                    <a:pt x="464" y="1110"/>
                    <a:pt x="456" y="1110"/>
                  </a:cubicBezTo>
                  <a:cubicBezTo>
                    <a:pt x="456" y="1110"/>
                    <a:pt x="456" y="1110"/>
                    <a:pt x="456" y="1110"/>
                  </a:cubicBezTo>
                  <a:moveTo>
                    <a:pt x="500" y="1110"/>
                  </a:moveTo>
                  <a:cubicBezTo>
                    <a:pt x="491" y="1110"/>
                    <a:pt x="481" y="1115"/>
                    <a:pt x="478" y="1121"/>
                  </a:cubicBezTo>
                  <a:cubicBezTo>
                    <a:pt x="474" y="1126"/>
                    <a:pt x="478" y="1131"/>
                    <a:pt x="487" y="1131"/>
                  </a:cubicBezTo>
                  <a:cubicBezTo>
                    <a:pt x="495" y="1131"/>
                    <a:pt x="505" y="1126"/>
                    <a:pt x="509" y="1120"/>
                  </a:cubicBezTo>
                  <a:cubicBezTo>
                    <a:pt x="512" y="1115"/>
                    <a:pt x="508" y="1110"/>
                    <a:pt x="500" y="1110"/>
                  </a:cubicBezTo>
                  <a:cubicBezTo>
                    <a:pt x="500" y="1110"/>
                    <a:pt x="500" y="1110"/>
                    <a:pt x="500" y="1110"/>
                  </a:cubicBezTo>
                  <a:moveTo>
                    <a:pt x="545" y="1110"/>
                  </a:moveTo>
                  <a:cubicBezTo>
                    <a:pt x="536" y="1110"/>
                    <a:pt x="527" y="1115"/>
                    <a:pt x="523" y="1120"/>
                  </a:cubicBezTo>
                  <a:cubicBezTo>
                    <a:pt x="520" y="1126"/>
                    <a:pt x="524" y="1131"/>
                    <a:pt x="532" y="1131"/>
                  </a:cubicBezTo>
                  <a:cubicBezTo>
                    <a:pt x="541" y="1130"/>
                    <a:pt x="550" y="1126"/>
                    <a:pt x="554" y="1120"/>
                  </a:cubicBezTo>
                  <a:cubicBezTo>
                    <a:pt x="557" y="1115"/>
                    <a:pt x="553" y="1110"/>
                    <a:pt x="545" y="1110"/>
                  </a:cubicBezTo>
                  <a:cubicBezTo>
                    <a:pt x="545" y="1110"/>
                    <a:pt x="545" y="1110"/>
                    <a:pt x="545" y="1110"/>
                  </a:cubicBezTo>
                  <a:moveTo>
                    <a:pt x="588" y="1110"/>
                  </a:moveTo>
                  <a:cubicBezTo>
                    <a:pt x="580" y="1110"/>
                    <a:pt x="570" y="1115"/>
                    <a:pt x="567" y="1120"/>
                  </a:cubicBezTo>
                  <a:cubicBezTo>
                    <a:pt x="563" y="1126"/>
                    <a:pt x="567" y="1130"/>
                    <a:pt x="576" y="1130"/>
                  </a:cubicBezTo>
                  <a:cubicBezTo>
                    <a:pt x="584" y="1130"/>
                    <a:pt x="594" y="1126"/>
                    <a:pt x="597" y="1120"/>
                  </a:cubicBezTo>
                  <a:cubicBezTo>
                    <a:pt x="601" y="1115"/>
                    <a:pt x="597" y="1110"/>
                    <a:pt x="588" y="1110"/>
                  </a:cubicBezTo>
                  <a:cubicBezTo>
                    <a:pt x="588" y="1110"/>
                    <a:pt x="588" y="1110"/>
                    <a:pt x="588" y="1110"/>
                  </a:cubicBezTo>
                  <a:moveTo>
                    <a:pt x="632" y="1110"/>
                  </a:moveTo>
                  <a:cubicBezTo>
                    <a:pt x="624" y="1110"/>
                    <a:pt x="614" y="1115"/>
                    <a:pt x="611" y="1120"/>
                  </a:cubicBezTo>
                  <a:cubicBezTo>
                    <a:pt x="607" y="1126"/>
                    <a:pt x="611" y="1130"/>
                    <a:pt x="620" y="1130"/>
                  </a:cubicBezTo>
                  <a:cubicBezTo>
                    <a:pt x="629" y="1130"/>
                    <a:pt x="638" y="1126"/>
                    <a:pt x="641" y="1120"/>
                  </a:cubicBezTo>
                  <a:cubicBezTo>
                    <a:pt x="645" y="1114"/>
                    <a:pt x="641" y="1110"/>
                    <a:pt x="632" y="1110"/>
                  </a:cubicBezTo>
                  <a:cubicBezTo>
                    <a:pt x="632" y="1110"/>
                    <a:pt x="632" y="1110"/>
                    <a:pt x="632" y="1110"/>
                  </a:cubicBezTo>
                  <a:moveTo>
                    <a:pt x="676" y="1110"/>
                  </a:moveTo>
                  <a:cubicBezTo>
                    <a:pt x="668" y="1110"/>
                    <a:pt x="658" y="1114"/>
                    <a:pt x="655" y="1120"/>
                  </a:cubicBezTo>
                  <a:cubicBezTo>
                    <a:pt x="652" y="1126"/>
                    <a:pt x="656" y="1130"/>
                    <a:pt x="665" y="1130"/>
                  </a:cubicBezTo>
                  <a:cubicBezTo>
                    <a:pt x="673" y="1130"/>
                    <a:pt x="683" y="1126"/>
                    <a:pt x="686" y="1120"/>
                  </a:cubicBezTo>
                  <a:cubicBezTo>
                    <a:pt x="689" y="1114"/>
                    <a:pt x="685" y="1110"/>
                    <a:pt x="676" y="1110"/>
                  </a:cubicBezTo>
                  <a:cubicBezTo>
                    <a:pt x="676" y="1110"/>
                    <a:pt x="676" y="1110"/>
                    <a:pt x="676" y="1110"/>
                  </a:cubicBezTo>
                  <a:moveTo>
                    <a:pt x="720" y="1110"/>
                  </a:moveTo>
                  <a:cubicBezTo>
                    <a:pt x="711" y="1110"/>
                    <a:pt x="702" y="1114"/>
                    <a:pt x="699" y="1120"/>
                  </a:cubicBezTo>
                  <a:cubicBezTo>
                    <a:pt x="695" y="1125"/>
                    <a:pt x="700" y="1130"/>
                    <a:pt x="708" y="1130"/>
                  </a:cubicBezTo>
                  <a:cubicBezTo>
                    <a:pt x="717" y="1130"/>
                    <a:pt x="726" y="1125"/>
                    <a:pt x="729" y="1120"/>
                  </a:cubicBezTo>
                  <a:cubicBezTo>
                    <a:pt x="733" y="1114"/>
                    <a:pt x="728" y="1110"/>
                    <a:pt x="720" y="1110"/>
                  </a:cubicBezTo>
                  <a:cubicBezTo>
                    <a:pt x="720" y="1110"/>
                    <a:pt x="720" y="1110"/>
                    <a:pt x="720" y="1110"/>
                  </a:cubicBezTo>
                  <a:moveTo>
                    <a:pt x="764" y="1110"/>
                  </a:moveTo>
                  <a:cubicBezTo>
                    <a:pt x="755" y="1110"/>
                    <a:pt x="746" y="1114"/>
                    <a:pt x="743" y="1120"/>
                  </a:cubicBezTo>
                  <a:cubicBezTo>
                    <a:pt x="739" y="1125"/>
                    <a:pt x="744" y="1130"/>
                    <a:pt x="752" y="1130"/>
                  </a:cubicBezTo>
                  <a:cubicBezTo>
                    <a:pt x="761" y="1130"/>
                    <a:pt x="770" y="1125"/>
                    <a:pt x="773" y="1120"/>
                  </a:cubicBezTo>
                  <a:cubicBezTo>
                    <a:pt x="776" y="1114"/>
                    <a:pt x="772" y="1110"/>
                    <a:pt x="764" y="1110"/>
                  </a:cubicBezTo>
                  <a:cubicBezTo>
                    <a:pt x="764" y="1110"/>
                    <a:pt x="764" y="1110"/>
                    <a:pt x="764" y="1110"/>
                  </a:cubicBezTo>
                  <a:moveTo>
                    <a:pt x="807" y="1109"/>
                  </a:moveTo>
                  <a:cubicBezTo>
                    <a:pt x="799" y="1109"/>
                    <a:pt x="789" y="1114"/>
                    <a:pt x="786" y="1120"/>
                  </a:cubicBezTo>
                  <a:cubicBezTo>
                    <a:pt x="783" y="1125"/>
                    <a:pt x="788" y="1130"/>
                    <a:pt x="796" y="1130"/>
                  </a:cubicBezTo>
                  <a:cubicBezTo>
                    <a:pt x="805" y="1130"/>
                    <a:pt x="814" y="1125"/>
                    <a:pt x="817" y="1120"/>
                  </a:cubicBezTo>
                  <a:cubicBezTo>
                    <a:pt x="820" y="1114"/>
                    <a:pt x="816" y="1109"/>
                    <a:pt x="807" y="1109"/>
                  </a:cubicBezTo>
                  <a:cubicBezTo>
                    <a:pt x="807" y="1109"/>
                    <a:pt x="807" y="1109"/>
                    <a:pt x="807" y="1109"/>
                  </a:cubicBezTo>
                  <a:moveTo>
                    <a:pt x="851" y="1109"/>
                  </a:moveTo>
                  <a:cubicBezTo>
                    <a:pt x="842" y="1109"/>
                    <a:pt x="833" y="1114"/>
                    <a:pt x="830" y="1119"/>
                  </a:cubicBezTo>
                  <a:cubicBezTo>
                    <a:pt x="827" y="1125"/>
                    <a:pt x="832" y="1130"/>
                    <a:pt x="840" y="1130"/>
                  </a:cubicBezTo>
                  <a:cubicBezTo>
                    <a:pt x="849" y="1130"/>
                    <a:pt x="858" y="1125"/>
                    <a:pt x="861" y="1119"/>
                  </a:cubicBezTo>
                  <a:cubicBezTo>
                    <a:pt x="864" y="1114"/>
                    <a:pt x="859" y="1109"/>
                    <a:pt x="851" y="1109"/>
                  </a:cubicBezTo>
                  <a:cubicBezTo>
                    <a:pt x="851" y="1109"/>
                    <a:pt x="851" y="1109"/>
                    <a:pt x="851" y="1109"/>
                  </a:cubicBezTo>
                  <a:moveTo>
                    <a:pt x="895" y="1109"/>
                  </a:moveTo>
                  <a:cubicBezTo>
                    <a:pt x="887" y="1109"/>
                    <a:pt x="878" y="1114"/>
                    <a:pt x="875" y="1119"/>
                  </a:cubicBezTo>
                  <a:cubicBezTo>
                    <a:pt x="872" y="1125"/>
                    <a:pt x="876" y="1129"/>
                    <a:pt x="885" y="1129"/>
                  </a:cubicBezTo>
                  <a:cubicBezTo>
                    <a:pt x="893" y="1129"/>
                    <a:pt x="902" y="1125"/>
                    <a:pt x="905" y="1119"/>
                  </a:cubicBezTo>
                  <a:cubicBezTo>
                    <a:pt x="908" y="1114"/>
                    <a:pt x="904" y="1109"/>
                    <a:pt x="895" y="1109"/>
                  </a:cubicBezTo>
                  <a:cubicBezTo>
                    <a:pt x="895" y="1109"/>
                    <a:pt x="895" y="1109"/>
                    <a:pt x="895" y="1109"/>
                  </a:cubicBezTo>
                  <a:moveTo>
                    <a:pt x="2162" y="1106"/>
                  </a:moveTo>
                  <a:cubicBezTo>
                    <a:pt x="2153" y="1106"/>
                    <a:pt x="2146" y="1111"/>
                    <a:pt x="2145" y="1116"/>
                  </a:cubicBezTo>
                  <a:cubicBezTo>
                    <a:pt x="2145" y="1122"/>
                    <a:pt x="2151" y="1127"/>
                    <a:pt x="2160" y="1127"/>
                  </a:cubicBezTo>
                  <a:cubicBezTo>
                    <a:pt x="2168" y="1127"/>
                    <a:pt x="2176" y="1122"/>
                    <a:pt x="2176" y="1116"/>
                  </a:cubicBezTo>
                  <a:cubicBezTo>
                    <a:pt x="2177" y="1111"/>
                    <a:pt x="2170" y="1106"/>
                    <a:pt x="2162" y="1106"/>
                  </a:cubicBezTo>
                  <a:cubicBezTo>
                    <a:pt x="2162" y="1106"/>
                    <a:pt x="2162" y="1106"/>
                    <a:pt x="2162" y="1106"/>
                  </a:cubicBezTo>
                  <a:moveTo>
                    <a:pt x="2206" y="1106"/>
                  </a:moveTo>
                  <a:cubicBezTo>
                    <a:pt x="2198" y="1106"/>
                    <a:pt x="2190" y="1111"/>
                    <a:pt x="2190" y="1116"/>
                  </a:cubicBezTo>
                  <a:cubicBezTo>
                    <a:pt x="2189" y="1122"/>
                    <a:pt x="2196" y="1127"/>
                    <a:pt x="2204" y="1127"/>
                  </a:cubicBezTo>
                  <a:cubicBezTo>
                    <a:pt x="2213" y="1127"/>
                    <a:pt x="2220" y="1122"/>
                    <a:pt x="2220" y="1116"/>
                  </a:cubicBezTo>
                  <a:cubicBezTo>
                    <a:pt x="2221" y="1111"/>
                    <a:pt x="2214" y="1106"/>
                    <a:pt x="2206" y="1106"/>
                  </a:cubicBezTo>
                  <a:cubicBezTo>
                    <a:pt x="2206" y="1106"/>
                    <a:pt x="2206" y="1106"/>
                    <a:pt x="2206" y="1106"/>
                  </a:cubicBezTo>
                  <a:moveTo>
                    <a:pt x="2249" y="1106"/>
                  </a:moveTo>
                  <a:cubicBezTo>
                    <a:pt x="2241" y="1106"/>
                    <a:pt x="2233" y="1111"/>
                    <a:pt x="2233" y="1116"/>
                  </a:cubicBezTo>
                  <a:cubicBezTo>
                    <a:pt x="2233" y="1122"/>
                    <a:pt x="2239" y="1126"/>
                    <a:pt x="2248" y="1126"/>
                  </a:cubicBezTo>
                  <a:cubicBezTo>
                    <a:pt x="2256" y="1126"/>
                    <a:pt x="2263" y="1122"/>
                    <a:pt x="2264" y="1116"/>
                  </a:cubicBezTo>
                  <a:cubicBezTo>
                    <a:pt x="2264" y="1111"/>
                    <a:pt x="2258" y="1106"/>
                    <a:pt x="2249" y="1106"/>
                  </a:cubicBezTo>
                  <a:cubicBezTo>
                    <a:pt x="2249" y="1106"/>
                    <a:pt x="2249" y="1106"/>
                    <a:pt x="2249" y="1106"/>
                  </a:cubicBezTo>
                  <a:moveTo>
                    <a:pt x="2293" y="1106"/>
                  </a:moveTo>
                  <a:cubicBezTo>
                    <a:pt x="2284" y="1106"/>
                    <a:pt x="2277" y="1110"/>
                    <a:pt x="2277" y="1116"/>
                  </a:cubicBezTo>
                  <a:cubicBezTo>
                    <a:pt x="2276" y="1122"/>
                    <a:pt x="2283" y="1126"/>
                    <a:pt x="2291" y="1126"/>
                  </a:cubicBezTo>
                  <a:cubicBezTo>
                    <a:pt x="2300" y="1126"/>
                    <a:pt x="2307" y="1122"/>
                    <a:pt x="2307" y="1116"/>
                  </a:cubicBezTo>
                  <a:cubicBezTo>
                    <a:pt x="2308" y="1110"/>
                    <a:pt x="2301" y="1106"/>
                    <a:pt x="2293" y="1106"/>
                  </a:cubicBezTo>
                  <a:cubicBezTo>
                    <a:pt x="2293" y="1106"/>
                    <a:pt x="2293" y="1106"/>
                    <a:pt x="2293" y="1106"/>
                  </a:cubicBezTo>
                  <a:moveTo>
                    <a:pt x="2336" y="1106"/>
                  </a:moveTo>
                  <a:cubicBezTo>
                    <a:pt x="2328" y="1106"/>
                    <a:pt x="2321" y="1110"/>
                    <a:pt x="2321" y="1116"/>
                  </a:cubicBezTo>
                  <a:cubicBezTo>
                    <a:pt x="2320" y="1122"/>
                    <a:pt x="2327" y="1126"/>
                    <a:pt x="2335" y="1126"/>
                  </a:cubicBezTo>
                  <a:cubicBezTo>
                    <a:pt x="2344" y="1126"/>
                    <a:pt x="2351" y="1122"/>
                    <a:pt x="2351" y="1116"/>
                  </a:cubicBezTo>
                  <a:cubicBezTo>
                    <a:pt x="2351" y="1110"/>
                    <a:pt x="2345" y="1106"/>
                    <a:pt x="2336" y="1106"/>
                  </a:cubicBezTo>
                  <a:cubicBezTo>
                    <a:pt x="2336" y="1106"/>
                    <a:pt x="2336" y="1106"/>
                    <a:pt x="2336" y="1106"/>
                  </a:cubicBezTo>
                  <a:moveTo>
                    <a:pt x="2380" y="1106"/>
                  </a:moveTo>
                  <a:cubicBezTo>
                    <a:pt x="2372" y="1106"/>
                    <a:pt x="2365" y="1110"/>
                    <a:pt x="2365" y="1116"/>
                  </a:cubicBezTo>
                  <a:cubicBezTo>
                    <a:pt x="2365" y="1121"/>
                    <a:pt x="2371" y="1126"/>
                    <a:pt x="2380" y="1126"/>
                  </a:cubicBezTo>
                  <a:cubicBezTo>
                    <a:pt x="2388" y="1126"/>
                    <a:pt x="2395" y="1121"/>
                    <a:pt x="2396" y="1116"/>
                  </a:cubicBezTo>
                  <a:cubicBezTo>
                    <a:pt x="2396" y="1110"/>
                    <a:pt x="2389" y="1106"/>
                    <a:pt x="2381" y="1106"/>
                  </a:cubicBezTo>
                  <a:cubicBezTo>
                    <a:pt x="2381" y="1106"/>
                    <a:pt x="2381" y="1106"/>
                    <a:pt x="2380" y="1106"/>
                  </a:cubicBezTo>
                  <a:moveTo>
                    <a:pt x="2424" y="1105"/>
                  </a:moveTo>
                  <a:cubicBezTo>
                    <a:pt x="2415" y="1105"/>
                    <a:pt x="2409" y="1110"/>
                    <a:pt x="2408" y="1116"/>
                  </a:cubicBezTo>
                  <a:cubicBezTo>
                    <a:pt x="2408" y="1121"/>
                    <a:pt x="2415" y="1126"/>
                    <a:pt x="2424" y="1126"/>
                  </a:cubicBezTo>
                  <a:cubicBezTo>
                    <a:pt x="2432" y="1126"/>
                    <a:pt x="2439" y="1121"/>
                    <a:pt x="2439" y="1116"/>
                  </a:cubicBezTo>
                  <a:cubicBezTo>
                    <a:pt x="2439" y="1110"/>
                    <a:pt x="2432" y="1105"/>
                    <a:pt x="2424" y="1105"/>
                  </a:cubicBezTo>
                  <a:cubicBezTo>
                    <a:pt x="2424" y="1105"/>
                    <a:pt x="2424" y="1105"/>
                    <a:pt x="2424" y="1105"/>
                  </a:cubicBezTo>
                  <a:moveTo>
                    <a:pt x="2468" y="1105"/>
                  </a:moveTo>
                  <a:cubicBezTo>
                    <a:pt x="2459" y="1105"/>
                    <a:pt x="2452" y="1110"/>
                    <a:pt x="2452" y="1116"/>
                  </a:cubicBezTo>
                  <a:cubicBezTo>
                    <a:pt x="2452" y="1121"/>
                    <a:pt x="2459" y="1126"/>
                    <a:pt x="2468" y="1126"/>
                  </a:cubicBezTo>
                  <a:cubicBezTo>
                    <a:pt x="2476" y="1126"/>
                    <a:pt x="2483" y="1121"/>
                    <a:pt x="2483" y="1115"/>
                  </a:cubicBezTo>
                  <a:cubicBezTo>
                    <a:pt x="2483" y="1110"/>
                    <a:pt x="2476" y="1105"/>
                    <a:pt x="2468" y="1105"/>
                  </a:cubicBezTo>
                  <a:cubicBezTo>
                    <a:pt x="2468" y="1105"/>
                    <a:pt x="2468" y="1105"/>
                    <a:pt x="2468" y="1105"/>
                  </a:cubicBezTo>
                  <a:moveTo>
                    <a:pt x="2511" y="1105"/>
                  </a:moveTo>
                  <a:cubicBezTo>
                    <a:pt x="2503" y="1105"/>
                    <a:pt x="2496" y="1110"/>
                    <a:pt x="2496" y="1115"/>
                  </a:cubicBezTo>
                  <a:cubicBezTo>
                    <a:pt x="2496" y="1121"/>
                    <a:pt x="2503" y="1126"/>
                    <a:pt x="2511" y="1126"/>
                  </a:cubicBezTo>
                  <a:cubicBezTo>
                    <a:pt x="2520" y="1126"/>
                    <a:pt x="2527" y="1121"/>
                    <a:pt x="2526" y="1115"/>
                  </a:cubicBezTo>
                  <a:cubicBezTo>
                    <a:pt x="2526" y="1110"/>
                    <a:pt x="2519" y="1105"/>
                    <a:pt x="2511" y="1105"/>
                  </a:cubicBezTo>
                  <a:cubicBezTo>
                    <a:pt x="2511" y="1105"/>
                    <a:pt x="2511" y="1105"/>
                    <a:pt x="2511" y="1105"/>
                  </a:cubicBezTo>
                  <a:moveTo>
                    <a:pt x="2555" y="1105"/>
                  </a:moveTo>
                  <a:cubicBezTo>
                    <a:pt x="2546" y="1105"/>
                    <a:pt x="2540" y="1110"/>
                    <a:pt x="2540" y="1115"/>
                  </a:cubicBezTo>
                  <a:cubicBezTo>
                    <a:pt x="2540" y="1121"/>
                    <a:pt x="2547" y="1126"/>
                    <a:pt x="2555" y="1125"/>
                  </a:cubicBezTo>
                  <a:cubicBezTo>
                    <a:pt x="2564" y="1125"/>
                    <a:pt x="2571" y="1121"/>
                    <a:pt x="2570" y="1115"/>
                  </a:cubicBezTo>
                  <a:cubicBezTo>
                    <a:pt x="2570" y="1110"/>
                    <a:pt x="2563" y="1105"/>
                    <a:pt x="2555" y="1105"/>
                  </a:cubicBezTo>
                  <a:cubicBezTo>
                    <a:pt x="2555" y="1105"/>
                    <a:pt x="2555" y="1105"/>
                    <a:pt x="2555" y="1105"/>
                  </a:cubicBezTo>
                  <a:moveTo>
                    <a:pt x="2599" y="1105"/>
                  </a:moveTo>
                  <a:cubicBezTo>
                    <a:pt x="2591" y="1105"/>
                    <a:pt x="2584" y="1110"/>
                    <a:pt x="2584" y="1115"/>
                  </a:cubicBezTo>
                  <a:cubicBezTo>
                    <a:pt x="2584" y="1121"/>
                    <a:pt x="2591" y="1125"/>
                    <a:pt x="2600" y="1125"/>
                  </a:cubicBezTo>
                  <a:cubicBezTo>
                    <a:pt x="2608" y="1125"/>
                    <a:pt x="2615" y="1121"/>
                    <a:pt x="2615" y="1115"/>
                  </a:cubicBezTo>
                  <a:cubicBezTo>
                    <a:pt x="2614" y="1109"/>
                    <a:pt x="2607" y="1105"/>
                    <a:pt x="2599" y="1105"/>
                  </a:cubicBezTo>
                  <a:cubicBezTo>
                    <a:pt x="2599" y="1105"/>
                    <a:pt x="2599" y="1105"/>
                    <a:pt x="2599" y="1105"/>
                  </a:cubicBezTo>
                  <a:moveTo>
                    <a:pt x="2642" y="1105"/>
                  </a:moveTo>
                  <a:cubicBezTo>
                    <a:pt x="2634" y="1105"/>
                    <a:pt x="2627" y="1109"/>
                    <a:pt x="2628" y="1115"/>
                  </a:cubicBezTo>
                  <a:cubicBezTo>
                    <a:pt x="2628" y="1121"/>
                    <a:pt x="2635" y="1125"/>
                    <a:pt x="2644" y="1125"/>
                  </a:cubicBezTo>
                  <a:cubicBezTo>
                    <a:pt x="2652" y="1125"/>
                    <a:pt x="2659" y="1121"/>
                    <a:pt x="2658" y="1115"/>
                  </a:cubicBezTo>
                  <a:cubicBezTo>
                    <a:pt x="2658" y="1109"/>
                    <a:pt x="2651" y="1105"/>
                    <a:pt x="2642" y="1105"/>
                  </a:cubicBezTo>
                  <a:cubicBezTo>
                    <a:pt x="2642" y="1105"/>
                    <a:pt x="2642" y="1105"/>
                    <a:pt x="2642" y="1105"/>
                  </a:cubicBezTo>
                  <a:moveTo>
                    <a:pt x="2686" y="1105"/>
                  </a:moveTo>
                  <a:cubicBezTo>
                    <a:pt x="2678" y="1105"/>
                    <a:pt x="2671" y="1109"/>
                    <a:pt x="2672" y="1115"/>
                  </a:cubicBezTo>
                  <a:cubicBezTo>
                    <a:pt x="2672" y="1121"/>
                    <a:pt x="2679" y="1125"/>
                    <a:pt x="2688" y="1125"/>
                  </a:cubicBezTo>
                  <a:cubicBezTo>
                    <a:pt x="2696" y="1125"/>
                    <a:pt x="2703" y="1120"/>
                    <a:pt x="2703" y="1115"/>
                  </a:cubicBezTo>
                  <a:cubicBezTo>
                    <a:pt x="2702" y="1109"/>
                    <a:pt x="2695" y="1105"/>
                    <a:pt x="2687" y="1105"/>
                  </a:cubicBezTo>
                  <a:cubicBezTo>
                    <a:pt x="2687" y="1105"/>
                    <a:pt x="2686" y="1105"/>
                    <a:pt x="2686" y="1105"/>
                  </a:cubicBezTo>
                  <a:moveTo>
                    <a:pt x="2729" y="1104"/>
                  </a:moveTo>
                  <a:cubicBezTo>
                    <a:pt x="2720" y="1105"/>
                    <a:pt x="2714" y="1109"/>
                    <a:pt x="2714" y="1115"/>
                  </a:cubicBezTo>
                  <a:cubicBezTo>
                    <a:pt x="2714" y="1120"/>
                    <a:pt x="2722" y="1125"/>
                    <a:pt x="2730" y="1125"/>
                  </a:cubicBezTo>
                  <a:cubicBezTo>
                    <a:pt x="2739" y="1125"/>
                    <a:pt x="2745" y="1120"/>
                    <a:pt x="2745" y="1115"/>
                  </a:cubicBezTo>
                  <a:cubicBezTo>
                    <a:pt x="2744" y="1109"/>
                    <a:pt x="2737" y="1104"/>
                    <a:pt x="2729" y="1104"/>
                  </a:cubicBezTo>
                  <a:cubicBezTo>
                    <a:pt x="2729" y="1104"/>
                    <a:pt x="2729" y="1104"/>
                    <a:pt x="2729" y="1104"/>
                  </a:cubicBezTo>
                  <a:moveTo>
                    <a:pt x="2773" y="1104"/>
                  </a:moveTo>
                  <a:cubicBezTo>
                    <a:pt x="2764" y="1104"/>
                    <a:pt x="2758" y="1109"/>
                    <a:pt x="2758" y="1115"/>
                  </a:cubicBezTo>
                  <a:cubicBezTo>
                    <a:pt x="2759" y="1120"/>
                    <a:pt x="2766" y="1125"/>
                    <a:pt x="2775" y="1125"/>
                  </a:cubicBezTo>
                  <a:cubicBezTo>
                    <a:pt x="2783" y="1125"/>
                    <a:pt x="2790" y="1120"/>
                    <a:pt x="2789" y="1115"/>
                  </a:cubicBezTo>
                  <a:cubicBezTo>
                    <a:pt x="2788" y="1109"/>
                    <a:pt x="2781" y="1104"/>
                    <a:pt x="2773" y="1104"/>
                  </a:cubicBezTo>
                  <a:cubicBezTo>
                    <a:pt x="2773" y="1104"/>
                    <a:pt x="2773" y="1104"/>
                    <a:pt x="2773" y="1104"/>
                  </a:cubicBezTo>
                  <a:moveTo>
                    <a:pt x="2815" y="1104"/>
                  </a:moveTo>
                  <a:cubicBezTo>
                    <a:pt x="2806" y="1104"/>
                    <a:pt x="2800" y="1109"/>
                    <a:pt x="2801" y="1114"/>
                  </a:cubicBezTo>
                  <a:cubicBezTo>
                    <a:pt x="2801" y="1120"/>
                    <a:pt x="2808" y="1125"/>
                    <a:pt x="2817" y="1125"/>
                  </a:cubicBezTo>
                  <a:cubicBezTo>
                    <a:pt x="2826" y="1125"/>
                    <a:pt x="2832" y="1120"/>
                    <a:pt x="2831" y="1114"/>
                  </a:cubicBezTo>
                  <a:cubicBezTo>
                    <a:pt x="2831" y="1109"/>
                    <a:pt x="2823" y="1104"/>
                    <a:pt x="2815" y="1104"/>
                  </a:cubicBezTo>
                  <a:cubicBezTo>
                    <a:pt x="2815" y="1104"/>
                    <a:pt x="2815" y="1104"/>
                    <a:pt x="2815" y="1104"/>
                  </a:cubicBezTo>
                  <a:moveTo>
                    <a:pt x="3909" y="1102"/>
                  </a:moveTo>
                  <a:cubicBezTo>
                    <a:pt x="3901" y="1102"/>
                    <a:pt x="3896" y="1106"/>
                    <a:pt x="3899" y="1112"/>
                  </a:cubicBezTo>
                  <a:cubicBezTo>
                    <a:pt x="3902" y="1118"/>
                    <a:pt x="3911" y="1122"/>
                    <a:pt x="3919" y="1122"/>
                  </a:cubicBezTo>
                  <a:cubicBezTo>
                    <a:pt x="3928" y="1122"/>
                    <a:pt x="3932" y="1118"/>
                    <a:pt x="3930" y="1112"/>
                  </a:cubicBezTo>
                  <a:cubicBezTo>
                    <a:pt x="3927" y="1106"/>
                    <a:pt x="3918" y="1102"/>
                    <a:pt x="3910" y="1102"/>
                  </a:cubicBezTo>
                  <a:cubicBezTo>
                    <a:pt x="3910" y="1102"/>
                    <a:pt x="3910" y="1102"/>
                    <a:pt x="3909" y="1102"/>
                  </a:cubicBezTo>
                  <a:moveTo>
                    <a:pt x="3953" y="1102"/>
                  </a:moveTo>
                  <a:cubicBezTo>
                    <a:pt x="3944" y="1102"/>
                    <a:pt x="3940" y="1106"/>
                    <a:pt x="3942" y="1112"/>
                  </a:cubicBezTo>
                  <a:cubicBezTo>
                    <a:pt x="3945" y="1118"/>
                    <a:pt x="3954" y="1122"/>
                    <a:pt x="3963" y="1122"/>
                  </a:cubicBezTo>
                  <a:cubicBezTo>
                    <a:pt x="3971" y="1122"/>
                    <a:pt x="3976" y="1118"/>
                    <a:pt x="3973" y="1112"/>
                  </a:cubicBezTo>
                  <a:cubicBezTo>
                    <a:pt x="3970" y="1106"/>
                    <a:pt x="3961" y="1102"/>
                    <a:pt x="3953" y="1102"/>
                  </a:cubicBezTo>
                  <a:cubicBezTo>
                    <a:pt x="3953" y="1102"/>
                    <a:pt x="3953" y="1102"/>
                    <a:pt x="3953" y="1102"/>
                  </a:cubicBezTo>
                  <a:moveTo>
                    <a:pt x="3997" y="1102"/>
                  </a:moveTo>
                  <a:cubicBezTo>
                    <a:pt x="3988" y="1102"/>
                    <a:pt x="3984" y="1106"/>
                    <a:pt x="3986" y="1112"/>
                  </a:cubicBezTo>
                  <a:cubicBezTo>
                    <a:pt x="3989" y="1118"/>
                    <a:pt x="3998" y="1122"/>
                    <a:pt x="4007" y="1122"/>
                  </a:cubicBezTo>
                  <a:cubicBezTo>
                    <a:pt x="4015" y="1122"/>
                    <a:pt x="4020" y="1117"/>
                    <a:pt x="4017" y="1112"/>
                  </a:cubicBezTo>
                  <a:cubicBezTo>
                    <a:pt x="4014" y="1106"/>
                    <a:pt x="4005" y="1102"/>
                    <a:pt x="3997" y="1102"/>
                  </a:cubicBezTo>
                  <a:cubicBezTo>
                    <a:pt x="3997" y="1102"/>
                    <a:pt x="3997" y="1102"/>
                    <a:pt x="3997" y="1102"/>
                  </a:cubicBezTo>
                  <a:moveTo>
                    <a:pt x="4170" y="1101"/>
                  </a:moveTo>
                  <a:cubicBezTo>
                    <a:pt x="4162" y="1101"/>
                    <a:pt x="4157" y="1106"/>
                    <a:pt x="4160" y="1112"/>
                  </a:cubicBezTo>
                  <a:cubicBezTo>
                    <a:pt x="4163" y="1117"/>
                    <a:pt x="4173" y="1122"/>
                    <a:pt x="4181" y="1122"/>
                  </a:cubicBezTo>
                  <a:cubicBezTo>
                    <a:pt x="4190" y="1122"/>
                    <a:pt x="4194" y="1117"/>
                    <a:pt x="4191" y="1112"/>
                  </a:cubicBezTo>
                  <a:cubicBezTo>
                    <a:pt x="4188" y="1106"/>
                    <a:pt x="4179" y="1101"/>
                    <a:pt x="4170" y="1101"/>
                  </a:cubicBezTo>
                  <a:cubicBezTo>
                    <a:pt x="4170" y="1101"/>
                    <a:pt x="4170" y="1101"/>
                    <a:pt x="4170" y="1101"/>
                  </a:cubicBezTo>
                  <a:moveTo>
                    <a:pt x="4213" y="1101"/>
                  </a:moveTo>
                  <a:cubicBezTo>
                    <a:pt x="4205" y="1101"/>
                    <a:pt x="4200" y="1106"/>
                    <a:pt x="4204" y="1111"/>
                  </a:cubicBezTo>
                  <a:cubicBezTo>
                    <a:pt x="4207" y="1117"/>
                    <a:pt x="4216" y="1122"/>
                    <a:pt x="4225" y="1122"/>
                  </a:cubicBezTo>
                  <a:cubicBezTo>
                    <a:pt x="4233" y="1122"/>
                    <a:pt x="4237" y="1117"/>
                    <a:pt x="4234" y="1111"/>
                  </a:cubicBezTo>
                  <a:cubicBezTo>
                    <a:pt x="4231" y="1106"/>
                    <a:pt x="4222" y="1101"/>
                    <a:pt x="4213" y="1101"/>
                  </a:cubicBezTo>
                  <a:cubicBezTo>
                    <a:pt x="4213" y="1101"/>
                    <a:pt x="4213" y="1101"/>
                    <a:pt x="4213" y="1101"/>
                  </a:cubicBezTo>
                  <a:moveTo>
                    <a:pt x="4256" y="1101"/>
                  </a:moveTo>
                  <a:cubicBezTo>
                    <a:pt x="4248" y="1101"/>
                    <a:pt x="4244" y="1106"/>
                    <a:pt x="4247" y="1111"/>
                  </a:cubicBezTo>
                  <a:cubicBezTo>
                    <a:pt x="4250" y="1117"/>
                    <a:pt x="4260" y="1122"/>
                    <a:pt x="4268" y="1122"/>
                  </a:cubicBezTo>
                  <a:cubicBezTo>
                    <a:pt x="4277" y="1122"/>
                    <a:pt x="4281" y="1117"/>
                    <a:pt x="4278" y="1111"/>
                  </a:cubicBezTo>
                  <a:cubicBezTo>
                    <a:pt x="4274" y="1106"/>
                    <a:pt x="4265" y="1101"/>
                    <a:pt x="4257" y="1101"/>
                  </a:cubicBezTo>
                  <a:cubicBezTo>
                    <a:pt x="4256" y="1101"/>
                    <a:pt x="4256" y="1101"/>
                    <a:pt x="4256" y="1101"/>
                  </a:cubicBezTo>
                  <a:moveTo>
                    <a:pt x="4300" y="1101"/>
                  </a:moveTo>
                  <a:cubicBezTo>
                    <a:pt x="4292" y="1101"/>
                    <a:pt x="4288" y="1106"/>
                    <a:pt x="4291" y="1111"/>
                  </a:cubicBezTo>
                  <a:cubicBezTo>
                    <a:pt x="4294" y="1117"/>
                    <a:pt x="4304" y="1121"/>
                    <a:pt x="4312" y="1121"/>
                  </a:cubicBezTo>
                  <a:cubicBezTo>
                    <a:pt x="4321" y="1121"/>
                    <a:pt x="4325" y="1117"/>
                    <a:pt x="4322" y="1111"/>
                  </a:cubicBezTo>
                  <a:cubicBezTo>
                    <a:pt x="4318" y="1105"/>
                    <a:pt x="4309" y="1101"/>
                    <a:pt x="4300" y="1101"/>
                  </a:cubicBezTo>
                  <a:cubicBezTo>
                    <a:pt x="4300" y="1101"/>
                    <a:pt x="4300" y="1101"/>
                    <a:pt x="4300" y="1101"/>
                  </a:cubicBezTo>
                  <a:moveTo>
                    <a:pt x="4516" y="1096"/>
                  </a:moveTo>
                  <a:cubicBezTo>
                    <a:pt x="4508" y="1096"/>
                    <a:pt x="4504" y="1100"/>
                    <a:pt x="4508" y="1106"/>
                  </a:cubicBezTo>
                  <a:cubicBezTo>
                    <a:pt x="4512" y="1112"/>
                    <a:pt x="4521" y="1116"/>
                    <a:pt x="4530" y="1116"/>
                  </a:cubicBezTo>
                  <a:cubicBezTo>
                    <a:pt x="4538" y="1116"/>
                    <a:pt x="4542" y="1112"/>
                    <a:pt x="4538" y="1106"/>
                  </a:cubicBezTo>
                  <a:cubicBezTo>
                    <a:pt x="4535" y="1100"/>
                    <a:pt x="4525" y="1096"/>
                    <a:pt x="4516" y="1096"/>
                  </a:cubicBezTo>
                  <a:cubicBezTo>
                    <a:pt x="4516" y="1096"/>
                    <a:pt x="4516" y="1096"/>
                    <a:pt x="4516" y="1096"/>
                  </a:cubicBezTo>
                  <a:moveTo>
                    <a:pt x="389" y="1082"/>
                  </a:moveTo>
                  <a:cubicBezTo>
                    <a:pt x="380" y="1082"/>
                    <a:pt x="370" y="1086"/>
                    <a:pt x="366" y="1092"/>
                  </a:cubicBezTo>
                  <a:cubicBezTo>
                    <a:pt x="363" y="1097"/>
                    <a:pt x="366" y="1102"/>
                    <a:pt x="375" y="1102"/>
                  </a:cubicBezTo>
                  <a:cubicBezTo>
                    <a:pt x="383" y="1102"/>
                    <a:pt x="393" y="1097"/>
                    <a:pt x="397" y="1092"/>
                  </a:cubicBezTo>
                  <a:cubicBezTo>
                    <a:pt x="401" y="1086"/>
                    <a:pt x="397" y="1082"/>
                    <a:pt x="389" y="1082"/>
                  </a:cubicBezTo>
                  <a:cubicBezTo>
                    <a:pt x="389" y="1082"/>
                    <a:pt x="389" y="1082"/>
                    <a:pt x="389" y="1082"/>
                  </a:cubicBezTo>
                  <a:moveTo>
                    <a:pt x="432" y="1081"/>
                  </a:moveTo>
                  <a:cubicBezTo>
                    <a:pt x="424" y="1081"/>
                    <a:pt x="414" y="1086"/>
                    <a:pt x="410" y="1092"/>
                  </a:cubicBezTo>
                  <a:cubicBezTo>
                    <a:pt x="406" y="1097"/>
                    <a:pt x="410" y="1102"/>
                    <a:pt x="418" y="1102"/>
                  </a:cubicBezTo>
                  <a:cubicBezTo>
                    <a:pt x="427" y="1102"/>
                    <a:pt x="437" y="1097"/>
                    <a:pt x="440" y="1091"/>
                  </a:cubicBezTo>
                  <a:cubicBezTo>
                    <a:pt x="444" y="1086"/>
                    <a:pt x="440" y="1081"/>
                    <a:pt x="432" y="1081"/>
                  </a:cubicBezTo>
                  <a:cubicBezTo>
                    <a:pt x="432" y="1081"/>
                    <a:pt x="432" y="1081"/>
                    <a:pt x="432" y="1081"/>
                  </a:cubicBezTo>
                  <a:moveTo>
                    <a:pt x="475" y="1081"/>
                  </a:moveTo>
                  <a:cubicBezTo>
                    <a:pt x="467" y="1081"/>
                    <a:pt x="457" y="1086"/>
                    <a:pt x="453" y="1091"/>
                  </a:cubicBezTo>
                  <a:cubicBezTo>
                    <a:pt x="449" y="1097"/>
                    <a:pt x="453" y="1102"/>
                    <a:pt x="462" y="1102"/>
                  </a:cubicBezTo>
                  <a:cubicBezTo>
                    <a:pt x="470" y="1101"/>
                    <a:pt x="480" y="1097"/>
                    <a:pt x="484" y="1091"/>
                  </a:cubicBezTo>
                  <a:cubicBezTo>
                    <a:pt x="487" y="1086"/>
                    <a:pt x="483" y="1081"/>
                    <a:pt x="475" y="1081"/>
                  </a:cubicBezTo>
                  <a:cubicBezTo>
                    <a:pt x="475" y="1081"/>
                    <a:pt x="475" y="1081"/>
                    <a:pt x="475" y="1081"/>
                  </a:cubicBezTo>
                  <a:moveTo>
                    <a:pt x="518" y="1081"/>
                  </a:moveTo>
                  <a:cubicBezTo>
                    <a:pt x="510" y="1081"/>
                    <a:pt x="500" y="1086"/>
                    <a:pt x="497" y="1091"/>
                  </a:cubicBezTo>
                  <a:cubicBezTo>
                    <a:pt x="493" y="1097"/>
                    <a:pt x="497" y="1101"/>
                    <a:pt x="505" y="1101"/>
                  </a:cubicBezTo>
                  <a:cubicBezTo>
                    <a:pt x="514" y="1101"/>
                    <a:pt x="524" y="1097"/>
                    <a:pt x="527" y="1091"/>
                  </a:cubicBezTo>
                  <a:cubicBezTo>
                    <a:pt x="531" y="1086"/>
                    <a:pt x="527" y="1081"/>
                    <a:pt x="519" y="1081"/>
                  </a:cubicBezTo>
                  <a:cubicBezTo>
                    <a:pt x="519" y="1081"/>
                    <a:pt x="518" y="1081"/>
                    <a:pt x="518" y="1081"/>
                  </a:cubicBezTo>
                  <a:moveTo>
                    <a:pt x="563" y="1081"/>
                  </a:moveTo>
                  <a:cubicBezTo>
                    <a:pt x="555" y="1081"/>
                    <a:pt x="545" y="1086"/>
                    <a:pt x="542" y="1091"/>
                  </a:cubicBezTo>
                  <a:cubicBezTo>
                    <a:pt x="538" y="1097"/>
                    <a:pt x="542" y="1101"/>
                    <a:pt x="550" y="1101"/>
                  </a:cubicBezTo>
                  <a:cubicBezTo>
                    <a:pt x="559" y="1101"/>
                    <a:pt x="569" y="1097"/>
                    <a:pt x="572" y="1091"/>
                  </a:cubicBezTo>
                  <a:cubicBezTo>
                    <a:pt x="575" y="1085"/>
                    <a:pt x="572" y="1081"/>
                    <a:pt x="563" y="1081"/>
                  </a:cubicBezTo>
                  <a:cubicBezTo>
                    <a:pt x="563" y="1081"/>
                    <a:pt x="563" y="1081"/>
                    <a:pt x="563" y="1081"/>
                  </a:cubicBezTo>
                  <a:moveTo>
                    <a:pt x="606" y="1081"/>
                  </a:moveTo>
                  <a:cubicBezTo>
                    <a:pt x="598" y="1081"/>
                    <a:pt x="588" y="1085"/>
                    <a:pt x="585" y="1091"/>
                  </a:cubicBezTo>
                  <a:cubicBezTo>
                    <a:pt x="581" y="1097"/>
                    <a:pt x="585" y="1101"/>
                    <a:pt x="594" y="1101"/>
                  </a:cubicBezTo>
                  <a:cubicBezTo>
                    <a:pt x="602" y="1101"/>
                    <a:pt x="612" y="1097"/>
                    <a:pt x="615" y="1091"/>
                  </a:cubicBezTo>
                  <a:cubicBezTo>
                    <a:pt x="619" y="1085"/>
                    <a:pt x="615" y="1081"/>
                    <a:pt x="606" y="1081"/>
                  </a:cubicBezTo>
                  <a:cubicBezTo>
                    <a:pt x="606" y="1081"/>
                    <a:pt x="606" y="1081"/>
                    <a:pt x="606" y="1081"/>
                  </a:cubicBezTo>
                  <a:moveTo>
                    <a:pt x="650" y="1081"/>
                  </a:moveTo>
                  <a:cubicBezTo>
                    <a:pt x="641" y="1081"/>
                    <a:pt x="632" y="1085"/>
                    <a:pt x="628" y="1091"/>
                  </a:cubicBezTo>
                  <a:cubicBezTo>
                    <a:pt x="625" y="1096"/>
                    <a:pt x="629" y="1101"/>
                    <a:pt x="638" y="1101"/>
                  </a:cubicBezTo>
                  <a:cubicBezTo>
                    <a:pt x="646" y="1101"/>
                    <a:pt x="656" y="1096"/>
                    <a:pt x="659" y="1091"/>
                  </a:cubicBezTo>
                  <a:cubicBezTo>
                    <a:pt x="662" y="1085"/>
                    <a:pt x="658" y="1081"/>
                    <a:pt x="650" y="1081"/>
                  </a:cubicBezTo>
                  <a:cubicBezTo>
                    <a:pt x="650" y="1081"/>
                    <a:pt x="650" y="1081"/>
                    <a:pt x="650" y="1081"/>
                  </a:cubicBezTo>
                  <a:moveTo>
                    <a:pt x="694" y="1081"/>
                  </a:moveTo>
                  <a:cubicBezTo>
                    <a:pt x="685" y="1081"/>
                    <a:pt x="676" y="1085"/>
                    <a:pt x="672" y="1091"/>
                  </a:cubicBezTo>
                  <a:cubicBezTo>
                    <a:pt x="669" y="1096"/>
                    <a:pt x="673" y="1101"/>
                    <a:pt x="682" y="1101"/>
                  </a:cubicBezTo>
                  <a:cubicBezTo>
                    <a:pt x="690" y="1101"/>
                    <a:pt x="700" y="1096"/>
                    <a:pt x="703" y="1091"/>
                  </a:cubicBezTo>
                  <a:cubicBezTo>
                    <a:pt x="706" y="1085"/>
                    <a:pt x="702" y="1081"/>
                    <a:pt x="694" y="1081"/>
                  </a:cubicBezTo>
                  <a:cubicBezTo>
                    <a:pt x="694" y="1081"/>
                    <a:pt x="694" y="1081"/>
                    <a:pt x="694" y="1081"/>
                  </a:cubicBezTo>
                  <a:moveTo>
                    <a:pt x="737" y="1080"/>
                  </a:moveTo>
                  <a:cubicBezTo>
                    <a:pt x="728" y="1080"/>
                    <a:pt x="719" y="1085"/>
                    <a:pt x="716" y="1091"/>
                  </a:cubicBezTo>
                  <a:cubicBezTo>
                    <a:pt x="712" y="1096"/>
                    <a:pt x="717" y="1101"/>
                    <a:pt x="725" y="1101"/>
                  </a:cubicBezTo>
                  <a:cubicBezTo>
                    <a:pt x="733" y="1101"/>
                    <a:pt x="743" y="1096"/>
                    <a:pt x="746" y="1090"/>
                  </a:cubicBezTo>
                  <a:cubicBezTo>
                    <a:pt x="749" y="1085"/>
                    <a:pt x="745" y="1080"/>
                    <a:pt x="737" y="1080"/>
                  </a:cubicBezTo>
                  <a:cubicBezTo>
                    <a:pt x="737" y="1080"/>
                    <a:pt x="737" y="1080"/>
                    <a:pt x="737" y="1080"/>
                  </a:cubicBezTo>
                  <a:moveTo>
                    <a:pt x="780" y="1080"/>
                  </a:moveTo>
                  <a:cubicBezTo>
                    <a:pt x="772" y="1080"/>
                    <a:pt x="762" y="1085"/>
                    <a:pt x="759" y="1090"/>
                  </a:cubicBezTo>
                  <a:cubicBezTo>
                    <a:pt x="756" y="1096"/>
                    <a:pt x="760" y="1101"/>
                    <a:pt x="769" y="1101"/>
                  </a:cubicBezTo>
                  <a:cubicBezTo>
                    <a:pt x="777" y="1101"/>
                    <a:pt x="786" y="1096"/>
                    <a:pt x="789" y="1090"/>
                  </a:cubicBezTo>
                  <a:cubicBezTo>
                    <a:pt x="793" y="1085"/>
                    <a:pt x="788" y="1080"/>
                    <a:pt x="780" y="1080"/>
                  </a:cubicBezTo>
                  <a:cubicBezTo>
                    <a:pt x="780" y="1080"/>
                    <a:pt x="780" y="1080"/>
                    <a:pt x="780" y="1080"/>
                  </a:cubicBezTo>
                  <a:moveTo>
                    <a:pt x="823" y="1080"/>
                  </a:moveTo>
                  <a:cubicBezTo>
                    <a:pt x="815" y="1080"/>
                    <a:pt x="805" y="1085"/>
                    <a:pt x="802" y="1090"/>
                  </a:cubicBezTo>
                  <a:cubicBezTo>
                    <a:pt x="799" y="1096"/>
                    <a:pt x="804" y="1100"/>
                    <a:pt x="812" y="1100"/>
                  </a:cubicBezTo>
                  <a:cubicBezTo>
                    <a:pt x="820" y="1100"/>
                    <a:pt x="830" y="1096"/>
                    <a:pt x="833" y="1090"/>
                  </a:cubicBezTo>
                  <a:cubicBezTo>
                    <a:pt x="836" y="1085"/>
                    <a:pt x="831" y="1080"/>
                    <a:pt x="823" y="1080"/>
                  </a:cubicBezTo>
                  <a:cubicBezTo>
                    <a:pt x="823" y="1080"/>
                    <a:pt x="823" y="1080"/>
                    <a:pt x="823" y="1080"/>
                  </a:cubicBezTo>
                  <a:moveTo>
                    <a:pt x="866" y="1080"/>
                  </a:moveTo>
                  <a:cubicBezTo>
                    <a:pt x="858" y="1080"/>
                    <a:pt x="849" y="1085"/>
                    <a:pt x="846" y="1090"/>
                  </a:cubicBezTo>
                  <a:cubicBezTo>
                    <a:pt x="843" y="1096"/>
                    <a:pt x="847" y="1100"/>
                    <a:pt x="856" y="1100"/>
                  </a:cubicBezTo>
                  <a:cubicBezTo>
                    <a:pt x="864" y="1100"/>
                    <a:pt x="873" y="1096"/>
                    <a:pt x="876" y="1090"/>
                  </a:cubicBezTo>
                  <a:cubicBezTo>
                    <a:pt x="879" y="1084"/>
                    <a:pt x="875" y="1080"/>
                    <a:pt x="866" y="1080"/>
                  </a:cubicBezTo>
                  <a:cubicBezTo>
                    <a:pt x="866" y="1080"/>
                    <a:pt x="866" y="1080"/>
                    <a:pt x="866" y="1080"/>
                  </a:cubicBezTo>
                  <a:moveTo>
                    <a:pt x="910" y="1080"/>
                  </a:moveTo>
                  <a:cubicBezTo>
                    <a:pt x="902" y="1080"/>
                    <a:pt x="893" y="1084"/>
                    <a:pt x="890" y="1090"/>
                  </a:cubicBezTo>
                  <a:cubicBezTo>
                    <a:pt x="887" y="1096"/>
                    <a:pt x="891" y="1100"/>
                    <a:pt x="900" y="1100"/>
                  </a:cubicBezTo>
                  <a:cubicBezTo>
                    <a:pt x="908" y="1100"/>
                    <a:pt x="917" y="1096"/>
                    <a:pt x="920" y="1090"/>
                  </a:cubicBezTo>
                  <a:cubicBezTo>
                    <a:pt x="923" y="1084"/>
                    <a:pt x="919" y="1080"/>
                    <a:pt x="910" y="1080"/>
                  </a:cubicBezTo>
                  <a:cubicBezTo>
                    <a:pt x="910" y="1080"/>
                    <a:pt x="910" y="1080"/>
                    <a:pt x="910" y="1080"/>
                  </a:cubicBezTo>
                  <a:moveTo>
                    <a:pt x="2121" y="1077"/>
                  </a:moveTo>
                  <a:cubicBezTo>
                    <a:pt x="2113" y="1077"/>
                    <a:pt x="2105" y="1082"/>
                    <a:pt x="2105" y="1087"/>
                  </a:cubicBezTo>
                  <a:cubicBezTo>
                    <a:pt x="2104" y="1093"/>
                    <a:pt x="2110" y="1098"/>
                    <a:pt x="2119" y="1098"/>
                  </a:cubicBezTo>
                  <a:cubicBezTo>
                    <a:pt x="2127" y="1097"/>
                    <a:pt x="2135" y="1093"/>
                    <a:pt x="2135" y="1087"/>
                  </a:cubicBezTo>
                  <a:cubicBezTo>
                    <a:pt x="2136" y="1082"/>
                    <a:pt x="2130" y="1077"/>
                    <a:pt x="2121" y="1077"/>
                  </a:cubicBezTo>
                  <a:cubicBezTo>
                    <a:pt x="2121" y="1077"/>
                    <a:pt x="2121" y="1077"/>
                    <a:pt x="2121" y="1077"/>
                  </a:cubicBezTo>
                  <a:moveTo>
                    <a:pt x="2165" y="1077"/>
                  </a:moveTo>
                  <a:cubicBezTo>
                    <a:pt x="2157" y="1077"/>
                    <a:pt x="2149" y="1082"/>
                    <a:pt x="2149" y="1087"/>
                  </a:cubicBezTo>
                  <a:cubicBezTo>
                    <a:pt x="2148" y="1093"/>
                    <a:pt x="2154" y="1097"/>
                    <a:pt x="2163" y="1097"/>
                  </a:cubicBezTo>
                  <a:cubicBezTo>
                    <a:pt x="2171" y="1097"/>
                    <a:pt x="2179" y="1093"/>
                    <a:pt x="2179" y="1087"/>
                  </a:cubicBezTo>
                  <a:cubicBezTo>
                    <a:pt x="2180" y="1081"/>
                    <a:pt x="2173" y="1077"/>
                    <a:pt x="2165" y="1077"/>
                  </a:cubicBezTo>
                  <a:cubicBezTo>
                    <a:pt x="2165" y="1077"/>
                    <a:pt x="2165" y="1077"/>
                    <a:pt x="2165" y="1077"/>
                  </a:cubicBezTo>
                  <a:moveTo>
                    <a:pt x="2208" y="1077"/>
                  </a:moveTo>
                  <a:cubicBezTo>
                    <a:pt x="2200" y="1077"/>
                    <a:pt x="2192" y="1081"/>
                    <a:pt x="2192" y="1087"/>
                  </a:cubicBezTo>
                  <a:cubicBezTo>
                    <a:pt x="2191" y="1093"/>
                    <a:pt x="2198" y="1097"/>
                    <a:pt x="2206" y="1097"/>
                  </a:cubicBezTo>
                  <a:cubicBezTo>
                    <a:pt x="2215" y="1097"/>
                    <a:pt x="2222" y="1093"/>
                    <a:pt x="2222" y="1087"/>
                  </a:cubicBezTo>
                  <a:cubicBezTo>
                    <a:pt x="2223" y="1081"/>
                    <a:pt x="2216" y="1077"/>
                    <a:pt x="2208" y="1077"/>
                  </a:cubicBezTo>
                  <a:cubicBezTo>
                    <a:pt x="2208" y="1077"/>
                    <a:pt x="2208" y="1077"/>
                    <a:pt x="2208" y="1077"/>
                  </a:cubicBezTo>
                  <a:moveTo>
                    <a:pt x="2251" y="1077"/>
                  </a:moveTo>
                  <a:cubicBezTo>
                    <a:pt x="2243" y="1077"/>
                    <a:pt x="2236" y="1081"/>
                    <a:pt x="2235" y="1087"/>
                  </a:cubicBezTo>
                  <a:cubicBezTo>
                    <a:pt x="2235" y="1093"/>
                    <a:pt x="2241" y="1097"/>
                    <a:pt x="2250" y="1097"/>
                  </a:cubicBezTo>
                  <a:cubicBezTo>
                    <a:pt x="2258" y="1097"/>
                    <a:pt x="2265" y="1092"/>
                    <a:pt x="2266" y="1087"/>
                  </a:cubicBezTo>
                  <a:cubicBezTo>
                    <a:pt x="2266" y="1081"/>
                    <a:pt x="2260" y="1077"/>
                    <a:pt x="2251" y="1077"/>
                  </a:cubicBezTo>
                  <a:cubicBezTo>
                    <a:pt x="2251" y="1077"/>
                    <a:pt x="2251" y="1077"/>
                    <a:pt x="2251" y="1077"/>
                  </a:cubicBezTo>
                  <a:moveTo>
                    <a:pt x="2294" y="1077"/>
                  </a:moveTo>
                  <a:cubicBezTo>
                    <a:pt x="2286" y="1077"/>
                    <a:pt x="2279" y="1081"/>
                    <a:pt x="2278" y="1087"/>
                  </a:cubicBezTo>
                  <a:cubicBezTo>
                    <a:pt x="2278" y="1092"/>
                    <a:pt x="2285" y="1097"/>
                    <a:pt x="2293" y="1097"/>
                  </a:cubicBezTo>
                  <a:cubicBezTo>
                    <a:pt x="2301" y="1097"/>
                    <a:pt x="2309" y="1092"/>
                    <a:pt x="2309" y="1087"/>
                  </a:cubicBezTo>
                  <a:cubicBezTo>
                    <a:pt x="2309" y="1081"/>
                    <a:pt x="2303" y="1077"/>
                    <a:pt x="2294" y="1077"/>
                  </a:cubicBezTo>
                  <a:cubicBezTo>
                    <a:pt x="2294" y="1077"/>
                    <a:pt x="2294" y="1077"/>
                    <a:pt x="2294" y="1077"/>
                  </a:cubicBezTo>
                  <a:moveTo>
                    <a:pt x="2338" y="1076"/>
                  </a:moveTo>
                  <a:cubicBezTo>
                    <a:pt x="2329" y="1076"/>
                    <a:pt x="2322" y="1081"/>
                    <a:pt x="2322" y="1087"/>
                  </a:cubicBezTo>
                  <a:cubicBezTo>
                    <a:pt x="2322" y="1092"/>
                    <a:pt x="2328" y="1097"/>
                    <a:pt x="2337" y="1097"/>
                  </a:cubicBezTo>
                  <a:cubicBezTo>
                    <a:pt x="2345" y="1097"/>
                    <a:pt x="2352" y="1092"/>
                    <a:pt x="2352" y="1087"/>
                  </a:cubicBezTo>
                  <a:cubicBezTo>
                    <a:pt x="2353" y="1081"/>
                    <a:pt x="2346" y="1076"/>
                    <a:pt x="2338" y="1076"/>
                  </a:cubicBezTo>
                  <a:cubicBezTo>
                    <a:pt x="2338" y="1076"/>
                    <a:pt x="2338" y="1076"/>
                    <a:pt x="2338" y="1076"/>
                  </a:cubicBezTo>
                  <a:moveTo>
                    <a:pt x="2381" y="1076"/>
                  </a:moveTo>
                  <a:cubicBezTo>
                    <a:pt x="2373" y="1076"/>
                    <a:pt x="2366" y="1081"/>
                    <a:pt x="2366" y="1087"/>
                  </a:cubicBezTo>
                  <a:cubicBezTo>
                    <a:pt x="2366" y="1092"/>
                    <a:pt x="2372" y="1097"/>
                    <a:pt x="2381" y="1097"/>
                  </a:cubicBezTo>
                  <a:cubicBezTo>
                    <a:pt x="2389" y="1097"/>
                    <a:pt x="2396" y="1092"/>
                    <a:pt x="2396" y="1086"/>
                  </a:cubicBezTo>
                  <a:cubicBezTo>
                    <a:pt x="2396" y="1081"/>
                    <a:pt x="2390" y="1076"/>
                    <a:pt x="2381" y="1076"/>
                  </a:cubicBezTo>
                  <a:cubicBezTo>
                    <a:pt x="2381" y="1076"/>
                    <a:pt x="2381" y="1076"/>
                    <a:pt x="2381" y="1076"/>
                  </a:cubicBezTo>
                  <a:moveTo>
                    <a:pt x="2424" y="1076"/>
                  </a:moveTo>
                  <a:cubicBezTo>
                    <a:pt x="2416" y="1076"/>
                    <a:pt x="2409" y="1081"/>
                    <a:pt x="2409" y="1086"/>
                  </a:cubicBezTo>
                  <a:cubicBezTo>
                    <a:pt x="2409" y="1092"/>
                    <a:pt x="2416" y="1097"/>
                    <a:pt x="2424" y="1097"/>
                  </a:cubicBezTo>
                  <a:cubicBezTo>
                    <a:pt x="2432" y="1097"/>
                    <a:pt x="2439" y="1092"/>
                    <a:pt x="2439" y="1086"/>
                  </a:cubicBezTo>
                  <a:cubicBezTo>
                    <a:pt x="2439" y="1081"/>
                    <a:pt x="2433" y="1076"/>
                    <a:pt x="2424" y="1076"/>
                  </a:cubicBezTo>
                  <a:cubicBezTo>
                    <a:pt x="2424" y="1076"/>
                    <a:pt x="2424" y="1076"/>
                    <a:pt x="2424" y="1076"/>
                  </a:cubicBezTo>
                  <a:moveTo>
                    <a:pt x="2468" y="1076"/>
                  </a:moveTo>
                  <a:cubicBezTo>
                    <a:pt x="2459" y="1076"/>
                    <a:pt x="2452" y="1081"/>
                    <a:pt x="2452" y="1086"/>
                  </a:cubicBezTo>
                  <a:cubicBezTo>
                    <a:pt x="2452" y="1092"/>
                    <a:pt x="2459" y="1096"/>
                    <a:pt x="2468" y="1096"/>
                  </a:cubicBezTo>
                  <a:cubicBezTo>
                    <a:pt x="2476" y="1096"/>
                    <a:pt x="2483" y="1092"/>
                    <a:pt x="2483" y="1086"/>
                  </a:cubicBezTo>
                  <a:cubicBezTo>
                    <a:pt x="2483" y="1081"/>
                    <a:pt x="2476" y="1076"/>
                    <a:pt x="2468" y="1076"/>
                  </a:cubicBezTo>
                  <a:cubicBezTo>
                    <a:pt x="2468" y="1076"/>
                    <a:pt x="2468" y="1076"/>
                    <a:pt x="2468" y="1076"/>
                  </a:cubicBezTo>
                  <a:moveTo>
                    <a:pt x="2511" y="1076"/>
                  </a:moveTo>
                  <a:cubicBezTo>
                    <a:pt x="2502" y="1076"/>
                    <a:pt x="2496" y="1080"/>
                    <a:pt x="2496" y="1086"/>
                  </a:cubicBezTo>
                  <a:cubicBezTo>
                    <a:pt x="2496" y="1092"/>
                    <a:pt x="2502" y="1096"/>
                    <a:pt x="2511" y="1096"/>
                  </a:cubicBezTo>
                  <a:cubicBezTo>
                    <a:pt x="2519" y="1096"/>
                    <a:pt x="2526" y="1092"/>
                    <a:pt x="2526" y="1086"/>
                  </a:cubicBezTo>
                  <a:cubicBezTo>
                    <a:pt x="2526" y="1080"/>
                    <a:pt x="2519" y="1076"/>
                    <a:pt x="2511" y="1076"/>
                  </a:cubicBezTo>
                  <a:cubicBezTo>
                    <a:pt x="2511" y="1076"/>
                    <a:pt x="2511" y="1076"/>
                    <a:pt x="2511" y="1076"/>
                  </a:cubicBezTo>
                  <a:moveTo>
                    <a:pt x="2554" y="1076"/>
                  </a:moveTo>
                  <a:cubicBezTo>
                    <a:pt x="2546" y="1076"/>
                    <a:pt x="2539" y="1080"/>
                    <a:pt x="2539" y="1086"/>
                  </a:cubicBezTo>
                  <a:cubicBezTo>
                    <a:pt x="2539" y="1092"/>
                    <a:pt x="2546" y="1096"/>
                    <a:pt x="2555" y="1096"/>
                  </a:cubicBezTo>
                  <a:cubicBezTo>
                    <a:pt x="2563" y="1096"/>
                    <a:pt x="2570" y="1091"/>
                    <a:pt x="2569" y="1086"/>
                  </a:cubicBezTo>
                  <a:cubicBezTo>
                    <a:pt x="2569" y="1080"/>
                    <a:pt x="2562" y="1076"/>
                    <a:pt x="2554" y="1076"/>
                  </a:cubicBezTo>
                  <a:cubicBezTo>
                    <a:pt x="2554" y="1076"/>
                    <a:pt x="2554" y="1076"/>
                    <a:pt x="2554" y="1076"/>
                  </a:cubicBezTo>
                  <a:moveTo>
                    <a:pt x="2598" y="1076"/>
                  </a:moveTo>
                  <a:cubicBezTo>
                    <a:pt x="2589" y="1076"/>
                    <a:pt x="2583" y="1080"/>
                    <a:pt x="2583" y="1086"/>
                  </a:cubicBezTo>
                  <a:cubicBezTo>
                    <a:pt x="2583" y="1091"/>
                    <a:pt x="2590" y="1096"/>
                    <a:pt x="2599" y="1096"/>
                  </a:cubicBezTo>
                  <a:cubicBezTo>
                    <a:pt x="2607" y="1096"/>
                    <a:pt x="2614" y="1091"/>
                    <a:pt x="2613" y="1086"/>
                  </a:cubicBezTo>
                  <a:cubicBezTo>
                    <a:pt x="2613" y="1080"/>
                    <a:pt x="2606" y="1076"/>
                    <a:pt x="2598" y="1076"/>
                  </a:cubicBezTo>
                  <a:cubicBezTo>
                    <a:pt x="2598" y="1076"/>
                    <a:pt x="2598" y="1076"/>
                    <a:pt x="2598" y="1076"/>
                  </a:cubicBezTo>
                  <a:moveTo>
                    <a:pt x="2641" y="1075"/>
                  </a:moveTo>
                  <a:cubicBezTo>
                    <a:pt x="2632" y="1075"/>
                    <a:pt x="2626" y="1080"/>
                    <a:pt x="2626" y="1086"/>
                  </a:cubicBezTo>
                  <a:cubicBezTo>
                    <a:pt x="2626" y="1091"/>
                    <a:pt x="2633" y="1096"/>
                    <a:pt x="2642" y="1096"/>
                  </a:cubicBezTo>
                  <a:cubicBezTo>
                    <a:pt x="2650" y="1096"/>
                    <a:pt x="2657" y="1091"/>
                    <a:pt x="2657" y="1086"/>
                  </a:cubicBezTo>
                  <a:cubicBezTo>
                    <a:pt x="2656" y="1080"/>
                    <a:pt x="2649" y="1075"/>
                    <a:pt x="2641" y="1075"/>
                  </a:cubicBezTo>
                  <a:cubicBezTo>
                    <a:pt x="2641" y="1075"/>
                    <a:pt x="2641" y="1075"/>
                    <a:pt x="2641" y="1075"/>
                  </a:cubicBezTo>
                  <a:moveTo>
                    <a:pt x="2684" y="1075"/>
                  </a:moveTo>
                  <a:cubicBezTo>
                    <a:pt x="2676" y="1075"/>
                    <a:pt x="2670" y="1080"/>
                    <a:pt x="2670" y="1086"/>
                  </a:cubicBezTo>
                  <a:cubicBezTo>
                    <a:pt x="2670" y="1091"/>
                    <a:pt x="2677" y="1096"/>
                    <a:pt x="2686" y="1096"/>
                  </a:cubicBezTo>
                  <a:cubicBezTo>
                    <a:pt x="2694" y="1096"/>
                    <a:pt x="2701" y="1091"/>
                    <a:pt x="2700" y="1085"/>
                  </a:cubicBezTo>
                  <a:cubicBezTo>
                    <a:pt x="2700" y="1080"/>
                    <a:pt x="2693" y="1075"/>
                    <a:pt x="2685" y="1075"/>
                  </a:cubicBezTo>
                  <a:cubicBezTo>
                    <a:pt x="2684" y="1075"/>
                    <a:pt x="2684" y="1075"/>
                    <a:pt x="2684" y="1075"/>
                  </a:cubicBezTo>
                  <a:moveTo>
                    <a:pt x="2726" y="1075"/>
                  </a:moveTo>
                  <a:cubicBezTo>
                    <a:pt x="2718" y="1075"/>
                    <a:pt x="2711" y="1080"/>
                    <a:pt x="2712" y="1085"/>
                  </a:cubicBezTo>
                  <a:cubicBezTo>
                    <a:pt x="2712" y="1091"/>
                    <a:pt x="2719" y="1096"/>
                    <a:pt x="2728" y="1096"/>
                  </a:cubicBezTo>
                  <a:cubicBezTo>
                    <a:pt x="2736" y="1096"/>
                    <a:pt x="2743" y="1091"/>
                    <a:pt x="2742" y="1085"/>
                  </a:cubicBezTo>
                  <a:cubicBezTo>
                    <a:pt x="2742" y="1080"/>
                    <a:pt x="2735" y="1075"/>
                    <a:pt x="2726" y="1075"/>
                  </a:cubicBezTo>
                  <a:cubicBezTo>
                    <a:pt x="2726" y="1075"/>
                    <a:pt x="2726" y="1075"/>
                    <a:pt x="2726" y="1075"/>
                  </a:cubicBezTo>
                  <a:moveTo>
                    <a:pt x="2770" y="1075"/>
                  </a:moveTo>
                  <a:cubicBezTo>
                    <a:pt x="2761" y="1075"/>
                    <a:pt x="2755" y="1080"/>
                    <a:pt x="2756" y="1085"/>
                  </a:cubicBezTo>
                  <a:cubicBezTo>
                    <a:pt x="2756" y="1091"/>
                    <a:pt x="2763" y="1095"/>
                    <a:pt x="2772" y="1095"/>
                  </a:cubicBezTo>
                  <a:cubicBezTo>
                    <a:pt x="2780" y="1095"/>
                    <a:pt x="2787" y="1091"/>
                    <a:pt x="2786" y="1085"/>
                  </a:cubicBezTo>
                  <a:cubicBezTo>
                    <a:pt x="2785" y="1080"/>
                    <a:pt x="2778" y="1075"/>
                    <a:pt x="2770" y="1075"/>
                  </a:cubicBezTo>
                  <a:cubicBezTo>
                    <a:pt x="2770" y="1075"/>
                    <a:pt x="2770" y="1075"/>
                    <a:pt x="2770" y="1075"/>
                  </a:cubicBezTo>
                  <a:moveTo>
                    <a:pt x="2811" y="1075"/>
                  </a:moveTo>
                  <a:cubicBezTo>
                    <a:pt x="2803" y="1075"/>
                    <a:pt x="2797" y="1079"/>
                    <a:pt x="2797" y="1085"/>
                  </a:cubicBezTo>
                  <a:cubicBezTo>
                    <a:pt x="2798" y="1091"/>
                    <a:pt x="2805" y="1095"/>
                    <a:pt x="2814" y="1095"/>
                  </a:cubicBezTo>
                  <a:cubicBezTo>
                    <a:pt x="2822" y="1095"/>
                    <a:pt x="2828" y="1091"/>
                    <a:pt x="2828" y="1085"/>
                  </a:cubicBezTo>
                  <a:cubicBezTo>
                    <a:pt x="2827" y="1079"/>
                    <a:pt x="2820" y="1075"/>
                    <a:pt x="2812" y="1075"/>
                  </a:cubicBezTo>
                  <a:cubicBezTo>
                    <a:pt x="2811" y="1075"/>
                    <a:pt x="2811" y="1075"/>
                    <a:pt x="2811" y="1075"/>
                  </a:cubicBezTo>
                  <a:moveTo>
                    <a:pt x="2857" y="1075"/>
                  </a:moveTo>
                  <a:cubicBezTo>
                    <a:pt x="2849" y="1075"/>
                    <a:pt x="2843" y="1079"/>
                    <a:pt x="2843" y="1085"/>
                  </a:cubicBezTo>
                  <a:cubicBezTo>
                    <a:pt x="2844" y="1091"/>
                    <a:pt x="2851" y="1095"/>
                    <a:pt x="2860" y="1095"/>
                  </a:cubicBezTo>
                  <a:cubicBezTo>
                    <a:pt x="2868" y="1095"/>
                    <a:pt x="2874" y="1091"/>
                    <a:pt x="2874" y="1085"/>
                  </a:cubicBezTo>
                  <a:cubicBezTo>
                    <a:pt x="2873" y="1079"/>
                    <a:pt x="2866" y="1075"/>
                    <a:pt x="2857" y="1075"/>
                  </a:cubicBezTo>
                  <a:cubicBezTo>
                    <a:pt x="2857" y="1075"/>
                    <a:pt x="2857" y="1075"/>
                    <a:pt x="2857" y="1075"/>
                  </a:cubicBezTo>
                  <a:moveTo>
                    <a:pt x="3895" y="1074"/>
                  </a:moveTo>
                  <a:cubicBezTo>
                    <a:pt x="3886" y="1074"/>
                    <a:pt x="3882" y="1079"/>
                    <a:pt x="3884" y="1084"/>
                  </a:cubicBezTo>
                  <a:cubicBezTo>
                    <a:pt x="3887" y="1090"/>
                    <a:pt x="3896" y="1094"/>
                    <a:pt x="3904" y="1094"/>
                  </a:cubicBezTo>
                  <a:cubicBezTo>
                    <a:pt x="3913" y="1094"/>
                    <a:pt x="3917" y="1090"/>
                    <a:pt x="3915" y="1084"/>
                  </a:cubicBezTo>
                  <a:cubicBezTo>
                    <a:pt x="3912" y="1078"/>
                    <a:pt x="3903" y="1074"/>
                    <a:pt x="3895" y="1074"/>
                  </a:cubicBezTo>
                  <a:cubicBezTo>
                    <a:pt x="3895" y="1074"/>
                    <a:pt x="3895" y="1074"/>
                    <a:pt x="3895" y="1074"/>
                  </a:cubicBezTo>
                  <a:moveTo>
                    <a:pt x="3984" y="1074"/>
                  </a:moveTo>
                  <a:cubicBezTo>
                    <a:pt x="3976" y="1074"/>
                    <a:pt x="3971" y="1078"/>
                    <a:pt x="3974" y="1084"/>
                  </a:cubicBezTo>
                  <a:cubicBezTo>
                    <a:pt x="3977" y="1090"/>
                    <a:pt x="3986" y="1094"/>
                    <a:pt x="3994" y="1094"/>
                  </a:cubicBezTo>
                  <a:cubicBezTo>
                    <a:pt x="4003" y="1094"/>
                    <a:pt x="4007" y="1089"/>
                    <a:pt x="4004" y="1084"/>
                  </a:cubicBezTo>
                  <a:cubicBezTo>
                    <a:pt x="4002" y="1078"/>
                    <a:pt x="3992" y="1074"/>
                    <a:pt x="3984" y="1074"/>
                  </a:cubicBezTo>
                  <a:cubicBezTo>
                    <a:pt x="3984" y="1074"/>
                    <a:pt x="3984" y="1074"/>
                    <a:pt x="3984" y="1074"/>
                  </a:cubicBezTo>
                  <a:moveTo>
                    <a:pt x="4196" y="1071"/>
                  </a:moveTo>
                  <a:cubicBezTo>
                    <a:pt x="4188" y="1072"/>
                    <a:pt x="4184" y="1076"/>
                    <a:pt x="4187" y="1082"/>
                  </a:cubicBezTo>
                  <a:cubicBezTo>
                    <a:pt x="4190" y="1087"/>
                    <a:pt x="4200" y="1092"/>
                    <a:pt x="4208" y="1092"/>
                  </a:cubicBezTo>
                  <a:cubicBezTo>
                    <a:pt x="4216" y="1092"/>
                    <a:pt x="4221" y="1087"/>
                    <a:pt x="4217" y="1082"/>
                  </a:cubicBezTo>
                  <a:cubicBezTo>
                    <a:pt x="4214" y="1076"/>
                    <a:pt x="4205" y="1071"/>
                    <a:pt x="4196" y="1071"/>
                  </a:cubicBezTo>
                  <a:cubicBezTo>
                    <a:pt x="4196" y="1071"/>
                    <a:pt x="4196" y="1071"/>
                    <a:pt x="4196" y="1071"/>
                  </a:cubicBezTo>
                  <a:moveTo>
                    <a:pt x="4239" y="1071"/>
                  </a:moveTo>
                  <a:cubicBezTo>
                    <a:pt x="4231" y="1071"/>
                    <a:pt x="4227" y="1076"/>
                    <a:pt x="4230" y="1082"/>
                  </a:cubicBezTo>
                  <a:cubicBezTo>
                    <a:pt x="4233" y="1087"/>
                    <a:pt x="4243" y="1092"/>
                    <a:pt x="4251" y="1092"/>
                  </a:cubicBezTo>
                  <a:cubicBezTo>
                    <a:pt x="4260" y="1092"/>
                    <a:pt x="4264" y="1087"/>
                    <a:pt x="4260" y="1082"/>
                  </a:cubicBezTo>
                  <a:cubicBezTo>
                    <a:pt x="4257" y="1076"/>
                    <a:pt x="4248" y="1071"/>
                    <a:pt x="4239" y="1071"/>
                  </a:cubicBezTo>
                  <a:cubicBezTo>
                    <a:pt x="4239" y="1071"/>
                    <a:pt x="4239" y="1071"/>
                    <a:pt x="4239" y="1071"/>
                  </a:cubicBezTo>
                  <a:moveTo>
                    <a:pt x="4283" y="1071"/>
                  </a:moveTo>
                  <a:cubicBezTo>
                    <a:pt x="4274" y="1071"/>
                    <a:pt x="4270" y="1076"/>
                    <a:pt x="4274" y="1082"/>
                  </a:cubicBezTo>
                  <a:cubicBezTo>
                    <a:pt x="4277" y="1087"/>
                    <a:pt x="4286" y="1092"/>
                    <a:pt x="4295" y="1092"/>
                  </a:cubicBezTo>
                  <a:cubicBezTo>
                    <a:pt x="4303" y="1092"/>
                    <a:pt x="4307" y="1087"/>
                    <a:pt x="4304" y="1081"/>
                  </a:cubicBezTo>
                  <a:cubicBezTo>
                    <a:pt x="4301" y="1076"/>
                    <a:pt x="4291" y="1071"/>
                    <a:pt x="4283" y="1071"/>
                  </a:cubicBezTo>
                  <a:cubicBezTo>
                    <a:pt x="4283" y="1071"/>
                    <a:pt x="4283" y="1071"/>
                    <a:pt x="4283" y="1071"/>
                  </a:cubicBezTo>
                  <a:moveTo>
                    <a:pt x="408" y="1054"/>
                  </a:moveTo>
                  <a:cubicBezTo>
                    <a:pt x="399" y="1054"/>
                    <a:pt x="389" y="1058"/>
                    <a:pt x="386" y="1064"/>
                  </a:cubicBezTo>
                  <a:cubicBezTo>
                    <a:pt x="382" y="1069"/>
                    <a:pt x="385" y="1074"/>
                    <a:pt x="394" y="1074"/>
                  </a:cubicBezTo>
                  <a:cubicBezTo>
                    <a:pt x="402" y="1074"/>
                    <a:pt x="412" y="1069"/>
                    <a:pt x="416" y="1064"/>
                  </a:cubicBezTo>
                  <a:cubicBezTo>
                    <a:pt x="420" y="1058"/>
                    <a:pt x="416" y="1054"/>
                    <a:pt x="408" y="1054"/>
                  </a:cubicBezTo>
                  <a:cubicBezTo>
                    <a:pt x="408" y="1054"/>
                    <a:pt x="408" y="1054"/>
                    <a:pt x="408" y="1054"/>
                  </a:cubicBezTo>
                  <a:moveTo>
                    <a:pt x="451" y="1053"/>
                  </a:moveTo>
                  <a:cubicBezTo>
                    <a:pt x="442" y="1053"/>
                    <a:pt x="432" y="1058"/>
                    <a:pt x="429" y="1064"/>
                  </a:cubicBezTo>
                  <a:cubicBezTo>
                    <a:pt x="425" y="1069"/>
                    <a:pt x="429" y="1074"/>
                    <a:pt x="437" y="1074"/>
                  </a:cubicBezTo>
                  <a:cubicBezTo>
                    <a:pt x="445" y="1074"/>
                    <a:pt x="455" y="1069"/>
                    <a:pt x="459" y="1064"/>
                  </a:cubicBezTo>
                  <a:cubicBezTo>
                    <a:pt x="463" y="1058"/>
                    <a:pt x="459" y="1053"/>
                    <a:pt x="451" y="1053"/>
                  </a:cubicBezTo>
                  <a:cubicBezTo>
                    <a:pt x="451" y="1053"/>
                    <a:pt x="451" y="1053"/>
                    <a:pt x="451" y="1053"/>
                  </a:cubicBezTo>
                  <a:moveTo>
                    <a:pt x="493" y="1053"/>
                  </a:moveTo>
                  <a:cubicBezTo>
                    <a:pt x="485" y="1053"/>
                    <a:pt x="475" y="1058"/>
                    <a:pt x="472" y="1064"/>
                  </a:cubicBezTo>
                  <a:cubicBezTo>
                    <a:pt x="468" y="1069"/>
                    <a:pt x="472" y="1074"/>
                    <a:pt x="480" y="1074"/>
                  </a:cubicBezTo>
                  <a:cubicBezTo>
                    <a:pt x="488" y="1074"/>
                    <a:pt x="498" y="1069"/>
                    <a:pt x="502" y="1063"/>
                  </a:cubicBezTo>
                  <a:cubicBezTo>
                    <a:pt x="505" y="1058"/>
                    <a:pt x="502" y="1053"/>
                    <a:pt x="493" y="1053"/>
                  </a:cubicBezTo>
                  <a:cubicBezTo>
                    <a:pt x="493" y="1053"/>
                    <a:pt x="493" y="1053"/>
                    <a:pt x="493" y="1053"/>
                  </a:cubicBezTo>
                  <a:moveTo>
                    <a:pt x="536" y="1053"/>
                  </a:moveTo>
                  <a:cubicBezTo>
                    <a:pt x="528" y="1053"/>
                    <a:pt x="518" y="1058"/>
                    <a:pt x="515" y="1063"/>
                  </a:cubicBezTo>
                  <a:cubicBezTo>
                    <a:pt x="511" y="1069"/>
                    <a:pt x="515" y="1073"/>
                    <a:pt x="523" y="1073"/>
                  </a:cubicBezTo>
                  <a:cubicBezTo>
                    <a:pt x="532" y="1073"/>
                    <a:pt x="541" y="1069"/>
                    <a:pt x="545" y="1063"/>
                  </a:cubicBezTo>
                  <a:cubicBezTo>
                    <a:pt x="548" y="1058"/>
                    <a:pt x="545" y="1053"/>
                    <a:pt x="536" y="1053"/>
                  </a:cubicBezTo>
                  <a:cubicBezTo>
                    <a:pt x="536" y="1053"/>
                    <a:pt x="536" y="1053"/>
                    <a:pt x="536" y="1053"/>
                  </a:cubicBezTo>
                  <a:moveTo>
                    <a:pt x="581" y="1053"/>
                  </a:moveTo>
                  <a:cubicBezTo>
                    <a:pt x="572" y="1053"/>
                    <a:pt x="563" y="1058"/>
                    <a:pt x="559" y="1063"/>
                  </a:cubicBezTo>
                  <a:cubicBezTo>
                    <a:pt x="556" y="1069"/>
                    <a:pt x="560" y="1073"/>
                    <a:pt x="568" y="1073"/>
                  </a:cubicBezTo>
                  <a:cubicBezTo>
                    <a:pt x="576" y="1073"/>
                    <a:pt x="586" y="1069"/>
                    <a:pt x="589" y="1063"/>
                  </a:cubicBezTo>
                  <a:cubicBezTo>
                    <a:pt x="593" y="1058"/>
                    <a:pt x="589" y="1053"/>
                    <a:pt x="581" y="1053"/>
                  </a:cubicBezTo>
                  <a:cubicBezTo>
                    <a:pt x="581" y="1053"/>
                    <a:pt x="581" y="1053"/>
                    <a:pt x="581" y="1053"/>
                  </a:cubicBezTo>
                  <a:moveTo>
                    <a:pt x="623" y="1053"/>
                  </a:moveTo>
                  <a:cubicBezTo>
                    <a:pt x="615" y="1053"/>
                    <a:pt x="605" y="1057"/>
                    <a:pt x="602" y="1063"/>
                  </a:cubicBezTo>
                  <a:cubicBezTo>
                    <a:pt x="599" y="1069"/>
                    <a:pt x="603" y="1073"/>
                    <a:pt x="611" y="1073"/>
                  </a:cubicBezTo>
                  <a:cubicBezTo>
                    <a:pt x="619" y="1073"/>
                    <a:pt x="629" y="1069"/>
                    <a:pt x="632" y="1063"/>
                  </a:cubicBezTo>
                  <a:cubicBezTo>
                    <a:pt x="636" y="1057"/>
                    <a:pt x="632" y="1053"/>
                    <a:pt x="623" y="1053"/>
                  </a:cubicBezTo>
                  <a:cubicBezTo>
                    <a:pt x="623" y="1053"/>
                    <a:pt x="623" y="1053"/>
                    <a:pt x="623" y="1053"/>
                  </a:cubicBezTo>
                  <a:moveTo>
                    <a:pt x="666" y="1053"/>
                  </a:moveTo>
                  <a:cubicBezTo>
                    <a:pt x="658" y="1053"/>
                    <a:pt x="649" y="1057"/>
                    <a:pt x="645" y="1063"/>
                  </a:cubicBezTo>
                  <a:cubicBezTo>
                    <a:pt x="642" y="1069"/>
                    <a:pt x="646" y="1073"/>
                    <a:pt x="654" y="1073"/>
                  </a:cubicBezTo>
                  <a:cubicBezTo>
                    <a:pt x="663" y="1073"/>
                    <a:pt x="672" y="1068"/>
                    <a:pt x="675" y="1063"/>
                  </a:cubicBezTo>
                  <a:cubicBezTo>
                    <a:pt x="679" y="1057"/>
                    <a:pt x="675" y="1053"/>
                    <a:pt x="666" y="1053"/>
                  </a:cubicBezTo>
                  <a:cubicBezTo>
                    <a:pt x="666" y="1053"/>
                    <a:pt x="666" y="1053"/>
                    <a:pt x="666" y="1053"/>
                  </a:cubicBezTo>
                  <a:moveTo>
                    <a:pt x="710" y="1053"/>
                  </a:moveTo>
                  <a:cubicBezTo>
                    <a:pt x="701" y="1053"/>
                    <a:pt x="692" y="1057"/>
                    <a:pt x="689" y="1063"/>
                  </a:cubicBezTo>
                  <a:cubicBezTo>
                    <a:pt x="685" y="1068"/>
                    <a:pt x="690" y="1073"/>
                    <a:pt x="698" y="1073"/>
                  </a:cubicBezTo>
                  <a:cubicBezTo>
                    <a:pt x="706" y="1073"/>
                    <a:pt x="716" y="1068"/>
                    <a:pt x="719" y="1063"/>
                  </a:cubicBezTo>
                  <a:cubicBezTo>
                    <a:pt x="722" y="1057"/>
                    <a:pt x="718" y="1053"/>
                    <a:pt x="710" y="1053"/>
                  </a:cubicBezTo>
                  <a:cubicBezTo>
                    <a:pt x="710" y="1053"/>
                    <a:pt x="710" y="1053"/>
                    <a:pt x="710" y="1053"/>
                  </a:cubicBezTo>
                  <a:moveTo>
                    <a:pt x="752" y="1052"/>
                  </a:moveTo>
                  <a:cubicBezTo>
                    <a:pt x="744" y="1052"/>
                    <a:pt x="735" y="1057"/>
                    <a:pt x="732" y="1063"/>
                  </a:cubicBezTo>
                  <a:cubicBezTo>
                    <a:pt x="728" y="1068"/>
                    <a:pt x="733" y="1073"/>
                    <a:pt x="741" y="1073"/>
                  </a:cubicBezTo>
                  <a:cubicBezTo>
                    <a:pt x="749" y="1073"/>
                    <a:pt x="759" y="1068"/>
                    <a:pt x="762" y="1063"/>
                  </a:cubicBezTo>
                  <a:cubicBezTo>
                    <a:pt x="765" y="1057"/>
                    <a:pt x="761" y="1052"/>
                    <a:pt x="752" y="1052"/>
                  </a:cubicBezTo>
                  <a:cubicBezTo>
                    <a:pt x="752" y="1052"/>
                    <a:pt x="752" y="1052"/>
                    <a:pt x="752" y="1052"/>
                  </a:cubicBezTo>
                  <a:moveTo>
                    <a:pt x="796" y="1052"/>
                  </a:moveTo>
                  <a:cubicBezTo>
                    <a:pt x="787" y="1052"/>
                    <a:pt x="778" y="1057"/>
                    <a:pt x="775" y="1062"/>
                  </a:cubicBezTo>
                  <a:cubicBezTo>
                    <a:pt x="772" y="1068"/>
                    <a:pt x="776" y="1072"/>
                    <a:pt x="784" y="1072"/>
                  </a:cubicBezTo>
                  <a:cubicBezTo>
                    <a:pt x="793" y="1072"/>
                    <a:pt x="802" y="1068"/>
                    <a:pt x="805" y="1062"/>
                  </a:cubicBezTo>
                  <a:cubicBezTo>
                    <a:pt x="808" y="1056"/>
                    <a:pt x="804" y="1052"/>
                    <a:pt x="796" y="1052"/>
                  </a:cubicBezTo>
                  <a:cubicBezTo>
                    <a:pt x="796" y="1052"/>
                    <a:pt x="796" y="1052"/>
                    <a:pt x="796" y="1052"/>
                  </a:cubicBezTo>
                  <a:moveTo>
                    <a:pt x="838" y="1052"/>
                  </a:moveTo>
                  <a:cubicBezTo>
                    <a:pt x="830" y="1052"/>
                    <a:pt x="821" y="1056"/>
                    <a:pt x="818" y="1062"/>
                  </a:cubicBezTo>
                  <a:cubicBezTo>
                    <a:pt x="815" y="1068"/>
                    <a:pt x="819" y="1072"/>
                    <a:pt x="827" y="1072"/>
                  </a:cubicBezTo>
                  <a:cubicBezTo>
                    <a:pt x="836" y="1072"/>
                    <a:pt x="845" y="1068"/>
                    <a:pt x="848" y="1062"/>
                  </a:cubicBezTo>
                  <a:cubicBezTo>
                    <a:pt x="851" y="1056"/>
                    <a:pt x="847" y="1052"/>
                    <a:pt x="838" y="1052"/>
                  </a:cubicBezTo>
                  <a:cubicBezTo>
                    <a:pt x="838" y="1052"/>
                    <a:pt x="838" y="1052"/>
                    <a:pt x="838" y="1052"/>
                  </a:cubicBezTo>
                  <a:moveTo>
                    <a:pt x="882" y="1050"/>
                  </a:moveTo>
                  <a:cubicBezTo>
                    <a:pt x="874" y="1050"/>
                    <a:pt x="865" y="1054"/>
                    <a:pt x="862" y="1060"/>
                  </a:cubicBezTo>
                  <a:cubicBezTo>
                    <a:pt x="859" y="1066"/>
                    <a:pt x="863" y="1070"/>
                    <a:pt x="872" y="1070"/>
                  </a:cubicBezTo>
                  <a:cubicBezTo>
                    <a:pt x="880" y="1070"/>
                    <a:pt x="889" y="1066"/>
                    <a:pt x="892" y="1060"/>
                  </a:cubicBezTo>
                  <a:cubicBezTo>
                    <a:pt x="895" y="1054"/>
                    <a:pt x="891" y="1050"/>
                    <a:pt x="882" y="1050"/>
                  </a:cubicBezTo>
                  <a:cubicBezTo>
                    <a:pt x="882" y="1050"/>
                    <a:pt x="882" y="1050"/>
                    <a:pt x="882" y="1050"/>
                  </a:cubicBezTo>
                  <a:moveTo>
                    <a:pt x="1737" y="1049"/>
                  </a:moveTo>
                  <a:cubicBezTo>
                    <a:pt x="1729" y="1049"/>
                    <a:pt x="1721" y="1053"/>
                    <a:pt x="1720" y="1059"/>
                  </a:cubicBezTo>
                  <a:cubicBezTo>
                    <a:pt x="1718" y="1065"/>
                    <a:pt x="1724" y="1069"/>
                    <a:pt x="1732" y="1069"/>
                  </a:cubicBezTo>
                  <a:cubicBezTo>
                    <a:pt x="1741" y="1069"/>
                    <a:pt x="1749" y="1065"/>
                    <a:pt x="1750" y="1059"/>
                  </a:cubicBezTo>
                  <a:cubicBezTo>
                    <a:pt x="1751" y="1053"/>
                    <a:pt x="1746" y="1049"/>
                    <a:pt x="1737" y="1049"/>
                  </a:cubicBezTo>
                  <a:cubicBezTo>
                    <a:pt x="1737" y="1049"/>
                    <a:pt x="1737" y="1049"/>
                    <a:pt x="1737" y="1049"/>
                  </a:cubicBezTo>
                  <a:moveTo>
                    <a:pt x="1780" y="1049"/>
                  </a:moveTo>
                  <a:cubicBezTo>
                    <a:pt x="1772" y="1049"/>
                    <a:pt x="1764" y="1053"/>
                    <a:pt x="1763" y="1059"/>
                  </a:cubicBezTo>
                  <a:cubicBezTo>
                    <a:pt x="1762" y="1065"/>
                    <a:pt x="1767" y="1069"/>
                    <a:pt x="1776" y="1069"/>
                  </a:cubicBezTo>
                  <a:cubicBezTo>
                    <a:pt x="1784" y="1069"/>
                    <a:pt x="1792" y="1064"/>
                    <a:pt x="1793" y="1059"/>
                  </a:cubicBezTo>
                  <a:cubicBezTo>
                    <a:pt x="1794" y="1053"/>
                    <a:pt x="1789" y="1049"/>
                    <a:pt x="1780" y="1049"/>
                  </a:cubicBezTo>
                  <a:cubicBezTo>
                    <a:pt x="1780" y="1049"/>
                    <a:pt x="1780" y="1049"/>
                    <a:pt x="1780" y="1049"/>
                  </a:cubicBezTo>
                  <a:moveTo>
                    <a:pt x="1824" y="1049"/>
                  </a:moveTo>
                  <a:cubicBezTo>
                    <a:pt x="1815" y="1049"/>
                    <a:pt x="1808" y="1053"/>
                    <a:pt x="1806" y="1059"/>
                  </a:cubicBezTo>
                  <a:cubicBezTo>
                    <a:pt x="1805" y="1064"/>
                    <a:pt x="1811" y="1069"/>
                    <a:pt x="1819" y="1069"/>
                  </a:cubicBezTo>
                  <a:cubicBezTo>
                    <a:pt x="1828" y="1069"/>
                    <a:pt x="1835" y="1064"/>
                    <a:pt x="1836" y="1059"/>
                  </a:cubicBezTo>
                  <a:cubicBezTo>
                    <a:pt x="1838" y="1053"/>
                    <a:pt x="1832" y="1049"/>
                    <a:pt x="1824" y="1049"/>
                  </a:cubicBezTo>
                  <a:cubicBezTo>
                    <a:pt x="1824" y="1049"/>
                    <a:pt x="1824" y="1049"/>
                    <a:pt x="1824" y="1049"/>
                  </a:cubicBezTo>
                  <a:moveTo>
                    <a:pt x="1866" y="1048"/>
                  </a:moveTo>
                  <a:cubicBezTo>
                    <a:pt x="1858" y="1048"/>
                    <a:pt x="1850" y="1053"/>
                    <a:pt x="1849" y="1059"/>
                  </a:cubicBezTo>
                  <a:cubicBezTo>
                    <a:pt x="1848" y="1064"/>
                    <a:pt x="1854" y="1069"/>
                    <a:pt x="1862" y="1069"/>
                  </a:cubicBezTo>
                  <a:cubicBezTo>
                    <a:pt x="1870" y="1069"/>
                    <a:pt x="1878" y="1064"/>
                    <a:pt x="1879" y="1059"/>
                  </a:cubicBezTo>
                  <a:cubicBezTo>
                    <a:pt x="1880" y="1053"/>
                    <a:pt x="1875" y="1048"/>
                    <a:pt x="1866" y="1048"/>
                  </a:cubicBezTo>
                  <a:cubicBezTo>
                    <a:pt x="1866" y="1048"/>
                    <a:pt x="1866" y="1048"/>
                    <a:pt x="1866" y="1048"/>
                  </a:cubicBezTo>
                  <a:moveTo>
                    <a:pt x="1909" y="1048"/>
                  </a:moveTo>
                  <a:cubicBezTo>
                    <a:pt x="1901" y="1048"/>
                    <a:pt x="1893" y="1053"/>
                    <a:pt x="1892" y="1059"/>
                  </a:cubicBezTo>
                  <a:cubicBezTo>
                    <a:pt x="1891" y="1064"/>
                    <a:pt x="1897" y="1069"/>
                    <a:pt x="1905" y="1069"/>
                  </a:cubicBezTo>
                  <a:cubicBezTo>
                    <a:pt x="1914" y="1069"/>
                    <a:pt x="1921" y="1064"/>
                    <a:pt x="1922" y="1058"/>
                  </a:cubicBezTo>
                  <a:cubicBezTo>
                    <a:pt x="1923" y="1053"/>
                    <a:pt x="1917" y="1048"/>
                    <a:pt x="1909" y="1048"/>
                  </a:cubicBezTo>
                  <a:cubicBezTo>
                    <a:pt x="1909" y="1048"/>
                    <a:pt x="1909" y="1048"/>
                    <a:pt x="1909" y="1048"/>
                  </a:cubicBezTo>
                  <a:moveTo>
                    <a:pt x="2039" y="1048"/>
                  </a:moveTo>
                  <a:cubicBezTo>
                    <a:pt x="2031" y="1048"/>
                    <a:pt x="2023" y="1052"/>
                    <a:pt x="2022" y="1058"/>
                  </a:cubicBezTo>
                  <a:cubicBezTo>
                    <a:pt x="2022" y="1064"/>
                    <a:pt x="2028" y="1068"/>
                    <a:pt x="2036" y="1068"/>
                  </a:cubicBezTo>
                  <a:cubicBezTo>
                    <a:pt x="2044" y="1068"/>
                    <a:pt x="2052" y="1064"/>
                    <a:pt x="2053" y="1058"/>
                  </a:cubicBezTo>
                  <a:cubicBezTo>
                    <a:pt x="2053" y="1052"/>
                    <a:pt x="2047" y="1048"/>
                    <a:pt x="2039" y="1048"/>
                  </a:cubicBezTo>
                  <a:cubicBezTo>
                    <a:pt x="2039" y="1048"/>
                    <a:pt x="2039" y="1048"/>
                    <a:pt x="2039" y="1048"/>
                  </a:cubicBezTo>
                  <a:moveTo>
                    <a:pt x="2082" y="1048"/>
                  </a:moveTo>
                  <a:cubicBezTo>
                    <a:pt x="2073" y="1048"/>
                    <a:pt x="2066" y="1052"/>
                    <a:pt x="2065" y="1058"/>
                  </a:cubicBezTo>
                  <a:cubicBezTo>
                    <a:pt x="2064" y="1064"/>
                    <a:pt x="2071" y="1068"/>
                    <a:pt x="2079" y="1068"/>
                  </a:cubicBezTo>
                  <a:cubicBezTo>
                    <a:pt x="2087" y="1068"/>
                    <a:pt x="2095" y="1064"/>
                    <a:pt x="2095" y="1058"/>
                  </a:cubicBezTo>
                  <a:cubicBezTo>
                    <a:pt x="2096" y="1052"/>
                    <a:pt x="2090" y="1048"/>
                    <a:pt x="2082" y="1048"/>
                  </a:cubicBezTo>
                  <a:cubicBezTo>
                    <a:pt x="2082" y="1048"/>
                    <a:pt x="2082" y="1048"/>
                    <a:pt x="2082" y="1048"/>
                  </a:cubicBezTo>
                  <a:moveTo>
                    <a:pt x="2125" y="1048"/>
                  </a:moveTo>
                  <a:cubicBezTo>
                    <a:pt x="2116" y="1048"/>
                    <a:pt x="2109" y="1052"/>
                    <a:pt x="2108" y="1058"/>
                  </a:cubicBezTo>
                  <a:cubicBezTo>
                    <a:pt x="2108" y="1063"/>
                    <a:pt x="2114" y="1068"/>
                    <a:pt x="2122" y="1068"/>
                  </a:cubicBezTo>
                  <a:cubicBezTo>
                    <a:pt x="2131" y="1068"/>
                    <a:pt x="2138" y="1063"/>
                    <a:pt x="2138" y="1058"/>
                  </a:cubicBezTo>
                  <a:cubicBezTo>
                    <a:pt x="2139" y="1052"/>
                    <a:pt x="2133" y="1048"/>
                    <a:pt x="2125" y="1048"/>
                  </a:cubicBezTo>
                  <a:cubicBezTo>
                    <a:pt x="2125" y="1048"/>
                    <a:pt x="2125" y="1048"/>
                    <a:pt x="2125" y="1048"/>
                  </a:cubicBezTo>
                  <a:moveTo>
                    <a:pt x="2168" y="1047"/>
                  </a:moveTo>
                  <a:cubicBezTo>
                    <a:pt x="2160" y="1047"/>
                    <a:pt x="2152" y="1052"/>
                    <a:pt x="2152" y="1058"/>
                  </a:cubicBezTo>
                  <a:cubicBezTo>
                    <a:pt x="2151" y="1063"/>
                    <a:pt x="2157" y="1068"/>
                    <a:pt x="2166" y="1068"/>
                  </a:cubicBezTo>
                  <a:cubicBezTo>
                    <a:pt x="2174" y="1068"/>
                    <a:pt x="2181" y="1063"/>
                    <a:pt x="2182" y="1058"/>
                  </a:cubicBezTo>
                  <a:cubicBezTo>
                    <a:pt x="2182" y="1052"/>
                    <a:pt x="2176" y="1047"/>
                    <a:pt x="2168" y="1047"/>
                  </a:cubicBezTo>
                  <a:cubicBezTo>
                    <a:pt x="2168" y="1047"/>
                    <a:pt x="2168" y="1047"/>
                    <a:pt x="2168" y="1047"/>
                  </a:cubicBezTo>
                  <a:moveTo>
                    <a:pt x="2210" y="1047"/>
                  </a:moveTo>
                  <a:cubicBezTo>
                    <a:pt x="2202" y="1047"/>
                    <a:pt x="2195" y="1052"/>
                    <a:pt x="2195" y="1058"/>
                  </a:cubicBezTo>
                  <a:cubicBezTo>
                    <a:pt x="2194" y="1063"/>
                    <a:pt x="2200" y="1068"/>
                    <a:pt x="2209" y="1068"/>
                  </a:cubicBezTo>
                  <a:cubicBezTo>
                    <a:pt x="2217" y="1068"/>
                    <a:pt x="2224" y="1063"/>
                    <a:pt x="2225" y="1057"/>
                  </a:cubicBezTo>
                  <a:cubicBezTo>
                    <a:pt x="2225" y="1052"/>
                    <a:pt x="2219" y="1047"/>
                    <a:pt x="2211" y="1047"/>
                  </a:cubicBezTo>
                  <a:cubicBezTo>
                    <a:pt x="2211" y="1047"/>
                    <a:pt x="2211" y="1047"/>
                    <a:pt x="2210" y="1047"/>
                  </a:cubicBezTo>
                  <a:moveTo>
                    <a:pt x="2253" y="1047"/>
                  </a:moveTo>
                  <a:cubicBezTo>
                    <a:pt x="2245" y="1047"/>
                    <a:pt x="2238" y="1052"/>
                    <a:pt x="2238" y="1057"/>
                  </a:cubicBezTo>
                  <a:cubicBezTo>
                    <a:pt x="2237" y="1063"/>
                    <a:pt x="2244" y="1068"/>
                    <a:pt x="2252" y="1068"/>
                  </a:cubicBezTo>
                  <a:cubicBezTo>
                    <a:pt x="2260" y="1068"/>
                    <a:pt x="2267" y="1063"/>
                    <a:pt x="2268" y="1057"/>
                  </a:cubicBezTo>
                  <a:cubicBezTo>
                    <a:pt x="2268" y="1052"/>
                    <a:pt x="2262" y="1047"/>
                    <a:pt x="2253" y="1047"/>
                  </a:cubicBezTo>
                  <a:cubicBezTo>
                    <a:pt x="2253" y="1047"/>
                    <a:pt x="2253" y="1047"/>
                    <a:pt x="2253" y="1047"/>
                  </a:cubicBezTo>
                  <a:moveTo>
                    <a:pt x="2296" y="1047"/>
                  </a:moveTo>
                  <a:cubicBezTo>
                    <a:pt x="2288" y="1047"/>
                    <a:pt x="2281" y="1052"/>
                    <a:pt x="2280" y="1057"/>
                  </a:cubicBezTo>
                  <a:cubicBezTo>
                    <a:pt x="2280" y="1063"/>
                    <a:pt x="2286" y="1067"/>
                    <a:pt x="2295" y="1067"/>
                  </a:cubicBezTo>
                  <a:cubicBezTo>
                    <a:pt x="2303" y="1067"/>
                    <a:pt x="2310" y="1063"/>
                    <a:pt x="2310" y="1057"/>
                  </a:cubicBezTo>
                  <a:cubicBezTo>
                    <a:pt x="2311" y="1052"/>
                    <a:pt x="2304" y="1047"/>
                    <a:pt x="2296" y="1047"/>
                  </a:cubicBezTo>
                  <a:cubicBezTo>
                    <a:pt x="2296" y="1047"/>
                    <a:pt x="2296" y="1047"/>
                    <a:pt x="2296" y="1047"/>
                  </a:cubicBezTo>
                  <a:moveTo>
                    <a:pt x="2339" y="1047"/>
                  </a:moveTo>
                  <a:cubicBezTo>
                    <a:pt x="2331" y="1047"/>
                    <a:pt x="2324" y="1051"/>
                    <a:pt x="2323" y="1057"/>
                  </a:cubicBezTo>
                  <a:cubicBezTo>
                    <a:pt x="2323" y="1063"/>
                    <a:pt x="2330" y="1067"/>
                    <a:pt x="2338" y="1067"/>
                  </a:cubicBezTo>
                  <a:cubicBezTo>
                    <a:pt x="2346" y="1067"/>
                    <a:pt x="2353" y="1063"/>
                    <a:pt x="2353" y="1057"/>
                  </a:cubicBezTo>
                  <a:cubicBezTo>
                    <a:pt x="2354" y="1051"/>
                    <a:pt x="2347" y="1047"/>
                    <a:pt x="2339" y="1047"/>
                  </a:cubicBezTo>
                  <a:cubicBezTo>
                    <a:pt x="2339" y="1047"/>
                    <a:pt x="2339" y="1047"/>
                    <a:pt x="2339" y="1047"/>
                  </a:cubicBezTo>
                  <a:moveTo>
                    <a:pt x="2382" y="1047"/>
                  </a:moveTo>
                  <a:cubicBezTo>
                    <a:pt x="2374" y="1047"/>
                    <a:pt x="2367" y="1051"/>
                    <a:pt x="2367" y="1057"/>
                  </a:cubicBezTo>
                  <a:cubicBezTo>
                    <a:pt x="2367" y="1063"/>
                    <a:pt x="2373" y="1067"/>
                    <a:pt x="2382" y="1067"/>
                  </a:cubicBezTo>
                  <a:cubicBezTo>
                    <a:pt x="2390" y="1067"/>
                    <a:pt x="2397" y="1063"/>
                    <a:pt x="2397" y="1057"/>
                  </a:cubicBezTo>
                  <a:cubicBezTo>
                    <a:pt x="2397" y="1051"/>
                    <a:pt x="2391" y="1047"/>
                    <a:pt x="2382" y="1047"/>
                  </a:cubicBezTo>
                  <a:cubicBezTo>
                    <a:pt x="2382" y="1047"/>
                    <a:pt x="2382" y="1047"/>
                    <a:pt x="2382" y="1047"/>
                  </a:cubicBezTo>
                  <a:moveTo>
                    <a:pt x="2425" y="1047"/>
                  </a:moveTo>
                  <a:cubicBezTo>
                    <a:pt x="2417" y="1047"/>
                    <a:pt x="2410" y="1051"/>
                    <a:pt x="2410" y="1057"/>
                  </a:cubicBezTo>
                  <a:cubicBezTo>
                    <a:pt x="2410" y="1062"/>
                    <a:pt x="2416" y="1067"/>
                    <a:pt x="2425" y="1067"/>
                  </a:cubicBezTo>
                  <a:cubicBezTo>
                    <a:pt x="2433" y="1067"/>
                    <a:pt x="2440" y="1062"/>
                    <a:pt x="2440" y="1057"/>
                  </a:cubicBezTo>
                  <a:cubicBezTo>
                    <a:pt x="2440" y="1051"/>
                    <a:pt x="2433" y="1047"/>
                    <a:pt x="2425" y="1047"/>
                  </a:cubicBezTo>
                  <a:cubicBezTo>
                    <a:pt x="2425" y="1047"/>
                    <a:pt x="2425" y="1047"/>
                    <a:pt x="2425" y="1047"/>
                  </a:cubicBezTo>
                  <a:moveTo>
                    <a:pt x="2468" y="1046"/>
                  </a:moveTo>
                  <a:cubicBezTo>
                    <a:pt x="2459" y="1046"/>
                    <a:pt x="2453" y="1051"/>
                    <a:pt x="2453" y="1057"/>
                  </a:cubicBezTo>
                  <a:cubicBezTo>
                    <a:pt x="2453" y="1062"/>
                    <a:pt x="2459" y="1067"/>
                    <a:pt x="2468" y="1067"/>
                  </a:cubicBezTo>
                  <a:cubicBezTo>
                    <a:pt x="2476" y="1067"/>
                    <a:pt x="2483" y="1062"/>
                    <a:pt x="2483" y="1057"/>
                  </a:cubicBezTo>
                  <a:cubicBezTo>
                    <a:pt x="2483" y="1051"/>
                    <a:pt x="2476" y="1046"/>
                    <a:pt x="2468" y="1046"/>
                  </a:cubicBezTo>
                  <a:cubicBezTo>
                    <a:pt x="2468" y="1046"/>
                    <a:pt x="2468" y="1046"/>
                    <a:pt x="2468" y="1046"/>
                  </a:cubicBezTo>
                  <a:moveTo>
                    <a:pt x="2510" y="1046"/>
                  </a:moveTo>
                  <a:cubicBezTo>
                    <a:pt x="2502" y="1046"/>
                    <a:pt x="2495" y="1051"/>
                    <a:pt x="2495" y="1057"/>
                  </a:cubicBezTo>
                  <a:cubicBezTo>
                    <a:pt x="2495" y="1062"/>
                    <a:pt x="2502" y="1067"/>
                    <a:pt x="2511" y="1067"/>
                  </a:cubicBezTo>
                  <a:cubicBezTo>
                    <a:pt x="2519" y="1067"/>
                    <a:pt x="2526" y="1062"/>
                    <a:pt x="2525" y="1056"/>
                  </a:cubicBezTo>
                  <a:cubicBezTo>
                    <a:pt x="2525" y="1051"/>
                    <a:pt x="2519" y="1046"/>
                    <a:pt x="2510" y="1046"/>
                  </a:cubicBezTo>
                  <a:cubicBezTo>
                    <a:pt x="2510" y="1046"/>
                    <a:pt x="2510" y="1046"/>
                    <a:pt x="2510" y="1046"/>
                  </a:cubicBezTo>
                  <a:moveTo>
                    <a:pt x="2553" y="1046"/>
                  </a:moveTo>
                  <a:cubicBezTo>
                    <a:pt x="2545" y="1046"/>
                    <a:pt x="2538" y="1051"/>
                    <a:pt x="2538" y="1056"/>
                  </a:cubicBezTo>
                  <a:cubicBezTo>
                    <a:pt x="2539" y="1062"/>
                    <a:pt x="2545" y="1067"/>
                    <a:pt x="2554" y="1067"/>
                  </a:cubicBezTo>
                  <a:cubicBezTo>
                    <a:pt x="2562" y="1067"/>
                    <a:pt x="2569" y="1062"/>
                    <a:pt x="2569" y="1056"/>
                  </a:cubicBezTo>
                  <a:cubicBezTo>
                    <a:pt x="2568" y="1051"/>
                    <a:pt x="2562" y="1046"/>
                    <a:pt x="2553" y="1046"/>
                  </a:cubicBezTo>
                  <a:cubicBezTo>
                    <a:pt x="2553" y="1046"/>
                    <a:pt x="2553" y="1046"/>
                    <a:pt x="2553" y="1046"/>
                  </a:cubicBezTo>
                  <a:moveTo>
                    <a:pt x="2597" y="1046"/>
                  </a:moveTo>
                  <a:cubicBezTo>
                    <a:pt x="2588" y="1046"/>
                    <a:pt x="2582" y="1051"/>
                    <a:pt x="2582" y="1056"/>
                  </a:cubicBezTo>
                  <a:cubicBezTo>
                    <a:pt x="2582" y="1062"/>
                    <a:pt x="2589" y="1066"/>
                    <a:pt x="2597" y="1066"/>
                  </a:cubicBezTo>
                  <a:cubicBezTo>
                    <a:pt x="2606" y="1066"/>
                    <a:pt x="2612" y="1062"/>
                    <a:pt x="2612" y="1056"/>
                  </a:cubicBezTo>
                  <a:cubicBezTo>
                    <a:pt x="2612" y="1051"/>
                    <a:pt x="2605" y="1046"/>
                    <a:pt x="2597" y="1046"/>
                  </a:cubicBezTo>
                  <a:cubicBezTo>
                    <a:pt x="2597" y="1046"/>
                    <a:pt x="2597" y="1046"/>
                    <a:pt x="2597" y="1046"/>
                  </a:cubicBezTo>
                  <a:moveTo>
                    <a:pt x="2639" y="1046"/>
                  </a:moveTo>
                  <a:cubicBezTo>
                    <a:pt x="2631" y="1046"/>
                    <a:pt x="2624" y="1050"/>
                    <a:pt x="2625" y="1056"/>
                  </a:cubicBezTo>
                  <a:cubicBezTo>
                    <a:pt x="2625" y="1062"/>
                    <a:pt x="2632" y="1066"/>
                    <a:pt x="2640" y="1066"/>
                  </a:cubicBezTo>
                  <a:cubicBezTo>
                    <a:pt x="2649" y="1066"/>
                    <a:pt x="2655" y="1062"/>
                    <a:pt x="2655" y="1056"/>
                  </a:cubicBezTo>
                  <a:cubicBezTo>
                    <a:pt x="2654" y="1050"/>
                    <a:pt x="2647" y="1046"/>
                    <a:pt x="2639" y="1046"/>
                  </a:cubicBezTo>
                  <a:cubicBezTo>
                    <a:pt x="2639" y="1046"/>
                    <a:pt x="2639" y="1046"/>
                    <a:pt x="2639" y="1046"/>
                  </a:cubicBezTo>
                  <a:moveTo>
                    <a:pt x="2682" y="1046"/>
                  </a:moveTo>
                  <a:cubicBezTo>
                    <a:pt x="2674" y="1046"/>
                    <a:pt x="2668" y="1050"/>
                    <a:pt x="2668" y="1056"/>
                  </a:cubicBezTo>
                  <a:cubicBezTo>
                    <a:pt x="2668" y="1062"/>
                    <a:pt x="2675" y="1066"/>
                    <a:pt x="2684" y="1066"/>
                  </a:cubicBezTo>
                  <a:cubicBezTo>
                    <a:pt x="2692" y="1066"/>
                    <a:pt x="2699" y="1062"/>
                    <a:pt x="2698" y="1056"/>
                  </a:cubicBezTo>
                  <a:cubicBezTo>
                    <a:pt x="2698" y="1050"/>
                    <a:pt x="2691" y="1046"/>
                    <a:pt x="2682" y="1046"/>
                  </a:cubicBezTo>
                  <a:cubicBezTo>
                    <a:pt x="2682" y="1046"/>
                    <a:pt x="2682" y="1046"/>
                    <a:pt x="2682" y="1046"/>
                  </a:cubicBezTo>
                  <a:moveTo>
                    <a:pt x="2724" y="1046"/>
                  </a:moveTo>
                  <a:cubicBezTo>
                    <a:pt x="2715" y="1046"/>
                    <a:pt x="2709" y="1050"/>
                    <a:pt x="2709" y="1056"/>
                  </a:cubicBezTo>
                  <a:cubicBezTo>
                    <a:pt x="2710" y="1062"/>
                    <a:pt x="2717" y="1066"/>
                    <a:pt x="2725" y="1066"/>
                  </a:cubicBezTo>
                  <a:cubicBezTo>
                    <a:pt x="2734" y="1066"/>
                    <a:pt x="2740" y="1061"/>
                    <a:pt x="2740" y="1056"/>
                  </a:cubicBezTo>
                  <a:cubicBezTo>
                    <a:pt x="2739" y="1050"/>
                    <a:pt x="2732" y="1046"/>
                    <a:pt x="2724" y="1046"/>
                  </a:cubicBezTo>
                  <a:cubicBezTo>
                    <a:pt x="2724" y="1046"/>
                    <a:pt x="2724" y="1046"/>
                    <a:pt x="2724" y="1046"/>
                  </a:cubicBezTo>
                  <a:moveTo>
                    <a:pt x="2767" y="1045"/>
                  </a:moveTo>
                  <a:cubicBezTo>
                    <a:pt x="2759" y="1045"/>
                    <a:pt x="2752" y="1050"/>
                    <a:pt x="2753" y="1056"/>
                  </a:cubicBezTo>
                  <a:cubicBezTo>
                    <a:pt x="2753" y="1061"/>
                    <a:pt x="2761" y="1066"/>
                    <a:pt x="2769" y="1066"/>
                  </a:cubicBezTo>
                  <a:cubicBezTo>
                    <a:pt x="2777" y="1066"/>
                    <a:pt x="2784" y="1061"/>
                    <a:pt x="2783" y="1056"/>
                  </a:cubicBezTo>
                  <a:cubicBezTo>
                    <a:pt x="2782" y="1050"/>
                    <a:pt x="2775" y="1045"/>
                    <a:pt x="2767" y="1045"/>
                  </a:cubicBezTo>
                  <a:cubicBezTo>
                    <a:pt x="2767" y="1045"/>
                    <a:pt x="2767" y="1045"/>
                    <a:pt x="2767" y="1045"/>
                  </a:cubicBezTo>
                  <a:moveTo>
                    <a:pt x="2808" y="1045"/>
                  </a:moveTo>
                  <a:cubicBezTo>
                    <a:pt x="2800" y="1045"/>
                    <a:pt x="2794" y="1050"/>
                    <a:pt x="2794" y="1056"/>
                  </a:cubicBezTo>
                  <a:cubicBezTo>
                    <a:pt x="2795" y="1061"/>
                    <a:pt x="2802" y="1066"/>
                    <a:pt x="2810" y="1066"/>
                  </a:cubicBezTo>
                  <a:cubicBezTo>
                    <a:pt x="2819" y="1066"/>
                    <a:pt x="2825" y="1061"/>
                    <a:pt x="2824" y="1055"/>
                  </a:cubicBezTo>
                  <a:cubicBezTo>
                    <a:pt x="2824" y="1050"/>
                    <a:pt x="2817" y="1045"/>
                    <a:pt x="2808" y="1045"/>
                  </a:cubicBezTo>
                  <a:cubicBezTo>
                    <a:pt x="2808" y="1045"/>
                    <a:pt x="2808" y="1045"/>
                    <a:pt x="2808" y="1045"/>
                  </a:cubicBezTo>
                  <a:moveTo>
                    <a:pt x="2853" y="1045"/>
                  </a:moveTo>
                  <a:cubicBezTo>
                    <a:pt x="2845" y="1045"/>
                    <a:pt x="2839" y="1050"/>
                    <a:pt x="2840" y="1055"/>
                  </a:cubicBezTo>
                  <a:cubicBezTo>
                    <a:pt x="2840" y="1061"/>
                    <a:pt x="2848" y="1066"/>
                    <a:pt x="2856" y="1066"/>
                  </a:cubicBezTo>
                  <a:cubicBezTo>
                    <a:pt x="2864" y="1066"/>
                    <a:pt x="2870" y="1061"/>
                    <a:pt x="2870" y="1055"/>
                  </a:cubicBezTo>
                  <a:cubicBezTo>
                    <a:pt x="2869" y="1050"/>
                    <a:pt x="2862" y="1045"/>
                    <a:pt x="2853" y="1045"/>
                  </a:cubicBezTo>
                  <a:cubicBezTo>
                    <a:pt x="2853" y="1045"/>
                    <a:pt x="2853" y="1045"/>
                    <a:pt x="2853" y="1045"/>
                  </a:cubicBezTo>
                  <a:moveTo>
                    <a:pt x="2897" y="1045"/>
                  </a:moveTo>
                  <a:cubicBezTo>
                    <a:pt x="2888" y="1045"/>
                    <a:pt x="2882" y="1050"/>
                    <a:pt x="2883" y="1055"/>
                  </a:cubicBezTo>
                  <a:cubicBezTo>
                    <a:pt x="2884" y="1061"/>
                    <a:pt x="2891" y="1065"/>
                    <a:pt x="2899" y="1065"/>
                  </a:cubicBezTo>
                  <a:cubicBezTo>
                    <a:pt x="2908" y="1065"/>
                    <a:pt x="2914" y="1061"/>
                    <a:pt x="2913" y="1055"/>
                  </a:cubicBezTo>
                  <a:cubicBezTo>
                    <a:pt x="2912" y="1050"/>
                    <a:pt x="2905" y="1045"/>
                    <a:pt x="2897" y="1045"/>
                  </a:cubicBezTo>
                  <a:cubicBezTo>
                    <a:pt x="2897" y="1045"/>
                    <a:pt x="2897" y="1045"/>
                    <a:pt x="2897" y="1045"/>
                  </a:cubicBezTo>
                  <a:moveTo>
                    <a:pt x="3924" y="1044"/>
                  </a:moveTo>
                  <a:cubicBezTo>
                    <a:pt x="3916" y="1044"/>
                    <a:pt x="3911" y="1049"/>
                    <a:pt x="3914" y="1054"/>
                  </a:cubicBezTo>
                  <a:cubicBezTo>
                    <a:pt x="3917" y="1060"/>
                    <a:pt x="3926" y="1065"/>
                    <a:pt x="3934" y="1065"/>
                  </a:cubicBezTo>
                  <a:cubicBezTo>
                    <a:pt x="3942" y="1065"/>
                    <a:pt x="3947" y="1060"/>
                    <a:pt x="3944" y="1054"/>
                  </a:cubicBezTo>
                  <a:cubicBezTo>
                    <a:pt x="3941" y="1049"/>
                    <a:pt x="3932" y="1044"/>
                    <a:pt x="3924" y="1044"/>
                  </a:cubicBezTo>
                  <a:cubicBezTo>
                    <a:pt x="3924" y="1044"/>
                    <a:pt x="3924" y="1044"/>
                    <a:pt x="3924" y="1044"/>
                  </a:cubicBezTo>
                  <a:moveTo>
                    <a:pt x="3970" y="1044"/>
                  </a:moveTo>
                  <a:cubicBezTo>
                    <a:pt x="3961" y="1044"/>
                    <a:pt x="3957" y="1049"/>
                    <a:pt x="3960" y="1054"/>
                  </a:cubicBezTo>
                  <a:cubicBezTo>
                    <a:pt x="3962" y="1060"/>
                    <a:pt x="3971" y="1065"/>
                    <a:pt x="3980" y="1064"/>
                  </a:cubicBezTo>
                  <a:cubicBezTo>
                    <a:pt x="3988" y="1064"/>
                    <a:pt x="3992" y="1060"/>
                    <a:pt x="3990" y="1054"/>
                  </a:cubicBezTo>
                  <a:cubicBezTo>
                    <a:pt x="3987" y="1048"/>
                    <a:pt x="3978" y="1044"/>
                    <a:pt x="3970" y="1044"/>
                  </a:cubicBezTo>
                  <a:cubicBezTo>
                    <a:pt x="3970" y="1044"/>
                    <a:pt x="3970" y="1044"/>
                    <a:pt x="3970" y="1044"/>
                  </a:cubicBezTo>
                  <a:moveTo>
                    <a:pt x="4266" y="1043"/>
                  </a:moveTo>
                  <a:cubicBezTo>
                    <a:pt x="4258" y="1043"/>
                    <a:pt x="4254" y="1047"/>
                    <a:pt x="4257" y="1053"/>
                  </a:cubicBezTo>
                  <a:cubicBezTo>
                    <a:pt x="4260" y="1059"/>
                    <a:pt x="4270" y="1063"/>
                    <a:pt x="4278" y="1063"/>
                  </a:cubicBezTo>
                  <a:cubicBezTo>
                    <a:pt x="4286" y="1063"/>
                    <a:pt x="4290" y="1059"/>
                    <a:pt x="4287" y="1053"/>
                  </a:cubicBezTo>
                  <a:cubicBezTo>
                    <a:pt x="4284" y="1047"/>
                    <a:pt x="4274" y="1043"/>
                    <a:pt x="4266" y="1043"/>
                  </a:cubicBezTo>
                  <a:cubicBezTo>
                    <a:pt x="4266" y="1043"/>
                    <a:pt x="4266" y="1043"/>
                    <a:pt x="4266" y="1043"/>
                  </a:cubicBezTo>
                  <a:moveTo>
                    <a:pt x="727" y="1023"/>
                  </a:moveTo>
                  <a:cubicBezTo>
                    <a:pt x="718" y="1023"/>
                    <a:pt x="709" y="1028"/>
                    <a:pt x="706" y="1034"/>
                  </a:cubicBezTo>
                  <a:cubicBezTo>
                    <a:pt x="703" y="1039"/>
                    <a:pt x="707" y="1044"/>
                    <a:pt x="715" y="1044"/>
                  </a:cubicBezTo>
                  <a:cubicBezTo>
                    <a:pt x="723" y="1044"/>
                    <a:pt x="732" y="1039"/>
                    <a:pt x="736" y="1033"/>
                  </a:cubicBezTo>
                  <a:cubicBezTo>
                    <a:pt x="739" y="1028"/>
                    <a:pt x="735" y="1023"/>
                    <a:pt x="727" y="1023"/>
                  </a:cubicBezTo>
                  <a:cubicBezTo>
                    <a:pt x="727" y="1023"/>
                    <a:pt x="727" y="1023"/>
                    <a:pt x="727" y="1023"/>
                  </a:cubicBezTo>
                  <a:moveTo>
                    <a:pt x="346" y="1023"/>
                  </a:moveTo>
                  <a:cubicBezTo>
                    <a:pt x="337" y="1023"/>
                    <a:pt x="328" y="1028"/>
                    <a:pt x="324" y="1033"/>
                  </a:cubicBezTo>
                  <a:cubicBezTo>
                    <a:pt x="320" y="1039"/>
                    <a:pt x="323" y="1044"/>
                    <a:pt x="331" y="1044"/>
                  </a:cubicBezTo>
                  <a:cubicBezTo>
                    <a:pt x="340" y="1044"/>
                    <a:pt x="349" y="1039"/>
                    <a:pt x="353" y="1033"/>
                  </a:cubicBezTo>
                  <a:cubicBezTo>
                    <a:pt x="357" y="1028"/>
                    <a:pt x="354" y="1023"/>
                    <a:pt x="346" y="1023"/>
                  </a:cubicBezTo>
                  <a:cubicBezTo>
                    <a:pt x="346" y="1023"/>
                    <a:pt x="346" y="1023"/>
                    <a:pt x="346" y="1023"/>
                  </a:cubicBezTo>
                  <a:moveTo>
                    <a:pt x="769" y="1023"/>
                  </a:moveTo>
                  <a:cubicBezTo>
                    <a:pt x="761" y="1023"/>
                    <a:pt x="751" y="1028"/>
                    <a:pt x="748" y="1033"/>
                  </a:cubicBezTo>
                  <a:cubicBezTo>
                    <a:pt x="745" y="1039"/>
                    <a:pt x="749" y="1044"/>
                    <a:pt x="757" y="1044"/>
                  </a:cubicBezTo>
                  <a:cubicBezTo>
                    <a:pt x="766" y="1044"/>
                    <a:pt x="775" y="1039"/>
                    <a:pt x="778" y="1033"/>
                  </a:cubicBezTo>
                  <a:cubicBezTo>
                    <a:pt x="781" y="1028"/>
                    <a:pt x="777" y="1023"/>
                    <a:pt x="769" y="1023"/>
                  </a:cubicBezTo>
                  <a:cubicBezTo>
                    <a:pt x="769" y="1023"/>
                    <a:pt x="769" y="1023"/>
                    <a:pt x="769" y="1023"/>
                  </a:cubicBezTo>
                  <a:moveTo>
                    <a:pt x="390" y="1023"/>
                  </a:moveTo>
                  <a:cubicBezTo>
                    <a:pt x="382" y="1023"/>
                    <a:pt x="372" y="1028"/>
                    <a:pt x="368" y="1033"/>
                  </a:cubicBezTo>
                  <a:cubicBezTo>
                    <a:pt x="364" y="1039"/>
                    <a:pt x="368" y="1043"/>
                    <a:pt x="376" y="1043"/>
                  </a:cubicBezTo>
                  <a:cubicBezTo>
                    <a:pt x="384" y="1043"/>
                    <a:pt x="394" y="1039"/>
                    <a:pt x="398" y="1033"/>
                  </a:cubicBezTo>
                  <a:cubicBezTo>
                    <a:pt x="402" y="1028"/>
                    <a:pt x="398" y="1023"/>
                    <a:pt x="390" y="1023"/>
                  </a:cubicBezTo>
                  <a:cubicBezTo>
                    <a:pt x="390" y="1023"/>
                    <a:pt x="390" y="1023"/>
                    <a:pt x="390" y="1023"/>
                  </a:cubicBezTo>
                  <a:moveTo>
                    <a:pt x="428" y="1023"/>
                  </a:moveTo>
                  <a:cubicBezTo>
                    <a:pt x="420" y="1023"/>
                    <a:pt x="410" y="1028"/>
                    <a:pt x="407" y="1033"/>
                  </a:cubicBezTo>
                  <a:cubicBezTo>
                    <a:pt x="403" y="1039"/>
                    <a:pt x="406" y="1043"/>
                    <a:pt x="415" y="1043"/>
                  </a:cubicBezTo>
                  <a:cubicBezTo>
                    <a:pt x="423" y="1043"/>
                    <a:pt x="433" y="1039"/>
                    <a:pt x="436" y="1033"/>
                  </a:cubicBezTo>
                  <a:cubicBezTo>
                    <a:pt x="440" y="1028"/>
                    <a:pt x="437" y="1023"/>
                    <a:pt x="428" y="1023"/>
                  </a:cubicBezTo>
                  <a:cubicBezTo>
                    <a:pt x="428" y="1023"/>
                    <a:pt x="428" y="1023"/>
                    <a:pt x="428" y="1023"/>
                  </a:cubicBezTo>
                  <a:moveTo>
                    <a:pt x="471" y="1023"/>
                  </a:moveTo>
                  <a:cubicBezTo>
                    <a:pt x="463" y="1023"/>
                    <a:pt x="453" y="1027"/>
                    <a:pt x="449" y="1033"/>
                  </a:cubicBezTo>
                  <a:cubicBezTo>
                    <a:pt x="445" y="1039"/>
                    <a:pt x="449" y="1043"/>
                    <a:pt x="457" y="1043"/>
                  </a:cubicBezTo>
                  <a:cubicBezTo>
                    <a:pt x="466" y="1043"/>
                    <a:pt x="475" y="1039"/>
                    <a:pt x="479" y="1033"/>
                  </a:cubicBezTo>
                  <a:cubicBezTo>
                    <a:pt x="483" y="1027"/>
                    <a:pt x="479" y="1023"/>
                    <a:pt x="471" y="1023"/>
                  </a:cubicBezTo>
                  <a:cubicBezTo>
                    <a:pt x="471" y="1023"/>
                    <a:pt x="471" y="1023"/>
                    <a:pt x="471" y="1023"/>
                  </a:cubicBezTo>
                  <a:moveTo>
                    <a:pt x="513" y="1023"/>
                  </a:moveTo>
                  <a:cubicBezTo>
                    <a:pt x="505" y="1023"/>
                    <a:pt x="495" y="1027"/>
                    <a:pt x="492" y="1033"/>
                  </a:cubicBezTo>
                  <a:cubicBezTo>
                    <a:pt x="488" y="1038"/>
                    <a:pt x="492" y="1043"/>
                    <a:pt x="500" y="1043"/>
                  </a:cubicBezTo>
                  <a:cubicBezTo>
                    <a:pt x="508" y="1043"/>
                    <a:pt x="518" y="1038"/>
                    <a:pt x="521" y="1033"/>
                  </a:cubicBezTo>
                  <a:cubicBezTo>
                    <a:pt x="525" y="1027"/>
                    <a:pt x="521" y="1023"/>
                    <a:pt x="513" y="1023"/>
                  </a:cubicBezTo>
                  <a:cubicBezTo>
                    <a:pt x="513" y="1023"/>
                    <a:pt x="513" y="1023"/>
                    <a:pt x="513" y="1023"/>
                  </a:cubicBezTo>
                  <a:moveTo>
                    <a:pt x="556" y="1023"/>
                  </a:moveTo>
                  <a:cubicBezTo>
                    <a:pt x="548" y="1023"/>
                    <a:pt x="538" y="1027"/>
                    <a:pt x="534" y="1033"/>
                  </a:cubicBezTo>
                  <a:cubicBezTo>
                    <a:pt x="531" y="1038"/>
                    <a:pt x="535" y="1043"/>
                    <a:pt x="543" y="1043"/>
                  </a:cubicBezTo>
                  <a:cubicBezTo>
                    <a:pt x="551" y="1043"/>
                    <a:pt x="561" y="1038"/>
                    <a:pt x="564" y="1033"/>
                  </a:cubicBezTo>
                  <a:cubicBezTo>
                    <a:pt x="568" y="1027"/>
                    <a:pt x="564" y="1023"/>
                    <a:pt x="556" y="1023"/>
                  </a:cubicBezTo>
                  <a:cubicBezTo>
                    <a:pt x="556" y="1023"/>
                    <a:pt x="556" y="1023"/>
                    <a:pt x="556" y="1023"/>
                  </a:cubicBezTo>
                  <a:moveTo>
                    <a:pt x="600" y="1022"/>
                  </a:moveTo>
                  <a:cubicBezTo>
                    <a:pt x="591" y="1022"/>
                    <a:pt x="582" y="1027"/>
                    <a:pt x="578" y="1033"/>
                  </a:cubicBezTo>
                  <a:cubicBezTo>
                    <a:pt x="575" y="1038"/>
                    <a:pt x="579" y="1043"/>
                    <a:pt x="587" y="1043"/>
                  </a:cubicBezTo>
                  <a:cubicBezTo>
                    <a:pt x="595" y="1043"/>
                    <a:pt x="605" y="1038"/>
                    <a:pt x="608" y="1033"/>
                  </a:cubicBezTo>
                  <a:cubicBezTo>
                    <a:pt x="612" y="1027"/>
                    <a:pt x="608" y="1022"/>
                    <a:pt x="600" y="1022"/>
                  </a:cubicBezTo>
                  <a:cubicBezTo>
                    <a:pt x="600" y="1022"/>
                    <a:pt x="600" y="1022"/>
                    <a:pt x="600" y="1022"/>
                  </a:cubicBezTo>
                  <a:moveTo>
                    <a:pt x="642" y="1022"/>
                  </a:moveTo>
                  <a:cubicBezTo>
                    <a:pt x="634" y="1022"/>
                    <a:pt x="624" y="1027"/>
                    <a:pt x="621" y="1032"/>
                  </a:cubicBezTo>
                  <a:cubicBezTo>
                    <a:pt x="617" y="1038"/>
                    <a:pt x="621" y="1043"/>
                    <a:pt x="630" y="1043"/>
                  </a:cubicBezTo>
                  <a:cubicBezTo>
                    <a:pt x="638" y="1043"/>
                    <a:pt x="647" y="1038"/>
                    <a:pt x="651" y="1032"/>
                  </a:cubicBezTo>
                  <a:cubicBezTo>
                    <a:pt x="654" y="1027"/>
                    <a:pt x="650" y="1022"/>
                    <a:pt x="642" y="1022"/>
                  </a:cubicBezTo>
                  <a:cubicBezTo>
                    <a:pt x="642" y="1022"/>
                    <a:pt x="642" y="1022"/>
                    <a:pt x="642" y="1022"/>
                  </a:cubicBezTo>
                  <a:moveTo>
                    <a:pt x="684" y="1022"/>
                  </a:moveTo>
                  <a:cubicBezTo>
                    <a:pt x="676" y="1022"/>
                    <a:pt x="667" y="1027"/>
                    <a:pt x="664" y="1032"/>
                  </a:cubicBezTo>
                  <a:cubicBezTo>
                    <a:pt x="660" y="1038"/>
                    <a:pt x="664" y="1042"/>
                    <a:pt x="672" y="1042"/>
                  </a:cubicBezTo>
                  <a:cubicBezTo>
                    <a:pt x="681" y="1042"/>
                    <a:pt x="690" y="1038"/>
                    <a:pt x="693" y="1032"/>
                  </a:cubicBezTo>
                  <a:cubicBezTo>
                    <a:pt x="697" y="1027"/>
                    <a:pt x="693" y="1022"/>
                    <a:pt x="685" y="1022"/>
                  </a:cubicBezTo>
                  <a:cubicBezTo>
                    <a:pt x="685" y="1022"/>
                    <a:pt x="684" y="1022"/>
                    <a:pt x="684" y="1022"/>
                  </a:cubicBezTo>
                  <a:moveTo>
                    <a:pt x="1702" y="1020"/>
                  </a:moveTo>
                  <a:cubicBezTo>
                    <a:pt x="1694" y="1020"/>
                    <a:pt x="1686" y="1024"/>
                    <a:pt x="1685" y="1030"/>
                  </a:cubicBezTo>
                  <a:cubicBezTo>
                    <a:pt x="1683" y="1035"/>
                    <a:pt x="1689" y="1040"/>
                    <a:pt x="1697" y="1040"/>
                  </a:cubicBezTo>
                  <a:cubicBezTo>
                    <a:pt x="1705" y="1040"/>
                    <a:pt x="1713" y="1035"/>
                    <a:pt x="1714" y="1030"/>
                  </a:cubicBezTo>
                  <a:cubicBezTo>
                    <a:pt x="1716" y="1024"/>
                    <a:pt x="1710" y="1020"/>
                    <a:pt x="1702" y="1020"/>
                  </a:cubicBezTo>
                  <a:cubicBezTo>
                    <a:pt x="1702" y="1020"/>
                    <a:pt x="1702" y="1020"/>
                    <a:pt x="1702" y="1020"/>
                  </a:cubicBezTo>
                  <a:moveTo>
                    <a:pt x="1744" y="1019"/>
                  </a:moveTo>
                  <a:cubicBezTo>
                    <a:pt x="1736" y="1019"/>
                    <a:pt x="1728" y="1024"/>
                    <a:pt x="1727" y="1030"/>
                  </a:cubicBezTo>
                  <a:cubicBezTo>
                    <a:pt x="1726" y="1035"/>
                    <a:pt x="1731" y="1040"/>
                    <a:pt x="1739" y="1040"/>
                  </a:cubicBezTo>
                  <a:cubicBezTo>
                    <a:pt x="1748" y="1040"/>
                    <a:pt x="1755" y="1035"/>
                    <a:pt x="1757" y="1030"/>
                  </a:cubicBezTo>
                  <a:cubicBezTo>
                    <a:pt x="1758" y="1024"/>
                    <a:pt x="1753" y="1019"/>
                    <a:pt x="1744" y="1019"/>
                  </a:cubicBezTo>
                  <a:cubicBezTo>
                    <a:pt x="1744" y="1019"/>
                    <a:pt x="1744" y="1019"/>
                    <a:pt x="1744" y="1019"/>
                  </a:cubicBezTo>
                  <a:moveTo>
                    <a:pt x="1787" y="1019"/>
                  </a:moveTo>
                  <a:cubicBezTo>
                    <a:pt x="1779" y="1019"/>
                    <a:pt x="1771" y="1024"/>
                    <a:pt x="1770" y="1030"/>
                  </a:cubicBezTo>
                  <a:cubicBezTo>
                    <a:pt x="1768" y="1035"/>
                    <a:pt x="1774" y="1040"/>
                    <a:pt x="1782" y="1040"/>
                  </a:cubicBezTo>
                  <a:cubicBezTo>
                    <a:pt x="1791" y="1040"/>
                    <a:pt x="1798" y="1035"/>
                    <a:pt x="1800" y="1029"/>
                  </a:cubicBezTo>
                  <a:cubicBezTo>
                    <a:pt x="1801" y="1024"/>
                    <a:pt x="1795" y="1019"/>
                    <a:pt x="1787" y="1019"/>
                  </a:cubicBezTo>
                  <a:cubicBezTo>
                    <a:pt x="1787" y="1019"/>
                    <a:pt x="1787" y="1019"/>
                    <a:pt x="1787" y="1019"/>
                  </a:cubicBezTo>
                  <a:moveTo>
                    <a:pt x="1830" y="1019"/>
                  </a:moveTo>
                  <a:cubicBezTo>
                    <a:pt x="1822" y="1019"/>
                    <a:pt x="1814" y="1024"/>
                    <a:pt x="1813" y="1029"/>
                  </a:cubicBezTo>
                  <a:cubicBezTo>
                    <a:pt x="1812" y="1035"/>
                    <a:pt x="1817" y="1040"/>
                    <a:pt x="1826" y="1040"/>
                  </a:cubicBezTo>
                  <a:cubicBezTo>
                    <a:pt x="1834" y="1040"/>
                    <a:pt x="1841" y="1035"/>
                    <a:pt x="1843" y="1029"/>
                  </a:cubicBezTo>
                  <a:cubicBezTo>
                    <a:pt x="1844" y="1024"/>
                    <a:pt x="1838" y="1019"/>
                    <a:pt x="1830" y="1019"/>
                  </a:cubicBezTo>
                  <a:cubicBezTo>
                    <a:pt x="1830" y="1019"/>
                    <a:pt x="1830" y="1019"/>
                    <a:pt x="1830" y="1019"/>
                  </a:cubicBezTo>
                  <a:moveTo>
                    <a:pt x="1872" y="1019"/>
                  </a:moveTo>
                  <a:cubicBezTo>
                    <a:pt x="1864" y="1019"/>
                    <a:pt x="1856" y="1024"/>
                    <a:pt x="1855" y="1029"/>
                  </a:cubicBezTo>
                  <a:cubicBezTo>
                    <a:pt x="1854" y="1035"/>
                    <a:pt x="1860" y="1039"/>
                    <a:pt x="1868" y="1039"/>
                  </a:cubicBezTo>
                  <a:cubicBezTo>
                    <a:pt x="1876" y="1039"/>
                    <a:pt x="1884" y="1035"/>
                    <a:pt x="1885" y="1029"/>
                  </a:cubicBezTo>
                  <a:cubicBezTo>
                    <a:pt x="1886" y="1024"/>
                    <a:pt x="1880" y="1019"/>
                    <a:pt x="1872" y="1019"/>
                  </a:cubicBezTo>
                  <a:cubicBezTo>
                    <a:pt x="1872" y="1019"/>
                    <a:pt x="1872" y="1019"/>
                    <a:pt x="1872" y="1019"/>
                  </a:cubicBezTo>
                  <a:moveTo>
                    <a:pt x="1915" y="1019"/>
                  </a:moveTo>
                  <a:cubicBezTo>
                    <a:pt x="1906" y="1019"/>
                    <a:pt x="1899" y="1023"/>
                    <a:pt x="1898" y="1029"/>
                  </a:cubicBezTo>
                  <a:cubicBezTo>
                    <a:pt x="1897" y="1035"/>
                    <a:pt x="1902" y="1039"/>
                    <a:pt x="1911" y="1039"/>
                  </a:cubicBezTo>
                  <a:cubicBezTo>
                    <a:pt x="1919" y="1039"/>
                    <a:pt x="1927" y="1035"/>
                    <a:pt x="1928" y="1029"/>
                  </a:cubicBezTo>
                  <a:cubicBezTo>
                    <a:pt x="1929" y="1023"/>
                    <a:pt x="1923" y="1019"/>
                    <a:pt x="1915" y="1019"/>
                  </a:cubicBezTo>
                  <a:cubicBezTo>
                    <a:pt x="1915" y="1019"/>
                    <a:pt x="1915" y="1019"/>
                    <a:pt x="1915" y="1019"/>
                  </a:cubicBezTo>
                  <a:moveTo>
                    <a:pt x="1957" y="1019"/>
                  </a:moveTo>
                  <a:cubicBezTo>
                    <a:pt x="1949" y="1019"/>
                    <a:pt x="1941" y="1023"/>
                    <a:pt x="1940" y="1029"/>
                  </a:cubicBezTo>
                  <a:cubicBezTo>
                    <a:pt x="1939" y="1035"/>
                    <a:pt x="1945" y="1039"/>
                    <a:pt x="1953" y="1039"/>
                  </a:cubicBezTo>
                  <a:cubicBezTo>
                    <a:pt x="1962" y="1039"/>
                    <a:pt x="1969" y="1034"/>
                    <a:pt x="1970" y="1029"/>
                  </a:cubicBezTo>
                  <a:cubicBezTo>
                    <a:pt x="1971" y="1023"/>
                    <a:pt x="1965" y="1019"/>
                    <a:pt x="1957" y="1019"/>
                  </a:cubicBezTo>
                  <a:cubicBezTo>
                    <a:pt x="1957" y="1019"/>
                    <a:pt x="1957" y="1019"/>
                    <a:pt x="1957" y="1019"/>
                  </a:cubicBezTo>
                  <a:moveTo>
                    <a:pt x="1999" y="1019"/>
                  </a:moveTo>
                  <a:cubicBezTo>
                    <a:pt x="1991" y="1019"/>
                    <a:pt x="1984" y="1023"/>
                    <a:pt x="1983" y="1029"/>
                  </a:cubicBezTo>
                  <a:cubicBezTo>
                    <a:pt x="1982" y="1034"/>
                    <a:pt x="1988" y="1039"/>
                    <a:pt x="1996" y="1039"/>
                  </a:cubicBezTo>
                  <a:cubicBezTo>
                    <a:pt x="2004" y="1039"/>
                    <a:pt x="2012" y="1034"/>
                    <a:pt x="2013" y="1029"/>
                  </a:cubicBezTo>
                  <a:cubicBezTo>
                    <a:pt x="2013" y="1023"/>
                    <a:pt x="2008" y="1019"/>
                    <a:pt x="1999" y="1019"/>
                  </a:cubicBezTo>
                  <a:cubicBezTo>
                    <a:pt x="1999" y="1019"/>
                    <a:pt x="1999" y="1019"/>
                    <a:pt x="1999" y="1019"/>
                  </a:cubicBezTo>
                  <a:moveTo>
                    <a:pt x="2043" y="1018"/>
                  </a:moveTo>
                  <a:cubicBezTo>
                    <a:pt x="2035" y="1018"/>
                    <a:pt x="2028" y="1023"/>
                    <a:pt x="2027" y="1029"/>
                  </a:cubicBezTo>
                  <a:cubicBezTo>
                    <a:pt x="2026" y="1034"/>
                    <a:pt x="2032" y="1039"/>
                    <a:pt x="2040" y="1039"/>
                  </a:cubicBezTo>
                  <a:cubicBezTo>
                    <a:pt x="2048" y="1039"/>
                    <a:pt x="2056" y="1034"/>
                    <a:pt x="2057" y="1029"/>
                  </a:cubicBezTo>
                  <a:cubicBezTo>
                    <a:pt x="2057" y="1023"/>
                    <a:pt x="2051" y="1018"/>
                    <a:pt x="2043" y="1018"/>
                  </a:cubicBezTo>
                  <a:cubicBezTo>
                    <a:pt x="2043" y="1018"/>
                    <a:pt x="2043" y="1018"/>
                    <a:pt x="2043" y="1018"/>
                  </a:cubicBezTo>
                  <a:moveTo>
                    <a:pt x="2085" y="1018"/>
                  </a:moveTo>
                  <a:cubicBezTo>
                    <a:pt x="2077" y="1018"/>
                    <a:pt x="2070" y="1023"/>
                    <a:pt x="2069" y="1029"/>
                  </a:cubicBezTo>
                  <a:cubicBezTo>
                    <a:pt x="2068" y="1034"/>
                    <a:pt x="2074" y="1039"/>
                    <a:pt x="2083" y="1039"/>
                  </a:cubicBezTo>
                  <a:cubicBezTo>
                    <a:pt x="2091" y="1039"/>
                    <a:pt x="2098" y="1034"/>
                    <a:pt x="2099" y="1028"/>
                  </a:cubicBezTo>
                  <a:cubicBezTo>
                    <a:pt x="2100" y="1023"/>
                    <a:pt x="2094" y="1018"/>
                    <a:pt x="2085" y="1018"/>
                  </a:cubicBezTo>
                  <a:cubicBezTo>
                    <a:pt x="2085" y="1018"/>
                    <a:pt x="2085" y="1018"/>
                    <a:pt x="2085" y="1018"/>
                  </a:cubicBezTo>
                  <a:moveTo>
                    <a:pt x="2128" y="1018"/>
                  </a:moveTo>
                  <a:cubicBezTo>
                    <a:pt x="2120" y="1018"/>
                    <a:pt x="2112" y="1023"/>
                    <a:pt x="2112" y="1028"/>
                  </a:cubicBezTo>
                  <a:cubicBezTo>
                    <a:pt x="2111" y="1034"/>
                    <a:pt x="2117" y="1039"/>
                    <a:pt x="2126" y="1039"/>
                  </a:cubicBezTo>
                  <a:cubicBezTo>
                    <a:pt x="2134" y="1038"/>
                    <a:pt x="2141" y="1034"/>
                    <a:pt x="2142" y="1028"/>
                  </a:cubicBezTo>
                  <a:cubicBezTo>
                    <a:pt x="2142" y="1023"/>
                    <a:pt x="2136" y="1018"/>
                    <a:pt x="2128" y="1018"/>
                  </a:cubicBezTo>
                  <a:cubicBezTo>
                    <a:pt x="2128" y="1018"/>
                    <a:pt x="2128" y="1018"/>
                    <a:pt x="2128" y="1018"/>
                  </a:cubicBezTo>
                  <a:moveTo>
                    <a:pt x="2171" y="1018"/>
                  </a:moveTo>
                  <a:cubicBezTo>
                    <a:pt x="2163" y="1018"/>
                    <a:pt x="2155" y="1023"/>
                    <a:pt x="2155" y="1028"/>
                  </a:cubicBezTo>
                  <a:cubicBezTo>
                    <a:pt x="2154" y="1034"/>
                    <a:pt x="2161" y="1038"/>
                    <a:pt x="2169" y="1038"/>
                  </a:cubicBezTo>
                  <a:cubicBezTo>
                    <a:pt x="2177" y="1038"/>
                    <a:pt x="2184" y="1034"/>
                    <a:pt x="2185" y="1028"/>
                  </a:cubicBezTo>
                  <a:cubicBezTo>
                    <a:pt x="2185" y="1022"/>
                    <a:pt x="2179" y="1018"/>
                    <a:pt x="2171" y="1018"/>
                  </a:cubicBezTo>
                  <a:cubicBezTo>
                    <a:pt x="2171" y="1018"/>
                    <a:pt x="2171" y="1018"/>
                    <a:pt x="2171" y="1018"/>
                  </a:cubicBezTo>
                  <a:moveTo>
                    <a:pt x="2213" y="1018"/>
                  </a:moveTo>
                  <a:cubicBezTo>
                    <a:pt x="2205" y="1018"/>
                    <a:pt x="2198" y="1022"/>
                    <a:pt x="2197" y="1028"/>
                  </a:cubicBezTo>
                  <a:cubicBezTo>
                    <a:pt x="2197" y="1034"/>
                    <a:pt x="2203" y="1038"/>
                    <a:pt x="2211" y="1038"/>
                  </a:cubicBezTo>
                  <a:cubicBezTo>
                    <a:pt x="2220" y="1038"/>
                    <a:pt x="2227" y="1034"/>
                    <a:pt x="2227" y="1028"/>
                  </a:cubicBezTo>
                  <a:cubicBezTo>
                    <a:pt x="2228" y="1022"/>
                    <a:pt x="2221" y="1018"/>
                    <a:pt x="2213" y="1018"/>
                  </a:cubicBezTo>
                  <a:cubicBezTo>
                    <a:pt x="2213" y="1018"/>
                    <a:pt x="2213" y="1018"/>
                    <a:pt x="2213" y="1018"/>
                  </a:cubicBezTo>
                  <a:moveTo>
                    <a:pt x="2255" y="1018"/>
                  </a:moveTo>
                  <a:cubicBezTo>
                    <a:pt x="2247" y="1018"/>
                    <a:pt x="2240" y="1022"/>
                    <a:pt x="2240" y="1028"/>
                  </a:cubicBezTo>
                  <a:cubicBezTo>
                    <a:pt x="2239" y="1034"/>
                    <a:pt x="2246" y="1038"/>
                    <a:pt x="2254" y="1038"/>
                  </a:cubicBezTo>
                  <a:cubicBezTo>
                    <a:pt x="2262" y="1038"/>
                    <a:pt x="2269" y="1033"/>
                    <a:pt x="2270" y="1028"/>
                  </a:cubicBezTo>
                  <a:cubicBezTo>
                    <a:pt x="2270" y="1022"/>
                    <a:pt x="2264" y="1018"/>
                    <a:pt x="2256" y="1018"/>
                  </a:cubicBezTo>
                  <a:cubicBezTo>
                    <a:pt x="2256" y="1018"/>
                    <a:pt x="2255" y="1018"/>
                    <a:pt x="2255" y="1018"/>
                  </a:cubicBezTo>
                  <a:moveTo>
                    <a:pt x="2298" y="1017"/>
                  </a:moveTo>
                  <a:cubicBezTo>
                    <a:pt x="2289" y="1018"/>
                    <a:pt x="2283" y="1022"/>
                    <a:pt x="2282" y="1028"/>
                  </a:cubicBezTo>
                  <a:cubicBezTo>
                    <a:pt x="2282" y="1033"/>
                    <a:pt x="2288" y="1038"/>
                    <a:pt x="2296" y="1038"/>
                  </a:cubicBezTo>
                  <a:cubicBezTo>
                    <a:pt x="2305" y="1038"/>
                    <a:pt x="2312" y="1033"/>
                    <a:pt x="2312" y="1028"/>
                  </a:cubicBezTo>
                  <a:cubicBezTo>
                    <a:pt x="2312" y="1022"/>
                    <a:pt x="2306" y="1017"/>
                    <a:pt x="2298" y="1017"/>
                  </a:cubicBezTo>
                  <a:cubicBezTo>
                    <a:pt x="2298" y="1017"/>
                    <a:pt x="2298" y="1017"/>
                    <a:pt x="2298" y="1017"/>
                  </a:cubicBezTo>
                  <a:moveTo>
                    <a:pt x="2340" y="1017"/>
                  </a:moveTo>
                  <a:cubicBezTo>
                    <a:pt x="2332" y="1017"/>
                    <a:pt x="2325" y="1022"/>
                    <a:pt x="2325" y="1028"/>
                  </a:cubicBezTo>
                  <a:cubicBezTo>
                    <a:pt x="2325" y="1033"/>
                    <a:pt x="2331" y="1038"/>
                    <a:pt x="2339" y="1038"/>
                  </a:cubicBezTo>
                  <a:cubicBezTo>
                    <a:pt x="2348" y="1038"/>
                    <a:pt x="2354" y="1033"/>
                    <a:pt x="2355" y="1028"/>
                  </a:cubicBezTo>
                  <a:cubicBezTo>
                    <a:pt x="2355" y="1022"/>
                    <a:pt x="2348" y="1017"/>
                    <a:pt x="2340" y="1017"/>
                  </a:cubicBezTo>
                  <a:cubicBezTo>
                    <a:pt x="2340" y="1017"/>
                    <a:pt x="2340" y="1017"/>
                    <a:pt x="2340" y="1017"/>
                  </a:cubicBezTo>
                  <a:moveTo>
                    <a:pt x="2383" y="1017"/>
                  </a:moveTo>
                  <a:cubicBezTo>
                    <a:pt x="2375" y="1017"/>
                    <a:pt x="2368" y="1022"/>
                    <a:pt x="2368" y="1027"/>
                  </a:cubicBezTo>
                  <a:cubicBezTo>
                    <a:pt x="2368" y="1033"/>
                    <a:pt x="2374" y="1038"/>
                    <a:pt x="2383" y="1038"/>
                  </a:cubicBezTo>
                  <a:cubicBezTo>
                    <a:pt x="2391" y="1038"/>
                    <a:pt x="2398" y="1033"/>
                    <a:pt x="2398" y="1027"/>
                  </a:cubicBezTo>
                  <a:cubicBezTo>
                    <a:pt x="2398" y="1022"/>
                    <a:pt x="2391" y="1017"/>
                    <a:pt x="2383" y="1017"/>
                  </a:cubicBezTo>
                  <a:cubicBezTo>
                    <a:pt x="2383" y="1017"/>
                    <a:pt x="2383" y="1017"/>
                    <a:pt x="2383" y="1017"/>
                  </a:cubicBezTo>
                  <a:moveTo>
                    <a:pt x="2425" y="1017"/>
                  </a:moveTo>
                  <a:cubicBezTo>
                    <a:pt x="2417" y="1017"/>
                    <a:pt x="2410" y="1022"/>
                    <a:pt x="2410" y="1027"/>
                  </a:cubicBezTo>
                  <a:cubicBezTo>
                    <a:pt x="2410" y="1033"/>
                    <a:pt x="2417" y="1038"/>
                    <a:pt x="2425" y="1037"/>
                  </a:cubicBezTo>
                  <a:cubicBezTo>
                    <a:pt x="2433" y="1037"/>
                    <a:pt x="2440" y="1033"/>
                    <a:pt x="2440" y="1027"/>
                  </a:cubicBezTo>
                  <a:cubicBezTo>
                    <a:pt x="2440" y="1022"/>
                    <a:pt x="2434" y="1017"/>
                    <a:pt x="2425" y="1017"/>
                  </a:cubicBezTo>
                  <a:cubicBezTo>
                    <a:pt x="2425" y="1017"/>
                    <a:pt x="2425" y="1017"/>
                    <a:pt x="2425" y="1017"/>
                  </a:cubicBezTo>
                  <a:moveTo>
                    <a:pt x="2468" y="1017"/>
                  </a:moveTo>
                  <a:cubicBezTo>
                    <a:pt x="2460" y="1017"/>
                    <a:pt x="2453" y="1022"/>
                    <a:pt x="2453" y="1027"/>
                  </a:cubicBezTo>
                  <a:cubicBezTo>
                    <a:pt x="2453" y="1033"/>
                    <a:pt x="2459" y="1037"/>
                    <a:pt x="2468" y="1037"/>
                  </a:cubicBezTo>
                  <a:cubicBezTo>
                    <a:pt x="2476" y="1037"/>
                    <a:pt x="2483" y="1033"/>
                    <a:pt x="2483" y="1027"/>
                  </a:cubicBezTo>
                  <a:cubicBezTo>
                    <a:pt x="2483" y="1021"/>
                    <a:pt x="2476" y="1017"/>
                    <a:pt x="2468" y="1017"/>
                  </a:cubicBezTo>
                  <a:cubicBezTo>
                    <a:pt x="2468" y="1017"/>
                    <a:pt x="2468" y="1017"/>
                    <a:pt x="2468" y="1017"/>
                  </a:cubicBezTo>
                  <a:moveTo>
                    <a:pt x="2510" y="1017"/>
                  </a:moveTo>
                  <a:cubicBezTo>
                    <a:pt x="2502" y="1017"/>
                    <a:pt x="2495" y="1021"/>
                    <a:pt x="2495" y="1027"/>
                  </a:cubicBezTo>
                  <a:cubicBezTo>
                    <a:pt x="2495" y="1033"/>
                    <a:pt x="2502" y="1037"/>
                    <a:pt x="2510" y="1037"/>
                  </a:cubicBezTo>
                  <a:cubicBezTo>
                    <a:pt x="2518" y="1037"/>
                    <a:pt x="2525" y="1033"/>
                    <a:pt x="2525" y="1027"/>
                  </a:cubicBezTo>
                  <a:cubicBezTo>
                    <a:pt x="2525" y="1021"/>
                    <a:pt x="2518" y="1017"/>
                    <a:pt x="2510" y="1017"/>
                  </a:cubicBezTo>
                  <a:cubicBezTo>
                    <a:pt x="2510" y="1017"/>
                    <a:pt x="2510" y="1017"/>
                    <a:pt x="2510" y="1017"/>
                  </a:cubicBezTo>
                  <a:moveTo>
                    <a:pt x="2552" y="1017"/>
                  </a:moveTo>
                  <a:cubicBezTo>
                    <a:pt x="2544" y="1017"/>
                    <a:pt x="2538" y="1021"/>
                    <a:pt x="2538" y="1027"/>
                  </a:cubicBezTo>
                  <a:cubicBezTo>
                    <a:pt x="2538" y="1033"/>
                    <a:pt x="2545" y="1037"/>
                    <a:pt x="2553" y="1037"/>
                  </a:cubicBezTo>
                  <a:cubicBezTo>
                    <a:pt x="2561" y="1037"/>
                    <a:pt x="2568" y="1032"/>
                    <a:pt x="2568" y="1027"/>
                  </a:cubicBezTo>
                  <a:cubicBezTo>
                    <a:pt x="2567" y="1021"/>
                    <a:pt x="2561" y="1017"/>
                    <a:pt x="2553" y="1017"/>
                  </a:cubicBezTo>
                  <a:cubicBezTo>
                    <a:pt x="2553" y="1017"/>
                    <a:pt x="2552" y="1017"/>
                    <a:pt x="2552" y="1017"/>
                  </a:cubicBezTo>
                  <a:moveTo>
                    <a:pt x="2595" y="1016"/>
                  </a:moveTo>
                  <a:cubicBezTo>
                    <a:pt x="2587" y="1016"/>
                    <a:pt x="2581" y="1021"/>
                    <a:pt x="2581" y="1027"/>
                  </a:cubicBezTo>
                  <a:cubicBezTo>
                    <a:pt x="2581" y="1032"/>
                    <a:pt x="2588" y="1037"/>
                    <a:pt x="2596" y="1037"/>
                  </a:cubicBezTo>
                  <a:cubicBezTo>
                    <a:pt x="2604" y="1037"/>
                    <a:pt x="2611" y="1032"/>
                    <a:pt x="2611" y="1027"/>
                  </a:cubicBezTo>
                  <a:cubicBezTo>
                    <a:pt x="2610" y="1021"/>
                    <a:pt x="2604" y="1016"/>
                    <a:pt x="2595" y="1016"/>
                  </a:cubicBezTo>
                  <a:cubicBezTo>
                    <a:pt x="2595" y="1016"/>
                    <a:pt x="2595" y="1016"/>
                    <a:pt x="2595" y="1016"/>
                  </a:cubicBezTo>
                  <a:moveTo>
                    <a:pt x="2638" y="1016"/>
                  </a:moveTo>
                  <a:cubicBezTo>
                    <a:pt x="2629" y="1016"/>
                    <a:pt x="2623" y="1021"/>
                    <a:pt x="2623" y="1027"/>
                  </a:cubicBezTo>
                  <a:cubicBezTo>
                    <a:pt x="2623" y="1032"/>
                    <a:pt x="2630" y="1037"/>
                    <a:pt x="2639" y="1037"/>
                  </a:cubicBezTo>
                  <a:cubicBezTo>
                    <a:pt x="2647" y="1037"/>
                    <a:pt x="2653" y="1032"/>
                    <a:pt x="2653" y="1026"/>
                  </a:cubicBezTo>
                  <a:cubicBezTo>
                    <a:pt x="2653" y="1021"/>
                    <a:pt x="2646" y="1016"/>
                    <a:pt x="2638" y="1016"/>
                  </a:cubicBezTo>
                  <a:cubicBezTo>
                    <a:pt x="2638" y="1016"/>
                    <a:pt x="2638" y="1016"/>
                    <a:pt x="2638" y="1016"/>
                  </a:cubicBezTo>
                  <a:moveTo>
                    <a:pt x="2680" y="1016"/>
                  </a:moveTo>
                  <a:cubicBezTo>
                    <a:pt x="2672" y="1016"/>
                    <a:pt x="2666" y="1021"/>
                    <a:pt x="2666" y="1026"/>
                  </a:cubicBezTo>
                  <a:cubicBezTo>
                    <a:pt x="2667" y="1032"/>
                    <a:pt x="2674" y="1037"/>
                    <a:pt x="2682" y="1037"/>
                  </a:cubicBezTo>
                  <a:cubicBezTo>
                    <a:pt x="2690" y="1037"/>
                    <a:pt x="2696" y="1032"/>
                    <a:pt x="2696" y="1026"/>
                  </a:cubicBezTo>
                  <a:cubicBezTo>
                    <a:pt x="2696" y="1021"/>
                    <a:pt x="2689" y="1016"/>
                    <a:pt x="2680" y="1016"/>
                  </a:cubicBezTo>
                  <a:cubicBezTo>
                    <a:pt x="2680" y="1016"/>
                    <a:pt x="2680" y="1016"/>
                    <a:pt x="2680" y="1016"/>
                  </a:cubicBezTo>
                  <a:moveTo>
                    <a:pt x="2721" y="1016"/>
                  </a:moveTo>
                  <a:cubicBezTo>
                    <a:pt x="2713" y="1016"/>
                    <a:pt x="2707" y="1021"/>
                    <a:pt x="2707" y="1026"/>
                  </a:cubicBezTo>
                  <a:cubicBezTo>
                    <a:pt x="2708" y="1032"/>
                    <a:pt x="2715" y="1036"/>
                    <a:pt x="2723" y="1036"/>
                  </a:cubicBezTo>
                  <a:cubicBezTo>
                    <a:pt x="2731" y="1036"/>
                    <a:pt x="2737" y="1032"/>
                    <a:pt x="2737" y="1026"/>
                  </a:cubicBezTo>
                  <a:cubicBezTo>
                    <a:pt x="2737" y="1021"/>
                    <a:pt x="2730" y="1016"/>
                    <a:pt x="2721" y="1016"/>
                  </a:cubicBezTo>
                  <a:cubicBezTo>
                    <a:pt x="2721" y="1016"/>
                    <a:pt x="2721" y="1016"/>
                    <a:pt x="2721" y="1016"/>
                  </a:cubicBezTo>
                  <a:moveTo>
                    <a:pt x="2764" y="1016"/>
                  </a:moveTo>
                  <a:cubicBezTo>
                    <a:pt x="2756" y="1016"/>
                    <a:pt x="2750" y="1020"/>
                    <a:pt x="2750" y="1026"/>
                  </a:cubicBezTo>
                  <a:cubicBezTo>
                    <a:pt x="2751" y="1032"/>
                    <a:pt x="2758" y="1036"/>
                    <a:pt x="2766" y="1036"/>
                  </a:cubicBezTo>
                  <a:cubicBezTo>
                    <a:pt x="2774" y="1036"/>
                    <a:pt x="2781" y="1032"/>
                    <a:pt x="2780" y="1026"/>
                  </a:cubicBezTo>
                  <a:cubicBezTo>
                    <a:pt x="2779" y="1020"/>
                    <a:pt x="2772" y="1016"/>
                    <a:pt x="2764" y="1016"/>
                  </a:cubicBezTo>
                  <a:cubicBezTo>
                    <a:pt x="2764" y="1016"/>
                    <a:pt x="2764" y="1016"/>
                    <a:pt x="2764" y="1016"/>
                  </a:cubicBezTo>
                  <a:moveTo>
                    <a:pt x="2805" y="1016"/>
                  </a:moveTo>
                  <a:cubicBezTo>
                    <a:pt x="2797" y="1016"/>
                    <a:pt x="2791" y="1020"/>
                    <a:pt x="2791" y="1026"/>
                  </a:cubicBezTo>
                  <a:cubicBezTo>
                    <a:pt x="2792" y="1032"/>
                    <a:pt x="2799" y="1036"/>
                    <a:pt x="2807" y="1036"/>
                  </a:cubicBezTo>
                  <a:cubicBezTo>
                    <a:pt x="2815" y="1036"/>
                    <a:pt x="2822" y="1032"/>
                    <a:pt x="2821" y="1026"/>
                  </a:cubicBezTo>
                  <a:cubicBezTo>
                    <a:pt x="2820" y="1020"/>
                    <a:pt x="2813" y="1016"/>
                    <a:pt x="2805" y="1016"/>
                  </a:cubicBezTo>
                  <a:cubicBezTo>
                    <a:pt x="2805" y="1016"/>
                    <a:pt x="2805" y="1016"/>
                    <a:pt x="2805" y="1016"/>
                  </a:cubicBezTo>
                  <a:moveTo>
                    <a:pt x="2850" y="1016"/>
                  </a:moveTo>
                  <a:cubicBezTo>
                    <a:pt x="2842" y="1016"/>
                    <a:pt x="2835" y="1020"/>
                    <a:pt x="2836" y="1026"/>
                  </a:cubicBezTo>
                  <a:cubicBezTo>
                    <a:pt x="2837" y="1031"/>
                    <a:pt x="2844" y="1036"/>
                    <a:pt x="2852" y="1036"/>
                  </a:cubicBezTo>
                  <a:cubicBezTo>
                    <a:pt x="2861" y="1036"/>
                    <a:pt x="2867" y="1031"/>
                    <a:pt x="2866" y="1026"/>
                  </a:cubicBezTo>
                  <a:cubicBezTo>
                    <a:pt x="2865" y="1020"/>
                    <a:pt x="2858" y="1016"/>
                    <a:pt x="2850" y="1016"/>
                  </a:cubicBezTo>
                  <a:cubicBezTo>
                    <a:pt x="2850" y="1016"/>
                    <a:pt x="2850" y="1016"/>
                    <a:pt x="2850" y="1016"/>
                  </a:cubicBezTo>
                  <a:moveTo>
                    <a:pt x="2893" y="1015"/>
                  </a:moveTo>
                  <a:cubicBezTo>
                    <a:pt x="2884" y="1015"/>
                    <a:pt x="2878" y="1020"/>
                    <a:pt x="2879" y="1026"/>
                  </a:cubicBezTo>
                  <a:cubicBezTo>
                    <a:pt x="2880" y="1031"/>
                    <a:pt x="2887" y="1036"/>
                    <a:pt x="2895" y="1036"/>
                  </a:cubicBezTo>
                  <a:cubicBezTo>
                    <a:pt x="2904" y="1036"/>
                    <a:pt x="2910" y="1031"/>
                    <a:pt x="2909" y="1026"/>
                  </a:cubicBezTo>
                  <a:cubicBezTo>
                    <a:pt x="2908" y="1020"/>
                    <a:pt x="2901" y="1015"/>
                    <a:pt x="2893" y="1015"/>
                  </a:cubicBezTo>
                  <a:cubicBezTo>
                    <a:pt x="2893" y="1015"/>
                    <a:pt x="2893" y="1015"/>
                    <a:pt x="2893" y="1015"/>
                  </a:cubicBezTo>
                  <a:moveTo>
                    <a:pt x="3527" y="1015"/>
                  </a:moveTo>
                  <a:cubicBezTo>
                    <a:pt x="3518" y="1015"/>
                    <a:pt x="3513" y="1020"/>
                    <a:pt x="3515" y="1025"/>
                  </a:cubicBezTo>
                  <a:cubicBezTo>
                    <a:pt x="3517" y="1031"/>
                    <a:pt x="3526" y="1035"/>
                    <a:pt x="3534" y="1035"/>
                  </a:cubicBezTo>
                  <a:cubicBezTo>
                    <a:pt x="3542" y="1035"/>
                    <a:pt x="3547" y="1031"/>
                    <a:pt x="3545" y="1025"/>
                  </a:cubicBezTo>
                  <a:cubicBezTo>
                    <a:pt x="3543" y="1019"/>
                    <a:pt x="3535" y="1015"/>
                    <a:pt x="3527" y="1015"/>
                  </a:cubicBezTo>
                  <a:cubicBezTo>
                    <a:pt x="3527" y="1015"/>
                    <a:pt x="3527" y="1015"/>
                    <a:pt x="3527" y="1015"/>
                  </a:cubicBezTo>
                  <a:moveTo>
                    <a:pt x="3910" y="1014"/>
                  </a:moveTo>
                  <a:cubicBezTo>
                    <a:pt x="3902" y="1014"/>
                    <a:pt x="3897" y="1019"/>
                    <a:pt x="3900" y="1025"/>
                  </a:cubicBezTo>
                  <a:cubicBezTo>
                    <a:pt x="3903" y="1030"/>
                    <a:pt x="3912" y="1035"/>
                    <a:pt x="3920" y="1035"/>
                  </a:cubicBezTo>
                  <a:cubicBezTo>
                    <a:pt x="3928" y="1035"/>
                    <a:pt x="3933" y="1030"/>
                    <a:pt x="3930" y="1025"/>
                  </a:cubicBezTo>
                  <a:cubicBezTo>
                    <a:pt x="3927" y="1019"/>
                    <a:pt x="3918" y="1014"/>
                    <a:pt x="3910" y="1014"/>
                  </a:cubicBezTo>
                  <a:cubicBezTo>
                    <a:pt x="3910" y="1014"/>
                    <a:pt x="3910" y="1014"/>
                    <a:pt x="3910" y="1014"/>
                  </a:cubicBezTo>
                  <a:moveTo>
                    <a:pt x="4376" y="1010"/>
                  </a:moveTo>
                  <a:cubicBezTo>
                    <a:pt x="4368" y="1010"/>
                    <a:pt x="4364" y="1015"/>
                    <a:pt x="4367" y="1021"/>
                  </a:cubicBezTo>
                  <a:cubicBezTo>
                    <a:pt x="4371" y="1026"/>
                    <a:pt x="4380" y="1031"/>
                    <a:pt x="4389" y="1031"/>
                  </a:cubicBezTo>
                  <a:cubicBezTo>
                    <a:pt x="4397" y="1031"/>
                    <a:pt x="4401" y="1026"/>
                    <a:pt x="4397" y="1021"/>
                  </a:cubicBezTo>
                  <a:cubicBezTo>
                    <a:pt x="4394" y="1015"/>
                    <a:pt x="4384" y="1010"/>
                    <a:pt x="4376" y="1010"/>
                  </a:cubicBezTo>
                  <a:cubicBezTo>
                    <a:pt x="4376" y="1010"/>
                    <a:pt x="4376" y="1010"/>
                    <a:pt x="4376" y="1010"/>
                  </a:cubicBezTo>
                  <a:moveTo>
                    <a:pt x="4412" y="1010"/>
                  </a:moveTo>
                  <a:cubicBezTo>
                    <a:pt x="4404" y="1010"/>
                    <a:pt x="4400" y="1015"/>
                    <a:pt x="4404" y="1021"/>
                  </a:cubicBezTo>
                  <a:cubicBezTo>
                    <a:pt x="4408" y="1026"/>
                    <a:pt x="4417" y="1031"/>
                    <a:pt x="4425" y="1031"/>
                  </a:cubicBezTo>
                  <a:cubicBezTo>
                    <a:pt x="4434" y="1031"/>
                    <a:pt x="4437" y="1026"/>
                    <a:pt x="4434" y="1020"/>
                  </a:cubicBezTo>
                  <a:cubicBezTo>
                    <a:pt x="4430" y="1015"/>
                    <a:pt x="4420" y="1010"/>
                    <a:pt x="4412" y="1010"/>
                  </a:cubicBezTo>
                  <a:cubicBezTo>
                    <a:pt x="4412" y="1010"/>
                    <a:pt x="4412" y="1010"/>
                    <a:pt x="4412" y="1010"/>
                  </a:cubicBezTo>
                  <a:moveTo>
                    <a:pt x="321" y="996"/>
                  </a:moveTo>
                  <a:cubicBezTo>
                    <a:pt x="313" y="996"/>
                    <a:pt x="303" y="1001"/>
                    <a:pt x="299" y="1006"/>
                  </a:cubicBezTo>
                  <a:cubicBezTo>
                    <a:pt x="295" y="1012"/>
                    <a:pt x="299" y="1017"/>
                    <a:pt x="307" y="1017"/>
                  </a:cubicBezTo>
                  <a:cubicBezTo>
                    <a:pt x="315" y="1016"/>
                    <a:pt x="325" y="1012"/>
                    <a:pt x="329" y="1006"/>
                  </a:cubicBezTo>
                  <a:cubicBezTo>
                    <a:pt x="333" y="1001"/>
                    <a:pt x="330" y="996"/>
                    <a:pt x="322" y="996"/>
                  </a:cubicBezTo>
                  <a:cubicBezTo>
                    <a:pt x="321" y="996"/>
                    <a:pt x="321" y="996"/>
                    <a:pt x="321" y="996"/>
                  </a:cubicBezTo>
                  <a:moveTo>
                    <a:pt x="490" y="994"/>
                  </a:moveTo>
                  <a:cubicBezTo>
                    <a:pt x="482" y="994"/>
                    <a:pt x="472" y="999"/>
                    <a:pt x="468" y="1004"/>
                  </a:cubicBezTo>
                  <a:cubicBezTo>
                    <a:pt x="465" y="1010"/>
                    <a:pt x="468" y="1014"/>
                    <a:pt x="477" y="1014"/>
                  </a:cubicBezTo>
                  <a:cubicBezTo>
                    <a:pt x="485" y="1014"/>
                    <a:pt x="494" y="1010"/>
                    <a:pt x="498" y="1004"/>
                  </a:cubicBezTo>
                  <a:cubicBezTo>
                    <a:pt x="502" y="999"/>
                    <a:pt x="498" y="994"/>
                    <a:pt x="490" y="994"/>
                  </a:cubicBezTo>
                  <a:cubicBezTo>
                    <a:pt x="490" y="994"/>
                    <a:pt x="490" y="994"/>
                    <a:pt x="490" y="994"/>
                  </a:cubicBezTo>
                  <a:moveTo>
                    <a:pt x="532" y="994"/>
                  </a:moveTo>
                  <a:cubicBezTo>
                    <a:pt x="524" y="994"/>
                    <a:pt x="514" y="998"/>
                    <a:pt x="510" y="1004"/>
                  </a:cubicBezTo>
                  <a:cubicBezTo>
                    <a:pt x="507" y="1010"/>
                    <a:pt x="510" y="1014"/>
                    <a:pt x="519" y="1014"/>
                  </a:cubicBezTo>
                  <a:cubicBezTo>
                    <a:pt x="527" y="1014"/>
                    <a:pt x="536" y="1010"/>
                    <a:pt x="540" y="1004"/>
                  </a:cubicBezTo>
                  <a:cubicBezTo>
                    <a:pt x="544" y="998"/>
                    <a:pt x="540" y="994"/>
                    <a:pt x="532" y="994"/>
                  </a:cubicBezTo>
                  <a:cubicBezTo>
                    <a:pt x="532" y="994"/>
                    <a:pt x="532" y="994"/>
                    <a:pt x="532" y="994"/>
                  </a:cubicBezTo>
                  <a:moveTo>
                    <a:pt x="574" y="994"/>
                  </a:moveTo>
                  <a:cubicBezTo>
                    <a:pt x="566" y="994"/>
                    <a:pt x="556" y="998"/>
                    <a:pt x="553" y="1004"/>
                  </a:cubicBezTo>
                  <a:cubicBezTo>
                    <a:pt x="549" y="1010"/>
                    <a:pt x="553" y="1014"/>
                    <a:pt x="561" y="1014"/>
                  </a:cubicBezTo>
                  <a:cubicBezTo>
                    <a:pt x="569" y="1014"/>
                    <a:pt x="579" y="1009"/>
                    <a:pt x="582" y="1004"/>
                  </a:cubicBezTo>
                  <a:cubicBezTo>
                    <a:pt x="586" y="998"/>
                    <a:pt x="582" y="994"/>
                    <a:pt x="574" y="994"/>
                  </a:cubicBezTo>
                  <a:cubicBezTo>
                    <a:pt x="574" y="994"/>
                    <a:pt x="574" y="994"/>
                    <a:pt x="574" y="994"/>
                  </a:cubicBezTo>
                  <a:moveTo>
                    <a:pt x="617" y="994"/>
                  </a:moveTo>
                  <a:cubicBezTo>
                    <a:pt x="609" y="994"/>
                    <a:pt x="600" y="998"/>
                    <a:pt x="596" y="1004"/>
                  </a:cubicBezTo>
                  <a:cubicBezTo>
                    <a:pt x="593" y="1009"/>
                    <a:pt x="597" y="1014"/>
                    <a:pt x="605" y="1014"/>
                  </a:cubicBezTo>
                  <a:cubicBezTo>
                    <a:pt x="613" y="1014"/>
                    <a:pt x="623" y="1009"/>
                    <a:pt x="626" y="1004"/>
                  </a:cubicBezTo>
                  <a:cubicBezTo>
                    <a:pt x="629" y="998"/>
                    <a:pt x="626" y="994"/>
                    <a:pt x="618" y="994"/>
                  </a:cubicBezTo>
                  <a:cubicBezTo>
                    <a:pt x="618" y="994"/>
                    <a:pt x="617" y="994"/>
                    <a:pt x="617" y="994"/>
                  </a:cubicBezTo>
                  <a:moveTo>
                    <a:pt x="659" y="993"/>
                  </a:moveTo>
                  <a:cubicBezTo>
                    <a:pt x="651" y="993"/>
                    <a:pt x="642" y="998"/>
                    <a:pt x="638" y="1004"/>
                  </a:cubicBezTo>
                  <a:cubicBezTo>
                    <a:pt x="635" y="1009"/>
                    <a:pt x="639" y="1014"/>
                    <a:pt x="647" y="1014"/>
                  </a:cubicBezTo>
                  <a:cubicBezTo>
                    <a:pt x="655" y="1014"/>
                    <a:pt x="665" y="1009"/>
                    <a:pt x="668" y="1003"/>
                  </a:cubicBezTo>
                  <a:cubicBezTo>
                    <a:pt x="671" y="998"/>
                    <a:pt x="668" y="993"/>
                    <a:pt x="659" y="993"/>
                  </a:cubicBezTo>
                  <a:cubicBezTo>
                    <a:pt x="659" y="993"/>
                    <a:pt x="659" y="993"/>
                    <a:pt x="659" y="993"/>
                  </a:cubicBezTo>
                  <a:moveTo>
                    <a:pt x="702" y="993"/>
                  </a:moveTo>
                  <a:cubicBezTo>
                    <a:pt x="693" y="993"/>
                    <a:pt x="684" y="998"/>
                    <a:pt x="681" y="1003"/>
                  </a:cubicBezTo>
                  <a:cubicBezTo>
                    <a:pt x="677" y="1009"/>
                    <a:pt x="681" y="1014"/>
                    <a:pt x="690" y="1014"/>
                  </a:cubicBezTo>
                  <a:cubicBezTo>
                    <a:pt x="698" y="1014"/>
                    <a:pt x="707" y="1009"/>
                    <a:pt x="710" y="1003"/>
                  </a:cubicBezTo>
                  <a:cubicBezTo>
                    <a:pt x="714" y="998"/>
                    <a:pt x="710" y="993"/>
                    <a:pt x="702" y="993"/>
                  </a:cubicBezTo>
                  <a:cubicBezTo>
                    <a:pt x="702" y="993"/>
                    <a:pt x="702" y="993"/>
                    <a:pt x="702" y="993"/>
                  </a:cubicBezTo>
                  <a:moveTo>
                    <a:pt x="740" y="993"/>
                  </a:moveTo>
                  <a:cubicBezTo>
                    <a:pt x="731" y="993"/>
                    <a:pt x="722" y="998"/>
                    <a:pt x="719" y="1003"/>
                  </a:cubicBezTo>
                  <a:cubicBezTo>
                    <a:pt x="716" y="1009"/>
                    <a:pt x="720" y="1013"/>
                    <a:pt x="728" y="1013"/>
                  </a:cubicBezTo>
                  <a:cubicBezTo>
                    <a:pt x="736" y="1013"/>
                    <a:pt x="745" y="1009"/>
                    <a:pt x="749" y="1003"/>
                  </a:cubicBezTo>
                  <a:cubicBezTo>
                    <a:pt x="752" y="998"/>
                    <a:pt x="748" y="993"/>
                    <a:pt x="740" y="993"/>
                  </a:cubicBezTo>
                  <a:cubicBezTo>
                    <a:pt x="740" y="993"/>
                    <a:pt x="740" y="993"/>
                    <a:pt x="740" y="993"/>
                  </a:cubicBezTo>
                  <a:moveTo>
                    <a:pt x="1710" y="990"/>
                  </a:moveTo>
                  <a:cubicBezTo>
                    <a:pt x="1701" y="990"/>
                    <a:pt x="1694" y="995"/>
                    <a:pt x="1692" y="1000"/>
                  </a:cubicBezTo>
                  <a:cubicBezTo>
                    <a:pt x="1691" y="1006"/>
                    <a:pt x="1696" y="1011"/>
                    <a:pt x="1704" y="1011"/>
                  </a:cubicBezTo>
                  <a:cubicBezTo>
                    <a:pt x="1713" y="1011"/>
                    <a:pt x="1720" y="1006"/>
                    <a:pt x="1722" y="1000"/>
                  </a:cubicBezTo>
                  <a:cubicBezTo>
                    <a:pt x="1723" y="995"/>
                    <a:pt x="1718" y="990"/>
                    <a:pt x="1710" y="990"/>
                  </a:cubicBezTo>
                  <a:cubicBezTo>
                    <a:pt x="1710" y="990"/>
                    <a:pt x="1710" y="990"/>
                    <a:pt x="1710" y="990"/>
                  </a:cubicBezTo>
                  <a:moveTo>
                    <a:pt x="1751" y="990"/>
                  </a:moveTo>
                  <a:cubicBezTo>
                    <a:pt x="1743" y="990"/>
                    <a:pt x="1736" y="995"/>
                    <a:pt x="1734" y="1000"/>
                  </a:cubicBezTo>
                  <a:cubicBezTo>
                    <a:pt x="1733" y="1006"/>
                    <a:pt x="1738" y="1010"/>
                    <a:pt x="1747" y="1010"/>
                  </a:cubicBezTo>
                  <a:cubicBezTo>
                    <a:pt x="1755" y="1010"/>
                    <a:pt x="1762" y="1006"/>
                    <a:pt x="1764" y="1000"/>
                  </a:cubicBezTo>
                  <a:cubicBezTo>
                    <a:pt x="1765" y="995"/>
                    <a:pt x="1760" y="990"/>
                    <a:pt x="1752" y="990"/>
                  </a:cubicBezTo>
                  <a:cubicBezTo>
                    <a:pt x="1751" y="990"/>
                    <a:pt x="1751" y="990"/>
                    <a:pt x="1751" y="990"/>
                  </a:cubicBezTo>
                  <a:moveTo>
                    <a:pt x="1794" y="990"/>
                  </a:moveTo>
                  <a:cubicBezTo>
                    <a:pt x="1785" y="990"/>
                    <a:pt x="1778" y="994"/>
                    <a:pt x="1777" y="1000"/>
                  </a:cubicBezTo>
                  <a:cubicBezTo>
                    <a:pt x="1775" y="1006"/>
                    <a:pt x="1781" y="1010"/>
                    <a:pt x="1789" y="1010"/>
                  </a:cubicBezTo>
                  <a:cubicBezTo>
                    <a:pt x="1797" y="1010"/>
                    <a:pt x="1805" y="1006"/>
                    <a:pt x="1806" y="1000"/>
                  </a:cubicBezTo>
                  <a:cubicBezTo>
                    <a:pt x="1807" y="994"/>
                    <a:pt x="1802" y="990"/>
                    <a:pt x="1794" y="990"/>
                  </a:cubicBezTo>
                  <a:cubicBezTo>
                    <a:pt x="1794" y="990"/>
                    <a:pt x="1794" y="990"/>
                    <a:pt x="1794" y="990"/>
                  </a:cubicBezTo>
                  <a:moveTo>
                    <a:pt x="1836" y="990"/>
                  </a:moveTo>
                  <a:cubicBezTo>
                    <a:pt x="1828" y="990"/>
                    <a:pt x="1820" y="994"/>
                    <a:pt x="1819" y="1000"/>
                  </a:cubicBezTo>
                  <a:cubicBezTo>
                    <a:pt x="1818" y="1006"/>
                    <a:pt x="1824" y="1010"/>
                    <a:pt x="1832" y="1010"/>
                  </a:cubicBezTo>
                  <a:cubicBezTo>
                    <a:pt x="1840" y="1010"/>
                    <a:pt x="1848" y="1005"/>
                    <a:pt x="1849" y="1000"/>
                  </a:cubicBezTo>
                  <a:cubicBezTo>
                    <a:pt x="1850" y="994"/>
                    <a:pt x="1844" y="990"/>
                    <a:pt x="1836" y="990"/>
                  </a:cubicBezTo>
                  <a:cubicBezTo>
                    <a:pt x="1836" y="990"/>
                    <a:pt x="1836" y="990"/>
                    <a:pt x="1836" y="990"/>
                  </a:cubicBezTo>
                  <a:moveTo>
                    <a:pt x="1878" y="990"/>
                  </a:moveTo>
                  <a:cubicBezTo>
                    <a:pt x="1870" y="990"/>
                    <a:pt x="1862" y="994"/>
                    <a:pt x="1861" y="1000"/>
                  </a:cubicBezTo>
                  <a:cubicBezTo>
                    <a:pt x="1860" y="1005"/>
                    <a:pt x="1866" y="1010"/>
                    <a:pt x="1874" y="1010"/>
                  </a:cubicBezTo>
                  <a:cubicBezTo>
                    <a:pt x="1882" y="1010"/>
                    <a:pt x="1890" y="1005"/>
                    <a:pt x="1891" y="1000"/>
                  </a:cubicBezTo>
                  <a:cubicBezTo>
                    <a:pt x="1892" y="994"/>
                    <a:pt x="1886" y="990"/>
                    <a:pt x="1878" y="990"/>
                  </a:cubicBezTo>
                  <a:cubicBezTo>
                    <a:pt x="1878" y="990"/>
                    <a:pt x="1878" y="990"/>
                    <a:pt x="1878" y="990"/>
                  </a:cubicBezTo>
                  <a:moveTo>
                    <a:pt x="1920" y="989"/>
                  </a:moveTo>
                  <a:cubicBezTo>
                    <a:pt x="1912" y="989"/>
                    <a:pt x="1904" y="994"/>
                    <a:pt x="1903" y="1000"/>
                  </a:cubicBezTo>
                  <a:cubicBezTo>
                    <a:pt x="1902" y="1005"/>
                    <a:pt x="1908" y="1010"/>
                    <a:pt x="1916" y="1010"/>
                  </a:cubicBezTo>
                  <a:cubicBezTo>
                    <a:pt x="1924" y="1010"/>
                    <a:pt x="1932" y="1005"/>
                    <a:pt x="1933" y="1000"/>
                  </a:cubicBezTo>
                  <a:cubicBezTo>
                    <a:pt x="1934" y="994"/>
                    <a:pt x="1928" y="989"/>
                    <a:pt x="1920" y="989"/>
                  </a:cubicBezTo>
                  <a:cubicBezTo>
                    <a:pt x="1920" y="989"/>
                    <a:pt x="1920" y="989"/>
                    <a:pt x="1920" y="989"/>
                  </a:cubicBezTo>
                  <a:moveTo>
                    <a:pt x="1962" y="989"/>
                  </a:moveTo>
                  <a:cubicBezTo>
                    <a:pt x="1954" y="989"/>
                    <a:pt x="1946" y="994"/>
                    <a:pt x="1945" y="999"/>
                  </a:cubicBezTo>
                  <a:cubicBezTo>
                    <a:pt x="1944" y="1005"/>
                    <a:pt x="1950" y="1010"/>
                    <a:pt x="1958" y="1010"/>
                  </a:cubicBezTo>
                  <a:cubicBezTo>
                    <a:pt x="1966" y="1010"/>
                    <a:pt x="1974" y="1005"/>
                    <a:pt x="1975" y="999"/>
                  </a:cubicBezTo>
                  <a:cubicBezTo>
                    <a:pt x="1976" y="994"/>
                    <a:pt x="1970" y="989"/>
                    <a:pt x="1962" y="989"/>
                  </a:cubicBezTo>
                  <a:cubicBezTo>
                    <a:pt x="1962" y="989"/>
                    <a:pt x="1962" y="989"/>
                    <a:pt x="1962" y="989"/>
                  </a:cubicBezTo>
                  <a:moveTo>
                    <a:pt x="2004" y="989"/>
                  </a:moveTo>
                  <a:cubicBezTo>
                    <a:pt x="1996" y="989"/>
                    <a:pt x="1988" y="994"/>
                    <a:pt x="1988" y="999"/>
                  </a:cubicBezTo>
                  <a:cubicBezTo>
                    <a:pt x="1987" y="1005"/>
                    <a:pt x="1993" y="1010"/>
                    <a:pt x="2001" y="1009"/>
                  </a:cubicBezTo>
                  <a:cubicBezTo>
                    <a:pt x="2009" y="1009"/>
                    <a:pt x="2016" y="1005"/>
                    <a:pt x="2017" y="999"/>
                  </a:cubicBezTo>
                  <a:cubicBezTo>
                    <a:pt x="2018" y="994"/>
                    <a:pt x="2012" y="989"/>
                    <a:pt x="2004" y="989"/>
                  </a:cubicBezTo>
                  <a:cubicBezTo>
                    <a:pt x="2004" y="989"/>
                    <a:pt x="2004" y="989"/>
                    <a:pt x="2004" y="989"/>
                  </a:cubicBezTo>
                  <a:moveTo>
                    <a:pt x="2047" y="989"/>
                  </a:moveTo>
                  <a:cubicBezTo>
                    <a:pt x="2039" y="989"/>
                    <a:pt x="2032" y="994"/>
                    <a:pt x="2031" y="999"/>
                  </a:cubicBezTo>
                  <a:cubicBezTo>
                    <a:pt x="2030" y="1005"/>
                    <a:pt x="2036" y="1009"/>
                    <a:pt x="2044" y="1009"/>
                  </a:cubicBezTo>
                  <a:cubicBezTo>
                    <a:pt x="2053" y="1009"/>
                    <a:pt x="2060" y="1005"/>
                    <a:pt x="2061" y="999"/>
                  </a:cubicBezTo>
                  <a:cubicBezTo>
                    <a:pt x="2061" y="993"/>
                    <a:pt x="2055" y="989"/>
                    <a:pt x="2047" y="989"/>
                  </a:cubicBezTo>
                  <a:cubicBezTo>
                    <a:pt x="2047" y="989"/>
                    <a:pt x="2047" y="989"/>
                    <a:pt x="2047" y="989"/>
                  </a:cubicBezTo>
                  <a:moveTo>
                    <a:pt x="2089" y="989"/>
                  </a:moveTo>
                  <a:cubicBezTo>
                    <a:pt x="2081" y="989"/>
                    <a:pt x="2074" y="993"/>
                    <a:pt x="2073" y="999"/>
                  </a:cubicBezTo>
                  <a:cubicBezTo>
                    <a:pt x="2072" y="1005"/>
                    <a:pt x="2078" y="1009"/>
                    <a:pt x="2087" y="1009"/>
                  </a:cubicBezTo>
                  <a:cubicBezTo>
                    <a:pt x="2095" y="1009"/>
                    <a:pt x="2102" y="1005"/>
                    <a:pt x="2103" y="999"/>
                  </a:cubicBezTo>
                  <a:cubicBezTo>
                    <a:pt x="2103" y="993"/>
                    <a:pt x="2097" y="989"/>
                    <a:pt x="2089" y="989"/>
                  </a:cubicBezTo>
                  <a:cubicBezTo>
                    <a:pt x="2089" y="989"/>
                    <a:pt x="2089" y="989"/>
                    <a:pt x="2089" y="989"/>
                  </a:cubicBezTo>
                  <a:moveTo>
                    <a:pt x="2131" y="989"/>
                  </a:moveTo>
                  <a:cubicBezTo>
                    <a:pt x="2123" y="989"/>
                    <a:pt x="2116" y="993"/>
                    <a:pt x="2115" y="999"/>
                  </a:cubicBezTo>
                  <a:cubicBezTo>
                    <a:pt x="2115" y="1004"/>
                    <a:pt x="2121" y="1009"/>
                    <a:pt x="2129" y="1009"/>
                  </a:cubicBezTo>
                  <a:cubicBezTo>
                    <a:pt x="2137" y="1009"/>
                    <a:pt x="2144" y="1004"/>
                    <a:pt x="2145" y="999"/>
                  </a:cubicBezTo>
                  <a:cubicBezTo>
                    <a:pt x="2145" y="993"/>
                    <a:pt x="2139" y="989"/>
                    <a:pt x="2131" y="989"/>
                  </a:cubicBezTo>
                  <a:cubicBezTo>
                    <a:pt x="2131" y="989"/>
                    <a:pt x="2131" y="989"/>
                    <a:pt x="2131" y="989"/>
                  </a:cubicBezTo>
                  <a:moveTo>
                    <a:pt x="2174" y="988"/>
                  </a:moveTo>
                  <a:cubicBezTo>
                    <a:pt x="2166" y="988"/>
                    <a:pt x="2159" y="993"/>
                    <a:pt x="2158" y="999"/>
                  </a:cubicBezTo>
                  <a:cubicBezTo>
                    <a:pt x="2157" y="1004"/>
                    <a:pt x="2164" y="1009"/>
                    <a:pt x="2172" y="1009"/>
                  </a:cubicBezTo>
                  <a:cubicBezTo>
                    <a:pt x="2180" y="1009"/>
                    <a:pt x="2187" y="1004"/>
                    <a:pt x="2188" y="999"/>
                  </a:cubicBezTo>
                  <a:cubicBezTo>
                    <a:pt x="2188" y="993"/>
                    <a:pt x="2182" y="988"/>
                    <a:pt x="2174" y="988"/>
                  </a:cubicBezTo>
                  <a:cubicBezTo>
                    <a:pt x="2174" y="988"/>
                    <a:pt x="2174" y="988"/>
                    <a:pt x="2174" y="988"/>
                  </a:cubicBezTo>
                  <a:moveTo>
                    <a:pt x="2216" y="988"/>
                  </a:moveTo>
                  <a:cubicBezTo>
                    <a:pt x="2207" y="988"/>
                    <a:pt x="2200" y="993"/>
                    <a:pt x="2200" y="999"/>
                  </a:cubicBezTo>
                  <a:cubicBezTo>
                    <a:pt x="2199" y="1004"/>
                    <a:pt x="2206" y="1009"/>
                    <a:pt x="2214" y="1009"/>
                  </a:cubicBezTo>
                  <a:cubicBezTo>
                    <a:pt x="2222" y="1009"/>
                    <a:pt x="2229" y="1004"/>
                    <a:pt x="2229" y="998"/>
                  </a:cubicBezTo>
                  <a:cubicBezTo>
                    <a:pt x="2230" y="993"/>
                    <a:pt x="2224" y="988"/>
                    <a:pt x="2216" y="988"/>
                  </a:cubicBezTo>
                  <a:cubicBezTo>
                    <a:pt x="2216" y="988"/>
                    <a:pt x="2216" y="988"/>
                    <a:pt x="2216" y="988"/>
                  </a:cubicBezTo>
                  <a:moveTo>
                    <a:pt x="2258" y="988"/>
                  </a:moveTo>
                  <a:cubicBezTo>
                    <a:pt x="2249" y="988"/>
                    <a:pt x="2243" y="993"/>
                    <a:pt x="2242" y="998"/>
                  </a:cubicBezTo>
                  <a:cubicBezTo>
                    <a:pt x="2242" y="1004"/>
                    <a:pt x="2248" y="1009"/>
                    <a:pt x="2256" y="1009"/>
                  </a:cubicBezTo>
                  <a:cubicBezTo>
                    <a:pt x="2264" y="1009"/>
                    <a:pt x="2271" y="1004"/>
                    <a:pt x="2272" y="998"/>
                  </a:cubicBezTo>
                  <a:cubicBezTo>
                    <a:pt x="2272" y="993"/>
                    <a:pt x="2266" y="988"/>
                    <a:pt x="2258" y="988"/>
                  </a:cubicBezTo>
                  <a:cubicBezTo>
                    <a:pt x="2258" y="988"/>
                    <a:pt x="2258" y="988"/>
                    <a:pt x="2258" y="988"/>
                  </a:cubicBezTo>
                  <a:moveTo>
                    <a:pt x="2299" y="988"/>
                  </a:moveTo>
                  <a:cubicBezTo>
                    <a:pt x="2291" y="988"/>
                    <a:pt x="2284" y="993"/>
                    <a:pt x="2284" y="998"/>
                  </a:cubicBezTo>
                  <a:cubicBezTo>
                    <a:pt x="2284" y="1004"/>
                    <a:pt x="2290" y="1008"/>
                    <a:pt x="2298" y="1008"/>
                  </a:cubicBezTo>
                  <a:cubicBezTo>
                    <a:pt x="2306" y="1008"/>
                    <a:pt x="2313" y="1004"/>
                    <a:pt x="2314" y="998"/>
                  </a:cubicBezTo>
                  <a:cubicBezTo>
                    <a:pt x="2314" y="993"/>
                    <a:pt x="2308" y="988"/>
                    <a:pt x="2299" y="988"/>
                  </a:cubicBezTo>
                  <a:cubicBezTo>
                    <a:pt x="2299" y="988"/>
                    <a:pt x="2299" y="988"/>
                    <a:pt x="2299" y="988"/>
                  </a:cubicBezTo>
                  <a:moveTo>
                    <a:pt x="2342" y="988"/>
                  </a:moveTo>
                  <a:cubicBezTo>
                    <a:pt x="2333" y="988"/>
                    <a:pt x="2327" y="992"/>
                    <a:pt x="2326" y="998"/>
                  </a:cubicBezTo>
                  <a:cubicBezTo>
                    <a:pt x="2326" y="1004"/>
                    <a:pt x="2332" y="1008"/>
                    <a:pt x="2341" y="1008"/>
                  </a:cubicBezTo>
                  <a:cubicBezTo>
                    <a:pt x="2349" y="1008"/>
                    <a:pt x="2356" y="1004"/>
                    <a:pt x="2356" y="998"/>
                  </a:cubicBezTo>
                  <a:cubicBezTo>
                    <a:pt x="2356" y="992"/>
                    <a:pt x="2350" y="988"/>
                    <a:pt x="2342" y="988"/>
                  </a:cubicBezTo>
                  <a:cubicBezTo>
                    <a:pt x="2342" y="988"/>
                    <a:pt x="2342" y="988"/>
                    <a:pt x="2342" y="988"/>
                  </a:cubicBezTo>
                  <a:moveTo>
                    <a:pt x="2384" y="988"/>
                  </a:moveTo>
                  <a:cubicBezTo>
                    <a:pt x="2376" y="988"/>
                    <a:pt x="2369" y="992"/>
                    <a:pt x="2369" y="998"/>
                  </a:cubicBezTo>
                  <a:cubicBezTo>
                    <a:pt x="2369" y="1004"/>
                    <a:pt x="2375" y="1008"/>
                    <a:pt x="2383" y="1008"/>
                  </a:cubicBezTo>
                  <a:cubicBezTo>
                    <a:pt x="2392" y="1008"/>
                    <a:pt x="2398" y="1003"/>
                    <a:pt x="2398" y="998"/>
                  </a:cubicBezTo>
                  <a:cubicBezTo>
                    <a:pt x="2399" y="992"/>
                    <a:pt x="2392" y="988"/>
                    <a:pt x="2384" y="988"/>
                  </a:cubicBezTo>
                  <a:cubicBezTo>
                    <a:pt x="2384" y="988"/>
                    <a:pt x="2384" y="988"/>
                    <a:pt x="2384" y="988"/>
                  </a:cubicBezTo>
                  <a:moveTo>
                    <a:pt x="2426" y="988"/>
                  </a:moveTo>
                  <a:cubicBezTo>
                    <a:pt x="2418" y="988"/>
                    <a:pt x="2411" y="992"/>
                    <a:pt x="2411" y="998"/>
                  </a:cubicBezTo>
                  <a:cubicBezTo>
                    <a:pt x="2411" y="1003"/>
                    <a:pt x="2417" y="1008"/>
                    <a:pt x="2425" y="1008"/>
                  </a:cubicBezTo>
                  <a:cubicBezTo>
                    <a:pt x="2434" y="1008"/>
                    <a:pt x="2440" y="1003"/>
                    <a:pt x="2440" y="998"/>
                  </a:cubicBezTo>
                  <a:cubicBezTo>
                    <a:pt x="2440" y="992"/>
                    <a:pt x="2434" y="988"/>
                    <a:pt x="2426" y="988"/>
                  </a:cubicBezTo>
                  <a:cubicBezTo>
                    <a:pt x="2426" y="988"/>
                    <a:pt x="2426" y="988"/>
                    <a:pt x="2426" y="988"/>
                  </a:cubicBezTo>
                  <a:moveTo>
                    <a:pt x="2468" y="987"/>
                  </a:moveTo>
                  <a:cubicBezTo>
                    <a:pt x="2460" y="987"/>
                    <a:pt x="2453" y="992"/>
                    <a:pt x="2453" y="998"/>
                  </a:cubicBezTo>
                  <a:cubicBezTo>
                    <a:pt x="2453" y="1003"/>
                    <a:pt x="2460" y="1008"/>
                    <a:pt x="2468" y="1008"/>
                  </a:cubicBezTo>
                  <a:cubicBezTo>
                    <a:pt x="2476" y="1008"/>
                    <a:pt x="2483" y="1003"/>
                    <a:pt x="2483" y="998"/>
                  </a:cubicBezTo>
                  <a:cubicBezTo>
                    <a:pt x="2483" y="992"/>
                    <a:pt x="2476" y="987"/>
                    <a:pt x="2468" y="987"/>
                  </a:cubicBezTo>
                  <a:cubicBezTo>
                    <a:pt x="2468" y="987"/>
                    <a:pt x="2468" y="987"/>
                    <a:pt x="2468" y="987"/>
                  </a:cubicBezTo>
                  <a:moveTo>
                    <a:pt x="2510" y="987"/>
                  </a:moveTo>
                  <a:cubicBezTo>
                    <a:pt x="2501" y="987"/>
                    <a:pt x="2495" y="992"/>
                    <a:pt x="2495" y="997"/>
                  </a:cubicBezTo>
                  <a:cubicBezTo>
                    <a:pt x="2495" y="1003"/>
                    <a:pt x="2502" y="1008"/>
                    <a:pt x="2510" y="1008"/>
                  </a:cubicBezTo>
                  <a:cubicBezTo>
                    <a:pt x="2518" y="1008"/>
                    <a:pt x="2525" y="1003"/>
                    <a:pt x="2524" y="997"/>
                  </a:cubicBezTo>
                  <a:cubicBezTo>
                    <a:pt x="2524" y="992"/>
                    <a:pt x="2518" y="987"/>
                    <a:pt x="2510" y="987"/>
                  </a:cubicBezTo>
                  <a:cubicBezTo>
                    <a:pt x="2510" y="987"/>
                    <a:pt x="2510" y="987"/>
                    <a:pt x="2510" y="987"/>
                  </a:cubicBezTo>
                  <a:moveTo>
                    <a:pt x="3433" y="987"/>
                  </a:moveTo>
                  <a:cubicBezTo>
                    <a:pt x="3425" y="987"/>
                    <a:pt x="3420" y="992"/>
                    <a:pt x="3422" y="997"/>
                  </a:cubicBezTo>
                  <a:cubicBezTo>
                    <a:pt x="3424" y="1003"/>
                    <a:pt x="3432" y="1008"/>
                    <a:pt x="3440" y="1008"/>
                  </a:cubicBezTo>
                  <a:cubicBezTo>
                    <a:pt x="3448" y="1008"/>
                    <a:pt x="3453" y="1003"/>
                    <a:pt x="3451" y="997"/>
                  </a:cubicBezTo>
                  <a:cubicBezTo>
                    <a:pt x="3450" y="992"/>
                    <a:pt x="3442" y="987"/>
                    <a:pt x="3434" y="987"/>
                  </a:cubicBezTo>
                  <a:cubicBezTo>
                    <a:pt x="3433" y="987"/>
                    <a:pt x="3433" y="987"/>
                    <a:pt x="3433" y="987"/>
                  </a:cubicBezTo>
                  <a:moveTo>
                    <a:pt x="2552" y="987"/>
                  </a:moveTo>
                  <a:cubicBezTo>
                    <a:pt x="2544" y="987"/>
                    <a:pt x="2537" y="992"/>
                    <a:pt x="2537" y="997"/>
                  </a:cubicBezTo>
                  <a:cubicBezTo>
                    <a:pt x="2537" y="1003"/>
                    <a:pt x="2544" y="1008"/>
                    <a:pt x="2552" y="1008"/>
                  </a:cubicBezTo>
                  <a:cubicBezTo>
                    <a:pt x="2560" y="1007"/>
                    <a:pt x="2567" y="1003"/>
                    <a:pt x="2567" y="997"/>
                  </a:cubicBezTo>
                  <a:cubicBezTo>
                    <a:pt x="2567" y="992"/>
                    <a:pt x="2560" y="987"/>
                    <a:pt x="2552" y="987"/>
                  </a:cubicBezTo>
                  <a:cubicBezTo>
                    <a:pt x="2552" y="987"/>
                    <a:pt x="2552" y="987"/>
                    <a:pt x="2552" y="987"/>
                  </a:cubicBezTo>
                  <a:moveTo>
                    <a:pt x="3476" y="987"/>
                  </a:moveTo>
                  <a:cubicBezTo>
                    <a:pt x="3467" y="987"/>
                    <a:pt x="3462" y="992"/>
                    <a:pt x="3464" y="997"/>
                  </a:cubicBezTo>
                  <a:cubicBezTo>
                    <a:pt x="3466" y="1003"/>
                    <a:pt x="3474" y="1008"/>
                    <a:pt x="3482" y="1007"/>
                  </a:cubicBezTo>
                  <a:cubicBezTo>
                    <a:pt x="3490" y="1007"/>
                    <a:pt x="3496" y="1003"/>
                    <a:pt x="3494" y="997"/>
                  </a:cubicBezTo>
                  <a:cubicBezTo>
                    <a:pt x="3492" y="992"/>
                    <a:pt x="3484" y="987"/>
                    <a:pt x="3476" y="987"/>
                  </a:cubicBezTo>
                  <a:cubicBezTo>
                    <a:pt x="3476" y="987"/>
                    <a:pt x="3476" y="987"/>
                    <a:pt x="3476" y="987"/>
                  </a:cubicBezTo>
                  <a:moveTo>
                    <a:pt x="2594" y="987"/>
                  </a:moveTo>
                  <a:cubicBezTo>
                    <a:pt x="2586" y="987"/>
                    <a:pt x="2580" y="992"/>
                    <a:pt x="2580" y="997"/>
                  </a:cubicBezTo>
                  <a:cubicBezTo>
                    <a:pt x="2580" y="1003"/>
                    <a:pt x="2587" y="1007"/>
                    <a:pt x="2595" y="1007"/>
                  </a:cubicBezTo>
                  <a:cubicBezTo>
                    <a:pt x="2603" y="1007"/>
                    <a:pt x="2610" y="1003"/>
                    <a:pt x="2609" y="997"/>
                  </a:cubicBezTo>
                  <a:cubicBezTo>
                    <a:pt x="2609" y="991"/>
                    <a:pt x="2602" y="987"/>
                    <a:pt x="2594" y="987"/>
                  </a:cubicBezTo>
                  <a:cubicBezTo>
                    <a:pt x="2594" y="987"/>
                    <a:pt x="2594" y="987"/>
                    <a:pt x="2594" y="987"/>
                  </a:cubicBezTo>
                  <a:moveTo>
                    <a:pt x="2636" y="987"/>
                  </a:moveTo>
                  <a:cubicBezTo>
                    <a:pt x="2628" y="987"/>
                    <a:pt x="2621" y="991"/>
                    <a:pt x="2622" y="997"/>
                  </a:cubicBezTo>
                  <a:cubicBezTo>
                    <a:pt x="2622" y="1003"/>
                    <a:pt x="2629" y="1007"/>
                    <a:pt x="2637" y="1007"/>
                  </a:cubicBezTo>
                  <a:cubicBezTo>
                    <a:pt x="2645" y="1007"/>
                    <a:pt x="2652" y="1003"/>
                    <a:pt x="2651" y="997"/>
                  </a:cubicBezTo>
                  <a:cubicBezTo>
                    <a:pt x="2651" y="991"/>
                    <a:pt x="2644" y="987"/>
                    <a:pt x="2636" y="987"/>
                  </a:cubicBezTo>
                  <a:cubicBezTo>
                    <a:pt x="2636" y="987"/>
                    <a:pt x="2636" y="987"/>
                    <a:pt x="2636" y="987"/>
                  </a:cubicBezTo>
                  <a:moveTo>
                    <a:pt x="2678" y="987"/>
                  </a:moveTo>
                  <a:cubicBezTo>
                    <a:pt x="2670" y="987"/>
                    <a:pt x="2664" y="991"/>
                    <a:pt x="2664" y="997"/>
                  </a:cubicBezTo>
                  <a:cubicBezTo>
                    <a:pt x="2665" y="1003"/>
                    <a:pt x="2672" y="1007"/>
                    <a:pt x="2680" y="1007"/>
                  </a:cubicBezTo>
                  <a:cubicBezTo>
                    <a:pt x="2688" y="1007"/>
                    <a:pt x="2694" y="1002"/>
                    <a:pt x="2694" y="997"/>
                  </a:cubicBezTo>
                  <a:cubicBezTo>
                    <a:pt x="2693" y="991"/>
                    <a:pt x="2687" y="987"/>
                    <a:pt x="2678" y="987"/>
                  </a:cubicBezTo>
                  <a:cubicBezTo>
                    <a:pt x="2678" y="987"/>
                    <a:pt x="2678" y="987"/>
                    <a:pt x="2678" y="987"/>
                  </a:cubicBezTo>
                  <a:moveTo>
                    <a:pt x="2719" y="986"/>
                  </a:moveTo>
                  <a:cubicBezTo>
                    <a:pt x="2711" y="986"/>
                    <a:pt x="2705" y="991"/>
                    <a:pt x="2705" y="997"/>
                  </a:cubicBezTo>
                  <a:cubicBezTo>
                    <a:pt x="2705" y="1002"/>
                    <a:pt x="2712" y="1007"/>
                    <a:pt x="2721" y="1007"/>
                  </a:cubicBezTo>
                  <a:cubicBezTo>
                    <a:pt x="2729" y="1007"/>
                    <a:pt x="2735" y="1002"/>
                    <a:pt x="2734" y="997"/>
                  </a:cubicBezTo>
                  <a:cubicBezTo>
                    <a:pt x="2734" y="991"/>
                    <a:pt x="2727" y="986"/>
                    <a:pt x="2719" y="986"/>
                  </a:cubicBezTo>
                  <a:cubicBezTo>
                    <a:pt x="2719" y="986"/>
                    <a:pt x="2719" y="986"/>
                    <a:pt x="2719" y="986"/>
                  </a:cubicBezTo>
                  <a:moveTo>
                    <a:pt x="2761" y="986"/>
                  </a:moveTo>
                  <a:cubicBezTo>
                    <a:pt x="2753" y="986"/>
                    <a:pt x="2747" y="991"/>
                    <a:pt x="2747" y="997"/>
                  </a:cubicBezTo>
                  <a:cubicBezTo>
                    <a:pt x="2748" y="1002"/>
                    <a:pt x="2755" y="1007"/>
                    <a:pt x="2763" y="1007"/>
                  </a:cubicBezTo>
                  <a:cubicBezTo>
                    <a:pt x="2771" y="1007"/>
                    <a:pt x="2778" y="1002"/>
                    <a:pt x="2777" y="996"/>
                  </a:cubicBezTo>
                  <a:cubicBezTo>
                    <a:pt x="2776" y="991"/>
                    <a:pt x="2769" y="986"/>
                    <a:pt x="2761" y="986"/>
                  </a:cubicBezTo>
                  <a:cubicBezTo>
                    <a:pt x="2761" y="986"/>
                    <a:pt x="2761" y="986"/>
                    <a:pt x="2761" y="986"/>
                  </a:cubicBezTo>
                  <a:moveTo>
                    <a:pt x="2802" y="986"/>
                  </a:moveTo>
                  <a:cubicBezTo>
                    <a:pt x="2794" y="986"/>
                    <a:pt x="2788" y="991"/>
                    <a:pt x="2788" y="996"/>
                  </a:cubicBezTo>
                  <a:cubicBezTo>
                    <a:pt x="2789" y="1002"/>
                    <a:pt x="2796" y="1007"/>
                    <a:pt x="2804" y="1007"/>
                  </a:cubicBezTo>
                  <a:cubicBezTo>
                    <a:pt x="2812" y="1007"/>
                    <a:pt x="2818" y="1002"/>
                    <a:pt x="2818" y="996"/>
                  </a:cubicBezTo>
                  <a:cubicBezTo>
                    <a:pt x="2817" y="991"/>
                    <a:pt x="2810" y="986"/>
                    <a:pt x="2802" y="986"/>
                  </a:cubicBezTo>
                  <a:cubicBezTo>
                    <a:pt x="2802" y="986"/>
                    <a:pt x="2802" y="986"/>
                    <a:pt x="2802" y="986"/>
                  </a:cubicBezTo>
                  <a:moveTo>
                    <a:pt x="2846" y="986"/>
                  </a:moveTo>
                  <a:cubicBezTo>
                    <a:pt x="2838" y="986"/>
                    <a:pt x="2832" y="991"/>
                    <a:pt x="2833" y="996"/>
                  </a:cubicBezTo>
                  <a:cubicBezTo>
                    <a:pt x="2833" y="1002"/>
                    <a:pt x="2840" y="1006"/>
                    <a:pt x="2849" y="1006"/>
                  </a:cubicBezTo>
                  <a:cubicBezTo>
                    <a:pt x="2857" y="1006"/>
                    <a:pt x="2863" y="1002"/>
                    <a:pt x="2862" y="996"/>
                  </a:cubicBezTo>
                  <a:cubicBezTo>
                    <a:pt x="2861" y="991"/>
                    <a:pt x="2854" y="986"/>
                    <a:pt x="2846" y="986"/>
                  </a:cubicBezTo>
                  <a:cubicBezTo>
                    <a:pt x="2846" y="986"/>
                    <a:pt x="2846" y="986"/>
                    <a:pt x="2846" y="986"/>
                  </a:cubicBezTo>
                  <a:moveTo>
                    <a:pt x="2889" y="986"/>
                  </a:moveTo>
                  <a:cubicBezTo>
                    <a:pt x="2880" y="986"/>
                    <a:pt x="2874" y="990"/>
                    <a:pt x="2875" y="996"/>
                  </a:cubicBezTo>
                  <a:cubicBezTo>
                    <a:pt x="2876" y="1002"/>
                    <a:pt x="2883" y="1006"/>
                    <a:pt x="2891" y="1006"/>
                  </a:cubicBezTo>
                  <a:cubicBezTo>
                    <a:pt x="2899" y="1006"/>
                    <a:pt x="2905" y="1002"/>
                    <a:pt x="2905" y="996"/>
                  </a:cubicBezTo>
                  <a:cubicBezTo>
                    <a:pt x="2904" y="990"/>
                    <a:pt x="2897" y="986"/>
                    <a:pt x="2889" y="986"/>
                  </a:cubicBezTo>
                  <a:cubicBezTo>
                    <a:pt x="2889" y="986"/>
                    <a:pt x="2889" y="986"/>
                    <a:pt x="2889" y="986"/>
                  </a:cubicBezTo>
                  <a:moveTo>
                    <a:pt x="2931" y="986"/>
                  </a:moveTo>
                  <a:cubicBezTo>
                    <a:pt x="2923" y="986"/>
                    <a:pt x="2917" y="990"/>
                    <a:pt x="2918" y="996"/>
                  </a:cubicBezTo>
                  <a:cubicBezTo>
                    <a:pt x="2919" y="1002"/>
                    <a:pt x="2926" y="1006"/>
                    <a:pt x="2935" y="1006"/>
                  </a:cubicBezTo>
                  <a:cubicBezTo>
                    <a:pt x="2943" y="1006"/>
                    <a:pt x="2949" y="1001"/>
                    <a:pt x="2948" y="996"/>
                  </a:cubicBezTo>
                  <a:cubicBezTo>
                    <a:pt x="2947" y="990"/>
                    <a:pt x="2940" y="986"/>
                    <a:pt x="2932" y="986"/>
                  </a:cubicBezTo>
                  <a:cubicBezTo>
                    <a:pt x="2932" y="986"/>
                    <a:pt x="2931" y="986"/>
                    <a:pt x="2931" y="986"/>
                  </a:cubicBezTo>
                  <a:moveTo>
                    <a:pt x="3854" y="985"/>
                  </a:moveTo>
                  <a:cubicBezTo>
                    <a:pt x="3846" y="985"/>
                    <a:pt x="3841" y="990"/>
                    <a:pt x="3844" y="995"/>
                  </a:cubicBezTo>
                  <a:cubicBezTo>
                    <a:pt x="3847" y="1001"/>
                    <a:pt x="3855" y="1006"/>
                    <a:pt x="3863" y="1006"/>
                  </a:cubicBezTo>
                  <a:cubicBezTo>
                    <a:pt x="3872" y="1005"/>
                    <a:pt x="3876" y="1001"/>
                    <a:pt x="3873" y="995"/>
                  </a:cubicBezTo>
                  <a:cubicBezTo>
                    <a:pt x="3871" y="990"/>
                    <a:pt x="3862" y="985"/>
                    <a:pt x="3854" y="985"/>
                  </a:cubicBezTo>
                  <a:cubicBezTo>
                    <a:pt x="3854" y="985"/>
                    <a:pt x="3854" y="985"/>
                    <a:pt x="3854" y="985"/>
                  </a:cubicBezTo>
                  <a:moveTo>
                    <a:pt x="3982" y="983"/>
                  </a:moveTo>
                  <a:cubicBezTo>
                    <a:pt x="3973" y="983"/>
                    <a:pt x="3969" y="988"/>
                    <a:pt x="3972" y="994"/>
                  </a:cubicBezTo>
                  <a:cubicBezTo>
                    <a:pt x="3975" y="999"/>
                    <a:pt x="3984" y="1004"/>
                    <a:pt x="3992" y="1004"/>
                  </a:cubicBezTo>
                  <a:cubicBezTo>
                    <a:pt x="4000" y="1004"/>
                    <a:pt x="4004" y="999"/>
                    <a:pt x="4001" y="994"/>
                  </a:cubicBezTo>
                  <a:cubicBezTo>
                    <a:pt x="3999" y="988"/>
                    <a:pt x="3990" y="983"/>
                    <a:pt x="3982" y="983"/>
                  </a:cubicBezTo>
                  <a:cubicBezTo>
                    <a:pt x="3982" y="983"/>
                    <a:pt x="3982" y="983"/>
                    <a:pt x="3982" y="983"/>
                  </a:cubicBezTo>
                  <a:moveTo>
                    <a:pt x="4232" y="981"/>
                  </a:moveTo>
                  <a:cubicBezTo>
                    <a:pt x="4224" y="981"/>
                    <a:pt x="4220" y="986"/>
                    <a:pt x="4223" y="991"/>
                  </a:cubicBezTo>
                  <a:cubicBezTo>
                    <a:pt x="4226" y="997"/>
                    <a:pt x="4236" y="1002"/>
                    <a:pt x="4244" y="1002"/>
                  </a:cubicBezTo>
                  <a:cubicBezTo>
                    <a:pt x="4252" y="1002"/>
                    <a:pt x="4256" y="997"/>
                    <a:pt x="4253" y="991"/>
                  </a:cubicBezTo>
                  <a:cubicBezTo>
                    <a:pt x="4249" y="986"/>
                    <a:pt x="4240" y="981"/>
                    <a:pt x="4232" y="981"/>
                  </a:cubicBezTo>
                  <a:cubicBezTo>
                    <a:pt x="4232" y="981"/>
                    <a:pt x="4232" y="981"/>
                    <a:pt x="4232" y="981"/>
                  </a:cubicBezTo>
                  <a:moveTo>
                    <a:pt x="4323" y="981"/>
                  </a:moveTo>
                  <a:cubicBezTo>
                    <a:pt x="4315" y="981"/>
                    <a:pt x="4311" y="985"/>
                    <a:pt x="4314" y="991"/>
                  </a:cubicBezTo>
                  <a:cubicBezTo>
                    <a:pt x="4318" y="997"/>
                    <a:pt x="4327" y="1001"/>
                    <a:pt x="4335" y="1001"/>
                  </a:cubicBezTo>
                  <a:cubicBezTo>
                    <a:pt x="4344" y="1001"/>
                    <a:pt x="4347" y="997"/>
                    <a:pt x="4344" y="991"/>
                  </a:cubicBezTo>
                  <a:cubicBezTo>
                    <a:pt x="4340" y="985"/>
                    <a:pt x="4331" y="981"/>
                    <a:pt x="4323" y="981"/>
                  </a:cubicBezTo>
                  <a:cubicBezTo>
                    <a:pt x="4323" y="981"/>
                    <a:pt x="4323" y="981"/>
                    <a:pt x="4323" y="981"/>
                  </a:cubicBezTo>
                  <a:moveTo>
                    <a:pt x="301" y="967"/>
                  </a:moveTo>
                  <a:cubicBezTo>
                    <a:pt x="293" y="967"/>
                    <a:pt x="283" y="972"/>
                    <a:pt x="279" y="977"/>
                  </a:cubicBezTo>
                  <a:cubicBezTo>
                    <a:pt x="275" y="983"/>
                    <a:pt x="278" y="987"/>
                    <a:pt x="286" y="987"/>
                  </a:cubicBezTo>
                  <a:cubicBezTo>
                    <a:pt x="294" y="987"/>
                    <a:pt x="304" y="983"/>
                    <a:pt x="308" y="977"/>
                  </a:cubicBezTo>
                  <a:cubicBezTo>
                    <a:pt x="312" y="972"/>
                    <a:pt x="309" y="967"/>
                    <a:pt x="301" y="967"/>
                  </a:cubicBezTo>
                  <a:cubicBezTo>
                    <a:pt x="301" y="967"/>
                    <a:pt x="301" y="967"/>
                    <a:pt x="301" y="967"/>
                  </a:cubicBezTo>
                  <a:moveTo>
                    <a:pt x="342" y="967"/>
                  </a:moveTo>
                  <a:cubicBezTo>
                    <a:pt x="334" y="967"/>
                    <a:pt x="324" y="972"/>
                    <a:pt x="320" y="977"/>
                  </a:cubicBezTo>
                  <a:cubicBezTo>
                    <a:pt x="316" y="983"/>
                    <a:pt x="320" y="987"/>
                    <a:pt x="328" y="987"/>
                  </a:cubicBezTo>
                  <a:cubicBezTo>
                    <a:pt x="336" y="987"/>
                    <a:pt x="346" y="983"/>
                    <a:pt x="350" y="977"/>
                  </a:cubicBezTo>
                  <a:cubicBezTo>
                    <a:pt x="354" y="971"/>
                    <a:pt x="350" y="967"/>
                    <a:pt x="342" y="967"/>
                  </a:cubicBezTo>
                  <a:cubicBezTo>
                    <a:pt x="342" y="967"/>
                    <a:pt x="342" y="967"/>
                    <a:pt x="342" y="967"/>
                  </a:cubicBezTo>
                  <a:moveTo>
                    <a:pt x="550" y="965"/>
                  </a:moveTo>
                  <a:cubicBezTo>
                    <a:pt x="542" y="965"/>
                    <a:pt x="533" y="970"/>
                    <a:pt x="529" y="975"/>
                  </a:cubicBezTo>
                  <a:cubicBezTo>
                    <a:pt x="526" y="981"/>
                    <a:pt x="529" y="985"/>
                    <a:pt x="537" y="985"/>
                  </a:cubicBezTo>
                  <a:cubicBezTo>
                    <a:pt x="545" y="985"/>
                    <a:pt x="555" y="981"/>
                    <a:pt x="558" y="975"/>
                  </a:cubicBezTo>
                  <a:cubicBezTo>
                    <a:pt x="562" y="970"/>
                    <a:pt x="558" y="965"/>
                    <a:pt x="550" y="965"/>
                  </a:cubicBezTo>
                  <a:cubicBezTo>
                    <a:pt x="550" y="965"/>
                    <a:pt x="550" y="965"/>
                    <a:pt x="550" y="965"/>
                  </a:cubicBezTo>
                  <a:moveTo>
                    <a:pt x="635" y="965"/>
                  </a:moveTo>
                  <a:cubicBezTo>
                    <a:pt x="627" y="965"/>
                    <a:pt x="618" y="969"/>
                    <a:pt x="614" y="975"/>
                  </a:cubicBezTo>
                  <a:cubicBezTo>
                    <a:pt x="611" y="980"/>
                    <a:pt x="615" y="985"/>
                    <a:pt x="623" y="985"/>
                  </a:cubicBezTo>
                  <a:cubicBezTo>
                    <a:pt x="631" y="985"/>
                    <a:pt x="640" y="980"/>
                    <a:pt x="644" y="975"/>
                  </a:cubicBezTo>
                  <a:cubicBezTo>
                    <a:pt x="647" y="969"/>
                    <a:pt x="643" y="965"/>
                    <a:pt x="635" y="965"/>
                  </a:cubicBezTo>
                  <a:cubicBezTo>
                    <a:pt x="635" y="965"/>
                    <a:pt x="635" y="965"/>
                    <a:pt x="635" y="965"/>
                  </a:cubicBezTo>
                  <a:moveTo>
                    <a:pt x="1677" y="962"/>
                  </a:moveTo>
                  <a:cubicBezTo>
                    <a:pt x="1669" y="962"/>
                    <a:pt x="1662" y="967"/>
                    <a:pt x="1660" y="973"/>
                  </a:cubicBezTo>
                  <a:cubicBezTo>
                    <a:pt x="1659" y="978"/>
                    <a:pt x="1664" y="983"/>
                    <a:pt x="1672" y="983"/>
                  </a:cubicBezTo>
                  <a:cubicBezTo>
                    <a:pt x="1680" y="983"/>
                    <a:pt x="1688" y="978"/>
                    <a:pt x="1689" y="973"/>
                  </a:cubicBezTo>
                  <a:cubicBezTo>
                    <a:pt x="1691" y="967"/>
                    <a:pt x="1686" y="962"/>
                    <a:pt x="1678" y="962"/>
                  </a:cubicBezTo>
                  <a:cubicBezTo>
                    <a:pt x="1678" y="962"/>
                    <a:pt x="1678" y="962"/>
                    <a:pt x="1677" y="962"/>
                  </a:cubicBezTo>
                  <a:moveTo>
                    <a:pt x="1717" y="962"/>
                  </a:moveTo>
                  <a:cubicBezTo>
                    <a:pt x="1709" y="962"/>
                    <a:pt x="1701" y="967"/>
                    <a:pt x="1699" y="972"/>
                  </a:cubicBezTo>
                  <a:cubicBezTo>
                    <a:pt x="1698" y="978"/>
                    <a:pt x="1703" y="983"/>
                    <a:pt x="1712" y="983"/>
                  </a:cubicBezTo>
                  <a:cubicBezTo>
                    <a:pt x="1720" y="983"/>
                    <a:pt x="1727" y="978"/>
                    <a:pt x="1729" y="972"/>
                  </a:cubicBezTo>
                  <a:cubicBezTo>
                    <a:pt x="1730" y="967"/>
                    <a:pt x="1725" y="962"/>
                    <a:pt x="1717" y="962"/>
                  </a:cubicBezTo>
                  <a:cubicBezTo>
                    <a:pt x="1717" y="962"/>
                    <a:pt x="1717" y="962"/>
                    <a:pt x="1717" y="962"/>
                  </a:cubicBezTo>
                  <a:moveTo>
                    <a:pt x="1758" y="962"/>
                  </a:moveTo>
                  <a:cubicBezTo>
                    <a:pt x="1750" y="962"/>
                    <a:pt x="1742" y="967"/>
                    <a:pt x="1741" y="972"/>
                  </a:cubicBezTo>
                  <a:cubicBezTo>
                    <a:pt x="1740" y="978"/>
                    <a:pt x="1745" y="983"/>
                    <a:pt x="1753" y="982"/>
                  </a:cubicBezTo>
                  <a:cubicBezTo>
                    <a:pt x="1761" y="982"/>
                    <a:pt x="1769" y="978"/>
                    <a:pt x="1770" y="972"/>
                  </a:cubicBezTo>
                  <a:cubicBezTo>
                    <a:pt x="1772" y="967"/>
                    <a:pt x="1766" y="962"/>
                    <a:pt x="1758" y="962"/>
                  </a:cubicBezTo>
                  <a:cubicBezTo>
                    <a:pt x="1758" y="962"/>
                    <a:pt x="1758" y="962"/>
                    <a:pt x="1758" y="962"/>
                  </a:cubicBezTo>
                  <a:moveTo>
                    <a:pt x="1800" y="962"/>
                  </a:moveTo>
                  <a:cubicBezTo>
                    <a:pt x="1792" y="962"/>
                    <a:pt x="1784" y="967"/>
                    <a:pt x="1783" y="972"/>
                  </a:cubicBezTo>
                  <a:cubicBezTo>
                    <a:pt x="1782" y="978"/>
                    <a:pt x="1787" y="982"/>
                    <a:pt x="1795" y="982"/>
                  </a:cubicBezTo>
                  <a:cubicBezTo>
                    <a:pt x="1803" y="982"/>
                    <a:pt x="1811" y="978"/>
                    <a:pt x="1812" y="972"/>
                  </a:cubicBezTo>
                  <a:cubicBezTo>
                    <a:pt x="1813" y="966"/>
                    <a:pt x="1808" y="962"/>
                    <a:pt x="1800" y="962"/>
                  </a:cubicBezTo>
                  <a:cubicBezTo>
                    <a:pt x="1800" y="962"/>
                    <a:pt x="1800" y="962"/>
                    <a:pt x="1800" y="962"/>
                  </a:cubicBezTo>
                  <a:moveTo>
                    <a:pt x="1842" y="962"/>
                  </a:moveTo>
                  <a:cubicBezTo>
                    <a:pt x="1834" y="962"/>
                    <a:pt x="1826" y="966"/>
                    <a:pt x="1825" y="972"/>
                  </a:cubicBezTo>
                  <a:cubicBezTo>
                    <a:pt x="1824" y="978"/>
                    <a:pt x="1830" y="982"/>
                    <a:pt x="1838" y="982"/>
                  </a:cubicBezTo>
                  <a:cubicBezTo>
                    <a:pt x="1846" y="982"/>
                    <a:pt x="1853" y="978"/>
                    <a:pt x="1855" y="972"/>
                  </a:cubicBezTo>
                  <a:cubicBezTo>
                    <a:pt x="1856" y="966"/>
                    <a:pt x="1850" y="962"/>
                    <a:pt x="1842" y="962"/>
                  </a:cubicBezTo>
                  <a:cubicBezTo>
                    <a:pt x="1842" y="962"/>
                    <a:pt x="1842" y="962"/>
                    <a:pt x="1842" y="962"/>
                  </a:cubicBezTo>
                  <a:moveTo>
                    <a:pt x="1883" y="962"/>
                  </a:moveTo>
                  <a:cubicBezTo>
                    <a:pt x="1875" y="962"/>
                    <a:pt x="1868" y="966"/>
                    <a:pt x="1867" y="972"/>
                  </a:cubicBezTo>
                  <a:cubicBezTo>
                    <a:pt x="1866" y="977"/>
                    <a:pt x="1871" y="982"/>
                    <a:pt x="1879" y="982"/>
                  </a:cubicBezTo>
                  <a:cubicBezTo>
                    <a:pt x="1888" y="982"/>
                    <a:pt x="1895" y="977"/>
                    <a:pt x="1896" y="972"/>
                  </a:cubicBezTo>
                  <a:cubicBezTo>
                    <a:pt x="1897" y="966"/>
                    <a:pt x="1892" y="962"/>
                    <a:pt x="1884" y="962"/>
                  </a:cubicBezTo>
                  <a:cubicBezTo>
                    <a:pt x="1884" y="962"/>
                    <a:pt x="1883" y="962"/>
                    <a:pt x="1883" y="962"/>
                  </a:cubicBezTo>
                  <a:moveTo>
                    <a:pt x="1925" y="961"/>
                  </a:moveTo>
                  <a:cubicBezTo>
                    <a:pt x="1917" y="961"/>
                    <a:pt x="1910" y="966"/>
                    <a:pt x="1909" y="972"/>
                  </a:cubicBezTo>
                  <a:cubicBezTo>
                    <a:pt x="1908" y="977"/>
                    <a:pt x="1913" y="982"/>
                    <a:pt x="1921" y="982"/>
                  </a:cubicBezTo>
                  <a:cubicBezTo>
                    <a:pt x="1929" y="982"/>
                    <a:pt x="1937" y="977"/>
                    <a:pt x="1938" y="972"/>
                  </a:cubicBezTo>
                  <a:cubicBezTo>
                    <a:pt x="1939" y="966"/>
                    <a:pt x="1933" y="961"/>
                    <a:pt x="1925" y="961"/>
                  </a:cubicBezTo>
                  <a:cubicBezTo>
                    <a:pt x="1925" y="961"/>
                    <a:pt x="1925" y="961"/>
                    <a:pt x="1925" y="961"/>
                  </a:cubicBezTo>
                  <a:moveTo>
                    <a:pt x="1967" y="961"/>
                  </a:moveTo>
                  <a:cubicBezTo>
                    <a:pt x="1958" y="961"/>
                    <a:pt x="1951" y="966"/>
                    <a:pt x="1950" y="972"/>
                  </a:cubicBezTo>
                  <a:cubicBezTo>
                    <a:pt x="1949" y="977"/>
                    <a:pt x="1955" y="982"/>
                    <a:pt x="1963" y="982"/>
                  </a:cubicBezTo>
                  <a:cubicBezTo>
                    <a:pt x="1971" y="982"/>
                    <a:pt x="1979" y="977"/>
                    <a:pt x="1979" y="971"/>
                  </a:cubicBezTo>
                  <a:cubicBezTo>
                    <a:pt x="1980" y="966"/>
                    <a:pt x="1975" y="961"/>
                    <a:pt x="1967" y="961"/>
                  </a:cubicBezTo>
                  <a:cubicBezTo>
                    <a:pt x="1967" y="961"/>
                    <a:pt x="1967" y="961"/>
                    <a:pt x="1967" y="961"/>
                  </a:cubicBezTo>
                  <a:moveTo>
                    <a:pt x="2008" y="961"/>
                  </a:moveTo>
                  <a:cubicBezTo>
                    <a:pt x="2000" y="961"/>
                    <a:pt x="1993" y="966"/>
                    <a:pt x="1992" y="971"/>
                  </a:cubicBezTo>
                  <a:cubicBezTo>
                    <a:pt x="1991" y="977"/>
                    <a:pt x="1997" y="982"/>
                    <a:pt x="2005" y="982"/>
                  </a:cubicBezTo>
                  <a:cubicBezTo>
                    <a:pt x="2013" y="982"/>
                    <a:pt x="2020" y="977"/>
                    <a:pt x="2021" y="971"/>
                  </a:cubicBezTo>
                  <a:cubicBezTo>
                    <a:pt x="2022" y="966"/>
                    <a:pt x="2016" y="961"/>
                    <a:pt x="2008" y="961"/>
                  </a:cubicBezTo>
                  <a:cubicBezTo>
                    <a:pt x="2008" y="961"/>
                    <a:pt x="2008" y="961"/>
                    <a:pt x="2008" y="961"/>
                  </a:cubicBezTo>
                  <a:moveTo>
                    <a:pt x="2051" y="961"/>
                  </a:moveTo>
                  <a:cubicBezTo>
                    <a:pt x="2043" y="961"/>
                    <a:pt x="2036" y="966"/>
                    <a:pt x="2035" y="971"/>
                  </a:cubicBezTo>
                  <a:cubicBezTo>
                    <a:pt x="2034" y="977"/>
                    <a:pt x="2040" y="981"/>
                    <a:pt x="2048" y="981"/>
                  </a:cubicBezTo>
                  <a:cubicBezTo>
                    <a:pt x="2057" y="981"/>
                    <a:pt x="2064" y="977"/>
                    <a:pt x="2064" y="971"/>
                  </a:cubicBezTo>
                  <a:cubicBezTo>
                    <a:pt x="2065" y="965"/>
                    <a:pt x="2059" y="961"/>
                    <a:pt x="2051" y="961"/>
                  </a:cubicBezTo>
                  <a:cubicBezTo>
                    <a:pt x="2051" y="961"/>
                    <a:pt x="2051" y="961"/>
                    <a:pt x="2051" y="961"/>
                  </a:cubicBezTo>
                  <a:moveTo>
                    <a:pt x="2093" y="961"/>
                  </a:moveTo>
                  <a:cubicBezTo>
                    <a:pt x="2085" y="961"/>
                    <a:pt x="2078" y="965"/>
                    <a:pt x="2077" y="971"/>
                  </a:cubicBezTo>
                  <a:cubicBezTo>
                    <a:pt x="2076" y="977"/>
                    <a:pt x="2082" y="981"/>
                    <a:pt x="2090" y="981"/>
                  </a:cubicBezTo>
                  <a:cubicBezTo>
                    <a:pt x="2098" y="981"/>
                    <a:pt x="2105" y="977"/>
                    <a:pt x="2106" y="971"/>
                  </a:cubicBezTo>
                  <a:cubicBezTo>
                    <a:pt x="2107" y="965"/>
                    <a:pt x="2101" y="961"/>
                    <a:pt x="2093" y="961"/>
                  </a:cubicBezTo>
                  <a:cubicBezTo>
                    <a:pt x="2093" y="961"/>
                    <a:pt x="2093" y="961"/>
                    <a:pt x="2093" y="961"/>
                  </a:cubicBezTo>
                  <a:moveTo>
                    <a:pt x="2134" y="961"/>
                  </a:moveTo>
                  <a:cubicBezTo>
                    <a:pt x="2126" y="961"/>
                    <a:pt x="2119" y="965"/>
                    <a:pt x="2119" y="971"/>
                  </a:cubicBezTo>
                  <a:cubicBezTo>
                    <a:pt x="2118" y="977"/>
                    <a:pt x="2124" y="981"/>
                    <a:pt x="2132" y="981"/>
                  </a:cubicBezTo>
                  <a:cubicBezTo>
                    <a:pt x="2140" y="981"/>
                    <a:pt x="2147" y="976"/>
                    <a:pt x="2148" y="971"/>
                  </a:cubicBezTo>
                  <a:cubicBezTo>
                    <a:pt x="2149" y="965"/>
                    <a:pt x="2143" y="961"/>
                    <a:pt x="2135" y="961"/>
                  </a:cubicBezTo>
                  <a:cubicBezTo>
                    <a:pt x="2135" y="961"/>
                    <a:pt x="2134" y="961"/>
                    <a:pt x="2134" y="961"/>
                  </a:cubicBezTo>
                  <a:moveTo>
                    <a:pt x="2177" y="960"/>
                  </a:moveTo>
                  <a:cubicBezTo>
                    <a:pt x="2169" y="961"/>
                    <a:pt x="2162" y="965"/>
                    <a:pt x="2161" y="971"/>
                  </a:cubicBezTo>
                  <a:cubicBezTo>
                    <a:pt x="2160" y="976"/>
                    <a:pt x="2166" y="981"/>
                    <a:pt x="2175" y="981"/>
                  </a:cubicBezTo>
                  <a:cubicBezTo>
                    <a:pt x="2183" y="981"/>
                    <a:pt x="2190" y="976"/>
                    <a:pt x="2190" y="971"/>
                  </a:cubicBezTo>
                  <a:cubicBezTo>
                    <a:pt x="2191" y="965"/>
                    <a:pt x="2185" y="960"/>
                    <a:pt x="2177" y="960"/>
                  </a:cubicBezTo>
                  <a:cubicBezTo>
                    <a:pt x="2177" y="960"/>
                    <a:pt x="2177" y="960"/>
                    <a:pt x="2177" y="960"/>
                  </a:cubicBezTo>
                  <a:moveTo>
                    <a:pt x="2218" y="960"/>
                  </a:moveTo>
                  <a:cubicBezTo>
                    <a:pt x="2210" y="960"/>
                    <a:pt x="2203" y="965"/>
                    <a:pt x="2202" y="971"/>
                  </a:cubicBezTo>
                  <a:cubicBezTo>
                    <a:pt x="2202" y="976"/>
                    <a:pt x="2208" y="981"/>
                    <a:pt x="2216" y="981"/>
                  </a:cubicBezTo>
                  <a:cubicBezTo>
                    <a:pt x="2224" y="981"/>
                    <a:pt x="2231" y="976"/>
                    <a:pt x="2232" y="970"/>
                  </a:cubicBezTo>
                  <a:cubicBezTo>
                    <a:pt x="2232" y="965"/>
                    <a:pt x="2226" y="960"/>
                    <a:pt x="2218" y="960"/>
                  </a:cubicBezTo>
                  <a:cubicBezTo>
                    <a:pt x="2218" y="960"/>
                    <a:pt x="2218" y="960"/>
                    <a:pt x="2218" y="960"/>
                  </a:cubicBezTo>
                  <a:moveTo>
                    <a:pt x="2260" y="960"/>
                  </a:moveTo>
                  <a:cubicBezTo>
                    <a:pt x="2252" y="960"/>
                    <a:pt x="2245" y="965"/>
                    <a:pt x="2244" y="970"/>
                  </a:cubicBezTo>
                  <a:cubicBezTo>
                    <a:pt x="2244" y="976"/>
                    <a:pt x="2250" y="981"/>
                    <a:pt x="2258" y="981"/>
                  </a:cubicBezTo>
                  <a:cubicBezTo>
                    <a:pt x="2266" y="981"/>
                    <a:pt x="2273" y="976"/>
                    <a:pt x="2273" y="970"/>
                  </a:cubicBezTo>
                  <a:cubicBezTo>
                    <a:pt x="2274" y="965"/>
                    <a:pt x="2268" y="960"/>
                    <a:pt x="2260" y="960"/>
                  </a:cubicBezTo>
                  <a:cubicBezTo>
                    <a:pt x="2260" y="960"/>
                    <a:pt x="2260" y="960"/>
                    <a:pt x="2260" y="960"/>
                  </a:cubicBezTo>
                  <a:moveTo>
                    <a:pt x="2301" y="960"/>
                  </a:moveTo>
                  <a:cubicBezTo>
                    <a:pt x="2293" y="960"/>
                    <a:pt x="2286" y="965"/>
                    <a:pt x="2286" y="970"/>
                  </a:cubicBezTo>
                  <a:cubicBezTo>
                    <a:pt x="2285" y="976"/>
                    <a:pt x="2292" y="980"/>
                    <a:pt x="2300" y="980"/>
                  </a:cubicBezTo>
                  <a:cubicBezTo>
                    <a:pt x="2308" y="980"/>
                    <a:pt x="2315" y="976"/>
                    <a:pt x="2315" y="970"/>
                  </a:cubicBezTo>
                  <a:cubicBezTo>
                    <a:pt x="2315" y="965"/>
                    <a:pt x="2309" y="960"/>
                    <a:pt x="2301" y="960"/>
                  </a:cubicBezTo>
                  <a:cubicBezTo>
                    <a:pt x="2301" y="960"/>
                    <a:pt x="2301" y="960"/>
                    <a:pt x="2301" y="960"/>
                  </a:cubicBezTo>
                  <a:moveTo>
                    <a:pt x="2343" y="960"/>
                  </a:moveTo>
                  <a:cubicBezTo>
                    <a:pt x="2335" y="960"/>
                    <a:pt x="2328" y="964"/>
                    <a:pt x="2328" y="970"/>
                  </a:cubicBezTo>
                  <a:cubicBezTo>
                    <a:pt x="2327" y="976"/>
                    <a:pt x="2334" y="980"/>
                    <a:pt x="2342" y="980"/>
                  </a:cubicBezTo>
                  <a:cubicBezTo>
                    <a:pt x="2350" y="980"/>
                    <a:pt x="2357" y="976"/>
                    <a:pt x="2357" y="970"/>
                  </a:cubicBezTo>
                  <a:cubicBezTo>
                    <a:pt x="2357" y="964"/>
                    <a:pt x="2351" y="960"/>
                    <a:pt x="2343" y="960"/>
                  </a:cubicBezTo>
                  <a:cubicBezTo>
                    <a:pt x="2343" y="960"/>
                    <a:pt x="2343" y="960"/>
                    <a:pt x="2343" y="960"/>
                  </a:cubicBezTo>
                  <a:moveTo>
                    <a:pt x="2385" y="960"/>
                  </a:moveTo>
                  <a:cubicBezTo>
                    <a:pt x="2377" y="960"/>
                    <a:pt x="2370" y="964"/>
                    <a:pt x="2370" y="970"/>
                  </a:cubicBezTo>
                  <a:cubicBezTo>
                    <a:pt x="2370" y="976"/>
                    <a:pt x="2376" y="980"/>
                    <a:pt x="2384" y="980"/>
                  </a:cubicBezTo>
                  <a:cubicBezTo>
                    <a:pt x="2392" y="980"/>
                    <a:pt x="2399" y="976"/>
                    <a:pt x="2399" y="970"/>
                  </a:cubicBezTo>
                  <a:cubicBezTo>
                    <a:pt x="2399" y="964"/>
                    <a:pt x="2393" y="960"/>
                    <a:pt x="2385" y="960"/>
                  </a:cubicBezTo>
                  <a:cubicBezTo>
                    <a:pt x="2385" y="960"/>
                    <a:pt x="2385" y="960"/>
                    <a:pt x="2385" y="960"/>
                  </a:cubicBezTo>
                  <a:moveTo>
                    <a:pt x="2426" y="960"/>
                  </a:moveTo>
                  <a:cubicBezTo>
                    <a:pt x="2418" y="960"/>
                    <a:pt x="2412" y="964"/>
                    <a:pt x="2411" y="970"/>
                  </a:cubicBezTo>
                  <a:cubicBezTo>
                    <a:pt x="2411" y="975"/>
                    <a:pt x="2418" y="980"/>
                    <a:pt x="2426" y="980"/>
                  </a:cubicBezTo>
                  <a:cubicBezTo>
                    <a:pt x="2434" y="980"/>
                    <a:pt x="2441" y="975"/>
                    <a:pt x="2441" y="970"/>
                  </a:cubicBezTo>
                  <a:cubicBezTo>
                    <a:pt x="2441" y="964"/>
                    <a:pt x="2434" y="960"/>
                    <a:pt x="2426" y="960"/>
                  </a:cubicBezTo>
                  <a:cubicBezTo>
                    <a:pt x="2426" y="960"/>
                    <a:pt x="2426" y="960"/>
                    <a:pt x="2426" y="960"/>
                  </a:cubicBezTo>
                  <a:moveTo>
                    <a:pt x="2468" y="959"/>
                  </a:moveTo>
                  <a:cubicBezTo>
                    <a:pt x="2460" y="959"/>
                    <a:pt x="2453" y="964"/>
                    <a:pt x="2453" y="970"/>
                  </a:cubicBezTo>
                  <a:cubicBezTo>
                    <a:pt x="2453" y="975"/>
                    <a:pt x="2460" y="980"/>
                    <a:pt x="2468" y="980"/>
                  </a:cubicBezTo>
                  <a:cubicBezTo>
                    <a:pt x="2476" y="980"/>
                    <a:pt x="2483" y="975"/>
                    <a:pt x="2483" y="970"/>
                  </a:cubicBezTo>
                  <a:cubicBezTo>
                    <a:pt x="2482" y="964"/>
                    <a:pt x="2476" y="959"/>
                    <a:pt x="2468" y="959"/>
                  </a:cubicBezTo>
                  <a:cubicBezTo>
                    <a:pt x="2468" y="959"/>
                    <a:pt x="2468" y="959"/>
                    <a:pt x="2468" y="959"/>
                  </a:cubicBezTo>
                  <a:moveTo>
                    <a:pt x="2509" y="959"/>
                  </a:moveTo>
                  <a:cubicBezTo>
                    <a:pt x="2501" y="959"/>
                    <a:pt x="2495" y="964"/>
                    <a:pt x="2495" y="969"/>
                  </a:cubicBezTo>
                  <a:cubicBezTo>
                    <a:pt x="2495" y="975"/>
                    <a:pt x="2501" y="980"/>
                    <a:pt x="2509" y="980"/>
                  </a:cubicBezTo>
                  <a:cubicBezTo>
                    <a:pt x="2518" y="980"/>
                    <a:pt x="2524" y="975"/>
                    <a:pt x="2524" y="969"/>
                  </a:cubicBezTo>
                  <a:cubicBezTo>
                    <a:pt x="2524" y="964"/>
                    <a:pt x="2517" y="959"/>
                    <a:pt x="2509" y="959"/>
                  </a:cubicBezTo>
                  <a:cubicBezTo>
                    <a:pt x="2509" y="959"/>
                    <a:pt x="2509" y="959"/>
                    <a:pt x="2509" y="959"/>
                  </a:cubicBezTo>
                  <a:moveTo>
                    <a:pt x="2551" y="959"/>
                  </a:moveTo>
                  <a:cubicBezTo>
                    <a:pt x="2543" y="959"/>
                    <a:pt x="2537" y="964"/>
                    <a:pt x="2537" y="969"/>
                  </a:cubicBezTo>
                  <a:cubicBezTo>
                    <a:pt x="2537" y="975"/>
                    <a:pt x="2543" y="980"/>
                    <a:pt x="2552" y="980"/>
                  </a:cubicBezTo>
                  <a:cubicBezTo>
                    <a:pt x="2560" y="979"/>
                    <a:pt x="2566" y="975"/>
                    <a:pt x="2566" y="969"/>
                  </a:cubicBezTo>
                  <a:cubicBezTo>
                    <a:pt x="2566" y="964"/>
                    <a:pt x="2559" y="959"/>
                    <a:pt x="2551" y="959"/>
                  </a:cubicBezTo>
                  <a:cubicBezTo>
                    <a:pt x="2551" y="959"/>
                    <a:pt x="2551" y="959"/>
                    <a:pt x="2551" y="959"/>
                  </a:cubicBezTo>
                  <a:moveTo>
                    <a:pt x="2593" y="959"/>
                  </a:moveTo>
                  <a:cubicBezTo>
                    <a:pt x="2585" y="959"/>
                    <a:pt x="2579" y="964"/>
                    <a:pt x="2579" y="969"/>
                  </a:cubicBezTo>
                  <a:cubicBezTo>
                    <a:pt x="2579" y="975"/>
                    <a:pt x="2586" y="979"/>
                    <a:pt x="2594" y="979"/>
                  </a:cubicBezTo>
                  <a:cubicBezTo>
                    <a:pt x="2602" y="979"/>
                    <a:pt x="2608" y="975"/>
                    <a:pt x="2608" y="969"/>
                  </a:cubicBezTo>
                  <a:cubicBezTo>
                    <a:pt x="2608" y="963"/>
                    <a:pt x="2601" y="959"/>
                    <a:pt x="2593" y="959"/>
                  </a:cubicBezTo>
                  <a:cubicBezTo>
                    <a:pt x="2593" y="959"/>
                    <a:pt x="2593" y="959"/>
                    <a:pt x="2593" y="959"/>
                  </a:cubicBezTo>
                  <a:moveTo>
                    <a:pt x="2635" y="959"/>
                  </a:moveTo>
                  <a:cubicBezTo>
                    <a:pt x="2626" y="959"/>
                    <a:pt x="2620" y="963"/>
                    <a:pt x="2620" y="969"/>
                  </a:cubicBezTo>
                  <a:cubicBezTo>
                    <a:pt x="2621" y="975"/>
                    <a:pt x="2627" y="979"/>
                    <a:pt x="2636" y="979"/>
                  </a:cubicBezTo>
                  <a:cubicBezTo>
                    <a:pt x="2644" y="979"/>
                    <a:pt x="2650" y="975"/>
                    <a:pt x="2650" y="969"/>
                  </a:cubicBezTo>
                  <a:cubicBezTo>
                    <a:pt x="2649" y="963"/>
                    <a:pt x="2643" y="959"/>
                    <a:pt x="2635" y="959"/>
                  </a:cubicBezTo>
                  <a:cubicBezTo>
                    <a:pt x="2635" y="959"/>
                    <a:pt x="2635" y="959"/>
                    <a:pt x="2635" y="959"/>
                  </a:cubicBezTo>
                  <a:moveTo>
                    <a:pt x="2677" y="959"/>
                  </a:moveTo>
                  <a:cubicBezTo>
                    <a:pt x="2668" y="959"/>
                    <a:pt x="2662" y="963"/>
                    <a:pt x="2663" y="969"/>
                  </a:cubicBezTo>
                  <a:cubicBezTo>
                    <a:pt x="2663" y="975"/>
                    <a:pt x="2670" y="979"/>
                    <a:pt x="2678" y="979"/>
                  </a:cubicBezTo>
                  <a:cubicBezTo>
                    <a:pt x="2686" y="979"/>
                    <a:pt x="2692" y="974"/>
                    <a:pt x="2692" y="969"/>
                  </a:cubicBezTo>
                  <a:cubicBezTo>
                    <a:pt x="2691" y="963"/>
                    <a:pt x="2685" y="959"/>
                    <a:pt x="2677" y="959"/>
                  </a:cubicBezTo>
                  <a:cubicBezTo>
                    <a:pt x="2677" y="959"/>
                    <a:pt x="2677" y="959"/>
                    <a:pt x="2677" y="959"/>
                  </a:cubicBezTo>
                  <a:moveTo>
                    <a:pt x="2717" y="958"/>
                  </a:moveTo>
                  <a:cubicBezTo>
                    <a:pt x="2709" y="958"/>
                    <a:pt x="2702" y="963"/>
                    <a:pt x="2703" y="969"/>
                  </a:cubicBezTo>
                  <a:cubicBezTo>
                    <a:pt x="2703" y="974"/>
                    <a:pt x="2710" y="979"/>
                    <a:pt x="2718" y="979"/>
                  </a:cubicBezTo>
                  <a:cubicBezTo>
                    <a:pt x="2726" y="979"/>
                    <a:pt x="2733" y="974"/>
                    <a:pt x="2732" y="969"/>
                  </a:cubicBezTo>
                  <a:cubicBezTo>
                    <a:pt x="2732" y="963"/>
                    <a:pt x="2725" y="958"/>
                    <a:pt x="2717" y="958"/>
                  </a:cubicBezTo>
                  <a:cubicBezTo>
                    <a:pt x="2717" y="958"/>
                    <a:pt x="2717" y="958"/>
                    <a:pt x="2717" y="958"/>
                  </a:cubicBezTo>
                  <a:moveTo>
                    <a:pt x="2759" y="958"/>
                  </a:moveTo>
                  <a:cubicBezTo>
                    <a:pt x="2751" y="958"/>
                    <a:pt x="2744" y="963"/>
                    <a:pt x="2745" y="969"/>
                  </a:cubicBezTo>
                  <a:cubicBezTo>
                    <a:pt x="2745" y="974"/>
                    <a:pt x="2752" y="979"/>
                    <a:pt x="2761" y="979"/>
                  </a:cubicBezTo>
                  <a:cubicBezTo>
                    <a:pt x="2769" y="979"/>
                    <a:pt x="2775" y="974"/>
                    <a:pt x="2774" y="968"/>
                  </a:cubicBezTo>
                  <a:cubicBezTo>
                    <a:pt x="2774" y="963"/>
                    <a:pt x="2767" y="958"/>
                    <a:pt x="2759" y="958"/>
                  </a:cubicBezTo>
                  <a:cubicBezTo>
                    <a:pt x="2759" y="958"/>
                    <a:pt x="2759" y="958"/>
                    <a:pt x="2759" y="958"/>
                  </a:cubicBezTo>
                  <a:moveTo>
                    <a:pt x="3424" y="957"/>
                  </a:moveTo>
                  <a:cubicBezTo>
                    <a:pt x="3416" y="958"/>
                    <a:pt x="3411" y="962"/>
                    <a:pt x="3413" y="968"/>
                  </a:cubicBezTo>
                  <a:cubicBezTo>
                    <a:pt x="3414" y="973"/>
                    <a:pt x="3422" y="978"/>
                    <a:pt x="3431" y="978"/>
                  </a:cubicBezTo>
                  <a:cubicBezTo>
                    <a:pt x="3439" y="978"/>
                    <a:pt x="3444" y="973"/>
                    <a:pt x="3442" y="968"/>
                  </a:cubicBezTo>
                  <a:cubicBezTo>
                    <a:pt x="3440" y="962"/>
                    <a:pt x="3432" y="957"/>
                    <a:pt x="3424" y="957"/>
                  </a:cubicBezTo>
                  <a:cubicBezTo>
                    <a:pt x="3424" y="957"/>
                    <a:pt x="3424" y="957"/>
                    <a:pt x="3424" y="957"/>
                  </a:cubicBezTo>
                  <a:moveTo>
                    <a:pt x="3466" y="957"/>
                  </a:moveTo>
                  <a:cubicBezTo>
                    <a:pt x="3458" y="957"/>
                    <a:pt x="3453" y="962"/>
                    <a:pt x="3455" y="968"/>
                  </a:cubicBezTo>
                  <a:cubicBezTo>
                    <a:pt x="3456" y="973"/>
                    <a:pt x="3464" y="978"/>
                    <a:pt x="3473" y="978"/>
                  </a:cubicBezTo>
                  <a:cubicBezTo>
                    <a:pt x="3481" y="978"/>
                    <a:pt x="3486" y="973"/>
                    <a:pt x="3484" y="968"/>
                  </a:cubicBezTo>
                  <a:cubicBezTo>
                    <a:pt x="3482" y="962"/>
                    <a:pt x="3474" y="957"/>
                    <a:pt x="3466" y="957"/>
                  </a:cubicBezTo>
                  <a:cubicBezTo>
                    <a:pt x="3466" y="957"/>
                    <a:pt x="3466" y="957"/>
                    <a:pt x="3466" y="957"/>
                  </a:cubicBezTo>
                  <a:moveTo>
                    <a:pt x="3840" y="954"/>
                  </a:moveTo>
                  <a:cubicBezTo>
                    <a:pt x="3832" y="954"/>
                    <a:pt x="3827" y="959"/>
                    <a:pt x="3830" y="964"/>
                  </a:cubicBezTo>
                  <a:cubicBezTo>
                    <a:pt x="3833" y="970"/>
                    <a:pt x="3841" y="974"/>
                    <a:pt x="3849" y="974"/>
                  </a:cubicBezTo>
                  <a:cubicBezTo>
                    <a:pt x="3857" y="974"/>
                    <a:pt x="3862" y="970"/>
                    <a:pt x="3859" y="964"/>
                  </a:cubicBezTo>
                  <a:cubicBezTo>
                    <a:pt x="3857" y="958"/>
                    <a:pt x="3848" y="954"/>
                    <a:pt x="3840" y="954"/>
                  </a:cubicBezTo>
                  <a:cubicBezTo>
                    <a:pt x="3840" y="954"/>
                    <a:pt x="3840" y="954"/>
                    <a:pt x="3840" y="954"/>
                  </a:cubicBezTo>
                  <a:moveTo>
                    <a:pt x="3926" y="954"/>
                  </a:moveTo>
                  <a:cubicBezTo>
                    <a:pt x="3918" y="954"/>
                    <a:pt x="3913" y="958"/>
                    <a:pt x="3916" y="964"/>
                  </a:cubicBezTo>
                  <a:cubicBezTo>
                    <a:pt x="3919" y="970"/>
                    <a:pt x="3928" y="974"/>
                    <a:pt x="3936" y="974"/>
                  </a:cubicBezTo>
                  <a:cubicBezTo>
                    <a:pt x="3944" y="974"/>
                    <a:pt x="3948" y="969"/>
                    <a:pt x="3945" y="964"/>
                  </a:cubicBezTo>
                  <a:cubicBezTo>
                    <a:pt x="3943" y="958"/>
                    <a:pt x="3934" y="954"/>
                    <a:pt x="3926" y="954"/>
                  </a:cubicBezTo>
                  <a:cubicBezTo>
                    <a:pt x="3926" y="954"/>
                    <a:pt x="3926" y="954"/>
                    <a:pt x="3926" y="954"/>
                  </a:cubicBezTo>
                  <a:moveTo>
                    <a:pt x="3967" y="953"/>
                  </a:moveTo>
                  <a:cubicBezTo>
                    <a:pt x="3959" y="953"/>
                    <a:pt x="3954" y="958"/>
                    <a:pt x="3957" y="964"/>
                  </a:cubicBezTo>
                  <a:cubicBezTo>
                    <a:pt x="3960" y="969"/>
                    <a:pt x="3969" y="974"/>
                    <a:pt x="3977" y="974"/>
                  </a:cubicBezTo>
                  <a:cubicBezTo>
                    <a:pt x="3985" y="974"/>
                    <a:pt x="3989" y="969"/>
                    <a:pt x="3986" y="964"/>
                  </a:cubicBezTo>
                  <a:cubicBezTo>
                    <a:pt x="3984" y="958"/>
                    <a:pt x="3975" y="953"/>
                    <a:pt x="3967" y="953"/>
                  </a:cubicBezTo>
                  <a:cubicBezTo>
                    <a:pt x="3967" y="953"/>
                    <a:pt x="3967" y="953"/>
                    <a:pt x="3967" y="953"/>
                  </a:cubicBezTo>
                  <a:moveTo>
                    <a:pt x="4008" y="953"/>
                  </a:moveTo>
                  <a:cubicBezTo>
                    <a:pt x="4000" y="953"/>
                    <a:pt x="3996" y="958"/>
                    <a:pt x="3999" y="964"/>
                  </a:cubicBezTo>
                  <a:cubicBezTo>
                    <a:pt x="4002" y="969"/>
                    <a:pt x="4010" y="974"/>
                    <a:pt x="4019" y="974"/>
                  </a:cubicBezTo>
                  <a:cubicBezTo>
                    <a:pt x="4027" y="974"/>
                    <a:pt x="4031" y="969"/>
                    <a:pt x="4028" y="963"/>
                  </a:cubicBezTo>
                  <a:cubicBezTo>
                    <a:pt x="4025" y="958"/>
                    <a:pt x="4016" y="953"/>
                    <a:pt x="4008" y="953"/>
                  </a:cubicBezTo>
                  <a:cubicBezTo>
                    <a:pt x="4008" y="953"/>
                    <a:pt x="4008" y="953"/>
                    <a:pt x="4008" y="953"/>
                  </a:cubicBezTo>
                  <a:moveTo>
                    <a:pt x="4050" y="953"/>
                  </a:moveTo>
                  <a:cubicBezTo>
                    <a:pt x="4042" y="953"/>
                    <a:pt x="4038" y="958"/>
                    <a:pt x="4040" y="963"/>
                  </a:cubicBezTo>
                  <a:cubicBezTo>
                    <a:pt x="4043" y="969"/>
                    <a:pt x="4052" y="974"/>
                    <a:pt x="4060" y="974"/>
                  </a:cubicBezTo>
                  <a:cubicBezTo>
                    <a:pt x="4069" y="974"/>
                    <a:pt x="4073" y="969"/>
                    <a:pt x="4070" y="963"/>
                  </a:cubicBezTo>
                  <a:cubicBezTo>
                    <a:pt x="4067" y="958"/>
                    <a:pt x="4058" y="953"/>
                    <a:pt x="4050" y="953"/>
                  </a:cubicBezTo>
                  <a:cubicBezTo>
                    <a:pt x="4050" y="953"/>
                    <a:pt x="4050" y="953"/>
                    <a:pt x="4050" y="953"/>
                  </a:cubicBezTo>
                  <a:moveTo>
                    <a:pt x="4341" y="951"/>
                  </a:moveTo>
                  <a:cubicBezTo>
                    <a:pt x="4332" y="951"/>
                    <a:pt x="4329" y="956"/>
                    <a:pt x="4332" y="961"/>
                  </a:cubicBezTo>
                  <a:cubicBezTo>
                    <a:pt x="4336" y="967"/>
                    <a:pt x="4345" y="972"/>
                    <a:pt x="4353" y="971"/>
                  </a:cubicBezTo>
                  <a:cubicBezTo>
                    <a:pt x="4361" y="971"/>
                    <a:pt x="4365" y="967"/>
                    <a:pt x="4361" y="961"/>
                  </a:cubicBezTo>
                  <a:cubicBezTo>
                    <a:pt x="4358" y="955"/>
                    <a:pt x="4349" y="951"/>
                    <a:pt x="4341" y="951"/>
                  </a:cubicBezTo>
                  <a:cubicBezTo>
                    <a:pt x="4341" y="951"/>
                    <a:pt x="4341" y="951"/>
                    <a:pt x="4341" y="951"/>
                  </a:cubicBezTo>
                  <a:moveTo>
                    <a:pt x="238" y="940"/>
                  </a:moveTo>
                  <a:cubicBezTo>
                    <a:pt x="230" y="940"/>
                    <a:pt x="220" y="945"/>
                    <a:pt x="216" y="950"/>
                  </a:cubicBezTo>
                  <a:cubicBezTo>
                    <a:pt x="211" y="956"/>
                    <a:pt x="214" y="960"/>
                    <a:pt x="222" y="960"/>
                  </a:cubicBezTo>
                  <a:cubicBezTo>
                    <a:pt x="230" y="960"/>
                    <a:pt x="240" y="956"/>
                    <a:pt x="245" y="950"/>
                  </a:cubicBezTo>
                  <a:cubicBezTo>
                    <a:pt x="249" y="944"/>
                    <a:pt x="246" y="940"/>
                    <a:pt x="238" y="940"/>
                  </a:cubicBezTo>
                  <a:cubicBezTo>
                    <a:pt x="238" y="940"/>
                    <a:pt x="238" y="940"/>
                    <a:pt x="238" y="940"/>
                  </a:cubicBezTo>
                  <a:moveTo>
                    <a:pt x="279" y="940"/>
                  </a:moveTo>
                  <a:cubicBezTo>
                    <a:pt x="271" y="940"/>
                    <a:pt x="261" y="944"/>
                    <a:pt x="257" y="950"/>
                  </a:cubicBezTo>
                  <a:cubicBezTo>
                    <a:pt x="253" y="956"/>
                    <a:pt x="256" y="960"/>
                    <a:pt x="264" y="960"/>
                  </a:cubicBezTo>
                  <a:cubicBezTo>
                    <a:pt x="272" y="960"/>
                    <a:pt x="282" y="955"/>
                    <a:pt x="286" y="950"/>
                  </a:cubicBezTo>
                  <a:cubicBezTo>
                    <a:pt x="290" y="944"/>
                    <a:pt x="287" y="940"/>
                    <a:pt x="279" y="940"/>
                  </a:cubicBezTo>
                  <a:cubicBezTo>
                    <a:pt x="279" y="940"/>
                    <a:pt x="279" y="940"/>
                    <a:pt x="279" y="940"/>
                  </a:cubicBezTo>
                  <a:moveTo>
                    <a:pt x="321" y="940"/>
                  </a:moveTo>
                  <a:cubicBezTo>
                    <a:pt x="313" y="940"/>
                    <a:pt x="303" y="944"/>
                    <a:pt x="299" y="950"/>
                  </a:cubicBezTo>
                  <a:cubicBezTo>
                    <a:pt x="295" y="955"/>
                    <a:pt x="298" y="960"/>
                    <a:pt x="306" y="960"/>
                  </a:cubicBezTo>
                  <a:cubicBezTo>
                    <a:pt x="314" y="960"/>
                    <a:pt x="324" y="955"/>
                    <a:pt x="328" y="950"/>
                  </a:cubicBezTo>
                  <a:cubicBezTo>
                    <a:pt x="332" y="944"/>
                    <a:pt x="329" y="940"/>
                    <a:pt x="321" y="940"/>
                  </a:cubicBezTo>
                  <a:cubicBezTo>
                    <a:pt x="321" y="940"/>
                    <a:pt x="321" y="940"/>
                    <a:pt x="321" y="940"/>
                  </a:cubicBezTo>
                  <a:moveTo>
                    <a:pt x="362" y="939"/>
                  </a:moveTo>
                  <a:cubicBezTo>
                    <a:pt x="354" y="939"/>
                    <a:pt x="344" y="944"/>
                    <a:pt x="340" y="950"/>
                  </a:cubicBezTo>
                  <a:cubicBezTo>
                    <a:pt x="336" y="955"/>
                    <a:pt x="339" y="960"/>
                    <a:pt x="347" y="960"/>
                  </a:cubicBezTo>
                  <a:cubicBezTo>
                    <a:pt x="356" y="960"/>
                    <a:pt x="365" y="955"/>
                    <a:pt x="369" y="950"/>
                  </a:cubicBezTo>
                  <a:cubicBezTo>
                    <a:pt x="373" y="944"/>
                    <a:pt x="370" y="939"/>
                    <a:pt x="362" y="939"/>
                  </a:cubicBezTo>
                  <a:cubicBezTo>
                    <a:pt x="362" y="939"/>
                    <a:pt x="362" y="939"/>
                    <a:pt x="362" y="939"/>
                  </a:cubicBezTo>
                  <a:moveTo>
                    <a:pt x="1685" y="933"/>
                  </a:moveTo>
                  <a:cubicBezTo>
                    <a:pt x="1677" y="933"/>
                    <a:pt x="1670" y="938"/>
                    <a:pt x="1668" y="943"/>
                  </a:cubicBezTo>
                  <a:cubicBezTo>
                    <a:pt x="1667" y="949"/>
                    <a:pt x="1672" y="953"/>
                    <a:pt x="1680" y="953"/>
                  </a:cubicBezTo>
                  <a:cubicBezTo>
                    <a:pt x="1688" y="953"/>
                    <a:pt x="1696" y="949"/>
                    <a:pt x="1697" y="943"/>
                  </a:cubicBezTo>
                  <a:cubicBezTo>
                    <a:pt x="1699" y="937"/>
                    <a:pt x="1693" y="933"/>
                    <a:pt x="1685" y="933"/>
                  </a:cubicBezTo>
                  <a:cubicBezTo>
                    <a:pt x="1685" y="933"/>
                    <a:pt x="1685" y="933"/>
                    <a:pt x="1685" y="933"/>
                  </a:cubicBezTo>
                  <a:moveTo>
                    <a:pt x="1724" y="933"/>
                  </a:moveTo>
                  <a:cubicBezTo>
                    <a:pt x="1716" y="933"/>
                    <a:pt x="1709" y="937"/>
                    <a:pt x="1707" y="943"/>
                  </a:cubicBezTo>
                  <a:cubicBezTo>
                    <a:pt x="1706" y="949"/>
                    <a:pt x="1711" y="953"/>
                    <a:pt x="1719" y="953"/>
                  </a:cubicBezTo>
                  <a:cubicBezTo>
                    <a:pt x="1727" y="953"/>
                    <a:pt x="1735" y="949"/>
                    <a:pt x="1736" y="943"/>
                  </a:cubicBezTo>
                  <a:cubicBezTo>
                    <a:pt x="1737" y="937"/>
                    <a:pt x="1732" y="933"/>
                    <a:pt x="1724" y="933"/>
                  </a:cubicBezTo>
                  <a:cubicBezTo>
                    <a:pt x="1724" y="933"/>
                    <a:pt x="1724" y="933"/>
                    <a:pt x="1724" y="933"/>
                  </a:cubicBezTo>
                  <a:moveTo>
                    <a:pt x="1765" y="933"/>
                  </a:moveTo>
                  <a:cubicBezTo>
                    <a:pt x="1757" y="933"/>
                    <a:pt x="1750" y="937"/>
                    <a:pt x="1748" y="943"/>
                  </a:cubicBezTo>
                  <a:cubicBezTo>
                    <a:pt x="1747" y="949"/>
                    <a:pt x="1752" y="953"/>
                    <a:pt x="1760" y="953"/>
                  </a:cubicBezTo>
                  <a:cubicBezTo>
                    <a:pt x="1768" y="953"/>
                    <a:pt x="1776" y="948"/>
                    <a:pt x="1777" y="943"/>
                  </a:cubicBezTo>
                  <a:cubicBezTo>
                    <a:pt x="1779" y="937"/>
                    <a:pt x="1773" y="933"/>
                    <a:pt x="1765" y="933"/>
                  </a:cubicBezTo>
                  <a:cubicBezTo>
                    <a:pt x="1765" y="933"/>
                    <a:pt x="1765" y="933"/>
                    <a:pt x="1765" y="933"/>
                  </a:cubicBezTo>
                  <a:moveTo>
                    <a:pt x="1807" y="932"/>
                  </a:moveTo>
                  <a:cubicBezTo>
                    <a:pt x="1799" y="933"/>
                    <a:pt x="1791" y="937"/>
                    <a:pt x="1790" y="943"/>
                  </a:cubicBezTo>
                  <a:cubicBezTo>
                    <a:pt x="1788" y="948"/>
                    <a:pt x="1794" y="953"/>
                    <a:pt x="1802" y="953"/>
                  </a:cubicBezTo>
                  <a:cubicBezTo>
                    <a:pt x="1810" y="953"/>
                    <a:pt x="1817" y="948"/>
                    <a:pt x="1819" y="943"/>
                  </a:cubicBezTo>
                  <a:cubicBezTo>
                    <a:pt x="1820" y="937"/>
                    <a:pt x="1815" y="932"/>
                    <a:pt x="1807" y="932"/>
                  </a:cubicBezTo>
                  <a:cubicBezTo>
                    <a:pt x="1807" y="932"/>
                    <a:pt x="1807" y="932"/>
                    <a:pt x="1807" y="932"/>
                  </a:cubicBezTo>
                  <a:moveTo>
                    <a:pt x="1848" y="932"/>
                  </a:moveTo>
                  <a:cubicBezTo>
                    <a:pt x="1840" y="932"/>
                    <a:pt x="1833" y="937"/>
                    <a:pt x="1832" y="943"/>
                  </a:cubicBezTo>
                  <a:cubicBezTo>
                    <a:pt x="1830" y="948"/>
                    <a:pt x="1836" y="953"/>
                    <a:pt x="1844" y="953"/>
                  </a:cubicBezTo>
                  <a:cubicBezTo>
                    <a:pt x="1852" y="953"/>
                    <a:pt x="1859" y="948"/>
                    <a:pt x="1861" y="942"/>
                  </a:cubicBezTo>
                  <a:cubicBezTo>
                    <a:pt x="1862" y="937"/>
                    <a:pt x="1856" y="932"/>
                    <a:pt x="1848" y="932"/>
                  </a:cubicBezTo>
                  <a:cubicBezTo>
                    <a:pt x="1848" y="932"/>
                    <a:pt x="1848" y="932"/>
                    <a:pt x="1848" y="932"/>
                  </a:cubicBezTo>
                  <a:moveTo>
                    <a:pt x="1889" y="932"/>
                  </a:moveTo>
                  <a:cubicBezTo>
                    <a:pt x="1881" y="932"/>
                    <a:pt x="1874" y="937"/>
                    <a:pt x="1873" y="942"/>
                  </a:cubicBezTo>
                  <a:cubicBezTo>
                    <a:pt x="1872" y="948"/>
                    <a:pt x="1877" y="953"/>
                    <a:pt x="1885" y="953"/>
                  </a:cubicBezTo>
                  <a:cubicBezTo>
                    <a:pt x="1893" y="953"/>
                    <a:pt x="1901" y="948"/>
                    <a:pt x="1902" y="942"/>
                  </a:cubicBezTo>
                  <a:cubicBezTo>
                    <a:pt x="1903" y="937"/>
                    <a:pt x="1897" y="932"/>
                    <a:pt x="1889" y="932"/>
                  </a:cubicBezTo>
                  <a:cubicBezTo>
                    <a:pt x="1889" y="932"/>
                    <a:pt x="1889" y="932"/>
                    <a:pt x="1889" y="932"/>
                  </a:cubicBezTo>
                  <a:moveTo>
                    <a:pt x="1931" y="932"/>
                  </a:moveTo>
                  <a:cubicBezTo>
                    <a:pt x="1923" y="932"/>
                    <a:pt x="1915" y="937"/>
                    <a:pt x="1914" y="942"/>
                  </a:cubicBezTo>
                  <a:cubicBezTo>
                    <a:pt x="1913" y="948"/>
                    <a:pt x="1919" y="952"/>
                    <a:pt x="1927" y="952"/>
                  </a:cubicBezTo>
                  <a:cubicBezTo>
                    <a:pt x="1935" y="952"/>
                    <a:pt x="1942" y="948"/>
                    <a:pt x="1943" y="942"/>
                  </a:cubicBezTo>
                  <a:cubicBezTo>
                    <a:pt x="1944" y="937"/>
                    <a:pt x="1939" y="932"/>
                    <a:pt x="1931" y="932"/>
                  </a:cubicBezTo>
                  <a:cubicBezTo>
                    <a:pt x="1931" y="932"/>
                    <a:pt x="1931" y="932"/>
                    <a:pt x="1931" y="932"/>
                  </a:cubicBezTo>
                  <a:moveTo>
                    <a:pt x="1972" y="932"/>
                  </a:moveTo>
                  <a:cubicBezTo>
                    <a:pt x="1964" y="932"/>
                    <a:pt x="1956" y="936"/>
                    <a:pt x="1955" y="942"/>
                  </a:cubicBezTo>
                  <a:cubicBezTo>
                    <a:pt x="1954" y="948"/>
                    <a:pt x="1960" y="952"/>
                    <a:pt x="1968" y="952"/>
                  </a:cubicBezTo>
                  <a:cubicBezTo>
                    <a:pt x="1976" y="952"/>
                    <a:pt x="1983" y="948"/>
                    <a:pt x="1984" y="942"/>
                  </a:cubicBezTo>
                  <a:cubicBezTo>
                    <a:pt x="1985" y="936"/>
                    <a:pt x="1980" y="932"/>
                    <a:pt x="1972" y="932"/>
                  </a:cubicBezTo>
                  <a:cubicBezTo>
                    <a:pt x="1972" y="932"/>
                    <a:pt x="1972" y="932"/>
                    <a:pt x="1972" y="932"/>
                  </a:cubicBezTo>
                  <a:moveTo>
                    <a:pt x="2013" y="932"/>
                  </a:moveTo>
                  <a:cubicBezTo>
                    <a:pt x="2005" y="932"/>
                    <a:pt x="1998" y="936"/>
                    <a:pt x="1997" y="942"/>
                  </a:cubicBezTo>
                  <a:cubicBezTo>
                    <a:pt x="1996" y="948"/>
                    <a:pt x="2002" y="952"/>
                    <a:pt x="2010" y="952"/>
                  </a:cubicBezTo>
                  <a:cubicBezTo>
                    <a:pt x="2018" y="952"/>
                    <a:pt x="2025" y="947"/>
                    <a:pt x="2026" y="942"/>
                  </a:cubicBezTo>
                  <a:cubicBezTo>
                    <a:pt x="2027" y="936"/>
                    <a:pt x="2021" y="932"/>
                    <a:pt x="2013" y="932"/>
                  </a:cubicBezTo>
                  <a:cubicBezTo>
                    <a:pt x="2013" y="932"/>
                    <a:pt x="2013" y="932"/>
                    <a:pt x="2013" y="932"/>
                  </a:cubicBezTo>
                  <a:moveTo>
                    <a:pt x="2055" y="931"/>
                  </a:moveTo>
                  <a:cubicBezTo>
                    <a:pt x="2047" y="932"/>
                    <a:pt x="2040" y="936"/>
                    <a:pt x="2040" y="942"/>
                  </a:cubicBezTo>
                  <a:cubicBezTo>
                    <a:pt x="2039" y="947"/>
                    <a:pt x="2045" y="952"/>
                    <a:pt x="2053" y="952"/>
                  </a:cubicBezTo>
                  <a:cubicBezTo>
                    <a:pt x="2061" y="952"/>
                    <a:pt x="2068" y="947"/>
                    <a:pt x="2069" y="942"/>
                  </a:cubicBezTo>
                  <a:cubicBezTo>
                    <a:pt x="2069" y="936"/>
                    <a:pt x="2063" y="931"/>
                    <a:pt x="2056" y="931"/>
                  </a:cubicBezTo>
                  <a:cubicBezTo>
                    <a:pt x="2056" y="931"/>
                    <a:pt x="2055" y="931"/>
                    <a:pt x="2055" y="931"/>
                  </a:cubicBezTo>
                  <a:moveTo>
                    <a:pt x="2096" y="931"/>
                  </a:moveTo>
                  <a:cubicBezTo>
                    <a:pt x="2088" y="931"/>
                    <a:pt x="2081" y="936"/>
                    <a:pt x="2081" y="942"/>
                  </a:cubicBezTo>
                  <a:cubicBezTo>
                    <a:pt x="2080" y="947"/>
                    <a:pt x="2086" y="952"/>
                    <a:pt x="2094" y="952"/>
                  </a:cubicBezTo>
                  <a:cubicBezTo>
                    <a:pt x="2102" y="952"/>
                    <a:pt x="2109" y="947"/>
                    <a:pt x="2110" y="941"/>
                  </a:cubicBezTo>
                  <a:cubicBezTo>
                    <a:pt x="2110" y="936"/>
                    <a:pt x="2104" y="931"/>
                    <a:pt x="2097" y="931"/>
                  </a:cubicBezTo>
                  <a:cubicBezTo>
                    <a:pt x="2097" y="931"/>
                    <a:pt x="2096" y="931"/>
                    <a:pt x="2096" y="931"/>
                  </a:cubicBezTo>
                  <a:moveTo>
                    <a:pt x="2138" y="931"/>
                  </a:moveTo>
                  <a:cubicBezTo>
                    <a:pt x="2130" y="931"/>
                    <a:pt x="2123" y="936"/>
                    <a:pt x="2122" y="941"/>
                  </a:cubicBezTo>
                  <a:cubicBezTo>
                    <a:pt x="2121" y="947"/>
                    <a:pt x="2127" y="952"/>
                    <a:pt x="2135" y="952"/>
                  </a:cubicBezTo>
                  <a:cubicBezTo>
                    <a:pt x="2144" y="952"/>
                    <a:pt x="2151" y="947"/>
                    <a:pt x="2151" y="941"/>
                  </a:cubicBezTo>
                  <a:cubicBezTo>
                    <a:pt x="2152" y="936"/>
                    <a:pt x="2146" y="931"/>
                    <a:pt x="2138" y="931"/>
                  </a:cubicBezTo>
                  <a:cubicBezTo>
                    <a:pt x="2138" y="931"/>
                    <a:pt x="2138" y="931"/>
                    <a:pt x="2138" y="931"/>
                  </a:cubicBezTo>
                  <a:moveTo>
                    <a:pt x="2180" y="931"/>
                  </a:moveTo>
                  <a:cubicBezTo>
                    <a:pt x="2172" y="931"/>
                    <a:pt x="2165" y="936"/>
                    <a:pt x="2164" y="941"/>
                  </a:cubicBezTo>
                  <a:cubicBezTo>
                    <a:pt x="2163" y="947"/>
                    <a:pt x="2169" y="951"/>
                    <a:pt x="2177" y="951"/>
                  </a:cubicBezTo>
                  <a:cubicBezTo>
                    <a:pt x="2186" y="951"/>
                    <a:pt x="2192" y="947"/>
                    <a:pt x="2193" y="941"/>
                  </a:cubicBezTo>
                  <a:cubicBezTo>
                    <a:pt x="2194" y="936"/>
                    <a:pt x="2188" y="931"/>
                    <a:pt x="2180" y="931"/>
                  </a:cubicBezTo>
                  <a:cubicBezTo>
                    <a:pt x="2180" y="931"/>
                    <a:pt x="2180" y="931"/>
                    <a:pt x="2180" y="931"/>
                  </a:cubicBezTo>
                  <a:moveTo>
                    <a:pt x="2221" y="931"/>
                  </a:moveTo>
                  <a:cubicBezTo>
                    <a:pt x="2213" y="931"/>
                    <a:pt x="2206" y="935"/>
                    <a:pt x="2205" y="941"/>
                  </a:cubicBezTo>
                  <a:cubicBezTo>
                    <a:pt x="2205" y="947"/>
                    <a:pt x="2211" y="951"/>
                    <a:pt x="2219" y="951"/>
                  </a:cubicBezTo>
                  <a:cubicBezTo>
                    <a:pt x="2227" y="951"/>
                    <a:pt x="2234" y="947"/>
                    <a:pt x="2234" y="941"/>
                  </a:cubicBezTo>
                  <a:cubicBezTo>
                    <a:pt x="2235" y="935"/>
                    <a:pt x="2229" y="931"/>
                    <a:pt x="2221" y="931"/>
                  </a:cubicBezTo>
                  <a:cubicBezTo>
                    <a:pt x="2221" y="931"/>
                    <a:pt x="2221" y="931"/>
                    <a:pt x="2221" y="931"/>
                  </a:cubicBezTo>
                  <a:moveTo>
                    <a:pt x="2262" y="931"/>
                  </a:moveTo>
                  <a:cubicBezTo>
                    <a:pt x="2254" y="931"/>
                    <a:pt x="2247" y="935"/>
                    <a:pt x="2247" y="941"/>
                  </a:cubicBezTo>
                  <a:cubicBezTo>
                    <a:pt x="2246" y="947"/>
                    <a:pt x="2252" y="951"/>
                    <a:pt x="2260" y="951"/>
                  </a:cubicBezTo>
                  <a:cubicBezTo>
                    <a:pt x="2268" y="951"/>
                    <a:pt x="2275" y="946"/>
                    <a:pt x="2275" y="941"/>
                  </a:cubicBezTo>
                  <a:cubicBezTo>
                    <a:pt x="2276" y="935"/>
                    <a:pt x="2270" y="931"/>
                    <a:pt x="2262" y="931"/>
                  </a:cubicBezTo>
                  <a:cubicBezTo>
                    <a:pt x="2262" y="931"/>
                    <a:pt x="2262" y="931"/>
                    <a:pt x="2262" y="931"/>
                  </a:cubicBezTo>
                  <a:moveTo>
                    <a:pt x="2303" y="931"/>
                  </a:moveTo>
                  <a:cubicBezTo>
                    <a:pt x="2295" y="931"/>
                    <a:pt x="2288" y="935"/>
                    <a:pt x="2288" y="941"/>
                  </a:cubicBezTo>
                  <a:cubicBezTo>
                    <a:pt x="2287" y="946"/>
                    <a:pt x="2294" y="951"/>
                    <a:pt x="2302" y="951"/>
                  </a:cubicBezTo>
                  <a:cubicBezTo>
                    <a:pt x="2310" y="951"/>
                    <a:pt x="2316" y="946"/>
                    <a:pt x="2317" y="941"/>
                  </a:cubicBezTo>
                  <a:cubicBezTo>
                    <a:pt x="2317" y="935"/>
                    <a:pt x="2311" y="931"/>
                    <a:pt x="2303" y="931"/>
                  </a:cubicBezTo>
                  <a:cubicBezTo>
                    <a:pt x="2303" y="931"/>
                    <a:pt x="2303" y="931"/>
                    <a:pt x="2303" y="931"/>
                  </a:cubicBezTo>
                  <a:moveTo>
                    <a:pt x="2344" y="930"/>
                  </a:moveTo>
                  <a:cubicBezTo>
                    <a:pt x="2336" y="930"/>
                    <a:pt x="2329" y="935"/>
                    <a:pt x="2329" y="941"/>
                  </a:cubicBezTo>
                  <a:cubicBezTo>
                    <a:pt x="2329" y="946"/>
                    <a:pt x="2335" y="951"/>
                    <a:pt x="2343" y="951"/>
                  </a:cubicBezTo>
                  <a:cubicBezTo>
                    <a:pt x="2351" y="951"/>
                    <a:pt x="2358" y="946"/>
                    <a:pt x="2358" y="940"/>
                  </a:cubicBezTo>
                  <a:cubicBezTo>
                    <a:pt x="2358" y="935"/>
                    <a:pt x="2352" y="930"/>
                    <a:pt x="2344" y="930"/>
                  </a:cubicBezTo>
                  <a:cubicBezTo>
                    <a:pt x="2344" y="930"/>
                    <a:pt x="2344" y="930"/>
                    <a:pt x="2344" y="930"/>
                  </a:cubicBezTo>
                  <a:moveTo>
                    <a:pt x="2386" y="930"/>
                  </a:moveTo>
                  <a:cubicBezTo>
                    <a:pt x="2378" y="930"/>
                    <a:pt x="2371" y="935"/>
                    <a:pt x="2371" y="940"/>
                  </a:cubicBezTo>
                  <a:cubicBezTo>
                    <a:pt x="2371" y="946"/>
                    <a:pt x="2377" y="951"/>
                    <a:pt x="2385" y="951"/>
                  </a:cubicBezTo>
                  <a:cubicBezTo>
                    <a:pt x="2393" y="951"/>
                    <a:pt x="2400" y="946"/>
                    <a:pt x="2400" y="940"/>
                  </a:cubicBezTo>
                  <a:cubicBezTo>
                    <a:pt x="2400" y="935"/>
                    <a:pt x="2394" y="930"/>
                    <a:pt x="2386" y="930"/>
                  </a:cubicBezTo>
                  <a:cubicBezTo>
                    <a:pt x="2386" y="930"/>
                    <a:pt x="2386" y="930"/>
                    <a:pt x="2386" y="930"/>
                  </a:cubicBezTo>
                  <a:moveTo>
                    <a:pt x="2427" y="930"/>
                  </a:moveTo>
                  <a:cubicBezTo>
                    <a:pt x="2419" y="930"/>
                    <a:pt x="2412" y="935"/>
                    <a:pt x="2412" y="940"/>
                  </a:cubicBezTo>
                  <a:cubicBezTo>
                    <a:pt x="2412" y="946"/>
                    <a:pt x="2418" y="950"/>
                    <a:pt x="2426" y="950"/>
                  </a:cubicBezTo>
                  <a:cubicBezTo>
                    <a:pt x="2434" y="950"/>
                    <a:pt x="2441" y="946"/>
                    <a:pt x="2441" y="940"/>
                  </a:cubicBezTo>
                  <a:cubicBezTo>
                    <a:pt x="2441" y="935"/>
                    <a:pt x="2435" y="930"/>
                    <a:pt x="2427" y="930"/>
                  </a:cubicBezTo>
                  <a:cubicBezTo>
                    <a:pt x="2427" y="930"/>
                    <a:pt x="2427" y="930"/>
                    <a:pt x="2427" y="930"/>
                  </a:cubicBezTo>
                  <a:moveTo>
                    <a:pt x="2468" y="930"/>
                  </a:moveTo>
                  <a:cubicBezTo>
                    <a:pt x="2460" y="930"/>
                    <a:pt x="2454" y="934"/>
                    <a:pt x="2453" y="940"/>
                  </a:cubicBezTo>
                  <a:cubicBezTo>
                    <a:pt x="2453" y="946"/>
                    <a:pt x="2460" y="950"/>
                    <a:pt x="2468" y="950"/>
                  </a:cubicBezTo>
                  <a:cubicBezTo>
                    <a:pt x="2476" y="950"/>
                    <a:pt x="2482" y="946"/>
                    <a:pt x="2482" y="940"/>
                  </a:cubicBezTo>
                  <a:cubicBezTo>
                    <a:pt x="2482" y="934"/>
                    <a:pt x="2476" y="930"/>
                    <a:pt x="2468" y="930"/>
                  </a:cubicBezTo>
                  <a:cubicBezTo>
                    <a:pt x="2468" y="930"/>
                    <a:pt x="2468" y="930"/>
                    <a:pt x="2468" y="930"/>
                  </a:cubicBezTo>
                  <a:moveTo>
                    <a:pt x="2509" y="930"/>
                  </a:moveTo>
                  <a:cubicBezTo>
                    <a:pt x="2501" y="930"/>
                    <a:pt x="2495" y="934"/>
                    <a:pt x="2495" y="940"/>
                  </a:cubicBezTo>
                  <a:cubicBezTo>
                    <a:pt x="2495" y="946"/>
                    <a:pt x="2501" y="950"/>
                    <a:pt x="2509" y="950"/>
                  </a:cubicBezTo>
                  <a:cubicBezTo>
                    <a:pt x="2517" y="950"/>
                    <a:pt x="2524" y="945"/>
                    <a:pt x="2524" y="940"/>
                  </a:cubicBezTo>
                  <a:cubicBezTo>
                    <a:pt x="2523" y="934"/>
                    <a:pt x="2517" y="930"/>
                    <a:pt x="2509" y="930"/>
                  </a:cubicBezTo>
                  <a:cubicBezTo>
                    <a:pt x="2509" y="930"/>
                    <a:pt x="2509" y="930"/>
                    <a:pt x="2509" y="930"/>
                  </a:cubicBezTo>
                  <a:moveTo>
                    <a:pt x="2550" y="930"/>
                  </a:moveTo>
                  <a:cubicBezTo>
                    <a:pt x="2542" y="930"/>
                    <a:pt x="2536" y="934"/>
                    <a:pt x="2536" y="940"/>
                  </a:cubicBezTo>
                  <a:cubicBezTo>
                    <a:pt x="2536" y="945"/>
                    <a:pt x="2543" y="950"/>
                    <a:pt x="2551" y="950"/>
                  </a:cubicBezTo>
                  <a:cubicBezTo>
                    <a:pt x="2559" y="950"/>
                    <a:pt x="2565" y="945"/>
                    <a:pt x="2565" y="940"/>
                  </a:cubicBezTo>
                  <a:cubicBezTo>
                    <a:pt x="2565" y="934"/>
                    <a:pt x="2558" y="930"/>
                    <a:pt x="2550" y="930"/>
                  </a:cubicBezTo>
                  <a:cubicBezTo>
                    <a:pt x="2550" y="930"/>
                    <a:pt x="2550" y="930"/>
                    <a:pt x="2550" y="930"/>
                  </a:cubicBezTo>
                  <a:moveTo>
                    <a:pt x="2592" y="929"/>
                  </a:moveTo>
                  <a:cubicBezTo>
                    <a:pt x="2584" y="929"/>
                    <a:pt x="2578" y="934"/>
                    <a:pt x="2578" y="940"/>
                  </a:cubicBezTo>
                  <a:cubicBezTo>
                    <a:pt x="2578" y="945"/>
                    <a:pt x="2585" y="950"/>
                    <a:pt x="2593" y="950"/>
                  </a:cubicBezTo>
                  <a:cubicBezTo>
                    <a:pt x="2601" y="950"/>
                    <a:pt x="2607" y="945"/>
                    <a:pt x="2607" y="940"/>
                  </a:cubicBezTo>
                  <a:cubicBezTo>
                    <a:pt x="2607" y="934"/>
                    <a:pt x="2600" y="929"/>
                    <a:pt x="2592" y="929"/>
                  </a:cubicBezTo>
                  <a:cubicBezTo>
                    <a:pt x="2592" y="929"/>
                    <a:pt x="2592" y="929"/>
                    <a:pt x="2592" y="929"/>
                  </a:cubicBezTo>
                  <a:moveTo>
                    <a:pt x="2633" y="929"/>
                  </a:moveTo>
                  <a:cubicBezTo>
                    <a:pt x="2625" y="929"/>
                    <a:pt x="2619" y="934"/>
                    <a:pt x="2619" y="939"/>
                  </a:cubicBezTo>
                  <a:cubicBezTo>
                    <a:pt x="2619" y="945"/>
                    <a:pt x="2626" y="950"/>
                    <a:pt x="2634" y="950"/>
                  </a:cubicBezTo>
                  <a:cubicBezTo>
                    <a:pt x="2642" y="950"/>
                    <a:pt x="2648" y="945"/>
                    <a:pt x="2648" y="939"/>
                  </a:cubicBezTo>
                  <a:cubicBezTo>
                    <a:pt x="2648" y="934"/>
                    <a:pt x="2641" y="929"/>
                    <a:pt x="2633" y="929"/>
                  </a:cubicBezTo>
                  <a:cubicBezTo>
                    <a:pt x="2633" y="929"/>
                    <a:pt x="2633" y="929"/>
                    <a:pt x="2633" y="929"/>
                  </a:cubicBezTo>
                  <a:moveTo>
                    <a:pt x="2675" y="929"/>
                  </a:moveTo>
                  <a:cubicBezTo>
                    <a:pt x="2667" y="929"/>
                    <a:pt x="2660" y="934"/>
                    <a:pt x="2661" y="939"/>
                  </a:cubicBezTo>
                  <a:cubicBezTo>
                    <a:pt x="2661" y="945"/>
                    <a:pt x="2668" y="950"/>
                    <a:pt x="2676" y="949"/>
                  </a:cubicBezTo>
                  <a:cubicBezTo>
                    <a:pt x="2684" y="949"/>
                    <a:pt x="2690" y="945"/>
                    <a:pt x="2690" y="939"/>
                  </a:cubicBezTo>
                  <a:cubicBezTo>
                    <a:pt x="2689" y="934"/>
                    <a:pt x="2683" y="929"/>
                    <a:pt x="2675" y="929"/>
                  </a:cubicBezTo>
                  <a:cubicBezTo>
                    <a:pt x="2675" y="929"/>
                    <a:pt x="2675" y="929"/>
                    <a:pt x="2675" y="929"/>
                  </a:cubicBezTo>
                  <a:moveTo>
                    <a:pt x="2714" y="929"/>
                  </a:moveTo>
                  <a:cubicBezTo>
                    <a:pt x="2706" y="929"/>
                    <a:pt x="2700" y="933"/>
                    <a:pt x="2701" y="939"/>
                  </a:cubicBezTo>
                  <a:cubicBezTo>
                    <a:pt x="2701" y="945"/>
                    <a:pt x="2708" y="949"/>
                    <a:pt x="2716" y="949"/>
                  </a:cubicBezTo>
                  <a:cubicBezTo>
                    <a:pt x="2724" y="949"/>
                    <a:pt x="2730" y="945"/>
                    <a:pt x="2730" y="939"/>
                  </a:cubicBezTo>
                  <a:cubicBezTo>
                    <a:pt x="2729" y="933"/>
                    <a:pt x="2722" y="929"/>
                    <a:pt x="2714" y="929"/>
                  </a:cubicBezTo>
                  <a:cubicBezTo>
                    <a:pt x="2714" y="929"/>
                    <a:pt x="2714" y="929"/>
                    <a:pt x="2714" y="929"/>
                  </a:cubicBezTo>
                  <a:moveTo>
                    <a:pt x="2756" y="929"/>
                  </a:moveTo>
                  <a:cubicBezTo>
                    <a:pt x="2748" y="929"/>
                    <a:pt x="2742" y="933"/>
                    <a:pt x="2742" y="939"/>
                  </a:cubicBezTo>
                  <a:cubicBezTo>
                    <a:pt x="2743" y="945"/>
                    <a:pt x="2750" y="949"/>
                    <a:pt x="2758" y="949"/>
                  </a:cubicBezTo>
                  <a:cubicBezTo>
                    <a:pt x="2766" y="949"/>
                    <a:pt x="2772" y="945"/>
                    <a:pt x="2771" y="939"/>
                  </a:cubicBezTo>
                  <a:cubicBezTo>
                    <a:pt x="2771" y="933"/>
                    <a:pt x="2764" y="929"/>
                    <a:pt x="2756" y="929"/>
                  </a:cubicBezTo>
                  <a:cubicBezTo>
                    <a:pt x="2756" y="929"/>
                    <a:pt x="2756" y="929"/>
                    <a:pt x="2756" y="929"/>
                  </a:cubicBezTo>
                  <a:moveTo>
                    <a:pt x="2796" y="929"/>
                  </a:moveTo>
                  <a:cubicBezTo>
                    <a:pt x="2788" y="929"/>
                    <a:pt x="2782" y="933"/>
                    <a:pt x="2782" y="939"/>
                  </a:cubicBezTo>
                  <a:cubicBezTo>
                    <a:pt x="2783" y="944"/>
                    <a:pt x="2790" y="949"/>
                    <a:pt x="2798" y="949"/>
                  </a:cubicBezTo>
                  <a:cubicBezTo>
                    <a:pt x="2806" y="949"/>
                    <a:pt x="2812" y="944"/>
                    <a:pt x="2811" y="939"/>
                  </a:cubicBezTo>
                  <a:cubicBezTo>
                    <a:pt x="2811" y="933"/>
                    <a:pt x="2804" y="929"/>
                    <a:pt x="2796" y="929"/>
                  </a:cubicBezTo>
                  <a:cubicBezTo>
                    <a:pt x="2796" y="929"/>
                    <a:pt x="2796" y="929"/>
                    <a:pt x="2796" y="929"/>
                  </a:cubicBezTo>
                  <a:moveTo>
                    <a:pt x="2839" y="928"/>
                  </a:moveTo>
                  <a:cubicBezTo>
                    <a:pt x="2831" y="928"/>
                    <a:pt x="2825" y="933"/>
                    <a:pt x="2826" y="939"/>
                  </a:cubicBezTo>
                  <a:cubicBezTo>
                    <a:pt x="2827" y="944"/>
                    <a:pt x="2834" y="949"/>
                    <a:pt x="2842" y="949"/>
                  </a:cubicBezTo>
                  <a:cubicBezTo>
                    <a:pt x="2850" y="949"/>
                    <a:pt x="2856" y="944"/>
                    <a:pt x="2855" y="939"/>
                  </a:cubicBezTo>
                  <a:cubicBezTo>
                    <a:pt x="2854" y="933"/>
                    <a:pt x="2847" y="928"/>
                    <a:pt x="2839" y="928"/>
                  </a:cubicBezTo>
                  <a:cubicBezTo>
                    <a:pt x="2839" y="928"/>
                    <a:pt x="2839" y="928"/>
                    <a:pt x="2839" y="928"/>
                  </a:cubicBezTo>
                  <a:moveTo>
                    <a:pt x="3374" y="928"/>
                  </a:moveTo>
                  <a:cubicBezTo>
                    <a:pt x="3366" y="928"/>
                    <a:pt x="3361" y="933"/>
                    <a:pt x="3362" y="938"/>
                  </a:cubicBezTo>
                  <a:cubicBezTo>
                    <a:pt x="3364" y="944"/>
                    <a:pt x="3372" y="949"/>
                    <a:pt x="3380" y="949"/>
                  </a:cubicBezTo>
                  <a:cubicBezTo>
                    <a:pt x="3388" y="948"/>
                    <a:pt x="3393" y="944"/>
                    <a:pt x="3391" y="938"/>
                  </a:cubicBezTo>
                  <a:cubicBezTo>
                    <a:pt x="3390" y="933"/>
                    <a:pt x="3382" y="928"/>
                    <a:pt x="3374" y="928"/>
                  </a:cubicBezTo>
                  <a:cubicBezTo>
                    <a:pt x="3374" y="928"/>
                    <a:pt x="3374" y="928"/>
                    <a:pt x="3374" y="928"/>
                  </a:cubicBezTo>
                  <a:moveTo>
                    <a:pt x="3415" y="928"/>
                  </a:moveTo>
                  <a:cubicBezTo>
                    <a:pt x="3407" y="928"/>
                    <a:pt x="3402" y="932"/>
                    <a:pt x="3403" y="938"/>
                  </a:cubicBezTo>
                  <a:cubicBezTo>
                    <a:pt x="3405" y="944"/>
                    <a:pt x="3413" y="948"/>
                    <a:pt x="3421" y="948"/>
                  </a:cubicBezTo>
                  <a:cubicBezTo>
                    <a:pt x="3429" y="948"/>
                    <a:pt x="3434" y="944"/>
                    <a:pt x="3432" y="938"/>
                  </a:cubicBezTo>
                  <a:cubicBezTo>
                    <a:pt x="3431" y="932"/>
                    <a:pt x="3423" y="928"/>
                    <a:pt x="3415" y="928"/>
                  </a:cubicBezTo>
                  <a:cubicBezTo>
                    <a:pt x="3415" y="928"/>
                    <a:pt x="3415" y="928"/>
                    <a:pt x="3415" y="928"/>
                  </a:cubicBezTo>
                  <a:moveTo>
                    <a:pt x="3456" y="928"/>
                  </a:moveTo>
                  <a:cubicBezTo>
                    <a:pt x="3448" y="928"/>
                    <a:pt x="3443" y="932"/>
                    <a:pt x="3445" y="938"/>
                  </a:cubicBezTo>
                  <a:cubicBezTo>
                    <a:pt x="3447" y="944"/>
                    <a:pt x="3455" y="948"/>
                    <a:pt x="3463" y="948"/>
                  </a:cubicBezTo>
                  <a:cubicBezTo>
                    <a:pt x="3471" y="948"/>
                    <a:pt x="3476" y="944"/>
                    <a:pt x="3474" y="938"/>
                  </a:cubicBezTo>
                  <a:cubicBezTo>
                    <a:pt x="3472" y="932"/>
                    <a:pt x="3464" y="928"/>
                    <a:pt x="3456" y="928"/>
                  </a:cubicBezTo>
                  <a:cubicBezTo>
                    <a:pt x="3456" y="928"/>
                    <a:pt x="3456" y="928"/>
                    <a:pt x="3456" y="928"/>
                  </a:cubicBezTo>
                  <a:moveTo>
                    <a:pt x="3828" y="926"/>
                  </a:moveTo>
                  <a:cubicBezTo>
                    <a:pt x="3820" y="926"/>
                    <a:pt x="3815" y="931"/>
                    <a:pt x="3818" y="937"/>
                  </a:cubicBezTo>
                  <a:cubicBezTo>
                    <a:pt x="3820" y="942"/>
                    <a:pt x="3829" y="947"/>
                    <a:pt x="3837" y="947"/>
                  </a:cubicBezTo>
                  <a:cubicBezTo>
                    <a:pt x="3845" y="947"/>
                    <a:pt x="3849" y="942"/>
                    <a:pt x="3847" y="937"/>
                  </a:cubicBezTo>
                  <a:cubicBezTo>
                    <a:pt x="3844" y="931"/>
                    <a:pt x="3836" y="926"/>
                    <a:pt x="3828" y="926"/>
                  </a:cubicBezTo>
                  <a:cubicBezTo>
                    <a:pt x="3828" y="926"/>
                    <a:pt x="3828" y="926"/>
                    <a:pt x="3828" y="926"/>
                  </a:cubicBezTo>
                  <a:moveTo>
                    <a:pt x="3869" y="926"/>
                  </a:moveTo>
                  <a:cubicBezTo>
                    <a:pt x="3861" y="926"/>
                    <a:pt x="3857" y="931"/>
                    <a:pt x="3859" y="937"/>
                  </a:cubicBezTo>
                  <a:cubicBezTo>
                    <a:pt x="3862" y="942"/>
                    <a:pt x="3870" y="947"/>
                    <a:pt x="3878" y="947"/>
                  </a:cubicBezTo>
                  <a:cubicBezTo>
                    <a:pt x="3886" y="947"/>
                    <a:pt x="3891" y="942"/>
                    <a:pt x="3888" y="937"/>
                  </a:cubicBezTo>
                  <a:cubicBezTo>
                    <a:pt x="3885" y="931"/>
                    <a:pt x="3877" y="926"/>
                    <a:pt x="3869" y="926"/>
                  </a:cubicBezTo>
                  <a:cubicBezTo>
                    <a:pt x="3869" y="926"/>
                    <a:pt x="3869" y="926"/>
                    <a:pt x="3869" y="926"/>
                  </a:cubicBezTo>
                  <a:moveTo>
                    <a:pt x="3913" y="926"/>
                  </a:moveTo>
                  <a:cubicBezTo>
                    <a:pt x="3905" y="926"/>
                    <a:pt x="3900" y="931"/>
                    <a:pt x="3903" y="936"/>
                  </a:cubicBezTo>
                  <a:cubicBezTo>
                    <a:pt x="3906" y="942"/>
                    <a:pt x="3914" y="947"/>
                    <a:pt x="3922" y="947"/>
                  </a:cubicBezTo>
                  <a:cubicBezTo>
                    <a:pt x="3930" y="947"/>
                    <a:pt x="3935" y="942"/>
                    <a:pt x="3932" y="936"/>
                  </a:cubicBezTo>
                  <a:cubicBezTo>
                    <a:pt x="3929" y="931"/>
                    <a:pt x="3921" y="926"/>
                    <a:pt x="3913" y="926"/>
                  </a:cubicBezTo>
                  <a:cubicBezTo>
                    <a:pt x="3913" y="926"/>
                    <a:pt x="3913" y="926"/>
                    <a:pt x="3913" y="926"/>
                  </a:cubicBezTo>
                  <a:moveTo>
                    <a:pt x="3953" y="926"/>
                  </a:moveTo>
                  <a:cubicBezTo>
                    <a:pt x="3945" y="926"/>
                    <a:pt x="3941" y="931"/>
                    <a:pt x="3944" y="936"/>
                  </a:cubicBezTo>
                  <a:cubicBezTo>
                    <a:pt x="3947" y="942"/>
                    <a:pt x="3955" y="947"/>
                    <a:pt x="3963" y="947"/>
                  </a:cubicBezTo>
                  <a:cubicBezTo>
                    <a:pt x="3971" y="947"/>
                    <a:pt x="3976" y="942"/>
                    <a:pt x="3973" y="936"/>
                  </a:cubicBezTo>
                  <a:cubicBezTo>
                    <a:pt x="3970" y="931"/>
                    <a:pt x="3961" y="926"/>
                    <a:pt x="3953" y="926"/>
                  </a:cubicBezTo>
                  <a:cubicBezTo>
                    <a:pt x="3953" y="926"/>
                    <a:pt x="3953" y="926"/>
                    <a:pt x="3953" y="926"/>
                  </a:cubicBezTo>
                  <a:moveTo>
                    <a:pt x="3994" y="926"/>
                  </a:moveTo>
                  <a:cubicBezTo>
                    <a:pt x="3986" y="926"/>
                    <a:pt x="3982" y="930"/>
                    <a:pt x="3985" y="936"/>
                  </a:cubicBezTo>
                  <a:cubicBezTo>
                    <a:pt x="3988" y="942"/>
                    <a:pt x="3997" y="946"/>
                    <a:pt x="4005" y="946"/>
                  </a:cubicBezTo>
                  <a:cubicBezTo>
                    <a:pt x="4013" y="946"/>
                    <a:pt x="4017" y="942"/>
                    <a:pt x="4014" y="936"/>
                  </a:cubicBezTo>
                  <a:cubicBezTo>
                    <a:pt x="4011" y="930"/>
                    <a:pt x="4002" y="926"/>
                    <a:pt x="3994" y="926"/>
                  </a:cubicBezTo>
                  <a:cubicBezTo>
                    <a:pt x="3994" y="926"/>
                    <a:pt x="3994" y="926"/>
                    <a:pt x="3994" y="926"/>
                  </a:cubicBezTo>
                  <a:moveTo>
                    <a:pt x="4282" y="925"/>
                  </a:moveTo>
                  <a:cubicBezTo>
                    <a:pt x="4274" y="925"/>
                    <a:pt x="4270" y="930"/>
                    <a:pt x="4273" y="936"/>
                  </a:cubicBezTo>
                  <a:cubicBezTo>
                    <a:pt x="4277" y="941"/>
                    <a:pt x="4286" y="946"/>
                    <a:pt x="4294" y="946"/>
                  </a:cubicBezTo>
                  <a:cubicBezTo>
                    <a:pt x="4302" y="946"/>
                    <a:pt x="4306" y="941"/>
                    <a:pt x="4302" y="936"/>
                  </a:cubicBezTo>
                  <a:cubicBezTo>
                    <a:pt x="4299" y="930"/>
                    <a:pt x="4290" y="925"/>
                    <a:pt x="4282" y="925"/>
                  </a:cubicBezTo>
                  <a:cubicBezTo>
                    <a:pt x="4282" y="925"/>
                    <a:pt x="4282" y="925"/>
                    <a:pt x="4282" y="925"/>
                  </a:cubicBezTo>
                  <a:moveTo>
                    <a:pt x="218" y="911"/>
                  </a:moveTo>
                  <a:cubicBezTo>
                    <a:pt x="210" y="911"/>
                    <a:pt x="200" y="915"/>
                    <a:pt x="196" y="921"/>
                  </a:cubicBezTo>
                  <a:cubicBezTo>
                    <a:pt x="191" y="927"/>
                    <a:pt x="194" y="931"/>
                    <a:pt x="202" y="931"/>
                  </a:cubicBezTo>
                  <a:cubicBezTo>
                    <a:pt x="210" y="931"/>
                    <a:pt x="220" y="927"/>
                    <a:pt x="225" y="921"/>
                  </a:cubicBezTo>
                  <a:cubicBezTo>
                    <a:pt x="229" y="915"/>
                    <a:pt x="226" y="911"/>
                    <a:pt x="218" y="911"/>
                  </a:cubicBezTo>
                  <a:cubicBezTo>
                    <a:pt x="218" y="911"/>
                    <a:pt x="218" y="911"/>
                    <a:pt x="218" y="911"/>
                  </a:cubicBezTo>
                  <a:moveTo>
                    <a:pt x="260" y="911"/>
                  </a:moveTo>
                  <a:cubicBezTo>
                    <a:pt x="252" y="911"/>
                    <a:pt x="242" y="915"/>
                    <a:pt x="238" y="921"/>
                  </a:cubicBezTo>
                  <a:cubicBezTo>
                    <a:pt x="233" y="926"/>
                    <a:pt x="236" y="931"/>
                    <a:pt x="244" y="931"/>
                  </a:cubicBezTo>
                  <a:cubicBezTo>
                    <a:pt x="252" y="931"/>
                    <a:pt x="262" y="926"/>
                    <a:pt x="266" y="921"/>
                  </a:cubicBezTo>
                  <a:cubicBezTo>
                    <a:pt x="271" y="915"/>
                    <a:pt x="268" y="911"/>
                    <a:pt x="260" y="911"/>
                  </a:cubicBezTo>
                  <a:cubicBezTo>
                    <a:pt x="260" y="911"/>
                    <a:pt x="260" y="911"/>
                    <a:pt x="260" y="911"/>
                  </a:cubicBezTo>
                  <a:moveTo>
                    <a:pt x="300" y="911"/>
                  </a:moveTo>
                  <a:cubicBezTo>
                    <a:pt x="292" y="911"/>
                    <a:pt x="283" y="915"/>
                    <a:pt x="278" y="921"/>
                  </a:cubicBezTo>
                  <a:cubicBezTo>
                    <a:pt x="274" y="926"/>
                    <a:pt x="277" y="931"/>
                    <a:pt x="285" y="931"/>
                  </a:cubicBezTo>
                  <a:cubicBezTo>
                    <a:pt x="293" y="931"/>
                    <a:pt x="303" y="926"/>
                    <a:pt x="307" y="921"/>
                  </a:cubicBezTo>
                  <a:cubicBezTo>
                    <a:pt x="311" y="915"/>
                    <a:pt x="308" y="911"/>
                    <a:pt x="300" y="911"/>
                  </a:cubicBezTo>
                  <a:cubicBezTo>
                    <a:pt x="300" y="911"/>
                    <a:pt x="300" y="911"/>
                    <a:pt x="300" y="911"/>
                  </a:cubicBezTo>
                  <a:moveTo>
                    <a:pt x="342" y="910"/>
                  </a:moveTo>
                  <a:cubicBezTo>
                    <a:pt x="334" y="910"/>
                    <a:pt x="324" y="915"/>
                    <a:pt x="320" y="921"/>
                  </a:cubicBezTo>
                  <a:cubicBezTo>
                    <a:pt x="316" y="926"/>
                    <a:pt x="319" y="931"/>
                    <a:pt x="327" y="931"/>
                  </a:cubicBezTo>
                  <a:cubicBezTo>
                    <a:pt x="335" y="931"/>
                    <a:pt x="345" y="926"/>
                    <a:pt x="349" y="920"/>
                  </a:cubicBezTo>
                  <a:cubicBezTo>
                    <a:pt x="353" y="915"/>
                    <a:pt x="350" y="910"/>
                    <a:pt x="342" y="910"/>
                  </a:cubicBezTo>
                  <a:cubicBezTo>
                    <a:pt x="342" y="910"/>
                    <a:pt x="342" y="910"/>
                    <a:pt x="342" y="910"/>
                  </a:cubicBezTo>
                  <a:moveTo>
                    <a:pt x="383" y="910"/>
                  </a:moveTo>
                  <a:cubicBezTo>
                    <a:pt x="375" y="910"/>
                    <a:pt x="365" y="915"/>
                    <a:pt x="361" y="920"/>
                  </a:cubicBezTo>
                  <a:cubicBezTo>
                    <a:pt x="357" y="926"/>
                    <a:pt x="360" y="930"/>
                    <a:pt x="368" y="930"/>
                  </a:cubicBezTo>
                  <a:cubicBezTo>
                    <a:pt x="376" y="930"/>
                    <a:pt x="386" y="926"/>
                    <a:pt x="390" y="920"/>
                  </a:cubicBezTo>
                  <a:cubicBezTo>
                    <a:pt x="394" y="915"/>
                    <a:pt x="391" y="910"/>
                    <a:pt x="383" y="910"/>
                  </a:cubicBezTo>
                  <a:cubicBezTo>
                    <a:pt x="383" y="910"/>
                    <a:pt x="383" y="910"/>
                    <a:pt x="383" y="910"/>
                  </a:cubicBezTo>
                  <a:moveTo>
                    <a:pt x="1646" y="904"/>
                  </a:moveTo>
                  <a:cubicBezTo>
                    <a:pt x="1638" y="904"/>
                    <a:pt x="1631" y="908"/>
                    <a:pt x="1629" y="914"/>
                  </a:cubicBezTo>
                  <a:cubicBezTo>
                    <a:pt x="1627" y="920"/>
                    <a:pt x="1633" y="924"/>
                    <a:pt x="1641" y="924"/>
                  </a:cubicBezTo>
                  <a:cubicBezTo>
                    <a:pt x="1648" y="924"/>
                    <a:pt x="1656" y="919"/>
                    <a:pt x="1658" y="914"/>
                  </a:cubicBezTo>
                  <a:cubicBezTo>
                    <a:pt x="1659" y="908"/>
                    <a:pt x="1654" y="904"/>
                    <a:pt x="1646" y="904"/>
                  </a:cubicBezTo>
                  <a:cubicBezTo>
                    <a:pt x="1646" y="904"/>
                    <a:pt x="1646" y="904"/>
                    <a:pt x="1646" y="904"/>
                  </a:cubicBezTo>
                  <a:moveTo>
                    <a:pt x="1693" y="904"/>
                  </a:moveTo>
                  <a:cubicBezTo>
                    <a:pt x="1685" y="904"/>
                    <a:pt x="1678" y="908"/>
                    <a:pt x="1676" y="914"/>
                  </a:cubicBezTo>
                  <a:cubicBezTo>
                    <a:pt x="1675" y="919"/>
                    <a:pt x="1680" y="924"/>
                    <a:pt x="1688" y="924"/>
                  </a:cubicBezTo>
                  <a:cubicBezTo>
                    <a:pt x="1696" y="924"/>
                    <a:pt x="1703" y="919"/>
                    <a:pt x="1705" y="914"/>
                  </a:cubicBezTo>
                  <a:cubicBezTo>
                    <a:pt x="1706" y="908"/>
                    <a:pt x="1701" y="904"/>
                    <a:pt x="1693" y="904"/>
                  </a:cubicBezTo>
                  <a:cubicBezTo>
                    <a:pt x="1693" y="904"/>
                    <a:pt x="1693" y="904"/>
                    <a:pt x="1693" y="904"/>
                  </a:cubicBezTo>
                  <a:moveTo>
                    <a:pt x="1732" y="903"/>
                  </a:moveTo>
                  <a:cubicBezTo>
                    <a:pt x="1724" y="903"/>
                    <a:pt x="1716" y="908"/>
                    <a:pt x="1715" y="914"/>
                  </a:cubicBezTo>
                  <a:cubicBezTo>
                    <a:pt x="1713" y="919"/>
                    <a:pt x="1718" y="924"/>
                    <a:pt x="1726" y="924"/>
                  </a:cubicBezTo>
                  <a:cubicBezTo>
                    <a:pt x="1734" y="924"/>
                    <a:pt x="1742" y="919"/>
                    <a:pt x="1743" y="913"/>
                  </a:cubicBezTo>
                  <a:cubicBezTo>
                    <a:pt x="1745" y="908"/>
                    <a:pt x="1739" y="903"/>
                    <a:pt x="1732" y="903"/>
                  </a:cubicBezTo>
                  <a:cubicBezTo>
                    <a:pt x="1732" y="903"/>
                    <a:pt x="1732" y="903"/>
                    <a:pt x="1732" y="903"/>
                  </a:cubicBezTo>
                  <a:moveTo>
                    <a:pt x="1772" y="903"/>
                  </a:moveTo>
                  <a:cubicBezTo>
                    <a:pt x="1764" y="903"/>
                    <a:pt x="1757" y="908"/>
                    <a:pt x="1755" y="913"/>
                  </a:cubicBezTo>
                  <a:cubicBezTo>
                    <a:pt x="1754" y="919"/>
                    <a:pt x="1759" y="924"/>
                    <a:pt x="1767" y="924"/>
                  </a:cubicBezTo>
                  <a:cubicBezTo>
                    <a:pt x="1775" y="924"/>
                    <a:pt x="1783" y="919"/>
                    <a:pt x="1784" y="913"/>
                  </a:cubicBezTo>
                  <a:cubicBezTo>
                    <a:pt x="1785" y="908"/>
                    <a:pt x="1780" y="903"/>
                    <a:pt x="1772" y="903"/>
                  </a:cubicBezTo>
                  <a:cubicBezTo>
                    <a:pt x="1772" y="903"/>
                    <a:pt x="1772" y="903"/>
                    <a:pt x="1772" y="903"/>
                  </a:cubicBezTo>
                  <a:moveTo>
                    <a:pt x="1813" y="903"/>
                  </a:moveTo>
                  <a:cubicBezTo>
                    <a:pt x="1805" y="903"/>
                    <a:pt x="1798" y="908"/>
                    <a:pt x="1797" y="913"/>
                  </a:cubicBezTo>
                  <a:cubicBezTo>
                    <a:pt x="1795" y="919"/>
                    <a:pt x="1801" y="923"/>
                    <a:pt x="1809" y="923"/>
                  </a:cubicBezTo>
                  <a:cubicBezTo>
                    <a:pt x="1817" y="923"/>
                    <a:pt x="1824" y="919"/>
                    <a:pt x="1825" y="913"/>
                  </a:cubicBezTo>
                  <a:cubicBezTo>
                    <a:pt x="1826" y="908"/>
                    <a:pt x="1821" y="903"/>
                    <a:pt x="1813" y="903"/>
                  </a:cubicBezTo>
                  <a:cubicBezTo>
                    <a:pt x="1813" y="903"/>
                    <a:pt x="1813" y="903"/>
                    <a:pt x="1813" y="903"/>
                  </a:cubicBezTo>
                  <a:moveTo>
                    <a:pt x="1854" y="903"/>
                  </a:moveTo>
                  <a:cubicBezTo>
                    <a:pt x="1847" y="903"/>
                    <a:pt x="1839" y="907"/>
                    <a:pt x="1838" y="913"/>
                  </a:cubicBezTo>
                  <a:cubicBezTo>
                    <a:pt x="1837" y="919"/>
                    <a:pt x="1842" y="923"/>
                    <a:pt x="1850" y="923"/>
                  </a:cubicBezTo>
                  <a:cubicBezTo>
                    <a:pt x="1858" y="923"/>
                    <a:pt x="1865" y="919"/>
                    <a:pt x="1867" y="913"/>
                  </a:cubicBezTo>
                  <a:cubicBezTo>
                    <a:pt x="1868" y="907"/>
                    <a:pt x="1862" y="903"/>
                    <a:pt x="1855" y="903"/>
                  </a:cubicBezTo>
                  <a:cubicBezTo>
                    <a:pt x="1855" y="903"/>
                    <a:pt x="1854" y="903"/>
                    <a:pt x="1854" y="903"/>
                  </a:cubicBezTo>
                  <a:moveTo>
                    <a:pt x="1895" y="903"/>
                  </a:moveTo>
                  <a:cubicBezTo>
                    <a:pt x="1887" y="903"/>
                    <a:pt x="1880" y="907"/>
                    <a:pt x="1879" y="913"/>
                  </a:cubicBezTo>
                  <a:cubicBezTo>
                    <a:pt x="1878" y="919"/>
                    <a:pt x="1883" y="923"/>
                    <a:pt x="1891" y="923"/>
                  </a:cubicBezTo>
                  <a:cubicBezTo>
                    <a:pt x="1899" y="923"/>
                    <a:pt x="1906" y="918"/>
                    <a:pt x="1907" y="913"/>
                  </a:cubicBezTo>
                  <a:cubicBezTo>
                    <a:pt x="1908" y="907"/>
                    <a:pt x="1903" y="903"/>
                    <a:pt x="1895" y="903"/>
                  </a:cubicBezTo>
                  <a:cubicBezTo>
                    <a:pt x="1895" y="903"/>
                    <a:pt x="1895" y="903"/>
                    <a:pt x="1895" y="903"/>
                  </a:cubicBezTo>
                  <a:moveTo>
                    <a:pt x="1936" y="903"/>
                  </a:moveTo>
                  <a:cubicBezTo>
                    <a:pt x="1928" y="903"/>
                    <a:pt x="1921" y="907"/>
                    <a:pt x="1920" y="913"/>
                  </a:cubicBezTo>
                  <a:cubicBezTo>
                    <a:pt x="1919" y="918"/>
                    <a:pt x="1924" y="923"/>
                    <a:pt x="1932" y="923"/>
                  </a:cubicBezTo>
                  <a:cubicBezTo>
                    <a:pt x="1940" y="923"/>
                    <a:pt x="1947" y="918"/>
                    <a:pt x="1948" y="913"/>
                  </a:cubicBezTo>
                  <a:cubicBezTo>
                    <a:pt x="1949" y="907"/>
                    <a:pt x="1944" y="903"/>
                    <a:pt x="1936" y="903"/>
                  </a:cubicBezTo>
                  <a:cubicBezTo>
                    <a:pt x="1936" y="903"/>
                    <a:pt x="1936" y="903"/>
                    <a:pt x="1936" y="903"/>
                  </a:cubicBezTo>
                  <a:moveTo>
                    <a:pt x="1977" y="902"/>
                  </a:moveTo>
                  <a:cubicBezTo>
                    <a:pt x="1969" y="902"/>
                    <a:pt x="1961" y="907"/>
                    <a:pt x="1960" y="913"/>
                  </a:cubicBezTo>
                  <a:cubicBezTo>
                    <a:pt x="1959" y="918"/>
                    <a:pt x="1965" y="923"/>
                    <a:pt x="1973" y="923"/>
                  </a:cubicBezTo>
                  <a:cubicBezTo>
                    <a:pt x="1981" y="923"/>
                    <a:pt x="1988" y="918"/>
                    <a:pt x="1989" y="912"/>
                  </a:cubicBezTo>
                  <a:cubicBezTo>
                    <a:pt x="1990" y="907"/>
                    <a:pt x="1984" y="902"/>
                    <a:pt x="1977" y="902"/>
                  </a:cubicBezTo>
                  <a:cubicBezTo>
                    <a:pt x="1977" y="902"/>
                    <a:pt x="1977" y="902"/>
                    <a:pt x="1977" y="902"/>
                  </a:cubicBezTo>
                  <a:moveTo>
                    <a:pt x="2017" y="902"/>
                  </a:moveTo>
                  <a:cubicBezTo>
                    <a:pt x="2010" y="902"/>
                    <a:pt x="2002" y="907"/>
                    <a:pt x="2002" y="912"/>
                  </a:cubicBezTo>
                  <a:cubicBezTo>
                    <a:pt x="2001" y="918"/>
                    <a:pt x="2006" y="923"/>
                    <a:pt x="2014" y="923"/>
                  </a:cubicBezTo>
                  <a:cubicBezTo>
                    <a:pt x="2022" y="923"/>
                    <a:pt x="2029" y="918"/>
                    <a:pt x="2030" y="912"/>
                  </a:cubicBezTo>
                  <a:cubicBezTo>
                    <a:pt x="2031" y="907"/>
                    <a:pt x="2025" y="902"/>
                    <a:pt x="2018" y="902"/>
                  </a:cubicBezTo>
                  <a:cubicBezTo>
                    <a:pt x="2018" y="902"/>
                    <a:pt x="2018" y="902"/>
                    <a:pt x="2017" y="902"/>
                  </a:cubicBezTo>
                  <a:moveTo>
                    <a:pt x="2060" y="902"/>
                  </a:moveTo>
                  <a:cubicBezTo>
                    <a:pt x="2052" y="902"/>
                    <a:pt x="2045" y="907"/>
                    <a:pt x="2044" y="912"/>
                  </a:cubicBezTo>
                  <a:cubicBezTo>
                    <a:pt x="2043" y="918"/>
                    <a:pt x="2049" y="922"/>
                    <a:pt x="2057" y="922"/>
                  </a:cubicBezTo>
                  <a:cubicBezTo>
                    <a:pt x="2065" y="922"/>
                    <a:pt x="2072" y="918"/>
                    <a:pt x="2073" y="912"/>
                  </a:cubicBezTo>
                  <a:cubicBezTo>
                    <a:pt x="2073" y="907"/>
                    <a:pt x="2068" y="902"/>
                    <a:pt x="2060" y="902"/>
                  </a:cubicBezTo>
                  <a:cubicBezTo>
                    <a:pt x="2060" y="902"/>
                    <a:pt x="2060" y="902"/>
                    <a:pt x="2060" y="902"/>
                  </a:cubicBezTo>
                  <a:moveTo>
                    <a:pt x="2100" y="902"/>
                  </a:moveTo>
                  <a:cubicBezTo>
                    <a:pt x="2092" y="902"/>
                    <a:pt x="2085" y="906"/>
                    <a:pt x="2085" y="912"/>
                  </a:cubicBezTo>
                  <a:cubicBezTo>
                    <a:pt x="2084" y="918"/>
                    <a:pt x="2090" y="922"/>
                    <a:pt x="2098" y="922"/>
                  </a:cubicBezTo>
                  <a:cubicBezTo>
                    <a:pt x="2106" y="922"/>
                    <a:pt x="2113" y="918"/>
                    <a:pt x="2113" y="912"/>
                  </a:cubicBezTo>
                  <a:cubicBezTo>
                    <a:pt x="2114" y="906"/>
                    <a:pt x="2108" y="902"/>
                    <a:pt x="2100" y="902"/>
                  </a:cubicBezTo>
                  <a:cubicBezTo>
                    <a:pt x="2100" y="902"/>
                    <a:pt x="2100" y="902"/>
                    <a:pt x="2100" y="902"/>
                  </a:cubicBezTo>
                  <a:moveTo>
                    <a:pt x="2141" y="902"/>
                  </a:moveTo>
                  <a:cubicBezTo>
                    <a:pt x="2133" y="902"/>
                    <a:pt x="2126" y="906"/>
                    <a:pt x="2126" y="912"/>
                  </a:cubicBezTo>
                  <a:cubicBezTo>
                    <a:pt x="2125" y="918"/>
                    <a:pt x="2131" y="922"/>
                    <a:pt x="2139" y="922"/>
                  </a:cubicBezTo>
                  <a:cubicBezTo>
                    <a:pt x="2147" y="922"/>
                    <a:pt x="2154" y="917"/>
                    <a:pt x="2154" y="912"/>
                  </a:cubicBezTo>
                  <a:cubicBezTo>
                    <a:pt x="2155" y="906"/>
                    <a:pt x="2149" y="902"/>
                    <a:pt x="2141" y="902"/>
                  </a:cubicBezTo>
                  <a:cubicBezTo>
                    <a:pt x="2141" y="902"/>
                    <a:pt x="2141" y="902"/>
                    <a:pt x="2141" y="902"/>
                  </a:cubicBezTo>
                  <a:moveTo>
                    <a:pt x="2182" y="901"/>
                  </a:moveTo>
                  <a:cubicBezTo>
                    <a:pt x="2175" y="902"/>
                    <a:pt x="2168" y="906"/>
                    <a:pt x="2167" y="912"/>
                  </a:cubicBezTo>
                  <a:cubicBezTo>
                    <a:pt x="2167" y="917"/>
                    <a:pt x="2172" y="922"/>
                    <a:pt x="2180" y="922"/>
                  </a:cubicBezTo>
                  <a:cubicBezTo>
                    <a:pt x="2188" y="922"/>
                    <a:pt x="2195" y="917"/>
                    <a:pt x="2196" y="912"/>
                  </a:cubicBezTo>
                  <a:cubicBezTo>
                    <a:pt x="2196" y="906"/>
                    <a:pt x="2190" y="901"/>
                    <a:pt x="2183" y="901"/>
                  </a:cubicBezTo>
                  <a:cubicBezTo>
                    <a:pt x="2183" y="901"/>
                    <a:pt x="2183" y="901"/>
                    <a:pt x="2182" y="901"/>
                  </a:cubicBezTo>
                  <a:moveTo>
                    <a:pt x="2223" y="901"/>
                  </a:moveTo>
                  <a:cubicBezTo>
                    <a:pt x="2215" y="901"/>
                    <a:pt x="2208" y="906"/>
                    <a:pt x="2208" y="912"/>
                  </a:cubicBezTo>
                  <a:cubicBezTo>
                    <a:pt x="2207" y="917"/>
                    <a:pt x="2213" y="922"/>
                    <a:pt x="2221" y="922"/>
                  </a:cubicBezTo>
                  <a:cubicBezTo>
                    <a:pt x="2229" y="922"/>
                    <a:pt x="2236" y="917"/>
                    <a:pt x="2237" y="911"/>
                  </a:cubicBezTo>
                  <a:cubicBezTo>
                    <a:pt x="2237" y="906"/>
                    <a:pt x="2231" y="901"/>
                    <a:pt x="2223" y="901"/>
                  </a:cubicBezTo>
                  <a:cubicBezTo>
                    <a:pt x="2223" y="901"/>
                    <a:pt x="2223" y="901"/>
                    <a:pt x="2223" y="901"/>
                  </a:cubicBezTo>
                  <a:moveTo>
                    <a:pt x="2836" y="901"/>
                  </a:moveTo>
                  <a:cubicBezTo>
                    <a:pt x="2828" y="901"/>
                    <a:pt x="2822" y="906"/>
                    <a:pt x="2823" y="911"/>
                  </a:cubicBezTo>
                  <a:cubicBezTo>
                    <a:pt x="2824" y="917"/>
                    <a:pt x="2831" y="922"/>
                    <a:pt x="2838" y="922"/>
                  </a:cubicBezTo>
                  <a:cubicBezTo>
                    <a:pt x="2846" y="922"/>
                    <a:pt x="2852" y="917"/>
                    <a:pt x="2852" y="911"/>
                  </a:cubicBezTo>
                  <a:cubicBezTo>
                    <a:pt x="2851" y="906"/>
                    <a:pt x="2844" y="901"/>
                    <a:pt x="2836" y="901"/>
                  </a:cubicBezTo>
                  <a:cubicBezTo>
                    <a:pt x="2836" y="901"/>
                    <a:pt x="2836" y="901"/>
                    <a:pt x="2836" y="901"/>
                  </a:cubicBezTo>
                  <a:moveTo>
                    <a:pt x="2264" y="901"/>
                  </a:moveTo>
                  <a:cubicBezTo>
                    <a:pt x="2256" y="901"/>
                    <a:pt x="2249" y="906"/>
                    <a:pt x="2249" y="911"/>
                  </a:cubicBezTo>
                  <a:cubicBezTo>
                    <a:pt x="2248" y="917"/>
                    <a:pt x="2254" y="922"/>
                    <a:pt x="2262" y="922"/>
                  </a:cubicBezTo>
                  <a:cubicBezTo>
                    <a:pt x="2270" y="922"/>
                    <a:pt x="2277" y="917"/>
                    <a:pt x="2277" y="911"/>
                  </a:cubicBezTo>
                  <a:cubicBezTo>
                    <a:pt x="2278" y="906"/>
                    <a:pt x="2272" y="901"/>
                    <a:pt x="2264" y="901"/>
                  </a:cubicBezTo>
                  <a:cubicBezTo>
                    <a:pt x="2264" y="901"/>
                    <a:pt x="2264" y="901"/>
                    <a:pt x="2264" y="901"/>
                  </a:cubicBezTo>
                  <a:moveTo>
                    <a:pt x="2304" y="901"/>
                  </a:moveTo>
                  <a:cubicBezTo>
                    <a:pt x="2297" y="901"/>
                    <a:pt x="2290" y="906"/>
                    <a:pt x="2290" y="911"/>
                  </a:cubicBezTo>
                  <a:cubicBezTo>
                    <a:pt x="2289" y="917"/>
                    <a:pt x="2295" y="921"/>
                    <a:pt x="2303" y="921"/>
                  </a:cubicBezTo>
                  <a:cubicBezTo>
                    <a:pt x="2311" y="921"/>
                    <a:pt x="2318" y="917"/>
                    <a:pt x="2318" y="911"/>
                  </a:cubicBezTo>
                  <a:cubicBezTo>
                    <a:pt x="2319" y="906"/>
                    <a:pt x="2312" y="901"/>
                    <a:pt x="2305" y="901"/>
                  </a:cubicBezTo>
                  <a:cubicBezTo>
                    <a:pt x="2305" y="901"/>
                    <a:pt x="2305" y="901"/>
                    <a:pt x="2304" y="901"/>
                  </a:cubicBezTo>
                  <a:moveTo>
                    <a:pt x="2917" y="901"/>
                  </a:moveTo>
                  <a:cubicBezTo>
                    <a:pt x="2909" y="901"/>
                    <a:pt x="2904" y="906"/>
                    <a:pt x="2904" y="911"/>
                  </a:cubicBezTo>
                  <a:cubicBezTo>
                    <a:pt x="2905" y="917"/>
                    <a:pt x="2912" y="921"/>
                    <a:pt x="2920" y="921"/>
                  </a:cubicBezTo>
                  <a:cubicBezTo>
                    <a:pt x="2928" y="921"/>
                    <a:pt x="2934" y="917"/>
                    <a:pt x="2933" y="911"/>
                  </a:cubicBezTo>
                  <a:cubicBezTo>
                    <a:pt x="2932" y="905"/>
                    <a:pt x="2925" y="901"/>
                    <a:pt x="2917" y="901"/>
                  </a:cubicBezTo>
                  <a:cubicBezTo>
                    <a:pt x="2917" y="901"/>
                    <a:pt x="2917" y="901"/>
                    <a:pt x="2917" y="901"/>
                  </a:cubicBezTo>
                  <a:moveTo>
                    <a:pt x="2345" y="901"/>
                  </a:moveTo>
                  <a:cubicBezTo>
                    <a:pt x="2338" y="901"/>
                    <a:pt x="2331" y="905"/>
                    <a:pt x="2331" y="911"/>
                  </a:cubicBezTo>
                  <a:cubicBezTo>
                    <a:pt x="2330" y="917"/>
                    <a:pt x="2337" y="921"/>
                    <a:pt x="2344" y="921"/>
                  </a:cubicBezTo>
                  <a:cubicBezTo>
                    <a:pt x="2352" y="921"/>
                    <a:pt x="2359" y="917"/>
                    <a:pt x="2359" y="911"/>
                  </a:cubicBezTo>
                  <a:cubicBezTo>
                    <a:pt x="2360" y="905"/>
                    <a:pt x="2353" y="901"/>
                    <a:pt x="2346" y="901"/>
                  </a:cubicBezTo>
                  <a:cubicBezTo>
                    <a:pt x="2345" y="901"/>
                    <a:pt x="2345" y="901"/>
                    <a:pt x="2345" y="901"/>
                  </a:cubicBezTo>
                  <a:moveTo>
                    <a:pt x="2387" y="901"/>
                  </a:moveTo>
                  <a:cubicBezTo>
                    <a:pt x="2379" y="901"/>
                    <a:pt x="2372" y="905"/>
                    <a:pt x="2372" y="911"/>
                  </a:cubicBezTo>
                  <a:cubicBezTo>
                    <a:pt x="2372" y="917"/>
                    <a:pt x="2378" y="921"/>
                    <a:pt x="2386" y="921"/>
                  </a:cubicBezTo>
                  <a:cubicBezTo>
                    <a:pt x="2394" y="921"/>
                    <a:pt x="2401" y="916"/>
                    <a:pt x="2401" y="911"/>
                  </a:cubicBezTo>
                  <a:cubicBezTo>
                    <a:pt x="2401" y="905"/>
                    <a:pt x="2395" y="901"/>
                    <a:pt x="2387" y="901"/>
                  </a:cubicBezTo>
                  <a:cubicBezTo>
                    <a:pt x="2387" y="901"/>
                    <a:pt x="2387" y="901"/>
                    <a:pt x="2387" y="901"/>
                  </a:cubicBezTo>
                  <a:moveTo>
                    <a:pt x="2427" y="900"/>
                  </a:moveTo>
                  <a:cubicBezTo>
                    <a:pt x="2419" y="901"/>
                    <a:pt x="2413" y="905"/>
                    <a:pt x="2413" y="911"/>
                  </a:cubicBezTo>
                  <a:cubicBezTo>
                    <a:pt x="2413" y="916"/>
                    <a:pt x="2419" y="921"/>
                    <a:pt x="2427" y="921"/>
                  </a:cubicBezTo>
                  <a:cubicBezTo>
                    <a:pt x="2435" y="921"/>
                    <a:pt x="2441" y="916"/>
                    <a:pt x="2441" y="911"/>
                  </a:cubicBezTo>
                  <a:cubicBezTo>
                    <a:pt x="2442" y="905"/>
                    <a:pt x="2435" y="900"/>
                    <a:pt x="2427" y="900"/>
                  </a:cubicBezTo>
                  <a:cubicBezTo>
                    <a:pt x="2427" y="900"/>
                    <a:pt x="2427" y="900"/>
                    <a:pt x="2427" y="900"/>
                  </a:cubicBezTo>
                  <a:moveTo>
                    <a:pt x="2468" y="900"/>
                  </a:moveTo>
                  <a:cubicBezTo>
                    <a:pt x="2460" y="900"/>
                    <a:pt x="2454" y="905"/>
                    <a:pt x="2454" y="911"/>
                  </a:cubicBezTo>
                  <a:cubicBezTo>
                    <a:pt x="2454" y="916"/>
                    <a:pt x="2460" y="921"/>
                    <a:pt x="2468" y="921"/>
                  </a:cubicBezTo>
                  <a:cubicBezTo>
                    <a:pt x="2476" y="921"/>
                    <a:pt x="2482" y="916"/>
                    <a:pt x="2482" y="910"/>
                  </a:cubicBezTo>
                  <a:cubicBezTo>
                    <a:pt x="2482" y="905"/>
                    <a:pt x="2476" y="900"/>
                    <a:pt x="2468" y="900"/>
                  </a:cubicBezTo>
                  <a:cubicBezTo>
                    <a:pt x="2468" y="900"/>
                    <a:pt x="2468" y="900"/>
                    <a:pt x="2468" y="900"/>
                  </a:cubicBezTo>
                  <a:moveTo>
                    <a:pt x="2509" y="900"/>
                  </a:moveTo>
                  <a:cubicBezTo>
                    <a:pt x="2501" y="900"/>
                    <a:pt x="2494" y="905"/>
                    <a:pt x="2494" y="910"/>
                  </a:cubicBezTo>
                  <a:cubicBezTo>
                    <a:pt x="2494" y="916"/>
                    <a:pt x="2501" y="921"/>
                    <a:pt x="2509" y="921"/>
                  </a:cubicBezTo>
                  <a:cubicBezTo>
                    <a:pt x="2517" y="921"/>
                    <a:pt x="2523" y="916"/>
                    <a:pt x="2523" y="910"/>
                  </a:cubicBezTo>
                  <a:cubicBezTo>
                    <a:pt x="2523" y="905"/>
                    <a:pt x="2517" y="900"/>
                    <a:pt x="2509" y="900"/>
                  </a:cubicBezTo>
                  <a:cubicBezTo>
                    <a:pt x="2509" y="900"/>
                    <a:pt x="2509" y="900"/>
                    <a:pt x="2509" y="900"/>
                  </a:cubicBezTo>
                  <a:moveTo>
                    <a:pt x="2550" y="900"/>
                  </a:moveTo>
                  <a:cubicBezTo>
                    <a:pt x="2542" y="900"/>
                    <a:pt x="2535" y="905"/>
                    <a:pt x="2536" y="910"/>
                  </a:cubicBezTo>
                  <a:cubicBezTo>
                    <a:pt x="2536" y="916"/>
                    <a:pt x="2542" y="920"/>
                    <a:pt x="2550" y="920"/>
                  </a:cubicBezTo>
                  <a:cubicBezTo>
                    <a:pt x="2558" y="920"/>
                    <a:pt x="2564" y="916"/>
                    <a:pt x="2564" y="910"/>
                  </a:cubicBezTo>
                  <a:cubicBezTo>
                    <a:pt x="2564" y="905"/>
                    <a:pt x="2558" y="900"/>
                    <a:pt x="2550" y="900"/>
                  </a:cubicBezTo>
                  <a:cubicBezTo>
                    <a:pt x="2550" y="900"/>
                    <a:pt x="2550" y="900"/>
                    <a:pt x="2550" y="900"/>
                  </a:cubicBezTo>
                  <a:moveTo>
                    <a:pt x="2591" y="900"/>
                  </a:moveTo>
                  <a:cubicBezTo>
                    <a:pt x="2583" y="900"/>
                    <a:pt x="2577" y="904"/>
                    <a:pt x="2577" y="910"/>
                  </a:cubicBezTo>
                  <a:cubicBezTo>
                    <a:pt x="2577" y="916"/>
                    <a:pt x="2584" y="920"/>
                    <a:pt x="2592" y="920"/>
                  </a:cubicBezTo>
                  <a:cubicBezTo>
                    <a:pt x="2600" y="920"/>
                    <a:pt x="2606" y="916"/>
                    <a:pt x="2606" y="910"/>
                  </a:cubicBezTo>
                  <a:cubicBezTo>
                    <a:pt x="2605" y="904"/>
                    <a:pt x="2599" y="900"/>
                    <a:pt x="2591" y="900"/>
                  </a:cubicBezTo>
                  <a:cubicBezTo>
                    <a:pt x="2591" y="900"/>
                    <a:pt x="2591" y="900"/>
                    <a:pt x="2591" y="900"/>
                  </a:cubicBezTo>
                  <a:moveTo>
                    <a:pt x="2874" y="900"/>
                  </a:moveTo>
                  <a:cubicBezTo>
                    <a:pt x="2866" y="900"/>
                    <a:pt x="2861" y="904"/>
                    <a:pt x="2861" y="910"/>
                  </a:cubicBezTo>
                  <a:cubicBezTo>
                    <a:pt x="2862" y="916"/>
                    <a:pt x="2869" y="920"/>
                    <a:pt x="2877" y="920"/>
                  </a:cubicBezTo>
                  <a:cubicBezTo>
                    <a:pt x="2885" y="920"/>
                    <a:pt x="2891" y="916"/>
                    <a:pt x="2890" y="910"/>
                  </a:cubicBezTo>
                  <a:cubicBezTo>
                    <a:pt x="2889" y="904"/>
                    <a:pt x="2882" y="900"/>
                    <a:pt x="2874" y="900"/>
                  </a:cubicBezTo>
                  <a:cubicBezTo>
                    <a:pt x="2874" y="900"/>
                    <a:pt x="2874" y="900"/>
                    <a:pt x="2874" y="900"/>
                  </a:cubicBezTo>
                  <a:moveTo>
                    <a:pt x="2631" y="900"/>
                  </a:moveTo>
                  <a:cubicBezTo>
                    <a:pt x="2624" y="900"/>
                    <a:pt x="2617" y="904"/>
                    <a:pt x="2618" y="910"/>
                  </a:cubicBezTo>
                  <a:cubicBezTo>
                    <a:pt x="2618" y="916"/>
                    <a:pt x="2625" y="920"/>
                    <a:pt x="2632" y="920"/>
                  </a:cubicBezTo>
                  <a:cubicBezTo>
                    <a:pt x="2640" y="920"/>
                    <a:pt x="2647" y="915"/>
                    <a:pt x="2646" y="910"/>
                  </a:cubicBezTo>
                  <a:cubicBezTo>
                    <a:pt x="2646" y="904"/>
                    <a:pt x="2639" y="900"/>
                    <a:pt x="2632" y="900"/>
                  </a:cubicBezTo>
                  <a:cubicBezTo>
                    <a:pt x="2632" y="900"/>
                    <a:pt x="2631" y="900"/>
                    <a:pt x="2631" y="900"/>
                  </a:cubicBezTo>
                  <a:moveTo>
                    <a:pt x="2673" y="899"/>
                  </a:moveTo>
                  <a:cubicBezTo>
                    <a:pt x="2665" y="899"/>
                    <a:pt x="2659" y="904"/>
                    <a:pt x="2659" y="910"/>
                  </a:cubicBezTo>
                  <a:cubicBezTo>
                    <a:pt x="2659" y="915"/>
                    <a:pt x="2666" y="920"/>
                    <a:pt x="2674" y="920"/>
                  </a:cubicBezTo>
                  <a:cubicBezTo>
                    <a:pt x="2682" y="920"/>
                    <a:pt x="2688" y="915"/>
                    <a:pt x="2688" y="910"/>
                  </a:cubicBezTo>
                  <a:cubicBezTo>
                    <a:pt x="2687" y="904"/>
                    <a:pt x="2681" y="899"/>
                    <a:pt x="2673" y="899"/>
                  </a:cubicBezTo>
                  <a:cubicBezTo>
                    <a:pt x="2673" y="899"/>
                    <a:pt x="2673" y="899"/>
                    <a:pt x="2673" y="899"/>
                  </a:cubicBezTo>
                  <a:moveTo>
                    <a:pt x="2955" y="899"/>
                  </a:moveTo>
                  <a:cubicBezTo>
                    <a:pt x="2948" y="899"/>
                    <a:pt x="2942" y="904"/>
                    <a:pt x="2943" y="910"/>
                  </a:cubicBezTo>
                  <a:cubicBezTo>
                    <a:pt x="2944" y="915"/>
                    <a:pt x="2951" y="920"/>
                    <a:pt x="2959" y="920"/>
                  </a:cubicBezTo>
                  <a:cubicBezTo>
                    <a:pt x="2967" y="920"/>
                    <a:pt x="2972" y="915"/>
                    <a:pt x="2971" y="910"/>
                  </a:cubicBezTo>
                  <a:cubicBezTo>
                    <a:pt x="2971" y="904"/>
                    <a:pt x="2963" y="899"/>
                    <a:pt x="2956" y="899"/>
                  </a:cubicBezTo>
                  <a:cubicBezTo>
                    <a:pt x="2956" y="899"/>
                    <a:pt x="2955" y="899"/>
                    <a:pt x="2955" y="899"/>
                  </a:cubicBezTo>
                  <a:moveTo>
                    <a:pt x="3365" y="898"/>
                  </a:moveTo>
                  <a:cubicBezTo>
                    <a:pt x="3357" y="898"/>
                    <a:pt x="3352" y="903"/>
                    <a:pt x="3354" y="909"/>
                  </a:cubicBezTo>
                  <a:cubicBezTo>
                    <a:pt x="3355" y="914"/>
                    <a:pt x="3363" y="919"/>
                    <a:pt x="3371" y="919"/>
                  </a:cubicBezTo>
                  <a:cubicBezTo>
                    <a:pt x="3379" y="919"/>
                    <a:pt x="3384" y="914"/>
                    <a:pt x="3382" y="909"/>
                  </a:cubicBezTo>
                  <a:cubicBezTo>
                    <a:pt x="3381" y="903"/>
                    <a:pt x="3373" y="898"/>
                    <a:pt x="3365" y="898"/>
                  </a:cubicBezTo>
                  <a:cubicBezTo>
                    <a:pt x="3365" y="898"/>
                    <a:pt x="3365" y="898"/>
                    <a:pt x="3365" y="898"/>
                  </a:cubicBezTo>
                  <a:moveTo>
                    <a:pt x="3405" y="898"/>
                  </a:moveTo>
                  <a:cubicBezTo>
                    <a:pt x="3398" y="898"/>
                    <a:pt x="3393" y="903"/>
                    <a:pt x="3394" y="909"/>
                  </a:cubicBezTo>
                  <a:cubicBezTo>
                    <a:pt x="3396" y="914"/>
                    <a:pt x="3404" y="919"/>
                    <a:pt x="3412" y="919"/>
                  </a:cubicBezTo>
                  <a:cubicBezTo>
                    <a:pt x="3420" y="919"/>
                    <a:pt x="3425" y="914"/>
                    <a:pt x="3423" y="908"/>
                  </a:cubicBezTo>
                  <a:cubicBezTo>
                    <a:pt x="3421" y="903"/>
                    <a:pt x="3413" y="898"/>
                    <a:pt x="3406" y="898"/>
                  </a:cubicBezTo>
                  <a:cubicBezTo>
                    <a:pt x="3406" y="898"/>
                    <a:pt x="3406" y="898"/>
                    <a:pt x="3405" y="898"/>
                  </a:cubicBezTo>
                  <a:moveTo>
                    <a:pt x="3446" y="898"/>
                  </a:moveTo>
                  <a:cubicBezTo>
                    <a:pt x="3439" y="898"/>
                    <a:pt x="3434" y="903"/>
                    <a:pt x="3435" y="908"/>
                  </a:cubicBezTo>
                  <a:cubicBezTo>
                    <a:pt x="3437" y="914"/>
                    <a:pt x="3445" y="919"/>
                    <a:pt x="3453" y="919"/>
                  </a:cubicBezTo>
                  <a:cubicBezTo>
                    <a:pt x="3461" y="919"/>
                    <a:pt x="3466" y="914"/>
                    <a:pt x="3464" y="908"/>
                  </a:cubicBezTo>
                  <a:cubicBezTo>
                    <a:pt x="3462" y="903"/>
                    <a:pt x="3454" y="898"/>
                    <a:pt x="3446" y="898"/>
                  </a:cubicBezTo>
                  <a:cubicBezTo>
                    <a:pt x="3446" y="898"/>
                    <a:pt x="3446" y="898"/>
                    <a:pt x="3446" y="898"/>
                  </a:cubicBezTo>
                  <a:moveTo>
                    <a:pt x="2794" y="898"/>
                  </a:moveTo>
                  <a:cubicBezTo>
                    <a:pt x="2786" y="898"/>
                    <a:pt x="2781" y="902"/>
                    <a:pt x="2781" y="908"/>
                  </a:cubicBezTo>
                  <a:cubicBezTo>
                    <a:pt x="2782" y="913"/>
                    <a:pt x="2789" y="918"/>
                    <a:pt x="2797" y="918"/>
                  </a:cubicBezTo>
                  <a:cubicBezTo>
                    <a:pt x="2804" y="918"/>
                    <a:pt x="2810" y="913"/>
                    <a:pt x="2810" y="908"/>
                  </a:cubicBezTo>
                  <a:cubicBezTo>
                    <a:pt x="2809" y="902"/>
                    <a:pt x="2802" y="898"/>
                    <a:pt x="2794" y="898"/>
                  </a:cubicBezTo>
                  <a:cubicBezTo>
                    <a:pt x="2794" y="898"/>
                    <a:pt x="2794" y="898"/>
                    <a:pt x="2794" y="898"/>
                  </a:cubicBezTo>
                  <a:moveTo>
                    <a:pt x="3814" y="897"/>
                  </a:moveTo>
                  <a:cubicBezTo>
                    <a:pt x="3806" y="897"/>
                    <a:pt x="3802" y="901"/>
                    <a:pt x="3805" y="907"/>
                  </a:cubicBezTo>
                  <a:cubicBezTo>
                    <a:pt x="3807" y="913"/>
                    <a:pt x="3816" y="917"/>
                    <a:pt x="3823" y="917"/>
                  </a:cubicBezTo>
                  <a:cubicBezTo>
                    <a:pt x="3831" y="917"/>
                    <a:pt x="3836" y="913"/>
                    <a:pt x="3833" y="907"/>
                  </a:cubicBezTo>
                  <a:cubicBezTo>
                    <a:pt x="3831" y="901"/>
                    <a:pt x="3822" y="897"/>
                    <a:pt x="3814" y="897"/>
                  </a:cubicBezTo>
                  <a:cubicBezTo>
                    <a:pt x="3814" y="897"/>
                    <a:pt x="3814" y="897"/>
                    <a:pt x="3814" y="897"/>
                  </a:cubicBezTo>
                  <a:moveTo>
                    <a:pt x="3855" y="897"/>
                  </a:moveTo>
                  <a:cubicBezTo>
                    <a:pt x="3847" y="897"/>
                    <a:pt x="3843" y="901"/>
                    <a:pt x="3846" y="907"/>
                  </a:cubicBezTo>
                  <a:cubicBezTo>
                    <a:pt x="3848" y="913"/>
                    <a:pt x="3857" y="917"/>
                    <a:pt x="3865" y="917"/>
                  </a:cubicBezTo>
                  <a:cubicBezTo>
                    <a:pt x="3873" y="917"/>
                    <a:pt x="3877" y="913"/>
                    <a:pt x="3874" y="907"/>
                  </a:cubicBezTo>
                  <a:cubicBezTo>
                    <a:pt x="3872" y="901"/>
                    <a:pt x="3863" y="897"/>
                    <a:pt x="3855" y="897"/>
                  </a:cubicBezTo>
                  <a:cubicBezTo>
                    <a:pt x="3855" y="897"/>
                    <a:pt x="3855" y="897"/>
                    <a:pt x="3855" y="897"/>
                  </a:cubicBezTo>
                  <a:moveTo>
                    <a:pt x="3898" y="896"/>
                  </a:moveTo>
                  <a:cubicBezTo>
                    <a:pt x="3891" y="897"/>
                    <a:pt x="3886" y="901"/>
                    <a:pt x="3889" y="907"/>
                  </a:cubicBezTo>
                  <a:cubicBezTo>
                    <a:pt x="3892" y="912"/>
                    <a:pt x="3900" y="917"/>
                    <a:pt x="3908" y="917"/>
                  </a:cubicBezTo>
                  <a:cubicBezTo>
                    <a:pt x="3916" y="917"/>
                    <a:pt x="3920" y="912"/>
                    <a:pt x="3918" y="907"/>
                  </a:cubicBezTo>
                  <a:cubicBezTo>
                    <a:pt x="3915" y="901"/>
                    <a:pt x="3906" y="896"/>
                    <a:pt x="3899" y="896"/>
                  </a:cubicBezTo>
                  <a:cubicBezTo>
                    <a:pt x="3899" y="896"/>
                    <a:pt x="3898" y="896"/>
                    <a:pt x="3898" y="896"/>
                  </a:cubicBezTo>
                  <a:moveTo>
                    <a:pt x="3939" y="896"/>
                  </a:moveTo>
                  <a:cubicBezTo>
                    <a:pt x="3931" y="896"/>
                    <a:pt x="3927" y="901"/>
                    <a:pt x="3929" y="907"/>
                  </a:cubicBezTo>
                  <a:cubicBezTo>
                    <a:pt x="3932" y="912"/>
                    <a:pt x="3941" y="917"/>
                    <a:pt x="3949" y="917"/>
                  </a:cubicBezTo>
                  <a:cubicBezTo>
                    <a:pt x="3957" y="917"/>
                    <a:pt x="3961" y="912"/>
                    <a:pt x="3958" y="907"/>
                  </a:cubicBezTo>
                  <a:cubicBezTo>
                    <a:pt x="3955" y="901"/>
                    <a:pt x="3947" y="896"/>
                    <a:pt x="3939" y="896"/>
                  </a:cubicBezTo>
                  <a:cubicBezTo>
                    <a:pt x="3939" y="896"/>
                    <a:pt x="3939" y="896"/>
                    <a:pt x="3939" y="896"/>
                  </a:cubicBezTo>
                  <a:moveTo>
                    <a:pt x="3979" y="896"/>
                  </a:moveTo>
                  <a:cubicBezTo>
                    <a:pt x="3971" y="896"/>
                    <a:pt x="3967" y="901"/>
                    <a:pt x="3970" y="906"/>
                  </a:cubicBezTo>
                  <a:cubicBezTo>
                    <a:pt x="3973" y="912"/>
                    <a:pt x="3982" y="917"/>
                    <a:pt x="3990" y="917"/>
                  </a:cubicBezTo>
                  <a:cubicBezTo>
                    <a:pt x="3997" y="917"/>
                    <a:pt x="4002" y="912"/>
                    <a:pt x="3999" y="906"/>
                  </a:cubicBezTo>
                  <a:cubicBezTo>
                    <a:pt x="3996" y="901"/>
                    <a:pt x="3987" y="896"/>
                    <a:pt x="3979" y="896"/>
                  </a:cubicBezTo>
                  <a:cubicBezTo>
                    <a:pt x="3979" y="896"/>
                    <a:pt x="3979" y="896"/>
                    <a:pt x="3979" y="896"/>
                  </a:cubicBezTo>
                  <a:moveTo>
                    <a:pt x="4223" y="894"/>
                  </a:moveTo>
                  <a:cubicBezTo>
                    <a:pt x="4215" y="894"/>
                    <a:pt x="4211" y="898"/>
                    <a:pt x="4215" y="904"/>
                  </a:cubicBezTo>
                  <a:cubicBezTo>
                    <a:pt x="4218" y="910"/>
                    <a:pt x="4227" y="914"/>
                    <a:pt x="4235" y="914"/>
                  </a:cubicBezTo>
                  <a:cubicBezTo>
                    <a:pt x="4243" y="914"/>
                    <a:pt x="4247" y="910"/>
                    <a:pt x="4243" y="904"/>
                  </a:cubicBezTo>
                  <a:cubicBezTo>
                    <a:pt x="4240" y="898"/>
                    <a:pt x="4231" y="894"/>
                    <a:pt x="4223" y="894"/>
                  </a:cubicBezTo>
                  <a:cubicBezTo>
                    <a:pt x="4223" y="894"/>
                    <a:pt x="4223" y="894"/>
                    <a:pt x="4223" y="894"/>
                  </a:cubicBezTo>
                  <a:moveTo>
                    <a:pt x="118" y="883"/>
                  </a:moveTo>
                  <a:cubicBezTo>
                    <a:pt x="110" y="883"/>
                    <a:pt x="100" y="888"/>
                    <a:pt x="95" y="894"/>
                  </a:cubicBezTo>
                  <a:cubicBezTo>
                    <a:pt x="91" y="899"/>
                    <a:pt x="94" y="904"/>
                    <a:pt x="101" y="904"/>
                  </a:cubicBezTo>
                  <a:cubicBezTo>
                    <a:pt x="109" y="904"/>
                    <a:pt x="119" y="899"/>
                    <a:pt x="124" y="894"/>
                  </a:cubicBezTo>
                  <a:cubicBezTo>
                    <a:pt x="128" y="888"/>
                    <a:pt x="126" y="883"/>
                    <a:pt x="118" y="883"/>
                  </a:cubicBezTo>
                  <a:cubicBezTo>
                    <a:pt x="118" y="883"/>
                    <a:pt x="118" y="883"/>
                    <a:pt x="118" y="883"/>
                  </a:cubicBezTo>
                  <a:moveTo>
                    <a:pt x="160" y="883"/>
                  </a:moveTo>
                  <a:cubicBezTo>
                    <a:pt x="152" y="883"/>
                    <a:pt x="142" y="888"/>
                    <a:pt x="137" y="893"/>
                  </a:cubicBezTo>
                  <a:cubicBezTo>
                    <a:pt x="133" y="899"/>
                    <a:pt x="136" y="904"/>
                    <a:pt x="144" y="904"/>
                  </a:cubicBezTo>
                  <a:cubicBezTo>
                    <a:pt x="152" y="903"/>
                    <a:pt x="161" y="899"/>
                    <a:pt x="166" y="893"/>
                  </a:cubicBezTo>
                  <a:cubicBezTo>
                    <a:pt x="170" y="888"/>
                    <a:pt x="167" y="883"/>
                    <a:pt x="160" y="883"/>
                  </a:cubicBezTo>
                  <a:cubicBezTo>
                    <a:pt x="160" y="883"/>
                    <a:pt x="160" y="883"/>
                    <a:pt x="160" y="883"/>
                  </a:cubicBezTo>
                  <a:moveTo>
                    <a:pt x="199" y="882"/>
                  </a:moveTo>
                  <a:cubicBezTo>
                    <a:pt x="191" y="882"/>
                    <a:pt x="181" y="887"/>
                    <a:pt x="177" y="892"/>
                  </a:cubicBezTo>
                  <a:cubicBezTo>
                    <a:pt x="172" y="898"/>
                    <a:pt x="175" y="902"/>
                    <a:pt x="183" y="902"/>
                  </a:cubicBezTo>
                  <a:cubicBezTo>
                    <a:pt x="191" y="902"/>
                    <a:pt x="201" y="898"/>
                    <a:pt x="205" y="892"/>
                  </a:cubicBezTo>
                  <a:cubicBezTo>
                    <a:pt x="209" y="887"/>
                    <a:pt x="206" y="882"/>
                    <a:pt x="199" y="882"/>
                  </a:cubicBezTo>
                  <a:cubicBezTo>
                    <a:pt x="199" y="882"/>
                    <a:pt x="199" y="882"/>
                    <a:pt x="199" y="882"/>
                  </a:cubicBezTo>
                  <a:moveTo>
                    <a:pt x="239" y="882"/>
                  </a:moveTo>
                  <a:cubicBezTo>
                    <a:pt x="231" y="882"/>
                    <a:pt x="221" y="887"/>
                    <a:pt x="217" y="892"/>
                  </a:cubicBezTo>
                  <a:cubicBezTo>
                    <a:pt x="213" y="898"/>
                    <a:pt x="216" y="902"/>
                    <a:pt x="224" y="902"/>
                  </a:cubicBezTo>
                  <a:cubicBezTo>
                    <a:pt x="231" y="902"/>
                    <a:pt x="241" y="898"/>
                    <a:pt x="246" y="892"/>
                  </a:cubicBezTo>
                  <a:cubicBezTo>
                    <a:pt x="250" y="886"/>
                    <a:pt x="247" y="882"/>
                    <a:pt x="239" y="882"/>
                  </a:cubicBezTo>
                  <a:cubicBezTo>
                    <a:pt x="239" y="882"/>
                    <a:pt x="239" y="882"/>
                    <a:pt x="239" y="882"/>
                  </a:cubicBezTo>
                  <a:moveTo>
                    <a:pt x="280" y="882"/>
                  </a:moveTo>
                  <a:cubicBezTo>
                    <a:pt x="272" y="882"/>
                    <a:pt x="262" y="886"/>
                    <a:pt x="258" y="892"/>
                  </a:cubicBezTo>
                  <a:cubicBezTo>
                    <a:pt x="254" y="898"/>
                    <a:pt x="257" y="902"/>
                    <a:pt x="264" y="902"/>
                  </a:cubicBezTo>
                  <a:cubicBezTo>
                    <a:pt x="272" y="902"/>
                    <a:pt x="282" y="897"/>
                    <a:pt x="286" y="892"/>
                  </a:cubicBezTo>
                  <a:cubicBezTo>
                    <a:pt x="290" y="886"/>
                    <a:pt x="287" y="882"/>
                    <a:pt x="280" y="882"/>
                  </a:cubicBezTo>
                  <a:cubicBezTo>
                    <a:pt x="280" y="882"/>
                    <a:pt x="280" y="882"/>
                    <a:pt x="280" y="882"/>
                  </a:cubicBezTo>
                  <a:moveTo>
                    <a:pt x="321" y="882"/>
                  </a:moveTo>
                  <a:cubicBezTo>
                    <a:pt x="314" y="882"/>
                    <a:pt x="304" y="886"/>
                    <a:pt x="300" y="892"/>
                  </a:cubicBezTo>
                  <a:cubicBezTo>
                    <a:pt x="296" y="897"/>
                    <a:pt x="299" y="902"/>
                    <a:pt x="307" y="902"/>
                  </a:cubicBezTo>
                  <a:cubicBezTo>
                    <a:pt x="315" y="902"/>
                    <a:pt x="324" y="897"/>
                    <a:pt x="328" y="892"/>
                  </a:cubicBezTo>
                  <a:cubicBezTo>
                    <a:pt x="332" y="886"/>
                    <a:pt x="329" y="882"/>
                    <a:pt x="322" y="882"/>
                  </a:cubicBezTo>
                  <a:cubicBezTo>
                    <a:pt x="322" y="882"/>
                    <a:pt x="322" y="882"/>
                    <a:pt x="321" y="882"/>
                  </a:cubicBezTo>
                  <a:moveTo>
                    <a:pt x="1701" y="874"/>
                  </a:moveTo>
                  <a:cubicBezTo>
                    <a:pt x="1693" y="874"/>
                    <a:pt x="1685" y="879"/>
                    <a:pt x="1684" y="884"/>
                  </a:cubicBezTo>
                  <a:cubicBezTo>
                    <a:pt x="1682" y="890"/>
                    <a:pt x="1688" y="894"/>
                    <a:pt x="1696" y="894"/>
                  </a:cubicBezTo>
                  <a:cubicBezTo>
                    <a:pt x="1703" y="894"/>
                    <a:pt x="1711" y="890"/>
                    <a:pt x="1712" y="884"/>
                  </a:cubicBezTo>
                  <a:cubicBezTo>
                    <a:pt x="1714" y="879"/>
                    <a:pt x="1709" y="874"/>
                    <a:pt x="1701" y="874"/>
                  </a:cubicBezTo>
                  <a:cubicBezTo>
                    <a:pt x="1701" y="874"/>
                    <a:pt x="1701" y="874"/>
                    <a:pt x="1701" y="874"/>
                  </a:cubicBezTo>
                  <a:moveTo>
                    <a:pt x="1739" y="874"/>
                  </a:moveTo>
                  <a:cubicBezTo>
                    <a:pt x="1731" y="874"/>
                    <a:pt x="1724" y="879"/>
                    <a:pt x="1722" y="884"/>
                  </a:cubicBezTo>
                  <a:cubicBezTo>
                    <a:pt x="1721" y="890"/>
                    <a:pt x="1726" y="894"/>
                    <a:pt x="1734" y="894"/>
                  </a:cubicBezTo>
                  <a:cubicBezTo>
                    <a:pt x="1742" y="894"/>
                    <a:pt x="1749" y="890"/>
                    <a:pt x="1751" y="884"/>
                  </a:cubicBezTo>
                  <a:cubicBezTo>
                    <a:pt x="1752" y="878"/>
                    <a:pt x="1747" y="874"/>
                    <a:pt x="1739" y="874"/>
                  </a:cubicBezTo>
                  <a:cubicBezTo>
                    <a:pt x="1739" y="874"/>
                    <a:pt x="1739" y="874"/>
                    <a:pt x="1739" y="874"/>
                  </a:cubicBezTo>
                  <a:moveTo>
                    <a:pt x="1779" y="874"/>
                  </a:moveTo>
                  <a:cubicBezTo>
                    <a:pt x="1771" y="874"/>
                    <a:pt x="1764" y="878"/>
                    <a:pt x="1763" y="884"/>
                  </a:cubicBezTo>
                  <a:cubicBezTo>
                    <a:pt x="1761" y="890"/>
                    <a:pt x="1766" y="894"/>
                    <a:pt x="1774" y="894"/>
                  </a:cubicBezTo>
                  <a:cubicBezTo>
                    <a:pt x="1782" y="894"/>
                    <a:pt x="1790" y="889"/>
                    <a:pt x="1791" y="884"/>
                  </a:cubicBezTo>
                  <a:cubicBezTo>
                    <a:pt x="1792" y="878"/>
                    <a:pt x="1787" y="874"/>
                    <a:pt x="1779" y="874"/>
                  </a:cubicBezTo>
                  <a:cubicBezTo>
                    <a:pt x="1779" y="874"/>
                    <a:pt x="1779" y="874"/>
                    <a:pt x="1779" y="874"/>
                  </a:cubicBezTo>
                  <a:moveTo>
                    <a:pt x="1820" y="874"/>
                  </a:moveTo>
                  <a:cubicBezTo>
                    <a:pt x="1812" y="874"/>
                    <a:pt x="1805" y="878"/>
                    <a:pt x="1803" y="884"/>
                  </a:cubicBezTo>
                  <a:cubicBezTo>
                    <a:pt x="1802" y="889"/>
                    <a:pt x="1807" y="894"/>
                    <a:pt x="1815" y="894"/>
                  </a:cubicBezTo>
                  <a:cubicBezTo>
                    <a:pt x="1823" y="894"/>
                    <a:pt x="1830" y="889"/>
                    <a:pt x="1832" y="884"/>
                  </a:cubicBezTo>
                  <a:cubicBezTo>
                    <a:pt x="1833" y="878"/>
                    <a:pt x="1828" y="874"/>
                    <a:pt x="1820" y="874"/>
                  </a:cubicBezTo>
                  <a:cubicBezTo>
                    <a:pt x="1820" y="874"/>
                    <a:pt x="1820" y="874"/>
                    <a:pt x="1820" y="874"/>
                  </a:cubicBezTo>
                  <a:moveTo>
                    <a:pt x="1861" y="873"/>
                  </a:moveTo>
                  <a:cubicBezTo>
                    <a:pt x="1853" y="873"/>
                    <a:pt x="1845" y="878"/>
                    <a:pt x="1844" y="884"/>
                  </a:cubicBezTo>
                  <a:cubicBezTo>
                    <a:pt x="1843" y="889"/>
                    <a:pt x="1848" y="894"/>
                    <a:pt x="1856" y="894"/>
                  </a:cubicBezTo>
                  <a:cubicBezTo>
                    <a:pt x="1864" y="894"/>
                    <a:pt x="1872" y="889"/>
                    <a:pt x="1873" y="884"/>
                  </a:cubicBezTo>
                  <a:cubicBezTo>
                    <a:pt x="1874" y="878"/>
                    <a:pt x="1868" y="873"/>
                    <a:pt x="1861" y="873"/>
                  </a:cubicBezTo>
                  <a:cubicBezTo>
                    <a:pt x="1861" y="873"/>
                    <a:pt x="1861" y="873"/>
                    <a:pt x="1861" y="873"/>
                  </a:cubicBezTo>
                  <a:moveTo>
                    <a:pt x="1901" y="873"/>
                  </a:moveTo>
                  <a:cubicBezTo>
                    <a:pt x="1893" y="873"/>
                    <a:pt x="1886" y="878"/>
                    <a:pt x="1885" y="883"/>
                  </a:cubicBezTo>
                  <a:cubicBezTo>
                    <a:pt x="1883" y="889"/>
                    <a:pt x="1889" y="894"/>
                    <a:pt x="1897" y="894"/>
                  </a:cubicBezTo>
                  <a:cubicBezTo>
                    <a:pt x="1905" y="894"/>
                    <a:pt x="1912" y="889"/>
                    <a:pt x="1913" y="883"/>
                  </a:cubicBezTo>
                  <a:cubicBezTo>
                    <a:pt x="1914" y="878"/>
                    <a:pt x="1909" y="873"/>
                    <a:pt x="1901" y="873"/>
                  </a:cubicBezTo>
                  <a:cubicBezTo>
                    <a:pt x="1901" y="873"/>
                    <a:pt x="1901" y="873"/>
                    <a:pt x="1901" y="873"/>
                  </a:cubicBezTo>
                  <a:moveTo>
                    <a:pt x="1941" y="873"/>
                  </a:moveTo>
                  <a:cubicBezTo>
                    <a:pt x="1933" y="873"/>
                    <a:pt x="1926" y="878"/>
                    <a:pt x="1925" y="883"/>
                  </a:cubicBezTo>
                  <a:cubicBezTo>
                    <a:pt x="1924" y="889"/>
                    <a:pt x="1930" y="893"/>
                    <a:pt x="1938" y="893"/>
                  </a:cubicBezTo>
                  <a:cubicBezTo>
                    <a:pt x="1945" y="893"/>
                    <a:pt x="1953" y="889"/>
                    <a:pt x="1954" y="883"/>
                  </a:cubicBezTo>
                  <a:cubicBezTo>
                    <a:pt x="1955" y="878"/>
                    <a:pt x="1949" y="873"/>
                    <a:pt x="1941" y="873"/>
                  </a:cubicBezTo>
                  <a:cubicBezTo>
                    <a:pt x="1941" y="873"/>
                    <a:pt x="1941" y="873"/>
                    <a:pt x="1941" y="873"/>
                  </a:cubicBezTo>
                  <a:moveTo>
                    <a:pt x="1981" y="873"/>
                  </a:moveTo>
                  <a:cubicBezTo>
                    <a:pt x="1974" y="873"/>
                    <a:pt x="1967" y="877"/>
                    <a:pt x="1966" y="883"/>
                  </a:cubicBezTo>
                  <a:cubicBezTo>
                    <a:pt x="1965" y="889"/>
                    <a:pt x="1970" y="893"/>
                    <a:pt x="1978" y="893"/>
                  </a:cubicBezTo>
                  <a:cubicBezTo>
                    <a:pt x="1986" y="893"/>
                    <a:pt x="1993" y="889"/>
                    <a:pt x="1994" y="883"/>
                  </a:cubicBezTo>
                  <a:cubicBezTo>
                    <a:pt x="1995" y="877"/>
                    <a:pt x="1989" y="873"/>
                    <a:pt x="1982" y="873"/>
                  </a:cubicBezTo>
                  <a:cubicBezTo>
                    <a:pt x="1982" y="873"/>
                    <a:pt x="1982" y="873"/>
                    <a:pt x="1981" y="873"/>
                  </a:cubicBezTo>
                  <a:moveTo>
                    <a:pt x="2022" y="873"/>
                  </a:moveTo>
                  <a:cubicBezTo>
                    <a:pt x="2014" y="873"/>
                    <a:pt x="2007" y="877"/>
                    <a:pt x="2006" y="883"/>
                  </a:cubicBezTo>
                  <a:cubicBezTo>
                    <a:pt x="2005" y="889"/>
                    <a:pt x="2011" y="893"/>
                    <a:pt x="2019" y="893"/>
                  </a:cubicBezTo>
                  <a:cubicBezTo>
                    <a:pt x="2027" y="893"/>
                    <a:pt x="2034" y="888"/>
                    <a:pt x="2035" y="883"/>
                  </a:cubicBezTo>
                  <a:cubicBezTo>
                    <a:pt x="2036" y="877"/>
                    <a:pt x="2030" y="873"/>
                    <a:pt x="2022" y="873"/>
                  </a:cubicBezTo>
                  <a:cubicBezTo>
                    <a:pt x="2022" y="873"/>
                    <a:pt x="2022" y="873"/>
                    <a:pt x="2022" y="873"/>
                  </a:cubicBezTo>
                  <a:moveTo>
                    <a:pt x="2064" y="873"/>
                  </a:moveTo>
                  <a:cubicBezTo>
                    <a:pt x="2056" y="873"/>
                    <a:pt x="2049" y="877"/>
                    <a:pt x="2048" y="883"/>
                  </a:cubicBezTo>
                  <a:cubicBezTo>
                    <a:pt x="2047" y="888"/>
                    <a:pt x="2053" y="893"/>
                    <a:pt x="2061" y="893"/>
                  </a:cubicBezTo>
                  <a:cubicBezTo>
                    <a:pt x="2069" y="893"/>
                    <a:pt x="2076" y="888"/>
                    <a:pt x="2077" y="883"/>
                  </a:cubicBezTo>
                  <a:cubicBezTo>
                    <a:pt x="2077" y="877"/>
                    <a:pt x="2072" y="873"/>
                    <a:pt x="2064" y="873"/>
                  </a:cubicBezTo>
                  <a:cubicBezTo>
                    <a:pt x="2064" y="873"/>
                    <a:pt x="2064" y="873"/>
                    <a:pt x="2064" y="873"/>
                  </a:cubicBezTo>
                  <a:moveTo>
                    <a:pt x="2104" y="872"/>
                  </a:moveTo>
                  <a:cubicBezTo>
                    <a:pt x="2096" y="872"/>
                    <a:pt x="2089" y="877"/>
                    <a:pt x="2088" y="883"/>
                  </a:cubicBezTo>
                  <a:cubicBezTo>
                    <a:pt x="2088" y="888"/>
                    <a:pt x="2093" y="893"/>
                    <a:pt x="2101" y="893"/>
                  </a:cubicBezTo>
                  <a:cubicBezTo>
                    <a:pt x="2109" y="893"/>
                    <a:pt x="2116" y="888"/>
                    <a:pt x="2117" y="882"/>
                  </a:cubicBezTo>
                  <a:cubicBezTo>
                    <a:pt x="2118" y="877"/>
                    <a:pt x="2112" y="872"/>
                    <a:pt x="2104" y="872"/>
                  </a:cubicBezTo>
                  <a:cubicBezTo>
                    <a:pt x="2104" y="872"/>
                    <a:pt x="2104" y="872"/>
                    <a:pt x="2104" y="872"/>
                  </a:cubicBezTo>
                  <a:moveTo>
                    <a:pt x="2145" y="872"/>
                  </a:moveTo>
                  <a:cubicBezTo>
                    <a:pt x="2137" y="872"/>
                    <a:pt x="2130" y="877"/>
                    <a:pt x="2129" y="882"/>
                  </a:cubicBezTo>
                  <a:cubicBezTo>
                    <a:pt x="2128" y="888"/>
                    <a:pt x="2134" y="893"/>
                    <a:pt x="2142" y="893"/>
                  </a:cubicBezTo>
                  <a:cubicBezTo>
                    <a:pt x="2150" y="893"/>
                    <a:pt x="2157" y="888"/>
                    <a:pt x="2158" y="882"/>
                  </a:cubicBezTo>
                  <a:cubicBezTo>
                    <a:pt x="2158" y="877"/>
                    <a:pt x="2152" y="872"/>
                    <a:pt x="2145" y="872"/>
                  </a:cubicBezTo>
                  <a:cubicBezTo>
                    <a:pt x="2145" y="872"/>
                    <a:pt x="2145" y="872"/>
                    <a:pt x="2145" y="872"/>
                  </a:cubicBezTo>
                  <a:moveTo>
                    <a:pt x="2833" y="872"/>
                  </a:moveTo>
                  <a:cubicBezTo>
                    <a:pt x="2825" y="872"/>
                    <a:pt x="2819" y="877"/>
                    <a:pt x="2820" y="882"/>
                  </a:cubicBezTo>
                  <a:cubicBezTo>
                    <a:pt x="2820" y="888"/>
                    <a:pt x="2827" y="893"/>
                    <a:pt x="2835" y="893"/>
                  </a:cubicBezTo>
                  <a:cubicBezTo>
                    <a:pt x="2843" y="893"/>
                    <a:pt x="2849" y="888"/>
                    <a:pt x="2848" y="882"/>
                  </a:cubicBezTo>
                  <a:cubicBezTo>
                    <a:pt x="2847" y="877"/>
                    <a:pt x="2840" y="872"/>
                    <a:pt x="2833" y="872"/>
                  </a:cubicBezTo>
                  <a:cubicBezTo>
                    <a:pt x="2833" y="872"/>
                    <a:pt x="2833" y="872"/>
                    <a:pt x="2833" y="872"/>
                  </a:cubicBezTo>
                  <a:moveTo>
                    <a:pt x="2185" y="872"/>
                  </a:moveTo>
                  <a:cubicBezTo>
                    <a:pt x="2178" y="872"/>
                    <a:pt x="2171" y="877"/>
                    <a:pt x="2170" y="882"/>
                  </a:cubicBezTo>
                  <a:cubicBezTo>
                    <a:pt x="2170" y="888"/>
                    <a:pt x="2175" y="892"/>
                    <a:pt x="2183" y="892"/>
                  </a:cubicBezTo>
                  <a:cubicBezTo>
                    <a:pt x="2191" y="892"/>
                    <a:pt x="2198" y="888"/>
                    <a:pt x="2199" y="882"/>
                  </a:cubicBezTo>
                  <a:cubicBezTo>
                    <a:pt x="2199" y="877"/>
                    <a:pt x="2193" y="872"/>
                    <a:pt x="2185" y="872"/>
                  </a:cubicBezTo>
                  <a:cubicBezTo>
                    <a:pt x="2185" y="872"/>
                    <a:pt x="2185" y="872"/>
                    <a:pt x="2185" y="872"/>
                  </a:cubicBezTo>
                  <a:moveTo>
                    <a:pt x="2226" y="872"/>
                  </a:moveTo>
                  <a:cubicBezTo>
                    <a:pt x="2218" y="872"/>
                    <a:pt x="2211" y="876"/>
                    <a:pt x="2211" y="882"/>
                  </a:cubicBezTo>
                  <a:cubicBezTo>
                    <a:pt x="2210" y="888"/>
                    <a:pt x="2216" y="892"/>
                    <a:pt x="2224" y="892"/>
                  </a:cubicBezTo>
                  <a:cubicBezTo>
                    <a:pt x="2232" y="892"/>
                    <a:pt x="2238" y="888"/>
                    <a:pt x="2239" y="882"/>
                  </a:cubicBezTo>
                  <a:cubicBezTo>
                    <a:pt x="2239" y="876"/>
                    <a:pt x="2233" y="872"/>
                    <a:pt x="2226" y="872"/>
                  </a:cubicBezTo>
                  <a:cubicBezTo>
                    <a:pt x="2226" y="872"/>
                    <a:pt x="2226" y="872"/>
                    <a:pt x="2226" y="872"/>
                  </a:cubicBezTo>
                  <a:moveTo>
                    <a:pt x="2913" y="872"/>
                  </a:moveTo>
                  <a:cubicBezTo>
                    <a:pt x="2905" y="872"/>
                    <a:pt x="2900" y="876"/>
                    <a:pt x="2900" y="882"/>
                  </a:cubicBezTo>
                  <a:cubicBezTo>
                    <a:pt x="2901" y="888"/>
                    <a:pt x="2908" y="892"/>
                    <a:pt x="2916" y="892"/>
                  </a:cubicBezTo>
                  <a:cubicBezTo>
                    <a:pt x="2924" y="892"/>
                    <a:pt x="2930" y="888"/>
                    <a:pt x="2929" y="882"/>
                  </a:cubicBezTo>
                  <a:cubicBezTo>
                    <a:pt x="2928" y="876"/>
                    <a:pt x="2921" y="872"/>
                    <a:pt x="2913" y="872"/>
                  </a:cubicBezTo>
                  <a:cubicBezTo>
                    <a:pt x="2913" y="872"/>
                    <a:pt x="2913" y="872"/>
                    <a:pt x="2913" y="872"/>
                  </a:cubicBezTo>
                  <a:moveTo>
                    <a:pt x="2871" y="872"/>
                  </a:moveTo>
                  <a:cubicBezTo>
                    <a:pt x="2863" y="872"/>
                    <a:pt x="2857" y="876"/>
                    <a:pt x="2858" y="882"/>
                  </a:cubicBezTo>
                  <a:cubicBezTo>
                    <a:pt x="2858" y="888"/>
                    <a:pt x="2865" y="892"/>
                    <a:pt x="2873" y="892"/>
                  </a:cubicBezTo>
                  <a:cubicBezTo>
                    <a:pt x="2881" y="892"/>
                    <a:pt x="2887" y="887"/>
                    <a:pt x="2886" y="882"/>
                  </a:cubicBezTo>
                  <a:cubicBezTo>
                    <a:pt x="2885" y="876"/>
                    <a:pt x="2878" y="872"/>
                    <a:pt x="2871" y="872"/>
                  </a:cubicBezTo>
                  <a:cubicBezTo>
                    <a:pt x="2871" y="872"/>
                    <a:pt x="2871" y="872"/>
                    <a:pt x="2871" y="872"/>
                  </a:cubicBezTo>
                  <a:moveTo>
                    <a:pt x="2266" y="872"/>
                  </a:moveTo>
                  <a:cubicBezTo>
                    <a:pt x="2258" y="872"/>
                    <a:pt x="2252" y="876"/>
                    <a:pt x="2251" y="882"/>
                  </a:cubicBezTo>
                  <a:cubicBezTo>
                    <a:pt x="2251" y="888"/>
                    <a:pt x="2257" y="892"/>
                    <a:pt x="2265" y="892"/>
                  </a:cubicBezTo>
                  <a:cubicBezTo>
                    <a:pt x="2272" y="892"/>
                    <a:pt x="2279" y="887"/>
                    <a:pt x="2279" y="882"/>
                  </a:cubicBezTo>
                  <a:cubicBezTo>
                    <a:pt x="2280" y="876"/>
                    <a:pt x="2274" y="872"/>
                    <a:pt x="2266" y="872"/>
                  </a:cubicBezTo>
                  <a:cubicBezTo>
                    <a:pt x="2266" y="872"/>
                    <a:pt x="2266" y="872"/>
                    <a:pt x="2266" y="872"/>
                  </a:cubicBezTo>
                  <a:moveTo>
                    <a:pt x="2306" y="871"/>
                  </a:moveTo>
                  <a:cubicBezTo>
                    <a:pt x="2298" y="871"/>
                    <a:pt x="2292" y="876"/>
                    <a:pt x="2291" y="882"/>
                  </a:cubicBezTo>
                  <a:cubicBezTo>
                    <a:pt x="2291" y="887"/>
                    <a:pt x="2297" y="892"/>
                    <a:pt x="2305" y="892"/>
                  </a:cubicBezTo>
                  <a:cubicBezTo>
                    <a:pt x="2313" y="892"/>
                    <a:pt x="2320" y="887"/>
                    <a:pt x="2320" y="882"/>
                  </a:cubicBezTo>
                  <a:cubicBezTo>
                    <a:pt x="2320" y="876"/>
                    <a:pt x="2314" y="871"/>
                    <a:pt x="2306" y="871"/>
                  </a:cubicBezTo>
                  <a:cubicBezTo>
                    <a:pt x="2306" y="871"/>
                    <a:pt x="2306" y="871"/>
                    <a:pt x="2306" y="871"/>
                  </a:cubicBezTo>
                  <a:moveTo>
                    <a:pt x="2995" y="871"/>
                  </a:moveTo>
                  <a:cubicBezTo>
                    <a:pt x="2988" y="871"/>
                    <a:pt x="2982" y="876"/>
                    <a:pt x="2983" y="882"/>
                  </a:cubicBezTo>
                  <a:cubicBezTo>
                    <a:pt x="2984" y="887"/>
                    <a:pt x="2991" y="892"/>
                    <a:pt x="2999" y="892"/>
                  </a:cubicBezTo>
                  <a:cubicBezTo>
                    <a:pt x="3007" y="892"/>
                    <a:pt x="3012" y="887"/>
                    <a:pt x="3011" y="882"/>
                  </a:cubicBezTo>
                  <a:cubicBezTo>
                    <a:pt x="3010" y="876"/>
                    <a:pt x="3003" y="871"/>
                    <a:pt x="2995" y="871"/>
                  </a:cubicBezTo>
                  <a:cubicBezTo>
                    <a:pt x="2995" y="871"/>
                    <a:pt x="2995" y="871"/>
                    <a:pt x="2995" y="871"/>
                  </a:cubicBezTo>
                  <a:moveTo>
                    <a:pt x="2951" y="871"/>
                  </a:moveTo>
                  <a:cubicBezTo>
                    <a:pt x="2943" y="871"/>
                    <a:pt x="2938" y="876"/>
                    <a:pt x="2938" y="882"/>
                  </a:cubicBezTo>
                  <a:cubicBezTo>
                    <a:pt x="2939" y="887"/>
                    <a:pt x="2946" y="892"/>
                    <a:pt x="2954" y="892"/>
                  </a:cubicBezTo>
                  <a:cubicBezTo>
                    <a:pt x="2962" y="892"/>
                    <a:pt x="2968" y="887"/>
                    <a:pt x="2967" y="882"/>
                  </a:cubicBezTo>
                  <a:cubicBezTo>
                    <a:pt x="2966" y="876"/>
                    <a:pt x="2959" y="871"/>
                    <a:pt x="2951" y="871"/>
                  </a:cubicBezTo>
                  <a:cubicBezTo>
                    <a:pt x="2951" y="871"/>
                    <a:pt x="2951" y="871"/>
                    <a:pt x="2951" y="871"/>
                  </a:cubicBezTo>
                  <a:moveTo>
                    <a:pt x="2347" y="871"/>
                  </a:moveTo>
                  <a:cubicBezTo>
                    <a:pt x="2339" y="871"/>
                    <a:pt x="2332" y="876"/>
                    <a:pt x="2332" y="882"/>
                  </a:cubicBezTo>
                  <a:cubicBezTo>
                    <a:pt x="2332" y="887"/>
                    <a:pt x="2338" y="892"/>
                    <a:pt x="2346" y="892"/>
                  </a:cubicBezTo>
                  <a:cubicBezTo>
                    <a:pt x="2354" y="892"/>
                    <a:pt x="2360" y="887"/>
                    <a:pt x="2360" y="881"/>
                  </a:cubicBezTo>
                  <a:cubicBezTo>
                    <a:pt x="2361" y="876"/>
                    <a:pt x="2355" y="871"/>
                    <a:pt x="2347" y="871"/>
                  </a:cubicBezTo>
                  <a:cubicBezTo>
                    <a:pt x="2347" y="871"/>
                    <a:pt x="2347" y="871"/>
                    <a:pt x="2347" y="871"/>
                  </a:cubicBezTo>
                  <a:moveTo>
                    <a:pt x="2388" y="871"/>
                  </a:moveTo>
                  <a:cubicBezTo>
                    <a:pt x="2380" y="871"/>
                    <a:pt x="2373" y="876"/>
                    <a:pt x="2373" y="881"/>
                  </a:cubicBezTo>
                  <a:cubicBezTo>
                    <a:pt x="2373" y="887"/>
                    <a:pt x="2379" y="892"/>
                    <a:pt x="2387" y="892"/>
                  </a:cubicBezTo>
                  <a:cubicBezTo>
                    <a:pt x="2395" y="892"/>
                    <a:pt x="2401" y="887"/>
                    <a:pt x="2402" y="881"/>
                  </a:cubicBezTo>
                  <a:cubicBezTo>
                    <a:pt x="2402" y="876"/>
                    <a:pt x="2395" y="871"/>
                    <a:pt x="2388" y="871"/>
                  </a:cubicBezTo>
                  <a:cubicBezTo>
                    <a:pt x="2388" y="871"/>
                    <a:pt x="2388" y="871"/>
                    <a:pt x="2388" y="871"/>
                  </a:cubicBezTo>
                  <a:moveTo>
                    <a:pt x="2428" y="871"/>
                  </a:moveTo>
                  <a:cubicBezTo>
                    <a:pt x="2420" y="871"/>
                    <a:pt x="2414" y="876"/>
                    <a:pt x="2413" y="881"/>
                  </a:cubicBezTo>
                  <a:cubicBezTo>
                    <a:pt x="2413" y="887"/>
                    <a:pt x="2420" y="891"/>
                    <a:pt x="2427" y="891"/>
                  </a:cubicBezTo>
                  <a:cubicBezTo>
                    <a:pt x="2435" y="891"/>
                    <a:pt x="2442" y="887"/>
                    <a:pt x="2442" y="881"/>
                  </a:cubicBezTo>
                  <a:cubicBezTo>
                    <a:pt x="2442" y="875"/>
                    <a:pt x="2436" y="871"/>
                    <a:pt x="2428" y="871"/>
                  </a:cubicBezTo>
                  <a:cubicBezTo>
                    <a:pt x="2428" y="871"/>
                    <a:pt x="2428" y="871"/>
                    <a:pt x="2428" y="871"/>
                  </a:cubicBezTo>
                  <a:moveTo>
                    <a:pt x="2468" y="871"/>
                  </a:moveTo>
                  <a:cubicBezTo>
                    <a:pt x="2460" y="871"/>
                    <a:pt x="2454" y="875"/>
                    <a:pt x="2454" y="881"/>
                  </a:cubicBezTo>
                  <a:cubicBezTo>
                    <a:pt x="2454" y="887"/>
                    <a:pt x="2460" y="891"/>
                    <a:pt x="2468" y="891"/>
                  </a:cubicBezTo>
                  <a:cubicBezTo>
                    <a:pt x="2476" y="891"/>
                    <a:pt x="2482" y="887"/>
                    <a:pt x="2482" y="881"/>
                  </a:cubicBezTo>
                  <a:cubicBezTo>
                    <a:pt x="2482" y="875"/>
                    <a:pt x="2476" y="871"/>
                    <a:pt x="2468" y="871"/>
                  </a:cubicBezTo>
                  <a:cubicBezTo>
                    <a:pt x="2468" y="871"/>
                    <a:pt x="2468" y="871"/>
                    <a:pt x="2468" y="871"/>
                  </a:cubicBezTo>
                  <a:moveTo>
                    <a:pt x="2508" y="871"/>
                  </a:moveTo>
                  <a:cubicBezTo>
                    <a:pt x="2501" y="871"/>
                    <a:pt x="2494" y="875"/>
                    <a:pt x="2494" y="881"/>
                  </a:cubicBezTo>
                  <a:cubicBezTo>
                    <a:pt x="2494" y="887"/>
                    <a:pt x="2501" y="891"/>
                    <a:pt x="2509" y="891"/>
                  </a:cubicBezTo>
                  <a:cubicBezTo>
                    <a:pt x="2516" y="891"/>
                    <a:pt x="2523" y="886"/>
                    <a:pt x="2523" y="881"/>
                  </a:cubicBezTo>
                  <a:cubicBezTo>
                    <a:pt x="2523" y="875"/>
                    <a:pt x="2516" y="871"/>
                    <a:pt x="2508" y="871"/>
                  </a:cubicBezTo>
                  <a:cubicBezTo>
                    <a:pt x="2508" y="871"/>
                    <a:pt x="2508" y="871"/>
                    <a:pt x="2508" y="871"/>
                  </a:cubicBezTo>
                  <a:moveTo>
                    <a:pt x="2549" y="870"/>
                  </a:moveTo>
                  <a:cubicBezTo>
                    <a:pt x="2541" y="870"/>
                    <a:pt x="2535" y="875"/>
                    <a:pt x="2535" y="881"/>
                  </a:cubicBezTo>
                  <a:cubicBezTo>
                    <a:pt x="2535" y="886"/>
                    <a:pt x="2542" y="891"/>
                    <a:pt x="2549" y="891"/>
                  </a:cubicBezTo>
                  <a:cubicBezTo>
                    <a:pt x="2557" y="891"/>
                    <a:pt x="2563" y="886"/>
                    <a:pt x="2563" y="881"/>
                  </a:cubicBezTo>
                  <a:cubicBezTo>
                    <a:pt x="2563" y="875"/>
                    <a:pt x="2557" y="870"/>
                    <a:pt x="2549" y="870"/>
                  </a:cubicBezTo>
                  <a:cubicBezTo>
                    <a:pt x="2549" y="870"/>
                    <a:pt x="2549" y="870"/>
                    <a:pt x="2549" y="870"/>
                  </a:cubicBezTo>
                  <a:moveTo>
                    <a:pt x="2590" y="870"/>
                  </a:moveTo>
                  <a:cubicBezTo>
                    <a:pt x="2582" y="870"/>
                    <a:pt x="2576" y="875"/>
                    <a:pt x="2576" y="881"/>
                  </a:cubicBezTo>
                  <a:cubicBezTo>
                    <a:pt x="2576" y="886"/>
                    <a:pt x="2583" y="891"/>
                    <a:pt x="2591" y="891"/>
                  </a:cubicBezTo>
                  <a:cubicBezTo>
                    <a:pt x="2598" y="891"/>
                    <a:pt x="2605" y="886"/>
                    <a:pt x="2604" y="880"/>
                  </a:cubicBezTo>
                  <a:cubicBezTo>
                    <a:pt x="2604" y="875"/>
                    <a:pt x="2598" y="870"/>
                    <a:pt x="2590" y="870"/>
                  </a:cubicBezTo>
                  <a:cubicBezTo>
                    <a:pt x="2590" y="870"/>
                    <a:pt x="2590" y="870"/>
                    <a:pt x="2590" y="870"/>
                  </a:cubicBezTo>
                  <a:moveTo>
                    <a:pt x="2630" y="870"/>
                  </a:moveTo>
                  <a:cubicBezTo>
                    <a:pt x="2622" y="870"/>
                    <a:pt x="2616" y="875"/>
                    <a:pt x="2616" y="880"/>
                  </a:cubicBezTo>
                  <a:cubicBezTo>
                    <a:pt x="2617" y="886"/>
                    <a:pt x="2623" y="891"/>
                    <a:pt x="2631" y="891"/>
                  </a:cubicBezTo>
                  <a:cubicBezTo>
                    <a:pt x="2639" y="890"/>
                    <a:pt x="2645" y="886"/>
                    <a:pt x="2645" y="880"/>
                  </a:cubicBezTo>
                  <a:cubicBezTo>
                    <a:pt x="2644" y="875"/>
                    <a:pt x="2638" y="870"/>
                    <a:pt x="2630" y="870"/>
                  </a:cubicBezTo>
                  <a:cubicBezTo>
                    <a:pt x="2630" y="870"/>
                    <a:pt x="2630" y="870"/>
                    <a:pt x="2630" y="870"/>
                  </a:cubicBezTo>
                  <a:moveTo>
                    <a:pt x="2671" y="870"/>
                  </a:moveTo>
                  <a:cubicBezTo>
                    <a:pt x="2663" y="870"/>
                    <a:pt x="2657" y="875"/>
                    <a:pt x="2657" y="880"/>
                  </a:cubicBezTo>
                  <a:cubicBezTo>
                    <a:pt x="2658" y="886"/>
                    <a:pt x="2664" y="890"/>
                    <a:pt x="2672" y="890"/>
                  </a:cubicBezTo>
                  <a:cubicBezTo>
                    <a:pt x="2680" y="890"/>
                    <a:pt x="2686" y="886"/>
                    <a:pt x="2686" y="880"/>
                  </a:cubicBezTo>
                  <a:cubicBezTo>
                    <a:pt x="2685" y="874"/>
                    <a:pt x="2679" y="870"/>
                    <a:pt x="2671" y="870"/>
                  </a:cubicBezTo>
                  <a:cubicBezTo>
                    <a:pt x="2671" y="870"/>
                    <a:pt x="2671" y="870"/>
                    <a:pt x="2671" y="870"/>
                  </a:cubicBezTo>
                  <a:moveTo>
                    <a:pt x="3316" y="869"/>
                  </a:moveTo>
                  <a:cubicBezTo>
                    <a:pt x="3309" y="869"/>
                    <a:pt x="3303" y="874"/>
                    <a:pt x="3305" y="879"/>
                  </a:cubicBezTo>
                  <a:cubicBezTo>
                    <a:pt x="3307" y="885"/>
                    <a:pt x="3314" y="890"/>
                    <a:pt x="3322" y="890"/>
                  </a:cubicBezTo>
                  <a:cubicBezTo>
                    <a:pt x="3330" y="890"/>
                    <a:pt x="3335" y="885"/>
                    <a:pt x="3333" y="879"/>
                  </a:cubicBezTo>
                  <a:cubicBezTo>
                    <a:pt x="3332" y="874"/>
                    <a:pt x="3324" y="869"/>
                    <a:pt x="3316" y="869"/>
                  </a:cubicBezTo>
                  <a:cubicBezTo>
                    <a:pt x="3316" y="869"/>
                    <a:pt x="3316" y="869"/>
                    <a:pt x="3316" y="869"/>
                  </a:cubicBezTo>
                  <a:moveTo>
                    <a:pt x="3357" y="869"/>
                  </a:moveTo>
                  <a:cubicBezTo>
                    <a:pt x="3349" y="869"/>
                    <a:pt x="3344" y="874"/>
                    <a:pt x="3346" y="879"/>
                  </a:cubicBezTo>
                  <a:cubicBezTo>
                    <a:pt x="3348" y="885"/>
                    <a:pt x="3355" y="889"/>
                    <a:pt x="3363" y="889"/>
                  </a:cubicBezTo>
                  <a:cubicBezTo>
                    <a:pt x="3371" y="889"/>
                    <a:pt x="3376" y="885"/>
                    <a:pt x="3374" y="879"/>
                  </a:cubicBezTo>
                  <a:cubicBezTo>
                    <a:pt x="3373" y="873"/>
                    <a:pt x="3365" y="869"/>
                    <a:pt x="3357" y="869"/>
                  </a:cubicBezTo>
                  <a:cubicBezTo>
                    <a:pt x="3357" y="869"/>
                    <a:pt x="3357" y="869"/>
                    <a:pt x="3357" y="869"/>
                  </a:cubicBezTo>
                  <a:moveTo>
                    <a:pt x="3397" y="869"/>
                  </a:moveTo>
                  <a:cubicBezTo>
                    <a:pt x="3389" y="869"/>
                    <a:pt x="3384" y="873"/>
                    <a:pt x="3386" y="879"/>
                  </a:cubicBezTo>
                  <a:cubicBezTo>
                    <a:pt x="3388" y="885"/>
                    <a:pt x="3396" y="889"/>
                    <a:pt x="3403" y="889"/>
                  </a:cubicBezTo>
                  <a:cubicBezTo>
                    <a:pt x="3411" y="889"/>
                    <a:pt x="3416" y="885"/>
                    <a:pt x="3414" y="879"/>
                  </a:cubicBezTo>
                  <a:cubicBezTo>
                    <a:pt x="3413" y="873"/>
                    <a:pt x="3405" y="869"/>
                    <a:pt x="3397" y="869"/>
                  </a:cubicBezTo>
                  <a:cubicBezTo>
                    <a:pt x="3397" y="869"/>
                    <a:pt x="3397" y="869"/>
                    <a:pt x="3397" y="869"/>
                  </a:cubicBezTo>
                  <a:moveTo>
                    <a:pt x="2749" y="869"/>
                  </a:moveTo>
                  <a:cubicBezTo>
                    <a:pt x="2741" y="869"/>
                    <a:pt x="2735" y="873"/>
                    <a:pt x="2736" y="879"/>
                  </a:cubicBezTo>
                  <a:cubicBezTo>
                    <a:pt x="2736" y="885"/>
                    <a:pt x="2743" y="889"/>
                    <a:pt x="2751" y="889"/>
                  </a:cubicBezTo>
                  <a:cubicBezTo>
                    <a:pt x="2759" y="889"/>
                    <a:pt x="2765" y="884"/>
                    <a:pt x="2764" y="879"/>
                  </a:cubicBezTo>
                  <a:cubicBezTo>
                    <a:pt x="2763" y="873"/>
                    <a:pt x="2757" y="869"/>
                    <a:pt x="2749" y="869"/>
                  </a:cubicBezTo>
                  <a:cubicBezTo>
                    <a:pt x="2749" y="869"/>
                    <a:pt x="2749" y="869"/>
                    <a:pt x="2749" y="869"/>
                  </a:cubicBezTo>
                  <a:moveTo>
                    <a:pt x="3437" y="869"/>
                  </a:moveTo>
                  <a:cubicBezTo>
                    <a:pt x="3429" y="869"/>
                    <a:pt x="3425" y="873"/>
                    <a:pt x="3426" y="879"/>
                  </a:cubicBezTo>
                  <a:cubicBezTo>
                    <a:pt x="3428" y="885"/>
                    <a:pt x="3436" y="889"/>
                    <a:pt x="3444" y="889"/>
                  </a:cubicBezTo>
                  <a:cubicBezTo>
                    <a:pt x="3452" y="889"/>
                    <a:pt x="3457" y="884"/>
                    <a:pt x="3455" y="879"/>
                  </a:cubicBezTo>
                  <a:cubicBezTo>
                    <a:pt x="3453" y="873"/>
                    <a:pt x="3445" y="869"/>
                    <a:pt x="3437" y="869"/>
                  </a:cubicBezTo>
                  <a:cubicBezTo>
                    <a:pt x="3437" y="869"/>
                    <a:pt x="3437" y="869"/>
                    <a:pt x="3437" y="869"/>
                  </a:cubicBezTo>
                  <a:moveTo>
                    <a:pt x="2791" y="868"/>
                  </a:moveTo>
                  <a:cubicBezTo>
                    <a:pt x="2783" y="868"/>
                    <a:pt x="2778" y="873"/>
                    <a:pt x="2778" y="879"/>
                  </a:cubicBezTo>
                  <a:cubicBezTo>
                    <a:pt x="2779" y="884"/>
                    <a:pt x="2786" y="889"/>
                    <a:pt x="2793" y="889"/>
                  </a:cubicBezTo>
                  <a:cubicBezTo>
                    <a:pt x="2801" y="889"/>
                    <a:pt x="2807" y="884"/>
                    <a:pt x="2807" y="879"/>
                  </a:cubicBezTo>
                  <a:cubicBezTo>
                    <a:pt x="2806" y="873"/>
                    <a:pt x="2799" y="868"/>
                    <a:pt x="2791" y="868"/>
                  </a:cubicBezTo>
                  <a:cubicBezTo>
                    <a:pt x="2791" y="868"/>
                    <a:pt x="2791" y="868"/>
                    <a:pt x="2791" y="868"/>
                  </a:cubicBezTo>
                  <a:moveTo>
                    <a:pt x="3478" y="868"/>
                  </a:moveTo>
                  <a:cubicBezTo>
                    <a:pt x="3470" y="868"/>
                    <a:pt x="3465" y="873"/>
                    <a:pt x="3467" y="879"/>
                  </a:cubicBezTo>
                  <a:cubicBezTo>
                    <a:pt x="3469" y="884"/>
                    <a:pt x="3477" y="889"/>
                    <a:pt x="3485" y="889"/>
                  </a:cubicBezTo>
                  <a:cubicBezTo>
                    <a:pt x="3492" y="889"/>
                    <a:pt x="3497" y="884"/>
                    <a:pt x="3495" y="879"/>
                  </a:cubicBezTo>
                  <a:cubicBezTo>
                    <a:pt x="3493" y="873"/>
                    <a:pt x="3486" y="868"/>
                    <a:pt x="3478" y="868"/>
                  </a:cubicBezTo>
                  <a:cubicBezTo>
                    <a:pt x="3478" y="868"/>
                    <a:pt x="3478" y="868"/>
                    <a:pt x="3478" y="868"/>
                  </a:cubicBezTo>
                  <a:moveTo>
                    <a:pt x="3720" y="867"/>
                  </a:moveTo>
                  <a:cubicBezTo>
                    <a:pt x="3713" y="867"/>
                    <a:pt x="3708" y="872"/>
                    <a:pt x="3711" y="878"/>
                  </a:cubicBezTo>
                  <a:cubicBezTo>
                    <a:pt x="3713" y="883"/>
                    <a:pt x="3721" y="888"/>
                    <a:pt x="3729" y="888"/>
                  </a:cubicBezTo>
                  <a:cubicBezTo>
                    <a:pt x="3737" y="888"/>
                    <a:pt x="3741" y="883"/>
                    <a:pt x="3739" y="878"/>
                  </a:cubicBezTo>
                  <a:cubicBezTo>
                    <a:pt x="3737" y="872"/>
                    <a:pt x="3728" y="867"/>
                    <a:pt x="3721" y="867"/>
                  </a:cubicBezTo>
                  <a:cubicBezTo>
                    <a:pt x="3721" y="867"/>
                    <a:pt x="3721" y="867"/>
                    <a:pt x="3720" y="867"/>
                  </a:cubicBezTo>
                  <a:moveTo>
                    <a:pt x="3761" y="867"/>
                  </a:moveTo>
                  <a:cubicBezTo>
                    <a:pt x="3753" y="867"/>
                    <a:pt x="3749" y="872"/>
                    <a:pt x="3751" y="878"/>
                  </a:cubicBezTo>
                  <a:cubicBezTo>
                    <a:pt x="3754" y="883"/>
                    <a:pt x="3762" y="888"/>
                    <a:pt x="3770" y="888"/>
                  </a:cubicBezTo>
                  <a:cubicBezTo>
                    <a:pt x="3778" y="888"/>
                    <a:pt x="3782" y="883"/>
                    <a:pt x="3780" y="878"/>
                  </a:cubicBezTo>
                  <a:cubicBezTo>
                    <a:pt x="3777" y="872"/>
                    <a:pt x="3769" y="867"/>
                    <a:pt x="3761" y="867"/>
                  </a:cubicBezTo>
                  <a:cubicBezTo>
                    <a:pt x="3761" y="867"/>
                    <a:pt x="3761" y="867"/>
                    <a:pt x="3761" y="867"/>
                  </a:cubicBezTo>
                  <a:moveTo>
                    <a:pt x="3801" y="867"/>
                  </a:moveTo>
                  <a:cubicBezTo>
                    <a:pt x="3793" y="867"/>
                    <a:pt x="3789" y="872"/>
                    <a:pt x="3791" y="878"/>
                  </a:cubicBezTo>
                  <a:cubicBezTo>
                    <a:pt x="3794" y="883"/>
                    <a:pt x="3802" y="888"/>
                    <a:pt x="3810" y="888"/>
                  </a:cubicBezTo>
                  <a:cubicBezTo>
                    <a:pt x="3818" y="888"/>
                    <a:pt x="3822" y="883"/>
                    <a:pt x="3820" y="877"/>
                  </a:cubicBezTo>
                  <a:cubicBezTo>
                    <a:pt x="3817" y="872"/>
                    <a:pt x="3809" y="867"/>
                    <a:pt x="3801" y="867"/>
                  </a:cubicBezTo>
                  <a:cubicBezTo>
                    <a:pt x="3801" y="867"/>
                    <a:pt x="3801" y="867"/>
                    <a:pt x="3801" y="867"/>
                  </a:cubicBezTo>
                  <a:moveTo>
                    <a:pt x="3842" y="867"/>
                  </a:moveTo>
                  <a:cubicBezTo>
                    <a:pt x="3834" y="867"/>
                    <a:pt x="3829" y="872"/>
                    <a:pt x="3832" y="877"/>
                  </a:cubicBezTo>
                  <a:cubicBezTo>
                    <a:pt x="3835" y="883"/>
                    <a:pt x="3843" y="888"/>
                    <a:pt x="3851" y="888"/>
                  </a:cubicBezTo>
                  <a:cubicBezTo>
                    <a:pt x="3859" y="888"/>
                    <a:pt x="3863" y="883"/>
                    <a:pt x="3860" y="877"/>
                  </a:cubicBezTo>
                  <a:cubicBezTo>
                    <a:pt x="3858" y="872"/>
                    <a:pt x="3849" y="867"/>
                    <a:pt x="3842" y="867"/>
                  </a:cubicBezTo>
                  <a:cubicBezTo>
                    <a:pt x="3842" y="867"/>
                    <a:pt x="3842" y="867"/>
                    <a:pt x="3842" y="867"/>
                  </a:cubicBezTo>
                  <a:moveTo>
                    <a:pt x="3884" y="867"/>
                  </a:moveTo>
                  <a:cubicBezTo>
                    <a:pt x="3877" y="867"/>
                    <a:pt x="3872" y="872"/>
                    <a:pt x="3875" y="877"/>
                  </a:cubicBezTo>
                  <a:cubicBezTo>
                    <a:pt x="3878" y="883"/>
                    <a:pt x="3886" y="887"/>
                    <a:pt x="3894" y="887"/>
                  </a:cubicBezTo>
                  <a:cubicBezTo>
                    <a:pt x="3902" y="887"/>
                    <a:pt x="3906" y="883"/>
                    <a:pt x="3903" y="877"/>
                  </a:cubicBezTo>
                  <a:cubicBezTo>
                    <a:pt x="3901" y="871"/>
                    <a:pt x="3892" y="867"/>
                    <a:pt x="3884" y="867"/>
                  </a:cubicBezTo>
                  <a:cubicBezTo>
                    <a:pt x="3884" y="867"/>
                    <a:pt x="3884" y="867"/>
                    <a:pt x="3884" y="867"/>
                  </a:cubicBezTo>
                  <a:moveTo>
                    <a:pt x="3924" y="867"/>
                  </a:moveTo>
                  <a:cubicBezTo>
                    <a:pt x="3916" y="867"/>
                    <a:pt x="3912" y="871"/>
                    <a:pt x="3915" y="877"/>
                  </a:cubicBezTo>
                  <a:cubicBezTo>
                    <a:pt x="3918" y="883"/>
                    <a:pt x="3926" y="887"/>
                    <a:pt x="3934" y="887"/>
                  </a:cubicBezTo>
                  <a:cubicBezTo>
                    <a:pt x="3942" y="887"/>
                    <a:pt x="3946" y="883"/>
                    <a:pt x="3943" y="877"/>
                  </a:cubicBezTo>
                  <a:cubicBezTo>
                    <a:pt x="3941" y="871"/>
                    <a:pt x="3932" y="867"/>
                    <a:pt x="3924" y="867"/>
                  </a:cubicBezTo>
                  <a:cubicBezTo>
                    <a:pt x="3924" y="867"/>
                    <a:pt x="3924" y="867"/>
                    <a:pt x="3924" y="867"/>
                  </a:cubicBezTo>
                  <a:moveTo>
                    <a:pt x="4205" y="863"/>
                  </a:moveTo>
                  <a:cubicBezTo>
                    <a:pt x="4197" y="863"/>
                    <a:pt x="4193" y="868"/>
                    <a:pt x="4197" y="873"/>
                  </a:cubicBezTo>
                  <a:cubicBezTo>
                    <a:pt x="4200" y="879"/>
                    <a:pt x="4209" y="883"/>
                    <a:pt x="4217" y="883"/>
                  </a:cubicBezTo>
                  <a:cubicBezTo>
                    <a:pt x="4225" y="883"/>
                    <a:pt x="4228" y="879"/>
                    <a:pt x="4225" y="873"/>
                  </a:cubicBezTo>
                  <a:cubicBezTo>
                    <a:pt x="4222" y="867"/>
                    <a:pt x="4213" y="863"/>
                    <a:pt x="4205" y="863"/>
                  </a:cubicBezTo>
                  <a:cubicBezTo>
                    <a:pt x="4205" y="863"/>
                    <a:pt x="4205" y="863"/>
                    <a:pt x="4205" y="863"/>
                  </a:cubicBezTo>
                  <a:moveTo>
                    <a:pt x="62" y="853"/>
                  </a:moveTo>
                  <a:cubicBezTo>
                    <a:pt x="54" y="853"/>
                    <a:pt x="44" y="858"/>
                    <a:pt x="39" y="863"/>
                  </a:cubicBezTo>
                  <a:cubicBezTo>
                    <a:pt x="35" y="869"/>
                    <a:pt x="37" y="874"/>
                    <a:pt x="45" y="874"/>
                  </a:cubicBezTo>
                  <a:cubicBezTo>
                    <a:pt x="53" y="874"/>
                    <a:pt x="63" y="869"/>
                    <a:pt x="68" y="863"/>
                  </a:cubicBezTo>
                  <a:cubicBezTo>
                    <a:pt x="72" y="858"/>
                    <a:pt x="70" y="853"/>
                    <a:pt x="62" y="853"/>
                  </a:cubicBezTo>
                  <a:cubicBezTo>
                    <a:pt x="62" y="853"/>
                    <a:pt x="62" y="853"/>
                    <a:pt x="62" y="853"/>
                  </a:cubicBezTo>
                  <a:moveTo>
                    <a:pt x="102" y="853"/>
                  </a:moveTo>
                  <a:cubicBezTo>
                    <a:pt x="94" y="853"/>
                    <a:pt x="84" y="858"/>
                    <a:pt x="79" y="863"/>
                  </a:cubicBezTo>
                  <a:cubicBezTo>
                    <a:pt x="75" y="869"/>
                    <a:pt x="78" y="873"/>
                    <a:pt x="85" y="873"/>
                  </a:cubicBezTo>
                  <a:cubicBezTo>
                    <a:pt x="93" y="873"/>
                    <a:pt x="103" y="869"/>
                    <a:pt x="108" y="863"/>
                  </a:cubicBezTo>
                  <a:cubicBezTo>
                    <a:pt x="112" y="858"/>
                    <a:pt x="110" y="853"/>
                    <a:pt x="102" y="853"/>
                  </a:cubicBezTo>
                  <a:cubicBezTo>
                    <a:pt x="102" y="853"/>
                    <a:pt x="102" y="853"/>
                    <a:pt x="102" y="853"/>
                  </a:cubicBezTo>
                  <a:moveTo>
                    <a:pt x="142" y="853"/>
                  </a:moveTo>
                  <a:cubicBezTo>
                    <a:pt x="134" y="853"/>
                    <a:pt x="124" y="858"/>
                    <a:pt x="120" y="863"/>
                  </a:cubicBezTo>
                  <a:cubicBezTo>
                    <a:pt x="115" y="869"/>
                    <a:pt x="118" y="873"/>
                    <a:pt x="126" y="873"/>
                  </a:cubicBezTo>
                  <a:cubicBezTo>
                    <a:pt x="134" y="873"/>
                    <a:pt x="144" y="869"/>
                    <a:pt x="148" y="863"/>
                  </a:cubicBezTo>
                  <a:cubicBezTo>
                    <a:pt x="153" y="857"/>
                    <a:pt x="150" y="853"/>
                    <a:pt x="142" y="853"/>
                  </a:cubicBezTo>
                  <a:cubicBezTo>
                    <a:pt x="142" y="853"/>
                    <a:pt x="142" y="853"/>
                    <a:pt x="142" y="853"/>
                  </a:cubicBezTo>
                  <a:moveTo>
                    <a:pt x="221" y="853"/>
                  </a:moveTo>
                  <a:cubicBezTo>
                    <a:pt x="213" y="853"/>
                    <a:pt x="204" y="857"/>
                    <a:pt x="199" y="863"/>
                  </a:cubicBezTo>
                  <a:cubicBezTo>
                    <a:pt x="195" y="869"/>
                    <a:pt x="198" y="873"/>
                    <a:pt x="206" y="873"/>
                  </a:cubicBezTo>
                  <a:cubicBezTo>
                    <a:pt x="213" y="873"/>
                    <a:pt x="223" y="868"/>
                    <a:pt x="228" y="863"/>
                  </a:cubicBezTo>
                  <a:cubicBezTo>
                    <a:pt x="232" y="857"/>
                    <a:pt x="229" y="853"/>
                    <a:pt x="221" y="853"/>
                  </a:cubicBezTo>
                  <a:cubicBezTo>
                    <a:pt x="221" y="853"/>
                    <a:pt x="221" y="853"/>
                    <a:pt x="221" y="853"/>
                  </a:cubicBezTo>
                  <a:moveTo>
                    <a:pt x="184" y="853"/>
                  </a:moveTo>
                  <a:cubicBezTo>
                    <a:pt x="176" y="853"/>
                    <a:pt x="166" y="857"/>
                    <a:pt x="161" y="863"/>
                  </a:cubicBezTo>
                  <a:cubicBezTo>
                    <a:pt x="157" y="869"/>
                    <a:pt x="160" y="873"/>
                    <a:pt x="168" y="873"/>
                  </a:cubicBezTo>
                  <a:cubicBezTo>
                    <a:pt x="175" y="873"/>
                    <a:pt x="185" y="868"/>
                    <a:pt x="190" y="863"/>
                  </a:cubicBezTo>
                  <a:cubicBezTo>
                    <a:pt x="194" y="857"/>
                    <a:pt x="191" y="853"/>
                    <a:pt x="184" y="853"/>
                  </a:cubicBezTo>
                  <a:cubicBezTo>
                    <a:pt x="184" y="853"/>
                    <a:pt x="184" y="853"/>
                    <a:pt x="184" y="853"/>
                  </a:cubicBezTo>
                  <a:moveTo>
                    <a:pt x="343" y="852"/>
                  </a:moveTo>
                  <a:cubicBezTo>
                    <a:pt x="335" y="852"/>
                    <a:pt x="325" y="857"/>
                    <a:pt x="321" y="862"/>
                  </a:cubicBezTo>
                  <a:cubicBezTo>
                    <a:pt x="317" y="868"/>
                    <a:pt x="320" y="873"/>
                    <a:pt x="328" y="873"/>
                  </a:cubicBezTo>
                  <a:cubicBezTo>
                    <a:pt x="336" y="873"/>
                    <a:pt x="346" y="868"/>
                    <a:pt x="350" y="862"/>
                  </a:cubicBezTo>
                  <a:cubicBezTo>
                    <a:pt x="354" y="857"/>
                    <a:pt x="351" y="852"/>
                    <a:pt x="343" y="852"/>
                  </a:cubicBezTo>
                  <a:cubicBezTo>
                    <a:pt x="343" y="852"/>
                    <a:pt x="343" y="852"/>
                    <a:pt x="343" y="852"/>
                  </a:cubicBezTo>
                  <a:moveTo>
                    <a:pt x="378" y="852"/>
                  </a:moveTo>
                  <a:cubicBezTo>
                    <a:pt x="370" y="852"/>
                    <a:pt x="360" y="857"/>
                    <a:pt x="356" y="862"/>
                  </a:cubicBezTo>
                  <a:cubicBezTo>
                    <a:pt x="352" y="868"/>
                    <a:pt x="355" y="872"/>
                    <a:pt x="363" y="872"/>
                  </a:cubicBezTo>
                  <a:cubicBezTo>
                    <a:pt x="371" y="872"/>
                    <a:pt x="380" y="868"/>
                    <a:pt x="384" y="862"/>
                  </a:cubicBezTo>
                  <a:cubicBezTo>
                    <a:pt x="388" y="857"/>
                    <a:pt x="385" y="852"/>
                    <a:pt x="378" y="852"/>
                  </a:cubicBezTo>
                  <a:cubicBezTo>
                    <a:pt x="378" y="852"/>
                    <a:pt x="378" y="852"/>
                    <a:pt x="378" y="852"/>
                  </a:cubicBezTo>
                  <a:moveTo>
                    <a:pt x="662" y="850"/>
                  </a:moveTo>
                  <a:cubicBezTo>
                    <a:pt x="654" y="850"/>
                    <a:pt x="645" y="855"/>
                    <a:pt x="641" y="860"/>
                  </a:cubicBezTo>
                  <a:cubicBezTo>
                    <a:pt x="638" y="866"/>
                    <a:pt x="641" y="870"/>
                    <a:pt x="649" y="870"/>
                  </a:cubicBezTo>
                  <a:cubicBezTo>
                    <a:pt x="657" y="870"/>
                    <a:pt x="666" y="866"/>
                    <a:pt x="670" y="860"/>
                  </a:cubicBezTo>
                  <a:cubicBezTo>
                    <a:pt x="673" y="855"/>
                    <a:pt x="670" y="850"/>
                    <a:pt x="662" y="850"/>
                  </a:cubicBezTo>
                  <a:cubicBezTo>
                    <a:pt x="662" y="850"/>
                    <a:pt x="662" y="850"/>
                    <a:pt x="662" y="850"/>
                  </a:cubicBezTo>
                  <a:moveTo>
                    <a:pt x="1708" y="846"/>
                  </a:moveTo>
                  <a:cubicBezTo>
                    <a:pt x="1700" y="846"/>
                    <a:pt x="1693" y="851"/>
                    <a:pt x="1691" y="856"/>
                  </a:cubicBezTo>
                  <a:cubicBezTo>
                    <a:pt x="1690" y="862"/>
                    <a:pt x="1695" y="866"/>
                    <a:pt x="1703" y="866"/>
                  </a:cubicBezTo>
                  <a:cubicBezTo>
                    <a:pt x="1711" y="866"/>
                    <a:pt x="1718" y="862"/>
                    <a:pt x="1720" y="856"/>
                  </a:cubicBezTo>
                  <a:cubicBezTo>
                    <a:pt x="1721" y="851"/>
                    <a:pt x="1716" y="846"/>
                    <a:pt x="1708" y="846"/>
                  </a:cubicBezTo>
                  <a:cubicBezTo>
                    <a:pt x="1708" y="846"/>
                    <a:pt x="1708" y="846"/>
                    <a:pt x="1708" y="846"/>
                  </a:cubicBezTo>
                  <a:moveTo>
                    <a:pt x="1746" y="846"/>
                  </a:moveTo>
                  <a:cubicBezTo>
                    <a:pt x="1738" y="846"/>
                    <a:pt x="1731" y="851"/>
                    <a:pt x="1729" y="856"/>
                  </a:cubicBezTo>
                  <a:cubicBezTo>
                    <a:pt x="1728" y="862"/>
                    <a:pt x="1733" y="866"/>
                    <a:pt x="1741" y="866"/>
                  </a:cubicBezTo>
                  <a:cubicBezTo>
                    <a:pt x="1749" y="866"/>
                    <a:pt x="1756" y="862"/>
                    <a:pt x="1757" y="856"/>
                  </a:cubicBezTo>
                  <a:cubicBezTo>
                    <a:pt x="1759" y="850"/>
                    <a:pt x="1754" y="846"/>
                    <a:pt x="1746" y="846"/>
                  </a:cubicBezTo>
                  <a:cubicBezTo>
                    <a:pt x="1746" y="846"/>
                    <a:pt x="1746" y="846"/>
                    <a:pt x="1746" y="846"/>
                  </a:cubicBezTo>
                  <a:moveTo>
                    <a:pt x="1786" y="846"/>
                  </a:moveTo>
                  <a:cubicBezTo>
                    <a:pt x="1778" y="846"/>
                    <a:pt x="1771" y="850"/>
                    <a:pt x="1769" y="856"/>
                  </a:cubicBezTo>
                  <a:cubicBezTo>
                    <a:pt x="1768" y="862"/>
                    <a:pt x="1773" y="866"/>
                    <a:pt x="1781" y="866"/>
                  </a:cubicBezTo>
                  <a:cubicBezTo>
                    <a:pt x="1789" y="866"/>
                    <a:pt x="1796" y="861"/>
                    <a:pt x="1797" y="856"/>
                  </a:cubicBezTo>
                  <a:cubicBezTo>
                    <a:pt x="1799" y="850"/>
                    <a:pt x="1794" y="846"/>
                    <a:pt x="1786" y="846"/>
                  </a:cubicBezTo>
                  <a:cubicBezTo>
                    <a:pt x="1786" y="846"/>
                    <a:pt x="1786" y="846"/>
                    <a:pt x="1786" y="846"/>
                  </a:cubicBezTo>
                  <a:moveTo>
                    <a:pt x="1826" y="846"/>
                  </a:moveTo>
                  <a:cubicBezTo>
                    <a:pt x="1818" y="846"/>
                    <a:pt x="1811" y="850"/>
                    <a:pt x="1810" y="856"/>
                  </a:cubicBezTo>
                  <a:cubicBezTo>
                    <a:pt x="1808" y="861"/>
                    <a:pt x="1814" y="866"/>
                    <a:pt x="1821" y="866"/>
                  </a:cubicBezTo>
                  <a:cubicBezTo>
                    <a:pt x="1829" y="866"/>
                    <a:pt x="1837" y="861"/>
                    <a:pt x="1838" y="856"/>
                  </a:cubicBezTo>
                  <a:cubicBezTo>
                    <a:pt x="1839" y="850"/>
                    <a:pt x="1834" y="846"/>
                    <a:pt x="1826" y="846"/>
                  </a:cubicBezTo>
                  <a:cubicBezTo>
                    <a:pt x="1826" y="846"/>
                    <a:pt x="1826" y="846"/>
                    <a:pt x="1826" y="846"/>
                  </a:cubicBezTo>
                  <a:moveTo>
                    <a:pt x="1866" y="845"/>
                  </a:moveTo>
                  <a:cubicBezTo>
                    <a:pt x="1859" y="845"/>
                    <a:pt x="1851" y="850"/>
                    <a:pt x="1850" y="856"/>
                  </a:cubicBezTo>
                  <a:cubicBezTo>
                    <a:pt x="1849" y="861"/>
                    <a:pt x="1854" y="866"/>
                    <a:pt x="1862" y="866"/>
                  </a:cubicBezTo>
                  <a:cubicBezTo>
                    <a:pt x="1870" y="866"/>
                    <a:pt x="1877" y="861"/>
                    <a:pt x="1878" y="855"/>
                  </a:cubicBezTo>
                  <a:cubicBezTo>
                    <a:pt x="1880" y="850"/>
                    <a:pt x="1874" y="845"/>
                    <a:pt x="1867" y="845"/>
                  </a:cubicBezTo>
                  <a:cubicBezTo>
                    <a:pt x="1867" y="845"/>
                    <a:pt x="1867" y="845"/>
                    <a:pt x="1866" y="845"/>
                  </a:cubicBezTo>
                  <a:moveTo>
                    <a:pt x="1906" y="845"/>
                  </a:moveTo>
                  <a:cubicBezTo>
                    <a:pt x="1899" y="845"/>
                    <a:pt x="1891" y="850"/>
                    <a:pt x="1890" y="855"/>
                  </a:cubicBezTo>
                  <a:cubicBezTo>
                    <a:pt x="1889" y="861"/>
                    <a:pt x="1895" y="866"/>
                    <a:pt x="1902" y="866"/>
                  </a:cubicBezTo>
                  <a:cubicBezTo>
                    <a:pt x="1910" y="866"/>
                    <a:pt x="1917" y="861"/>
                    <a:pt x="1918" y="855"/>
                  </a:cubicBezTo>
                  <a:cubicBezTo>
                    <a:pt x="1919" y="850"/>
                    <a:pt x="1914" y="845"/>
                    <a:pt x="1906" y="845"/>
                  </a:cubicBezTo>
                  <a:cubicBezTo>
                    <a:pt x="1906" y="845"/>
                    <a:pt x="1906" y="845"/>
                    <a:pt x="1906" y="845"/>
                  </a:cubicBezTo>
                  <a:moveTo>
                    <a:pt x="1946" y="845"/>
                  </a:moveTo>
                  <a:cubicBezTo>
                    <a:pt x="1939" y="845"/>
                    <a:pt x="1932" y="850"/>
                    <a:pt x="1930" y="855"/>
                  </a:cubicBezTo>
                  <a:cubicBezTo>
                    <a:pt x="1929" y="861"/>
                    <a:pt x="1935" y="865"/>
                    <a:pt x="1943" y="865"/>
                  </a:cubicBezTo>
                  <a:cubicBezTo>
                    <a:pt x="1950" y="865"/>
                    <a:pt x="1958" y="861"/>
                    <a:pt x="1959" y="855"/>
                  </a:cubicBezTo>
                  <a:cubicBezTo>
                    <a:pt x="1960" y="850"/>
                    <a:pt x="1954" y="845"/>
                    <a:pt x="1946" y="845"/>
                  </a:cubicBezTo>
                  <a:cubicBezTo>
                    <a:pt x="1946" y="845"/>
                    <a:pt x="1946" y="845"/>
                    <a:pt x="1946" y="845"/>
                  </a:cubicBezTo>
                  <a:moveTo>
                    <a:pt x="1986" y="845"/>
                  </a:moveTo>
                  <a:cubicBezTo>
                    <a:pt x="1978" y="845"/>
                    <a:pt x="1971" y="849"/>
                    <a:pt x="1970" y="855"/>
                  </a:cubicBezTo>
                  <a:cubicBezTo>
                    <a:pt x="1969" y="861"/>
                    <a:pt x="1975" y="865"/>
                    <a:pt x="1983" y="865"/>
                  </a:cubicBezTo>
                  <a:cubicBezTo>
                    <a:pt x="1991" y="865"/>
                    <a:pt x="1998" y="861"/>
                    <a:pt x="1999" y="855"/>
                  </a:cubicBezTo>
                  <a:cubicBezTo>
                    <a:pt x="1999" y="849"/>
                    <a:pt x="1994" y="845"/>
                    <a:pt x="1986" y="845"/>
                  </a:cubicBezTo>
                  <a:cubicBezTo>
                    <a:pt x="1986" y="845"/>
                    <a:pt x="1986" y="845"/>
                    <a:pt x="1986" y="845"/>
                  </a:cubicBezTo>
                  <a:moveTo>
                    <a:pt x="2026" y="845"/>
                  </a:moveTo>
                  <a:cubicBezTo>
                    <a:pt x="2019" y="845"/>
                    <a:pt x="2012" y="849"/>
                    <a:pt x="2011" y="855"/>
                  </a:cubicBezTo>
                  <a:cubicBezTo>
                    <a:pt x="2010" y="861"/>
                    <a:pt x="2015" y="865"/>
                    <a:pt x="2023" y="865"/>
                  </a:cubicBezTo>
                  <a:cubicBezTo>
                    <a:pt x="2031" y="865"/>
                    <a:pt x="2038" y="860"/>
                    <a:pt x="2039" y="855"/>
                  </a:cubicBezTo>
                  <a:cubicBezTo>
                    <a:pt x="2040" y="849"/>
                    <a:pt x="2034" y="845"/>
                    <a:pt x="2026" y="845"/>
                  </a:cubicBezTo>
                  <a:cubicBezTo>
                    <a:pt x="2026" y="845"/>
                    <a:pt x="2026" y="845"/>
                    <a:pt x="2026" y="845"/>
                  </a:cubicBezTo>
                  <a:moveTo>
                    <a:pt x="2068" y="844"/>
                  </a:moveTo>
                  <a:cubicBezTo>
                    <a:pt x="2060" y="844"/>
                    <a:pt x="2053" y="849"/>
                    <a:pt x="2052" y="855"/>
                  </a:cubicBezTo>
                  <a:cubicBezTo>
                    <a:pt x="2051" y="860"/>
                    <a:pt x="2057" y="865"/>
                    <a:pt x="2065" y="865"/>
                  </a:cubicBezTo>
                  <a:cubicBezTo>
                    <a:pt x="2073" y="865"/>
                    <a:pt x="2080" y="860"/>
                    <a:pt x="2080" y="855"/>
                  </a:cubicBezTo>
                  <a:cubicBezTo>
                    <a:pt x="2081" y="849"/>
                    <a:pt x="2076" y="844"/>
                    <a:pt x="2068" y="844"/>
                  </a:cubicBezTo>
                  <a:cubicBezTo>
                    <a:pt x="2068" y="844"/>
                    <a:pt x="2068" y="844"/>
                    <a:pt x="2068" y="844"/>
                  </a:cubicBezTo>
                  <a:moveTo>
                    <a:pt x="2108" y="844"/>
                  </a:moveTo>
                  <a:cubicBezTo>
                    <a:pt x="2100" y="844"/>
                    <a:pt x="2093" y="849"/>
                    <a:pt x="2092" y="855"/>
                  </a:cubicBezTo>
                  <a:cubicBezTo>
                    <a:pt x="2091" y="860"/>
                    <a:pt x="2097" y="865"/>
                    <a:pt x="2105" y="865"/>
                  </a:cubicBezTo>
                  <a:cubicBezTo>
                    <a:pt x="2113" y="865"/>
                    <a:pt x="2120" y="860"/>
                    <a:pt x="2120" y="854"/>
                  </a:cubicBezTo>
                  <a:cubicBezTo>
                    <a:pt x="2121" y="849"/>
                    <a:pt x="2115" y="844"/>
                    <a:pt x="2108" y="844"/>
                  </a:cubicBezTo>
                  <a:cubicBezTo>
                    <a:pt x="2108" y="844"/>
                    <a:pt x="2108" y="844"/>
                    <a:pt x="2108" y="844"/>
                  </a:cubicBezTo>
                  <a:moveTo>
                    <a:pt x="2148" y="844"/>
                  </a:moveTo>
                  <a:cubicBezTo>
                    <a:pt x="2140" y="844"/>
                    <a:pt x="2133" y="849"/>
                    <a:pt x="2132" y="854"/>
                  </a:cubicBezTo>
                  <a:cubicBezTo>
                    <a:pt x="2132" y="860"/>
                    <a:pt x="2138" y="865"/>
                    <a:pt x="2145" y="865"/>
                  </a:cubicBezTo>
                  <a:cubicBezTo>
                    <a:pt x="2153" y="864"/>
                    <a:pt x="2160" y="860"/>
                    <a:pt x="2161" y="854"/>
                  </a:cubicBezTo>
                  <a:cubicBezTo>
                    <a:pt x="2161" y="849"/>
                    <a:pt x="2155" y="844"/>
                    <a:pt x="2148" y="844"/>
                  </a:cubicBezTo>
                  <a:cubicBezTo>
                    <a:pt x="2148" y="844"/>
                    <a:pt x="2148" y="844"/>
                    <a:pt x="2148" y="844"/>
                  </a:cubicBezTo>
                  <a:moveTo>
                    <a:pt x="2188" y="844"/>
                  </a:moveTo>
                  <a:cubicBezTo>
                    <a:pt x="2180" y="844"/>
                    <a:pt x="2174" y="849"/>
                    <a:pt x="2173" y="854"/>
                  </a:cubicBezTo>
                  <a:cubicBezTo>
                    <a:pt x="2173" y="860"/>
                    <a:pt x="2178" y="864"/>
                    <a:pt x="2186" y="864"/>
                  </a:cubicBezTo>
                  <a:cubicBezTo>
                    <a:pt x="2194" y="864"/>
                    <a:pt x="2201" y="860"/>
                    <a:pt x="2201" y="854"/>
                  </a:cubicBezTo>
                  <a:cubicBezTo>
                    <a:pt x="2202" y="848"/>
                    <a:pt x="2196" y="844"/>
                    <a:pt x="2188" y="844"/>
                  </a:cubicBezTo>
                  <a:cubicBezTo>
                    <a:pt x="2188" y="844"/>
                    <a:pt x="2188" y="844"/>
                    <a:pt x="2188" y="844"/>
                  </a:cubicBezTo>
                  <a:moveTo>
                    <a:pt x="2228" y="844"/>
                  </a:moveTo>
                  <a:cubicBezTo>
                    <a:pt x="2220" y="844"/>
                    <a:pt x="2214" y="848"/>
                    <a:pt x="2213" y="854"/>
                  </a:cubicBezTo>
                  <a:cubicBezTo>
                    <a:pt x="2213" y="860"/>
                    <a:pt x="2218" y="864"/>
                    <a:pt x="2226" y="864"/>
                  </a:cubicBezTo>
                  <a:cubicBezTo>
                    <a:pt x="2234" y="864"/>
                    <a:pt x="2241" y="860"/>
                    <a:pt x="2241" y="854"/>
                  </a:cubicBezTo>
                  <a:cubicBezTo>
                    <a:pt x="2242" y="848"/>
                    <a:pt x="2236" y="844"/>
                    <a:pt x="2228" y="844"/>
                  </a:cubicBezTo>
                  <a:cubicBezTo>
                    <a:pt x="2228" y="844"/>
                    <a:pt x="2228" y="844"/>
                    <a:pt x="2228" y="844"/>
                  </a:cubicBezTo>
                  <a:moveTo>
                    <a:pt x="2268" y="844"/>
                  </a:moveTo>
                  <a:cubicBezTo>
                    <a:pt x="2260" y="844"/>
                    <a:pt x="2254" y="848"/>
                    <a:pt x="2253" y="854"/>
                  </a:cubicBezTo>
                  <a:cubicBezTo>
                    <a:pt x="2253" y="859"/>
                    <a:pt x="2259" y="864"/>
                    <a:pt x="2267" y="864"/>
                  </a:cubicBezTo>
                  <a:cubicBezTo>
                    <a:pt x="2274" y="864"/>
                    <a:pt x="2281" y="859"/>
                    <a:pt x="2281" y="854"/>
                  </a:cubicBezTo>
                  <a:cubicBezTo>
                    <a:pt x="2282" y="848"/>
                    <a:pt x="2276" y="844"/>
                    <a:pt x="2268" y="844"/>
                  </a:cubicBezTo>
                  <a:cubicBezTo>
                    <a:pt x="2268" y="844"/>
                    <a:pt x="2268" y="844"/>
                    <a:pt x="2268" y="844"/>
                  </a:cubicBezTo>
                  <a:moveTo>
                    <a:pt x="2308" y="843"/>
                  </a:moveTo>
                  <a:cubicBezTo>
                    <a:pt x="2300" y="843"/>
                    <a:pt x="2294" y="848"/>
                    <a:pt x="2293" y="854"/>
                  </a:cubicBezTo>
                  <a:cubicBezTo>
                    <a:pt x="2293" y="859"/>
                    <a:pt x="2299" y="864"/>
                    <a:pt x="2307" y="864"/>
                  </a:cubicBezTo>
                  <a:cubicBezTo>
                    <a:pt x="2314" y="864"/>
                    <a:pt x="2321" y="859"/>
                    <a:pt x="2321" y="854"/>
                  </a:cubicBezTo>
                  <a:cubicBezTo>
                    <a:pt x="2322" y="848"/>
                    <a:pt x="2316" y="843"/>
                    <a:pt x="2308" y="843"/>
                  </a:cubicBezTo>
                  <a:cubicBezTo>
                    <a:pt x="2308" y="843"/>
                    <a:pt x="2308" y="843"/>
                    <a:pt x="2308" y="843"/>
                  </a:cubicBezTo>
                  <a:moveTo>
                    <a:pt x="2348" y="843"/>
                  </a:moveTo>
                  <a:cubicBezTo>
                    <a:pt x="2340" y="843"/>
                    <a:pt x="2334" y="848"/>
                    <a:pt x="2333" y="853"/>
                  </a:cubicBezTo>
                  <a:cubicBezTo>
                    <a:pt x="2333" y="859"/>
                    <a:pt x="2339" y="864"/>
                    <a:pt x="2347" y="864"/>
                  </a:cubicBezTo>
                  <a:cubicBezTo>
                    <a:pt x="2355" y="864"/>
                    <a:pt x="2361" y="859"/>
                    <a:pt x="2362" y="853"/>
                  </a:cubicBezTo>
                  <a:cubicBezTo>
                    <a:pt x="2362" y="848"/>
                    <a:pt x="2356" y="843"/>
                    <a:pt x="2348" y="843"/>
                  </a:cubicBezTo>
                  <a:cubicBezTo>
                    <a:pt x="2348" y="843"/>
                    <a:pt x="2348" y="843"/>
                    <a:pt x="2348" y="843"/>
                  </a:cubicBezTo>
                  <a:moveTo>
                    <a:pt x="2388" y="843"/>
                  </a:moveTo>
                  <a:cubicBezTo>
                    <a:pt x="2381" y="843"/>
                    <a:pt x="2374" y="848"/>
                    <a:pt x="2374" y="853"/>
                  </a:cubicBezTo>
                  <a:cubicBezTo>
                    <a:pt x="2374" y="859"/>
                    <a:pt x="2380" y="864"/>
                    <a:pt x="2388" y="863"/>
                  </a:cubicBezTo>
                  <a:cubicBezTo>
                    <a:pt x="2396" y="863"/>
                    <a:pt x="2402" y="859"/>
                    <a:pt x="2402" y="853"/>
                  </a:cubicBezTo>
                  <a:cubicBezTo>
                    <a:pt x="2402" y="848"/>
                    <a:pt x="2396" y="843"/>
                    <a:pt x="2389" y="843"/>
                  </a:cubicBezTo>
                  <a:cubicBezTo>
                    <a:pt x="2389" y="843"/>
                    <a:pt x="2389" y="843"/>
                    <a:pt x="2388" y="843"/>
                  </a:cubicBezTo>
                  <a:moveTo>
                    <a:pt x="2428" y="843"/>
                  </a:moveTo>
                  <a:cubicBezTo>
                    <a:pt x="2421" y="843"/>
                    <a:pt x="2414" y="847"/>
                    <a:pt x="2414" y="853"/>
                  </a:cubicBezTo>
                  <a:cubicBezTo>
                    <a:pt x="2414" y="859"/>
                    <a:pt x="2420" y="863"/>
                    <a:pt x="2428" y="863"/>
                  </a:cubicBezTo>
                  <a:cubicBezTo>
                    <a:pt x="2436" y="863"/>
                    <a:pt x="2442" y="859"/>
                    <a:pt x="2442" y="853"/>
                  </a:cubicBezTo>
                  <a:cubicBezTo>
                    <a:pt x="2442" y="847"/>
                    <a:pt x="2436" y="843"/>
                    <a:pt x="2428" y="843"/>
                  </a:cubicBezTo>
                  <a:cubicBezTo>
                    <a:pt x="2428" y="843"/>
                    <a:pt x="2428" y="843"/>
                    <a:pt x="2428" y="843"/>
                  </a:cubicBezTo>
                  <a:moveTo>
                    <a:pt x="2468" y="843"/>
                  </a:moveTo>
                  <a:cubicBezTo>
                    <a:pt x="2461" y="843"/>
                    <a:pt x="2454" y="847"/>
                    <a:pt x="2454" y="853"/>
                  </a:cubicBezTo>
                  <a:cubicBezTo>
                    <a:pt x="2454" y="859"/>
                    <a:pt x="2460" y="863"/>
                    <a:pt x="2468" y="863"/>
                  </a:cubicBezTo>
                  <a:cubicBezTo>
                    <a:pt x="2476" y="863"/>
                    <a:pt x="2482" y="858"/>
                    <a:pt x="2482" y="853"/>
                  </a:cubicBezTo>
                  <a:cubicBezTo>
                    <a:pt x="2482" y="847"/>
                    <a:pt x="2476" y="843"/>
                    <a:pt x="2468" y="843"/>
                  </a:cubicBezTo>
                  <a:cubicBezTo>
                    <a:pt x="2468" y="843"/>
                    <a:pt x="2468" y="843"/>
                    <a:pt x="2468" y="843"/>
                  </a:cubicBezTo>
                  <a:moveTo>
                    <a:pt x="2829" y="843"/>
                  </a:moveTo>
                  <a:cubicBezTo>
                    <a:pt x="2821" y="843"/>
                    <a:pt x="2816" y="847"/>
                    <a:pt x="2816" y="853"/>
                  </a:cubicBezTo>
                  <a:cubicBezTo>
                    <a:pt x="2817" y="858"/>
                    <a:pt x="2824" y="863"/>
                    <a:pt x="2831" y="863"/>
                  </a:cubicBezTo>
                  <a:cubicBezTo>
                    <a:pt x="2839" y="863"/>
                    <a:pt x="2845" y="858"/>
                    <a:pt x="2844" y="853"/>
                  </a:cubicBezTo>
                  <a:cubicBezTo>
                    <a:pt x="2844" y="847"/>
                    <a:pt x="2837" y="843"/>
                    <a:pt x="2829" y="843"/>
                  </a:cubicBezTo>
                  <a:cubicBezTo>
                    <a:pt x="2829" y="843"/>
                    <a:pt x="2829" y="843"/>
                    <a:pt x="2829" y="843"/>
                  </a:cubicBezTo>
                  <a:moveTo>
                    <a:pt x="2508" y="843"/>
                  </a:moveTo>
                  <a:cubicBezTo>
                    <a:pt x="2500" y="843"/>
                    <a:pt x="2494" y="847"/>
                    <a:pt x="2494" y="853"/>
                  </a:cubicBezTo>
                  <a:cubicBezTo>
                    <a:pt x="2494" y="858"/>
                    <a:pt x="2501" y="863"/>
                    <a:pt x="2508" y="863"/>
                  </a:cubicBezTo>
                  <a:cubicBezTo>
                    <a:pt x="2516" y="863"/>
                    <a:pt x="2522" y="858"/>
                    <a:pt x="2522" y="853"/>
                  </a:cubicBezTo>
                  <a:cubicBezTo>
                    <a:pt x="2522" y="847"/>
                    <a:pt x="2516" y="843"/>
                    <a:pt x="2508" y="843"/>
                  </a:cubicBezTo>
                  <a:cubicBezTo>
                    <a:pt x="2508" y="843"/>
                    <a:pt x="2508" y="843"/>
                    <a:pt x="2508" y="843"/>
                  </a:cubicBezTo>
                  <a:moveTo>
                    <a:pt x="2548" y="842"/>
                  </a:moveTo>
                  <a:cubicBezTo>
                    <a:pt x="2541" y="842"/>
                    <a:pt x="2534" y="847"/>
                    <a:pt x="2534" y="853"/>
                  </a:cubicBezTo>
                  <a:cubicBezTo>
                    <a:pt x="2535" y="858"/>
                    <a:pt x="2541" y="863"/>
                    <a:pt x="2549" y="863"/>
                  </a:cubicBezTo>
                  <a:cubicBezTo>
                    <a:pt x="2557" y="863"/>
                    <a:pt x="2563" y="858"/>
                    <a:pt x="2563" y="852"/>
                  </a:cubicBezTo>
                  <a:cubicBezTo>
                    <a:pt x="2562" y="847"/>
                    <a:pt x="2556" y="842"/>
                    <a:pt x="2548" y="842"/>
                  </a:cubicBezTo>
                  <a:cubicBezTo>
                    <a:pt x="2548" y="842"/>
                    <a:pt x="2548" y="842"/>
                    <a:pt x="2548" y="842"/>
                  </a:cubicBezTo>
                  <a:moveTo>
                    <a:pt x="2909" y="842"/>
                  </a:moveTo>
                  <a:cubicBezTo>
                    <a:pt x="2901" y="842"/>
                    <a:pt x="2895" y="847"/>
                    <a:pt x="2896" y="852"/>
                  </a:cubicBezTo>
                  <a:cubicBezTo>
                    <a:pt x="2897" y="858"/>
                    <a:pt x="2904" y="863"/>
                    <a:pt x="2912" y="863"/>
                  </a:cubicBezTo>
                  <a:cubicBezTo>
                    <a:pt x="2919" y="863"/>
                    <a:pt x="2925" y="858"/>
                    <a:pt x="2924" y="852"/>
                  </a:cubicBezTo>
                  <a:cubicBezTo>
                    <a:pt x="2923" y="847"/>
                    <a:pt x="2917" y="842"/>
                    <a:pt x="2909" y="842"/>
                  </a:cubicBezTo>
                  <a:cubicBezTo>
                    <a:pt x="2909" y="842"/>
                    <a:pt x="2909" y="842"/>
                    <a:pt x="2909" y="842"/>
                  </a:cubicBezTo>
                  <a:moveTo>
                    <a:pt x="2589" y="842"/>
                  </a:moveTo>
                  <a:cubicBezTo>
                    <a:pt x="2581" y="842"/>
                    <a:pt x="2575" y="847"/>
                    <a:pt x="2575" y="852"/>
                  </a:cubicBezTo>
                  <a:cubicBezTo>
                    <a:pt x="2575" y="858"/>
                    <a:pt x="2582" y="863"/>
                    <a:pt x="2589" y="863"/>
                  </a:cubicBezTo>
                  <a:cubicBezTo>
                    <a:pt x="2597" y="863"/>
                    <a:pt x="2603" y="858"/>
                    <a:pt x="2603" y="852"/>
                  </a:cubicBezTo>
                  <a:cubicBezTo>
                    <a:pt x="2603" y="847"/>
                    <a:pt x="2597" y="842"/>
                    <a:pt x="2589" y="842"/>
                  </a:cubicBezTo>
                  <a:cubicBezTo>
                    <a:pt x="2589" y="842"/>
                    <a:pt x="2589" y="842"/>
                    <a:pt x="2589" y="842"/>
                  </a:cubicBezTo>
                  <a:moveTo>
                    <a:pt x="2867" y="842"/>
                  </a:moveTo>
                  <a:cubicBezTo>
                    <a:pt x="2859" y="842"/>
                    <a:pt x="2853" y="847"/>
                    <a:pt x="2854" y="852"/>
                  </a:cubicBezTo>
                  <a:cubicBezTo>
                    <a:pt x="2855" y="858"/>
                    <a:pt x="2862" y="863"/>
                    <a:pt x="2869" y="863"/>
                  </a:cubicBezTo>
                  <a:cubicBezTo>
                    <a:pt x="2877" y="863"/>
                    <a:pt x="2883" y="858"/>
                    <a:pt x="2882" y="852"/>
                  </a:cubicBezTo>
                  <a:cubicBezTo>
                    <a:pt x="2881" y="847"/>
                    <a:pt x="2874" y="842"/>
                    <a:pt x="2867" y="842"/>
                  </a:cubicBezTo>
                  <a:cubicBezTo>
                    <a:pt x="2867" y="842"/>
                    <a:pt x="2867" y="842"/>
                    <a:pt x="2867" y="842"/>
                  </a:cubicBezTo>
                  <a:moveTo>
                    <a:pt x="2629" y="842"/>
                  </a:moveTo>
                  <a:cubicBezTo>
                    <a:pt x="2621" y="842"/>
                    <a:pt x="2615" y="847"/>
                    <a:pt x="2615" y="852"/>
                  </a:cubicBezTo>
                  <a:cubicBezTo>
                    <a:pt x="2615" y="858"/>
                    <a:pt x="2622" y="862"/>
                    <a:pt x="2630" y="862"/>
                  </a:cubicBezTo>
                  <a:cubicBezTo>
                    <a:pt x="2637" y="862"/>
                    <a:pt x="2643" y="858"/>
                    <a:pt x="2643" y="852"/>
                  </a:cubicBezTo>
                  <a:cubicBezTo>
                    <a:pt x="2643" y="847"/>
                    <a:pt x="2636" y="842"/>
                    <a:pt x="2629" y="842"/>
                  </a:cubicBezTo>
                  <a:cubicBezTo>
                    <a:pt x="2629" y="842"/>
                    <a:pt x="2629" y="842"/>
                    <a:pt x="2629" y="842"/>
                  </a:cubicBezTo>
                  <a:moveTo>
                    <a:pt x="2990" y="842"/>
                  </a:moveTo>
                  <a:cubicBezTo>
                    <a:pt x="2982" y="842"/>
                    <a:pt x="2977" y="846"/>
                    <a:pt x="2978" y="852"/>
                  </a:cubicBezTo>
                  <a:cubicBezTo>
                    <a:pt x="2979" y="858"/>
                    <a:pt x="2986" y="862"/>
                    <a:pt x="2994" y="862"/>
                  </a:cubicBezTo>
                  <a:cubicBezTo>
                    <a:pt x="3002" y="862"/>
                    <a:pt x="3007" y="858"/>
                    <a:pt x="3006" y="852"/>
                  </a:cubicBezTo>
                  <a:cubicBezTo>
                    <a:pt x="3005" y="846"/>
                    <a:pt x="2998" y="842"/>
                    <a:pt x="2990" y="842"/>
                  </a:cubicBezTo>
                  <a:cubicBezTo>
                    <a:pt x="2990" y="842"/>
                    <a:pt x="2990" y="842"/>
                    <a:pt x="2990" y="842"/>
                  </a:cubicBezTo>
                  <a:moveTo>
                    <a:pt x="2709" y="842"/>
                  </a:moveTo>
                  <a:cubicBezTo>
                    <a:pt x="2701" y="842"/>
                    <a:pt x="2695" y="846"/>
                    <a:pt x="2696" y="852"/>
                  </a:cubicBezTo>
                  <a:cubicBezTo>
                    <a:pt x="2696" y="858"/>
                    <a:pt x="2703" y="862"/>
                    <a:pt x="2711" y="862"/>
                  </a:cubicBezTo>
                  <a:cubicBezTo>
                    <a:pt x="2718" y="862"/>
                    <a:pt x="2724" y="858"/>
                    <a:pt x="2724" y="852"/>
                  </a:cubicBezTo>
                  <a:cubicBezTo>
                    <a:pt x="2723" y="846"/>
                    <a:pt x="2717" y="842"/>
                    <a:pt x="2709" y="842"/>
                  </a:cubicBezTo>
                  <a:cubicBezTo>
                    <a:pt x="2709" y="842"/>
                    <a:pt x="2709" y="842"/>
                    <a:pt x="2709" y="842"/>
                  </a:cubicBezTo>
                  <a:moveTo>
                    <a:pt x="2946" y="842"/>
                  </a:moveTo>
                  <a:cubicBezTo>
                    <a:pt x="2939" y="842"/>
                    <a:pt x="2933" y="846"/>
                    <a:pt x="2934" y="852"/>
                  </a:cubicBezTo>
                  <a:cubicBezTo>
                    <a:pt x="2935" y="858"/>
                    <a:pt x="2942" y="862"/>
                    <a:pt x="2950" y="862"/>
                  </a:cubicBezTo>
                  <a:cubicBezTo>
                    <a:pt x="2957" y="862"/>
                    <a:pt x="2963" y="858"/>
                    <a:pt x="2962" y="852"/>
                  </a:cubicBezTo>
                  <a:cubicBezTo>
                    <a:pt x="2961" y="846"/>
                    <a:pt x="2954" y="842"/>
                    <a:pt x="2946" y="842"/>
                  </a:cubicBezTo>
                  <a:cubicBezTo>
                    <a:pt x="2946" y="842"/>
                    <a:pt x="2946" y="842"/>
                    <a:pt x="2946" y="842"/>
                  </a:cubicBezTo>
                  <a:moveTo>
                    <a:pt x="3028" y="841"/>
                  </a:moveTo>
                  <a:cubicBezTo>
                    <a:pt x="3020" y="841"/>
                    <a:pt x="3015" y="846"/>
                    <a:pt x="3016" y="852"/>
                  </a:cubicBezTo>
                  <a:cubicBezTo>
                    <a:pt x="3017" y="857"/>
                    <a:pt x="3024" y="862"/>
                    <a:pt x="3032" y="862"/>
                  </a:cubicBezTo>
                  <a:cubicBezTo>
                    <a:pt x="3039" y="862"/>
                    <a:pt x="3045" y="857"/>
                    <a:pt x="3044" y="852"/>
                  </a:cubicBezTo>
                  <a:cubicBezTo>
                    <a:pt x="3043" y="846"/>
                    <a:pt x="3036" y="841"/>
                    <a:pt x="3028" y="841"/>
                  </a:cubicBezTo>
                  <a:cubicBezTo>
                    <a:pt x="3028" y="841"/>
                    <a:pt x="3028" y="841"/>
                    <a:pt x="3028" y="841"/>
                  </a:cubicBezTo>
                  <a:moveTo>
                    <a:pt x="2747" y="840"/>
                  </a:moveTo>
                  <a:cubicBezTo>
                    <a:pt x="2739" y="840"/>
                    <a:pt x="2733" y="845"/>
                    <a:pt x="2734" y="851"/>
                  </a:cubicBezTo>
                  <a:cubicBezTo>
                    <a:pt x="2734" y="856"/>
                    <a:pt x="2741" y="861"/>
                    <a:pt x="2749" y="861"/>
                  </a:cubicBezTo>
                  <a:cubicBezTo>
                    <a:pt x="2756" y="861"/>
                    <a:pt x="2762" y="856"/>
                    <a:pt x="2762" y="850"/>
                  </a:cubicBezTo>
                  <a:cubicBezTo>
                    <a:pt x="2761" y="845"/>
                    <a:pt x="2754" y="840"/>
                    <a:pt x="2747" y="840"/>
                  </a:cubicBezTo>
                  <a:cubicBezTo>
                    <a:pt x="2747" y="840"/>
                    <a:pt x="2747" y="840"/>
                    <a:pt x="2747" y="840"/>
                  </a:cubicBezTo>
                  <a:moveTo>
                    <a:pt x="2789" y="840"/>
                  </a:moveTo>
                  <a:cubicBezTo>
                    <a:pt x="2781" y="840"/>
                    <a:pt x="2775" y="845"/>
                    <a:pt x="2776" y="850"/>
                  </a:cubicBezTo>
                  <a:cubicBezTo>
                    <a:pt x="2776" y="856"/>
                    <a:pt x="2783" y="861"/>
                    <a:pt x="2791" y="861"/>
                  </a:cubicBezTo>
                  <a:cubicBezTo>
                    <a:pt x="2799" y="861"/>
                    <a:pt x="2804" y="856"/>
                    <a:pt x="2804" y="850"/>
                  </a:cubicBezTo>
                  <a:cubicBezTo>
                    <a:pt x="2803" y="845"/>
                    <a:pt x="2797" y="840"/>
                    <a:pt x="2789" y="840"/>
                  </a:cubicBezTo>
                  <a:cubicBezTo>
                    <a:pt x="2789" y="840"/>
                    <a:pt x="2789" y="840"/>
                    <a:pt x="2789" y="840"/>
                  </a:cubicBezTo>
                  <a:moveTo>
                    <a:pt x="3308" y="839"/>
                  </a:moveTo>
                  <a:cubicBezTo>
                    <a:pt x="3300" y="839"/>
                    <a:pt x="3295" y="844"/>
                    <a:pt x="3297" y="850"/>
                  </a:cubicBezTo>
                  <a:cubicBezTo>
                    <a:pt x="3298" y="855"/>
                    <a:pt x="3306" y="860"/>
                    <a:pt x="3314" y="860"/>
                  </a:cubicBezTo>
                  <a:cubicBezTo>
                    <a:pt x="3322" y="860"/>
                    <a:pt x="3327" y="855"/>
                    <a:pt x="3325" y="850"/>
                  </a:cubicBezTo>
                  <a:cubicBezTo>
                    <a:pt x="3323" y="844"/>
                    <a:pt x="3316" y="839"/>
                    <a:pt x="3308" y="839"/>
                  </a:cubicBezTo>
                  <a:cubicBezTo>
                    <a:pt x="3308" y="839"/>
                    <a:pt x="3308" y="839"/>
                    <a:pt x="3308" y="839"/>
                  </a:cubicBezTo>
                  <a:moveTo>
                    <a:pt x="3348" y="839"/>
                  </a:moveTo>
                  <a:cubicBezTo>
                    <a:pt x="3341" y="839"/>
                    <a:pt x="3336" y="844"/>
                    <a:pt x="3337" y="850"/>
                  </a:cubicBezTo>
                  <a:cubicBezTo>
                    <a:pt x="3339" y="855"/>
                    <a:pt x="3347" y="860"/>
                    <a:pt x="3354" y="860"/>
                  </a:cubicBezTo>
                  <a:cubicBezTo>
                    <a:pt x="3362" y="860"/>
                    <a:pt x="3367" y="855"/>
                    <a:pt x="3365" y="849"/>
                  </a:cubicBezTo>
                  <a:cubicBezTo>
                    <a:pt x="3364" y="844"/>
                    <a:pt x="3356" y="839"/>
                    <a:pt x="3349" y="839"/>
                  </a:cubicBezTo>
                  <a:cubicBezTo>
                    <a:pt x="3348" y="839"/>
                    <a:pt x="3348" y="839"/>
                    <a:pt x="3348" y="839"/>
                  </a:cubicBezTo>
                  <a:moveTo>
                    <a:pt x="3388" y="839"/>
                  </a:moveTo>
                  <a:cubicBezTo>
                    <a:pt x="3380" y="839"/>
                    <a:pt x="3375" y="844"/>
                    <a:pt x="3377" y="849"/>
                  </a:cubicBezTo>
                  <a:cubicBezTo>
                    <a:pt x="3379" y="855"/>
                    <a:pt x="3386" y="860"/>
                    <a:pt x="3394" y="860"/>
                  </a:cubicBezTo>
                  <a:cubicBezTo>
                    <a:pt x="3402" y="860"/>
                    <a:pt x="3407" y="855"/>
                    <a:pt x="3405" y="849"/>
                  </a:cubicBezTo>
                  <a:cubicBezTo>
                    <a:pt x="3403" y="844"/>
                    <a:pt x="3396" y="839"/>
                    <a:pt x="3388" y="839"/>
                  </a:cubicBezTo>
                  <a:cubicBezTo>
                    <a:pt x="3388" y="839"/>
                    <a:pt x="3388" y="839"/>
                    <a:pt x="3388" y="839"/>
                  </a:cubicBezTo>
                  <a:moveTo>
                    <a:pt x="3428" y="839"/>
                  </a:moveTo>
                  <a:cubicBezTo>
                    <a:pt x="3420" y="839"/>
                    <a:pt x="3415" y="844"/>
                    <a:pt x="3417" y="849"/>
                  </a:cubicBezTo>
                  <a:cubicBezTo>
                    <a:pt x="3419" y="855"/>
                    <a:pt x="3426" y="859"/>
                    <a:pt x="3434" y="859"/>
                  </a:cubicBezTo>
                  <a:cubicBezTo>
                    <a:pt x="3442" y="859"/>
                    <a:pt x="3447" y="855"/>
                    <a:pt x="3445" y="849"/>
                  </a:cubicBezTo>
                  <a:cubicBezTo>
                    <a:pt x="3443" y="843"/>
                    <a:pt x="3435" y="839"/>
                    <a:pt x="3428" y="839"/>
                  </a:cubicBezTo>
                  <a:cubicBezTo>
                    <a:pt x="3428" y="839"/>
                    <a:pt x="3428" y="839"/>
                    <a:pt x="3428" y="839"/>
                  </a:cubicBezTo>
                  <a:moveTo>
                    <a:pt x="3468" y="839"/>
                  </a:moveTo>
                  <a:cubicBezTo>
                    <a:pt x="3460" y="839"/>
                    <a:pt x="3455" y="843"/>
                    <a:pt x="3457" y="849"/>
                  </a:cubicBezTo>
                  <a:cubicBezTo>
                    <a:pt x="3459" y="855"/>
                    <a:pt x="3467" y="859"/>
                    <a:pt x="3475" y="859"/>
                  </a:cubicBezTo>
                  <a:cubicBezTo>
                    <a:pt x="3482" y="859"/>
                    <a:pt x="3487" y="855"/>
                    <a:pt x="3485" y="849"/>
                  </a:cubicBezTo>
                  <a:cubicBezTo>
                    <a:pt x="3483" y="843"/>
                    <a:pt x="3476" y="839"/>
                    <a:pt x="3468" y="839"/>
                  </a:cubicBezTo>
                  <a:cubicBezTo>
                    <a:pt x="3468" y="839"/>
                    <a:pt x="3468" y="839"/>
                    <a:pt x="3468" y="839"/>
                  </a:cubicBezTo>
                  <a:moveTo>
                    <a:pt x="3508" y="839"/>
                  </a:moveTo>
                  <a:cubicBezTo>
                    <a:pt x="3500" y="839"/>
                    <a:pt x="3496" y="843"/>
                    <a:pt x="3498" y="849"/>
                  </a:cubicBezTo>
                  <a:cubicBezTo>
                    <a:pt x="3500" y="855"/>
                    <a:pt x="3508" y="859"/>
                    <a:pt x="3515" y="859"/>
                  </a:cubicBezTo>
                  <a:cubicBezTo>
                    <a:pt x="3523" y="859"/>
                    <a:pt x="3528" y="854"/>
                    <a:pt x="3526" y="849"/>
                  </a:cubicBezTo>
                  <a:cubicBezTo>
                    <a:pt x="3524" y="843"/>
                    <a:pt x="3516" y="839"/>
                    <a:pt x="3508" y="839"/>
                  </a:cubicBezTo>
                  <a:cubicBezTo>
                    <a:pt x="3508" y="839"/>
                    <a:pt x="3508" y="839"/>
                    <a:pt x="3508" y="839"/>
                  </a:cubicBezTo>
                  <a:moveTo>
                    <a:pt x="3748" y="838"/>
                  </a:moveTo>
                  <a:cubicBezTo>
                    <a:pt x="3740" y="838"/>
                    <a:pt x="3736" y="842"/>
                    <a:pt x="3739" y="848"/>
                  </a:cubicBezTo>
                  <a:cubicBezTo>
                    <a:pt x="3741" y="854"/>
                    <a:pt x="3749" y="858"/>
                    <a:pt x="3757" y="858"/>
                  </a:cubicBezTo>
                  <a:cubicBezTo>
                    <a:pt x="3765" y="858"/>
                    <a:pt x="3769" y="854"/>
                    <a:pt x="3767" y="848"/>
                  </a:cubicBezTo>
                  <a:cubicBezTo>
                    <a:pt x="3764" y="842"/>
                    <a:pt x="3756" y="838"/>
                    <a:pt x="3748" y="838"/>
                  </a:cubicBezTo>
                  <a:cubicBezTo>
                    <a:pt x="3748" y="838"/>
                    <a:pt x="3748" y="838"/>
                    <a:pt x="3748" y="838"/>
                  </a:cubicBezTo>
                  <a:moveTo>
                    <a:pt x="3708" y="838"/>
                  </a:moveTo>
                  <a:cubicBezTo>
                    <a:pt x="3700" y="838"/>
                    <a:pt x="3696" y="842"/>
                    <a:pt x="3698" y="848"/>
                  </a:cubicBezTo>
                  <a:cubicBezTo>
                    <a:pt x="3701" y="854"/>
                    <a:pt x="3709" y="858"/>
                    <a:pt x="3717" y="858"/>
                  </a:cubicBezTo>
                  <a:cubicBezTo>
                    <a:pt x="3724" y="858"/>
                    <a:pt x="3729" y="854"/>
                    <a:pt x="3726" y="848"/>
                  </a:cubicBezTo>
                  <a:cubicBezTo>
                    <a:pt x="3724" y="842"/>
                    <a:pt x="3716" y="838"/>
                    <a:pt x="3708" y="838"/>
                  </a:cubicBezTo>
                  <a:cubicBezTo>
                    <a:pt x="3708" y="838"/>
                    <a:pt x="3708" y="838"/>
                    <a:pt x="3708" y="838"/>
                  </a:cubicBezTo>
                  <a:moveTo>
                    <a:pt x="3788" y="838"/>
                  </a:moveTo>
                  <a:cubicBezTo>
                    <a:pt x="3780" y="838"/>
                    <a:pt x="3776" y="842"/>
                    <a:pt x="3778" y="848"/>
                  </a:cubicBezTo>
                  <a:cubicBezTo>
                    <a:pt x="3781" y="854"/>
                    <a:pt x="3789" y="858"/>
                    <a:pt x="3797" y="858"/>
                  </a:cubicBezTo>
                  <a:cubicBezTo>
                    <a:pt x="3805" y="858"/>
                    <a:pt x="3809" y="853"/>
                    <a:pt x="3806" y="848"/>
                  </a:cubicBezTo>
                  <a:cubicBezTo>
                    <a:pt x="3804" y="842"/>
                    <a:pt x="3796" y="838"/>
                    <a:pt x="3788" y="838"/>
                  </a:cubicBezTo>
                  <a:cubicBezTo>
                    <a:pt x="3788" y="838"/>
                    <a:pt x="3788" y="838"/>
                    <a:pt x="3788" y="838"/>
                  </a:cubicBezTo>
                  <a:moveTo>
                    <a:pt x="3828" y="837"/>
                  </a:moveTo>
                  <a:cubicBezTo>
                    <a:pt x="3820" y="837"/>
                    <a:pt x="3816" y="842"/>
                    <a:pt x="3819" y="848"/>
                  </a:cubicBezTo>
                  <a:cubicBezTo>
                    <a:pt x="3821" y="853"/>
                    <a:pt x="3830" y="858"/>
                    <a:pt x="3837" y="858"/>
                  </a:cubicBezTo>
                  <a:cubicBezTo>
                    <a:pt x="3845" y="858"/>
                    <a:pt x="3849" y="853"/>
                    <a:pt x="3847" y="848"/>
                  </a:cubicBezTo>
                  <a:cubicBezTo>
                    <a:pt x="3844" y="842"/>
                    <a:pt x="3836" y="837"/>
                    <a:pt x="3828" y="837"/>
                  </a:cubicBezTo>
                  <a:cubicBezTo>
                    <a:pt x="3828" y="837"/>
                    <a:pt x="3828" y="837"/>
                    <a:pt x="3828" y="837"/>
                  </a:cubicBezTo>
                  <a:moveTo>
                    <a:pt x="3870" y="837"/>
                  </a:moveTo>
                  <a:cubicBezTo>
                    <a:pt x="3863" y="837"/>
                    <a:pt x="3859" y="842"/>
                    <a:pt x="3861" y="848"/>
                  </a:cubicBezTo>
                  <a:cubicBezTo>
                    <a:pt x="3864" y="853"/>
                    <a:pt x="3872" y="858"/>
                    <a:pt x="3880" y="858"/>
                  </a:cubicBezTo>
                  <a:cubicBezTo>
                    <a:pt x="3888" y="858"/>
                    <a:pt x="3892" y="853"/>
                    <a:pt x="3889" y="847"/>
                  </a:cubicBezTo>
                  <a:cubicBezTo>
                    <a:pt x="3887" y="842"/>
                    <a:pt x="3878" y="837"/>
                    <a:pt x="3870" y="837"/>
                  </a:cubicBezTo>
                  <a:cubicBezTo>
                    <a:pt x="3870" y="837"/>
                    <a:pt x="3870" y="837"/>
                    <a:pt x="3870" y="837"/>
                  </a:cubicBezTo>
                  <a:moveTo>
                    <a:pt x="86" y="824"/>
                  </a:moveTo>
                  <a:cubicBezTo>
                    <a:pt x="78" y="824"/>
                    <a:pt x="68" y="829"/>
                    <a:pt x="64" y="834"/>
                  </a:cubicBezTo>
                  <a:cubicBezTo>
                    <a:pt x="59" y="840"/>
                    <a:pt x="62" y="844"/>
                    <a:pt x="69" y="844"/>
                  </a:cubicBezTo>
                  <a:cubicBezTo>
                    <a:pt x="77" y="844"/>
                    <a:pt x="87" y="840"/>
                    <a:pt x="92" y="834"/>
                  </a:cubicBezTo>
                  <a:cubicBezTo>
                    <a:pt x="96" y="829"/>
                    <a:pt x="94" y="824"/>
                    <a:pt x="86" y="824"/>
                  </a:cubicBezTo>
                  <a:cubicBezTo>
                    <a:pt x="86" y="824"/>
                    <a:pt x="86" y="824"/>
                    <a:pt x="86" y="824"/>
                  </a:cubicBezTo>
                  <a:moveTo>
                    <a:pt x="125" y="824"/>
                  </a:moveTo>
                  <a:cubicBezTo>
                    <a:pt x="118" y="824"/>
                    <a:pt x="108" y="828"/>
                    <a:pt x="103" y="834"/>
                  </a:cubicBezTo>
                  <a:cubicBezTo>
                    <a:pt x="99" y="840"/>
                    <a:pt x="101" y="844"/>
                    <a:pt x="109" y="844"/>
                  </a:cubicBezTo>
                  <a:cubicBezTo>
                    <a:pt x="117" y="844"/>
                    <a:pt x="127" y="840"/>
                    <a:pt x="131" y="834"/>
                  </a:cubicBezTo>
                  <a:cubicBezTo>
                    <a:pt x="136" y="828"/>
                    <a:pt x="133" y="824"/>
                    <a:pt x="126" y="824"/>
                  </a:cubicBezTo>
                  <a:cubicBezTo>
                    <a:pt x="125" y="824"/>
                    <a:pt x="125" y="824"/>
                    <a:pt x="125" y="824"/>
                  </a:cubicBezTo>
                  <a:moveTo>
                    <a:pt x="165" y="824"/>
                  </a:moveTo>
                  <a:cubicBezTo>
                    <a:pt x="158" y="824"/>
                    <a:pt x="148" y="828"/>
                    <a:pt x="143" y="834"/>
                  </a:cubicBezTo>
                  <a:cubicBezTo>
                    <a:pt x="139" y="839"/>
                    <a:pt x="141" y="844"/>
                    <a:pt x="149" y="844"/>
                  </a:cubicBezTo>
                  <a:cubicBezTo>
                    <a:pt x="157" y="844"/>
                    <a:pt x="167" y="839"/>
                    <a:pt x="171" y="834"/>
                  </a:cubicBezTo>
                  <a:cubicBezTo>
                    <a:pt x="176" y="828"/>
                    <a:pt x="173" y="824"/>
                    <a:pt x="165" y="824"/>
                  </a:cubicBezTo>
                  <a:cubicBezTo>
                    <a:pt x="165" y="824"/>
                    <a:pt x="165" y="824"/>
                    <a:pt x="165" y="824"/>
                  </a:cubicBezTo>
                  <a:moveTo>
                    <a:pt x="206" y="824"/>
                  </a:moveTo>
                  <a:cubicBezTo>
                    <a:pt x="199" y="824"/>
                    <a:pt x="189" y="828"/>
                    <a:pt x="184" y="834"/>
                  </a:cubicBezTo>
                  <a:cubicBezTo>
                    <a:pt x="180" y="839"/>
                    <a:pt x="183" y="844"/>
                    <a:pt x="191" y="844"/>
                  </a:cubicBezTo>
                  <a:cubicBezTo>
                    <a:pt x="198" y="844"/>
                    <a:pt x="208" y="839"/>
                    <a:pt x="212" y="834"/>
                  </a:cubicBezTo>
                  <a:cubicBezTo>
                    <a:pt x="217" y="828"/>
                    <a:pt x="214" y="824"/>
                    <a:pt x="206" y="824"/>
                  </a:cubicBezTo>
                  <a:cubicBezTo>
                    <a:pt x="206" y="824"/>
                    <a:pt x="206" y="824"/>
                    <a:pt x="206" y="824"/>
                  </a:cubicBezTo>
                  <a:moveTo>
                    <a:pt x="399" y="823"/>
                  </a:moveTo>
                  <a:cubicBezTo>
                    <a:pt x="391" y="823"/>
                    <a:pt x="382" y="827"/>
                    <a:pt x="377" y="833"/>
                  </a:cubicBezTo>
                  <a:cubicBezTo>
                    <a:pt x="373" y="838"/>
                    <a:pt x="376" y="843"/>
                    <a:pt x="384" y="843"/>
                  </a:cubicBezTo>
                  <a:cubicBezTo>
                    <a:pt x="392" y="843"/>
                    <a:pt x="401" y="838"/>
                    <a:pt x="405" y="833"/>
                  </a:cubicBezTo>
                  <a:cubicBezTo>
                    <a:pt x="409" y="827"/>
                    <a:pt x="406" y="823"/>
                    <a:pt x="399" y="823"/>
                  </a:cubicBezTo>
                  <a:cubicBezTo>
                    <a:pt x="399" y="823"/>
                    <a:pt x="399" y="823"/>
                    <a:pt x="399" y="823"/>
                  </a:cubicBezTo>
                  <a:moveTo>
                    <a:pt x="564" y="821"/>
                  </a:moveTo>
                  <a:cubicBezTo>
                    <a:pt x="556" y="821"/>
                    <a:pt x="547" y="826"/>
                    <a:pt x="543" y="831"/>
                  </a:cubicBezTo>
                  <a:cubicBezTo>
                    <a:pt x="539" y="837"/>
                    <a:pt x="543" y="841"/>
                    <a:pt x="550" y="841"/>
                  </a:cubicBezTo>
                  <a:cubicBezTo>
                    <a:pt x="558" y="841"/>
                    <a:pt x="567" y="837"/>
                    <a:pt x="571" y="831"/>
                  </a:cubicBezTo>
                  <a:cubicBezTo>
                    <a:pt x="575" y="826"/>
                    <a:pt x="571" y="821"/>
                    <a:pt x="564" y="821"/>
                  </a:cubicBezTo>
                  <a:cubicBezTo>
                    <a:pt x="564" y="821"/>
                    <a:pt x="564" y="821"/>
                    <a:pt x="564" y="821"/>
                  </a:cubicBezTo>
                  <a:moveTo>
                    <a:pt x="602" y="821"/>
                  </a:moveTo>
                  <a:cubicBezTo>
                    <a:pt x="595" y="821"/>
                    <a:pt x="585" y="826"/>
                    <a:pt x="582" y="831"/>
                  </a:cubicBezTo>
                  <a:cubicBezTo>
                    <a:pt x="578" y="837"/>
                    <a:pt x="581" y="841"/>
                    <a:pt x="589" y="841"/>
                  </a:cubicBezTo>
                  <a:cubicBezTo>
                    <a:pt x="597" y="841"/>
                    <a:pt x="606" y="837"/>
                    <a:pt x="610" y="831"/>
                  </a:cubicBezTo>
                  <a:cubicBezTo>
                    <a:pt x="613" y="825"/>
                    <a:pt x="610" y="821"/>
                    <a:pt x="602" y="821"/>
                  </a:cubicBezTo>
                  <a:cubicBezTo>
                    <a:pt x="602" y="821"/>
                    <a:pt x="602" y="821"/>
                    <a:pt x="602" y="821"/>
                  </a:cubicBezTo>
                  <a:moveTo>
                    <a:pt x="1716" y="817"/>
                  </a:moveTo>
                  <a:cubicBezTo>
                    <a:pt x="1708" y="817"/>
                    <a:pt x="1701" y="821"/>
                    <a:pt x="1699" y="827"/>
                  </a:cubicBezTo>
                  <a:cubicBezTo>
                    <a:pt x="1698" y="832"/>
                    <a:pt x="1703" y="837"/>
                    <a:pt x="1711" y="837"/>
                  </a:cubicBezTo>
                  <a:cubicBezTo>
                    <a:pt x="1718" y="837"/>
                    <a:pt x="1726" y="832"/>
                    <a:pt x="1727" y="827"/>
                  </a:cubicBezTo>
                  <a:cubicBezTo>
                    <a:pt x="1729" y="821"/>
                    <a:pt x="1724" y="817"/>
                    <a:pt x="1716" y="817"/>
                  </a:cubicBezTo>
                  <a:cubicBezTo>
                    <a:pt x="1716" y="817"/>
                    <a:pt x="1716" y="817"/>
                    <a:pt x="1716" y="817"/>
                  </a:cubicBezTo>
                  <a:moveTo>
                    <a:pt x="1753" y="816"/>
                  </a:moveTo>
                  <a:cubicBezTo>
                    <a:pt x="1746" y="816"/>
                    <a:pt x="1738" y="821"/>
                    <a:pt x="1737" y="827"/>
                  </a:cubicBezTo>
                  <a:cubicBezTo>
                    <a:pt x="1735" y="832"/>
                    <a:pt x="1740" y="837"/>
                    <a:pt x="1748" y="837"/>
                  </a:cubicBezTo>
                  <a:cubicBezTo>
                    <a:pt x="1756" y="837"/>
                    <a:pt x="1763" y="832"/>
                    <a:pt x="1765" y="827"/>
                  </a:cubicBezTo>
                  <a:cubicBezTo>
                    <a:pt x="1766" y="821"/>
                    <a:pt x="1761" y="816"/>
                    <a:pt x="1753" y="816"/>
                  </a:cubicBezTo>
                  <a:cubicBezTo>
                    <a:pt x="1753" y="816"/>
                    <a:pt x="1753" y="816"/>
                    <a:pt x="1753" y="816"/>
                  </a:cubicBezTo>
                  <a:moveTo>
                    <a:pt x="1793" y="816"/>
                  </a:moveTo>
                  <a:cubicBezTo>
                    <a:pt x="1785" y="816"/>
                    <a:pt x="1778" y="821"/>
                    <a:pt x="1776" y="827"/>
                  </a:cubicBezTo>
                  <a:cubicBezTo>
                    <a:pt x="1775" y="832"/>
                    <a:pt x="1780" y="837"/>
                    <a:pt x="1788" y="837"/>
                  </a:cubicBezTo>
                  <a:cubicBezTo>
                    <a:pt x="1796" y="837"/>
                    <a:pt x="1803" y="832"/>
                    <a:pt x="1804" y="826"/>
                  </a:cubicBezTo>
                  <a:cubicBezTo>
                    <a:pt x="1806" y="821"/>
                    <a:pt x="1800" y="816"/>
                    <a:pt x="1793" y="816"/>
                  </a:cubicBezTo>
                  <a:cubicBezTo>
                    <a:pt x="1793" y="816"/>
                    <a:pt x="1793" y="816"/>
                    <a:pt x="1793" y="816"/>
                  </a:cubicBezTo>
                  <a:moveTo>
                    <a:pt x="1833" y="816"/>
                  </a:moveTo>
                  <a:cubicBezTo>
                    <a:pt x="1825" y="816"/>
                    <a:pt x="1818" y="821"/>
                    <a:pt x="1816" y="826"/>
                  </a:cubicBezTo>
                  <a:cubicBezTo>
                    <a:pt x="1815" y="832"/>
                    <a:pt x="1820" y="837"/>
                    <a:pt x="1828" y="836"/>
                  </a:cubicBezTo>
                  <a:cubicBezTo>
                    <a:pt x="1836" y="836"/>
                    <a:pt x="1843" y="832"/>
                    <a:pt x="1844" y="826"/>
                  </a:cubicBezTo>
                  <a:cubicBezTo>
                    <a:pt x="1845" y="821"/>
                    <a:pt x="1840" y="816"/>
                    <a:pt x="1833" y="816"/>
                  </a:cubicBezTo>
                  <a:cubicBezTo>
                    <a:pt x="1833" y="816"/>
                    <a:pt x="1833" y="816"/>
                    <a:pt x="1833" y="816"/>
                  </a:cubicBezTo>
                  <a:moveTo>
                    <a:pt x="1873" y="816"/>
                  </a:moveTo>
                  <a:cubicBezTo>
                    <a:pt x="1865" y="816"/>
                    <a:pt x="1858" y="821"/>
                    <a:pt x="1857" y="826"/>
                  </a:cubicBezTo>
                  <a:cubicBezTo>
                    <a:pt x="1855" y="832"/>
                    <a:pt x="1861" y="836"/>
                    <a:pt x="1868" y="836"/>
                  </a:cubicBezTo>
                  <a:cubicBezTo>
                    <a:pt x="1876" y="836"/>
                    <a:pt x="1883" y="832"/>
                    <a:pt x="1884" y="826"/>
                  </a:cubicBezTo>
                  <a:cubicBezTo>
                    <a:pt x="1886" y="820"/>
                    <a:pt x="1880" y="816"/>
                    <a:pt x="1873" y="816"/>
                  </a:cubicBezTo>
                  <a:cubicBezTo>
                    <a:pt x="1873" y="816"/>
                    <a:pt x="1873" y="816"/>
                    <a:pt x="1873" y="816"/>
                  </a:cubicBezTo>
                  <a:moveTo>
                    <a:pt x="1912" y="816"/>
                  </a:moveTo>
                  <a:cubicBezTo>
                    <a:pt x="1904" y="816"/>
                    <a:pt x="1897" y="820"/>
                    <a:pt x="1896" y="826"/>
                  </a:cubicBezTo>
                  <a:cubicBezTo>
                    <a:pt x="1895" y="832"/>
                    <a:pt x="1900" y="836"/>
                    <a:pt x="1908" y="836"/>
                  </a:cubicBezTo>
                  <a:cubicBezTo>
                    <a:pt x="1916" y="836"/>
                    <a:pt x="1923" y="831"/>
                    <a:pt x="1924" y="826"/>
                  </a:cubicBezTo>
                  <a:cubicBezTo>
                    <a:pt x="1925" y="820"/>
                    <a:pt x="1920" y="816"/>
                    <a:pt x="1912" y="816"/>
                  </a:cubicBezTo>
                  <a:cubicBezTo>
                    <a:pt x="1912" y="816"/>
                    <a:pt x="1912" y="816"/>
                    <a:pt x="1912" y="816"/>
                  </a:cubicBezTo>
                  <a:moveTo>
                    <a:pt x="1952" y="816"/>
                  </a:moveTo>
                  <a:cubicBezTo>
                    <a:pt x="1944" y="816"/>
                    <a:pt x="1937" y="820"/>
                    <a:pt x="1936" y="826"/>
                  </a:cubicBezTo>
                  <a:cubicBezTo>
                    <a:pt x="1935" y="831"/>
                    <a:pt x="1940" y="836"/>
                    <a:pt x="1948" y="836"/>
                  </a:cubicBezTo>
                  <a:cubicBezTo>
                    <a:pt x="1956" y="836"/>
                    <a:pt x="1963" y="831"/>
                    <a:pt x="1964" y="826"/>
                  </a:cubicBezTo>
                  <a:cubicBezTo>
                    <a:pt x="1965" y="820"/>
                    <a:pt x="1959" y="816"/>
                    <a:pt x="1952" y="816"/>
                  </a:cubicBezTo>
                  <a:cubicBezTo>
                    <a:pt x="1952" y="816"/>
                    <a:pt x="1952" y="816"/>
                    <a:pt x="1952" y="816"/>
                  </a:cubicBezTo>
                  <a:moveTo>
                    <a:pt x="1991" y="815"/>
                  </a:moveTo>
                  <a:cubicBezTo>
                    <a:pt x="1983" y="815"/>
                    <a:pt x="1976" y="820"/>
                    <a:pt x="1976" y="826"/>
                  </a:cubicBezTo>
                  <a:cubicBezTo>
                    <a:pt x="1975" y="831"/>
                    <a:pt x="1980" y="836"/>
                    <a:pt x="1988" y="836"/>
                  </a:cubicBezTo>
                  <a:cubicBezTo>
                    <a:pt x="1995" y="836"/>
                    <a:pt x="2002" y="831"/>
                    <a:pt x="2003" y="825"/>
                  </a:cubicBezTo>
                  <a:cubicBezTo>
                    <a:pt x="2004" y="820"/>
                    <a:pt x="1999" y="815"/>
                    <a:pt x="1991" y="815"/>
                  </a:cubicBezTo>
                  <a:cubicBezTo>
                    <a:pt x="1991" y="815"/>
                    <a:pt x="1991" y="815"/>
                    <a:pt x="1991" y="815"/>
                  </a:cubicBezTo>
                  <a:moveTo>
                    <a:pt x="2031" y="815"/>
                  </a:moveTo>
                  <a:cubicBezTo>
                    <a:pt x="2023" y="815"/>
                    <a:pt x="2016" y="820"/>
                    <a:pt x="2015" y="825"/>
                  </a:cubicBezTo>
                  <a:cubicBezTo>
                    <a:pt x="2015" y="831"/>
                    <a:pt x="2020" y="836"/>
                    <a:pt x="2028" y="836"/>
                  </a:cubicBezTo>
                  <a:cubicBezTo>
                    <a:pt x="2036" y="836"/>
                    <a:pt x="2042" y="831"/>
                    <a:pt x="2043" y="825"/>
                  </a:cubicBezTo>
                  <a:cubicBezTo>
                    <a:pt x="2044" y="820"/>
                    <a:pt x="2039" y="815"/>
                    <a:pt x="2031" y="815"/>
                  </a:cubicBezTo>
                  <a:cubicBezTo>
                    <a:pt x="2031" y="815"/>
                    <a:pt x="2031" y="815"/>
                    <a:pt x="2031" y="815"/>
                  </a:cubicBezTo>
                  <a:moveTo>
                    <a:pt x="2072" y="815"/>
                  </a:moveTo>
                  <a:cubicBezTo>
                    <a:pt x="2064" y="815"/>
                    <a:pt x="2057" y="820"/>
                    <a:pt x="2057" y="825"/>
                  </a:cubicBezTo>
                  <a:cubicBezTo>
                    <a:pt x="2056" y="831"/>
                    <a:pt x="2061" y="835"/>
                    <a:pt x="2069" y="835"/>
                  </a:cubicBezTo>
                  <a:cubicBezTo>
                    <a:pt x="2077" y="835"/>
                    <a:pt x="2084" y="831"/>
                    <a:pt x="2084" y="825"/>
                  </a:cubicBezTo>
                  <a:cubicBezTo>
                    <a:pt x="2085" y="820"/>
                    <a:pt x="2080" y="815"/>
                    <a:pt x="2072" y="815"/>
                  </a:cubicBezTo>
                  <a:cubicBezTo>
                    <a:pt x="2072" y="815"/>
                    <a:pt x="2072" y="815"/>
                    <a:pt x="2072" y="815"/>
                  </a:cubicBezTo>
                  <a:moveTo>
                    <a:pt x="2111" y="815"/>
                  </a:moveTo>
                  <a:cubicBezTo>
                    <a:pt x="2104" y="815"/>
                    <a:pt x="2097" y="819"/>
                    <a:pt x="2096" y="825"/>
                  </a:cubicBezTo>
                  <a:cubicBezTo>
                    <a:pt x="2095" y="831"/>
                    <a:pt x="2101" y="835"/>
                    <a:pt x="2109" y="835"/>
                  </a:cubicBezTo>
                  <a:cubicBezTo>
                    <a:pt x="2116" y="835"/>
                    <a:pt x="2123" y="831"/>
                    <a:pt x="2124" y="825"/>
                  </a:cubicBezTo>
                  <a:cubicBezTo>
                    <a:pt x="2125" y="819"/>
                    <a:pt x="2119" y="815"/>
                    <a:pt x="2111" y="815"/>
                  </a:cubicBezTo>
                  <a:cubicBezTo>
                    <a:pt x="2111" y="815"/>
                    <a:pt x="2111" y="815"/>
                    <a:pt x="2111" y="815"/>
                  </a:cubicBezTo>
                  <a:moveTo>
                    <a:pt x="2151" y="815"/>
                  </a:moveTo>
                  <a:cubicBezTo>
                    <a:pt x="2143" y="815"/>
                    <a:pt x="2137" y="819"/>
                    <a:pt x="2136" y="825"/>
                  </a:cubicBezTo>
                  <a:cubicBezTo>
                    <a:pt x="2135" y="831"/>
                    <a:pt x="2141" y="835"/>
                    <a:pt x="2149" y="835"/>
                  </a:cubicBezTo>
                  <a:cubicBezTo>
                    <a:pt x="2156" y="835"/>
                    <a:pt x="2163" y="830"/>
                    <a:pt x="2164" y="825"/>
                  </a:cubicBezTo>
                  <a:cubicBezTo>
                    <a:pt x="2164" y="819"/>
                    <a:pt x="2159" y="815"/>
                    <a:pt x="2151" y="815"/>
                  </a:cubicBezTo>
                  <a:cubicBezTo>
                    <a:pt x="2151" y="815"/>
                    <a:pt x="2151" y="815"/>
                    <a:pt x="2151" y="815"/>
                  </a:cubicBezTo>
                  <a:moveTo>
                    <a:pt x="2191" y="814"/>
                  </a:moveTo>
                  <a:cubicBezTo>
                    <a:pt x="2183" y="814"/>
                    <a:pt x="2177" y="819"/>
                    <a:pt x="2176" y="825"/>
                  </a:cubicBezTo>
                  <a:cubicBezTo>
                    <a:pt x="2176" y="830"/>
                    <a:pt x="2181" y="835"/>
                    <a:pt x="2189" y="835"/>
                  </a:cubicBezTo>
                  <a:cubicBezTo>
                    <a:pt x="2197" y="835"/>
                    <a:pt x="2204" y="830"/>
                    <a:pt x="2204" y="825"/>
                  </a:cubicBezTo>
                  <a:cubicBezTo>
                    <a:pt x="2205" y="819"/>
                    <a:pt x="2199" y="814"/>
                    <a:pt x="2191" y="814"/>
                  </a:cubicBezTo>
                  <a:cubicBezTo>
                    <a:pt x="2191" y="814"/>
                    <a:pt x="2191" y="814"/>
                    <a:pt x="2191" y="814"/>
                  </a:cubicBezTo>
                  <a:moveTo>
                    <a:pt x="2231" y="814"/>
                  </a:moveTo>
                  <a:cubicBezTo>
                    <a:pt x="2223" y="814"/>
                    <a:pt x="2216" y="819"/>
                    <a:pt x="2216" y="825"/>
                  </a:cubicBezTo>
                  <a:cubicBezTo>
                    <a:pt x="2215" y="830"/>
                    <a:pt x="2221" y="835"/>
                    <a:pt x="2229" y="835"/>
                  </a:cubicBezTo>
                  <a:cubicBezTo>
                    <a:pt x="2236" y="835"/>
                    <a:pt x="2243" y="830"/>
                    <a:pt x="2244" y="824"/>
                  </a:cubicBezTo>
                  <a:cubicBezTo>
                    <a:pt x="2244" y="819"/>
                    <a:pt x="2238" y="814"/>
                    <a:pt x="2231" y="814"/>
                  </a:cubicBezTo>
                  <a:cubicBezTo>
                    <a:pt x="2231" y="814"/>
                    <a:pt x="2231" y="814"/>
                    <a:pt x="2231" y="814"/>
                  </a:cubicBezTo>
                  <a:moveTo>
                    <a:pt x="2270" y="814"/>
                  </a:moveTo>
                  <a:cubicBezTo>
                    <a:pt x="2263" y="814"/>
                    <a:pt x="2256" y="819"/>
                    <a:pt x="2256" y="824"/>
                  </a:cubicBezTo>
                  <a:cubicBezTo>
                    <a:pt x="2255" y="830"/>
                    <a:pt x="2261" y="835"/>
                    <a:pt x="2269" y="834"/>
                  </a:cubicBezTo>
                  <a:cubicBezTo>
                    <a:pt x="2276" y="834"/>
                    <a:pt x="2283" y="830"/>
                    <a:pt x="2283" y="824"/>
                  </a:cubicBezTo>
                  <a:cubicBezTo>
                    <a:pt x="2284" y="819"/>
                    <a:pt x="2278" y="814"/>
                    <a:pt x="2270" y="814"/>
                  </a:cubicBezTo>
                  <a:cubicBezTo>
                    <a:pt x="2270" y="814"/>
                    <a:pt x="2270" y="814"/>
                    <a:pt x="2270" y="814"/>
                  </a:cubicBezTo>
                  <a:moveTo>
                    <a:pt x="2310" y="814"/>
                  </a:moveTo>
                  <a:cubicBezTo>
                    <a:pt x="2302" y="814"/>
                    <a:pt x="2295" y="819"/>
                    <a:pt x="2295" y="824"/>
                  </a:cubicBezTo>
                  <a:cubicBezTo>
                    <a:pt x="2295" y="830"/>
                    <a:pt x="2301" y="834"/>
                    <a:pt x="2308" y="834"/>
                  </a:cubicBezTo>
                  <a:cubicBezTo>
                    <a:pt x="2316" y="834"/>
                    <a:pt x="2323" y="830"/>
                    <a:pt x="2323" y="824"/>
                  </a:cubicBezTo>
                  <a:cubicBezTo>
                    <a:pt x="2323" y="818"/>
                    <a:pt x="2317" y="814"/>
                    <a:pt x="2310" y="814"/>
                  </a:cubicBezTo>
                  <a:cubicBezTo>
                    <a:pt x="2310" y="814"/>
                    <a:pt x="2310" y="814"/>
                    <a:pt x="2310" y="814"/>
                  </a:cubicBezTo>
                  <a:moveTo>
                    <a:pt x="2349" y="814"/>
                  </a:moveTo>
                  <a:cubicBezTo>
                    <a:pt x="2342" y="814"/>
                    <a:pt x="2335" y="818"/>
                    <a:pt x="2335" y="824"/>
                  </a:cubicBezTo>
                  <a:cubicBezTo>
                    <a:pt x="2335" y="830"/>
                    <a:pt x="2341" y="834"/>
                    <a:pt x="2348" y="834"/>
                  </a:cubicBezTo>
                  <a:cubicBezTo>
                    <a:pt x="2356" y="834"/>
                    <a:pt x="2363" y="829"/>
                    <a:pt x="2363" y="824"/>
                  </a:cubicBezTo>
                  <a:cubicBezTo>
                    <a:pt x="2363" y="818"/>
                    <a:pt x="2357" y="814"/>
                    <a:pt x="2349" y="814"/>
                  </a:cubicBezTo>
                  <a:cubicBezTo>
                    <a:pt x="2349" y="814"/>
                    <a:pt x="2349" y="814"/>
                    <a:pt x="2349" y="814"/>
                  </a:cubicBezTo>
                  <a:moveTo>
                    <a:pt x="2389" y="814"/>
                  </a:moveTo>
                  <a:cubicBezTo>
                    <a:pt x="2382" y="814"/>
                    <a:pt x="2375" y="818"/>
                    <a:pt x="2375" y="824"/>
                  </a:cubicBezTo>
                  <a:cubicBezTo>
                    <a:pt x="2375" y="829"/>
                    <a:pt x="2381" y="834"/>
                    <a:pt x="2389" y="834"/>
                  </a:cubicBezTo>
                  <a:cubicBezTo>
                    <a:pt x="2397" y="834"/>
                    <a:pt x="2403" y="829"/>
                    <a:pt x="2403" y="824"/>
                  </a:cubicBezTo>
                  <a:cubicBezTo>
                    <a:pt x="2403" y="818"/>
                    <a:pt x="2397" y="814"/>
                    <a:pt x="2390" y="814"/>
                  </a:cubicBezTo>
                  <a:cubicBezTo>
                    <a:pt x="2389" y="814"/>
                    <a:pt x="2389" y="814"/>
                    <a:pt x="2389" y="814"/>
                  </a:cubicBezTo>
                  <a:moveTo>
                    <a:pt x="2429" y="813"/>
                  </a:moveTo>
                  <a:cubicBezTo>
                    <a:pt x="2421" y="813"/>
                    <a:pt x="2415" y="818"/>
                    <a:pt x="2415" y="824"/>
                  </a:cubicBezTo>
                  <a:cubicBezTo>
                    <a:pt x="2415" y="829"/>
                    <a:pt x="2421" y="834"/>
                    <a:pt x="2428" y="834"/>
                  </a:cubicBezTo>
                  <a:cubicBezTo>
                    <a:pt x="2436" y="834"/>
                    <a:pt x="2443" y="829"/>
                    <a:pt x="2443" y="823"/>
                  </a:cubicBezTo>
                  <a:cubicBezTo>
                    <a:pt x="2443" y="818"/>
                    <a:pt x="2437" y="813"/>
                    <a:pt x="2429" y="813"/>
                  </a:cubicBezTo>
                  <a:cubicBezTo>
                    <a:pt x="2429" y="813"/>
                    <a:pt x="2429" y="813"/>
                    <a:pt x="2429" y="813"/>
                  </a:cubicBezTo>
                  <a:moveTo>
                    <a:pt x="2468" y="813"/>
                  </a:moveTo>
                  <a:cubicBezTo>
                    <a:pt x="2461" y="813"/>
                    <a:pt x="2455" y="818"/>
                    <a:pt x="2454" y="823"/>
                  </a:cubicBezTo>
                  <a:cubicBezTo>
                    <a:pt x="2454" y="829"/>
                    <a:pt x="2461" y="834"/>
                    <a:pt x="2468" y="834"/>
                  </a:cubicBezTo>
                  <a:cubicBezTo>
                    <a:pt x="2476" y="834"/>
                    <a:pt x="2482" y="829"/>
                    <a:pt x="2482" y="823"/>
                  </a:cubicBezTo>
                  <a:cubicBezTo>
                    <a:pt x="2482" y="818"/>
                    <a:pt x="2476" y="813"/>
                    <a:pt x="2469" y="813"/>
                  </a:cubicBezTo>
                  <a:cubicBezTo>
                    <a:pt x="2469" y="813"/>
                    <a:pt x="2469" y="813"/>
                    <a:pt x="2468" y="813"/>
                  </a:cubicBezTo>
                  <a:moveTo>
                    <a:pt x="2508" y="813"/>
                  </a:moveTo>
                  <a:cubicBezTo>
                    <a:pt x="2500" y="813"/>
                    <a:pt x="2494" y="818"/>
                    <a:pt x="2494" y="823"/>
                  </a:cubicBezTo>
                  <a:cubicBezTo>
                    <a:pt x="2494" y="829"/>
                    <a:pt x="2500" y="833"/>
                    <a:pt x="2508" y="833"/>
                  </a:cubicBezTo>
                  <a:cubicBezTo>
                    <a:pt x="2516" y="833"/>
                    <a:pt x="2522" y="829"/>
                    <a:pt x="2522" y="823"/>
                  </a:cubicBezTo>
                  <a:cubicBezTo>
                    <a:pt x="2522" y="817"/>
                    <a:pt x="2516" y="813"/>
                    <a:pt x="2508" y="813"/>
                  </a:cubicBezTo>
                  <a:cubicBezTo>
                    <a:pt x="2508" y="813"/>
                    <a:pt x="2508" y="813"/>
                    <a:pt x="2508" y="813"/>
                  </a:cubicBezTo>
                  <a:moveTo>
                    <a:pt x="2826" y="813"/>
                  </a:moveTo>
                  <a:cubicBezTo>
                    <a:pt x="2818" y="813"/>
                    <a:pt x="2812" y="818"/>
                    <a:pt x="2813" y="823"/>
                  </a:cubicBezTo>
                  <a:cubicBezTo>
                    <a:pt x="2813" y="829"/>
                    <a:pt x="2820" y="833"/>
                    <a:pt x="2828" y="833"/>
                  </a:cubicBezTo>
                  <a:cubicBezTo>
                    <a:pt x="2836" y="833"/>
                    <a:pt x="2841" y="829"/>
                    <a:pt x="2841" y="823"/>
                  </a:cubicBezTo>
                  <a:cubicBezTo>
                    <a:pt x="2840" y="817"/>
                    <a:pt x="2833" y="813"/>
                    <a:pt x="2826" y="813"/>
                  </a:cubicBezTo>
                  <a:cubicBezTo>
                    <a:pt x="2826" y="813"/>
                    <a:pt x="2826" y="813"/>
                    <a:pt x="2826" y="813"/>
                  </a:cubicBezTo>
                  <a:moveTo>
                    <a:pt x="2548" y="813"/>
                  </a:moveTo>
                  <a:cubicBezTo>
                    <a:pt x="2540" y="813"/>
                    <a:pt x="2534" y="817"/>
                    <a:pt x="2534" y="823"/>
                  </a:cubicBezTo>
                  <a:cubicBezTo>
                    <a:pt x="2534" y="829"/>
                    <a:pt x="2540" y="833"/>
                    <a:pt x="2548" y="833"/>
                  </a:cubicBezTo>
                  <a:cubicBezTo>
                    <a:pt x="2556" y="833"/>
                    <a:pt x="2562" y="829"/>
                    <a:pt x="2562" y="823"/>
                  </a:cubicBezTo>
                  <a:cubicBezTo>
                    <a:pt x="2562" y="817"/>
                    <a:pt x="2555" y="813"/>
                    <a:pt x="2548" y="813"/>
                  </a:cubicBezTo>
                  <a:cubicBezTo>
                    <a:pt x="2548" y="813"/>
                    <a:pt x="2548" y="813"/>
                    <a:pt x="2548" y="813"/>
                  </a:cubicBezTo>
                  <a:moveTo>
                    <a:pt x="2588" y="813"/>
                  </a:moveTo>
                  <a:cubicBezTo>
                    <a:pt x="2580" y="813"/>
                    <a:pt x="2574" y="817"/>
                    <a:pt x="2574" y="823"/>
                  </a:cubicBezTo>
                  <a:cubicBezTo>
                    <a:pt x="2574" y="829"/>
                    <a:pt x="2581" y="833"/>
                    <a:pt x="2588" y="833"/>
                  </a:cubicBezTo>
                  <a:cubicBezTo>
                    <a:pt x="2596" y="833"/>
                    <a:pt x="2602" y="828"/>
                    <a:pt x="2602" y="823"/>
                  </a:cubicBezTo>
                  <a:cubicBezTo>
                    <a:pt x="2602" y="817"/>
                    <a:pt x="2595" y="813"/>
                    <a:pt x="2588" y="813"/>
                  </a:cubicBezTo>
                  <a:cubicBezTo>
                    <a:pt x="2588" y="813"/>
                    <a:pt x="2588" y="813"/>
                    <a:pt x="2588" y="813"/>
                  </a:cubicBezTo>
                  <a:moveTo>
                    <a:pt x="2904" y="813"/>
                  </a:moveTo>
                  <a:cubicBezTo>
                    <a:pt x="2897" y="813"/>
                    <a:pt x="2891" y="817"/>
                    <a:pt x="2892" y="823"/>
                  </a:cubicBezTo>
                  <a:cubicBezTo>
                    <a:pt x="2893" y="829"/>
                    <a:pt x="2900" y="833"/>
                    <a:pt x="2907" y="833"/>
                  </a:cubicBezTo>
                  <a:cubicBezTo>
                    <a:pt x="2915" y="833"/>
                    <a:pt x="2921" y="828"/>
                    <a:pt x="2920" y="823"/>
                  </a:cubicBezTo>
                  <a:cubicBezTo>
                    <a:pt x="2919" y="817"/>
                    <a:pt x="2912" y="813"/>
                    <a:pt x="2905" y="813"/>
                  </a:cubicBezTo>
                  <a:cubicBezTo>
                    <a:pt x="2905" y="813"/>
                    <a:pt x="2904" y="813"/>
                    <a:pt x="2904" y="813"/>
                  </a:cubicBezTo>
                  <a:moveTo>
                    <a:pt x="2863" y="813"/>
                  </a:moveTo>
                  <a:cubicBezTo>
                    <a:pt x="2855" y="813"/>
                    <a:pt x="2850" y="817"/>
                    <a:pt x="2850" y="823"/>
                  </a:cubicBezTo>
                  <a:cubicBezTo>
                    <a:pt x="2851" y="828"/>
                    <a:pt x="2858" y="833"/>
                    <a:pt x="2865" y="833"/>
                  </a:cubicBezTo>
                  <a:cubicBezTo>
                    <a:pt x="2873" y="833"/>
                    <a:pt x="2879" y="828"/>
                    <a:pt x="2878" y="823"/>
                  </a:cubicBezTo>
                  <a:cubicBezTo>
                    <a:pt x="2877" y="817"/>
                    <a:pt x="2871" y="813"/>
                    <a:pt x="2863" y="813"/>
                  </a:cubicBezTo>
                  <a:cubicBezTo>
                    <a:pt x="2863" y="813"/>
                    <a:pt x="2863" y="813"/>
                    <a:pt x="2863" y="813"/>
                  </a:cubicBezTo>
                  <a:moveTo>
                    <a:pt x="2627" y="812"/>
                  </a:moveTo>
                  <a:cubicBezTo>
                    <a:pt x="2619" y="812"/>
                    <a:pt x="2613" y="817"/>
                    <a:pt x="2614" y="823"/>
                  </a:cubicBezTo>
                  <a:cubicBezTo>
                    <a:pt x="2614" y="828"/>
                    <a:pt x="2620" y="833"/>
                    <a:pt x="2628" y="833"/>
                  </a:cubicBezTo>
                  <a:cubicBezTo>
                    <a:pt x="2636" y="833"/>
                    <a:pt x="2642" y="828"/>
                    <a:pt x="2641" y="823"/>
                  </a:cubicBezTo>
                  <a:cubicBezTo>
                    <a:pt x="2641" y="817"/>
                    <a:pt x="2635" y="812"/>
                    <a:pt x="2627" y="812"/>
                  </a:cubicBezTo>
                  <a:cubicBezTo>
                    <a:pt x="2627" y="812"/>
                    <a:pt x="2627" y="812"/>
                    <a:pt x="2627" y="812"/>
                  </a:cubicBezTo>
                  <a:moveTo>
                    <a:pt x="2985" y="812"/>
                  </a:moveTo>
                  <a:cubicBezTo>
                    <a:pt x="2977" y="812"/>
                    <a:pt x="2972" y="817"/>
                    <a:pt x="2973" y="823"/>
                  </a:cubicBezTo>
                  <a:cubicBezTo>
                    <a:pt x="2974" y="828"/>
                    <a:pt x="2981" y="833"/>
                    <a:pt x="2989" y="833"/>
                  </a:cubicBezTo>
                  <a:cubicBezTo>
                    <a:pt x="2996" y="833"/>
                    <a:pt x="3002" y="828"/>
                    <a:pt x="3001" y="822"/>
                  </a:cubicBezTo>
                  <a:cubicBezTo>
                    <a:pt x="3000" y="817"/>
                    <a:pt x="2993" y="812"/>
                    <a:pt x="2985" y="812"/>
                  </a:cubicBezTo>
                  <a:cubicBezTo>
                    <a:pt x="2985" y="812"/>
                    <a:pt x="2985" y="812"/>
                    <a:pt x="2985" y="812"/>
                  </a:cubicBezTo>
                  <a:moveTo>
                    <a:pt x="2942" y="812"/>
                  </a:moveTo>
                  <a:cubicBezTo>
                    <a:pt x="2934" y="812"/>
                    <a:pt x="2929" y="817"/>
                    <a:pt x="2929" y="822"/>
                  </a:cubicBezTo>
                  <a:cubicBezTo>
                    <a:pt x="2930" y="828"/>
                    <a:pt x="2937" y="833"/>
                    <a:pt x="2945" y="833"/>
                  </a:cubicBezTo>
                  <a:cubicBezTo>
                    <a:pt x="2953" y="833"/>
                    <a:pt x="2958" y="828"/>
                    <a:pt x="2957" y="822"/>
                  </a:cubicBezTo>
                  <a:cubicBezTo>
                    <a:pt x="2956" y="817"/>
                    <a:pt x="2949" y="812"/>
                    <a:pt x="2942" y="812"/>
                  </a:cubicBezTo>
                  <a:cubicBezTo>
                    <a:pt x="2942" y="812"/>
                    <a:pt x="2942" y="812"/>
                    <a:pt x="2942" y="812"/>
                  </a:cubicBezTo>
                  <a:moveTo>
                    <a:pt x="3022" y="812"/>
                  </a:moveTo>
                  <a:cubicBezTo>
                    <a:pt x="3015" y="812"/>
                    <a:pt x="3009" y="816"/>
                    <a:pt x="3010" y="822"/>
                  </a:cubicBezTo>
                  <a:cubicBezTo>
                    <a:pt x="3011" y="828"/>
                    <a:pt x="3018" y="832"/>
                    <a:pt x="3026" y="832"/>
                  </a:cubicBezTo>
                  <a:cubicBezTo>
                    <a:pt x="3034" y="832"/>
                    <a:pt x="3039" y="828"/>
                    <a:pt x="3038" y="822"/>
                  </a:cubicBezTo>
                  <a:cubicBezTo>
                    <a:pt x="3037" y="816"/>
                    <a:pt x="3030" y="812"/>
                    <a:pt x="3022" y="812"/>
                  </a:cubicBezTo>
                  <a:cubicBezTo>
                    <a:pt x="3022" y="812"/>
                    <a:pt x="3022" y="812"/>
                    <a:pt x="3022" y="812"/>
                  </a:cubicBezTo>
                  <a:moveTo>
                    <a:pt x="2707" y="810"/>
                  </a:moveTo>
                  <a:cubicBezTo>
                    <a:pt x="2699" y="810"/>
                    <a:pt x="2693" y="815"/>
                    <a:pt x="2693" y="820"/>
                  </a:cubicBezTo>
                  <a:cubicBezTo>
                    <a:pt x="2694" y="826"/>
                    <a:pt x="2700" y="831"/>
                    <a:pt x="2708" y="831"/>
                  </a:cubicBezTo>
                  <a:cubicBezTo>
                    <a:pt x="2716" y="831"/>
                    <a:pt x="2722" y="826"/>
                    <a:pt x="2721" y="820"/>
                  </a:cubicBezTo>
                  <a:cubicBezTo>
                    <a:pt x="2721" y="815"/>
                    <a:pt x="2714" y="810"/>
                    <a:pt x="2707" y="810"/>
                  </a:cubicBezTo>
                  <a:cubicBezTo>
                    <a:pt x="2707" y="810"/>
                    <a:pt x="2707" y="810"/>
                    <a:pt x="2707" y="810"/>
                  </a:cubicBezTo>
                  <a:moveTo>
                    <a:pt x="3260" y="810"/>
                  </a:moveTo>
                  <a:cubicBezTo>
                    <a:pt x="3252" y="810"/>
                    <a:pt x="3247" y="815"/>
                    <a:pt x="3249" y="820"/>
                  </a:cubicBezTo>
                  <a:cubicBezTo>
                    <a:pt x="3250" y="826"/>
                    <a:pt x="3258" y="831"/>
                    <a:pt x="3265" y="831"/>
                  </a:cubicBezTo>
                  <a:cubicBezTo>
                    <a:pt x="3273" y="830"/>
                    <a:pt x="3278" y="826"/>
                    <a:pt x="3277" y="820"/>
                  </a:cubicBezTo>
                  <a:cubicBezTo>
                    <a:pt x="3275" y="815"/>
                    <a:pt x="3268" y="810"/>
                    <a:pt x="3260" y="810"/>
                  </a:cubicBezTo>
                  <a:cubicBezTo>
                    <a:pt x="3260" y="810"/>
                    <a:pt x="3260" y="810"/>
                    <a:pt x="3260" y="810"/>
                  </a:cubicBezTo>
                  <a:moveTo>
                    <a:pt x="2746" y="810"/>
                  </a:moveTo>
                  <a:cubicBezTo>
                    <a:pt x="2738" y="810"/>
                    <a:pt x="2732" y="815"/>
                    <a:pt x="2733" y="820"/>
                  </a:cubicBezTo>
                  <a:cubicBezTo>
                    <a:pt x="2733" y="826"/>
                    <a:pt x="2740" y="830"/>
                    <a:pt x="2748" y="830"/>
                  </a:cubicBezTo>
                  <a:cubicBezTo>
                    <a:pt x="2755" y="830"/>
                    <a:pt x="2761" y="826"/>
                    <a:pt x="2761" y="820"/>
                  </a:cubicBezTo>
                  <a:cubicBezTo>
                    <a:pt x="2760" y="814"/>
                    <a:pt x="2754" y="810"/>
                    <a:pt x="2746" y="810"/>
                  </a:cubicBezTo>
                  <a:cubicBezTo>
                    <a:pt x="2746" y="810"/>
                    <a:pt x="2746" y="810"/>
                    <a:pt x="2746" y="810"/>
                  </a:cubicBezTo>
                  <a:moveTo>
                    <a:pt x="3300" y="810"/>
                  </a:moveTo>
                  <a:cubicBezTo>
                    <a:pt x="3292" y="810"/>
                    <a:pt x="3287" y="814"/>
                    <a:pt x="3289" y="820"/>
                  </a:cubicBezTo>
                  <a:cubicBezTo>
                    <a:pt x="3290" y="826"/>
                    <a:pt x="3298" y="830"/>
                    <a:pt x="3305" y="830"/>
                  </a:cubicBezTo>
                  <a:cubicBezTo>
                    <a:pt x="3313" y="830"/>
                    <a:pt x="3318" y="826"/>
                    <a:pt x="3317" y="820"/>
                  </a:cubicBezTo>
                  <a:cubicBezTo>
                    <a:pt x="3315" y="814"/>
                    <a:pt x="3307" y="810"/>
                    <a:pt x="3300" y="810"/>
                  </a:cubicBezTo>
                  <a:cubicBezTo>
                    <a:pt x="3300" y="810"/>
                    <a:pt x="3300" y="810"/>
                    <a:pt x="3300" y="810"/>
                  </a:cubicBezTo>
                  <a:moveTo>
                    <a:pt x="2786" y="810"/>
                  </a:moveTo>
                  <a:cubicBezTo>
                    <a:pt x="2778" y="810"/>
                    <a:pt x="2772" y="814"/>
                    <a:pt x="2773" y="820"/>
                  </a:cubicBezTo>
                  <a:cubicBezTo>
                    <a:pt x="2773" y="826"/>
                    <a:pt x="2780" y="830"/>
                    <a:pt x="2788" y="830"/>
                  </a:cubicBezTo>
                  <a:cubicBezTo>
                    <a:pt x="2795" y="830"/>
                    <a:pt x="2801" y="826"/>
                    <a:pt x="2801" y="820"/>
                  </a:cubicBezTo>
                  <a:cubicBezTo>
                    <a:pt x="2800" y="814"/>
                    <a:pt x="2793" y="810"/>
                    <a:pt x="2786" y="810"/>
                  </a:cubicBezTo>
                  <a:cubicBezTo>
                    <a:pt x="2786" y="810"/>
                    <a:pt x="2786" y="810"/>
                    <a:pt x="2786" y="810"/>
                  </a:cubicBezTo>
                  <a:moveTo>
                    <a:pt x="3340" y="810"/>
                  </a:moveTo>
                  <a:cubicBezTo>
                    <a:pt x="3332" y="810"/>
                    <a:pt x="3327" y="814"/>
                    <a:pt x="3329" y="820"/>
                  </a:cubicBezTo>
                  <a:cubicBezTo>
                    <a:pt x="3331" y="826"/>
                    <a:pt x="3338" y="830"/>
                    <a:pt x="3346" y="830"/>
                  </a:cubicBezTo>
                  <a:cubicBezTo>
                    <a:pt x="3353" y="830"/>
                    <a:pt x="3358" y="826"/>
                    <a:pt x="3357" y="820"/>
                  </a:cubicBezTo>
                  <a:cubicBezTo>
                    <a:pt x="3355" y="814"/>
                    <a:pt x="3347" y="810"/>
                    <a:pt x="3340" y="810"/>
                  </a:cubicBezTo>
                  <a:cubicBezTo>
                    <a:pt x="3340" y="810"/>
                    <a:pt x="3340" y="810"/>
                    <a:pt x="3340" y="810"/>
                  </a:cubicBezTo>
                  <a:moveTo>
                    <a:pt x="3379" y="809"/>
                  </a:moveTo>
                  <a:cubicBezTo>
                    <a:pt x="3371" y="809"/>
                    <a:pt x="3366" y="814"/>
                    <a:pt x="3368" y="820"/>
                  </a:cubicBezTo>
                  <a:cubicBezTo>
                    <a:pt x="3370" y="825"/>
                    <a:pt x="3377" y="830"/>
                    <a:pt x="3385" y="830"/>
                  </a:cubicBezTo>
                  <a:cubicBezTo>
                    <a:pt x="3393" y="830"/>
                    <a:pt x="3398" y="825"/>
                    <a:pt x="3396" y="820"/>
                  </a:cubicBezTo>
                  <a:cubicBezTo>
                    <a:pt x="3394" y="814"/>
                    <a:pt x="3387" y="809"/>
                    <a:pt x="3379" y="809"/>
                  </a:cubicBezTo>
                  <a:cubicBezTo>
                    <a:pt x="3379" y="809"/>
                    <a:pt x="3379" y="809"/>
                    <a:pt x="3379" y="809"/>
                  </a:cubicBezTo>
                  <a:moveTo>
                    <a:pt x="3418" y="809"/>
                  </a:moveTo>
                  <a:cubicBezTo>
                    <a:pt x="3411" y="809"/>
                    <a:pt x="3406" y="814"/>
                    <a:pt x="3408" y="820"/>
                  </a:cubicBezTo>
                  <a:cubicBezTo>
                    <a:pt x="3409" y="825"/>
                    <a:pt x="3417" y="830"/>
                    <a:pt x="3425" y="830"/>
                  </a:cubicBezTo>
                  <a:cubicBezTo>
                    <a:pt x="3432" y="830"/>
                    <a:pt x="3437" y="825"/>
                    <a:pt x="3435" y="819"/>
                  </a:cubicBezTo>
                  <a:cubicBezTo>
                    <a:pt x="3434" y="814"/>
                    <a:pt x="3426" y="809"/>
                    <a:pt x="3418" y="809"/>
                  </a:cubicBezTo>
                  <a:cubicBezTo>
                    <a:pt x="3418" y="809"/>
                    <a:pt x="3418" y="809"/>
                    <a:pt x="3418" y="809"/>
                  </a:cubicBezTo>
                  <a:moveTo>
                    <a:pt x="3458" y="809"/>
                  </a:moveTo>
                  <a:cubicBezTo>
                    <a:pt x="3450" y="809"/>
                    <a:pt x="3445" y="814"/>
                    <a:pt x="3447" y="819"/>
                  </a:cubicBezTo>
                  <a:cubicBezTo>
                    <a:pt x="3449" y="825"/>
                    <a:pt x="3457" y="830"/>
                    <a:pt x="3465" y="830"/>
                  </a:cubicBezTo>
                  <a:cubicBezTo>
                    <a:pt x="3472" y="830"/>
                    <a:pt x="3477" y="825"/>
                    <a:pt x="3475" y="819"/>
                  </a:cubicBezTo>
                  <a:cubicBezTo>
                    <a:pt x="3473" y="814"/>
                    <a:pt x="3466" y="809"/>
                    <a:pt x="3458" y="809"/>
                  </a:cubicBezTo>
                  <a:cubicBezTo>
                    <a:pt x="3458" y="809"/>
                    <a:pt x="3458" y="809"/>
                    <a:pt x="3458" y="809"/>
                  </a:cubicBezTo>
                  <a:moveTo>
                    <a:pt x="3498" y="809"/>
                  </a:moveTo>
                  <a:cubicBezTo>
                    <a:pt x="3490" y="809"/>
                    <a:pt x="3486" y="814"/>
                    <a:pt x="3488" y="819"/>
                  </a:cubicBezTo>
                  <a:cubicBezTo>
                    <a:pt x="3489" y="825"/>
                    <a:pt x="3497" y="829"/>
                    <a:pt x="3505" y="829"/>
                  </a:cubicBezTo>
                  <a:cubicBezTo>
                    <a:pt x="3513" y="829"/>
                    <a:pt x="3517" y="825"/>
                    <a:pt x="3515" y="819"/>
                  </a:cubicBezTo>
                  <a:cubicBezTo>
                    <a:pt x="3513" y="813"/>
                    <a:pt x="3506" y="809"/>
                    <a:pt x="3498" y="809"/>
                  </a:cubicBezTo>
                  <a:cubicBezTo>
                    <a:pt x="3498" y="809"/>
                    <a:pt x="3498" y="809"/>
                    <a:pt x="3498" y="809"/>
                  </a:cubicBezTo>
                  <a:moveTo>
                    <a:pt x="3537" y="809"/>
                  </a:moveTo>
                  <a:cubicBezTo>
                    <a:pt x="3530" y="809"/>
                    <a:pt x="3525" y="813"/>
                    <a:pt x="3527" y="819"/>
                  </a:cubicBezTo>
                  <a:cubicBezTo>
                    <a:pt x="3529" y="825"/>
                    <a:pt x="3537" y="829"/>
                    <a:pt x="3545" y="829"/>
                  </a:cubicBezTo>
                  <a:cubicBezTo>
                    <a:pt x="3552" y="829"/>
                    <a:pt x="3557" y="825"/>
                    <a:pt x="3555" y="819"/>
                  </a:cubicBezTo>
                  <a:cubicBezTo>
                    <a:pt x="3553" y="813"/>
                    <a:pt x="3545" y="809"/>
                    <a:pt x="3537" y="809"/>
                  </a:cubicBezTo>
                  <a:cubicBezTo>
                    <a:pt x="3537" y="809"/>
                    <a:pt x="3537" y="809"/>
                    <a:pt x="3537" y="809"/>
                  </a:cubicBezTo>
                  <a:moveTo>
                    <a:pt x="3656" y="808"/>
                  </a:moveTo>
                  <a:cubicBezTo>
                    <a:pt x="3648" y="808"/>
                    <a:pt x="3644" y="813"/>
                    <a:pt x="3646" y="819"/>
                  </a:cubicBezTo>
                  <a:cubicBezTo>
                    <a:pt x="3648" y="824"/>
                    <a:pt x="3656" y="829"/>
                    <a:pt x="3664" y="829"/>
                  </a:cubicBezTo>
                  <a:cubicBezTo>
                    <a:pt x="3672" y="829"/>
                    <a:pt x="3676" y="824"/>
                    <a:pt x="3674" y="818"/>
                  </a:cubicBezTo>
                  <a:cubicBezTo>
                    <a:pt x="3672" y="813"/>
                    <a:pt x="3664" y="808"/>
                    <a:pt x="3656" y="808"/>
                  </a:cubicBezTo>
                  <a:cubicBezTo>
                    <a:pt x="3656" y="808"/>
                    <a:pt x="3656" y="808"/>
                    <a:pt x="3656" y="808"/>
                  </a:cubicBezTo>
                  <a:moveTo>
                    <a:pt x="3696" y="808"/>
                  </a:moveTo>
                  <a:cubicBezTo>
                    <a:pt x="3688" y="808"/>
                    <a:pt x="3684" y="813"/>
                    <a:pt x="3686" y="818"/>
                  </a:cubicBezTo>
                  <a:cubicBezTo>
                    <a:pt x="3689" y="824"/>
                    <a:pt x="3697" y="829"/>
                    <a:pt x="3704" y="829"/>
                  </a:cubicBezTo>
                  <a:cubicBezTo>
                    <a:pt x="3712" y="829"/>
                    <a:pt x="3716" y="824"/>
                    <a:pt x="3714" y="818"/>
                  </a:cubicBezTo>
                  <a:cubicBezTo>
                    <a:pt x="3712" y="813"/>
                    <a:pt x="3704" y="808"/>
                    <a:pt x="3696" y="808"/>
                  </a:cubicBezTo>
                  <a:cubicBezTo>
                    <a:pt x="3696" y="808"/>
                    <a:pt x="3696" y="808"/>
                    <a:pt x="3696" y="808"/>
                  </a:cubicBezTo>
                  <a:moveTo>
                    <a:pt x="3735" y="807"/>
                  </a:moveTo>
                  <a:cubicBezTo>
                    <a:pt x="3727" y="807"/>
                    <a:pt x="3723" y="811"/>
                    <a:pt x="3725" y="817"/>
                  </a:cubicBezTo>
                  <a:cubicBezTo>
                    <a:pt x="3728" y="823"/>
                    <a:pt x="3736" y="827"/>
                    <a:pt x="3744" y="827"/>
                  </a:cubicBezTo>
                  <a:cubicBezTo>
                    <a:pt x="3751" y="827"/>
                    <a:pt x="3756" y="823"/>
                    <a:pt x="3753" y="817"/>
                  </a:cubicBezTo>
                  <a:cubicBezTo>
                    <a:pt x="3751" y="811"/>
                    <a:pt x="3743" y="807"/>
                    <a:pt x="3735" y="807"/>
                  </a:cubicBezTo>
                  <a:cubicBezTo>
                    <a:pt x="3735" y="807"/>
                    <a:pt x="3735" y="807"/>
                    <a:pt x="3735" y="807"/>
                  </a:cubicBezTo>
                  <a:moveTo>
                    <a:pt x="3774" y="806"/>
                  </a:moveTo>
                  <a:cubicBezTo>
                    <a:pt x="3767" y="807"/>
                    <a:pt x="3762" y="811"/>
                    <a:pt x="3765" y="817"/>
                  </a:cubicBezTo>
                  <a:cubicBezTo>
                    <a:pt x="3767" y="823"/>
                    <a:pt x="3776" y="827"/>
                    <a:pt x="3783" y="827"/>
                  </a:cubicBezTo>
                  <a:cubicBezTo>
                    <a:pt x="3791" y="827"/>
                    <a:pt x="3795" y="822"/>
                    <a:pt x="3793" y="817"/>
                  </a:cubicBezTo>
                  <a:cubicBezTo>
                    <a:pt x="3790" y="811"/>
                    <a:pt x="3782" y="806"/>
                    <a:pt x="3774" y="806"/>
                  </a:cubicBezTo>
                  <a:cubicBezTo>
                    <a:pt x="3774" y="806"/>
                    <a:pt x="3774" y="806"/>
                    <a:pt x="3774" y="806"/>
                  </a:cubicBezTo>
                  <a:moveTo>
                    <a:pt x="3814" y="806"/>
                  </a:moveTo>
                  <a:cubicBezTo>
                    <a:pt x="3806" y="806"/>
                    <a:pt x="3802" y="811"/>
                    <a:pt x="3805" y="817"/>
                  </a:cubicBezTo>
                  <a:cubicBezTo>
                    <a:pt x="3807" y="822"/>
                    <a:pt x="3815" y="827"/>
                    <a:pt x="3823" y="827"/>
                  </a:cubicBezTo>
                  <a:cubicBezTo>
                    <a:pt x="3831" y="827"/>
                    <a:pt x="3835" y="822"/>
                    <a:pt x="3832" y="817"/>
                  </a:cubicBezTo>
                  <a:cubicBezTo>
                    <a:pt x="3830" y="811"/>
                    <a:pt x="3822" y="806"/>
                    <a:pt x="3814" y="806"/>
                  </a:cubicBezTo>
                  <a:cubicBezTo>
                    <a:pt x="3814" y="806"/>
                    <a:pt x="3814" y="806"/>
                    <a:pt x="3814" y="806"/>
                  </a:cubicBezTo>
                  <a:moveTo>
                    <a:pt x="3856" y="806"/>
                  </a:moveTo>
                  <a:cubicBezTo>
                    <a:pt x="3848" y="806"/>
                    <a:pt x="3844" y="811"/>
                    <a:pt x="3847" y="816"/>
                  </a:cubicBezTo>
                  <a:cubicBezTo>
                    <a:pt x="3849" y="822"/>
                    <a:pt x="3858" y="827"/>
                    <a:pt x="3866" y="827"/>
                  </a:cubicBezTo>
                  <a:cubicBezTo>
                    <a:pt x="3873" y="827"/>
                    <a:pt x="3877" y="822"/>
                    <a:pt x="3875" y="816"/>
                  </a:cubicBezTo>
                  <a:cubicBezTo>
                    <a:pt x="3872" y="811"/>
                    <a:pt x="3864" y="806"/>
                    <a:pt x="3856" y="806"/>
                  </a:cubicBezTo>
                  <a:cubicBezTo>
                    <a:pt x="3856" y="806"/>
                    <a:pt x="3856" y="806"/>
                    <a:pt x="3856" y="806"/>
                  </a:cubicBezTo>
                  <a:moveTo>
                    <a:pt x="3895" y="806"/>
                  </a:moveTo>
                  <a:cubicBezTo>
                    <a:pt x="3887" y="806"/>
                    <a:pt x="3883" y="811"/>
                    <a:pt x="3886" y="816"/>
                  </a:cubicBezTo>
                  <a:cubicBezTo>
                    <a:pt x="3889" y="822"/>
                    <a:pt x="3897" y="827"/>
                    <a:pt x="3905" y="827"/>
                  </a:cubicBezTo>
                  <a:cubicBezTo>
                    <a:pt x="3912" y="826"/>
                    <a:pt x="3916" y="822"/>
                    <a:pt x="3914" y="816"/>
                  </a:cubicBezTo>
                  <a:cubicBezTo>
                    <a:pt x="3911" y="811"/>
                    <a:pt x="3903" y="806"/>
                    <a:pt x="3895" y="806"/>
                  </a:cubicBezTo>
                  <a:cubicBezTo>
                    <a:pt x="3895" y="806"/>
                    <a:pt x="3895" y="806"/>
                    <a:pt x="3895" y="806"/>
                  </a:cubicBezTo>
                  <a:moveTo>
                    <a:pt x="3934" y="806"/>
                  </a:moveTo>
                  <a:cubicBezTo>
                    <a:pt x="3927" y="806"/>
                    <a:pt x="3923" y="810"/>
                    <a:pt x="3925" y="816"/>
                  </a:cubicBezTo>
                  <a:cubicBezTo>
                    <a:pt x="3928" y="822"/>
                    <a:pt x="3937" y="826"/>
                    <a:pt x="3944" y="826"/>
                  </a:cubicBezTo>
                  <a:cubicBezTo>
                    <a:pt x="3952" y="826"/>
                    <a:pt x="3956" y="822"/>
                    <a:pt x="3953" y="816"/>
                  </a:cubicBezTo>
                  <a:cubicBezTo>
                    <a:pt x="3950" y="810"/>
                    <a:pt x="3942" y="806"/>
                    <a:pt x="3934" y="806"/>
                  </a:cubicBezTo>
                  <a:cubicBezTo>
                    <a:pt x="3934" y="806"/>
                    <a:pt x="3934" y="806"/>
                    <a:pt x="3934" y="806"/>
                  </a:cubicBezTo>
                  <a:moveTo>
                    <a:pt x="3974" y="806"/>
                  </a:moveTo>
                  <a:cubicBezTo>
                    <a:pt x="3966" y="806"/>
                    <a:pt x="3962" y="810"/>
                    <a:pt x="3965" y="816"/>
                  </a:cubicBezTo>
                  <a:cubicBezTo>
                    <a:pt x="3968" y="822"/>
                    <a:pt x="3977" y="826"/>
                    <a:pt x="3984" y="826"/>
                  </a:cubicBezTo>
                  <a:cubicBezTo>
                    <a:pt x="3992" y="826"/>
                    <a:pt x="3996" y="821"/>
                    <a:pt x="3993" y="816"/>
                  </a:cubicBezTo>
                  <a:cubicBezTo>
                    <a:pt x="3990" y="810"/>
                    <a:pt x="3982" y="806"/>
                    <a:pt x="3974" y="806"/>
                  </a:cubicBezTo>
                  <a:cubicBezTo>
                    <a:pt x="3974" y="806"/>
                    <a:pt x="3974" y="806"/>
                    <a:pt x="3974" y="806"/>
                  </a:cubicBezTo>
                  <a:moveTo>
                    <a:pt x="28" y="798"/>
                  </a:moveTo>
                  <a:cubicBezTo>
                    <a:pt x="20" y="798"/>
                    <a:pt x="10" y="802"/>
                    <a:pt x="5" y="808"/>
                  </a:cubicBezTo>
                  <a:cubicBezTo>
                    <a:pt x="0" y="813"/>
                    <a:pt x="3" y="818"/>
                    <a:pt x="10" y="818"/>
                  </a:cubicBezTo>
                  <a:cubicBezTo>
                    <a:pt x="18" y="818"/>
                    <a:pt x="28" y="813"/>
                    <a:pt x="33" y="808"/>
                  </a:cubicBezTo>
                  <a:cubicBezTo>
                    <a:pt x="38" y="802"/>
                    <a:pt x="35" y="798"/>
                    <a:pt x="28" y="798"/>
                  </a:cubicBezTo>
                  <a:cubicBezTo>
                    <a:pt x="28" y="798"/>
                    <a:pt x="28" y="798"/>
                    <a:pt x="28" y="798"/>
                  </a:cubicBezTo>
                  <a:moveTo>
                    <a:pt x="187" y="797"/>
                  </a:moveTo>
                  <a:cubicBezTo>
                    <a:pt x="179" y="797"/>
                    <a:pt x="169" y="801"/>
                    <a:pt x="165" y="807"/>
                  </a:cubicBezTo>
                  <a:cubicBezTo>
                    <a:pt x="160" y="813"/>
                    <a:pt x="163" y="817"/>
                    <a:pt x="171" y="817"/>
                  </a:cubicBezTo>
                  <a:cubicBezTo>
                    <a:pt x="178" y="817"/>
                    <a:pt x="188" y="813"/>
                    <a:pt x="192" y="807"/>
                  </a:cubicBezTo>
                  <a:cubicBezTo>
                    <a:pt x="197" y="801"/>
                    <a:pt x="194" y="797"/>
                    <a:pt x="187" y="797"/>
                  </a:cubicBezTo>
                  <a:cubicBezTo>
                    <a:pt x="187" y="797"/>
                    <a:pt x="187" y="797"/>
                    <a:pt x="187" y="797"/>
                  </a:cubicBezTo>
                  <a:moveTo>
                    <a:pt x="228" y="795"/>
                  </a:moveTo>
                  <a:cubicBezTo>
                    <a:pt x="221" y="795"/>
                    <a:pt x="211" y="800"/>
                    <a:pt x="207" y="805"/>
                  </a:cubicBezTo>
                  <a:cubicBezTo>
                    <a:pt x="202" y="811"/>
                    <a:pt x="205" y="815"/>
                    <a:pt x="213" y="815"/>
                  </a:cubicBezTo>
                  <a:cubicBezTo>
                    <a:pt x="220" y="815"/>
                    <a:pt x="230" y="811"/>
                    <a:pt x="234" y="805"/>
                  </a:cubicBezTo>
                  <a:cubicBezTo>
                    <a:pt x="239" y="800"/>
                    <a:pt x="236" y="795"/>
                    <a:pt x="229" y="795"/>
                  </a:cubicBezTo>
                  <a:cubicBezTo>
                    <a:pt x="229" y="795"/>
                    <a:pt x="228" y="795"/>
                    <a:pt x="228" y="795"/>
                  </a:cubicBezTo>
                  <a:moveTo>
                    <a:pt x="111" y="793"/>
                  </a:moveTo>
                  <a:cubicBezTo>
                    <a:pt x="103" y="793"/>
                    <a:pt x="94" y="798"/>
                    <a:pt x="89" y="803"/>
                  </a:cubicBezTo>
                  <a:cubicBezTo>
                    <a:pt x="84" y="809"/>
                    <a:pt x="87" y="814"/>
                    <a:pt x="95" y="814"/>
                  </a:cubicBezTo>
                  <a:cubicBezTo>
                    <a:pt x="102" y="813"/>
                    <a:pt x="112" y="809"/>
                    <a:pt x="117" y="803"/>
                  </a:cubicBezTo>
                  <a:cubicBezTo>
                    <a:pt x="121" y="798"/>
                    <a:pt x="119" y="793"/>
                    <a:pt x="111" y="793"/>
                  </a:cubicBezTo>
                  <a:cubicBezTo>
                    <a:pt x="111" y="793"/>
                    <a:pt x="111" y="793"/>
                    <a:pt x="111" y="793"/>
                  </a:cubicBezTo>
                  <a:moveTo>
                    <a:pt x="150" y="793"/>
                  </a:moveTo>
                  <a:cubicBezTo>
                    <a:pt x="143" y="793"/>
                    <a:pt x="133" y="798"/>
                    <a:pt x="128" y="803"/>
                  </a:cubicBezTo>
                  <a:cubicBezTo>
                    <a:pt x="124" y="809"/>
                    <a:pt x="126" y="813"/>
                    <a:pt x="134" y="813"/>
                  </a:cubicBezTo>
                  <a:cubicBezTo>
                    <a:pt x="142" y="813"/>
                    <a:pt x="151" y="809"/>
                    <a:pt x="156" y="803"/>
                  </a:cubicBezTo>
                  <a:cubicBezTo>
                    <a:pt x="160" y="798"/>
                    <a:pt x="158" y="793"/>
                    <a:pt x="150" y="793"/>
                  </a:cubicBezTo>
                  <a:cubicBezTo>
                    <a:pt x="150" y="793"/>
                    <a:pt x="150" y="793"/>
                    <a:pt x="150" y="793"/>
                  </a:cubicBezTo>
                  <a:moveTo>
                    <a:pt x="1724" y="786"/>
                  </a:moveTo>
                  <a:cubicBezTo>
                    <a:pt x="1716" y="786"/>
                    <a:pt x="1709" y="791"/>
                    <a:pt x="1708" y="796"/>
                  </a:cubicBezTo>
                  <a:cubicBezTo>
                    <a:pt x="1706" y="802"/>
                    <a:pt x="1711" y="806"/>
                    <a:pt x="1719" y="806"/>
                  </a:cubicBezTo>
                  <a:cubicBezTo>
                    <a:pt x="1726" y="806"/>
                    <a:pt x="1734" y="802"/>
                    <a:pt x="1735" y="796"/>
                  </a:cubicBezTo>
                  <a:cubicBezTo>
                    <a:pt x="1737" y="790"/>
                    <a:pt x="1732" y="786"/>
                    <a:pt x="1724" y="786"/>
                  </a:cubicBezTo>
                  <a:cubicBezTo>
                    <a:pt x="1724" y="786"/>
                    <a:pt x="1724" y="786"/>
                    <a:pt x="1724" y="786"/>
                  </a:cubicBezTo>
                  <a:moveTo>
                    <a:pt x="1761" y="786"/>
                  </a:moveTo>
                  <a:cubicBezTo>
                    <a:pt x="1753" y="786"/>
                    <a:pt x="1746" y="790"/>
                    <a:pt x="1745" y="796"/>
                  </a:cubicBezTo>
                  <a:cubicBezTo>
                    <a:pt x="1743" y="802"/>
                    <a:pt x="1748" y="806"/>
                    <a:pt x="1756" y="806"/>
                  </a:cubicBezTo>
                  <a:cubicBezTo>
                    <a:pt x="1764" y="806"/>
                    <a:pt x="1771" y="802"/>
                    <a:pt x="1772" y="796"/>
                  </a:cubicBezTo>
                  <a:cubicBezTo>
                    <a:pt x="1774" y="790"/>
                    <a:pt x="1769" y="786"/>
                    <a:pt x="1761" y="786"/>
                  </a:cubicBezTo>
                  <a:cubicBezTo>
                    <a:pt x="1761" y="786"/>
                    <a:pt x="1761" y="786"/>
                    <a:pt x="1761" y="786"/>
                  </a:cubicBezTo>
                  <a:moveTo>
                    <a:pt x="1800" y="786"/>
                  </a:moveTo>
                  <a:cubicBezTo>
                    <a:pt x="1792" y="786"/>
                    <a:pt x="1785" y="790"/>
                    <a:pt x="1784" y="796"/>
                  </a:cubicBezTo>
                  <a:cubicBezTo>
                    <a:pt x="1782" y="801"/>
                    <a:pt x="1788" y="806"/>
                    <a:pt x="1795" y="806"/>
                  </a:cubicBezTo>
                  <a:cubicBezTo>
                    <a:pt x="1803" y="806"/>
                    <a:pt x="1810" y="801"/>
                    <a:pt x="1811" y="796"/>
                  </a:cubicBezTo>
                  <a:cubicBezTo>
                    <a:pt x="1813" y="790"/>
                    <a:pt x="1808" y="786"/>
                    <a:pt x="1800" y="786"/>
                  </a:cubicBezTo>
                  <a:cubicBezTo>
                    <a:pt x="1800" y="786"/>
                    <a:pt x="1800" y="786"/>
                    <a:pt x="1800" y="786"/>
                  </a:cubicBezTo>
                  <a:moveTo>
                    <a:pt x="1839" y="785"/>
                  </a:moveTo>
                  <a:cubicBezTo>
                    <a:pt x="1832" y="785"/>
                    <a:pt x="1825" y="790"/>
                    <a:pt x="1823" y="796"/>
                  </a:cubicBezTo>
                  <a:cubicBezTo>
                    <a:pt x="1822" y="801"/>
                    <a:pt x="1827" y="806"/>
                    <a:pt x="1835" y="806"/>
                  </a:cubicBezTo>
                  <a:cubicBezTo>
                    <a:pt x="1842" y="806"/>
                    <a:pt x="1850" y="801"/>
                    <a:pt x="1851" y="796"/>
                  </a:cubicBezTo>
                  <a:cubicBezTo>
                    <a:pt x="1852" y="790"/>
                    <a:pt x="1847" y="785"/>
                    <a:pt x="1839" y="785"/>
                  </a:cubicBezTo>
                  <a:cubicBezTo>
                    <a:pt x="1839" y="785"/>
                    <a:pt x="1839" y="785"/>
                    <a:pt x="1839" y="785"/>
                  </a:cubicBezTo>
                  <a:moveTo>
                    <a:pt x="1879" y="785"/>
                  </a:moveTo>
                  <a:cubicBezTo>
                    <a:pt x="1871" y="785"/>
                    <a:pt x="1864" y="790"/>
                    <a:pt x="1863" y="795"/>
                  </a:cubicBezTo>
                  <a:cubicBezTo>
                    <a:pt x="1862" y="801"/>
                    <a:pt x="1867" y="806"/>
                    <a:pt x="1875" y="806"/>
                  </a:cubicBezTo>
                  <a:cubicBezTo>
                    <a:pt x="1882" y="806"/>
                    <a:pt x="1890" y="801"/>
                    <a:pt x="1891" y="795"/>
                  </a:cubicBezTo>
                  <a:cubicBezTo>
                    <a:pt x="1892" y="790"/>
                    <a:pt x="1887" y="785"/>
                    <a:pt x="1879" y="785"/>
                  </a:cubicBezTo>
                  <a:cubicBezTo>
                    <a:pt x="1879" y="785"/>
                    <a:pt x="1879" y="785"/>
                    <a:pt x="1879" y="785"/>
                  </a:cubicBezTo>
                  <a:moveTo>
                    <a:pt x="1918" y="785"/>
                  </a:moveTo>
                  <a:cubicBezTo>
                    <a:pt x="1910" y="785"/>
                    <a:pt x="1903" y="790"/>
                    <a:pt x="1902" y="795"/>
                  </a:cubicBezTo>
                  <a:cubicBezTo>
                    <a:pt x="1901" y="801"/>
                    <a:pt x="1906" y="805"/>
                    <a:pt x="1914" y="805"/>
                  </a:cubicBezTo>
                  <a:cubicBezTo>
                    <a:pt x="1922" y="805"/>
                    <a:pt x="1929" y="801"/>
                    <a:pt x="1930" y="795"/>
                  </a:cubicBezTo>
                  <a:cubicBezTo>
                    <a:pt x="1931" y="790"/>
                    <a:pt x="1926" y="785"/>
                    <a:pt x="1918" y="785"/>
                  </a:cubicBezTo>
                  <a:cubicBezTo>
                    <a:pt x="1918" y="785"/>
                    <a:pt x="1918" y="785"/>
                    <a:pt x="1918" y="785"/>
                  </a:cubicBezTo>
                  <a:moveTo>
                    <a:pt x="1957" y="785"/>
                  </a:moveTo>
                  <a:cubicBezTo>
                    <a:pt x="1950" y="785"/>
                    <a:pt x="1943" y="789"/>
                    <a:pt x="1942" y="795"/>
                  </a:cubicBezTo>
                  <a:cubicBezTo>
                    <a:pt x="1941" y="801"/>
                    <a:pt x="1946" y="805"/>
                    <a:pt x="1954" y="805"/>
                  </a:cubicBezTo>
                  <a:cubicBezTo>
                    <a:pt x="1961" y="805"/>
                    <a:pt x="1968" y="801"/>
                    <a:pt x="1969" y="795"/>
                  </a:cubicBezTo>
                  <a:cubicBezTo>
                    <a:pt x="1970" y="789"/>
                    <a:pt x="1965" y="785"/>
                    <a:pt x="1957" y="785"/>
                  </a:cubicBezTo>
                  <a:cubicBezTo>
                    <a:pt x="1957" y="785"/>
                    <a:pt x="1957" y="785"/>
                    <a:pt x="1957" y="785"/>
                  </a:cubicBezTo>
                  <a:moveTo>
                    <a:pt x="1996" y="785"/>
                  </a:moveTo>
                  <a:cubicBezTo>
                    <a:pt x="1989" y="785"/>
                    <a:pt x="1982" y="789"/>
                    <a:pt x="1981" y="795"/>
                  </a:cubicBezTo>
                  <a:cubicBezTo>
                    <a:pt x="1980" y="801"/>
                    <a:pt x="1985" y="805"/>
                    <a:pt x="1993" y="805"/>
                  </a:cubicBezTo>
                  <a:cubicBezTo>
                    <a:pt x="2001" y="805"/>
                    <a:pt x="2007" y="800"/>
                    <a:pt x="2008" y="795"/>
                  </a:cubicBezTo>
                  <a:cubicBezTo>
                    <a:pt x="2009" y="789"/>
                    <a:pt x="2004" y="785"/>
                    <a:pt x="1996" y="785"/>
                  </a:cubicBezTo>
                  <a:cubicBezTo>
                    <a:pt x="1996" y="785"/>
                    <a:pt x="1996" y="785"/>
                    <a:pt x="1996" y="785"/>
                  </a:cubicBezTo>
                  <a:moveTo>
                    <a:pt x="2036" y="784"/>
                  </a:moveTo>
                  <a:cubicBezTo>
                    <a:pt x="2028" y="784"/>
                    <a:pt x="2021" y="789"/>
                    <a:pt x="2020" y="795"/>
                  </a:cubicBezTo>
                  <a:cubicBezTo>
                    <a:pt x="2019" y="800"/>
                    <a:pt x="2025" y="805"/>
                    <a:pt x="2033" y="805"/>
                  </a:cubicBezTo>
                  <a:cubicBezTo>
                    <a:pt x="2040" y="805"/>
                    <a:pt x="2047" y="800"/>
                    <a:pt x="2048" y="795"/>
                  </a:cubicBezTo>
                  <a:cubicBezTo>
                    <a:pt x="2049" y="789"/>
                    <a:pt x="2043" y="784"/>
                    <a:pt x="2036" y="784"/>
                  </a:cubicBezTo>
                  <a:cubicBezTo>
                    <a:pt x="2036" y="784"/>
                    <a:pt x="2036" y="784"/>
                    <a:pt x="2036" y="784"/>
                  </a:cubicBezTo>
                  <a:moveTo>
                    <a:pt x="2076" y="784"/>
                  </a:moveTo>
                  <a:cubicBezTo>
                    <a:pt x="2069" y="784"/>
                    <a:pt x="2062" y="789"/>
                    <a:pt x="2061" y="795"/>
                  </a:cubicBezTo>
                  <a:cubicBezTo>
                    <a:pt x="2060" y="800"/>
                    <a:pt x="2066" y="805"/>
                    <a:pt x="2073" y="805"/>
                  </a:cubicBezTo>
                  <a:cubicBezTo>
                    <a:pt x="2081" y="805"/>
                    <a:pt x="2088" y="800"/>
                    <a:pt x="2089" y="794"/>
                  </a:cubicBezTo>
                  <a:cubicBezTo>
                    <a:pt x="2089" y="789"/>
                    <a:pt x="2084" y="784"/>
                    <a:pt x="2076" y="784"/>
                  </a:cubicBezTo>
                  <a:cubicBezTo>
                    <a:pt x="2076" y="784"/>
                    <a:pt x="2076" y="784"/>
                    <a:pt x="2076" y="784"/>
                  </a:cubicBezTo>
                  <a:moveTo>
                    <a:pt x="2115" y="784"/>
                  </a:moveTo>
                  <a:cubicBezTo>
                    <a:pt x="2108" y="784"/>
                    <a:pt x="2101" y="789"/>
                    <a:pt x="2100" y="794"/>
                  </a:cubicBezTo>
                  <a:cubicBezTo>
                    <a:pt x="2099" y="800"/>
                    <a:pt x="2105" y="805"/>
                    <a:pt x="2113" y="804"/>
                  </a:cubicBezTo>
                  <a:cubicBezTo>
                    <a:pt x="2120" y="804"/>
                    <a:pt x="2127" y="800"/>
                    <a:pt x="2128" y="794"/>
                  </a:cubicBezTo>
                  <a:cubicBezTo>
                    <a:pt x="2128" y="789"/>
                    <a:pt x="2123" y="784"/>
                    <a:pt x="2115" y="784"/>
                  </a:cubicBezTo>
                  <a:cubicBezTo>
                    <a:pt x="2115" y="784"/>
                    <a:pt x="2115" y="784"/>
                    <a:pt x="2115" y="784"/>
                  </a:cubicBezTo>
                  <a:moveTo>
                    <a:pt x="2155" y="784"/>
                  </a:moveTo>
                  <a:cubicBezTo>
                    <a:pt x="2147" y="784"/>
                    <a:pt x="2140" y="789"/>
                    <a:pt x="2140" y="794"/>
                  </a:cubicBezTo>
                  <a:cubicBezTo>
                    <a:pt x="2139" y="800"/>
                    <a:pt x="2145" y="804"/>
                    <a:pt x="2152" y="804"/>
                  </a:cubicBezTo>
                  <a:cubicBezTo>
                    <a:pt x="2160" y="804"/>
                    <a:pt x="2167" y="800"/>
                    <a:pt x="2167" y="794"/>
                  </a:cubicBezTo>
                  <a:cubicBezTo>
                    <a:pt x="2168" y="788"/>
                    <a:pt x="2162" y="784"/>
                    <a:pt x="2155" y="784"/>
                  </a:cubicBezTo>
                  <a:cubicBezTo>
                    <a:pt x="2155" y="784"/>
                    <a:pt x="2155" y="784"/>
                    <a:pt x="2155" y="784"/>
                  </a:cubicBezTo>
                  <a:moveTo>
                    <a:pt x="2194" y="784"/>
                  </a:moveTo>
                  <a:cubicBezTo>
                    <a:pt x="2187" y="784"/>
                    <a:pt x="2180" y="788"/>
                    <a:pt x="2179" y="794"/>
                  </a:cubicBezTo>
                  <a:cubicBezTo>
                    <a:pt x="2179" y="800"/>
                    <a:pt x="2185" y="804"/>
                    <a:pt x="2192" y="804"/>
                  </a:cubicBezTo>
                  <a:cubicBezTo>
                    <a:pt x="2200" y="804"/>
                    <a:pt x="2206" y="799"/>
                    <a:pt x="2207" y="794"/>
                  </a:cubicBezTo>
                  <a:cubicBezTo>
                    <a:pt x="2207" y="788"/>
                    <a:pt x="2202" y="784"/>
                    <a:pt x="2194" y="784"/>
                  </a:cubicBezTo>
                  <a:cubicBezTo>
                    <a:pt x="2194" y="784"/>
                    <a:pt x="2194" y="784"/>
                    <a:pt x="2194" y="784"/>
                  </a:cubicBezTo>
                  <a:moveTo>
                    <a:pt x="2233" y="784"/>
                  </a:moveTo>
                  <a:cubicBezTo>
                    <a:pt x="2226" y="784"/>
                    <a:pt x="2219" y="788"/>
                    <a:pt x="2219" y="794"/>
                  </a:cubicBezTo>
                  <a:cubicBezTo>
                    <a:pt x="2218" y="799"/>
                    <a:pt x="2224" y="804"/>
                    <a:pt x="2231" y="804"/>
                  </a:cubicBezTo>
                  <a:cubicBezTo>
                    <a:pt x="2239" y="804"/>
                    <a:pt x="2246" y="799"/>
                    <a:pt x="2246" y="794"/>
                  </a:cubicBezTo>
                  <a:cubicBezTo>
                    <a:pt x="2247" y="788"/>
                    <a:pt x="2241" y="784"/>
                    <a:pt x="2233" y="784"/>
                  </a:cubicBezTo>
                  <a:cubicBezTo>
                    <a:pt x="2233" y="784"/>
                    <a:pt x="2233" y="784"/>
                    <a:pt x="2233" y="784"/>
                  </a:cubicBezTo>
                  <a:moveTo>
                    <a:pt x="2822" y="783"/>
                  </a:moveTo>
                  <a:cubicBezTo>
                    <a:pt x="2815" y="783"/>
                    <a:pt x="2809" y="788"/>
                    <a:pt x="2810" y="794"/>
                  </a:cubicBezTo>
                  <a:cubicBezTo>
                    <a:pt x="2810" y="799"/>
                    <a:pt x="2817" y="804"/>
                    <a:pt x="2824" y="804"/>
                  </a:cubicBezTo>
                  <a:cubicBezTo>
                    <a:pt x="2832" y="804"/>
                    <a:pt x="2838" y="799"/>
                    <a:pt x="2837" y="794"/>
                  </a:cubicBezTo>
                  <a:cubicBezTo>
                    <a:pt x="2836" y="788"/>
                    <a:pt x="2830" y="783"/>
                    <a:pt x="2822" y="783"/>
                  </a:cubicBezTo>
                  <a:cubicBezTo>
                    <a:pt x="2822" y="783"/>
                    <a:pt x="2822" y="783"/>
                    <a:pt x="2822" y="783"/>
                  </a:cubicBezTo>
                  <a:moveTo>
                    <a:pt x="2272" y="783"/>
                  </a:moveTo>
                  <a:cubicBezTo>
                    <a:pt x="2265" y="783"/>
                    <a:pt x="2258" y="788"/>
                    <a:pt x="2258" y="794"/>
                  </a:cubicBezTo>
                  <a:cubicBezTo>
                    <a:pt x="2257" y="799"/>
                    <a:pt x="2263" y="804"/>
                    <a:pt x="2271" y="804"/>
                  </a:cubicBezTo>
                  <a:cubicBezTo>
                    <a:pt x="2279" y="804"/>
                    <a:pt x="2285" y="799"/>
                    <a:pt x="2285" y="793"/>
                  </a:cubicBezTo>
                  <a:cubicBezTo>
                    <a:pt x="2286" y="788"/>
                    <a:pt x="2280" y="783"/>
                    <a:pt x="2272" y="783"/>
                  </a:cubicBezTo>
                  <a:cubicBezTo>
                    <a:pt x="2272" y="783"/>
                    <a:pt x="2272" y="783"/>
                    <a:pt x="2272" y="783"/>
                  </a:cubicBezTo>
                  <a:moveTo>
                    <a:pt x="2311" y="783"/>
                  </a:moveTo>
                  <a:cubicBezTo>
                    <a:pt x="2304" y="783"/>
                    <a:pt x="2297" y="788"/>
                    <a:pt x="2297" y="793"/>
                  </a:cubicBezTo>
                  <a:cubicBezTo>
                    <a:pt x="2297" y="799"/>
                    <a:pt x="2303" y="804"/>
                    <a:pt x="2310" y="804"/>
                  </a:cubicBezTo>
                  <a:cubicBezTo>
                    <a:pt x="2318" y="804"/>
                    <a:pt x="2324" y="799"/>
                    <a:pt x="2325" y="793"/>
                  </a:cubicBezTo>
                  <a:cubicBezTo>
                    <a:pt x="2325" y="788"/>
                    <a:pt x="2319" y="783"/>
                    <a:pt x="2312" y="783"/>
                  </a:cubicBezTo>
                  <a:cubicBezTo>
                    <a:pt x="2311" y="783"/>
                    <a:pt x="2311" y="783"/>
                    <a:pt x="2311" y="783"/>
                  </a:cubicBezTo>
                  <a:moveTo>
                    <a:pt x="2900" y="783"/>
                  </a:moveTo>
                  <a:cubicBezTo>
                    <a:pt x="2893" y="783"/>
                    <a:pt x="2887" y="788"/>
                    <a:pt x="2888" y="793"/>
                  </a:cubicBezTo>
                  <a:cubicBezTo>
                    <a:pt x="2889" y="799"/>
                    <a:pt x="2896" y="804"/>
                    <a:pt x="2903" y="803"/>
                  </a:cubicBezTo>
                  <a:cubicBezTo>
                    <a:pt x="2911" y="803"/>
                    <a:pt x="2916" y="799"/>
                    <a:pt x="2915" y="793"/>
                  </a:cubicBezTo>
                  <a:cubicBezTo>
                    <a:pt x="2915" y="788"/>
                    <a:pt x="2908" y="783"/>
                    <a:pt x="2900" y="783"/>
                  </a:cubicBezTo>
                  <a:cubicBezTo>
                    <a:pt x="2900" y="783"/>
                    <a:pt x="2900" y="783"/>
                    <a:pt x="2900" y="783"/>
                  </a:cubicBezTo>
                  <a:moveTo>
                    <a:pt x="2351" y="783"/>
                  </a:moveTo>
                  <a:cubicBezTo>
                    <a:pt x="2343" y="783"/>
                    <a:pt x="2337" y="788"/>
                    <a:pt x="2336" y="793"/>
                  </a:cubicBezTo>
                  <a:cubicBezTo>
                    <a:pt x="2336" y="799"/>
                    <a:pt x="2342" y="803"/>
                    <a:pt x="2350" y="803"/>
                  </a:cubicBezTo>
                  <a:cubicBezTo>
                    <a:pt x="2357" y="803"/>
                    <a:pt x="2364" y="799"/>
                    <a:pt x="2364" y="793"/>
                  </a:cubicBezTo>
                  <a:cubicBezTo>
                    <a:pt x="2364" y="787"/>
                    <a:pt x="2358" y="783"/>
                    <a:pt x="2351" y="783"/>
                  </a:cubicBezTo>
                  <a:cubicBezTo>
                    <a:pt x="2351" y="783"/>
                    <a:pt x="2351" y="783"/>
                    <a:pt x="2351" y="783"/>
                  </a:cubicBezTo>
                  <a:moveTo>
                    <a:pt x="2859" y="783"/>
                  </a:moveTo>
                  <a:cubicBezTo>
                    <a:pt x="2851" y="783"/>
                    <a:pt x="2846" y="788"/>
                    <a:pt x="2847" y="793"/>
                  </a:cubicBezTo>
                  <a:cubicBezTo>
                    <a:pt x="2847" y="799"/>
                    <a:pt x="2854" y="803"/>
                    <a:pt x="2862" y="803"/>
                  </a:cubicBezTo>
                  <a:cubicBezTo>
                    <a:pt x="2869" y="803"/>
                    <a:pt x="2875" y="799"/>
                    <a:pt x="2874" y="793"/>
                  </a:cubicBezTo>
                  <a:cubicBezTo>
                    <a:pt x="2873" y="787"/>
                    <a:pt x="2867" y="783"/>
                    <a:pt x="2859" y="783"/>
                  </a:cubicBezTo>
                  <a:cubicBezTo>
                    <a:pt x="2859" y="783"/>
                    <a:pt x="2859" y="783"/>
                    <a:pt x="2859" y="783"/>
                  </a:cubicBezTo>
                  <a:moveTo>
                    <a:pt x="2390" y="783"/>
                  </a:moveTo>
                  <a:cubicBezTo>
                    <a:pt x="2383" y="783"/>
                    <a:pt x="2377" y="787"/>
                    <a:pt x="2376" y="793"/>
                  </a:cubicBezTo>
                  <a:cubicBezTo>
                    <a:pt x="2376" y="799"/>
                    <a:pt x="2382" y="803"/>
                    <a:pt x="2390" y="803"/>
                  </a:cubicBezTo>
                  <a:cubicBezTo>
                    <a:pt x="2397" y="803"/>
                    <a:pt x="2404" y="799"/>
                    <a:pt x="2404" y="793"/>
                  </a:cubicBezTo>
                  <a:cubicBezTo>
                    <a:pt x="2404" y="787"/>
                    <a:pt x="2398" y="783"/>
                    <a:pt x="2391" y="783"/>
                  </a:cubicBezTo>
                  <a:cubicBezTo>
                    <a:pt x="2390" y="783"/>
                    <a:pt x="2390" y="783"/>
                    <a:pt x="2390" y="783"/>
                  </a:cubicBezTo>
                  <a:moveTo>
                    <a:pt x="2429" y="783"/>
                  </a:moveTo>
                  <a:cubicBezTo>
                    <a:pt x="2422" y="783"/>
                    <a:pt x="2416" y="787"/>
                    <a:pt x="2415" y="793"/>
                  </a:cubicBezTo>
                  <a:cubicBezTo>
                    <a:pt x="2415" y="798"/>
                    <a:pt x="2421" y="803"/>
                    <a:pt x="2429" y="803"/>
                  </a:cubicBezTo>
                  <a:cubicBezTo>
                    <a:pt x="2437" y="803"/>
                    <a:pt x="2443" y="798"/>
                    <a:pt x="2443" y="793"/>
                  </a:cubicBezTo>
                  <a:cubicBezTo>
                    <a:pt x="2443" y="787"/>
                    <a:pt x="2437" y="783"/>
                    <a:pt x="2429" y="783"/>
                  </a:cubicBezTo>
                  <a:cubicBezTo>
                    <a:pt x="2429" y="783"/>
                    <a:pt x="2429" y="783"/>
                    <a:pt x="2429" y="783"/>
                  </a:cubicBezTo>
                  <a:moveTo>
                    <a:pt x="2937" y="783"/>
                  </a:moveTo>
                  <a:cubicBezTo>
                    <a:pt x="2930" y="783"/>
                    <a:pt x="2924" y="787"/>
                    <a:pt x="2925" y="793"/>
                  </a:cubicBezTo>
                  <a:cubicBezTo>
                    <a:pt x="2926" y="799"/>
                    <a:pt x="2933" y="803"/>
                    <a:pt x="2940" y="803"/>
                  </a:cubicBezTo>
                  <a:cubicBezTo>
                    <a:pt x="2948" y="803"/>
                    <a:pt x="2953" y="798"/>
                    <a:pt x="2952" y="793"/>
                  </a:cubicBezTo>
                  <a:cubicBezTo>
                    <a:pt x="2952" y="787"/>
                    <a:pt x="2945" y="783"/>
                    <a:pt x="2937" y="783"/>
                  </a:cubicBezTo>
                  <a:cubicBezTo>
                    <a:pt x="2937" y="783"/>
                    <a:pt x="2937" y="783"/>
                    <a:pt x="2937" y="783"/>
                  </a:cubicBezTo>
                  <a:moveTo>
                    <a:pt x="2666" y="782"/>
                  </a:moveTo>
                  <a:cubicBezTo>
                    <a:pt x="2658" y="782"/>
                    <a:pt x="2652" y="787"/>
                    <a:pt x="2653" y="793"/>
                  </a:cubicBezTo>
                  <a:cubicBezTo>
                    <a:pt x="2653" y="798"/>
                    <a:pt x="2659" y="803"/>
                    <a:pt x="2667" y="803"/>
                  </a:cubicBezTo>
                  <a:cubicBezTo>
                    <a:pt x="2675" y="803"/>
                    <a:pt x="2681" y="798"/>
                    <a:pt x="2680" y="793"/>
                  </a:cubicBezTo>
                  <a:cubicBezTo>
                    <a:pt x="2680" y="787"/>
                    <a:pt x="2673" y="782"/>
                    <a:pt x="2666" y="782"/>
                  </a:cubicBezTo>
                  <a:cubicBezTo>
                    <a:pt x="2666" y="782"/>
                    <a:pt x="2666" y="782"/>
                    <a:pt x="2666" y="782"/>
                  </a:cubicBezTo>
                  <a:moveTo>
                    <a:pt x="2469" y="782"/>
                  </a:moveTo>
                  <a:cubicBezTo>
                    <a:pt x="2461" y="782"/>
                    <a:pt x="2455" y="787"/>
                    <a:pt x="2455" y="793"/>
                  </a:cubicBezTo>
                  <a:cubicBezTo>
                    <a:pt x="2455" y="798"/>
                    <a:pt x="2461" y="803"/>
                    <a:pt x="2469" y="803"/>
                  </a:cubicBezTo>
                  <a:cubicBezTo>
                    <a:pt x="2476" y="803"/>
                    <a:pt x="2482" y="798"/>
                    <a:pt x="2482" y="793"/>
                  </a:cubicBezTo>
                  <a:cubicBezTo>
                    <a:pt x="2482" y="787"/>
                    <a:pt x="2476" y="782"/>
                    <a:pt x="2469" y="782"/>
                  </a:cubicBezTo>
                  <a:cubicBezTo>
                    <a:pt x="2469" y="782"/>
                    <a:pt x="2469" y="782"/>
                    <a:pt x="2469" y="782"/>
                  </a:cubicBezTo>
                  <a:moveTo>
                    <a:pt x="2980" y="782"/>
                  </a:moveTo>
                  <a:cubicBezTo>
                    <a:pt x="2972" y="782"/>
                    <a:pt x="2967" y="787"/>
                    <a:pt x="2968" y="793"/>
                  </a:cubicBezTo>
                  <a:cubicBezTo>
                    <a:pt x="2969" y="798"/>
                    <a:pt x="2976" y="803"/>
                    <a:pt x="2983" y="803"/>
                  </a:cubicBezTo>
                  <a:cubicBezTo>
                    <a:pt x="2991" y="803"/>
                    <a:pt x="2997" y="798"/>
                    <a:pt x="2996" y="792"/>
                  </a:cubicBezTo>
                  <a:cubicBezTo>
                    <a:pt x="2995" y="787"/>
                    <a:pt x="2988" y="782"/>
                    <a:pt x="2980" y="782"/>
                  </a:cubicBezTo>
                  <a:cubicBezTo>
                    <a:pt x="2980" y="782"/>
                    <a:pt x="2980" y="782"/>
                    <a:pt x="2980" y="782"/>
                  </a:cubicBezTo>
                  <a:moveTo>
                    <a:pt x="2704" y="782"/>
                  </a:moveTo>
                  <a:cubicBezTo>
                    <a:pt x="2697" y="782"/>
                    <a:pt x="2691" y="787"/>
                    <a:pt x="2691" y="793"/>
                  </a:cubicBezTo>
                  <a:cubicBezTo>
                    <a:pt x="2692" y="798"/>
                    <a:pt x="2698" y="803"/>
                    <a:pt x="2706" y="803"/>
                  </a:cubicBezTo>
                  <a:cubicBezTo>
                    <a:pt x="2714" y="803"/>
                    <a:pt x="2719" y="798"/>
                    <a:pt x="2719" y="792"/>
                  </a:cubicBezTo>
                  <a:cubicBezTo>
                    <a:pt x="2719" y="787"/>
                    <a:pt x="2712" y="782"/>
                    <a:pt x="2705" y="782"/>
                  </a:cubicBezTo>
                  <a:cubicBezTo>
                    <a:pt x="2704" y="782"/>
                    <a:pt x="2704" y="782"/>
                    <a:pt x="2704" y="782"/>
                  </a:cubicBezTo>
                  <a:moveTo>
                    <a:pt x="2508" y="782"/>
                  </a:moveTo>
                  <a:cubicBezTo>
                    <a:pt x="2500" y="782"/>
                    <a:pt x="2494" y="787"/>
                    <a:pt x="2494" y="792"/>
                  </a:cubicBezTo>
                  <a:cubicBezTo>
                    <a:pt x="2494" y="798"/>
                    <a:pt x="2500" y="803"/>
                    <a:pt x="2508" y="803"/>
                  </a:cubicBezTo>
                  <a:cubicBezTo>
                    <a:pt x="2515" y="803"/>
                    <a:pt x="2522" y="798"/>
                    <a:pt x="2521" y="792"/>
                  </a:cubicBezTo>
                  <a:cubicBezTo>
                    <a:pt x="2521" y="787"/>
                    <a:pt x="2515" y="782"/>
                    <a:pt x="2508" y="782"/>
                  </a:cubicBezTo>
                  <a:cubicBezTo>
                    <a:pt x="2508" y="782"/>
                    <a:pt x="2508" y="782"/>
                    <a:pt x="2508" y="782"/>
                  </a:cubicBezTo>
                  <a:moveTo>
                    <a:pt x="2743" y="782"/>
                  </a:moveTo>
                  <a:cubicBezTo>
                    <a:pt x="2736" y="782"/>
                    <a:pt x="2730" y="787"/>
                    <a:pt x="2731" y="792"/>
                  </a:cubicBezTo>
                  <a:cubicBezTo>
                    <a:pt x="2731" y="798"/>
                    <a:pt x="2738" y="803"/>
                    <a:pt x="2745" y="803"/>
                  </a:cubicBezTo>
                  <a:cubicBezTo>
                    <a:pt x="2753" y="803"/>
                    <a:pt x="2759" y="798"/>
                    <a:pt x="2758" y="792"/>
                  </a:cubicBezTo>
                  <a:cubicBezTo>
                    <a:pt x="2758" y="787"/>
                    <a:pt x="2751" y="782"/>
                    <a:pt x="2743" y="782"/>
                  </a:cubicBezTo>
                  <a:cubicBezTo>
                    <a:pt x="2743" y="782"/>
                    <a:pt x="2743" y="782"/>
                    <a:pt x="2743" y="782"/>
                  </a:cubicBezTo>
                  <a:moveTo>
                    <a:pt x="2547" y="782"/>
                  </a:moveTo>
                  <a:cubicBezTo>
                    <a:pt x="2539" y="782"/>
                    <a:pt x="2533" y="787"/>
                    <a:pt x="2533" y="792"/>
                  </a:cubicBezTo>
                  <a:cubicBezTo>
                    <a:pt x="2533" y="798"/>
                    <a:pt x="2540" y="802"/>
                    <a:pt x="2547" y="802"/>
                  </a:cubicBezTo>
                  <a:cubicBezTo>
                    <a:pt x="2555" y="802"/>
                    <a:pt x="2561" y="798"/>
                    <a:pt x="2561" y="792"/>
                  </a:cubicBezTo>
                  <a:cubicBezTo>
                    <a:pt x="2561" y="787"/>
                    <a:pt x="2555" y="782"/>
                    <a:pt x="2547" y="782"/>
                  </a:cubicBezTo>
                  <a:cubicBezTo>
                    <a:pt x="2547" y="782"/>
                    <a:pt x="2547" y="782"/>
                    <a:pt x="2547" y="782"/>
                  </a:cubicBezTo>
                  <a:moveTo>
                    <a:pt x="2783" y="782"/>
                  </a:moveTo>
                  <a:cubicBezTo>
                    <a:pt x="2775" y="782"/>
                    <a:pt x="2769" y="787"/>
                    <a:pt x="2770" y="792"/>
                  </a:cubicBezTo>
                  <a:cubicBezTo>
                    <a:pt x="2771" y="798"/>
                    <a:pt x="2777" y="802"/>
                    <a:pt x="2785" y="802"/>
                  </a:cubicBezTo>
                  <a:cubicBezTo>
                    <a:pt x="2792" y="802"/>
                    <a:pt x="2798" y="798"/>
                    <a:pt x="2798" y="792"/>
                  </a:cubicBezTo>
                  <a:cubicBezTo>
                    <a:pt x="2797" y="786"/>
                    <a:pt x="2790" y="782"/>
                    <a:pt x="2783" y="782"/>
                  </a:cubicBezTo>
                  <a:cubicBezTo>
                    <a:pt x="2783" y="782"/>
                    <a:pt x="2783" y="782"/>
                    <a:pt x="2783" y="782"/>
                  </a:cubicBezTo>
                  <a:moveTo>
                    <a:pt x="3017" y="782"/>
                  </a:moveTo>
                  <a:cubicBezTo>
                    <a:pt x="3009" y="782"/>
                    <a:pt x="3004" y="786"/>
                    <a:pt x="3005" y="792"/>
                  </a:cubicBezTo>
                  <a:cubicBezTo>
                    <a:pt x="3006" y="798"/>
                    <a:pt x="3013" y="802"/>
                    <a:pt x="3021" y="802"/>
                  </a:cubicBezTo>
                  <a:cubicBezTo>
                    <a:pt x="3028" y="802"/>
                    <a:pt x="3034" y="798"/>
                    <a:pt x="3033" y="792"/>
                  </a:cubicBezTo>
                  <a:cubicBezTo>
                    <a:pt x="3031" y="786"/>
                    <a:pt x="3025" y="782"/>
                    <a:pt x="3017" y="782"/>
                  </a:cubicBezTo>
                  <a:cubicBezTo>
                    <a:pt x="3017" y="782"/>
                    <a:pt x="3017" y="782"/>
                    <a:pt x="3017" y="782"/>
                  </a:cubicBezTo>
                  <a:moveTo>
                    <a:pt x="2587" y="782"/>
                  </a:moveTo>
                  <a:cubicBezTo>
                    <a:pt x="2579" y="782"/>
                    <a:pt x="2573" y="786"/>
                    <a:pt x="2573" y="792"/>
                  </a:cubicBezTo>
                  <a:cubicBezTo>
                    <a:pt x="2573" y="798"/>
                    <a:pt x="2580" y="802"/>
                    <a:pt x="2587" y="802"/>
                  </a:cubicBezTo>
                  <a:cubicBezTo>
                    <a:pt x="2595" y="802"/>
                    <a:pt x="2601" y="798"/>
                    <a:pt x="2601" y="792"/>
                  </a:cubicBezTo>
                  <a:cubicBezTo>
                    <a:pt x="2600" y="786"/>
                    <a:pt x="2594" y="782"/>
                    <a:pt x="2587" y="782"/>
                  </a:cubicBezTo>
                  <a:cubicBezTo>
                    <a:pt x="2587" y="782"/>
                    <a:pt x="2587" y="782"/>
                    <a:pt x="2587" y="782"/>
                  </a:cubicBezTo>
                  <a:moveTo>
                    <a:pt x="3217" y="781"/>
                  </a:moveTo>
                  <a:cubicBezTo>
                    <a:pt x="3209" y="781"/>
                    <a:pt x="3204" y="785"/>
                    <a:pt x="3206" y="791"/>
                  </a:cubicBezTo>
                  <a:cubicBezTo>
                    <a:pt x="3207" y="797"/>
                    <a:pt x="3215" y="801"/>
                    <a:pt x="3222" y="801"/>
                  </a:cubicBezTo>
                  <a:cubicBezTo>
                    <a:pt x="3230" y="801"/>
                    <a:pt x="3235" y="796"/>
                    <a:pt x="3233" y="791"/>
                  </a:cubicBezTo>
                  <a:cubicBezTo>
                    <a:pt x="3232" y="785"/>
                    <a:pt x="3225" y="781"/>
                    <a:pt x="3217" y="781"/>
                  </a:cubicBezTo>
                  <a:cubicBezTo>
                    <a:pt x="3217" y="781"/>
                    <a:pt x="3217" y="781"/>
                    <a:pt x="3217" y="781"/>
                  </a:cubicBezTo>
                  <a:moveTo>
                    <a:pt x="3257" y="780"/>
                  </a:moveTo>
                  <a:cubicBezTo>
                    <a:pt x="3249" y="780"/>
                    <a:pt x="3244" y="785"/>
                    <a:pt x="3246" y="791"/>
                  </a:cubicBezTo>
                  <a:cubicBezTo>
                    <a:pt x="3247" y="796"/>
                    <a:pt x="3254" y="801"/>
                    <a:pt x="3262" y="801"/>
                  </a:cubicBezTo>
                  <a:cubicBezTo>
                    <a:pt x="3270" y="801"/>
                    <a:pt x="3275" y="796"/>
                    <a:pt x="3273" y="791"/>
                  </a:cubicBezTo>
                  <a:cubicBezTo>
                    <a:pt x="3272" y="785"/>
                    <a:pt x="3264" y="780"/>
                    <a:pt x="3257" y="780"/>
                  </a:cubicBezTo>
                  <a:cubicBezTo>
                    <a:pt x="3257" y="780"/>
                    <a:pt x="3257" y="780"/>
                    <a:pt x="3257" y="780"/>
                  </a:cubicBezTo>
                  <a:moveTo>
                    <a:pt x="3292" y="780"/>
                  </a:moveTo>
                  <a:cubicBezTo>
                    <a:pt x="3284" y="780"/>
                    <a:pt x="3279" y="785"/>
                    <a:pt x="3281" y="791"/>
                  </a:cubicBezTo>
                  <a:cubicBezTo>
                    <a:pt x="3282" y="796"/>
                    <a:pt x="3290" y="801"/>
                    <a:pt x="3297" y="801"/>
                  </a:cubicBezTo>
                  <a:cubicBezTo>
                    <a:pt x="3305" y="801"/>
                    <a:pt x="3310" y="796"/>
                    <a:pt x="3308" y="790"/>
                  </a:cubicBezTo>
                  <a:cubicBezTo>
                    <a:pt x="3307" y="785"/>
                    <a:pt x="3299" y="780"/>
                    <a:pt x="3292" y="780"/>
                  </a:cubicBezTo>
                  <a:cubicBezTo>
                    <a:pt x="3292" y="780"/>
                    <a:pt x="3292" y="780"/>
                    <a:pt x="3292" y="780"/>
                  </a:cubicBezTo>
                  <a:moveTo>
                    <a:pt x="3331" y="780"/>
                  </a:moveTo>
                  <a:cubicBezTo>
                    <a:pt x="3324" y="780"/>
                    <a:pt x="3319" y="785"/>
                    <a:pt x="3320" y="790"/>
                  </a:cubicBezTo>
                  <a:cubicBezTo>
                    <a:pt x="3322" y="796"/>
                    <a:pt x="3329" y="801"/>
                    <a:pt x="3337" y="801"/>
                  </a:cubicBezTo>
                  <a:cubicBezTo>
                    <a:pt x="3345" y="800"/>
                    <a:pt x="3350" y="796"/>
                    <a:pt x="3348" y="790"/>
                  </a:cubicBezTo>
                  <a:cubicBezTo>
                    <a:pt x="3346" y="785"/>
                    <a:pt x="3339" y="780"/>
                    <a:pt x="3331" y="780"/>
                  </a:cubicBezTo>
                  <a:cubicBezTo>
                    <a:pt x="3331" y="780"/>
                    <a:pt x="3331" y="780"/>
                    <a:pt x="3331" y="780"/>
                  </a:cubicBezTo>
                  <a:moveTo>
                    <a:pt x="3370" y="780"/>
                  </a:moveTo>
                  <a:cubicBezTo>
                    <a:pt x="3362" y="780"/>
                    <a:pt x="3357" y="784"/>
                    <a:pt x="3359" y="790"/>
                  </a:cubicBezTo>
                  <a:cubicBezTo>
                    <a:pt x="3361" y="796"/>
                    <a:pt x="3368" y="800"/>
                    <a:pt x="3376" y="800"/>
                  </a:cubicBezTo>
                  <a:cubicBezTo>
                    <a:pt x="3384" y="800"/>
                    <a:pt x="3388" y="796"/>
                    <a:pt x="3387" y="790"/>
                  </a:cubicBezTo>
                  <a:cubicBezTo>
                    <a:pt x="3385" y="784"/>
                    <a:pt x="3377" y="780"/>
                    <a:pt x="3370" y="780"/>
                  </a:cubicBezTo>
                  <a:cubicBezTo>
                    <a:pt x="3370" y="780"/>
                    <a:pt x="3370" y="780"/>
                    <a:pt x="3370" y="780"/>
                  </a:cubicBezTo>
                  <a:moveTo>
                    <a:pt x="3409" y="780"/>
                  </a:moveTo>
                  <a:cubicBezTo>
                    <a:pt x="3401" y="780"/>
                    <a:pt x="3396" y="784"/>
                    <a:pt x="3398" y="790"/>
                  </a:cubicBezTo>
                  <a:cubicBezTo>
                    <a:pt x="3400" y="796"/>
                    <a:pt x="3408" y="800"/>
                    <a:pt x="3415" y="800"/>
                  </a:cubicBezTo>
                  <a:cubicBezTo>
                    <a:pt x="3423" y="800"/>
                    <a:pt x="3428" y="795"/>
                    <a:pt x="3426" y="790"/>
                  </a:cubicBezTo>
                  <a:cubicBezTo>
                    <a:pt x="3424" y="784"/>
                    <a:pt x="3416" y="780"/>
                    <a:pt x="3409" y="780"/>
                  </a:cubicBezTo>
                  <a:cubicBezTo>
                    <a:pt x="3409" y="780"/>
                    <a:pt x="3409" y="780"/>
                    <a:pt x="3409" y="780"/>
                  </a:cubicBezTo>
                  <a:moveTo>
                    <a:pt x="3448" y="779"/>
                  </a:moveTo>
                  <a:cubicBezTo>
                    <a:pt x="3440" y="779"/>
                    <a:pt x="3436" y="784"/>
                    <a:pt x="3438" y="790"/>
                  </a:cubicBezTo>
                  <a:cubicBezTo>
                    <a:pt x="3440" y="795"/>
                    <a:pt x="3447" y="800"/>
                    <a:pt x="3455" y="800"/>
                  </a:cubicBezTo>
                  <a:cubicBezTo>
                    <a:pt x="3462" y="800"/>
                    <a:pt x="3467" y="795"/>
                    <a:pt x="3465" y="790"/>
                  </a:cubicBezTo>
                  <a:cubicBezTo>
                    <a:pt x="3463" y="784"/>
                    <a:pt x="3456" y="779"/>
                    <a:pt x="3448" y="779"/>
                  </a:cubicBezTo>
                  <a:cubicBezTo>
                    <a:pt x="3448" y="779"/>
                    <a:pt x="3448" y="779"/>
                    <a:pt x="3448" y="779"/>
                  </a:cubicBezTo>
                  <a:moveTo>
                    <a:pt x="3488" y="779"/>
                  </a:moveTo>
                  <a:cubicBezTo>
                    <a:pt x="3480" y="779"/>
                    <a:pt x="3476" y="784"/>
                    <a:pt x="3477" y="790"/>
                  </a:cubicBezTo>
                  <a:cubicBezTo>
                    <a:pt x="3479" y="795"/>
                    <a:pt x="3487" y="800"/>
                    <a:pt x="3495" y="800"/>
                  </a:cubicBezTo>
                  <a:cubicBezTo>
                    <a:pt x="3502" y="800"/>
                    <a:pt x="3507" y="795"/>
                    <a:pt x="3505" y="789"/>
                  </a:cubicBezTo>
                  <a:cubicBezTo>
                    <a:pt x="3503" y="784"/>
                    <a:pt x="3495" y="779"/>
                    <a:pt x="3488" y="779"/>
                  </a:cubicBezTo>
                  <a:cubicBezTo>
                    <a:pt x="3488" y="779"/>
                    <a:pt x="3488" y="779"/>
                    <a:pt x="3488" y="779"/>
                  </a:cubicBezTo>
                  <a:moveTo>
                    <a:pt x="3527" y="779"/>
                  </a:moveTo>
                  <a:cubicBezTo>
                    <a:pt x="3519" y="779"/>
                    <a:pt x="3515" y="784"/>
                    <a:pt x="3517" y="789"/>
                  </a:cubicBezTo>
                  <a:cubicBezTo>
                    <a:pt x="3519" y="795"/>
                    <a:pt x="3526" y="800"/>
                    <a:pt x="3534" y="800"/>
                  </a:cubicBezTo>
                  <a:cubicBezTo>
                    <a:pt x="3542" y="800"/>
                    <a:pt x="3546" y="795"/>
                    <a:pt x="3544" y="789"/>
                  </a:cubicBezTo>
                  <a:cubicBezTo>
                    <a:pt x="3542" y="784"/>
                    <a:pt x="3534" y="779"/>
                    <a:pt x="3527" y="779"/>
                  </a:cubicBezTo>
                  <a:cubicBezTo>
                    <a:pt x="3527" y="779"/>
                    <a:pt x="3527" y="779"/>
                    <a:pt x="3527" y="779"/>
                  </a:cubicBezTo>
                  <a:moveTo>
                    <a:pt x="3566" y="779"/>
                  </a:moveTo>
                  <a:cubicBezTo>
                    <a:pt x="3558" y="779"/>
                    <a:pt x="3554" y="784"/>
                    <a:pt x="3556" y="789"/>
                  </a:cubicBezTo>
                  <a:cubicBezTo>
                    <a:pt x="3558" y="795"/>
                    <a:pt x="3566" y="799"/>
                    <a:pt x="3573" y="799"/>
                  </a:cubicBezTo>
                  <a:cubicBezTo>
                    <a:pt x="3581" y="799"/>
                    <a:pt x="3585" y="795"/>
                    <a:pt x="3583" y="789"/>
                  </a:cubicBezTo>
                  <a:cubicBezTo>
                    <a:pt x="3581" y="783"/>
                    <a:pt x="3573" y="779"/>
                    <a:pt x="3566" y="779"/>
                  </a:cubicBezTo>
                  <a:cubicBezTo>
                    <a:pt x="3566" y="779"/>
                    <a:pt x="3566" y="779"/>
                    <a:pt x="3566" y="779"/>
                  </a:cubicBezTo>
                  <a:moveTo>
                    <a:pt x="4129" y="779"/>
                  </a:moveTo>
                  <a:cubicBezTo>
                    <a:pt x="4121" y="779"/>
                    <a:pt x="4117" y="783"/>
                    <a:pt x="4121" y="789"/>
                  </a:cubicBezTo>
                  <a:cubicBezTo>
                    <a:pt x="4124" y="795"/>
                    <a:pt x="4133" y="799"/>
                    <a:pt x="4140" y="799"/>
                  </a:cubicBezTo>
                  <a:cubicBezTo>
                    <a:pt x="4148" y="799"/>
                    <a:pt x="4151" y="795"/>
                    <a:pt x="4148" y="789"/>
                  </a:cubicBezTo>
                  <a:cubicBezTo>
                    <a:pt x="4145" y="783"/>
                    <a:pt x="4136" y="779"/>
                    <a:pt x="4129" y="779"/>
                  </a:cubicBezTo>
                  <a:cubicBezTo>
                    <a:pt x="4129" y="779"/>
                    <a:pt x="4129" y="779"/>
                    <a:pt x="4129" y="779"/>
                  </a:cubicBezTo>
                  <a:moveTo>
                    <a:pt x="3605" y="779"/>
                  </a:moveTo>
                  <a:cubicBezTo>
                    <a:pt x="3597" y="779"/>
                    <a:pt x="3593" y="783"/>
                    <a:pt x="3595" y="789"/>
                  </a:cubicBezTo>
                  <a:cubicBezTo>
                    <a:pt x="3597" y="795"/>
                    <a:pt x="3605" y="799"/>
                    <a:pt x="3613" y="799"/>
                  </a:cubicBezTo>
                  <a:cubicBezTo>
                    <a:pt x="3620" y="799"/>
                    <a:pt x="3625" y="795"/>
                    <a:pt x="3622" y="789"/>
                  </a:cubicBezTo>
                  <a:cubicBezTo>
                    <a:pt x="3620" y="783"/>
                    <a:pt x="3612" y="779"/>
                    <a:pt x="3605" y="779"/>
                  </a:cubicBezTo>
                  <a:cubicBezTo>
                    <a:pt x="3605" y="779"/>
                    <a:pt x="3605" y="779"/>
                    <a:pt x="3605" y="779"/>
                  </a:cubicBezTo>
                  <a:moveTo>
                    <a:pt x="3644" y="779"/>
                  </a:moveTo>
                  <a:cubicBezTo>
                    <a:pt x="3636" y="779"/>
                    <a:pt x="3632" y="783"/>
                    <a:pt x="3634" y="789"/>
                  </a:cubicBezTo>
                  <a:cubicBezTo>
                    <a:pt x="3637" y="795"/>
                    <a:pt x="3645" y="799"/>
                    <a:pt x="3652" y="799"/>
                  </a:cubicBezTo>
                  <a:cubicBezTo>
                    <a:pt x="3660" y="799"/>
                    <a:pt x="3664" y="794"/>
                    <a:pt x="3662" y="789"/>
                  </a:cubicBezTo>
                  <a:cubicBezTo>
                    <a:pt x="3660" y="783"/>
                    <a:pt x="3652" y="779"/>
                    <a:pt x="3644" y="779"/>
                  </a:cubicBezTo>
                  <a:cubicBezTo>
                    <a:pt x="3644" y="779"/>
                    <a:pt x="3644" y="779"/>
                    <a:pt x="3644" y="779"/>
                  </a:cubicBezTo>
                  <a:moveTo>
                    <a:pt x="3684" y="778"/>
                  </a:moveTo>
                  <a:cubicBezTo>
                    <a:pt x="3676" y="778"/>
                    <a:pt x="3672" y="783"/>
                    <a:pt x="3674" y="789"/>
                  </a:cubicBezTo>
                  <a:cubicBezTo>
                    <a:pt x="3676" y="794"/>
                    <a:pt x="3684" y="799"/>
                    <a:pt x="3692" y="799"/>
                  </a:cubicBezTo>
                  <a:cubicBezTo>
                    <a:pt x="3700" y="799"/>
                    <a:pt x="3704" y="794"/>
                    <a:pt x="3702" y="789"/>
                  </a:cubicBezTo>
                  <a:cubicBezTo>
                    <a:pt x="3699" y="783"/>
                    <a:pt x="3691" y="778"/>
                    <a:pt x="3684" y="778"/>
                  </a:cubicBezTo>
                  <a:cubicBezTo>
                    <a:pt x="3684" y="778"/>
                    <a:pt x="3684" y="778"/>
                    <a:pt x="3684" y="778"/>
                  </a:cubicBezTo>
                  <a:moveTo>
                    <a:pt x="3722" y="777"/>
                  </a:moveTo>
                  <a:cubicBezTo>
                    <a:pt x="3715" y="777"/>
                    <a:pt x="3711" y="782"/>
                    <a:pt x="3713" y="787"/>
                  </a:cubicBezTo>
                  <a:cubicBezTo>
                    <a:pt x="3715" y="793"/>
                    <a:pt x="3723" y="798"/>
                    <a:pt x="3731" y="798"/>
                  </a:cubicBezTo>
                  <a:cubicBezTo>
                    <a:pt x="3739" y="798"/>
                    <a:pt x="3743" y="793"/>
                    <a:pt x="3740" y="787"/>
                  </a:cubicBezTo>
                  <a:cubicBezTo>
                    <a:pt x="3738" y="782"/>
                    <a:pt x="3730" y="777"/>
                    <a:pt x="3722" y="777"/>
                  </a:cubicBezTo>
                  <a:cubicBezTo>
                    <a:pt x="3722" y="777"/>
                    <a:pt x="3722" y="777"/>
                    <a:pt x="3722" y="777"/>
                  </a:cubicBezTo>
                  <a:moveTo>
                    <a:pt x="3761" y="777"/>
                  </a:moveTo>
                  <a:cubicBezTo>
                    <a:pt x="3754" y="777"/>
                    <a:pt x="3750" y="782"/>
                    <a:pt x="3752" y="787"/>
                  </a:cubicBezTo>
                  <a:cubicBezTo>
                    <a:pt x="3754" y="793"/>
                    <a:pt x="3763" y="797"/>
                    <a:pt x="3770" y="797"/>
                  </a:cubicBezTo>
                  <a:cubicBezTo>
                    <a:pt x="3778" y="797"/>
                    <a:pt x="3782" y="793"/>
                    <a:pt x="3779" y="787"/>
                  </a:cubicBezTo>
                  <a:cubicBezTo>
                    <a:pt x="3777" y="781"/>
                    <a:pt x="3769" y="777"/>
                    <a:pt x="3761" y="777"/>
                  </a:cubicBezTo>
                  <a:cubicBezTo>
                    <a:pt x="3761" y="777"/>
                    <a:pt x="3761" y="777"/>
                    <a:pt x="3761" y="777"/>
                  </a:cubicBezTo>
                  <a:moveTo>
                    <a:pt x="3800" y="777"/>
                  </a:moveTo>
                  <a:cubicBezTo>
                    <a:pt x="3793" y="777"/>
                    <a:pt x="3789" y="781"/>
                    <a:pt x="3791" y="787"/>
                  </a:cubicBezTo>
                  <a:cubicBezTo>
                    <a:pt x="3794" y="793"/>
                    <a:pt x="3802" y="797"/>
                    <a:pt x="3810" y="797"/>
                  </a:cubicBezTo>
                  <a:cubicBezTo>
                    <a:pt x="3817" y="797"/>
                    <a:pt x="3821" y="793"/>
                    <a:pt x="3819" y="787"/>
                  </a:cubicBezTo>
                  <a:cubicBezTo>
                    <a:pt x="3816" y="781"/>
                    <a:pt x="3808" y="777"/>
                    <a:pt x="3801" y="777"/>
                  </a:cubicBezTo>
                  <a:cubicBezTo>
                    <a:pt x="3801" y="777"/>
                    <a:pt x="3800" y="777"/>
                    <a:pt x="3800" y="777"/>
                  </a:cubicBezTo>
                  <a:moveTo>
                    <a:pt x="3842" y="776"/>
                  </a:moveTo>
                  <a:cubicBezTo>
                    <a:pt x="3834" y="777"/>
                    <a:pt x="3830" y="781"/>
                    <a:pt x="3833" y="787"/>
                  </a:cubicBezTo>
                  <a:cubicBezTo>
                    <a:pt x="3836" y="793"/>
                    <a:pt x="3844" y="797"/>
                    <a:pt x="3852" y="797"/>
                  </a:cubicBezTo>
                  <a:cubicBezTo>
                    <a:pt x="3859" y="797"/>
                    <a:pt x="3863" y="792"/>
                    <a:pt x="3861" y="787"/>
                  </a:cubicBezTo>
                  <a:cubicBezTo>
                    <a:pt x="3858" y="781"/>
                    <a:pt x="3850" y="776"/>
                    <a:pt x="3842" y="776"/>
                  </a:cubicBezTo>
                  <a:cubicBezTo>
                    <a:pt x="3842" y="776"/>
                    <a:pt x="3842" y="776"/>
                    <a:pt x="3842" y="776"/>
                  </a:cubicBezTo>
                  <a:moveTo>
                    <a:pt x="3881" y="776"/>
                  </a:moveTo>
                  <a:cubicBezTo>
                    <a:pt x="3873" y="776"/>
                    <a:pt x="3869" y="781"/>
                    <a:pt x="3872" y="787"/>
                  </a:cubicBezTo>
                  <a:cubicBezTo>
                    <a:pt x="3875" y="792"/>
                    <a:pt x="3883" y="797"/>
                    <a:pt x="3891" y="797"/>
                  </a:cubicBezTo>
                  <a:cubicBezTo>
                    <a:pt x="3898" y="797"/>
                    <a:pt x="3902" y="792"/>
                    <a:pt x="3899" y="787"/>
                  </a:cubicBezTo>
                  <a:cubicBezTo>
                    <a:pt x="3897" y="781"/>
                    <a:pt x="3888" y="776"/>
                    <a:pt x="3881" y="776"/>
                  </a:cubicBezTo>
                  <a:cubicBezTo>
                    <a:pt x="3881" y="776"/>
                    <a:pt x="3881" y="776"/>
                    <a:pt x="3881" y="776"/>
                  </a:cubicBezTo>
                  <a:moveTo>
                    <a:pt x="3920" y="776"/>
                  </a:moveTo>
                  <a:cubicBezTo>
                    <a:pt x="3912" y="776"/>
                    <a:pt x="3908" y="781"/>
                    <a:pt x="3911" y="786"/>
                  </a:cubicBezTo>
                  <a:cubicBezTo>
                    <a:pt x="3914" y="792"/>
                    <a:pt x="3922" y="797"/>
                    <a:pt x="3930" y="797"/>
                  </a:cubicBezTo>
                  <a:cubicBezTo>
                    <a:pt x="3937" y="797"/>
                    <a:pt x="3941" y="792"/>
                    <a:pt x="3938" y="786"/>
                  </a:cubicBezTo>
                  <a:cubicBezTo>
                    <a:pt x="3936" y="781"/>
                    <a:pt x="3927" y="776"/>
                    <a:pt x="3920" y="776"/>
                  </a:cubicBezTo>
                  <a:cubicBezTo>
                    <a:pt x="3920" y="776"/>
                    <a:pt x="3920" y="776"/>
                    <a:pt x="3920" y="776"/>
                  </a:cubicBezTo>
                  <a:moveTo>
                    <a:pt x="3959" y="776"/>
                  </a:moveTo>
                  <a:cubicBezTo>
                    <a:pt x="3951" y="776"/>
                    <a:pt x="3947" y="781"/>
                    <a:pt x="3950" y="786"/>
                  </a:cubicBezTo>
                  <a:cubicBezTo>
                    <a:pt x="3953" y="792"/>
                    <a:pt x="3962" y="797"/>
                    <a:pt x="3969" y="796"/>
                  </a:cubicBezTo>
                  <a:cubicBezTo>
                    <a:pt x="3977" y="796"/>
                    <a:pt x="3981" y="792"/>
                    <a:pt x="3978" y="786"/>
                  </a:cubicBezTo>
                  <a:cubicBezTo>
                    <a:pt x="3975" y="780"/>
                    <a:pt x="3966" y="776"/>
                    <a:pt x="3959" y="776"/>
                  </a:cubicBezTo>
                  <a:cubicBezTo>
                    <a:pt x="3959" y="776"/>
                    <a:pt x="3959" y="776"/>
                    <a:pt x="3959" y="776"/>
                  </a:cubicBezTo>
                  <a:moveTo>
                    <a:pt x="3998" y="776"/>
                  </a:moveTo>
                  <a:cubicBezTo>
                    <a:pt x="3991" y="776"/>
                    <a:pt x="3987" y="780"/>
                    <a:pt x="3990" y="786"/>
                  </a:cubicBezTo>
                  <a:cubicBezTo>
                    <a:pt x="3993" y="792"/>
                    <a:pt x="4001" y="796"/>
                    <a:pt x="4009" y="796"/>
                  </a:cubicBezTo>
                  <a:cubicBezTo>
                    <a:pt x="4017" y="796"/>
                    <a:pt x="4020" y="792"/>
                    <a:pt x="4017" y="786"/>
                  </a:cubicBezTo>
                  <a:cubicBezTo>
                    <a:pt x="4015" y="780"/>
                    <a:pt x="4006" y="776"/>
                    <a:pt x="3998" y="776"/>
                  </a:cubicBezTo>
                  <a:cubicBezTo>
                    <a:pt x="3998" y="776"/>
                    <a:pt x="3998" y="776"/>
                    <a:pt x="3998" y="776"/>
                  </a:cubicBezTo>
                  <a:moveTo>
                    <a:pt x="4037" y="776"/>
                  </a:moveTo>
                  <a:cubicBezTo>
                    <a:pt x="4030" y="776"/>
                    <a:pt x="4026" y="780"/>
                    <a:pt x="4029" y="786"/>
                  </a:cubicBezTo>
                  <a:cubicBezTo>
                    <a:pt x="4032" y="792"/>
                    <a:pt x="4041" y="796"/>
                    <a:pt x="4048" y="796"/>
                  </a:cubicBezTo>
                  <a:cubicBezTo>
                    <a:pt x="4056" y="796"/>
                    <a:pt x="4060" y="791"/>
                    <a:pt x="4057" y="786"/>
                  </a:cubicBezTo>
                  <a:cubicBezTo>
                    <a:pt x="4053" y="780"/>
                    <a:pt x="4045" y="776"/>
                    <a:pt x="4037" y="776"/>
                  </a:cubicBezTo>
                  <a:cubicBezTo>
                    <a:pt x="4037" y="776"/>
                    <a:pt x="4037" y="776"/>
                    <a:pt x="4037" y="776"/>
                  </a:cubicBezTo>
                  <a:moveTo>
                    <a:pt x="94" y="767"/>
                  </a:moveTo>
                  <a:cubicBezTo>
                    <a:pt x="86" y="767"/>
                    <a:pt x="77" y="771"/>
                    <a:pt x="72" y="777"/>
                  </a:cubicBezTo>
                  <a:cubicBezTo>
                    <a:pt x="67" y="782"/>
                    <a:pt x="70" y="787"/>
                    <a:pt x="77" y="787"/>
                  </a:cubicBezTo>
                  <a:cubicBezTo>
                    <a:pt x="85" y="787"/>
                    <a:pt x="95" y="782"/>
                    <a:pt x="99" y="777"/>
                  </a:cubicBezTo>
                  <a:cubicBezTo>
                    <a:pt x="104" y="771"/>
                    <a:pt x="102" y="767"/>
                    <a:pt x="94" y="767"/>
                  </a:cubicBezTo>
                  <a:cubicBezTo>
                    <a:pt x="94" y="767"/>
                    <a:pt x="94" y="767"/>
                    <a:pt x="94" y="767"/>
                  </a:cubicBezTo>
                  <a:moveTo>
                    <a:pt x="211" y="766"/>
                  </a:moveTo>
                  <a:cubicBezTo>
                    <a:pt x="203" y="766"/>
                    <a:pt x="194" y="771"/>
                    <a:pt x="189" y="776"/>
                  </a:cubicBezTo>
                  <a:cubicBezTo>
                    <a:pt x="185" y="782"/>
                    <a:pt x="187" y="786"/>
                    <a:pt x="195" y="786"/>
                  </a:cubicBezTo>
                  <a:cubicBezTo>
                    <a:pt x="203" y="786"/>
                    <a:pt x="212" y="782"/>
                    <a:pt x="217" y="776"/>
                  </a:cubicBezTo>
                  <a:cubicBezTo>
                    <a:pt x="221" y="770"/>
                    <a:pt x="218" y="766"/>
                    <a:pt x="211" y="766"/>
                  </a:cubicBezTo>
                  <a:cubicBezTo>
                    <a:pt x="211" y="766"/>
                    <a:pt x="211" y="766"/>
                    <a:pt x="211" y="766"/>
                  </a:cubicBezTo>
                  <a:moveTo>
                    <a:pt x="251" y="766"/>
                  </a:moveTo>
                  <a:cubicBezTo>
                    <a:pt x="244" y="766"/>
                    <a:pt x="234" y="770"/>
                    <a:pt x="230" y="776"/>
                  </a:cubicBezTo>
                  <a:cubicBezTo>
                    <a:pt x="225" y="782"/>
                    <a:pt x="228" y="786"/>
                    <a:pt x="235" y="786"/>
                  </a:cubicBezTo>
                  <a:cubicBezTo>
                    <a:pt x="243" y="786"/>
                    <a:pt x="253" y="781"/>
                    <a:pt x="257" y="776"/>
                  </a:cubicBezTo>
                  <a:cubicBezTo>
                    <a:pt x="261" y="770"/>
                    <a:pt x="259" y="766"/>
                    <a:pt x="251" y="766"/>
                  </a:cubicBezTo>
                  <a:cubicBezTo>
                    <a:pt x="251" y="766"/>
                    <a:pt x="251" y="766"/>
                    <a:pt x="251" y="766"/>
                  </a:cubicBezTo>
                  <a:moveTo>
                    <a:pt x="135" y="764"/>
                  </a:moveTo>
                  <a:cubicBezTo>
                    <a:pt x="127" y="764"/>
                    <a:pt x="118" y="769"/>
                    <a:pt x="113" y="774"/>
                  </a:cubicBezTo>
                  <a:cubicBezTo>
                    <a:pt x="108" y="780"/>
                    <a:pt x="111" y="784"/>
                    <a:pt x="118" y="784"/>
                  </a:cubicBezTo>
                  <a:cubicBezTo>
                    <a:pt x="126" y="784"/>
                    <a:pt x="136" y="780"/>
                    <a:pt x="140" y="774"/>
                  </a:cubicBezTo>
                  <a:cubicBezTo>
                    <a:pt x="145" y="769"/>
                    <a:pt x="142" y="764"/>
                    <a:pt x="135" y="764"/>
                  </a:cubicBezTo>
                  <a:cubicBezTo>
                    <a:pt x="135" y="764"/>
                    <a:pt x="135" y="764"/>
                    <a:pt x="135" y="764"/>
                  </a:cubicBezTo>
                  <a:moveTo>
                    <a:pt x="174" y="764"/>
                  </a:moveTo>
                  <a:cubicBezTo>
                    <a:pt x="166" y="764"/>
                    <a:pt x="156" y="768"/>
                    <a:pt x="152" y="774"/>
                  </a:cubicBezTo>
                  <a:cubicBezTo>
                    <a:pt x="147" y="780"/>
                    <a:pt x="150" y="784"/>
                    <a:pt x="157" y="784"/>
                  </a:cubicBezTo>
                  <a:cubicBezTo>
                    <a:pt x="165" y="784"/>
                    <a:pt x="175" y="779"/>
                    <a:pt x="179" y="774"/>
                  </a:cubicBezTo>
                  <a:cubicBezTo>
                    <a:pt x="184" y="768"/>
                    <a:pt x="181" y="764"/>
                    <a:pt x="174" y="764"/>
                  </a:cubicBezTo>
                  <a:cubicBezTo>
                    <a:pt x="174" y="764"/>
                    <a:pt x="174" y="764"/>
                    <a:pt x="174" y="764"/>
                  </a:cubicBezTo>
                  <a:moveTo>
                    <a:pt x="1768" y="756"/>
                  </a:moveTo>
                  <a:cubicBezTo>
                    <a:pt x="1761" y="756"/>
                    <a:pt x="1753" y="761"/>
                    <a:pt x="1752" y="767"/>
                  </a:cubicBezTo>
                  <a:cubicBezTo>
                    <a:pt x="1751" y="772"/>
                    <a:pt x="1756" y="777"/>
                    <a:pt x="1763" y="777"/>
                  </a:cubicBezTo>
                  <a:cubicBezTo>
                    <a:pt x="1771" y="777"/>
                    <a:pt x="1778" y="772"/>
                    <a:pt x="1779" y="766"/>
                  </a:cubicBezTo>
                  <a:cubicBezTo>
                    <a:pt x="1781" y="761"/>
                    <a:pt x="1776" y="756"/>
                    <a:pt x="1768" y="756"/>
                  </a:cubicBezTo>
                  <a:cubicBezTo>
                    <a:pt x="1768" y="756"/>
                    <a:pt x="1768" y="756"/>
                    <a:pt x="1768" y="756"/>
                  </a:cubicBezTo>
                  <a:moveTo>
                    <a:pt x="1807" y="756"/>
                  </a:moveTo>
                  <a:cubicBezTo>
                    <a:pt x="1799" y="756"/>
                    <a:pt x="1792" y="761"/>
                    <a:pt x="1791" y="766"/>
                  </a:cubicBezTo>
                  <a:cubicBezTo>
                    <a:pt x="1789" y="772"/>
                    <a:pt x="1795" y="777"/>
                    <a:pt x="1802" y="777"/>
                  </a:cubicBezTo>
                  <a:cubicBezTo>
                    <a:pt x="1810" y="776"/>
                    <a:pt x="1817" y="772"/>
                    <a:pt x="1818" y="766"/>
                  </a:cubicBezTo>
                  <a:cubicBezTo>
                    <a:pt x="1819" y="761"/>
                    <a:pt x="1814" y="756"/>
                    <a:pt x="1807" y="756"/>
                  </a:cubicBezTo>
                  <a:cubicBezTo>
                    <a:pt x="1807" y="756"/>
                    <a:pt x="1807" y="756"/>
                    <a:pt x="1807" y="756"/>
                  </a:cubicBezTo>
                  <a:moveTo>
                    <a:pt x="1846" y="756"/>
                  </a:moveTo>
                  <a:cubicBezTo>
                    <a:pt x="1838" y="756"/>
                    <a:pt x="1831" y="761"/>
                    <a:pt x="1830" y="766"/>
                  </a:cubicBezTo>
                  <a:cubicBezTo>
                    <a:pt x="1829" y="772"/>
                    <a:pt x="1834" y="776"/>
                    <a:pt x="1841" y="776"/>
                  </a:cubicBezTo>
                  <a:cubicBezTo>
                    <a:pt x="1849" y="776"/>
                    <a:pt x="1856" y="772"/>
                    <a:pt x="1857" y="766"/>
                  </a:cubicBezTo>
                  <a:cubicBezTo>
                    <a:pt x="1858" y="760"/>
                    <a:pt x="1853" y="756"/>
                    <a:pt x="1846" y="756"/>
                  </a:cubicBezTo>
                  <a:cubicBezTo>
                    <a:pt x="1846" y="756"/>
                    <a:pt x="1846" y="756"/>
                    <a:pt x="1846" y="756"/>
                  </a:cubicBezTo>
                  <a:moveTo>
                    <a:pt x="1885" y="756"/>
                  </a:moveTo>
                  <a:cubicBezTo>
                    <a:pt x="1878" y="756"/>
                    <a:pt x="1871" y="760"/>
                    <a:pt x="1869" y="766"/>
                  </a:cubicBezTo>
                  <a:cubicBezTo>
                    <a:pt x="1868" y="772"/>
                    <a:pt x="1873" y="776"/>
                    <a:pt x="1881" y="776"/>
                  </a:cubicBezTo>
                  <a:cubicBezTo>
                    <a:pt x="1888" y="776"/>
                    <a:pt x="1896" y="771"/>
                    <a:pt x="1897" y="766"/>
                  </a:cubicBezTo>
                  <a:cubicBezTo>
                    <a:pt x="1898" y="760"/>
                    <a:pt x="1893" y="756"/>
                    <a:pt x="1885" y="756"/>
                  </a:cubicBezTo>
                  <a:cubicBezTo>
                    <a:pt x="1885" y="756"/>
                    <a:pt x="1885" y="756"/>
                    <a:pt x="1885" y="756"/>
                  </a:cubicBezTo>
                  <a:moveTo>
                    <a:pt x="1924" y="756"/>
                  </a:moveTo>
                  <a:cubicBezTo>
                    <a:pt x="1916" y="756"/>
                    <a:pt x="1909" y="760"/>
                    <a:pt x="1908" y="766"/>
                  </a:cubicBezTo>
                  <a:cubicBezTo>
                    <a:pt x="1907" y="771"/>
                    <a:pt x="1912" y="776"/>
                    <a:pt x="1920" y="776"/>
                  </a:cubicBezTo>
                  <a:cubicBezTo>
                    <a:pt x="1927" y="776"/>
                    <a:pt x="1934" y="771"/>
                    <a:pt x="1935" y="766"/>
                  </a:cubicBezTo>
                  <a:cubicBezTo>
                    <a:pt x="1936" y="760"/>
                    <a:pt x="1931" y="756"/>
                    <a:pt x="1924" y="756"/>
                  </a:cubicBezTo>
                  <a:cubicBezTo>
                    <a:pt x="1924" y="756"/>
                    <a:pt x="1924" y="756"/>
                    <a:pt x="1924" y="756"/>
                  </a:cubicBezTo>
                  <a:moveTo>
                    <a:pt x="1963" y="755"/>
                  </a:moveTo>
                  <a:cubicBezTo>
                    <a:pt x="1955" y="755"/>
                    <a:pt x="1948" y="760"/>
                    <a:pt x="1947" y="766"/>
                  </a:cubicBezTo>
                  <a:cubicBezTo>
                    <a:pt x="1946" y="771"/>
                    <a:pt x="1951" y="776"/>
                    <a:pt x="1959" y="776"/>
                  </a:cubicBezTo>
                  <a:cubicBezTo>
                    <a:pt x="1966" y="776"/>
                    <a:pt x="1973" y="771"/>
                    <a:pt x="1974" y="765"/>
                  </a:cubicBezTo>
                  <a:cubicBezTo>
                    <a:pt x="1975" y="760"/>
                    <a:pt x="1970" y="755"/>
                    <a:pt x="1963" y="755"/>
                  </a:cubicBezTo>
                  <a:cubicBezTo>
                    <a:pt x="1963" y="755"/>
                    <a:pt x="1963" y="755"/>
                    <a:pt x="1963" y="755"/>
                  </a:cubicBezTo>
                  <a:moveTo>
                    <a:pt x="2819" y="755"/>
                  </a:moveTo>
                  <a:cubicBezTo>
                    <a:pt x="2811" y="755"/>
                    <a:pt x="2806" y="760"/>
                    <a:pt x="2806" y="766"/>
                  </a:cubicBezTo>
                  <a:cubicBezTo>
                    <a:pt x="2807" y="771"/>
                    <a:pt x="2814" y="776"/>
                    <a:pt x="2821" y="776"/>
                  </a:cubicBezTo>
                  <a:cubicBezTo>
                    <a:pt x="2829" y="776"/>
                    <a:pt x="2834" y="771"/>
                    <a:pt x="2834" y="765"/>
                  </a:cubicBezTo>
                  <a:cubicBezTo>
                    <a:pt x="2833" y="760"/>
                    <a:pt x="2826" y="755"/>
                    <a:pt x="2819" y="755"/>
                  </a:cubicBezTo>
                  <a:cubicBezTo>
                    <a:pt x="2819" y="755"/>
                    <a:pt x="2819" y="755"/>
                    <a:pt x="2819" y="755"/>
                  </a:cubicBezTo>
                  <a:moveTo>
                    <a:pt x="2001" y="755"/>
                  </a:moveTo>
                  <a:cubicBezTo>
                    <a:pt x="1994" y="755"/>
                    <a:pt x="1987" y="760"/>
                    <a:pt x="1986" y="765"/>
                  </a:cubicBezTo>
                  <a:cubicBezTo>
                    <a:pt x="1985" y="771"/>
                    <a:pt x="1990" y="776"/>
                    <a:pt x="1998" y="776"/>
                  </a:cubicBezTo>
                  <a:cubicBezTo>
                    <a:pt x="2005" y="776"/>
                    <a:pt x="2012" y="771"/>
                    <a:pt x="2013" y="765"/>
                  </a:cubicBezTo>
                  <a:cubicBezTo>
                    <a:pt x="2014" y="760"/>
                    <a:pt x="2009" y="755"/>
                    <a:pt x="2001" y="755"/>
                  </a:cubicBezTo>
                  <a:cubicBezTo>
                    <a:pt x="2001" y="755"/>
                    <a:pt x="2001" y="755"/>
                    <a:pt x="2001" y="755"/>
                  </a:cubicBezTo>
                  <a:moveTo>
                    <a:pt x="2040" y="755"/>
                  </a:moveTo>
                  <a:cubicBezTo>
                    <a:pt x="2033" y="755"/>
                    <a:pt x="2026" y="760"/>
                    <a:pt x="2025" y="765"/>
                  </a:cubicBezTo>
                  <a:cubicBezTo>
                    <a:pt x="2024" y="771"/>
                    <a:pt x="2029" y="775"/>
                    <a:pt x="2037" y="775"/>
                  </a:cubicBezTo>
                  <a:cubicBezTo>
                    <a:pt x="2045" y="775"/>
                    <a:pt x="2051" y="771"/>
                    <a:pt x="2052" y="765"/>
                  </a:cubicBezTo>
                  <a:cubicBezTo>
                    <a:pt x="2053" y="759"/>
                    <a:pt x="2048" y="755"/>
                    <a:pt x="2040" y="755"/>
                  </a:cubicBezTo>
                  <a:cubicBezTo>
                    <a:pt x="2040" y="755"/>
                    <a:pt x="2040" y="755"/>
                    <a:pt x="2040" y="755"/>
                  </a:cubicBezTo>
                  <a:moveTo>
                    <a:pt x="2855" y="755"/>
                  </a:moveTo>
                  <a:cubicBezTo>
                    <a:pt x="2848" y="755"/>
                    <a:pt x="2842" y="759"/>
                    <a:pt x="2843" y="765"/>
                  </a:cubicBezTo>
                  <a:cubicBezTo>
                    <a:pt x="2844" y="771"/>
                    <a:pt x="2850" y="775"/>
                    <a:pt x="2858" y="775"/>
                  </a:cubicBezTo>
                  <a:cubicBezTo>
                    <a:pt x="2866" y="775"/>
                    <a:pt x="2871" y="771"/>
                    <a:pt x="2870" y="765"/>
                  </a:cubicBezTo>
                  <a:cubicBezTo>
                    <a:pt x="2870" y="759"/>
                    <a:pt x="2863" y="755"/>
                    <a:pt x="2855" y="755"/>
                  </a:cubicBezTo>
                  <a:cubicBezTo>
                    <a:pt x="2855" y="755"/>
                    <a:pt x="2855" y="755"/>
                    <a:pt x="2855" y="755"/>
                  </a:cubicBezTo>
                  <a:moveTo>
                    <a:pt x="2080" y="755"/>
                  </a:moveTo>
                  <a:cubicBezTo>
                    <a:pt x="2073" y="755"/>
                    <a:pt x="2066" y="759"/>
                    <a:pt x="2065" y="765"/>
                  </a:cubicBezTo>
                  <a:cubicBezTo>
                    <a:pt x="2064" y="771"/>
                    <a:pt x="2070" y="775"/>
                    <a:pt x="2077" y="775"/>
                  </a:cubicBezTo>
                  <a:cubicBezTo>
                    <a:pt x="2085" y="775"/>
                    <a:pt x="2092" y="771"/>
                    <a:pt x="2092" y="765"/>
                  </a:cubicBezTo>
                  <a:cubicBezTo>
                    <a:pt x="2093" y="759"/>
                    <a:pt x="2088" y="755"/>
                    <a:pt x="2080" y="755"/>
                  </a:cubicBezTo>
                  <a:cubicBezTo>
                    <a:pt x="2080" y="755"/>
                    <a:pt x="2080" y="755"/>
                    <a:pt x="2080" y="755"/>
                  </a:cubicBezTo>
                  <a:moveTo>
                    <a:pt x="2119" y="755"/>
                  </a:moveTo>
                  <a:cubicBezTo>
                    <a:pt x="2111" y="755"/>
                    <a:pt x="2105" y="759"/>
                    <a:pt x="2104" y="765"/>
                  </a:cubicBezTo>
                  <a:cubicBezTo>
                    <a:pt x="2103" y="770"/>
                    <a:pt x="2109" y="775"/>
                    <a:pt x="2116" y="775"/>
                  </a:cubicBezTo>
                  <a:cubicBezTo>
                    <a:pt x="2124" y="775"/>
                    <a:pt x="2131" y="770"/>
                    <a:pt x="2131" y="765"/>
                  </a:cubicBezTo>
                  <a:cubicBezTo>
                    <a:pt x="2132" y="759"/>
                    <a:pt x="2126" y="755"/>
                    <a:pt x="2119" y="755"/>
                  </a:cubicBezTo>
                  <a:cubicBezTo>
                    <a:pt x="2119" y="755"/>
                    <a:pt x="2119" y="755"/>
                    <a:pt x="2119" y="755"/>
                  </a:cubicBezTo>
                  <a:moveTo>
                    <a:pt x="2158" y="754"/>
                  </a:moveTo>
                  <a:cubicBezTo>
                    <a:pt x="2150" y="754"/>
                    <a:pt x="2144" y="759"/>
                    <a:pt x="2143" y="765"/>
                  </a:cubicBezTo>
                  <a:cubicBezTo>
                    <a:pt x="2142" y="770"/>
                    <a:pt x="2148" y="775"/>
                    <a:pt x="2156" y="775"/>
                  </a:cubicBezTo>
                  <a:cubicBezTo>
                    <a:pt x="2163" y="775"/>
                    <a:pt x="2170" y="770"/>
                    <a:pt x="2170" y="765"/>
                  </a:cubicBezTo>
                  <a:cubicBezTo>
                    <a:pt x="2171" y="759"/>
                    <a:pt x="2165" y="754"/>
                    <a:pt x="2158" y="754"/>
                  </a:cubicBezTo>
                  <a:cubicBezTo>
                    <a:pt x="2158" y="754"/>
                    <a:pt x="2158" y="754"/>
                    <a:pt x="2158" y="754"/>
                  </a:cubicBezTo>
                  <a:moveTo>
                    <a:pt x="2197" y="754"/>
                  </a:moveTo>
                  <a:cubicBezTo>
                    <a:pt x="2190" y="754"/>
                    <a:pt x="2183" y="759"/>
                    <a:pt x="2182" y="764"/>
                  </a:cubicBezTo>
                  <a:cubicBezTo>
                    <a:pt x="2182" y="770"/>
                    <a:pt x="2188" y="775"/>
                    <a:pt x="2195" y="775"/>
                  </a:cubicBezTo>
                  <a:cubicBezTo>
                    <a:pt x="2203" y="775"/>
                    <a:pt x="2209" y="770"/>
                    <a:pt x="2210" y="764"/>
                  </a:cubicBezTo>
                  <a:cubicBezTo>
                    <a:pt x="2210" y="759"/>
                    <a:pt x="2205" y="754"/>
                    <a:pt x="2197" y="754"/>
                  </a:cubicBezTo>
                  <a:cubicBezTo>
                    <a:pt x="2197" y="754"/>
                    <a:pt x="2197" y="754"/>
                    <a:pt x="2197" y="754"/>
                  </a:cubicBezTo>
                  <a:moveTo>
                    <a:pt x="2236" y="754"/>
                  </a:moveTo>
                  <a:cubicBezTo>
                    <a:pt x="2228" y="754"/>
                    <a:pt x="2222" y="759"/>
                    <a:pt x="2221" y="764"/>
                  </a:cubicBezTo>
                  <a:cubicBezTo>
                    <a:pt x="2221" y="770"/>
                    <a:pt x="2226" y="774"/>
                    <a:pt x="2234" y="774"/>
                  </a:cubicBezTo>
                  <a:cubicBezTo>
                    <a:pt x="2242" y="774"/>
                    <a:pt x="2248" y="770"/>
                    <a:pt x="2248" y="764"/>
                  </a:cubicBezTo>
                  <a:cubicBezTo>
                    <a:pt x="2249" y="759"/>
                    <a:pt x="2243" y="754"/>
                    <a:pt x="2236" y="754"/>
                  </a:cubicBezTo>
                  <a:cubicBezTo>
                    <a:pt x="2236" y="754"/>
                    <a:pt x="2236" y="754"/>
                    <a:pt x="2236" y="754"/>
                  </a:cubicBezTo>
                  <a:moveTo>
                    <a:pt x="2275" y="754"/>
                  </a:moveTo>
                  <a:cubicBezTo>
                    <a:pt x="2267" y="754"/>
                    <a:pt x="2261" y="758"/>
                    <a:pt x="2260" y="764"/>
                  </a:cubicBezTo>
                  <a:cubicBezTo>
                    <a:pt x="2260" y="770"/>
                    <a:pt x="2266" y="774"/>
                    <a:pt x="2273" y="774"/>
                  </a:cubicBezTo>
                  <a:cubicBezTo>
                    <a:pt x="2281" y="774"/>
                    <a:pt x="2287" y="770"/>
                    <a:pt x="2287" y="764"/>
                  </a:cubicBezTo>
                  <a:cubicBezTo>
                    <a:pt x="2288" y="758"/>
                    <a:pt x="2282" y="754"/>
                    <a:pt x="2275" y="754"/>
                  </a:cubicBezTo>
                  <a:cubicBezTo>
                    <a:pt x="2275" y="754"/>
                    <a:pt x="2275" y="754"/>
                    <a:pt x="2275" y="754"/>
                  </a:cubicBezTo>
                  <a:moveTo>
                    <a:pt x="2313" y="754"/>
                  </a:moveTo>
                  <a:cubicBezTo>
                    <a:pt x="2306" y="754"/>
                    <a:pt x="2299" y="758"/>
                    <a:pt x="2299" y="764"/>
                  </a:cubicBezTo>
                  <a:cubicBezTo>
                    <a:pt x="2299" y="770"/>
                    <a:pt x="2304" y="774"/>
                    <a:pt x="2312" y="774"/>
                  </a:cubicBezTo>
                  <a:cubicBezTo>
                    <a:pt x="2320" y="774"/>
                    <a:pt x="2326" y="769"/>
                    <a:pt x="2326" y="764"/>
                  </a:cubicBezTo>
                  <a:cubicBezTo>
                    <a:pt x="2327" y="758"/>
                    <a:pt x="2321" y="754"/>
                    <a:pt x="2313" y="754"/>
                  </a:cubicBezTo>
                  <a:cubicBezTo>
                    <a:pt x="2313" y="754"/>
                    <a:pt x="2313" y="754"/>
                    <a:pt x="2313" y="754"/>
                  </a:cubicBezTo>
                  <a:moveTo>
                    <a:pt x="2352" y="753"/>
                  </a:moveTo>
                  <a:cubicBezTo>
                    <a:pt x="2345" y="753"/>
                    <a:pt x="2338" y="758"/>
                    <a:pt x="2338" y="764"/>
                  </a:cubicBezTo>
                  <a:cubicBezTo>
                    <a:pt x="2338" y="769"/>
                    <a:pt x="2344" y="774"/>
                    <a:pt x="2351" y="774"/>
                  </a:cubicBezTo>
                  <a:cubicBezTo>
                    <a:pt x="2359" y="774"/>
                    <a:pt x="2365" y="769"/>
                    <a:pt x="2365" y="764"/>
                  </a:cubicBezTo>
                  <a:cubicBezTo>
                    <a:pt x="2365" y="758"/>
                    <a:pt x="2360" y="753"/>
                    <a:pt x="2352" y="753"/>
                  </a:cubicBezTo>
                  <a:cubicBezTo>
                    <a:pt x="2352" y="753"/>
                    <a:pt x="2352" y="753"/>
                    <a:pt x="2352" y="753"/>
                  </a:cubicBezTo>
                  <a:moveTo>
                    <a:pt x="2391" y="753"/>
                  </a:moveTo>
                  <a:cubicBezTo>
                    <a:pt x="2384" y="753"/>
                    <a:pt x="2378" y="758"/>
                    <a:pt x="2377" y="764"/>
                  </a:cubicBezTo>
                  <a:cubicBezTo>
                    <a:pt x="2377" y="769"/>
                    <a:pt x="2383" y="774"/>
                    <a:pt x="2391" y="774"/>
                  </a:cubicBezTo>
                  <a:cubicBezTo>
                    <a:pt x="2398" y="774"/>
                    <a:pt x="2405" y="769"/>
                    <a:pt x="2405" y="763"/>
                  </a:cubicBezTo>
                  <a:cubicBezTo>
                    <a:pt x="2405" y="758"/>
                    <a:pt x="2399" y="753"/>
                    <a:pt x="2391" y="753"/>
                  </a:cubicBezTo>
                  <a:cubicBezTo>
                    <a:pt x="2391" y="753"/>
                    <a:pt x="2391" y="753"/>
                    <a:pt x="2391" y="753"/>
                  </a:cubicBezTo>
                  <a:moveTo>
                    <a:pt x="2430" y="753"/>
                  </a:moveTo>
                  <a:cubicBezTo>
                    <a:pt x="2422" y="753"/>
                    <a:pt x="2416" y="758"/>
                    <a:pt x="2416" y="763"/>
                  </a:cubicBezTo>
                  <a:cubicBezTo>
                    <a:pt x="2416" y="769"/>
                    <a:pt x="2422" y="774"/>
                    <a:pt x="2430" y="773"/>
                  </a:cubicBezTo>
                  <a:cubicBezTo>
                    <a:pt x="2437" y="773"/>
                    <a:pt x="2443" y="769"/>
                    <a:pt x="2443" y="763"/>
                  </a:cubicBezTo>
                  <a:cubicBezTo>
                    <a:pt x="2443" y="758"/>
                    <a:pt x="2438" y="753"/>
                    <a:pt x="2430" y="753"/>
                  </a:cubicBezTo>
                  <a:cubicBezTo>
                    <a:pt x="2430" y="753"/>
                    <a:pt x="2430" y="753"/>
                    <a:pt x="2430" y="753"/>
                  </a:cubicBezTo>
                  <a:moveTo>
                    <a:pt x="3011" y="753"/>
                  </a:moveTo>
                  <a:cubicBezTo>
                    <a:pt x="3003" y="753"/>
                    <a:pt x="2998" y="758"/>
                    <a:pt x="2999" y="763"/>
                  </a:cubicBezTo>
                  <a:cubicBezTo>
                    <a:pt x="3000" y="769"/>
                    <a:pt x="3007" y="773"/>
                    <a:pt x="3014" y="773"/>
                  </a:cubicBezTo>
                  <a:cubicBezTo>
                    <a:pt x="3022" y="773"/>
                    <a:pt x="3027" y="769"/>
                    <a:pt x="3026" y="763"/>
                  </a:cubicBezTo>
                  <a:cubicBezTo>
                    <a:pt x="3025" y="757"/>
                    <a:pt x="3018" y="753"/>
                    <a:pt x="3011" y="753"/>
                  </a:cubicBezTo>
                  <a:cubicBezTo>
                    <a:pt x="3011" y="753"/>
                    <a:pt x="3011" y="753"/>
                    <a:pt x="3011" y="753"/>
                  </a:cubicBezTo>
                  <a:moveTo>
                    <a:pt x="2469" y="753"/>
                  </a:moveTo>
                  <a:cubicBezTo>
                    <a:pt x="2461" y="753"/>
                    <a:pt x="2455" y="757"/>
                    <a:pt x="2455" y="763"/>
                  </a:cubicBezTo>
                  <a:cubicBezTo>
                    <a:pt x="2455" y="769"/>
                    <a:pt x="2461" y="773"/>
                    <a:pt x="2469" y="773"/>
                  </a:cubicBezTo>
                  <a:cubicBezTo>
                    <a:pt x="2476" y="773"/>
                    <a:pt x="2482" y="769"/>
                    <a:pt x="2482" y="763"/>
                  </a:cubicBezTo>
                  <a:cubicBezTo>
                    <a:pt x="2482" y="757"/>
                    <a:pt x="2476" y="753"/>
                    <a:pt x="2469" y="753"/>
                  </a:cubicBezTo>
                  <a:cubicBezTo>
                    <a:pt x="2469" y="753"/>
                    <a:pt x="2469" y="753"/>
                    <a:pt x="2469" y="753"/>
                  </a:cubicBezTo>
                  <a:moveTo>
                    <a:pt x="3049" y="753"/>
                  </a:moveTo>
                  <a:cubicBezTo>
                    <a:pt x="3042" y="753"/>
                    <a:pt x="3037" y="757"/>
                    <a:pt x="3038" y="763"/>
                  </a:cubicBezTo>
                  <a:cubicBezTo>
                    <a:pt x="3039" y="769"/>
                    <a:pt x="3046" y="773"/>
                    <a:pt x="3053" y="773"/>
                  </a:cubicBezTo>
                  <a:cubicBezTo>
                    <a:pt x="3061" y="773"/>
                    <a:pt x="3066" y="769"/>
                    <a:pt x="3065" y="763"/>
                  </a:cubicBezTo>
                  <a:cubicBezTo>
                    <a:pt x="3064" y="757"/>
                    <a:pt x="3057" y="753"/>
                    <a:pt x="3050" y="753"/>
                  </a:cubicBezTo>
                  <a:cubicBezTo>
                    <a:pt x="3050" y="753"/>
                    <a:pt x="3050" y="753"/>
                    <a:pt x="3049" y="753"/>
                  </a:cubicBezTo>
                  <a:moveTo>
                    <a:pt x="2507" y="753"/>
                  </a:moveTo>
                  <a:cubicBezTo>
                    <a:pt x="2500" y="753"/>
                    <a:pt x="2494" y="757"/>
                    <a:pt x="2494" y="763"/>
                  </a:cubicBezTo>
                  <a:cubicBezTo>
                    <a:pt x="2494" y="769"/>
                    <a:pt x="2500" y="773"/>
                    <a:pt x="2508" y="773"/>
                  </a:cubicBezTo>
                  <a:cubicBezTo>
                    <a:pt x="2515" y="773"/>
                    <a:pt x="2521" y="768"/>
                    <a:pt x="2521" y="763"/>
                  </a:cubicBezTo>
                  <a:cubicBezTo>
                    <a:pt x="2521" y="757"/>
                    <a:pt x="2515" y="753"/>
                    <a:pt x="2507" y="753"/>
                  </a:cubicBezTo>
                  <a:cubicBezTo>
                    <a:pt x="2507" y="753"/>
                    <a:pt x="2507" y="753"/>
                    <a:pt x="2507" y="753"/>
                  </a:cubicBezTo>
                  <a:moveTo>
                    <a:pt x="2546" y="752"/>
                  </a:moveTo>
                  <a:cubicBezTo>
                    <a:pt x="2539" y="752"/>
                    <a:pt x="2533" y="757"/>
                    <a:pt x="2533" y="763"/>
                  </a:cubicBezTo>
                  <a:cubicBezTo>
                    <a:pt x="2533" y="768"/>
                    <a:pt x="2539" y="773"/>
                    <a:pt x="2547" y="773"/>
                  </a:cubicBezTo>
                  <a:cubicBezTo>
                    <a:pt x="2554" y="773"/>
                    <a:pt x="2560" y="768"/>
                    <a:pt x="2560" y="763"/>
                  </a:cubicBezTo>
                  <a:cubicBezTo>
                    <a:pt x="2560" y="757"/>
                    <a:pt x="2554" y="752"/>
                    <a:pt x="2546" y="752"/>
                  </a:cubicBezTo>
                  <a:cubicBezTo>
                    <a:pt x="2546" y="752"/>
                    <a:pt x="2546" y="752"/>
                    <a:pt x="2546" y="752"/>
                  </a:cubicBezTo>
                  <a:moveTo>
                    <a:pt x="2586" y="752"/>
                  </a:moveTo>
                  <a:cubicBezTo>
                    <a:pt x="2578" y="752"/>
                    <a:pt x="2572" y="757"/>
                    <a:pt x="2572" y="763"/>
                  </a:cubicBezTo>
                  <a:cubicBezTo>
                    <a:pt x="2572" y="768"/>
                    <a:pt x="2579" y="773"/>
                    <a:pt x="2586" y="773"/>
                  </a:cubicBezTo>
                  <a:cubicBezTo>
                    <a:pt x="2594" y="773"/>
                    <a:pt x="2600" y="768"/>
                    <a:pt x="2600" y="762"/>
                  </a:cubicBezTo>
                  <a:cubicBezTo>
                    <a:pt x="2599" y="757"/>
                    <a:pt x="2593" y="752"/>
                    <a:pt x="2586" y="752"/>
                  </a:cubicBezTo>
                  <a:cubicBezTo>
                    <a:pt x="2586" y="752"/>
                    <a:pt x="2586" y="752"/>
                    <a:pt x="2586" y="752"/>
                  </a:cubicBezTo>
                  <a:moveTo>
                    <a:pt x="2664" y="752"/>
                  </a:moveTo>
                  <a:cubicBezTo>
                    <a:pt x="2656" y="752"/>
                    <a:pt x="2650" y="757"/>
                    <a:pt x="2650" y="762"/>
                  </a:cubicBezTo>
                  <a:cubicBezTo>
                    <a:pt x="2651" y="768"/>
                    <a:pt x="2657" y="773"/>
                    <a:pt x="2665" y="773"/>
                  </a:cubicBezTo>
                  <a:cubicBezTo>
                    <a:pt x="2672" y="773"/>
                    <a:pt x="2678" y="768"/>
                    <a:pt x="2678" y="762"/>
                  </a:cubicBezTo>
                  <a:cubicBezTo>
                    <a:pt x="2677" y="757"/>
                    <a:pt x="2671" y="752"/>
                    <a:pt x="2664" y="752"/>
                  </a:cubicBezTo>
                  <a:cubicBezTo>
                    <a:pt x="2664" y="752"/>
                    <a:pt x="2664" y="752"/>
                    <a:pt x="2664" y="752"/>
                  </a:cubicBezTo>
                  <a:moveTo>
                    <a:pt x="2702" y="752"/>
                  </a:moveTo>
                  <a:cubicBezTo>
                    <a:pt x="2695" y="752"/>
                    <a:pt x="2689" y="757"/>
                    <a:pt x="2689" y="762"/>
                  </a:cubicBezTo>
                  <a:cubicBezTo>
                    <a:pt x="2690" y="768"/>
                    <a:pt x="2696" y="772"/>
                    <a:pt x="2704" y="772"/>
                  </a:cubicBezTo>
                  <a:cubicBezTo>
                    <a:pt x="2711" y="772"/>
                    <a:pt x="2717" y="768"/>
                    <a:pt x="2717" y="762"/>
                  </a:cubicBezTo>
                  <a:cubicBezTo>
                    <a:pt x="2716" y="756"/>
                    <a:pt x="2710" y="752"/>
                    <a:pt x="2702" y="752"/>
                  </a:cubicBezTo>
                  <a:cubicBezTo>
                    <a:pt x="2702" y="752"/>
                    <a:pt x="2702" y="752"/>
                    <a:pt x="2702" y="752"/>
                  </a:cubicBezTo>
                  <a:moveTo>
                    <a:pt x="2975" y="752"/>
                  </a:moveTo>
                  <a:cubicBezTo>
                    <a:pt x="2967" y="752"/>
                    <a:pt x="2962" y="756"/>
                    <a:pt x="2963" y="762"/>
                  </a:cubicBezTo>
                  <a:cubicBezTo>
                    <a:pt x="2964" y="768"/>
                    <a:pt x="2971" y="772"/>
                    <a:pt x="2978" y="772"/>
                  </a:cubicBezTo>
                  <a:cubicBezTo>
                    <a:pt x="2986" y="772"/>
                    <a:pt x="2991" y="768"/>
                    <a:pt x="2990" y="762"/>
                  </a:cubicBezTo>
                  <a:cubicBezTo>
                    <a:pt x="2989" y="756"/>
                    <a:pt x="2982" y="752"/>
                    <a:pt x="2975" y="752"/>
                  </a:cubicBezTo>
                  <a:cubicBezTo>
                    <a:pt x="2975" y="752"/>
                    <a:pt x="2975" y="752"/>
                    <a:pt x="2975" y="752"/>
                  </a:cubicBezTo>
                  <a:moveTo>
                    <a:pt x="2741" y="752"/>
                  </a:moveTo>
                  <a:cubicBezTo>
                    <a:pt x="2733" y="752"/>
                    <a:pt x="2728" y="756"/>
                    <a:pt x="2728" y="762"/>
                  </a:cubicBezTo>
                  <a:cubicBezTo>
                    <a:pt x="2728" y="768"/>
                    <a:pt x="2735" y="772"/>
                    <a:pt x="2743" y="772"/>
                  </a:cubicBezTo>
                  <a:cubicBezTo>
                    <a:pt x="2750" y="772"/>
                    <a:pt x="2756" y="768"/>
                    <a:pt x="2755" y="762"/>
                  </a:cubicBezTo>
                  <a:cubicBezTo>
                    <a:pt x="2755" y="756"/>
                    <a:pt x="2748" y="752"/>
                    <a:pt x="2741" y="752"/>
                  </a:cubicBezTo>
                  <a:cubicBezTo>
                    <a:pt x="2741" y="752"/>
                    <a:pt x="2741" y="752"/>
                    <a:pt x="2741" y="752"/>
                  </a:cubicBezTo>
                  <a:moveTo>
                    <a:pt x="3169" y="751"/>
                  </a:moveTo>
                  <a:cubicBezTo>
                    <a:pt x="3161" y="751"/>
                    <a:pt x="3156" y="756"/>
                    <a:pt x="3158" y="762"/>
                  </a:cubicBezTo>
                  <a:cubicBezTo>
                    <a:pt x="3159" y="767"/>
                    <a:pt x="3166" y="772"/>
                    <a:pt x="3174" y="772"/>
                  </a:cubicBezTo>
                  <a:cubicBezTo>
                    <a:pt x="3181" y="772"/>
                    <a:pt x="3186" y="767"/>
                    <a:pt x="3185" y="762"/>
                  </a:cubicBezTo>
                  <a:cubicBezTo>
                    <a:pt x="3184" y="756"/>
                    <a:pt x="3176" y="751"/>
                    <a:pt x="3169" y="751"/>
                  </a:cubicBezTo>
                  <a:cubicBezTo>
                    <a:pt x="3169" y="751"/>
                    <a:pt x="3169" y="751"/>
                    <a:pt x="3169" y="751"/>
                  </a:cubicBezTo>
                  <a:moveTo>
                    <a:pt x="3088" y="751"/>
                  </a:moveTo>
                  <a:cubicBezTo>
                    <a:pt x="3080" y="751"/>
                    <a:pt x="3075" y="756"/>
                    <a:pt x="3076" y="762"/>
                  </a:cubicBezTo>
                  <a:cubicBezTo>
                    <a:pt x="3077" y="767"/>
                    <a:pt x="3084" y="772"/>
                    <a:pt x="3092" y="772"/>
                  </a:cubicBezTo>
                  <a:cubicBezTo>
                    <a:pt x="3100" y="772"/>
                    <a:pt x="3105" y="767"/>
                    <a:pt x="3104" y="761"/>
                  </a:cubicBezTo>
                  <a:cubicBezTo>
                    <a:pt x="3102" y="756"/>
                    <a:pt x="3095" y="751"/>
                    <a:pt x="3088" y="751"/>
                  </a:cubicBezTo>
                  <a:cubicBezTo>
                    <a:pt x="3088" y="751"/>
                    <a:pt x="3088" y="751"/>
                    <a:pt x="3088" y="751"/>
                  </a:cubicBezTo>
                  <a:moveTo>
                    <a:pt x="3208" y="751"/>
                  </a:moveTo>
                  <a:cubicBezTo>
                    <a:pt x="3201" y="751"/>
                    <a:pt x="3196" y="756"/>
                    <a:pt x="3197" y="761"/>
                  </a:cubicBezTo>
                  <a:cubicBezTo>
                    <a:pt x="3198" y="767"/>
                    <a:pt x="3206" y="772"/>
                    <a:pt x="3213" y="772"/>
                  </a:cubicBezTo>
                  <a:cubicBezTo>
                    <a:pt x="3221" y="772"/>
                    <a:pt x="3226" y="767"/>
                    <a:pt x="3224" y="761"/>
                  </a:cubicBezTo>
                  <a:cubicBezTo>
                    <a:pt x="3223" y="756"/>
                    <a:pt x="3216" y="751"/>
                    <a:pt x="3208" y="751"/>
                  </a:cubicBezTo>
                  <a:cubicBezTo>
                    <a:pt x="3208" y="751"/>
                    <a:pt x="3208" y="751"/>
                    <a:pt x="3208" y="751"/>
                  </a:cubicBezTo>
                  <a:moveTo>
                    <a:pt x="2780" y="751"/>
                  </a:moveTo>
                  <a:cubicBezTo>
                    <a:pt x="2772" y="751"/>
                    <a:pt x="2766" y="756"/>
                    <a:pt x="2767" y="761"/>
                  </a:cubicBezTo>
                  <a:cubicBezTo>
                    <a:pt x="2768" y="767"/>
                    <a:pt x="2774" y="772"/>
                    <a:pt x="2782" y="772"/>
                  </a:cubicBezTo>
                  <a:cubicBezTo>
                    <a:pt x="2789" y="772"/>
                    <a:pt x="2795" y="767"/>
                    <a:pt x="2794" y="761"/>
                  </a:cubicBezTo>
                  <a:cubicBezTo>
                    <a:pt x="2794" y="756"/>
                    <a:pt x="2787" y="751"/>
                    <a:pt x="2780" y="751"/>
                  </a:cubicBezTo>
                  <a:cubicBezTo>
                    <a:pt x="2780" y="751"/>
                    <a:pt x="2780" y="751"/>
                    <a:pt x="2780" y="751"/>
                  </a:cubicBezTo>
                  <a:moveTo>
                    <a:pt x="3127" y="751"/>
                  </a:moveTo>
                  <a:cubicBezTo>
                    <a:pt x="3119" y="751"/>
                    <a:pt x="3114" y="756"/>
                    <a:pt x="3115" y="761"/>
                  </a:cubicBezTo>
                  <a:cubicBezTo>
                    <a:pt x="3117" y="767"/>
                    <a:pt x="3124" y="772"/>
                    <a:pt x="3131" y="772"/>
                  </a:cubicBezTo>
                  <a:cubicBezTo>
                    <a:pt x="3139" y="772"/>
                    <a:pt x="3144" y="767"/>
                    <a:pt x="3143" y="761"/>
                  </a:cubicBezTo>
                  <a:cubicBezTo>
                    <a:pt x="3141" y="756"/>
                    <a:pt x="3134" y="751"/>
                    <a:pt x="3127" y="751"/>
                  </a:cubicBezTo>
                  <a:cubicBezTo>
                    <a:pt x="3127" y="751"/>
                    <a:pt x="3127" y="751"/>
                    <a:pt x="3127" y="751"/>
                  </a:cubicBezTo>
                  <a:moveTo>
                    <a:pt x="3711" y="751"/>
                  </a:moveTo>
                  <a:cubicBezTo>
                    <a:pt x="3704" y="751"/>
                    <a:pt x="3700" y="756"/>
                    <a:pt x="3702" y="761"/>
                  </a:cubicBezTo>
                  <a:cubicBezTo>
                    <a:pt x="3704" y="767"/>
                    <a:pt x="3712" y="772"/>
                    <a:pt x="3720" y="772"/>
                  </a:cubicBezTo>
                  <a:cubicBezTo>
                    <a:pt x="3728" y="772"/>
                    <a:pt x="3732" y="767"/>
                    <a:pt x="3729" y="761"/>
                  </a:cubicBezTo>
                  <a:cubicBezTo>
                    <a:pt x="3727" y="756"/>
                    <a:pt x="3719" y="751"/>
                    <a:pt x="3711" y="751"/>
                  </a:cubicBezTo>
                  <a:cubicBezTo>
                    <a:pt x="3711" y="751"/>
                    <a:pt x="3711" y="751"/>
                    <a:pt x="3711" y="751"/>
                  </a:cubicBezTo>
                  <a:moveTo>
                    <a:pt x="3244" y="751"/>
                  </a:moveTo>
                  <a:cubicBezTo>
                    <a:pt x="3237" y="751"/>
                    <a:pt x="3232" y="756"/>
                    <a:pt x="3233" y="761"/>
                  </a:cubicBezTo>
                  <a:cubicBezTo>
                    <a:pt x="3235" y="767"/>
                    <a:pt x="3242" y="771"/>
                    <a:pt x="3250" y="771"/>
                  </a:cubicBezTo>
                  <a:cubicBezTo>
                    <a:pt x="3257" y="771"/>
                    <a:pt x="3262" y="767"/>
                    <a:pt x="3261" y="761"/>
                  </a:cubicBezTo>
                  <a:cubicBezTo>
                    <a:pt x="3259" y="756"/>
                    <a:pt x="3252" y="751"/>
                    <a:pt x="3244" y="751"/>
                  </a:cubicBezTo>
                  <a:cubicBezTo>
                    <a:pt x="3244" y="751"/>
                    <a:pt x="3244" y="751"/>
                    <a:pt x="3244" y="751"/>
                  </a:cubicBezTo>
                  <a:moveTo>
                    <a:pt x="3750" y="751"/>
                  </a:moveTo>
                  <a:cubicBezTo>
                    <a:pt x="3742" y="751"/>
                    <a:pt x="3738" y="756"/>
                    <a:pt x="3741" y="761"/>
                  </a:cubicBezTo>
                  <a:cubicBezTo>
                    <a:pt x="3743" y="767"/>
                    <a:pt x="3751" y="771"/>
                    <a:pt x="3759" y="771"/>
                  </a:cubicBezTo>
                  <a:cubicBezTo>
                    <a:pt x="3766" y="771"/>
                    <a:pt x="3770" y="767"/>
                    <a:pt x="3768" y="761"/>
                  </a:cubicBezTo>
                  <a:cubicBezTo>
                    <a:pt x="3766" y="755"/>
                    <a:pt x="3757" y="751"/>
                    <a:pt x="3750" y="751"/>
                  </a:cubicBezTo>
                  <a:cubicBezTo>
                    <a:pt x="3750" y="751"/>
                    <a:pt x="3750" y="751"/>
                    <a:pt x="3750" y="751"/>
                  </a:cubicBezTo>
                  <a:moveTo>
                    <a:pt x="3284" y="751"/>
                  </a:moveTo>
                  <a:cubicBezTo>
                    <a:pt x="3276" y="751"/>
                    <a:pt x="3271" y="755"/>
                    <a:pt x="3273" y="761"/>
                  </a:cubicBezTo>
                  <a:cubicBezTo>
                    <a:pt x="3274" y="767"/>
                    <a:pt x="3282" y="771"/>
                    <a:pt x="3289" y="771"/>
                  </a:cubicBezTo>
                  <a:cubicBezTo>
                    <a:pt x="3297" y="771"/>
                    <a:pt x="3302" y="767"/>
                    <a:pt x="3300" y="761"/>
                  </a:cubicBezTo>
                  <a:cubicBezTo>
                    <a:pt x="3298" y="755"/>
                    <a:pt x="3291" y="751"/>
                    <a:pt x="3284" y="751"/>
                  </a:cubicBezTo>
                  <a:cubicBezTo>
                    <a:pt x="3284" y="751"/>
                    <a:pt x="3284" y="751"/>
                    <a:pt x="3284" y="751"/>
                  </a:cubicBezTo>
                  <a:moveTo>
                    <a:pt x="3789" y="751"/>
                  </a:moveTo>
                  <a:cubicBezTo>
                    <a:pt x="3781" y="751"/>
                    <a:pt x="3777" y="755"/>
                    <a:pt x="3780" y="761"/>
                  </a:cubicBezTo>
                  <a:cubicBezTo>
                    <a:pt x="3782" y="767"/>
                    <a:pt x="3790" y="771"/>
                    <a:pt x="3798" y="771"/>
                  </a:cubicBezTo>
                  <a:cubicBezTo>
                    <a:pt x="3806" y="771"/>
                    <a:pt x="3810" y="767"/>
                    <a:pt x="3807" y="761"/>
                  </a:cubicBezTo>
                  <a:cubicBezTo>
                    <a:pt x="3804" y="755"/>
                    <a:pt x="3796" y="751"/>
                    <a:pt x="3789" y="751"/>
                  </a:cubicBezTo>
                  <a:cubicBezTo>
                    <a:pt x="3789" y="751"/>
                    <a:pt x="3789" y="751"/>
                    <a:pt x="3789" y="751"/>
                  </a:cubicBezTo>
                  <a:moveTo>
                    <a:pt x="3322" y="751"/>
                  </a:moveTo>
                  <a:cubicBezTo>
                    <a:pt x="3315" y="751"/>
                    <a:pt x="3310" y="755"/>
                    <a:pt x="3311" y="761"/>
                  </a:cubicBezTo>
                  <a:cubicBezTo>
                    <a:pt x="3313" y="767"/>
                    <a:pt x="3320" y="771"/>
                    <a:pt x="3328" y="771"/>
                  </a:cubicBezTo>
                  <a:cubicBezTo>
                    <a:pt x="3336" y="771"/>
                    <a:pt x="3340" y="766"/>
                    <a:pt x="3339" y="761"/>
                  </a:cubicBezTo>
                  <a:cubicBezTo>
                    <a:pt x="3337" y="755"/>
                    <a:pt x="3330" y="751"/>
                    <a:pt x="3322" y="751"/>
                  </a:cubicBezTo>
                  <a:cubicBezTo>
                    <a:pt x="3322" y="751"/>
                    <a:pt x="3322" y="751"/>
                    <a:pt x="3322" y="751"/>
                  </a:cubicBezTo>
                  <a:moveTo>
                    <a:pt x="3830" y="750"/>
                  </a:moveTo>
                  <a:cubicBezTo>
                    <a:pt x="3823" y="750"/>
                    <a:pt x="3819" y="755"/>
                    <a:pt x="3821" y="761"/>
                  </a:cubicBezTo>
                  <a:cubicBezTo>
                    <a:pt x="3824" y="766"/>
                    <a:pt x="3832" y="771"/>
                    <a:pt x="3840" y="771"/>
                  </a:cubicBezTo>
                  <a:cubicBezTo>
                    <a:pt x="3847" y="771"/>
                    <a:pt x="3851" y="766"/>
                    <a:pt x="3848" y="761"/>
                  </a:cubicBezTo>
                  <a:cubicBezTo>
                    <a:pt x="3846" y="755"/>
                    <a:pt x="3838" y="750"/>
                    <a:pt x="3830" y="750"/>
                  </a:cubicBezTo>
                  <a:cubicBezTo>
                    <a:pt x="3830" y="750"/>
                    <a:pt x="3830" y="750"/>
                    <a:pt x="3830" y="750"/>
                  </a:cubicBezTo>
                  <a:moveTo>
                    <a:pt x="3361" y="750"/>
                  </a:moveTo>
                  <a:cubicBezTo>
                    <a:pt x="3353" y="750"/>
                    <a:pt x="3349" y="755"/>
                    <a:pt x="3350" y="761"/>
                  </a:cubicBezTo>
                  <a:cubicBezTo>
                    <a:pt x="3352" y="766"/>
                    <a:pt x="3360" y="771"/>
                    <a:pt x="3367" y="771"/>
                  </a:cubicBezTo>
                  <a:cubicBezTo>
                    <a:pt x="3375" y="771"/>
                    <a:pt x="3379" y="766"/>
                    <a:pt x="3378" y="761"/>
                  </a:cubicBezTo>
                  <a:cubicBezTo>
                    <a:pt x="3376" y="755"/>
                    <a:pt x="3368" y="750"/>
                    <a:pt x="3361" y="750"/>
                  </a:cubicBezTo>
                  <a:cubicBezTo>
                    <a:pt x="3361" y="750"/>
                    <a:pt x="3361" y="750"/>
                    <a:pt x="3361" y="750"/>
                  </a:cubicBezTo>
                  <a:moveTo>
                    <a:pt x="3868" y="750"/>
                  </a:moveTo>
                  <a:cubicBezTo>
                    <a:pt x="3861" y="750"/>
                    <a:pt x="3857" y="755"/>
                    <a:pt x="3860" y="761"/>
                  </a:cubicBezTo>
                  <a:cubicBezTo>
                    <a:pt x="3862" y="766"/>
                    <a:pt x="3871" y="771"/>
                    <a:pt x="3878" y="771"/>
                  </a:cubicBezTo>
                  <a:cubicBezTo>
                    <a:pt x="3886" y="771"/>
                    <a:pt x="3890" y="766"/>
                    <a:pt x="3887" y="760"/>
                  </a:cubicBezTo>
                  <a:cubicBezTo>
                    <a:pt x="3884" y="755"/>
                    <a:pt x="3876" y="750"/>
                    <a:pt x="3868" y="750"/>
                  </a:cubicBezTo>
                  <a:cubicBezTo>
                    <a:pt x="3868" y="750"/>
                    <a:pt x="3868" y="750"/>
                    <a:pt x="3868" y="750"/>
                  </a:cubicBezTo>
                  <a:moveTo>
                    <a:pt x="3399" y="750"/>
                  </a:moveTo>
                  <a:cubicBezTo>
                    <a:pt x="3392" y="750"/>
                    <a:pt x="3387" y="755"/>
                    <a:pt x="3389" y="761"/>
                  </a:cubicBezTo>
                  <a:cubicBezTo>
                    <a:pt x="3391" y="766"/>
                    <a:pt x="3398" y="771"/>
                    <a:pt x="3406" y="771"/>
                  </a:cubicBezTo>
                  <a:cubicBezTo>
                    <a:pt x="3413" y="771"/>
                    <a:pt x="3418" y="766"/>
                    <a:pt x="3416" y="760"/>
                  </a:cubicBezTo>
                  <a:cubicBezTo>
                    <a:pt x="3415" y="755"/>
                    <a:pt x="3407" y="750"/>
                    <a:pt x="3400" y="750"/>
                  </a:cubicBezTo>
                  <a:cubicBezTo>
                    <a:pt x="3400" y="750"/>
                    <a:pt x="3400" y="750"/>
                    <a:pt x="3399" y="750"/>
                  </a:cubicBezTo>
                  <a:moveTo>
                    <a:pt x="3907" y="750"/>
                  </a:moveTo>
                  <a:cubicBezTo>
                    <a:pt x="3899" y="750"/>
                    <a:pt x="3895" y="755"/>
                    <a:pt x="3898" y="760"/>
                  </a:cubicBezTo>
                  <a:cubicBezTo>
                    <a:pt x="3901" y="766"/>
                    <a:pt x="3909" y="771"/>
                    <a:pt x="3917" y="771"/>
                  </a:cubicBezTo>
                  <a:cubicBezTo>
                    <a:pt x="3924" y="771"/>
                    <a:pt x="3928" y="766"/>
                    <a:pt x="3926" y="760"/>
                  </a:cubicBezTo>
                  <a:cubicBezTo>
                    <a:pt x="3923" y="755"/>
                    <a:pt x="3914" y="750"/>
                    <a:pt x="3907" y="750"/>
                  </a:cubicBezTo>
                  <a:cubicBezTo>
                    <a:pt x="3907" y="750"/>
                    <a:pt x="3907" y="750"/>
                    <a:pt x="3907" y="750"/>
                  </a:cubicBezTo>
                  <a:moveTo>
                    <a:pt x="3438" y="750"/>
                  </a:moveTo>
                  <a:cubicBezTo>
                    <a:pt x="3431" y="750"/>
                    <a:pt x="3426" y="755"/>
                    <a:pt x="3428" y="760"/>
                  </a:cubicBezTo>
                  <a:cubicBezTo>
                    <a:pt x="3430" y="766"/>
                    <a:pt x="3438" y="771"/>
                    <a:pt x="3445" y="771"/>
                  </a:cubicBezTo>
                  <a:cubicBezTo>
                    <a:pt x="3453" y="770"/>
                    <a:pt x="3457" y="766"/>
                    <a:pt x="3455" y="760"/>
                  </a:cubicBezTo>
                  <a:cubicBezTo>
                    <a:pt x="3453" y="755"/>
                    <a:pt x="3446" y="750"/>
                    <a:pt x="3438" y="750"/>
                  </a:cubicBezTo>
                  <a:cubicBezTo>
                    <a:pt x="3438" y="750"/>
                    <a:pt x="3438" y="750"/>
                    <a:pt x="3438" y="750"/>
                  </a:cubicBezTo>
                  <a:moveTo>
                    <a:pt x="3946" y="750"/>
                  </a:moveTo>
                  <a:cubicBezTo>
                    <a:pt x="3938" y="750"/>
                    <a:pt x="3934" y="755"/>
                    <a:pt x="3937" y="760"/>
                  </a:cubicBezTo>
                  <a:cubicBezTo>
                    <a:pt x="3940" y="766"/>
                    <a:pt x="3949" y="770"/>
                    <a:pt x="3956" y="770"/>
                  </a:cubicBezTo>
                  <a:cubicBezTo>
                    <a:pt x="3964" y="770"/>
                    <a:pt x="3967" y="766"/>
                    <a:pt x="3965" y="760"/>
                  </a:cubicBezTo>
                  <a:cubicBezTo>
                    <a:pt x="3962" y="754"/>
                    <a:pt x="3953" y="750"/>
                    <a:pt x="3946" y="750"/>
                  </a:cubicBezTo>
                  <a:cubicBezTo>
                    <a:pt x="3946" y="750"/>
                    <a:pt x="3946" y="750"/>
                    <a:pt x="3946" y="750"/>
                  </a:cubicBezTo>
                  <a:moveTo>
                    <a:pt x="3478" y="750"/>
                  </a:moveTo>
                  <a:cubicBezTo>
                    <a:pt x="3470" y="750"/>
                    <a:pt x="3466" y="754"/>
                    <a:pt x="3467" y="760"/>
                  </a:cubicBezTo>
                  <a:cubicBezTo>
                    <a:pt x="3469" y="766"/>
                    <a:pt x="3477" y="770"/>
                    <a:pt x="3485" y="770"/>
                  </a:cubicBezTo>
                  <a:cubicBezTo>
                    <a:pt x="3492" y="770"/>
                    <a:pt x="3497" y="766"/>
                    <a:pt x="3495" y="760"/>
                  </a:cubicBezTo>
                  <a:cubicBezTo>
                    <a:pt x="3493" y="754"/>
                    <a:pt x="3485" y="750"/>
                    <a:pt x="3478" y="750"/>
                  </a:cubicBezTo>
                  <a:cubicBezTo>
                    <a:pt x="3478" y="750"/>
                    <a:pt x="3478" y="750"/>
                    <a:pt x="3478" y="750"/>
                  </a:cubicBezTo>
                  <a:moveTo>
                    <a:pt x="3985" y="750"/>
                  </a:moveTo>
                  <a:cubicBezTo>
                    <a:pt x="3977" y="750"/>
                    <a:pt x="3974" y="754"/>
                    <a:pt x="3977" y="760"/>
                  </a:cubicBezTo>
                  <a:cubicBezTo>
                    <a:pt x="3980" y="766"/>
                    <a:pt x="3988" y="770"/>
                    <a:pt x="3996" y="770"/>
                  </a:cubicBezTo>
                  <a:cubicBezTo>
                    <a:pt x="4003" y="770"/>
                    <a:pt x="4007" y="766"/>
                    <a:pt x="4004" y="760"/>
                  </a:cubicBezTo>
                  <a:cubicBezTo>
                    <a:pt x="4001" y="754"/>
                    <a:pt x="3993" y="750"/>
                    <a:pt x="3985" y="750"/>
                  </a:cubicBezTo>
                  <a:cubicBezTo>
                    <a:pt x="3985" y="750"/>
                    <a:pt x="3985" y="750"/>
                    <a:pt x="3985" y="750"/>
                  </a:cubicBezTo>
                  <a:moveTo>
                    <a:pt x="3516" y="750"/>
                  </a:moveTo>
                  <a:cubicBezTo>
                    <a:pt x="3509" y="750"/>
                    <a:pt x="3504" y="754"/>
                    <a:pt x="3506" y="760"/>
                  </a:cubicBezTo>
                  <a:cubicBezTo>
                    <a:pt x="3508" y="766"/>
                    <a:pt x="3516" y="770"/>
                    <a:pt x="3523" y="770"/>
                  </a:cubicBezTo>
                  <a:cubicBezTo>
                    <a:pt x="3531" y="770"/>
                    <a:pt x="3535" y="765"/>
                    <a:pt x="3533" y="760"/>
                  </a:cubicBezTo>
                  <a:cubicBezTo>
                    <a:pt x="3531" y="754"/>
                    <a:pt x="3524" y="750"/>
                    <a:pt x="3516" y="750"/>
                  </a:cubicBezTo>
                  <a:cubicBezTo>
                    <a:pt x="3516" y="750"/>
                    <a:pt x="3516" y="750"/>
                    <a:pt x="3516" y="750"/>
                  </a:cubicBezTo>
                  <a:moveTo>
                    <a:pt x="4024" y="749"/>
                  </a:moveTo>
                  <a:cubicBezTo>
                    <a:pt x="4016" y="750"/>
                    <a:pt x="4012" y="754"/>
                    <a:pt x="4015" y="760"/>
                  </a:cubicBezTo>
                  <a:cubicBezTo>
                    <a:pt x="4018" y="766"/>
                    <a:pt x="4027" y="770"/>
                    <a:pt x="4034" y="770"/>
                  </a:cubicBezTo>
                  <a:cubicBezTo>
                    <a:pt x="4042" y="770"/>
                    <a:pt x="4046" y="765"/>
                    <a:pt x="4043" y="760"/>
                  </a:cubicBezTo>
                  <a:cubicBezTo>
                    <a:pt x="4040" y="754"/>
                    <a:pt x="4031" y="749"/>
                    <a:pt x="4024" y="749"/>
                  </a:cubicBezTo>
                  <a:cubicBezTo>
                    <a:pt x="4024" y="749"/>
                    <a:pt x="4024" y="749"/>
                    <a:pt x="4024" y="749"/>
                  </a:cubicBezTo>
                  <a:moveTo>
                    <a:pt x="3555" y="749"/>
                  </a:moveTo>
                  <a:cubicBezTo>
                    <a:pt x="3547" y="749"/>
                    <a:pt x="3543" y="754"/>
                    <a:pt x="3545" y="760"/>
                  </a:cubicBezTo>
                  <a:cubicBezTo>
                    <a:pt x="3547" y="765"/>
                    <a:pt x="3555" y="770"/>
                    <a:pt x="3563" y="770"/>
                  </a:cubicBezTo>
                  <a:cubicBezTo>
                    <a:pt x="3570" y="770"/>
                    <a:pt x="3574" y="765"/>
                    <a:pt x="3572" y="760"/>
                  </a:cubicBezTo>
                  <a:cubicBezTo>
                    <a:pt x="3570" y="754"/>
                    <a:pt x="3562" y="749"/>
                    <a:pt x="3555" y="749"/>
                  </a:cubicBezTo>
                  <a:cubicBezTo>
                    <a:pt x="3555" y="749"/>
                    <a:pt x="3555" y="749"/>
                    <a:pt x="3555" y="749"/>
                  </a:cubicBezTo>
                  <a:moveTo>
                    <a:pt x="4061" y="749"/>
                  </a:moveTo>
                  <a:cubicBezTo>
                    <a:pt x="4054" y="749"/>
                    <a:pt x="4050" y="754"/>
                    <a:pt x="4053" y="760"/>
                  </a:cubicBezTo>
                  <a:cubicBezTo>
                    <a:pt x="4056" y="765"/>
                    <a:pt x="4065" y="770"/>
                    <a:pt x="4072" y="770"/>
                  </a:cubicBezTo>
                  <a:cubicBezTo>
                    <a:pt x="4080" y="770"/>
                    <a:pt x="4083" y="765"/>
                    <a:pt x="4080" y="760"/>
                  </a:cubicBezTo>
                  <a:cubicBezTo>
                    <a:pt x="4077" y="754"/>
                    <a:pt x="4069" y="749"/>
                    <a:pt x="4061" y="749"/>
                  </a:cubicBezTo>
                  <a:cubicBezTo>
                    <a:pt x="4061" y="749"/>
                    <a:pt x="4061" y="749"/>
                    <a:pt x="4061" y="749"/>
                  </a:cubicBezTo>
                  <a:moveTo>
                    <a:pt x="3593" y="749"/>
                  </a:moveTo>
                  <a:cubicBezTo>
                    <a:pt x="3586" y="749"/>
                    <a:pt x="3582" y="754"/>
                    <a:pt x="3584" y="760"/>
                  </a:cubicBezTo>
                  <a:cubicBezTo>
                    <a:pt x="3586" y="765"/>
                    <a:pt x="3594" y="770"/>
                    <a:pt x="3601" y="770"/>
                  </a:cubicBezTo>
                  <a:cubicBezTo>
                    <a:pt x="3609" y="770"/>
                    <a:pt x="3613" y="765"/>
                    <a:pt x="3611" y="759"/>
                  </a:cubicBezTo>
                  <a:cubicBezTo>
                    <a:pt x="3609" y="754"/>
                    <a:pt x="3601" y="749"/>
                    <a:pt x="3594" y="749"/>
                  </a:cubicBezTo>
                  <a:cubicBezTo>
                    <a:pt x="3594" y="749"/>
                    <a:pt x="3594" y="749"/>
                    <a:pt x="3593" y="749"/>
                  </a:cubicBezTo>
                  <a:moveTo>
                    <a:pt x="3632" y="749"/>
                  </a:moveTo>
                  <a:cubicBezTo>
                    <a:pt x="3625" y="749"/>
                    <a:pt x="3621" y="754"/>
                    <a:pt x="3623" y="759"/>
                  </a:cubicBezTo>
                  <a:cubicBezTo>
                    <a:pt x="3625" y="765"/>
                    <a:pt x="3633" y="770"/>
                    <a:pt x="3640" y="770"/>
                  </a:cubicBezTo>
                  <a:cubicBezTo>
                    <a:pt x="3648" y="770"/>
                    <a:pt x="3652" y="765"/>
                    <a:pt x="3650" y="759"/>
                  </a:cubicBezTo>
                  <a:cubicBezTo>
                    <a:pt x="3648" y="754"/>
                    <a:pt x="3640" y="749"/>
                    <a:pt x="3632" y="749"/>
                  </a:cubicBezTo>
                  <a:cubicBezTo>
                    <a:pt x="3632" y="749"/>
                    <a:pt x="3632" y="749"/>
                    <a:pt x="3632" y="749"/>
                  </a:cubicBezTo>
                  <a:moveTo>
                    <a:pt x="3672" y="749"/>
                  </a:moveTo>
                  <a:cubicBezTo>
                    <a:pt x="3664" y="749"/>
                    <a:pt x="3660" y="754"/>
                    <a:pt x="3662" y="759"/>
                  </a:cubicBezTo>
                  <a:cubicBezTo>
                    <a:pt x="3664" y="765"/>
                    <a:pt x="3672" y="769"/>
                    <a:pt x="3680" y="769"/>
                  </a:cubicBezTo>
                  <a:cubicBezTo>
                    <a:pt x="3688" y="769"/>
                    <a:pt x="3692" y="765"/>
                    <a:pt x="3689" y="759"/>
                  </a:cubicBezTo>
                  <a:cubicBezTo>
                    <a:pt x="3687" y="753"/>
                    <a:pt x="3679" y="749"/>
                    <a:pt x="3672" y="749"/>
                  </a:cubicBezTo>
                  <a:cubicBezTo>
                    <a:pt x="3672" y="749"/>
                    <a:pt x="3672" y="749"/>
                    <a:pt x="3672" y="749"/>
                  </a:cubicBezTo>
                  <a:moveTo>
                    <a:pt x="232" y="739"/>
                  </a:moveTo>
                  <a:cubicBezTo>
                    <a:pt x="224" y="739"/>
                    <a:pt x="215" y="744"/>
                    <a:pt x="210" y="749"/>
                  </a:cubicBezTo>
                  <a:cubicBezTo>
                    <a:pt x="206" y="755"/>
                    <a:pt x="208" y="760"/>
                    <a:pt x="216" y="760"/>
                  </a:cubicBezTo>
                  <a:cubicBezTo>
                    <a:pt x="223" y="760"/>
                    <a:pt x="233" y="755"/>
                    <a:pt x="237" y="749"/>
                  </a:cubicBezTo>
                  <a:cubicBezTo>
                    <a:pt x="242" y="744"/>
                    <a:pt x="239" y="739"/>
                    <a:pt x="232" y="739"/>
                  </a:cubicBezTo>
                  <a:cubicBezTo>
                    <a:pt x="232" y="739"/>
                    <a:pt x="232" y="739"/>
                    <a:pt x="232" y="739"/>
                  </a:cubicBezTo>
                  <a:moveTo>
                    <a:pt x="37" y="739"/>
                  </a:moveTo>
                  <a:cubicBezTo>
                    <a:pt x="29" y="739"/>
                    <a:pt x="19" y="744"/>
                    <a:pt x="14" y="749"/>
                  </a:cubicBezTo>
                  <a:cubicBezTo>
                    <a:pt x="10" y="755"/>
                    <a:pt x="12" y="760"/>
                    <a:pt x="19" y="759"/>
                  </a:cubicBezTo>
                  <a:cubicBezTo>
                    <a:pt x="27" y="759"/>
                    <a:pt x="37" y="755"/>
                    <a:pt x="41" y="749"/>
                  </a:cubicBezTo>
                  <a:cubicBezTo>
                    <a:pt x="46" y="744"/>
                    <a:pt x="44" y="739"/>
                    <a:pt x="37" y="739"/>
                  </a:cubicBezTo>
                  <a:cubicBezTo>
                    <a:pt x="37" y="739"/>
                    <a:pt x="37" y="739"/>
                    <a:pt x="37" y="739"/>
                  </a:cubicBezTo>
                  <a:moveTo>
                    <a:pt x="115" y="739"/>
                  </a:moveTo>
                  <a:cubicBezTo>
                    <a:pt x="108" y="739"/>
                    <a:pt x="98" y="743"/>
                    <a:pt x="93" y="749"/>
                  </a:cubicBezTo>
                  <a:cubicBezTo>
                    <a:pt x="89" y="755"/>
                    <a:pt x="91" y="759"/>
                    <a:pt x="98" y="759"/>
                  </a:cubicBezTo>
                  <a:cubicBezTo>
                    <a:pt x="106" y="759"/>
                    <a:pt x="116" y="754"/>
                    <a:pt x="120" y="749"/>
                  </a:cubicBezTo>
                  <a:cubicBezTo>
                    <a:pt x="125" y="743"/>
                    <a:pt x="123" y="739"/>
                    <a:pt x="115" y="739"/>
                  </a:cubicBezTo>
                  <a:cubicBezTo>
                    <a:pt x="115" y="739"/>
                    <a:pt x="115" y="739"/>
                    <a:pt x="115" y="739"/>
                  </a:cubicBezTo>
                  <a:moveTo>
                    <a:pt x="311" y="738"/>
                  </a:moveTo>
                  <a:cubicBezTo>
                    <a:pt x="303" y="738"/>
                    <a:pt x="294" y="742"/>
                    <a:pt x="290" y="748"/>
                  </a:cubicBezTo>
                  <a:cubicBezTo>
                    <a:pt x="285" y="754"/>
                    <a:pt x="288" y="758"/>
                    <a:pt x="296" y="758"/>
                  </a:cubicBezTo>
                  <a:cubicBezTo>
                    <a:pt x="303" y="758"/>
                    <a:pt x="313" y="754"/>
                    <a:pt x="317" y="748"/>
                  </a:cubicBezTo>
                  <a:cubicBezTo>
                    <a:pt x="321" y="742"/>
                    <a:pt x="318" y="738"/>
                    <a:pt x="311" y="738"/>
                  </a:cubicBezTo>
                  <a:cubicBezTo>
                    <a:pt x="311" y="738"/>
                    <a:pt x="311" y="738"/>
                    <a:pt x="311" y="738"/>
                  </a:cubicBezTo>
                  <a:moveTo>
                    <a:pt x="273" y="737"/>
                  </a:moveTo>
                  <a:cubicBezTo>
                    <a:pt x="265" y="737"/>
                    <a:pt x="256" y="742"/>
                    <a:pt x="252" y="748"/>
                  </a:cubicBezTo>
                  <a:cubicBezTo>
                    <a:pt x="247" y="753"/>
                    <a:pt x="250" y="758"/>
                    <a:pt x="257" y="758"/>
                  </a:cubicBezTo>
                  <a:cubicBezTo>
                    <a:pt x="265" y="758"/>
                    <a:pt x="274" y="753"/>
                    <a:pt x="279" y="748"/>
                  </a:cubicBezTo>
                  <a:cubicBezTo>
                    <a:pt x="283" y="742"/>
                    <a:pt x="280" y="737"/>
                    <a:pt x="273" y="737"/>
                  </a:cubicBezTo>
                  <a:cubicBezTo>
                    <a:pt x="273" y="737"/>
                    <a:pt x="273" y="737"/>
                    <a:pt x="273" y="737"/>
                  </a:cubicBezTo>
                  <a:moveTo>
                    <a:pt x="582" y="736"/>
                  </a:moveTo>
                  <a:cubicBezTo>
                    <a:pt x="574" y="737"/>
                    <a:pt x="565" y="741"/>
                    <a:pt x="561" y="747"/>
                  </a:cubicBezTo>
                  <a:cubicBezTo>
                    <a:pt x="558" y="752"/>
                    <a:pt x="561" y="757"/>
                    <a:pt x="568" y="757"/>
                  </a:cubicBezTo>
                  <a:cubicBezTo>
                    <a:pt x="576" y="757"/>
                    <a:pt x="585" y="752"/>
                    <a:pt x="589" y="747"/>
                  </a:cubicBezTo>
                  <a:cubicBezTo>
                    <a:pt x="592" y="741"/>
                    <a:pt x="589" y="736"/>
                    <a:pt x="582" y="736"/>
                  </a:cubicBezTo>
                  <a:cubicBezTo>
                    <a:pt x="582" y="736"/>
                    <a:pt x="582" y="736"/>
                    <a:pt x="582" y="736"/>
                  </a:cubicBezTo>
                  <a:moveTo>
                    <a:pt x="157" y="736"/>
                  </a:moveTo>
                  <a:cubicBezTo>
                    <a:pt x="150" y="736"/>
                    <a:pt x="140" y="741"/>
                    <a:pt x="136" y="746"/>
                  </a:cubicBezTo>
                  <a:cubicBezTo>
                    <a:pt x="131" y="752"/>
                    <a:pt x="134" y="756"/>
                    <a:pt x="141" y="756"/>
                  </a:cubicBezTo>
                  <a:cubicBezTo>
                    <a:pt x="149" y="756"/>
                    <a:pt x="158" y="752"/>
                    <a:pt x="163" y="746"/>
                  </a:cubicBezTo>
                  <a:cubicBezTo>
                    <a:pt x="167" y="741"/>
                    <a:pt x="165" y="736"/>
                    <a:pt x="158" y="736"/>
                  </a:cubicBezTo>
                  <a:cubicBezTo>
                    <a:pt x="158" y="736"/>
                    <a:pt x="158" y="736"/>
                    <a:pt x="157" y="736"/>
                  </a:cubicBezTo>
                  <a:moveTo>
                    <a:pt x="196" y="736"/>
                  </a:moveTo>
                  <a:cubicBezTo>
                    <a:pt x="188" y="736"/>
                    <a:pt x="179" y="741"/>
                    <a:pt x="174" y="746"/>
                  </a:cubicBezTo>
                  <a:cubicBezTo>
                    <a:pt x="170" y="752"/>
                    <a:pt x="172" y="756"/>
                    <a:pt x="180" y="756"/>
                  </a:cubicBezTo>
                  <a:cubicBezTo>
                    <a:pt x="187" y="756"/>
                    <a:pt x="197" y="752"/>
                    <a:pt x="201" y="746"/>
                  </a:cubicBezTo>
                  <a:cubicBezTo>
                    <a:pt x="206" y="741"/>
                    <a:pt x="203" y="736"/>
                    <a:pt x="196" y="736"/>
                  </a:cubicBezTo>
                  <a:cubicBezTo>
                    <a:pt x="196" y="736"/>
                    <a:pt x="196" y="736"/>
                    <a:pt x="196" y="736"/>
                  </a:cubicBezTo>
                  <a:moveTo>
                    <a:pt x="1775" y="729"/>
                  </a:moveTo>
                  <a:cubicBezTo>
                    <a:pt x="1768" y="729"/>
                    <a:pt x="1760" y="733"/>
                    <a:pt x="1759" y="739"/>
                  </a:cubicBezTo>
                  <a:cubicBezTo>
                    <a:pt x="1758" y="744"/>
                    <a:pt x="1763" y="749"/>
                    <a:pt x="1770" y="749"/>
                  </a:cubicBezTo>
                  <a:cubicBezTo>
                    <a:pt x="1778" y="749"/>
                    <a:pt x="1785" y="744"/>
                    <a:pt x="1786" y="739"/>
                  </a:cubicBezTo>
                  <a:cubicBezTo>
                    <a:pt x="1787" y="733"/>
                    <a:pt x="1783" y="729"/>
                    <a:pt x="1775" y="729"/>
                  </a:cubicBezTo>
                  <a:cubicBezTo>
                    <a:pt x="1775" y="729"/>
                    <a:pt x="1775" y="729"/>
                    <a:pt x="1775" y="729"/>
                  </a:cubicBezTo>
                  <a:moveTo>
                    <a:pt x="1813" y="728"/>
                  </a:moveTo>
                  <a:cubicBezTo>
                    <a:pt x="1806" y="728"/>
                    <a:pt x="1799" y="733"/>
                    <a:pt x="1797" y="739"/>
                  </a:cubicBezTo>
                  <a:cubicBezTo>
                    <a:pt x="1796" y="744"/>
                    <a:pt x="1801" y="749"/>
                    <a:pt x="1809" y="749"/>
                  </a:cubicBezTo>
                  <a:cubicBezTo>
                    <a:pt x="1816" y="749"/>
                    <a:pt x="1823" y="744"/>
                    <a:pt x="1824" y="739"/>
                  </a:cubicBezTo>
                  <a:cubicBezTo>
                    <a:pt x="1826" y="733"/>
                    <a:pt x="1821" y="728"/>
                    <a:pt x="1813" y="728"/>
                  </a:cubicBezTo>
                  <a:cubicBezTo>
                    <a:pt x="1813" y="728"/>
                    <a:pt x="1813" y="728"/>
                    <a:pt x="1813" y="728"/>
                  </a:cubicBezTo>
                  <a:moveTo>
                    <a:pt x="1852" y="728"/>
                  </a:moveTo>
                  <a:cubicBezTo>
                    <a:pt x="1844" y="728"/>
                    <a:pt x="1837" y="733"/>
                    <a:pt x="1836" y="738"/>
                  </a:cubicBezTo>
                  <a:cubicBezTo>
                    <a:pt x="1835" y="744"/>
                    <a:pt x="1840" y="749"/>
                    <a:pt x="1847" y="749"/>
                  </a:cubicBezTo>
                  <a:cubicBezTo>
                    <a:pt x="1855" y="749"/>
                    <a:pt x="1862" y="744"/>
                    <a:pt x="1863" y="738"/>
                  </a:cubicBezTo>
                  <a:cubicBezTo>
                    <a:pt x="1864" y="733"/>
                    <a:pt x="1859" y="728"/>
                    <a:pt x="1852" y="728"/>
                  </a:cubicBezTo>
                  <a:cubicBezTo>
                    <a:pt x="1852" y="728"/>
                    <a:pt x="1852" y="728"/>
                    <a:pt x="1852" y="728"/>
                  </a:cubicBezTo>
                  <a:moveTo>
                    <a:pt x="1891" y="728"/>
                  </a:moveTo>
                  <a:cubicBezTo>
                    <a:pt x="1883" y="728"/>
                    <a:pt x="1876" y="733"/>
                    <a:pt x="1875" y="738"/>
                  </a:cubicBezTo>
                  <a:cubicBezTo>
                    <a:pt x="1874" y="744"/>
                    <a:pt x="1879" y="748"/>
                    <a:pt x="1887" y="748"/>
                  </a:cubicBezTo>
                  <a:cubicBezTo>
                    <a:pt x="1894" y="748"/>
                    <a:pt x="1901" y="744"/>
                    <a:pt x="1902" y="738"/>
                  </a:cubicBezTo>
                  <a:cubicBezTo>
                    <a:pt x="1903" y="733"/>
                    <a:pt x="1898" y="728"/>
                    <a:pt x="1891" y="728"/>
                  </a:cubicBezTo>
                  <a:cubicBezTo>
                    <a:pt x="1891" y="728"/>
                    <a:pt x="1891" y="728"/>
                    <a:pt x="1891" y="728"/>
                  </a:cubicBezTo>
                  <a:moveTo>
                    <a:pt x="1929" y="728"/>
                  </a:moveTo>
                  <a:cubicBezTo>
                    <a:pt x="1922" y="728"/>
                    <a:pt x="1915" y="732"/>
                    <a:pt x="1914" y="738"/>
                  </a:cubicBezTo>
                  <a:cubicBezTo>
                    <a:pt x="1912" y="744"/>
                    <a:pt x="1918" y="748"/>
                    <a:pt x="1925" y="748"/>
                  </a:cubicBezTo>
                  <a:cubicBezTo>
                    <a:pt x="1933" y="748"/>
                    <a:pt x="1940" y="744"/>
                    <a:pt x="1941" y="738"/>
                  </a:cubicBezTo>
                  <a:cubicBezTo>
                    <a:pt x="1942" y="732"/>
                    <a:pt x="1937" y="728"/>
                    <a:pt x="1929" y="728"/>
                  </a:cubicBezTo>
                  <a:cubicBezTo>
                    <a:pt x="1929" y="728"/>
                    <a:pt x="1929" y="728"/>
                    <a:pt x="1929" y="728"/>
                  </a:cubicBezTo>
                  <a:moveTo>
                    <a:pt x="1968" y="728"/>
                  </a:moveTo>
                  <a:cubicBezTo>
                    <a:pt x="1960" y="728"/>
                    <a:pt x="1953" y="732"/>
                    <a:pt x="1952" y="738"/>
                  </a:cubicBezTo>
                  <a:cubicBezTo>
                    <a:pt x="1951" y="744"/>
                    <a:pt x="1956" y="748"/>
                    <a:pt x="1964" y="748"/>
                  </a:cubicBezTo>
                  <a:cubicBezTo>
                    <a:pt x="1971" y="748"/>
                    <a:pt x="1978" y="743"/>
                    <a:pt x="1979" y="738"/>
                  </a:cubicBezTo>
                  <a:cubicBezTo>
                    <a:pt x="1980" y="732"/>
                    <a:pt x="1975" y="728"/>
                    <a:pt x="1968" y="728"/>
                  </a:cubicBezTo>
                  <a:cubicBezTo>
                    <a:pt x="1968" y="728"/>
                    <a:pt x="1968" y="728"/>
                    <a:pt x="1968" y="728"/>
                  </a:cubicBezTo>
                  <a:moveTo>
                    <a:pt x="2006" y="727"/>
                  </a:moveTo>
                  <a:cubicBezTo>
                    <a:pt x="1998" y="727"/>
                    <a:pt x="1992" y="732"/>
                    <a:pt x="1991" y="738"/>
                  </a:cubicBezTo>
                  <a:cubicBezTo>
                    <a:pt x="1990" y="743"/>
                    <a:pt x="1995" y="748"/>
                    <a:pt x="2002" y="748"/>
                  </a:cubicBezTo>
                  <a:cubicBezTo>
                    <a:pt x="2010" y="748"/>
                    <a:pt x="2017" y="743"/>
                    <a:pt x="2018" y="738"/>
                  </a:cubicBezTo>
                  <a:cubicBezTo>
                    <a:pt x="2019" y="732"/>
                    <a:pt x="2013" y="727"/>
                    <a:pt x="2006" y="727"/>
                  </a:cubicBezTo>
                  <a:cubicBezTo>
                    <a:pt x="2006" y="727"/>
                    <a:pt x="2006" y="727"/>
                    <a:pt x="2006" y="727"/>
                  </a:cubicBezTo>
                  <a:moveTo>
                    <a:pt x="2044" y="727"/>
                  </a:moveTo>
                  <a:cubicBezTo>
                    <a:pt x="2037" y="727"/>
                    <a:pt x="2030" y="732"/>
                    <a:pt x="2029" y="737"/>
                  </a:cubicBezTo>
                  <a:cubicBezTo>
                    <a:pt x="2028" y="743"/>
                    <a:pt x="2034" y="748"/>
                    <a:pt x="2041" y="748"/>
                  </a:cubicBezTo>
                  <a:cubicBezTo>
                    <a:pt x="2049" y="748"/>
                    <a:pt x="2056" y="743"/>
                    <a:pt x="2056" y="737"/>
                  </a:cubicBezTo>
                  <a:cubicBezTo>
                    <a:pt x="2057" y="732"/>
                    <a:pt x="2052" y="727"/>
                    <a:pt x="2045" y="727"/>
                  </a:cubicBezTo>
                  <a:cubicBezTo>
                    <a:pt x="2044" y="727"/>
                    <a:pt x="2044" y="727"/>
                    <a:pt x="2044" y="727"/>
                  </a:cubicBezTo>
                  <a:moveTo>
                    <a:pt x="2084" y="727"/>
                  </a:moveTo>
                  <a:cubicBezTo>
                    <a:pt x="2077" y="727"/>
                    <a:pt x="2070" y="732"/>
                    <a:pt x="2069" y="737"/>
                  </a:cubicBezTo>
                  <a:cubicBezTo>
                    <a:pt x="2068" y="743"/>
                    <a:pt x="2074" y="747"/>
                    <a:pt x="2081" y="747"/>
                  </a:cubicBezTo>
                  <a:cubicBezTo>
                    <a:pt x="2089" y="747"/>
                    <a:pt x="2095" y="743"/>
                    <a:pt x="2096" y="737"/>
                  </a:cubicBezTo>
                  <a:cubicBezTo>
                    <a:pt x="2097" y="732"/>
                    <a:pt x="2092" y="727"/>
                    <a:pt x="2084" y="727"/>
                  </a:cubicBezTo>
                  <a:cubicBezTo>
                    <a:pt x="2084" y="727"/>
                    <a:pt x="2084" y="727"/>
                    <a:pt x="2084" y="727"/>
                  </a:cubicBezTo>
                  <a:moveTo>
                    <a:pt x="2122" y="727"/>
                  </a:moveTo>
                  <a:cubicBezTo>
                    <a:pt x="2115" y="727"/>
                    <a:pt x="2108" y="731"/>
                    <a:pt x="2108" y="737"/>
                  </a:cubicBezTo>
                  <a:cubicBezTo>
                    <a:pt x="2107" y="743"/>
                    <a:pt x="2112" y="747"/>
                    <a:pt x="2120" y="747"/>
                  </a:cubicBezTo>
                  <a:cubicBezTo>
                    <a:pt x="2127" y="747"/>
                    <a:pt x="2134" y="743"/>
                    <a:pt x="2135" y="737"/>
                  </a:cubicBezTo>
                  <a:cubicBezTo>
                    <a:pt x="2135" y="731"/>
                    <a:pt x="2130" y="727"/>
                    <a:pt x="2122" y="727"/>
                  </a:cubicBezTo>
                  <a:cubicBezTo>
                    <a:pt x="2122" y="727"/>
                    <a:pt x="2122" y="727"/>
                    <a:pt x="2122" y="727"/>
                  </a:cubicBezTo>
                  <a:moveTo>
                    <a:pt x="2161" y="727"/>
                  </a:moveTo>
                  <a:cubicBezTo>
                    <a:pt x="2154" y="727"/>
                    <a:pt x="2147" y="731"/>
                    <a:pt x="2146" y="737"/>
                  </a:cubicBezTo>
                  <a:cubicBezTo>
                    <a:pt x="2146" y="743"/>
                    <a:pt x="2151" y="747"/>
                    <a:pt x="2159" y="747"/>
                  </a:cubicBezTo>
                  <a:cubicBezTo>
                    <a:pt x="2166" y="747"/>
                    <a:pt x="2173" y="742"/>
                    <a:pt x="2173" y="737"/>
                  </a:cubicBezTo>
                  <a:cubicBezTo>
                    <a:pt x="2174" y="731"/>
                    <a:pt x="2168" y="727"/>
                    <a:pt x="2161" y="727"/>
                  </a:cubicBezTo>
                  <a:cubicBezTo>
                    <a:pt x="2161" y="727"/>
                    <a:pt x="2161" y="727"/>
                    <a:pt x="2161" y="727"/>
                  </a:cubicBezTo>
                  <a:moveTo>
                    <a:pt x="2200" y="726"/>
                  </a:moveTo>
                  <a:cubicBezTo>
                    <a:pt x="2192" y="726"/>
                    <a:pt x="2186" y="731"/>
                    <a:pt x="2185" y="737"/>
                  </a:cubicBezTo>
                  <a:cubicBezTo>
                    <a:pt x="2185" y="742"/>
                    <a:pt x="2190" y="747"/>
                    <a:pt x="2198" y="747"/>
                  </a:cubicBezTo>
                  <a:cubicBezTo>
                    <a:pt x="2205" y="747"/>
                    <a:pt x="2212" y="742"/>
                    <a:pt x="2212" y="737"/>
                  </a:cubicBezTo>
                  <a:cubicBezTo>
                    <a:pt x="2213" y="731"/>
                    <a:pt x="2207" y="726"/>
                    <a:pt x="2200" y="726"/>
                  </a:cubicBezTo>
                  <a:cubicBezTo>
                    <a:pt x="2200" y="726"/>
                    <a:pt x="2200" y="726"/>
                    <a:pt x="2200" y="726"/>
                  </a:cubicBezTo>
                  <a:moveTo>
                    <a:pt x="2238" y="726"/>
                  </a:moveTo>
                  <a:cubicBezTo>
                    <a:pt x="2231" y="726"/>
                    <a:pt x="2224" y="731"/>
                    <a:pt x="2224" y="736"/>
                  </a:cubicBezTo>
                  <a:cubicBezTo>
                    <a:pt x="2223" y="742"/>
                    <a:pt x="2229" y="747"/>
                    <a:pt x="2236" y="747"/>
                  </a:cubicBezTo>
                  <a:cubicBezTo>
                    <a:pt x="2244" y="747"/>
                    <a:pt x="2250" y="742"/>
                    <a:pt x="2251" y="736"/>
                  </a:cubicBezTo>
                  <a:cubicBezTo>
                    <a:pt x="2251" y="731"/>
                    <a:pt x="2246" y="726"/>
                    <a:pt x="2238" y="726"/>
                  </a:cubicBezTo>
                  <a:cubicBezTo>
                    <a:pt x="2238" y="726"/>
                    <a:pt x="2238" y="726"/>
                    <a:pt x="2238" y="726"/>
                  </a:cubicBezTo>
                  <a:moveTo>
                    <a:pt x="2277" y="726"/>
                  </a:moveTo>
                  <a:cubicBezTo>
                    <a:pt x="2269" y="726"/>
                    <a:pt x="2263" y="731"/>
                    <a:pt x="2262" y="736"/>
                  </a:cubicBezTo>
                  <a:cubicBezTo>
                    <a:pt x="2262" y="742"/>
                    <a:pt x="2268" y="746"/>
                    <a:pt x="2275" y="746"/>
                  </a:cubicBezTo>
                  <a:cubicBezTo>
                    <a:pt x="2283" y="746"/>
                    <a:pt x="2289" y="742"/>
                    <a:pt x="2289" y="736"/>
                  </a:cubicBezTo>
                  <a:cubicBezTo>
                    <a:pt x="2290" y="731"/>
                    <a:pt x="2284" y="726"/>
                    <a:pt x="2277" y="726"/>
                  </a:cubicBezTo>
                  <a:cubicBezTo>
                    <a:pt x="2277" y="726"/>
                    <a:pt x="2277" y="726"/>
                    <a:pt x="2277" y="726"/>
                  </a:cubicBezTo>
                  <a:moveTo>
                    <a:pt x="2315" y="726"/>
                  </a:moveTo>
                  <a:cubicBezTo>
                    <a:pt x="2307" y="726"/>
                    <a:pt x="2301" y="730"/>
                    <a:pt x="2301" y="736"/>
                  </a:cubicBezTo>
                  <a:cubicBezTo>
                    <a:pt x="2300" y="742"/>
                    <a:pt x="2306" y="746"/>
                    <a:pt x="2314" y="746"/>
                  </a:cubicBezTo>
                  <a:cubicBezTo>
                    <a:pt x="2321" y="746"/>
                    <a:pt x="2327" y="742"/>
                    <a:pt x="2328" y="736"/>
                  </a:cubicBezTo>
                  <a:cubicBezTo>
                    <a:pt x="2328" y="730"/>
                    <a:pt x="2322" y="726"/>
                    <a:pt x="2315" y="726"/>
                  </a:cubicBezTo>
                  <a:cubicBezTo>
                    <a:pt x="2315" y="726"/>
                    <a:pt x="2315" y="726"/>
                    <a:pt x="2315" y="726"/>
                  </a:cubicBezTo>
                  <a:moveTo>
                    <a:pt x="2815" y="726"/>
                  </a:moveTo>
                  <a:cubicBezTo>
                    <a:pt x="2808" y="726"/>
                    <a:pt x="2803" y="730"/>
                    <a:pt x="2803" y="736"/>
                  </a:cubicBezTo>
                  <a:cubicBezTo>
                    <a:pt x="2804" y="742"/>
                    <a:pt x="2810" y="746"/>
                    <a:pt x="2818" y="746"/>
                  </a:cubicBezTo>
                  <a:cubicBezTo>
                    <a:pt x="2825" y="746"/>
                    <a:pt x="2831" y="741"/>
                    <a:pt x="2830" y="736"/>
                  </a:cubicBezTo>
                  <a:cubicBezTo>
                    <a:pt x="2829" y="730"/>
                    <a:pt x="2823" y="726"/>
                    <a:pt x="2816" y="726"/>
                  </a:cubicBezTo>
                  <a:cubicBezTo>
                    <a:pt x="2816" y="726"/>
                    <a:pt x="2816" y="726"/>
                    <a:pt x="2815" y="726"/>
                  </a:cubicBezTo>
                  <a:moveTo>
                    <a:pt x="2353" y="726"/>
                  </a:moveTo>
                  <a:cubicBezTo>
                    <a:pt x="2346" y="726"/>
                    <a:pt x="2340" y="730"/>
                    <a:pt x="2339" y="736"/>
                  </a:cubicBezTo>
                  <a:cubicBezTo>
                    <a:pt x="2339" y="742"/>
                    <a:pt x="2345" y="746"/>
                    <a:pt x="2352" y="746"/>
                  </a:cubicBezTo>
                  <a:cubicBezTo>
                    <a:pt x="2360" y="746"/>
                    <a:pt x="2366" y="741"/>
                    <a:pt x="2366" y="736"/>
                  </a:cubicBezTo>
                  <a:cubicBezTo>
                    <a:pt x="2367" y="730"/>
                    <a:pt x="2361" y="726"/>
                    <a:pt x="2353" y="726"/>
                  </a:cubicBezTo>
                  <a:cubicBezTo>
                    <a:pt x="2353" y="726"/>
                    <a:pt x="2353" y="726"/>
                    <a:pt x="2353" y="726"/>
                  </a:cubicBezTo>
                  <a:moveTo>
                    <a:pt x="2392" y="725"/>
                  </a:moveTo>
                  <a:cubicBezTo>
                    <a:pt x="2385" y="725"/>
                    <a:pt x="2379" y="730"/>
                    <a:pt x="2378" y="736"/>
                  </a:cubicBezTo>
                  <a:cubicBezTo>
                    <a:pt x="2378" y="741"/>
                    <a:pt x="2384" y="746"/>
                    <a:pt x="2392" y="746"/>
                  </a:cubicBezTo>
                  <a:cubicBezTo>
                    <a:pt x="2399" y="746"/>
                    <a:pt x="2405" y="741"/>
                    <a:pt x="2405" y="736"/>
                  </a:cubicBezTo>
                  <a:cubicBezTo>
                    <a:pt x="2406" y="730"/>
                    <a:pt x="2400" y="725"/>
                    <a:pt x="2392" y="725"/>
                  </a:cubicBezTo>
                  <a:cubicBezTo>
                    <a:pt x="2392" y="725"/>
                    <a:pt x="2392" y="725"/>
                    <a:pt x="2392" y="725"/>
                  </a:cubicBezTo>
                  <a:moveTo>
                    <a:pt x="2430" y="725"/>
                  </a:moveTo>
                  <a:cubicBezTo>
                    <a:pt x="2423" y="725"/>
                    <a:pt x="2417" y="730"/>
                    <a:pt x="2417" y="736"/>
                  </a:cubicBezTo>
                  <a:cubicBezTo>
                    <a:pt x="2417" y="741"/>
                    <a:pt x="2423" y="746"/>
                    <a:pt x="2430" y="746"/>
                  </a:cubicBezTo>
                  <a:cubicBezTo>
                    <a:pt x="2438" y="746"/>
                    <a:pt x="2444" y="741"/>
                    <a:pt x="2444" y="735"/>
                  </a:cubicBezTo>
                  <a:cubicBezTo>
                    <a:pt x="2444" y="730"/>
                    <a:pt x="2438" y="725"/>
                    <a:pt x="2431" y="725"/>
                  </a:cubicBezTo>
                  <a:cubicBezTo>
                    <a:pt x="2431" y="725"/>
                    <a:pt x="2431" y="725"/>
                    <a:pt x="2430" y="725"/>
                  </a:cubicBezTo>
                  <a:moveTo>
                    <a:pt x="2469" y="725"/>
                  </a:moveTo>
                  <a:cubicBezTo>
                    <a:pt x="2461" y="725"/>
                    <a:pt x="2455" y="730"/>
                    <a:pt x="2455" y="735"/>
                  </a:cubicBezTo>
                  <a:cubicBezTo>
                    <a:pt x="2455" y="741"/>
                    <a:pt x="2461" y="746"/>
                    <a:pt x="2469" y="745"/>
                  </a:cubicBezTo>
                  <a:cubicBezTo>
                    <a:pt x="2476" y="745"/>
                    <a:pt x="2482" y="741"/>
                    <a:pt x="2482" y="735"/>
                  </a:cubicBezTo>
                  <a:cubicBezTo>
                    <a:pt x="2482" y="730"/>
                    <a:pt x="2476" y="725"/>
                    <a:pt x="2469" y="725"/>
                  </a:cubicBezTo>
                  <a:cubicBezTo>
                    <a:pt x="2469" y="725"/>
                    <a:pt x="2469" y="725"/>
                    <a:pt x="2469" y="725"/>
                  </a:cubicBezTo>
                  <a:moveTo>
                    <a:pt x="2507" y="725"/>
                  </a:moveTo>
                  <a:cubicBezTo>
                    <a:pt x="2500" y="725"/>
                    <a:pt x="2494" y="729"/>
                    <a:pt x="2494" y="735"/>
                  </a:cubicBezTo>
                  <a:cubicBezTo>
                    <a:pt x="2494" y="741"/>
                    <a:pt x="2500" y="745"/>
                    <a:pt x="2507" y="745"/>
                  </a:cubicBezTo>
                  <a:cubicBezTo>
                    <a:pt x="2515" y="745"/>
                    <a:pt x="2521" y="741"/>
                    <a:pt x="2521" y="735"/>
                  </a:cubicBezTo>
                  <a:cubicBezTo>
                    <a:pt x="2521" y="729"/>
                    <a:pt x="2515" y="725"/>
                    <a:pt x="2507" y="725"/>
                  </a:cubicBezTo>
                  <a:cubicBezTo>
                    <a:pt x="2507" y="725"/>
                    <a:pt x="2507" y="725"/>
                    <a:pt x="2507" y="725"/>
                  </a:cubicBezTo>
                  <a:moveTo>
                    <a:pt x="2546" y="725"/>
                  </a:moveTo>
                  <a:cubicBezTo>
                    <a:pt x="2538" y="725"/>
                    <a:pt x="2532" y="729"/>
                    <a:pt x="2532" y="735"/>
                  </a:cubicBezTo>
                  <a:cubicBezTo>
                    <a:pt x="2533" y="741"/>
                    <a:pt x="2539" y="745"/>
                    <a:pt x="2546" y="745"/>
                  </a:cubicBezTo>
                  <a:cubicBezTo>
                    <a:pt x="2554" y="745"/>
                    <a:pt x="2560" y="740"/>
                    <a:pt x="2559" y="735"/>
                  </a:cubicBezTo>
                  <a:cubicBezTo>
                    <a:pt x="2559" y="729"/>
                    <a:pt x="2553" y="725"/>
                    <a:pt x="2546" y="725"/>
                  </a:cubicBezTo>
                  <a:cubicBezTo>
                    <a:pt x="2546" y="725"/>
                    <a:pt x="2546" y="725"/>
                    <a:pt x="2546" y="725"/>
                  </a:cubicBezTo>
                  <a:moveTo>
                    <a:pt x="2622" y="724"/>
                  </a:moveTo>
                  <a:cubicBezTo>
                    <a:pt x="2615" y="724"/>
                    <a:pt x="2609" y="729"/>
                    <a:pt x="2609" y="735"/>
                  </a:cubicBezTo>
                  <a:cubicBezTo>
                    <a:pt x="2609" y="740"/>
                    <a:pt x="2616" y="745"/>
                    <a:pt x="2623" y="745"/>
                  </a:cubicBezTo>
                  <a:cubicBezTo>
                    <a:pt x="2631" y="745"/>
                    <a:pt x="2636" y="740"/>
                    <a:pt x="2636" y="735"/>
                  </a:cubicBezTo>
                  <a:cubicBezTo>
                    <a:pt x="2636" y="729"/>
                    <a:pt x="2630" y="724"/>
                    <a:pt x="2622" y="724"/>
                  </a:cubicBezTo>
                  <a:cubicBezTo>
                    <a:pt x="2622" y="724"/>
                    <a:pt x="2622" y="724"/>
                    <a:pt x="2622" y="724"/>
                  </a:cubicBezTo>
                  <a:moveTo>
                    <a:pt x="2662" y="724"/>
                  </a:moveTo>
                  <a:cubicBezTo>
                    <a:pt x="2655" y="724"/>
                    <a:pt x="2649" y="729"/>
                    <a:pt x="2649" y="735"/>
                  </a:cubicBezTo>
                  <a:cubicBezTo>
                    <a:pt x="2650" y="740"/>
                    <a:pt x="2656" y="745"/>
                    <a:pt x="2663" y="745"/>
                  </a:cubicBezTo>
                  <a:cubicBezTo>
                    <a:pt x="2671" y="745"/>
                    <a:pt x="2677" y="740"/>
                    <a:pt x="2676" y="734"/>
                  </a:cubicBezTo>
                  <a:cubicBezTo>
                    <a:pt x="2676" y="729"/>
                    <a:pt x="2670" y="724"/>
                    <a:pt x="2662" y="724"/>
                  </a:cubicBezTo>
                  <a:cubicBezTo>
                    <a:pt x="2662" y="724"/>
                    <a:pt x="2662" y="724"/>
                    <a:pt x="2662" y="724"/>
                  </a:cubicBezTo>
                  <a:moveTo>
                    <a:pt x="2700" y="724"/>
                  </a:moveTo>
                  <a:cubicBezTo>
                    <a:pt x="2693" y="724"/>
                    <a:pt x="2687" y="729"/>
                    <a:pt x="2687" y="734"/>
                  </a:cubicBezTo>
                  <a:cubicBezTo>
                    <a:pt x="2688" y="740"/>
                    <a:pt x="2694" y="745"/>
                    <a:pt x="2702" y="745"/>
                  </a:cubicBezTo>
                  <a:cubicBezTo>
                    <a:pt x="2709" y="744"/>
                    <a:pt x="2715" y="740"/>
                    <a:pt x="2714" y="734"/>
                  </a:cubicBezTo>
                  <a:cubicBezTo>
                    <a:pt x="2714" y="729"/>
                    <a:pt x="2708" y="724"/>
                    <a:pt x="2700" y="724"/>
                  </a:cubicBezTo>
                  <a:cubicBezTo>
                    <a:pt x="2700" y="724"/>
                    <a:pt x="2700" y="724"/>
                    <a:pt x="2700" y="724"/>
                  </a:cubicBezTo>
                  <a:moveTo>
                    <a:pt x="2738" y="724"/>
                  </a:moveTo>
                  <a:cubicBezTo>
                    <a:pt x="2731" y="724"/>
                    <a:pt x="2725" y="729"/>
                    <a:pt x="2726" y="734"/>
                  </a:cubicBezTo>
                  <a:cubicBezTo>
                    <a:pt x="2726" y="740"/>
                    <a:pt x="2733" y="744"/>
                    <a:pt x="2740" y="744"/>
                  </a:cubicBezTo>
                  <a:cubicBezTo>
                    <a:pt x="2748" y="744"/>
                    <a:pt x="2753" y="740"/>
                    <a:pt x="2753" y="734"/>
                  </a:cubicBezTo>
                  <a:cubicBezTo>
                    <a:pt x="2752" y="728"/>
                    <a:pt x="2746" y="724"/>
                    <a:pt x="2738" y="724"/>
                  </a:cubicBezTo>
                  <a:cubicBezTo>
                    <a:pt x="2738" y="724"/>
                    <a:pt x="2738" y="724"/>
                    <a:pt x="2738" y="724"/>
                  </a:cubicBezTo>
                  <a:moveTo>
                    <a:pt x="2777" y="723"/>
                  </a:moveTo>
                  <a:cubicBezTo>
                    <a:pt x="2769" y="723"/>
                    <a:pt x="2764" y="728"/>
                    <a:pt x="2764" y="734"/>
                  </a:cubicBezTo>
                  <a:cubicBezTo>
                    <a:pt x="2765" y="739"/>
                    <a:pt x="2771" y="744"/>
                    <a:pt x="2779" y="744"/>
                  </a:cubicBezTo>
                  <a:cubicBezTo>
                    <a:pt x="2786" y="744"/>
                    <a:pt x="2792" y="739"/>
                    <a:pt x="2791" y="733"/>
                  </a:cubicBezTo>
                  <a:cubicBezTo>
                    <a:pt x="2791" y="728"/>
                    <a:pt x="2784" y="723"/>
                    <a:pt x="2777" y="723"/>
                  </a:cubicBezTo>
                  <a:cubicBezTo>
                    <a:pt x="2777" y="723"/>
                    <a:pt x="2777" y="723"/>
                    <a:pt x="2777" y="723"/>
                  </a:cubicBezTo>
                  <a:moveTo>
                    <a:pt x="2890" y="723"/>
                  </a:moveTo>
                  <a:cubicBezTo>
                    <a:pt x="2882" y="723"/>
                    <a:pt x="2877" y="728"/>
                    <a:pt x="2878" y="733"/>
                  </a:cubicBezTo>
                  <a:cubicBezTo>
                    <a:pt x="2878" y="739"/>
                    <a:pt x="2885" y="744"/>
                    <a:pt x="2892" y="744"/>
                  </a:cubicBezTo>
                  <a:cubicBezTo>
                    <a:pt x="2900" y="744"/>
                    <a:pt x="2905" y="739"/>
                    <a:pt x="2905" y="733"/>
                  </a:cubicBezTo>
                  <a:cubicBezTo>
                    <a:pt x="2904" y="728"/>
                    <a:pt x="2897" y="723"/>
                    <a:pt x="2890" y="723"/>
                  </a:cubicBezTo>
                  <a:cubicBezTo>
                    <a:pt x="2890" y="723"/>
                    <a:pt x="2890" y="723"/>
                    <a:pt x="2890" y="723"/>
                  </a:cubicBezTo>
                  <a:moveTo>
                    <a:pt x="2928" y="723"/>
                  </a:moveTo>
                  <a:cubicBezTo>
                    <a:pt x="2921" y="723"/>
                    <a:pt x="2915" y="728"/>
                    <a:pt x="2916" y="733"/>
                  </a:cubicBezTo>
                  <a:cubicBezTo>
                    <a:pt x="2917" y="739"/>
                    <a:pt x="2924" y="743"/>
                    <a:pt x="2931" y="743"/>
                  </a:cubicBezTo>
                  <a:cubicBezTo>
                    <a:pt x="2939" y="743"/>
                    <a:pt x="2944" y="739"/>
                    <a:pt x="2943" y="733"/>
                  </a:cubicBezTo>
                  <a:cubicBezTo>
                    <a:pt x="2942" y="727"/>
                    <a:pt x="2936" y="723"/>
                    <a:pt x="2928" y="723"/>
                  </a:cubicBezTo>
                  <a:cubicBezTo>
                    <a:pt x="2928" y="723"/>
                    <a:pt x="2928" y="723"/>
                    <a:pt x="2928" y="723"/>
                  </a:cubicBezTo>
                  <a:moveTo>
                    <a:pt x="2967" y="723"/>
                  </a:moveTo>
                  <a:cubicBezTo>
                    <a:pt x="2960" y="723"/>
                    <a:pt x="2954" y="727"/>
                    <a:pt x="2955" y="733"/>
                  </a:cubicBezTo>
                  <a:cubicBezTo>
                    <a:pt x="2956" y="739"/>
                    <a:pt x="2963" y="743"/>
                    <a:pt x="2970" y="743"/>
                  </a:cubicBezTo>
                  <a:cubicBezTo>
                    <a:pt x="2978" y="743"/>
                    <a:pt x="2983" y="738"/>
                    <a:pt x="2982" y="733"/>
                  </a:cubicBezTo>
                  <a:cubicBezTo>
                    <a:pt x="2981" y="727"/>
                    <a:pt x="2974" y="723"/>
                    <a:pt x="2967" y="723"/>
                  </a:cubicBezTo>
                  <a:cubicBezTo>
                    <a:pt x="2967" y="723"/>
                    <a:pt x="2967" y="723"/>
                    <a:pt x="2967" y="723"/>
                  </a:cubicBezTo>
                  <a:moveTo>
                    <a:pt x="3005" y="722"/>
                  </a:moveTo>
                  <a:cubicBezTo>
                    <a:pt x="2998" y="723"/>
                    <a:pt x="2993" y="727"/>
                    <a:pt x="2994" y="733"/>
                  </a:cubicBezTo>
                  <a:cubicBezTo>
                    <a:pt x="2995" y="738"/>
                    <a:pt x="3001" y="743"/>
                    <a:pt x="3009" y="743"/>
                  </a:cubicBezTo>
                  <a:cubicBezTo>
                    <a:pt x="3016" y="743"/>
                    <a:pt x="3022" y="738"/>
                    <a:pt x="3021" y="733"/>
                  </a:cubicBezTo>
                  <a:cubicBezTo>
                    <a:pt x="3019" y="727"/>
                    <a:pt x="3013" y="722"/>
                    <a:pt x="3005" y="722"/>
                  </a:cubicBezTo>
                  <a:cubicBezTo>
                    <a:pt x="3005" y="722"/>
                    <a:pt x="3005" y="722"/>
                    <a:pt x="3005" y="722"/>
                  </a:cubicBezTo>
                  <a:moveTo>
                    <a:pt x="3044" y="722"/>
                  </a:moveTo>
                  <a:cubicBezTo>
                    <a:pt x="3036" y="722"/>
                    <a:pt x="3031" y="727"/>
                    <a:pt x="3032" y="733"/>
                  </a:cubicBezTo>
                  <a:cubicBezTo>
                    <a:pt x="3033" y="738"/>
                    <a:pt x="3040" y="743"/>
                    <a:pt x="3048" y="743"/>
                  </a:cubicBezTo>
                  <a:cubicBezTo>
                    <a:pt x="3055" y="743"/>
                    <a:pt x="3060" y="738"/>
                    <a:pt x="3059" y="732"/>
                  </a:cubicBezTo>
                  <a:cubicBezTo>
                    <a:pt x="3058" y="727"/>
                    <a:pt x="3051" y="722"/>
                    <a:pt x="3044" y="722"/>
                  </a:cubicBezTo>
                  <a:cubicBezTo>
                    <a:pt x="3044" y="722"/>
                    <a:pt x="3044" y="722"/>
                    <a:pt x="3044" y="722"/>
                  </a:cubicBezTo>
                  <a:moveTo>
                    <a:pt x="3160" y="722"/>
                  </a:moveTo>
                  <a:cubicBezTo>
                    <a:pt x="3153" y="722"/>
                    <a:pt x="3148" y="726"/>
                    <a:pt x="3149" y="732"/>
                  </a:cubicBezTo>
                  <a:cubicBezTo>
                    <a:pt x="3150" y="738"/>
                    <a:pt x="3157" y="742"/>
                    <a:pt x="3165" y="742"/>
                  </a:cubicBezTo>
                  <a:cubicBezTo>
                    <a:pt x="3172" y="742"/>
                    <a:pt x="3177" y="738"/>
                    <a:pt x="3176" y="732"/>
                  </a:cubicBezTo>
                  <a:cubicBezTo>
                    <a:pt x="3174" y="726"/>
                    <a:pt x="3167" y="722"/>
                    <a:pt x="3160" y="722"/>
                  </a:cubicBezTo>
                  <a:cubicBezTo>
                    <a:pt x="3160" y="722"/>
                    <a:pt x="3160" y="722"/>
                    <a:pt x="3160" y="722"/>
                  </a:cubicBezTo>
                  <a:moveTo>
                    <a:pt x="3082" y="722"/>
                  </a:moveTo>
                  <a:cubicBezTo>
                    <a:pt x="3074" y="722"/>
                    <a:pt x="3069" y="726"/>
                    <a:pt x="3070" y="732"/>
                  </a:cubicBezTo>
                  <a:cubicBezTo>
                    <a:pt x="3071" y="738"/>
                    <a:pt x="3078" y="742"/>
                    <a:pt x="3086" y="742"/>
                  </a:cubicBezTo>
                  <a:cubicBezTo>
                    <a:pt x="3093" y="742"/>
                    <a:pt x="3098" y="737"/>
                    <a:pt x="3097" y="732"/>
                  </a:cubicBezTo>
                  <a:cubicBezTo>
                    <a:pt x="3096" y="726"/>
                    <a:pt x="3089" y="722"/>
                    <a:pt x="3082" y="722"/>
                  </a:cubicBezTo>
                  <a:cubicBezTo>
                    <a:pt x="3082" y="722"/>
                    <a:pt x="3082" y="722"/>
                    <a:pt x="3082" y="722"/>
                  </a:cubicBezTo>
                  <a:moveTo>
                    <a:pt x="3198" y="722"/>
                  </a:moveTo>
                  <a:cubicBezTo>
                    <a:pt x="3191" y="722"/>
                    <a:pt x="3186" y="726"/>
                    <a:pt x="3187" y="732"/>
                  </a:cubicBezTo>
                  <a:cubicBezTo>
                    <a:pt x="3189" y="738"/>
                    <a:pt x="3196" y="742"/>
                    <a:pt x="3203" y="742"/>
                  </a:cubicBezTo>
                  <a:cubicBezTo>
                    <a:pt x="3211" y="742"/>
                    <a:pt x="3216" y="737"/>
                    <a:pt x="3214" y="732"/>
                  </a:cubicBezTo>
                  <a:cubicBezTo>
                    <a:pt x="3213" y="726"/>
                    <a:pt x="3206" y="722"/>
                    <a:pt x="3198" y="722"/>
                  </a:cubicBezTo>
                  <a:cubicBezTo>
                    <a:pt x="3198" y="722"/>
                    <a:pt x="3198" y="722"/>
                    <a:pt x="3198" y="722"/>
                  </a:cubicBezTo>
                  <a:moveTo>
                    <a:pt x="3120" y="721"/>
                  </a:moveTo>
                  <a:cubicBezTo>
                    <a:pt x="3113" y="721"/>
                    <a:pt x="3108" y="726"/>
                    <a:pt x="3109" y="732"/>
                  </a:cubicBezTo>
                  <a:cubicBezTo>
                    <a:pt x="3110" y="737"/>
                    <a:pt x="3117" y="742"/>
                    <a:pt x="3125" y="742"/>
                  </a:cubicBezTo>
                  <a:cubicBezTo>
                    <a:pt x="3132" y="742"/>
                    <a:pt x="3137" y="737"/>
                    <a:pt x="3136" y="732"/>
                  </a:cubicBezTo>
                  <a:cubicBezTo>
                    <a:pt x="3135" y="726"/>
                    <a:pt x="3128" y="721"/>
                    <a:pt x="3120" y="721"/>
                  </a:cubicBezTo>
                  <a:cubicBezTo>
                    <a:pt x="3120" y="721"/>
                    <a:pt x="3120" y="721"/>
                    <a:pt x="3120" y="721"/>
                  </a:cubicBezTo>
                  <a:moveTo>
                    <a:pt x="3699" y="721"/>
                  </a:moveTo>
                  <a:cubicBezTo>
                    <a:pt x="3691" y="721"/>
                    <a:pt x="3687" y="726"/>
                    <a:pt x="3690" y="732"/>
                  </a:cubicBezTo>
                  <a:cubicBezTo>
                    <a:pt x="3692" y="737"/>
                    <a:pt x="3700" y="742"/>
                    <a:pt x="3707" y="742"/>
                  </a:cubicBezTo>
                  <a:cubicBezTo>
                    <a:pt x="3715" y="742"/>
                    <a:pt x="3719" y="737"/>
                    <a:pt x="3717" y="732"/>
                  </a:cubicBezTo>
                  <a:cubicBezTo>
                    <a:pt x="3714" y="726"/>
                    <a:pt x="3706" y="721"/>
                    <a:pt x="3699" y="721"/>
                  </a:cubicBezTo>
                  <a:cubicBezTo>
                    <a:pt x="3699" y="721"/>
                    <a:pt x="3699" y="721"/>
                    <a:pt x="3699" y="721"/>
                  </a:cubicBezTo>
                  <a:moveTo>
                    <a:pt x="3237" y="721"/>
                  </a:moveTo>
                  <a:cubicBezTo>
                    <a:pt x="3229" y="721"/>
                    <a:pt x="3224" y="726"/>
                    <a:pt x="3226" y="732"/>
                  </a:cubicBezTo>
                  <a:cubicBezTo>
                    <a:pt x="3227" y="737"/>
                    <a:pt x="3234" y="742"/>
                    <a:pt x="3242" y="742"/>
                  </a:cubicBezTo>
                  <a:cubicBezTo>
                    <a:pt x="3249" y="742"/>
                    <a:pt x="3254" y="737"/>
                    <a:pt x="3253" y="732"/>
                  </a:cubicBezTo>
                  <a:cubicBezTo>
                    <a:pt x="3251" y="726"/>
                    <a:pt x="3244" y="721"/>
                    <a:pt x="3237" y="721"/>
                  </a:cubicBezTo>
                  <a:cubicBezTo>
                    <a:pt x="3237" y="721"/>
                    <a:pt x="3237" y="721"/>
                    <a:pt x="3237" y="721"/>
                  </a:cubicBezTo>
                  <a:moveTo>
                    <a:pt x="3737" y="721"/>
                  </a:moveTo>
                  <a:cubicBezTo>
                    <a:pt x="3730" y="721"/>
                    <a:pt x="3726" y="726"/>
                    <a:pt x="3728" y="732"/>
                  </a:cubicBezTo>
                  <a:cubicBezTo>
                    <a:pt x="3730" y="737"/>
                    <a:pt x="3738" y="742"/>
                    <a:pt x="3746" y="742"/>
                  </a:cubicBezTo>
                  <a:cubicBezTo>
                    <a:pt x="3753" y="742"/>
                    <a:pt x="3757" y="737"/>
                    <a:pt x="3755" y="731"/>
                  </a:cubicBezTo>
                  <a:cubicBezTo>
                    <a:pt x="3753" y="726"/>
                    <a:pt x="3745" y="721"/>
                    <a:pt x="3737" y="721"/>
                  </a:cubicBezTo>
                  <a:cubicBezTo>
                    <a:pt x="3737" y="721"/>
                    <a:pt x="3737" y="721"/>
                    <a:pt x="3737" y="721"/>
                  </a:cubicBezTo>
                  <a:moveTo>
                    <a:pt x="3275" y="721"/>
                  </a:moveTo>
                  <a:cubicBezTo>
                    <a:pt x="3268" y="721"/>
                    <a:pt x="3263" y="726"/>
                    <a:pt x="3265" y="731"/>
                  </a:cubicBezTo>
                  <a:cubicBezTo>
                    <a:pt x="3266" y="737"/>
                    <a:pt x="3274" y="742"/>
                    <a:pt x="3281" y="742"/>
                  </a:cubicBezTo>
                  <a:cubicBezTo>
                    <a:pt x="3289" y="742"/>
                    <a:pt x="3293" y="737"/>
                    <a:pt x="3292" y="731"/>
                  </a:cubicBezTo>
                  <a:cubicBezTo>
                    <a:pt x="3290" y="726"/>
                    <a:pt x="3283" y="721"/>
                    <a:pt x="3276" y="721"/>
                  </a:cubicBezTo>
                  <a:cubicBezTo>
                    <a:pt x="3276" y="721"/>
                    <a:pt x="3275" y="721"/>
                    <a:pt x="3275" y="721"/>
                  </a:cubicBezTo>
                  <a:moveTo>
                    <a:pt x="3776" y="721"/>
                  </a:moveTo>
                  <a:cubicBezTo>
                    <a:pt x="3768" y="721"/>
                    <a:pt x="3764" y="726"/>
                    <a:pt x="3767" y="731"/>
                  </a:cubicBezTo>
                  <a:cubicBezTo>
                    <a:pt x="3769" y="737"/>
                    <a:pt x="3777" y="742"/>
                    <a:pt x="3785" y="742"/>
                  </a:cubicBezTo>
                  <a:cubicBezTo>
                    <a:pt x="3792" y="742"/>
                    <a:pt x="3796" y="737"/>
                    <a:pt x="3794" y="731"/>
                  </a:cubicBezTo>
                  <a:cubicBezTo>
                    <a:pt x="3791" y="726"/>
                    <a:pt x="3783" y="721"/>
                    <a:pt x="3776" y="721"/>
                  </a:cubicBezTo>
                  <a:cubicBezTo>
                    <a:pt x="3776" y="721"/>
                    <a:pt x="3776" y="721"/>
                    <a:pt x="3776" y="721"/>
                  </a:cubicBezTo>
                  <a:moveTo>
                    <a:pt x="3314" y="721"/>
                  </a:moveTo>
                  <a:cubicBezTo>
                    <a:pt x="3306" y="721"/>
                    <a:pt x="3301" y="726"/>
                    <a:pt x="3303" y="731"/>
                  </a:cubicBezTo>
                  <a:cubicBezTo>
                    <a:pt x="3305" y="737"/>
                    <a:pt x="3312" y="741"/>
                    <a:pt x="3320" y="741"/>
                  </a:cubicBezTo>
                  <a:cubicBezTo>
                    <a:pt x="3327" y="741"/>
                    <a:pt x="3332" y="737"/>
                    <a:pt x="3330" y="731"/>
                  </a:cubicBezTo>
                  <a:cubicBezTo>
                    <a:pt x="3328" y="725"/>
                    <a:pt x="3321" y="721"/>
                    <a:pt x="3314" y="721"/>
                  </a:cubicBezTo>
                  <a:cubicBezTo>
                    <a:pt x="3314" y="721"/>
                    <a:pt x="3314" y="721"/>
                    <a:pt x="3314" y="721"/>
                  </a:cubicBezTo>
                  <a:moveTo>
                    <a:pt x="3816" y="721"/>
                  </a:moveTo>
                  <a:cubicBezTo>
                    <a:pt x="3809" y="721"/>
                    <a:pt x="3805" y="725"/>
                    <a:pt x="3808" y="731"/>
                  </a:cubicBezTo>
                  <a:cubicBezTo>
                    <a:pt x="3810" y="737"/>
                    <a:pt x="3818" y="741"/>
                    <a:pt x="3826" y="741"/>
                  </a:cubicBezTo>
                  <a:cubicBezTo>
                    <a:pt x="3833" y="741"/>
                    <a:pt x="3837" y="737"/>
                    <a:pt x="3835" y="731"/>
                  </a:cubicBezTo>
                  <a:cubicBezTo>
                    <a:pt x="3832" y="725"/>
                    <a:pt x="3824" y="721"/>
                    <a:pt x="3816" y="721"/>
                  </a:cubicBezTo>
                  <a:cubicBezTo>
                    <a:pt x="3816" y="721"/>
                    <a:pt x="3816" y="721"/>
                    <a:pt x="3816" y="721"/>
                  </a:cubicBezTo>
                  <a:moveTo>
                    <a:pt x="3352" y="721"/>
                  </a:moveTo>
                  <a:cubicBezTo>
                    <a:pt x="3345" y="721"/>
                    <a:pt x="3340" y="725"/>
                    <a:pt x="3342" y="731"/>
                  </a:cubicBezTo>
                  <a:cubicBezTo>
                    <a:pt x="3343" y="737"/>
                    <a:pt x="3351" y="741"/>
                    <a:pt x="3358" y="741"/>
                  </a:cubicBezTo>
                  <a:cubicBezTo>
                    <a:pt x="3366" y="741"/>
                    <a:pt x="3370" y="737"/>
                    <a:pt x="3369" y="731"/>
                  </a:cubicBezTo>
                  <a:cubicBezTo>
                    <a:pt x="3367" y="725"/>
                    <a:pt x="3360" y="721"/>
                    <a:pt x="3352" y="721"/>
                  </a:cubicBezTo>
                  <a:cubicBezTo>
                    <a:pt x="3352" y="721"/>
                    <a:pt x="3352" y="721"/>
                    <a:pt x="3352" y="721"/>
                  </a:cubicBezTo>
                  <a:moveTo>
                    <a:pt x="3854" y="721"/>
                  </a:moveTo>
                  <a:cubicBezTo>
                    <a:pt x="3847" y="721"/>
                    <a:pt x="3843" y="725"/>
                    <a:pt x="3846" y="731"/>
                  </a:cubicBezTo>
                  <a:cubicBezTo>
                    <a:pt x="3848" y="737"/>
                    <a:pt x="3856" y="741"/>
                    <a:pt x="3864" y="741"/>
                  </a:cubicBezTo>
                  <a:cubicBezTo>
                    <a:pt x="3871" y="741"/>
                    <a:pt x="3875" y="736"/>
                    <a:pt x="3873" y="731"/>
                  </a:cubicBezTo>
                  <a:cubicBezTo>
                    <a:pt x="3870" y="725"/>
                    <a:pt x="3862" y="721"/>
                    <a:pt x="3854" y="721"/>
                  </a:cubicBezTo>
                  <a:cubicBezTo>
                    <a:pt x="3854" y="721"/>
                    <a:pt x="3854" y="721"/>
                    <a:pt x="3854" y="721"/>
                  </a:cubicBezTo>
                  <a:moveTo>
                    <a:pt x="3390" y="721"/>
                  </a:moveTo>
                  <a:cubicBezTo>
                    <a:pt x="3383" y="721"/>
                    <a:pt x="3378" y="725"/>
                    <a:pt x="3380" y="731"/>
                  </a:cubicBezTo>
                  <a:cubicBezTo>
                    <a:pt x="3382" y="737"/>
                    <a:pt x="3389" y="741"/>
                    <a:pt x="3397" y="741"/>
                  </a:cubicBezTo>
                  <a:cubicBezTo>
                    <a:pt x="3404" y="741"/>
                    <a:pt x="3409" y="736"/>
                    <a:pt x="3407" y="731"/>
                  </a:cubicBezTo>
                  <a:cubicBezTo>
                    <a:pt x="3405" y="725"/>
                    <a:pt x="3398" y="721"/>
                    <a:pt x="3390" y="721"/>
                  </a:cubicBezTo>
                  <a:cubicBezTo>
                    <a:pt x="3390" y="721"/>
                    <a:pt x="3390" y="721"/>
                    <a:pt x="3390" y="721"/>
                  </a:cubicBezTo>
                  <a:moveTo>
                    <a:pt x="3892" y="720"/>
                  </a:moveTo>
                  <a:cubicBezTo>
                    <a:pt x="3885" y="720"/>
                    <a:pt x="3881" y="725"/>
                    <a:pt x="3884" y="731"/>
                  </a:cubicBezTo>
                  <a:cubicBezTo>
                    <a:pt x="3887" y="736"/>
                    <a:pt x="3895" y="741"/>
                    <a:pt x="3902" y="741"/>
                  </a:cubicBezTo>
                  <a:cubicBezTo>
                    <a:pt x="3910" y="741"/>
                    <a:pt x="3914" y="736"/>
                    <a:pt x="3911" y="731"/>
                  </a:cubicBezTo>
                  <a:cubicBezTo>
                    <a:pt x="3908" y="725"/>
                    <a:pt x="3900" y="720"/>
                    <a:pt x="3892" y="720"/>
                  </a:cubicBezTo>
                  <a:cubicBezTo>
                    <a:pt x="3892" y="720"/>
                    <a:pt x="3892" y="720"/>
                    <a:pt x="3892" y="720"/>
                  </a:cubicBezTo>
                  <a:moveTo>
                    <a:pt x="3429" y="720"/>
                  </a:moveTo>
                  <a:cubicBezTo>
                    <a:pt x="3421" y="720"/>
                    <a:pt x="3417" y="725"/>
                    <a:pt x="3419" y="731"/>
                  </a:cubicBezTo>
                  <a:cubicBezTo>
                    <a:pt x="3420" y="736"/>
                    <a:pt x="3428" y="741"/>
                    <a:pt x="3435" y="741"/>
                  </a:cubicBezTo>
                  <a:cubicBezTo>
                    <a:pt x="3443" y="741"/>
                    <a:pt x="3447" y="736"/>
                    <a:pt x="3446" y="731"/>
                  </a:cubicBezTo>
                  <a:cubicBezTo>
                    <a:pt x="3444" y="725"/>
                    <a:pt x="3436" y="720"/>
                    <a:pt x="3429" y="720"/>
                  </a:cubicBezTo>
                  <a:cubicBezTo>
                    <a:pt x="3429" y="720"/>
                    <a:pt x="3429" y="720"/>
                    <a:pt x="3429" y="720"/>
                  </a:cubicBezTo>
                  <a:moveTo>
                    <a:pt x="3931" y="720"/>
                  </a:moveTo>
                  <a:cubicBezTo>
                    <a:pt x="3923" y="720"/>
                    <a:pt x="3920" y="725"/>
                    <a:pt x="3923" y="731"/>
                  </a:cubicBezTo>
                  <a:cubicBezTo>
                    <a:pt x="3925" y="736"/>
                    <a:pt x="3934" y="741"/>
                    <a:pt x="3941" y="741"/>
                  </a:cubicBezTo>
                  <a:cubicBezTo>
                    <a:pt x="3949" y="741"/>
                    <a:pt x="3952" y="736"/>
                    <a:pt x="3950" y="730"/>
                  </a:cubicBezTo>
                  <a:cubicBezTo>
                    <a:pt x="3947" y="725"/>
                    <a:pt x="3938" y="720"/>
                    <a:pt x="3931" y="720"/>
                  </a:cubicBezTo>
                  <a:cubicBezTo>
                    <a:pt x="3931" y="720"/>
                    <a:pt x="3931" y="720"/>
                    <a:pt x="3931" y="720"/>
                  </a:cubicBezTo>
                  <a:moveTo>
                    <a:pt x="3468" y="720"/>
                  </a:moveTo>
                  <a:cubicBezTo>
                    <a:pt x="3460" y="720"/>
                    <a:pt x="3456" y="725"/>
                    <a:pt x="3458" y="730"/>
                  </a:cubicBezTo>
                  <a:cubicBezTo>
                    <a:pt x="3459" y="736"/>
                    <a:pt x="3467" y="741"/>
                    <a:pt x="3474" y="741"/>
                  </a:cubicBezTo>
                  <a:cubicBezTo>
                    <a:pt x="3482" y="741"/>
                    <a:pt x="3486" y="736"/>
                    <a:pt x="3484" y="730"/>
                  </a:cubicBezTo>
                  <a:cubicBezTo>
                    <a:pt x="3483" y="725"/>
                    <a:pt x="3475" y="720"/>
                    <a:pt x="3468" y="720"/>
                  </a:cubicBezTo>
                  <a:cubicBezTo>
                    <a:pt x="3468" y="720"/>
                    <a:pt x="3468" y="720"/>
                    <a:pt x="3468" y="720"/>
                  </a:cubicBezTo>
                  <a:moveTo>
                    <a:pt x="3970" y="720"/>
                  </a:moveTo>
                  <a:cubicBezTo>
                    <a:pt x="3962" y="720"/>
                    <a:pt x="3959" y="725"/>
                    <a:pt x="3961" y="730"/>
                  </a:cubicBezTo>
                  <a:cubicBezTo>
                    <a:pt x="3964" y="736"/>
                    <a:pt x="3973" y="741"/>
                    <a:pt x="3980" y="741"/>
                  </a:cubicBezTo>
                  <a:cubicBezTo>
                    <a:pt x="3988" y="741"/>
                    <a:pt x="3991" y="736"/>
                    <a:pt x="3988" y="730"/>
                  </a:cubicBezTo>
                  <a:cubicBezTo>
                    <a:pt x="3986" y="725"/>
                    <a:pt x="3977" y="720"/>
                    <a:pt x="3970" y="720"/>
                  </a:cubicBezTo>
                  <a:cubicBezTo>
                    <a:pt x="3970" y="720"/>
                    <a:pt x="3970" y="720"/>
                    <a:pt x="3970" y="720"/>
                  </a:cubicBezTo>
                  <a:moveTo>
                    <a:pt x="3506" y="720"/>
                  </a:moveTo>
                  <a:cubicBezTo>
                    <a:pt x="3498" y="720"/>
                    <a:pt x="3494" y="725"/>
                    <a:pt x="3496" y="730"/>
                  </a:cubicBezTo>
                  <a:cubicBezTo>
                    <a:pt x="3498" y="736"/>
                    <a:pt x="3505" y="741"/>
                    <a:pt x="3513" y="740"/>
                  </a:cubicBezTo>
                  <a:cubicBezTo>
                    <a:pt x="3520" y="740"/>
                    <a:pt x="3525" y="736"/>
                    <a:pt x="3523" y="730"/>
                  </a:cubicBezTo>
                  <a:cubicBezTo>
                    <a:pt x="3521" y="725"/>
                    <a:pt x="3513" y="720"/>
                    <a:pt x="3506" y="720"/>
                  </a:cubicBezTo>
                  <a:cubicBezTo>
                    <a:pt x="3506" y="720"/>
                    <a:pt x="3506" y="720"/>
                    <a:pt x="3506" y="720"/>
                  </a:cubicBezTo>
                  <a:moveTo>
                    <a:pt x="4008" y="720"/>
                  </a:moveTo>
                  <a:cubicBezTo>
                    <a:pt x="4000" y="720"/>
                    <a:pt x="3997" y="724"/>
                    <a:pt x="4000" y="730"/>
                  </a:cubicBezTo>
                  <a:cubicBezTo>
                    <a:pt x="4003" y="736"/>
                    <a:pt x="4011" y="740"/>
                    <a:pt x="4019" y="740"/>
                  </a:cubicBezTo>
                  <a:cubicBezTo>
                    <a:pt x="4026" y="740"/>
                    <a:pt x="4030" y="736"/>
                    <a:pt x="4027" y="730"/>
                  </a:cubicBezTo>
                  <a:cubicBezTo>
                    <a:pt x="4024" y="724"/>
                    <a:pt x="4015" y="720"/>
                    <a:pt x="4008" y="720"/>
                  </a:cubicBezTo>
                  <a:cubicBezTo>
                    <a:pt x="4008" y="720"/>
                    <a:pt x="4008" y="720"/>
                    <a:pt x="4008" y="720"/>
                  </a:cubicBezTo>
                  <a:moveTo>
                    <a:pt x="3544" y="720"/>
                  </a:moveTo>
                  <a:cubicBezTo>
                    <a:pt x="3537" y="720"/>
                    <a:pt x="3532" y="724"/>
                    <a:pt x="3534" y="730"/>
                  </a:cubicBezTo>
                  <a:cubicBezTo>
                    <a:pt x="3536" y="736"/>
                    <a:pt x="3544" y="740"/>
                    <a:pt x="3552" y="740"/>
                  </a:cubicBezTo>
                  <a:cubicBezTo>
                    <a:pt x="3559" y="740"/>
                    <a:pt x="3563" y="736"/>
                    <a:pt x="3561" y="730"/>
                  </a:cubicBezTo>
                  <a:cubicBezTo>
                    <a:pt x="3559" y="724"/>
                    <a:pt x="3552" y="720"/>
                    <a:pt x="3544" y="720"/>
                  </a:cubicBezTo>
                  <a:cubicBezTo>
                    <a:pt x="3544" y="720"/>
                    <a:pt x="3544" y="720"/>
                    <a:pt x="3544" y="720"/>
                  </a:cubicBezTo>
                  <a:moveTo>
                    <a:pt x="4045" y="720"/>
                  </a:moveTo>
                  <a:cubicBezTo>
                    <a:pt x="4038" y="720"/>
                    <a:pt x="4034" y="724"/>
                    <a:pt x="4037" y="730"/>
                  </a:cubicBezTo>
                  <a:cubicBezTo>
                    <a:pt x="4040" y="736"/>
                    <a:pt x="4049" y="740"/>
                    <a:pt x="4056" y="740"/>
                  </a:cubicBezTo>
                  <a:cubicBezTo>
                    <a:pt x="4064" y="740"/>
                    <a:pt x="4067" y="736"/>
                    <a:pt x="4064" y="730"/>
                  </a:cubicBezTo>
                  <a:cubicBezTo>
                    <a:pt x="4061" y="724"/>
                    <a:pt x="4053" y="720"/>
                    <a:pt x="4045" y="720"/>
                  </a:cubicBezTo>
                  <a:cubicBezTo>
                    <a:pt x="4045" y="720"/>
                    <a:pt x="4045" y="720"/>
                    <a:pt x="4045" y="720"/>
                  </a:cubicBezTo>
                  <a:moveTo>
                    <a:pt x="3582" y="720"/>
                  </a:moveTo>
                  <a:cubicBezTo>
                    <a:pt x="3575" y="720"/>
                    <a:pt x="3571" y="724"/>
                    <a:pt x="3573" y="730"/>
                  </a:cubicBezTo>
                  <a:cubicBezTo>
                    <a:pt x="3575" y="736"/>
                    <a:pt x="3583" y="740"/>
                    <a:pt x="3590" y="740"/>
                  </a:cubicBezTo>
                  <a:cubicBezTo>
                    <a:pt x="3597" y="740"/>
                    <a:pt x="3602" y="735"/>
                    <a:pt x="3600" y="730"/>
                  </a:cubicBezTo>
                  <a:cubicBezTo>
                    <a:pt x="3597" y="724"/>
                    <a:pt x="3590" y="720"/>
                    <a:pt x="3582" y="720"/>
                  </a:cubicBezTo>
                  <a:cubicBezTo>
                    <a:pt x="3582" y="720"/>
                    <a:pt x="3582" y="720"/>
                    <a:pt x="3582" y="720"/>
                  </a:cubicBezTo>
                  <a:moveTo>
                    <a:pt x="3621" y="719"/>
                  </a:moveTo>
                  <a:cubicBezTo>
                    <a:pt x="3613" y="719"/>
                    <a:pt x="3609" y="724"/>
                    <a:pt x="3611" y="730"/>
                  </a:cubicBezTo>
                  <a:cubicBezTo>
                    <a:pt x="3613" y="735"/>
                    <a:pt x="3621" y="740"/>
                    <a:pt x="3629" y="740"/>
                  </a:cubicBezTo>
                  <a:cubicBezTo>
                    <a:pt x="3636" y="740"/>
                    <a:pt x="3640" y="735"/>
                    <a:pt x="3638" y="730"/>
                  </a:cubicBezTo>
                  <a:cubicBezTo>
                    <a:pt x="3636" y="724"/>
                    <a:pt x="3628" y="719"/>
                    <a:pt x="3621" y="719"/>
                  </a:cubicBezTo>
                  <a:cubicBezTo>
                    <a:pt x="3621" y="719"/>
                    <a:pt x="3621" y="719"/>
                    <a:pt x="3621" y="719"/>
                  </a:cubicBezTo>
                  <a:moveTo>
                    <a:pt x="3660" y="719"/>
                  </a:moveTo>
                  <a:cubicBezTo>
                    <a:pt x="3652" y="719"/>
                    <a:pt x="3648" y="724"/>
                    <a:pt x="3650" y="730"/>
                  </a:cubicBezTo>
                  <a:cubicBezTo>
                    <a:pt x="3652" y="735"/>
                    <a:pt x="3660" y="740"/>
                    <a:pt x="3668" y="740"/>
                  </a:cubicBezTo>
                  <a:cubicBezTo>
                    <a:pt x="3675" y="740"/>
                    <a:pt x="3679" y="735"/>
                    <a:pt x="3677" y="729"/>
                  </a:cubicBezTo>
                  <a:cubicBezTo>
                    <a:pt x="3675" y="724"/>
                    <a:pt x="3667" y="719"/>
                    <a:pt x="3660" y="719"/>
                  </a:cubicBezTo>
                  <a:cubicBezTo>
                    <a:pt x="3660" y="719"/>
                    <a:pt x="3660" y="719"/>
                    <a:pt x="3660" y="719"/>
                  </a:cubicBezTo>
                  <a:moveTo>
                    <a:pt x="61" y="710"/>
                  </a:moveTo>
                  <a:cubicBezTo>
                    <a:pt x="54" y="710"/>
                    <a:pt x="44" y="715"/>
                    <a:pt x="39" y="720"/>
                  </a:cubicBezTo>
                  <a:cubicBezTo>
                    <a:pt x="35" y="726"/>
                    <a:pt x="37" y="730"/>
                    <a:pt x="44" y="730"/>
                  </a:cubicBezTo>
                  <a:cubicBezTo>
                    <a:pt x="52" y="730"/>
                    <a:pt x="61" y="726"/>
                    <a:pt x="66" y="720"/>
                  </a:cubicBezTo>
                  <a:cubicBezTo>
                    <a:pt x="71" y="715"/>
                    <a:pt x="69" y="710"/>
                    <a:pt x="61" y="710"/>
                  </a:cubicBezTo>
                  <a:cubicBezTo>
                    <a:pt x="61" y="710"/>
                    <a:pt x="61" y="710"/>
                    <a:pt x="61" y="710"/>
                  </a:cubicBezTo>
                  <a:moveTo>
                    <a:pt x="100" y="710"/>
                  </a:moveTo>
                  <a:cubicBezTo>
                    <a:pt x="92" y="710"/>
                    <a:pt x="82" y="714"/>
                    <a:pt x="78" y="720"/>
                  </a:cubicBezTo>
                  <a:cubicBezTo>
                    <a:pt x="73" y="726"/>
                    <a:pt x="75" y="730"/>
                    <a:pt x="83" y="730"/>
                  </a:cubicBezTo>
                  <a:cubicBezTo>
                    <a:pt x="90" y="730"/>
                    <a:pt x="100" y="725"/>
                    <a:pt x="105" y="720"/>
                  </a:cubicBezTo>
                  <a:cubicBezTo>
                    <a:pt x="109" y="714"/>
                    <a:pt x="107" y="710"/>
                    <a:pt x="100" y="710"/>
                  </a:cubicBezTo>
                  <a:cubicBezTo>
                    <a:pt x="100" y="710"/>
                    <a:pt x="100" y="710"/>
                    <a:pt x="100" y="710"/>
                  </a:cubicBezTo>
                  <a:moveTo>
                    <a:pt x="139" y="710"/>
                  </a:moveTo>
                  <a:cubicBezTo>
                    <a:pt x="132" y="710"/>
                    <a:pt x="122" y="714"/>
                    <a:pt x="117" y="720"/>
                  </a:cubicBezTo>
                  <a:cubicBezTo>
                    <a:pt x="113" y="725"/>
                    <a:pt x="115" y="730"/>
                    <a:pt x="123" y="730"/>
                  </a:cubicBezTo>
                  <a:cubicBezTo>
                    <a:pt x="130" y="730"/>
                    <a:pt x="140" y="725"/>
                    <a:pt x="144" y="720"/>
                  </a:cubicBezTo>
                  <a:cubicBezTo>
                    <a:pt x="149" y="714"/>
                    <a:pt x="147" y="710"/>
                    <a:pt x="139" y="710"/>
                  </a:cubicBezTo>
                  <a:cubicBezTo>
                    <a:pt x="139" y="710"/>
                    <a:pt x="139" y="710"/>
                    <a:pt x="139" y="710"/>
                  </a:cubicBezTo>
                  <a:moveTo>
                    <a:pt x="333" y="709"/>
                  </a:moveTo>
                  <a:cubicBezTo>
                    <a:pt x="326" y="709"/>
                    <a:pt x="316" y="713"/>
                    <a:pt x="312" y="719"/>
                  </a:cubicBezTo>
                  <a:cubicBezTo>
                    <a:pt x="308" y="724"/>
                    <a:pt x="310" y="729"/>
                    <a:pt x="318" y="729"/>
                  </a:cubicBezTo>
                  <a:cubicBezTo>
                    <a:pt x="325" y="729"/>
                    <a:pt x="335" y="724"/>
                    <a:pt x="339" y="719"/>
                  </a:cubicBezTo>
                  <a:cubicBezTo>
                    <a:pt x="343" y="713"/>
                    <a:pt x="340" y="709"/>
                    <a:pt x="333" y="709"/>
                  </a:cubicBezTo>
                  <a:cubicBezTo>
                    <a:pt x="333" y="709"/>
                    <a:pt x="333" y="709"/>
                    <a:pt x="333" y="709"/>
                  </a:cubicBezTo>
                  <a:moveTo>
                    <a:pt x="256" y="708"/>
                  </a:moveTo>
                  <a:cubicBezTo>
                    <a:pt x="249" y="708"/>
                    <a:pt x="239" y="713"/>
                    <a:pt x="235" y="719"/>
                  </a:cubicBezTo>
                  <a:cubicBezTo>
                    <a:pt x="230" y="724"/>
                    <a:pt x="233" y="729"/>
                    <a:pt x="240" y="729"/>
                  </a:cubicBezTo>
                  <a:cubicBezTo>
                    <a:pt x="248" y="729"/>
                    <a:pt x="257" y="724"/>
                    <a:pt x="261" y="718"/>
                  </a:cubicBezTo>
                  <a:cubicBezTo>
                    <a:pt x="266" y="713"/>
                    <a:pt x="263" y="708"/>
                    <a:pt x="256" y="708"/>
                  </a:cubicBezTo>
                  <a:cubicBezTo>
                    <a:pt x="256" y="708"/>
                    <a:pt x="256" y="708"/>
                    <a:pt x="256" y="708"/>
                  </a:cubicBezTo>
                  <a:moveTo>
                    <a:pt x="371" y="708"/>
                  </a:moveTo>
                  <a:cubicBezTo>
                    <a:pt x="364" y="708"/>
                    <a:pt x="355" y="713"/>
                    <a:pt x="350" y="719"/>
                  </a:cubicBezTo>
                  <a:cubicBezTo>
                    <a:pt x="346" y="724"/>
                    <a:pt x="349" y="729"/>
                    <a:pt x="356" y="729"/>
                  </a:cubicBezTo>
                  <a:cubicBezTo>
                    <a:pt x="364" y="729"/>
                    <a:pt x="373" y="724"/>
                    <a:pt x="377" y="718"/>
                  </a:cubicBezTo>
                  <a:cubicBezTo>
                    <a:pt x="381" y="713"/>
                    <a:pt x="379" y="708"/>
                    <a:pt x="371" y="708"/>
                  </a:cubicBezTo>
                  <a:cubicBezTo>
                    <a:pt x="371" y="708"/>
                    <a:pt x="371" y="708"/>
                    <a:pt x="371" y="708"/>
                  </a:cubicBezTo>
                  <a:moveTo>
                    <a:pt x="295" y="708"/>
                  </a:moveTo>
                  <a:cubicBezTo>
                    <a:pt x="288" y="708"/>
                    <a:pt x="279" y="713"/>
                    <a:pt x="274" y="718"/>
                  </a:cubicBezTo>
                  <a:cubicBezTo>
                    <a:pt x="270" y="724"/>
                    <a:pt x="272" y="728"/>
                    <a:pt x="280" y="728"/>
                  </a:cubicBezTo>
                  <a:cubicBezTo>
                    <a:pt x="287" y="728"/>
                    <a:pt x="297" y="724"/>
                    <a:pt x="301" y="718"/>
                  </a:cubicBezTo>
                  <a:cubicBezTo>
                    <a:pt x="305" y="713"/>
                    <a:pt x="303" y="708"/>
                    <a:pt x="295" y="708"/>
                  </a:cubicBezTo>
                  <a:cubicBezTo>
                    <a:pt x="295" y="708"/>
                    <a:pt x="295" y="708"/>
                    <a:pt x="295" y="708"/>
                  </a:cubicBezTo>
                  <a:moveTo>
                    <a:pt x="410" y="708"/>
                  </a:moveTo>
                  <a:cubicBezTo>
                    <a:pt x="403" y="708"/>
                    <a:pt x="393" y="713"/>
                    <a:pt x="389" y="718"/>
                  </a:cubicBezTo>
                  <a:cubicBezTo>
                    <a:pt x="385" y="724"/>
                    <a:pt x="388" y="728"/>
                    <a:pt x="395" y="728"/>
                  </a:cubicBezTo>
                  <a:cubicBezTo>
                    <a:pt x="403" y="728"/>
                    <a:pt x="412" y="724"/>
                    <a:pt x="416" y="718"/>
                  </a:cubicBezTo>
                  <a:cubicBezTo>
                    <a:pt x="420" y="713"/>
                    <a:pt x="417" y="708"/>
                    <a:pt x="410" y="708"/>
                  </a:cubicBezTo>
                  <a:cubicBezTo>
                    <a:pt x="410" y="708"/>
                    <a:pt x="410" y="708"/>
                    <a:pt x="410" y="708"/>
                  </a:cubicBezTo>
                  <a:moveTo>
                    <a:pt x="448" y="708"/>
                  </a:moveTo>
                  <a:cubicBezTo>
                    <a:pt x="441" y="708"/>
                    <a:pt x="431" y="713"/>
                    <a:pt x="427" y="718"/>
                  </a:cubicBezTo>
                  <a:cubicBezTo>
                    <a:pt x="423" y="724"/>
                    <a:pt x="426" y="728"/>
                    <a:pt x="433" y="728"/>
                  </a:cubicBezTo>
                  <a:cubicBezTo>
                    <a:pt x="441" y="728"/>
                    <a:pt x="450" y="724"/>
                    <a:pt x="454" y="718"/>
                  </a:cubicBezTo>
                  <a:cubicBezTo>
                    <a:pt x="458" y="712"/>
                    <a:pt x="455" y="708"/>
                    <a:pt x="448" y="708"/>
                  </a:cubicBezTo>
                  <a:cubicBezTo>
                    <a:pt x="448" y="708"/>
                    <a:pt x="448" y="708"/>
                    <a:pt x="448" y="708"/>
                  </a:cubicBezTo>
                  <a:moveTo>
                    <a:pt x="486" y="708"/>
                  </a:moveTo>
                  <a:cubicBezTo>
                    <a:pt x="479" y="708"/>
                    <a:pt x="470" y="712"/>
                    <a:pt x="466" y="718"/>
                  </a:cubicBezTo>
                  <a:cubicBezTo>
                    <a:pt x="462" y="724"/>
                    <a:pt x="465" y="728"/>
                    <a:pt x="472" y="728"/>
                  </a:cubicBezTo>
                  <a:cubicBezTo>
                    <a:pt x="479" y="728"/>
                    <a:pt x="489" y="723"/>
                    <a:pt x="492" y="718"/>
                  </a:cubicBezTo>
                  <a:cubicBezTo>
                    <a:pt x="496" y="712"/>
                    <a:pt x="494" y="708"/>
                    <a:pt x="486" y="708"/>
                  </a:cubicBezTo>
                  <a:cubicBezTo>
                    <a:pt x="486" y="708"/>
                    <a:pt x="486" y="708"/>
                    <a:pt x="486" y="708"/>
                  </a:cubicBezTo>
                  <a:moveTo>
                    <a:pt x="601" y="707"/>
                  </a:moveTo>
                  <a:cubicBezTo>
                    <a:pt x="594" y="707"/>
                    <a:pt x="585" y="712"/>
                    <a:pt x="581" y="717"/>
                  </a:cubicBezTo>
                  <a:cubicBezTo>
                    <a:pt x="577" y="723"/>
                    <a:pt x="580" y="727"/>
                    <a:pt x="588" y="727"/>
                  </a:cubicBezTo>
                  <a:cubicBezTo>
                    <a:pt x="595" y="727"/>
                    <a:pt x="604" y="723"/>
                    <a:pt x="608" y="717"/>
                  </a:cubicBezTo>
                  <a:cubicBezTo>
                    <a:pt x="611" y="712"/>
                    <a:pt x="608" y="707"/>
                    <a:pt x="601" y="707"/>
                  </a:cubicBezTo>
                  <a:cubicBezTo>
                    <a:pt x="601" y="707"/>
                    <a:pt x="601" y="707"/>
                    <a:pt x="601" y="707"/>
                  </a:cubicBezTo>
                  <a:moveTo>
                    <a:pt x="181" y="707"/>
                  </a:moveTo>
                  <a:cubicBezTo>
                    <a:pt x="174" y="707"/>
                    <a:pt x="164" y="712"/>
                    <a:pt x="159" y="717"/>
                  </a:cubicBezTo>
                  <a:cubicBezTo>
                    <a:pt x="155" y="723"/>
                    <a:pt x="157" y="727"/>
                    <a:pt x="165" y="727"/>
                  </a:cubicBezTo>
                  <a:cubicBezTo>
                    <a:pt x="172" y="727"/>
                    <a:pt x="182" y="723"/>
                    <a:pt x="186" y="717"/>
                  </a:cubicBezTo>
                  <a:cubicBezTo>
                    <a:pt x="191" y="711"/>
                    <a:pt x="188" y="707"/>
                    <a:pt x="181" y="707"/>
                  </a:cubicBezTo>
                  <a:cubicBezTo>
                    <a:pt x="181" y="707"/>
                    <a:pt x="181" y="707"/>
                    <a:pt x="181" y="707"/>
                  </a:cubicBezTo>
                  <a:moveTo>
                    <a:pt x="219" y="707"/>
                  </a:moveTo>
                  <a:cubicBezTo>
                    <a:pt x="212" y="707"/>
                    <a:pt x="202" y="711"/>
                    <a:pt x="198" y="717"/>
                  </a:cubicBezTo>
                  <a:cubicBezTo>
                    <a:pt x="193" y="723"/>
                    <a:pt x="196" y="727"/>
                    <a:pt x="203" y="727"/>
                  </a:cubicBezTo>
                  <a:cubicBezTo>
                    <a:pt x="210" y="727"/>
                    <a:pt x="220" y="722"/>
                    <a:pt x="224" y="717"/>
                  </a:cubicBezTo>
                  <a:cubicBezTo>
                    <a:pt x="229" y="711"/>
                    <a:pt x="226" y="707"/>
                    <a:pt x="219" y="707"/>
                  </a:cubicBezTo>
                  <a:cubicBezTo>
                    <a:pt x="219" y="707"/>
                    <a:pt x="219" y="707"/>
                    <a:pt x="219" y="707"/>
                  </a:cubicBezTo>
                  <a:moveTo>
                    <a:pt x="1858" y="699"/>
                  </a:moveTo>
                  <a:cubicBezTo>
                    <a:pt x="1851" y="699"/>
                    <a:pt x="1844" y="703"/>
                    <a:pt x="1843" y="709"/>
                  </a:cubicBezTo>
                  <a:cubicBezTo>
                    <a:pt x="1841" y="715"/>
                    <a:pt x="1846" y="719"/>
                    <a:pt x="1854" y="719"/>
                  </a:cubicBezTo>
                  <a:cubicBezTo>
                    <a:pt x="1861" y="719"/>
                    <a:pt x="1868" y="715"/>
                    <a:pt x="1869" y="709"/>
                  </a:cubicBezTo>
                  <a:cubicBezTo>
                    <a:pt x="1871" y="703"/>
                    <a:pt x="1866" y="699"/>
                    <a:pt x="1858" y="699"/>
                  </a:cubicBezTo>
                  <a:cubicBezTo>
                    <a:pt x="1858" y="699"/>
                    <a:pt x="1858" y="699"/>
                    <a:pt x="1858" y="699"/>
                  </a:cubicBezTo>
                  <a:moveTo>
                    <a:pt x="1897" y="699"/>
                  </a:moveTo>
                  <a:cubicBezTo>
                    <a:pt x="1890" y="699"/>
                    <a:pt x="1883" y="703"/>
                    <a:pt x="1881" y="709"/>
                  </a:cubicBezTo>
                  <a:cubicBezTo>
                    <a:pt x="1880" y="714"/>
                    <a:pt x="1885" y="719"/>
                    <a:pt x="1893" y="719"/>
                  </a:cubicBezTo>
                  <a:cubicBezTo>
                    <a:pt x="1900" y="719"/>
                    <a:pt x="1907" y="714"/>
                    <a:pt x="1908" y="709"/>
                  </a:cubicBezTo>
                  <a:cubicBezTo>
                    <a:pt x="1909" y="703"/>
                    <a:pt x="1904" y="699"/>
                    <a:pt x="1897" y="699"/>
                  </a:cubicBezTo>
                  <a:cubicBezTo>
                    <a:pt x="1897" y="699"/>
                    <a:pt x="1897" y="699"/>
                    <a:pt x="1897" y="699"/>
                  </a:cubicBezTo>
                  <a:moveTo>
                    <a:pt x="1935" y="698"/>
                  </a:moveTo>
                  <a:cubicBezTo>
                    <a:pt x="1927" y="698"/>
                    <a:pt x="1921" y="703"/>
                    <a:pt x="1919" y="709"/>
                  </a:cubicBezTo>
                  <a:cubicBezTo>
                    <a:pt x="1918" y="714"/>
                    <a:pt x="1923" y="719"/>
                    <a:pt x="1931" y="719"/>
                  </a:cubicBezTo>
                  <a:cubicBezTo>
                    <a:pt x="1938" y="719"/>
                    <a:pt x="1945" y="714"/>
                    <a:pt x="1946" y="709"/>
                  </a:cubicBezTo>
                  <a:cubicBezTo>
                    <a:pt x="1947" y="703"/>
                    <a:pt x="1942" y="698"/>
                    <a:pt x="1935" y="698"/>
                  </a:cubicBezTo>
                  <a:cubicBezTo>
                    <a:pt x="1935" y="698"/>
                    <a:pt x="1935" y="698"/>
                    <a:pt x="1935" y="698"/>
                  </a:cubicBezTo>
                  <a:moveTo>
                    <a:pt x="1973" y="698"/>
                  </a:moveTo>
                  <a:cubicBezTo>
                    <a:pt x="1965" y="698"/>
                    <a:pt x="1959" y="703"/>
                    <a:pt x="1958" y="708"/>
                  </a:cubicBezTo>
                  <a:cubicBezTo>
                    <a:pt x="1957" y="714"/>
                    <a:pt x="1962" y="719"/>
                    <a:pt x="1969" y="719"/>
                  </a:cubicBezTo>
                  <a:cubicBezTo>
                    <a:pt x="1977" y="719"/>
                    <a:pt x="1983" y="714"/>
                    <a:pt x="1984" y="708"/>
                  </a:cubicBezTo>
                  <a:cubicBezTo>
                    <a:pt x="1985" y="703"/>
                    <a:pt x="1980" y="698"/>
                    <a:pt x="1973" y="698"/>
                  </a:cubicBezTo>
                  <a:cubicBezTo>
                    <a:pt x="1973" y="698"/>
                    <a:pt x="1973" y="698"/>
                    <a:pt x="1973" y="698"/>
                  </a:cubicBezTo>
                  <a:moveTo>
                    <a:pt x="2011" y="698"/>
                  </a:moveTo>
                  <a:cubicBezTo>
                    <a:pt x="2003" y="698"/>
                    <a:pt x="1997" y="703"/>
                    <a:pt x="1996" y="708"/>
                  </a:cubicBezTo>
                  <a:cubicBezTo>
                    <a:pt x="1995" y="714"/>
                    <a:pt x="2000" y="718"/>
                    <a:pt x="2007" y="718"/>
                  </a:cubicBezTo>
                  <a:cubicBezTo>
                    <a:pt x="2015" y="718"/>
                    <a:pt x="2022" y="714"/>
                    <a:pt x="2022" y="708"/>
                  </a:cubicBezTo>
                  <a:cubicBezTo>
                    <a:pt x="2023" y="702"/>
                    <a:pt x="2018" y="698"/>
                    <a:pt x="2011" y="698"/>
                  </a:cubicBezTo>
                  <a:cubicBezTo>
                    <a:pt x="2011" y="698"/>
                    <a:pt x="2011" y="698"/>
                    <a:pt x="2011" y="698"/>
                  </a:cubicBezTo>
                  <a:moveTo>
                    <a:pt x="2049" y="698"/>
                  </a:moveTo>
                  <a:cubicBezTo>
                    <a:pt x="2042" y="698"/>
                    <a:pt x="2035" y="702"/>
                    <a:pt x="2034" y="708"/>
                  </a:cubicBezTo>
                  <a:cubicBezTo>
                    <a:pt x="2033" y="714"/>
                    <a:pt x="2038" y="718"/>
                    <a:pt x="2046" y="718"/>
                  </a:cubicBezTo>
                  <a:cubicBezTo>
                    <a:pt x="2053" y="718"/>
                    <a:pt x="2060" y="714"/>
                    <a:pt x="2061" y="708"/>
                  </a:cubicBezTo>
                  <a:cubicBezTo>
                    <a:pt x="2062" y="702"/>
                    <a:pt x="2056" y="698"/>
                    <a:pt x="2049" y="698"/>
                  </a:cubicBezTo>
                  <a:cubicBezTo>
                    <a:pt x="2049" y="698"/>
                    <a:pt x="2049" y="698"/>
                    <a:pt x="2049" y="698"/>
                  </a:cubicBezTo>
                  <a:moveTo>
                    <a:pt x="2088" y="698"/>
                  </a:moveTo>
                  <a:cubicBezTo>
                    <a:pt x="2081" y="698"/>
                    <a:pt x="2074" y="702"/>
                    <a:pt x="2073" y="708"/>
                  </a:cubicBezTo>
                  <a:cubicBezTo>
                    <a:pt x="2073" y="713"/>
                    <a:pt x="2078" y="718"/>
                    <a:pt x="2085" y="718"/>
                  </a:cubicBezTo>
                  <a:cubicBezTo>
                    <a:pt x="2093" y="718"/>
                    <a:pt x="2099" y="713"/>
                    <a:pt x="2100" y="708"/>
                  </a:cubicBezTo>
                  <a:cubicBezTo>
                    <a:pt x="2101" y="702"/>
                    <a:pt x="2096" y="698"/>
                    <a:pt x="2088" y="698"/>
                  </a:cubicBezTo>
                  <a:cubicBezTo>
                    <a:pt x="2088" y="698"/>
                    <a:pt x="2088" y="698"/>
                    <a:pt x="2088" y="698"/>
                  </a:cubicBezTo>
                  <a:moveTo>
                    <a:pt x="2126" y="697"/>
                  </a:moveTo>
                  <a:cubicBezTo>
                    <a:pt x="2119" y="697"/>
                    <a:pt x="2112" y="702"/>
                    <a:pt x="2111" y="708"/>
                  </a:cubicBezTo>
                  <a:cubicBezTo>
                    <a:pt x="2111" y="713"/>
                    <a:pt x="2116" y="718"/>
                    <a:pt x="2124" y="718"/>
                  </a:cubicBezTo>
                  <a:cubicBezTo>
                    <a:pt x="2131" y="718"/>
                    <a:pt x="2137" y="713"/>
                    <a:pt x="2138" y="708"/>
                  </a:cubicBezTo>
                  <a:cubicBezTo>
                    <a:pt x="2139" y="702"/>
                    <a:pt x="2134" y="697"/>
                    <a:pt x="2126" y="697"/>
                  </a:cubicBezTo>
                  <a:cubicBezTo>
                    <a:pt x="2126" y="697"/>
                    <a:pt x="2126" y="697"/>
                    <a:pt x="2126" y="697"/>
                  </a:cubicBezTo>
                  <a:moveTo>
                    <a:pt x="2164" y="697"/>
                  </a:moveTo>
                  <a:cubicBezTo>
                    <a:pt x="2157" y="697"/>
                    <a:pt x="2150" y="702"/>
                    <a:pt x="2150" y="707"/>
                  </a:cubicBezTo>
                  <a:cubicBezTo>
                    <a:pt x="2149" y="713"/>
                    <a:pt x="2155" y="718"/>
                    <a:pt x="2162" y="718"/>
                  </a:cubicBezTo>
                  <a:cubicBezTo>
                    <a:pt x="2169" y="718"/>
                    <a:pt x="2176" y="713"/>
                    <a:pt x="2176" y="707"/>
                  </a:cubicBezTo>
                  <a:cubicBezTo>
                    <a:pt x="2177" y="702"/>
                    <a:pt x="2172" y="697"/>
                    <a:pt x="2164" y="697"/>
                  </a:cubicBezTo>
                  <a:cubicBezTo>
                    <a:pt x="2164" y="697"/>
                    <a:pt x="2164" y="697"/>
                    <a:pt x="2164" y="697"/>
                  </a:cubicBezTo>
                  <a:moveTo>
                    <a:pt x="2203" y="697"/>
                  </a:moveTo>
                  <a:cubicBezTo>
                    <a:pt x="2195" y="697"/>
                    <a:pt x="2189" y="702"/>
                    <a:pt x="2188" y="707"/>
                  </a:cubicBezTo>
                  <a:cubicBezTo>
                    <a:pt x="2188" y="713"/>
                    <a:pt x="2193" y="717"/>
                    <a:pt x="2201" y="717"/>
                  </a:cubicBezTo>
                  <a:cubicBezTo>
                    <a:pt x="2208" y="717"/>
                    <a:pt x="2215" y="713"/>
                    <a:pt x="2215" y="707"/>
                  </a:cubicBezTo>
                  <a:cubicBezTo>
                    <a:pt x="2216" y="701"/>
                    <a:pt x="2210" y="697"/>
                    <a:pt x="2203" y="697"/>
                  </a:cubicBezTo>
                  <a:cubicBezTo>
                    <a:pt x="2203" y="697"/>
                    <a:pt x="2203" y="697"/>
                    <a:pt x="2203" y="697"/>
                  </a:cubicBezTo>
                  <a:moveTo>
                    <a:pt x="2241" y="697"/>
                  </a:moveTo>
                  <a:cubicBezTo>
                    <a:pt x="2233" y="697"/>
                    <a:pt x="2227" y="701"/>
                    <a:pt x="2226" y="707"/>
                  </a:cubicBezTo>
                  <a:cubicBezTo>
                    <a:pt x="2226" y="713"/>
                    <a:pt x="2231" y="717"/>
                    <a:pt x="2239" y="717"/>
                  </a:cubicBezTo>
                  <a:cubicBezTo>
                    <a:pt x="2246" y="717"/>
                    <a:pt x="2253" y="713"/>
                    <a:pt x="2253" y="707"/>
                  </a:cubicBezTo>
                  <a:cubicBezTo>
                    <a:pt x="2254" y="701"/>
                    <a:pt x="2248" y="697"/>
                    <a:pt x="2241" y="697"/>
                  </a:cubicBezTo>
                  <a:cubicBezTo>
                    <a:pt x="2241" y="697"/>
                    <a:pt x="2241" y="697"/>
                    <a:pt x="2241" y="697"/>
                  </a:cubicBezTo>
                  <a:moveTo>
                    <a:pt x="2279" y="697"/>
                  </a:moveTo>
                  <a:cubicBezTo>
                    <a:pt x="2271" y="697"/>
                    <a:pt x="2265" y="701"/>
                    <a:pt x="2265" y="707"/>
                  </a:cubicBezTo>
                  <a:cubicBezTo>
                    <a:pt x="2264" y="712"/>
                    <a:pt x="2270" y="717"/>
                    <a:pt x="2277" y="717"/>
                  </a:cubicBezTo>
                  <a:cubicBezTo>
                    <a:pt x="2285" y="717"/>
                    <a:pt x="2291" y="712"/>
                    <a:pt x="2291" y="707"/>
                  </a:cubicBezTo>
                  <a:cubicBezTo>
                    <a:pt x="2292" y="701"/>
                    <a:pt x="2286" y="697"/>
                    <a:pt x="2279" y="697"/>
                  </a:cubicBezTo>
                  <a:cubicBezTo>
                    <a:pt x="2279" y="697"/>
                    <a:pt x="2279" y="697"/>
                    <a:pt x="2279" y="697"/>
                  </a:cubicBezTo>
                  <a:moveTo>
                    <a:pt x="2317" y="696"/>
                  </a:moveTo>
                  <a:cubicBezTo>
                    <a:pt x="2309" y="696"/>
                    <a:pt x="2303" y="701"/>
                    <a:pt x="2303" y="707"/>
                  </a:cubicBezTo>
                  <a:cubicBezTo>
                    <a:pt x="2302" y="712"/>
                    <a:pt x="2308" y="717"/>
                    <a:pt x="2315" y="717"/>
                  </a:cubicBezTo>
                  <a:cubicBezTo>
                    <a:pt x="2323" y="717"/>
                    <a:pt x="2329" y="712"/>
                    <a:pt x="2329" y="707"/>
                  </a:cubicBezTo>
                  <a:cubicBezTo>
                    <a:pt x="2330" y="701"/>
                    <a:pt x="2324" y="696"/>
                    <a:pt x="2317" y="696"/>
                  </a:cubicBezTo>
                  <a:cubicBezTo>
                    <a:pt x="2317" y="696"/>
                    <a:pt x="2317" y="696"/>
                    <a:pt x="2317" y="696"/>
                  </a:cubicBezTo>
                  <a:moveTo>
                    <a:pt x="2355" y="696"/>
                  </a:moveTo>
                  <a:cubicBezTo>
                    <a:pt x="2347" y="696"/>
                    <a:pt x="2341" y="701"/>
                    <a:pt x="2341" y="706"/>
                  </a:cubicBezTo>
                  <a:cubicBezTo>
                    <a:pt x="2341" y="712"/>
                    <a:pt x="2346" y="717"/>
                    <a:pt x="2354" y="717"/>
                  </a:cubicBezTo>
                  <a:cubicBezTo>
                    <a:pt x="2361" y="717"/>
                    <a:pt x="2367" y="712"/>
                    <a:pt x="2368" y="706"/>
                  </a:cubicBezTo>
                  <a:cubicBezTo>
                    <a:pt x="2368" y="701"/>
                    <a:pt x="2362" y="696"/>
                    <a:pt x="2355" y="696"/>
                  </a:cubicBezTo>
                  <a:cubicBezTo>
                    <a:pt x="2355" y="696"/>
                    <a:pt x="2355" y="696"/>
                    <a:pt x="2355" y="696"/>
                  </a:cubicBezTo>
                  <a:moveTo>
                    <a:pt x="2393" y="696"/>
                  </a:moveTo>
                  <a:cubicBezTo>
                    <a:pt x="2386" y="696"/>
                    <a:pt x="2380" y="701"/>
                    <a:pt x="2380" y="706"/>
                  </a:cubicBezTo>
                  <a:cubicBezTo>
                    <a:pt x="2379" y="712"/>
                    <a:pt x="2385" y="716"/>
                    <a:pt x="2393" y="716"/>
                  </a:cubicBezTo>
                  <a:cubicBezTo>
                    <a:pt x="2400" y="716"/>
                    <a:pt x="2406" y="712"/>
                    <a:pt x="2406" y="706"/>
                  </a:cubicBezTo>
                  <a:cubicBezTo>
                    <a:pt x="2406" y="700"/>
                    <a:pt x="2401" y="696"/>
                    <a:pt x="2393" y="696"/>
                  </a:cubicBezTo>
                  <a:cubicBezTo>
                    <a:pt x="2393" y="696"/>
                    <a:pt x="2393" y="696"/>
                    <a:pt x="2393" y="696"/>
                  </a:cubicBezTo>
                  <a:moveTo>
                    <a:pt x="2431" y="696"/>
                  </a:moveTo>
                  <a:cubicBezTo>
                    <a:pt x="2424" y="696"/>
                    <a:pt x="2418" y="700"/>
                    <a:pt x="2417" y="706"/>
                  </a:cubicBezTo>
                  <a:cubicBezTo>
                    <a:pt x="2417" y="712"/>
                    <a:pt x="2423" y="716"/>
                    <a:pt x="2431" y="716"/>
                  </a:cubicBezTo>
                  <a:cubicBezTo>
                    <a:pt x="2438" y="716"/>
                    <a:pt x="2444" y="712"/>
                    <a:pt x="2444" y="706"/>
                  </a:cubicBezTo>
                  <a:cubicBezTo>
                    <a:pt x="2444" y="700"/>
                    <a:pt x="2438" y="696"/>
                    <a:pt x="2431" y="696"/>
                  </a:cubicBezTo>
                  <a:cubicBezTo>
                    <a:pt x="2431" y="696"/>
                    <a:pt x="2431" y="696"/>
                    <a:pt x="2431" y="696"/>
                  </a:cubicBezTo>
                  <a:moveTo>
                    <a:pt x="2469" y="696"/>
                  </a:moveTo>
                  <a:cubicBezTo>
                    <a:pt x="2462" y="696"/>
                    <a:pt x="2456" y="700"/>
                    <a:pt x="2456" y="706"/>
                  </a:cubicBezTo>
                  <a:cubicBezTo>
                    <a:pt x="2456" y="711"/>
                    <a:pt x="2462" y="716"/>
                    <a:pt x="2469" y="716"/>
                  </a:cubicBezTo>
                  <a:cubicBezTo>
                    <a:pt x="2476" y="716"/>
                    <a:pt x="2482" y="711"/>
                    <a:pt x="2482" y="706"/>
                  </a:cubicBezTo>
                  <a:cubicBezTo>
                    <a:pt x="2482" y="700"/>
                    <a:pt x="2477" y="696"/>
                    <a:pt x="2469" y="696"/>
                  </a:cubicBezTo>
                  <a:cubicBezTo>
                    <a:pt x="2469" y="696"/>
                    <a:pt x="2469" y="696"/>
                    <a:pt x="2469" y="696"/>
                  </a:cubicBezTo>
                  <a:moveTo>
                    <a:pt x="2507" y="695"/>
                  </a:moveTo>
                  <a:cubicBezTo>
                    <a:pt x="2500" y="695"/>
                    <a:pt x="2494" y="700"/>
                    <a:pt x="2494" y="706"/>
                  </a:cubicBezTo>
                  <a:cubicBezTo>
                    <a:pt x="2494" y="711"/>
                    <a:pt x="2500" y="716"/>
                    <a:pt x="2507" y="716"/>
                  </a:cubicBezTo>
                  <a:cubicBezTo>
                    <a:pt x="2515" y="716"/>
                    <a:pt x="2520" y="711"/>
                    <a:pt x="2520" y="706"/>
                  </a:cubicBezTo>
                  <a:cubicBezTo>
                    <a:pt x="2520" y="700"/>
                    <a:pt x="2514" y="695"/>
                    <a:pt x="2507" y="695"/>
                  </a:cubicBezTo>
                  <a:cubicBezTo>
                    <a:pt x="2507" y="695"/>
                    <a:pt x="2507" y="695"/>
                    <a:pt x="2507" y="695"/>
                  </a:cubicBezTo>
                  <a:moveTo>
                    <a:pt x="2545" y="695"/>
                  </a:moveTo>
                  <a:cubicBezTo>
                    <a:pt x="2538" y="695"/>
                    <a:pt x="2532" y="700"/>
                    <a:pt x="2532" y="705"/>
                  </a:cubicBezTo>
                  <a:cubicBezTo>
                    <a:pt x="2532" y="711"/>
                    <a:pt x="2538" y="716"/>
                    <a:pt x="2546" y="716"/>
                  </a:cubicBezTo>
                  <a:cubicBezTo>
                    <a:pt x="2553" y="716"/>
                    <a:pt x="2559" y="711"/>
                    <a:pt x="2559" y="705"/>
                  </a:cubicBezTo>
                  <a:cubicBezTo>
                    <a:pt x="2559" y="700"/>
                    <a:pt x="2553" y="695"/>
                    <a:pt x="2545" y="695"/>
                  </a:cubicBezTo>
                  <a:cubicBezTo>
                    <a:pt x="2545" y="695"/>
                    <a:pt x="2545" y="695"/>
                    <a:pt x="2545" y="695"/>
                  </a:cubicBezTo>
                  <a:moveTo>
                    <a:pt x="2580" y="695"/>
                  </a:moveTo>
                  <a:cubicBezTo>
                    <a:pt x="2572" y="695"/>
                    <a:pt x="2566" y="700"/>
                    <a:pt x="2567" y="705"/>
                  </a:cubicBezTo>
                  <a:cubicBezTo>
                    <a:pt x="2567" y="711"/>
                    <a:pt x="2573" y="715"/>
                    <a:pt x="2580" y="715"/>
                  </a:cubicBezTo>
                  <a:cubicBezTo>
                    <a:pt x="2588" y="715"/>
                    <a:pt x="2593" y="711"/>
                    <a:pt x="2593" y="705"/>
                  </a:cubicBezTo>
                  <a:cubicBezTo>
                    <a:pt x="2593" y="699"/>
                    <a:pt x="2587" y="695"/>
                    <a:pt x="2580" y="695"/>
                  </a:cubicBezTo>
                  <a:cubicBezTo>
                    <a:pt x="2580" y="695"/>
                    <a:pt x="2580" y="695"/>
                    <a:pt x="2580" y="695"/>
                  </a:cubicBezTo>
                  <a:moveTo>
                    <a:pt x="2812" y="695"/>
                  </a:moveTo>
                  <a:cubicBezTo>
                    <a:pt x="2805" y="695"/>
                    <a:pt x="2799" y="699"/>
                    <a:pt x="2800" y="705"/>
                  </a:cubicBezTo>
                  <a:cubicBezTo>
                    <a:pt x="2800" y="711"/>
                    <a:pt x="2807" y="715"/>
                    <a:pt x="2814" y="715"/>
                  </a:cubicBezTo>
                  <a:cubicBezTo>
                    <a:pt x="2822" y="715"/>
                    <a:pt x="2827" y="711"/>
                    <a:pt x="2826" y="705"/>
                  </a:cubicBezTo>
                  <a:cubicBezTo>
                    <a:pt x="2826" y="699"/>
                    <a:pt x="2819" y="695"/>
                    <a:pt x="2812" y="695"/>
                  </a:cubicBezTo>
                  <a:cubicBezTo>
                    <a:pt x="2812" y="695"/>
                    <a:pt x="2812" y="695"/>
                    <a:pt x="2812" y="695"/>
                  </a:cubicBezTo>
                  <a:moveTo>
                    <a:pt x="2885" y="694"/>
                  </a:moveTo>
                  <a:cubicBezTo>
                    <a:pt x="2878" y="694"/>
                    <a:pt x="2873" y="698"/>
                    <a:pt x="2874" y="704"/>
                  </a:cubicBezTo>
                  <a:cubicBezTo>
                    <a:pt x="2874" y="709"/>
                    <a:pt x="2881" y="714"/>
                    <a:pt x="2888" y="714"/>
                  </a:cubicBezTo>
                  <a:cubicBezTo>
                    <a:pt x="2896" y="714"/>
                    <a:pt x="2901" y="709"/>
                    <a:pt x="2900" y="704"/>
                  </a:cubicBezTo>
                  <a:cubicBezTo>
                    <a:pt x="2899" y="698"/>
                    <a:pt x="2893" y="694"/>
                    <a:pt x="2886" y="694"/>
                  </a:cubicBezTo>
                  <a:cubicBezTo>
                    <a:pt x="2886" y="694"/>
                    <a:pt x="2886" y="694"/>
                    <a:pt x="2885" y="694"/>
                  </a:cubicBezTo>
                  <a:moveTo>
                    <a:pt x="2660" y="693"/>
                  </a:moveTo>
                  <a:cubicBezTo>
                    <a:pt x="2653" y="694"/>
                    <a:pt x="2647" y="698"/>
                    <a:pt x="2648" y="704"/>
                  </a:cubicBezTo>
                  <a:cubicBezTo>
                    <a:pt x="2648" y="709"/>
                    <a:pt x="2654" y="714"/>
                    <a:pt x="2662" y="714"/>
                  </a:cubicBezTo>
                  <a:cubicBezTo>
                    <a:pt x="2669" y="714"/>
                    <a:pt x="2675" y="709"/>
                    <a:pt x="2674" y="704"/>
                  </a:cubicBezTo>
                  <a:cubicBezTo>
                    <a:pt x="2674" y="698"/>
                    <a:pt x="2668" y="693"/>
                    <a:pt x="2660" y="693"/>
                  </a:cubicBezTo>
                  <a:cubicBezTo>
                    <a:pt x="2660" y="693"/>
                    <a:pt x="2660" y="693"/>
                    <a:pt x="2660" y="693"/>
                  </a:cubicBezTo>
                  <a:moveTo>
                    <a:pt x="2924" y="693"/>
                  </a:moveTo>
                  <a:cubicBezTo>
                    <a:pt x="2916" y="693"/>
                    <a:pt x="2911" y="698"/>
                    <a:pt x="2912" y="704"/>
                  </a:cubicBezTo>
                  <a:cubicBezTo>
                    <a:pt x="2913" y="709"/>
                    <a:pt x="2919" y="714"/>
                    <a:pt x="2927" y="714"/>
                  </a:cubicBezTo>
                  <a:cubicBezTo>
                    <a:pt x="2934" y="714"/>
                    <a:pt x="2939" y="709"/>
                    <a:pt x="2939" y="703"/>
                  </a:cubicBezTo>
                  <a:cubicBezTo>
                    <a:pt x="2938" y="698"/>
                    <a:pt x="2931" y="693"/>
                    <a:pt x="2924" y="693"/>
                  </a:cubicBezTo>
                  <a:cubicBezTo>
                    <a:pt x="2924" y="693"/>
                    <a:pt x="2924" y="693"/>
                    <a:pt x="2924" y="693"/>
                  </a:cubicBezTo>
                  <a:moveTo>
                    <a:pt x="2698" y="693"/>
                  </a:moveTo>
                  <a:cubicBezTo>
                    <a:pt x="2690" y="693"/>
                    <a:pt x="2685" y="698"/>
                    <a:pt x="2685" y="704"/>
                  </a:cubicBezTo>
                  <a:cubicBezTo>
                    <a:pt x="2686" y="709"/>
                    <a:pt x="2692" y="714"/>
                    <a:pt x="2699" y="714"/>
                  </a:cubicBezTo>
                  <a:cubicBezTo>
                    <a:pt x="2707" y="714"/>
                    <a:pt x="2712" y="709"/>
                    <a:pt x="2712" y="703"/>
                  </a:cubicBezTo>
                  <a:cubicBezTo>
                    <a:pt x="2711" y="698"/>
                    <a:pt x="2705" y="693"/>
                    <a:pt x="2698" y="693"/>
                  </a:cubicBezTo>
                  <a:cubicBezTo>
                    <a:pt x="2698" y="693"/>
                    <a:pt x="2698" y="693"/>
                    <a:pt x="2698" y="693"/>
                  </a:cubicBezTo>
                  <a:moveTo>
                    <a:pt x="2962" y="693"/>
                  </a:moveTo>
                  <a:cubicBezTo>
                    <a:pt x="2955" y="693"/>
                    <a:pt x="2949" y="698"/>
                    <a:pt x="2950" y="703"/>
                  </a:cubicBezTo>
                  <a:cubicBezTo>
                    <a:pt x="2951" y="709"/>
                    <a:pt x="2958" y="714"/>
                    <a:pt x="2965" y="714"/>
                  </a:cubicBezTo>
                  <a:cubicBezTo>
                    <a:pt x="2973" y="714"/>
                    <a:pt x="2978" y="709"/>
                    <a:pt x="2977" y="703"/>
                  </a:cubicBezTo>
                  <a:cubicBezTo>
                    <a:pt x="2976" y="698"/>
                    <a:pt x="2969" y="693"/>
                    <a:pt x="2962" y="693"/>
                  </a:cubicBezTo>
                  <a:cubicBezTo>
                    <a:pt x="2962" y="693"/>
                    <a:pt x="2962" y="693"/>
                    <a:pt x="2962" y="693"/>
                  </a:cubicBezTo>
                  <a:moveTo>
                    <a:pt x="2736" y="693"/>
                  </a:moveTo>
                  <a:cubicBezTo>
                    <a:pt x="2728" y="693"/>
                    <a:pt x="2723" y="698"/>
                    <a:pt x="2723" y="703"/>
                  </a:cubicBezTo>
                  <a:cubicBezTo>
                    <a:pt x="2724" y="709"/>
                    <a:pt x="2730" y="714"/>
                    <a:pt x="2737" y="714"/>
                  </a:cubicBezTo>
                  <a:cubicBezTo>
                    <a:pt x="2745" y="714"/>
                    <a:pt x="2750" y="709"/>
                    <a:pt x="2750" y="703"/>
                  </a:cubicBezTo>
                  <a:cubicBezTo>
                    <a:pt x="2749" y="698"/>
                    <a:pt x="2743" y="693"/>
                    <a:pt x="2736" y="693"/>
                  </a:cubicBezTo>
                  <a:cubicBezTo>
                    <a:pt x="2736" y="693"/>
                    <a:pt x="2736" y="693"/>
                    <a:pt x="2736" y="693"/>
                  </a:cubicBezTo>
                  <a:moveTo>
                    <a:pt x="3000" y="693"/>
                  </a:moveTo>
                  <a:cubicBezTo>
                    <a:pt x="2993" y="693"/>
                    <a:pt x="2987" y="698"/>
                    <a:pt x="2988" y="703"/>
                  </a:cubicBezTo>
                  <a:cubicBezTo>
                    <a:pt x="2989" y="709"/>
                    <a:pt x="2996" y="713"/>
                    <a:pt x="3004" y="713"/>
                  </a:cubicBezTo>
                  <a:cubicBezTo>
                    <a:pt x="3011" y="713"/>
                    <a:pt x="3016" y="709"/>
                    <a:pt x="3015" y="703"/>
                  </a:cubicBezTo>
                  <a:cubicBezTo>
                    <a:pt x="3014" y="697"/>
                    <a:pt x="3007" y="693"/>
                    <a:pt x="3000" y="693"/>
                  </a:cubicBezTo>
                  <a:cubicBezTo>
                    <a:pt x="3000" y="693"/>
                    <a:pt x="3000" y="693"/>
                    <a:pt x="3000" y="693"/>
                  </a:cubicBezTo>
                  <a:moveTo>
                    <a:pt x="3038" y="693"/>
                  </a:moveTo>
                  <a:cubicBezTo>
                    <a:pt x="3031" y="693"/>
                    <a:pt x="3025" y="697"/>
                    <a:pt x="3027" y="703"/>
                  </a:cubicBezTo>
                  <a:cubicBezTo>
                    <a:pt x="3028" y="709"/>
                    <a:pt x="3034" y="713"/>
                    <a:pt x="3042" y="713"/>
                  </a:cubicBezTo>
                  <a:cubicBezTo>
                    <a:pt x="3049" y="713"/>
                    <a:pt x="3054" y="709"/>
                    <a:pt x="3053" y="703"/>
                  </a:cubicBezTo>
                  <a:cubicBezTo>
                    <a:pt x="3052" y="697"/>
                    <a:pt x="3045" y="693"/>
                    <a:pt x="3038" y="693"/>
                  </a:cubicBezTo>
                  <a:cubicBezTo>
                    <a:pt x="3038" y="693"/>
                    <a:pt x="3038" y="693"/>
                    <a:pt x="3038" y="693"/>
                  </a:cubicBezTo>
                  <a:moveTo>
                    <a:pt x="3076" y="693"/>
                  </a:moveTo>
                  <a:cubicBezTo>
                    <a:pt x="3068" y="693"/>
                    <a:pt x="3063" y="697"/>
                    <a:pt x="3064" y="703"/>
                  </a:cubicBezTo>
                  <a:cubicBezTo>
                    <a:pt x="3066" y="708"/>
                    <a:pt x="3072" y="713"/>
                    <a:pt x="3080" y="713"/>
                  </a:cubicBezTo>
                  <a:cubicBezTo>
                    <a:pt x="3087" y="713"/>
                    <a:pt x="3092" y="708"/>
                    <a:pt x="3091" y="703"/>
                  </a:cubicBezTo>
                  <a:cubicBezTo>
                    <a:pt x="3090" y="697"/>
                    <a:pt x="3083" y="693"/>
                    <a:pt x="3076" y="693"/>
                  </a:cubicBezTo>
                  <a:cubicBezTo>
                    <a:pt x="3076" y="693"/>
                    <a:pt x="3076" y="693"/>
                    <a:pt x="3076" y="693"/>
                  </a:cubicBezTo>
                  <a:moveTo>
                    <a:pt x="3114" y="692"/>
                  </a:moveTo>
                  <a:cubicBezTo>
                    <a:pt x="3106" y="692"/>
                    <a:pt x="3101" y="697"/>
                    <a:pt x="3103" y="703"/>
                  </a:cubicBezTo>
                  <a:cubicBezTo>
                    <a:pt x="3104" y="708"/>
                    <a:pt x="3111" y="713"/>
                    <a:pt x="3118" y="713"/>
                  </a:cubicBezTo>
                  <a:cubicBezTo>
                    <a:pt x="3126" y="713"/>
                    <a:pt x="3131" y="708"/>
                    <a:pt x="3129" y="702"/>
                  </a:cubicBezTo>
                  <a:cubicBezTo>
                    <a:pt x="3128" y="697"/>
                    <a:pt x="3121" y="692"/>
                    <a:pt x="3114" y="692"/>
                  </a:cubicBezTo>
                  <a:cubicBezTo>
                    <a:pt x="3114" y="692"/>
                    <a:pt x="3114" y="692"/>
                    <a:pt x="3114" y="692"/>
                  </a:cubicBezTo>
                  <a:moveTo>
                    <a:pt x="3153" y="692"/>
                  </a:moveTo>
                  <a:cubicBezTo>
                    <a:pt x="3146" y="692"/>
                    <a:pt x="3141" y="697"/>
                    <a:pt x="3142" y="702"/>
                  </a:cubicBezTo>
                  <a:cubicBezTo>
                    <a:pt x="3143" y="708"/>
                    <a:pt x="3150" y="713"/>
                    <a:pt x="3158" y="713"/>
                  </a:cubicBezTo>
                  <a:cubicBezTo>
                    <a:pt x="3165" y="713"/>
                    <a:pt x="3170" y="708"/>
                    <a:pt x="3169" y="702"/>
                  </a:cubicBezTo>
                  <a:cubicBezTo>
                    <a:pt x="3167" y="697"/>
                    <a:pt x="3160" y="692"/>
                    <a:pt x="3153" y="692"/>
                  </a:cubicBezTo>
                  <a:cubicBezTo>
                    <a:pt x="3153" y="692"/>
                    <a:pt x="3153" y="692"/>
                    <a:pt x="3153" y="692"/>
                  </a:cubicBezTo>
                  <a:moveTo>
                    <a:pt x="3191" y="692"/>
                  </a:moveTo>
                  <a:cubicBezTo>
                    <a:pt x="3184" y="692"/>
                    <a:pt x="3179" y="697"/>
                    <a:pt x="3180" y="702"/>
                  </a:cubicBezTo>
                  <a:cubicBezTo>
                    <a:pt x="3181" y="708"/>
                    <a:pt x="3188" y="712"/>
                    <a:pt x="3196" y="712"/>
                  </a:cubicBezTo>
                  <a:cubicBezTo>
                    <a:pt x="3203" y="712"/>
                    <a:pt x="3208" y="708"/>
                    <a:pt x="3207" y="702"/>
                  </a:cubicBezTo>
                  <a:cubicBezTo>
                    <a:pt x="3205" y="696"/>
                    <a:pt x="3198" y="692"/>
                    <a:pt x="3191" y="692"/>
                  </a:cubicBezTo>
                  <a:cubicBezTo>
                    <a:pt x="3191" y="692"/>
                    <a:pt x="3191" y="692"/>
                    <a:pt x="3191" y="692"/>
                  </a:cubicBezTo>
                  <a:moveTo>
                    <a:pt x="3687" y="692"/>
                  </a:moveTo>
                  <a:cubicBezTo>
                    <a:pt x="3679" y="692"/>
                    <a:pt x="3675" y="696"/>
                    <a:pt x="3677" y="702"/>
                  </a:cubicBezTo>
                  <a:cubicBezTo>
                    <a:pt x="3680" y="708"/>
                    <a:pt x="3688" y="712"/>
                    <a:pt x="3695" y="712"/>
                  </a:cubicBezTo>
                  <a:cubicBezTo>
                    <a:pt x="3702" y="712"/>
                    <a:pt x="3707" y="708"/>
                    <a:pt x="3704" y="702"/>
                  </a:cubicBezTo>
                  <a:cubicBezTo>
                    <a:pt x="3702" y="696"/>
                    <a:pt x="3694" y="692"/>
                    <a:pt x="3687" y="692"/>
                  </a:cubicBezTo>
                  <a:cubicBezTo>
                    <a:pt x="3687" y="692"/>
                    <a:pt x="3687" y="692"/>
                    <a:pt x="3687" y="692"/>
                  </a:cubicBezTo>
                  <a:moveTo>
                    <a:pt x="3229" y="692"/>
                  </a:moveTo>
                  <a:cubicBezTo>
                    <a:pt x="3222" y="692"/>
                    <a:pt x="3217" y="696"/>
                    <a:pt x="3218" y="702"/>
                  </a:cubicBezTo>
                  <a:cubicBezTo>
                    <a:pt x="3220" y="708"/>
                    <a:pt x="3227" y="712"/>
                    <a:pt x="3234" y="712"/>
                  </a:cubicBezTo>
                  <a:cubicBezTo>
                    <a:pt x="3242" y="712"/>
                    <a:pt x="3246" y="708"/>
                    <a:pt x="3245" y="702"/>
                  </a:cubicBezTo>
                  <a:cubicBezTo>
                    <a:pt x="3243" y="696"/>
                    <a:pt x="3236" y="692"/>
                    <a:pt x="3229" y="692"/>
                  </a:cubicBezTo>
                  <a:cubicBezTo>
                    <a:pt x="3229" y="692"/>
                    <a:pt x="3229" y="692"/>
                    <a:pt x="3229" y="692"/>
                  </a:cubicBezTo>
                  <a:moveTo>
                    <a:pt x="3724" y="692"/>
                  </a:moveTo>
                  <a:cubicBezTo>
                    <a:pt x="3717" y="692"/>
                    <a:pt x="3713" y="696"/>
                    <a:pt x="3715" y="702"/>
                  </a:cubicBezTo>
                  <a:cubicBezTo>
                    <a:pt x="3718" y="708"/>
                    <a:pt x="3726" y="712"/>
                    <a:pt x="3733" y="712"/>
                  </a:cubicBezTo>
                  <a:cubicBezTo>
                    <a:pt x="3741" y="712"/>
                    <a:pt x="3745" y="707"/>
                    <a:pt x="3742" y="702"/>
                  </a:cubicBezTo>
                  <a:cubicBezTo>
                    <a:pt x="3740" y="696"/>
                    <a:pt x="3732" y="692"/>
                    <a:pt x="3724" y="692"/>
                  </a:cubicBezTo>
                  <a:cubicBezTo>
                    <a:pt x="3724" y="692"/>
                    <a:pt x="3724" y="692"/>
                    <a:pt x="3724" y="692"/>
                  </a:cubicBezTo>
                  <a:moveTo>
                    <a:pt x="2774" y="692"/>
                  </a:moveTo>
                  <a:cubicBezTo>
                    <a:pt x="2766" y="692"/>
                    <a:pt x="2761" y="696"/>
                    <a:pt x="2761" y="702"/>
                  </a:cubicBezTo>
                  <a:cubicBezTo>
                    <a:pt x="2762" y="708"/>
                    <a:pt x="2768" y="712"/>
                    <a:pt x="2776" y="712"/>
                  </a:cubicBezTo>
                  <a:cubicBezTo>
                    <a:pt x="2783" y="712"/>
                    <a:pt x="2789" y="707"/>
                    <a:pt x="2788" y="702"/>
                  </a:cubicBezTo>
                  <a:cubicBezTo>
                    <a:pt x="2787" y="696"/>
                    <a:pt x="2781" y="692"/>
                    <a:pt x="2774" y="692"/>
                  </a:cubicBezTo>
                  <a:cubicBezTo>
                    <a:pt x="2774" y="692"/>
                    <a:pt x="2774" y="692"/>
                    <a:pt x="2774" y="692"/>
                  </a:cubicBezTo>
                  <a:moveTo>
                    <a:pt x="3267" y="691"/>
                  </a:moveTo>
                  <a:cubicBezTo>
                    <a:pt x="3260" y="692"/>
                    <a:pt x="3255" y="696"/>
                    <a:pt x="3257" y="702"/>
                  </a:cubicBezTo>
                  <a:cubicBezTo>
                    <a:pt x="3258" y="708"/>
                    <a:pt x="3266" y="712"/>
                    <a:pt x="3273" y="712"/>
                  </a:cubicBezTo>
                  <a:cubicBezTo>
                    <a:pt x="3280" y="712"/>
                    <a:pt x="3285" y="707"/>
                    <a:pt x="3284" y="702"/>
                  </a:cubicBezTo>
                  <a:cubicBezTo>
                    <a:pt x="3282" y="696"/>
                    <a:pt x="3275" y="691"/>
                    <a:pt x="3267" y="691"/>
                  </a:cubicBezTo>
                  <a:cubicBezTo>
                    <a:pt x="3267" y="691"/>
                    <a:pt x="3267" y="691"/>
                    <a:pt x="3267" y="691"/>
                  </a:cubicBezTo>
                  <a:moveTo>
                    <a:pt x="3762" y="691"/>
                  </a:moveTo>
                  <a:cubicBezTo>
                    <a:pt x="3755" y="691"/>
                    <a:pt x="3751" y="696"/>
                    <a:pt x="3754" y="702"/>
                  </a:cubicBezTo>
                  <a:cubicBezTo>
                    <a:pt x="3756" y="707"/>
                    <a:pt x="3764" y="712"/>
                    <a:pt x="3772" y="712"/>
                  </a:cubicBezTo>
                  <a:cubicBezTo>
                    <a:pt x="3779" y="712"/>
                    <a:pt x="3783" y="707"/>
                    <a:pt x="3780" y="702"/>
                  </a:cubicBezTo>
                  <a:cubicBezTo>
                    <a:pt x="3778" y="696"/>
                    <a:pt x="3770" y="691"/>
                    <a:pt x="3763" y="691"/>
                  </a:cubicBezTo>
                  <a:cubicBezTo>
                    <a:pt x="3762" y="691"/>
                    <a:pt x="3762" y="691"/>
                    <a:pt x="3762" y="691"/>
                  </a:cubicBezTo>
                  <a:moveTo>
                    <a:pt x="3305" y="691"/>
                  </a:moveTo>
                  <a:cubicBezTo>
                    <a:pt x="3298" y="691"/>
                    <a:pt x="3293" y="696"/>
                    <a:pt x="3295" y="702"/>
                  </a:cubicBezTo>
                  <a:cubicBezTo>
                    <a:pt x="3296" y="707"/>
                    <a:pt x="3304" y="712"/>
                    <a:pt x="3311" y="712"/>
                  </a:cubicBezTo>
                  <a:cubicBezTo>
                    <a:pt x="3318" y="712"/>
                    <a:pt x="3323" y="707"/>
                    <a:pt x="3321" y="701"/>
                  </a:cubicBezTo>
                  <a:cubicBezTo>
                    <a:pt x="3320" y="696"/>
                    <a:pt x="3313" y="691"/>
                    <a:pt x="3305" y="691"/>
                  </a:cubicBezTo>
                  <a:cubicBezTo>
                    <a:pt x="3305" y="691"/>
                    <a:pt x="3305" y="691"/>
                    <a:pt x="3305" y="691"/>
                  </a:cubicBezTo>
                  <a:moveTo>
                    <a:pt x="3803" y="691"/>
                  </a:moveTo>
                  <a:cubicBezTo>
                    <a:pt x="3795" y="691"/>
                    <a:pt x="3792" y="696"/>
                    <a:pt x="3794" y="702"/>
                  </a:cubicBezTo>
                  <a:cubicBezTo>
                    <a:pt x="3797" y="707"/>
                    <a:pt x="3805" y="712"/>
                    <a:pt x="3812" y="712"/>
                  </a:cubicBezTo>
                  <a:cubicBezTo>
                    <a:pt x="3820" y="712"/>
                    <a:pt x="3823" y="707"/>
                    <a:pt x="3821" y="701"/>
                  </a:cubicBezTo>
                  <a:cubicBezTo>
                    <a:pt x="3818" y="696"/>
                    <a:pt x="3810" y="691"/>
                    <a:pt x="3803" y="691"/>
                  </a:cubicBezTo>
                  <a:cubicBezTo>
                    <a:pt x="3803" y="691"/>
                    <a:pt x="3803" y="691"/>
                    <a:pt x="3803" y="691"/>
                  </a:cubicBezTo>
                  <a:moveTo>
                    <a:pt x="3343" y="691"/>
                  </a:moveTo>
                  <a:cubicBezTo>
                    <a:pt x="3336" y="691"/>
                    <a:pt x="3331" y="696"/>
                    <a:pt x="3333" y="701"/>
                  </a:cubicBezTo>
                  <a:cubicBezTo>
                    <a:pt x="3335" y="707"/>
                    <a:pt x="3342" y="712"/>
                    <a:pt x="3349" y="712"/>
                  </a:cubicBezTo>
                  <a:cubicBezTo>
                    <a:pt x="3357" y="712"/>
                    <a:pt x="3361" y="707"/>
                    <a:pt x="3360" y="701"/>
                  </a:cubicBezTo>
                  <a:cubicBezTo>
                    <a:pt x="3358" y="696"/>
                    <a:pt x="3351" y="691"/>
                    <a:pt x="3343" y="691"/>
                  </a:cubicBezTo>
                  <a:cubicBezTo>
                    <a:pt x="3343" y="691"/>
                    <a:pt x="3343" y="691"/>
                    <a:pt x="3343" y="691"/>
                  </a:cubicBezTo>
                  <a:moveTo>
                    <a:pt x="2622" y="691"/>
                  </a:moveTo>
                  <a:cubicBezTo>
                    <a:pt x="2615" y="691"/>
                    <a:pt x="2609" y="696"/>
                    <a:pt x="2609" y="701"/>
                  </a:cubicBezTo>
                  <a:cubicBezTo>
                    <a:pt x="2610" y="707"/>
                    <a:pt x="2616" y="712"/>
                    <a:pt x="2623" y="712"/>
                  </a:cubicBezTo>
                  <a:cubicBezTo>
                    <a:pt x="2631" y="711"/>
                    <a:pt x="2636" y="707"/>
                    <a:pt x="2636" y="701"/>
                  </a:cubicBezTo>
                  <a:cubicBezTo>
                    <a:pt x="2636" y="696"/>
                    <a:pt x="2630" y="691"/>
                    <a:pt x="2622" y="691"/>
                  </a:cubicBezTo>
                  <a:cubicBezTo>
                    <a:pt x="2622" y="691"/>
                    <a:pt x="2622" y="691"/>
                    <a:pt x="2622" y="691"/>
                  </a:cubicBezTo>
                  <a:moveTo>
                    <a:pt x="3840" y="691"/>
                  </a:moveTo>
                  <a:cubicBezTo>
                    <a:pt x="3833" y="691"/>
                    <a:pt x="3829" y="696"/>
                    <a:pt x="3832" y="701"/>
                  </a:cubicBezTo>
                  <a:cubicBezTo>
                    <a:pt x="3834" y="707"/>
                    <a:pt x="3843" y="712"/>
                    <a:pt x="3850" y="712"/>
                  </a:cubicBezTo>
                  <a:cubicBezTo>
                    <a:pt x="3857" y="711"/>
                    <a:pt x="3861" y="707"/>
                    <a:pt x="3858" y="701"/>
                  </a:cubicBezTo>
                  <a:cubicBezTo>
                    <a:pt x="3856" y="696"/>
                    <a:pt x="3848" y="691"/>
                    <a:pt x="3840" y="691"/>
                  </a:cubicBezTo>
                  <a:cubicBezTo>
                    <a:pt x="3840" y="691"/>
                    <a:pt x="3840" y="691"/>
                    <a:pt x="3840" y="691"/>
                  </a:cubicBezTo>
                  <a:moveTo>
                    <a:pt x="3381" y="691"/>
                  </a:moveTo>
                  <a:cubicBezTo>
                    <a:pt x="3374" y="691"/>
                    <a:pt x="3369" y="696"/>
                    <a:pt x="3371" y="701"/>
                  </a:cubicBezTo>
                  <a:cubicBezTo>
                    <a:pt x="3373" y="707"/>
                    <a:pt x="3380" y="711"/>
                    <a:pt x="3387" y="711"/>
                  </a:cubicBezTo>
                  <a:cubicBezTo>
                    <a:pt x="3395" y="711"/>
                    <a:pt x="3399" y="707"/>
                    <a:pt x="3397" y="701"/>
                  </a:cubicBezTo>
                  <a:cubicBezTo>
                    <a:pt x="3396" y="695"/>
                    <a:pt x="3388" y="691"/>
                    <a:pt x="3381" y="691"/>
                  </a:cubicBezTo>
                  <a:cubicBezTo>
                    <a:pt x="3381" y="691"/>
                    <a:pt x="3381" y="691"/>
                    <a:pt x="3381" y="691"/>
                  </a:cubicBezTo>
                  <a:moveTo>
                    <a:pt x="3878" y="691"/>
                  </a:moveTo>
                  <a:cubicBezTo>
                    <a:pt x="3871" y="691"/>
                    <a:pt x="3867" y="695"/>
                    <a:pt x="3870" y="701"/>
                  </a:cubicBezTo>
                  <a:cubicBezTo>
                    <a:pt x="3872" y="707"/>
                    <a:pt x="3881" y="711"/>
                    <a:pt x="3888" y="711"/>
                  </a:cubicBezTo>
                  <a:cubicBezTo>
                    <a:pt x="3895" y="711"/>
                    <a:pt x="3899" y="707"/>
                    <a:pt x="3896" y="701"/>
                  </a:cubicBezTo>
                  <a:cubicBezTo>
                    <a:pt x="3894" y="695"/>
                    <a:pt x="3885" y="691"/>
                    <a:pt x="3878" y="691"/>
                  </a:cubicBezTo>
                  <a:cubicBezTo>
                    <a:pt x="3878" y="691"/>
                    <a:pt x="3878" y="691"/>
                    <a:pt x="3878" y="691"/>
                  </a:cubicBezTo>
                  <a:moveTo>
                    <a:pt x="3419" y="691"/>
                  </a:moveTo>
                  <a:cubicBezTo>
                    <a:pt x="3412" y="691"/>
                    <a:pt x="3407" y="695"/>
                    <a:pt x="3409" y="701"/>
                  </a:cubicBezTo>
                  <a:cubicBezTo>
                    <a:pt x="3411" y="707"/>
                    <a:pt x="3418" y="711"/>
                    <a:pt x="3426" y="711"/>
                  </a:cubicBezTo>
                  <a:cubicBezTo>
                    <a:pt x="3433" y="711"/>
                    <a:pt x="3438" y="707"/>
                    <a:pt x="3436" y="701"/>
                  </a:cubicBezTo>
                  <a:cubicBezTo>
                    <a:pt x="3434" y="695"/>
                    <a:pt x="3426" y="691"/>
                    <a:pt x="3419" y="691"/>
                  </a:cubicBezTo>
                  <a:cubicBezTo>
                    <a:pt x="3419" y="691"/>
                    <a:pt x="3419" y="691"/>
                    <a:pt x="3419" y="691"/>
                  </a:cubicBezTo>
                  <a:moveTo>
                    <a:pt x="3916" y="691"/>
                  </a:moveTo>
                  <a:cubicBezTo>
                    <a:pt x="3909" y="691"/>
                    <a:pt x="3905" y="695"/>
                    <a:pt x="3908" y="701"/>
                  </a:cubicBezTo>
                  <a:cubicBezTo>
                    <a:pt x="3911" y="707"/>
                    <a:pt x="3919" y="711"/>
                    <a:pt x="3926" y="711"/>
                  </a:cubicBezTo>
                  <a:cubicBezTo>
                    <a:pt x="3934" y="711"/>
                    <a:pt x="3937" y="706"/>
                    <a:pt x="3935" y="701"/>
                  </a:cubicBezTo>
                  <a:cubicBezTo>
                    <a:pt x="3932" y="695"/>
                    <a:pt x="3924" y="691"/>
                    <a:pt x="3916" y="691"/>
                  </a:cubicBezTo>
                  <a:cubicBezTo>
                    <a:pt x="3916" y="691"/>
                    <a:pt x="3916" y="691"/>
                    <a:pt x="3916" y="691"/>
                  </a:cubicBezTo>
                  <a:moveTo>
                    <a:pt x="3457" y="690"/>
                  </a:moveTo>
                  <a:cubicBezTo>
                    <a:pt x="3450" y="691"/>
                    <a:pt x="3446" y="695"/>
                    <a:pt x="3448" y="701"/>
                  </a:cubicBezTo>
                  <a:cubicBezTo>
                    <a:pt x="3449" y="707"/>
                    <a:pt x="3457" y="711"/>
                    <a:pt x="3464" y="711"/>
                  </a:cubicBezTo>
                  <a:cubicBezTo>
                    <a:pt x="3472" y="711"/>
                    <a:pt x="3476" y="706"/>
                    <a:pt x="3474" y="701"/>
                  </a:cubicBezTo>
                  <a:cubicBezTo>
                    <a:pt x="3472" y="695"/>
                    <a:pt x="3465" y="690"/>
                    <a:pt x="3458" y="690"/>
                  </a:cubicBezTo>
                  <a:cubicBezTo>
                    <a:pt x="3458" y="690"/>
                    <a:pt x="3458" y="690"/>
                    <a:pt x="3457" y="690"/>
                  </a:cubicBezTo>
                  <a:moveTo>
                    <a:pt x="3955" y="690"/>
                  </a:moveTo>
                  <a:cubicBezTo>
                    <a:pt x="3947" y="690"/>
                    <a:pt x="3944" y="695"/>
                    <a:pt x="3946" y="701"/>
                  </a:cubicBezTo>
                  <a:cubicBezTo>
                    <a:pt x="3949" y="706"/>
                    <a:pt x="3958" y="711"/>
                    <a:pt x="3965" y="711"/>
                  </a:cubicBezTo>
                  <a:cubicBezTo>
                    <a:pt x="3972" y="711"/>
                    <a:pt x="3976" y="706"/>
                    <a:pt x="3973" y="701"/>
                  </a:cubicBezTo>
                  <a:cubicBezTo>
                    <a:pt x="3970" y="695"/>
                    <a:pt x="3962" y="690"/>
                    <a:pt x="3955" y="690"/>
                  </a:cubicBezTo>
                  <a:cubicBezTo>
                    <a:pt x="3955" y="690"/>
                    <a:pt x="3955" y="690"/>
                    <a:pt x="3955" y="690"/>
                  </a:cubicBezTo>
                  <a:moveTo>
                    <a:pt x="3495" y="690"/>
                  </a:moveTo>
                  <a:cubicBezTo>
                    <a:pt x="3488" y="690"/>
                    <a:pt x="3484" y="695"/>
                    <a:pt x="3486" y="701"/>
                  </a:cubicBezTo>
                  <a:cubicBezTo>
                    <a:pt x="3487" y="706"/>
                    <a:pt x="3495" y="711"/>
                    <a:pt x="3502" y="711"/>
                  </a:cubicBezTo>
                  <a:cubicBezTo>
                    <a:pt x="3510" y="711"/>
                    <a:pt x="3514" y="706"/>
                    <a:pt x="3512" y="700"/>
                  </a:cubicBezTo>
                  <a:cubicBezTo>
                    <a:pt x="3510" y="695"/>
                    <a:pt x="3503" y="690"/>
                    <a:pt x="3495" y="690"/>
                  </a:cubicBezTo>
                  <a:cubicBezTo>
                    <a:pt x="3495" y="690"/>
                    <a:pt x="3495" y="690"/>
                    <a:pt x="3495" y="690"/>
                  </a:cubicBezTo>
                  <a:moveTo>
                    <a:pt x="3992" y="690"/>
                  </a:moveTo>
                  <a:cubicBezTo>
                    <a:pt x="3985" y="690"/>
                    <a:pt x="3981" y="695"/>
                    <a:pt x="3984" y="701"/>
                  </a:cubicBezTo>
                  <a:cubicBezTo>
                    <a:pt x="3987" y="706"/>
                    <a:pt x="3996" y="711"/>
                    <a:pt x="4003" y="711"/>
                  </a:cubicBezTo>
                  <a:cubicBezTo>
                    <a:pt x="4010" y="711"/>
                    <a:pt x="4014" y="706"/>
                    <a:pt x="4011" y="700"/>
                  </a:cubicBezTo>
                  <a:cubicBezTo>
                    <a:pt x="4008" y="695"/>
                    <a:pt x="4000" y="690"/>
                    <a:pt x="3992" y="690"/>
                  </a:cubicBezTo>
                  <a:cubicBezTo>
                    <a:pt x="3992" y="690"/>
                    <a:pt x="3992" y="690"/>
                    <a:pt x="3992" y="690"/>
                  </a:cubicBezTo>
                  <a:moveTo>
                    <a:pt x="3533" y="690"/>
                  </a:moveTo>
                  <a:cubicBezTo>
                    <a:pt x="3526" y="690"/>
                    <a:pt x="3522" y="695"/>
                    <a:pt x="3524" y="700"/>
                  </a:cubicBezTo>
                  <a:cubicBezTo>
                    <a:pt x="3526" y="706"/>
                    <a:pt x="3533" y="711"/>
                    <a:pt x="3541" y="711"/>
                  </a:cubicBezTo>
                  <a:cubicBezTo>
                    <a:pt x="3548" y="711"/>
                    <a:pt x="3552" y="706"/>
                    <a:pt x="3550" y="700"/>
                  </a:cubicBezTo>
                  <a:cubicBezTo>
                    <a:pt x="3548" y="695"/>
                    <a:pt x="3541" y="690"/>
                    <a:pt x="3533" y="690"/>
                  </a:cubicBezTo>
                  <a:cubicBezTo>
                    <a:pt x="3533" y="690"/>
                    <a:pt x="3533" y="690"/>
                    <a:pt x="3533" y="690"/>
                  </a:cubicBezTo>
                  <a:moveTo>
                    <a:pt x="4029" y="690"/>
                  </a:moveTo>
                  <a:cubicBezTo>
                    <a:pt x="4022" y="690"/>
                    <a:pt x="4018" y="695"/>
                    <a:pt x="4021" y="700"/>
                  </a:cubicBezTo>
                  <a:cubicBezTo>
                    <a:pt x="4024" y="706"/>
                    <a:pt x="4033" y="711"/>
                    <a:pt x="4040" y="711"/>
                  </a:cubicBezTo>
                  <a:cubicBezTo>
                    <a:pt x="4048" y="710"/>
                    <a:pt x="4051" y="706"/>
                    <a:pt x="4048" y="700"/>
                  </a:cubicBezTo>
                  <a:cubicBezTo>
                    <a:pt x="4045" y="695"/>
                    <a:pt x="4037" y="690"/>
                    <a:pt x="4029" y="690"/>
                  </a:cubicBezTo>
                  <a:cubicBezTo>
                    <a:pt x="4029" y="690"/>
                    <a:pt x="4029" y="690"/>
                    <a:pt x="4029" y="690"/>
                  </a:cubicBezTo>
                  <a:moveTo>
                    <a:pt x="3571" y="690"/>
                  </a:moveTo>
                  <a:cubicBezTo>
                    <a:pt x="3564" y="690"/>
                    <a:pt x="3559" y="695"/>
                    <a:pt x="3562" y="700"/>
                  </a:cubicBezTo>
                  <a:cubicBezTo>
                    <a:pt x="3564" y="706"/>
                    <a:pt x="3571" y="710"/>
                    <a:pt x="3579" y="710"/>
                  </a:cubicBezTo>
                  <a:cubicBezTo>
                    <a:pt x="3586" y="710"/>
                    <a:pt x="3590" y="706"/>
                    <a:pt x="3588" y="700"/>
                  </a:cubicBezTo>
                  <a:cubicBezTo>
                    <a:pt x="3586" y="694"/>
                    <a:pt x="3578" y="690"/>
                    <a:pt x="3571" y="690"/>
                  </a:cubicBezTo>
                  <a:cubicBezTo>
                    <a:pt x="3571" y="690"/>
                    <a:pt x="3571" y="690"/>
                    <a:pt x="3571" y="690"/>
                  </a:cubicBezTo>
                  <a:moveTo>
                    <a:pt x="4061" y="690"/>
                  </a:moveTo>
                  <a:cubicBezTo>
                    <a:pt x="4053" y="690"/>
                    <a:pt x="4050" y="694"/>
                    <a:pt x="4053" y="700"/>
                  </a:cubicBezTo>
                  <a:cubicBezTo>
                    <a:pt x="4056" y="706"/>
                    <a:pt x="4064" y="710"/>
                    <a:pt x="4072" y="710"/>
                  </a:cubicBezTo>
                  <a:cubicBezTo>
                    <a:pt x="4079" y="710"/>
                    <a:pt x="4083" y="706"/>
                    <a:pt x="4080" y="700"/>
                  </a:cubicBezTo>
                  <a:cubicBezTo>
                    <a:pt x="4076" y="694"/>
                    <a:pt x="4068" y="690"/>
                    <a:pt x="4061" y="690"/>
                  </a:cubicBezTo>
                  <a:cubicBezTo>
                    <a:pt x="4061" y="690"/>
                    <a:pt x="4061" y="690"/>
                    <a:pt x="4061" y="690"/>
                  </a:cubicBezTo>
                  <a:moveTo>
                    <a:pt x="3609" y="690"/>
                  </a:moveTo>
                  <a:cubicBezTo>
                    <a:pt x="3602" y="690"/>
                    <a:pt x="3598" y="694"/>
                    <a:pt x="3600" y="700"/>
                  </a:cubicBezTo>
                  <a:cubicBezTo>
                    <a:pt x="3602" y="706"/>
                    <a:pt x="3610" y="710"/>
                    <a:pt x="3617" y="710"/>
                  </a:cubicBezTo>
                  <a:cubicBezTo>
                    <a:pt x="3625" y="710"/>
                    <a:pt x="3629" y="706"/>
                    <a:pt x="3626" y="700"/>
                  </a:cubicBezTo>
                  <a:cubicBezTo>
                    <a:pt x="3624" y="694"/>
                    <a:pt x="3617" y="690"/>
                    <a:pt x="3609" y="690"/>
                  </a:cubicBezTo>
                  <a:cubicBezTo>
                    <a:pt x="3609" y="690"/>
                    <a:pt x="3609" y="690"/>
                    <a:pt x="3609" y="690"/>
                  </a:cubicBezTo>
                  <a:moveTo>
                    <a:pt x="3648" y="689"/>
                  </a:moveTo>
                  <a:cubicBezTo>
                    <a:pt x="3640" y="690"/>
                    <a:pt x="3636" y="694"/>
                    <a:pt x="3638" y="700"/>
                  </a:cubicBezTo>
                  <a:cubicBezTo>
                    <a:pt x="3641" y="706"/>
                    <a:pt x="3648" y="710"/>
                    <a:pt x="3656" y="710"/>
                  </a:cubicBezTo>
                  <a:cubicBezTo>
                    <a:pt x="3663" y="710"/>
                    <a:pt x="3667" y="705"/>
                    <a:pt x="3665" y="700"/>
                  </a:cubicBezTo>
                  <a:cubicBezTo>
                    <a:pt x="3663" y="694"/>
                    <a:pt x="3655" y="689"/>
                    <a:pt x="3648" y="689"/>
                  </a:cubicBezTo>
                  <a:cubicBezTo>
                    <a:pt x="3648" y="689"/>
                    <a:pt x="3648" y="689"/>
                    <a:pt x="3648" y="689"/>
                  </a:cubicBezTo>
                  <a:moveTo>
                    <a:pt x="89" y="681"/>
                  </a:moveTo>
                  <a:cubicBezTo>
                    <a:pt x="82" y="681"/>
                    <a:pt x="72" y="685"/>
                    <a:pt x="68" y="691"/>
                  </a:cubicBezTo>
                  <a:cubicBezTo>
                    <a:pt x="63" y="697"/>
                    <a:pt x="65" y="701"/>
                    <a:pt x="72" y="701"/>
                  </a:cubicBezTo>
                  <a:cubicBezTo>
                    <a:pt x="80" y="701"/>
                    <a:pt x="90" y="696"/>
                    <a:pt x="94" y="691"/>
                  </a:cubicBezTo>
                  <a:cubicBezTo>
                    <a:pt x="99" y="685"/>
                    <a:pt x="97" y="681"/>
                    <a:pt x="90" y="681"/>
                  </a:cubicBezTo>
                  <a:cubicBezTo>
                    <a:pt x="89" y="681"/>
                    <a:pt x="89" y="681"/>
                    <a:pt x="89" y="681"/>
                  </a:cubicBezTo>
                  <a:moveTo>
                    <a:pt x="127" y="681"/>
                  </a:moveTo>
                  <a:cubicBezTo>
                    <a:pt x="120" y="681"/>
                    <a:pt x="110" y="685"/>
                    <a:pt x="106" y="691"/>
                  </a:cubicBezTo>
                  <a:cubicBezTo>
                    <a:pt x="101" y="696"/>
                    <a:pt x="103" y="701"/>
                    <a:pt x="110" y="701"/>
                  </a:cubicBezTo>
                  <a:cubicBezTo>
                    <a:pt x="118" y="701"/>
                    <a:pt x="128" y="696"/>
                    <a:pt x="132" y="691"/>
                  </a:cubicBezTo>
                  <a:cubicBezTo>
                    <a:pt x="137" y="685"/>
                    <a:pt x="135" y="681"/>
                    <a:pt x="127" y="681"/>
                  </a:cubicBezTo>
                  <a:cubicBezTo>
                    <a:pt x="127" y="681"/>
                    <a:pt x="127" y="681"/>
                    <a:pt x="127" y="681"/>
                  </a:cubicBezTo>
                  <a:moveTo>
                    <a:pt x="165" y="680"/>
                  </a:moveTo>
                  <a:cubicBezTo>
                    <a:pt x="157" y="680"/>
                    <a:pt x="148" y="685"/>
                    <a:pt x="143" y="691"/>
                  </a:cubicBezTo>
                  <a:cubicBezTo>
                    <a:pt x="139" y="696"/>
                    <a:pt x="141" y="701"/>
                    <a:pt x="148" y="701"/>
                  </a:cubicBezTo>
                  <a:cubicBezTo>
                    <a:pt x="156" y="701"/>
                    <a:pt x="165" y="696"/>
                    <a:pt x="170" y="690"/>
                  </a:cubicBezTo>
                  <a:cubicBezTo>
                    <a:pt x="174" y="685"/>
                    <a:pt x="172" y="680"/>
                    <a:pt x="165" y="680"/>
                  </a:cubicBezTo>
                  <a:cubicBezTo>
                    <a:pt x="165" y="680"/>
                    <a:pt x="165" y="680"/>
                    <a:pt x="165" y="680"/>
                  </a:cubicBezTo>
                  <a:moveTo>
                    <a:pt x="203" y="680"/>
                  </a:moveTo>
                  <a:cubicBezTo>
                    <a:pt x="195" y="680"/>
                    <a:pt x="186" y="685"/>
                    <a:pt x="181" y="690"/>
                  </a:cubicBezTo>
                  <a:cubicBezTo>
                    <a:pt x="177" y="696"/>
                    <a:pt x="179" y="700"/>
                    <a:pt x="186" y="700"/>
                  </a:cubicBezTo>
                  <a:cubicBezTo>
                    <a:pt x="194" y="700"/>
                    <a:pt x="203" y="696"/>
                    <a:pt x="208" y="690"/>
                  </a:cubicBezTo>
                  <a:cubicBezTo>
                    <a:pt x="212" y="685"/>
                    <a:pt x="210" y="680"/>
                    <a:pt x="203" y="680"/>
                  </a:cubicBezTo>
                  <a:cubicBezTo>
                    <a:pt x="203" y="680"/>
                    <a:pt x="203" y="680"/>
                    <a:pt x="203" y="680"/>
                  </a:cubicBezTo>
                  <a:moveTo>
                    <a:pt x="240" y="680"/>
                  </a:moveTo>
                  <a:cubicBezTo>
                    <a:pt x="233" y="680"/>
                    <a:pt x="223" y="685"/>
                    <a:pt x="219" y="690"/>
                  </a:cubicBezTo>
                  <a:cubicBezTo>
                    <a:pt x="215" y="696"/>
                    <a:pt x="217" y="700"/>
                    <a:pt x="224" y="700"/>
                  </a:cubicBezTo>
                  <a:cubicBezTo>
                    <a:pt x="232" y="700"/>
                    <a:pt x="241" y="696"/>
                    <a:pt x="246" y="690"/>
                  </a:cubicBezTo>
                  <a:cubicBezTo>
                    <a:pt x="250" y="684"/>
                    <a:pt x="248" y="680"/>
                    <a:pt x="240" y="680"/>
                  </a:cubicBezTo>
                  <a:cubicBezTo>
                    <a:pt x="240" y="680"/>
                    <a:pt x="240" y="680"/>
                    <a:pt x="240" y="680"/>
                  </a:cubicBezTo>
                  <a:moveTo>
                    <a:pt x="278" y="680"/>
                  </a:moveTo>
                  <a:cubicBezTo>
                    <a:pt x="271" y="680"/>
                    <a:pt x="261" y="684"/>
                    <a:pt x="257" y="690"/>
                  </a:cubicBezTo>
                  <a:cubicBezTo>
                    <a:pt x="253" y="696"/>
                    <a:pt x="255" y="700"/>
                    <a:pt x="262" y="700"/>
                  </a:cubicBezTo>
                  <a:cubicBezTo>
                    <a:pt x="270" y="700"/>
                    <a:pt x="279" y="695"/>
                    <a:pt x="284" y="690"/>
                  </a:cubicBezTo>
                  <a:cubicBezTo>
                    <a:pt x="288" y="684"/>
                    <a:pt x="286" y="680"/>
                    <a:pt x="278" y="680"/>
                  </a:cubicBezTo>
                  <a:cubicBezTo>
                    <a:pt x="278" y="680"/>
                    <a:pt x="278" y="680"/>
                    <a:pt x="278" y="680"/>
                  </a:cubicBezTo>
                  <a:moveTo>
                    <a:pt x="317" y="680"/>
                  </a:moveTo>
                  <a:cubicBezTo>
                    <a:pt x="310" y="680"/>
                    <a:pt x="301" y="684"/>
                    <a:pt x="296" y="690"/>
                  </a:cubicBezTo>
                  <a:cubicBezTo>
                    <a:pt x="292" y="695"/>
                    <a:pt x="294" y="700"/>
                    <a:pt x="302" y="700"/>
                  </a:cubicBezTo>
                  <a:cubicBezTo>
                    <a:pt x="309" y="700"/>
                    <a:pt x="319" y="695"/>
                    <a:pt x="323" y="690"/>
                  </a:cubicBezTo>
                  <a:cubicBezTo>
                    <a:pt x="327" y="684"/>
                    <a:pt x="325" y="680"/>
                    <a:pt x="317" y="680"/>
                  </a:cubicBezTo>
                  <a:cubicBezTo>
                    <a:pt x="317" y="680"/>
                    <a:pt x="317" y="680"/>
                    <a:pt x="317" y="680"/>
                  </a:cubicBezTo>
                  <a:moveTo>
                    <a:pt x="355" y="679"/>
                  </a:moveTo>
                  <a:cubicBezTo>
                    <a:pt x="348" y="679"/>
                    <a:pt x="338" y="684"/>
                    <a:pt x="334" y="690"/>
                  </a:cubicBezTo>
                  <a:cubicBezTo>
                    <a:pt x="330" y="695"/>
                    <a:pt x="332" y="700"/>
                    <a:pt x="340" y="700"/>
                  </a:cubicBezTo>
                  <a:cubicBezTo>
                    <a:pt x="347" y="700"/>
                    <a:pt x="356" y="695"/>
                    <a:pt x="361" y="689"/>
                  </a:cubicBezTo>
                  <a:cubicBezTo>
                    <a:pt x="365" y="684"/>
                    <a:pt x="362" y="679"/>
                    <a:pt x="355" y="679"/>
                  </a:cubicBezTo>
                  <a:cubicBezTo>
                    <a:pt x="355" y="679"/>
                    <a:pt x="355" y="679"/>
                    <a:pt x="355" y="679"/>
                  </a:cubicBezTo>
                  <a:moveTo>
                    <a:pt x="393" y="679"/>
                  </a:moveTo>
                  <a:cubicBezTo>
                    <a:pt x="386" y="679"/>
                    <a:pt x="376" y="684"/>
                    <a:pt x="372" y="689"/>
                  </a:cubicBezTo>
                  <a:cubicBezTo>
                    <a:pt x="368" y="695"/>
                    <a:pt x="371" y="699"/>
                    <a:pt x="378" y="699"/>
                  </a:cubicBezTo>
                  <a:cubicBezTo>
                    <a:pt x="385" y="699"/>
                    <a:pt x="395" y="695"/>
                    <a:pt x="399" y="689"/>
                  </a:cubicBezTo>
                  <a:cubicBezTo>
                    <a:pt x="403" y="684"/>
                    <a:pt x="400" y="679"/>
                    <a:pt x="393" y="679"/>
                  </a:cubicBezTo>
                  <a:cubicBezTo>
                    <a:pt x="393" y="679"/>
                    <a:pt x="393" y="679"/>
                    <a:pt x="393" y="679"/>
                  </a:cubicBezTo>
                  <a:moveTo>
                    <a:pt x="431" y="679"/>
                  </a:moveTo>
                  <a:cubicBezTo>
                    <a:pt x="424" y="679"/>
                    <a:pt x="415" y="684"/>
                    <a:pt x="410" y="689"/>
                  </a:cubicBezTo>
                  <a:cubicBezTo>
                    <a:pt x="406" y="695"/>
                    <a:pt x="409" y="699"/>
                    <a:pt x="416" y="699"/>
                  </a:cubicBezTo>
                  <a:cubicBezTo>
                    <a:pt x="424" y="699"/>
                    <a:pt x="433" y="695"/>
                    <a:pt x="437" y="689"/>
                  </a:cubicBezTo>
                  <a:cubicBezTo>
                    <a:pt x="441" y="683"/>
                    <a:pt x="438" y="679"/>
                    <a:pt x="431" y="679"/>
                  </a:cubicBezTo>
                  <a:cubicBezTo>
                    <a:pt x="431" y="679"/>
                    <a:pt x="431" y="679"/>
                    <a:pt x="431" y="679"/>
                  </a:cubicBezTo>
                  <a:moveTo>
                    <a:pt x="469" y="679"/>
                  </a:moveTo>
                  <a:cubicBezTo>
                    <a:pt x="461" y="679"/>
                    <a:pt x="452" y="683"/>
                    <a:pt x="448" y="689"/>
                  </a:cubicBezTo>
                  <a:cubicBezTo>
                    <a:pt x="444" y="694"/>
                    <a:pt x="447" y="699"/>
                    <a:pt x="454" y="699"/>
                  </a:cubicBezTo>
                  <a:cubicBezTo>
                    <a:pt x="462" y="699"/>
                    <a:pt x="471" y="694"/>
                    <a:pt x="475" y="689"/>
                  </a:cubicBezTo>
                  <a:cubicBezTo>
                    <a:pt x="479" y="683"/>
                    <a:pt x="476" y="679"/>
                    <a:pt x="469" y="679"/>
                  </a:cubicBezTo>
                  <a:cubicBezTo>
                    <a:pt x="469" y="679"/>
                    <a:pt x="469" y="679"/>
                    <a:pt x="469" y="679"/>
                  </a:cubicBezTo>
                  <a:moveTo>
                    <a:pt x="507" y="678"/>
                  </a:moveTo>
                  <a:cubicBezTo>
                    <a:pt x="499" y="679"/>
                    <a:pt x="490" y="683"/>
                    <a:pt x="486" y="689"/>
                  </a:cubicBezTo>
                  <a:cubicBezTo>
                    <a:pt x="482" y="694"/>
                    <a:pt x="485" y="699"/>
                    <a:pt x="492" y="699"/>
                  </a:cubicBezTo>
                  <a:cubicBezTo>
                    <a:pt x="500" y="699"/>
                    <a:pt x="509" y="694"/>
                    <a:pt x="513" y="689"/>
                  </a:cubicBezTo>
                  <a:cubicBezTo>
                    <a:pt x="517" y="683"/>
                    <a:pt x="514" y="678"/>
                    <a:pt x="507" y="678"/>
                  </a:cubicBezTo>
                  <a:cubicBezTo>
                    <a:pt x="507" y="678"/>
                    <a:pt x="507" y="678"/>
                    <a:pt x="507" y="678"/>
                  </a:cubicBezTo>
                  <a:moveTo>
                    <a:pt x="544" y="678"/>
                  </a:moveTo>
                  <a:cubicBezTo>
                    <a:pt x="537" y="678"/>
                    <a:pt x="528" y="683"/>
                    <a:pt x="524" y="689"/>
                  </a:cubicBezTo>
                  <a:cubicBezTo>
                    <a:pt x="520" y="694"/>
                    <a:pt x="523" y="699"/>
                    <a:pt x="530" y="699"/>
                  </a:cubicBezTo>
                  <a:cubicBezTo>
                    <a:pt x="538" y="699"/>
                    <a:pt x="547" y="694"/>
                    <a:pt x="551" y="688"/>
                  </a:cubicBezTo>
                  <a:cubicBezTo>
                    <a:pt x="554" y="683"/>
                    <a:pt x="551" y="678"/>
                    <a:pt x="544" y="678"/>
                  </a:cubicBezTo>
                  <a:cubicBezTo>
                    <a:pt x="544" y="678"/>
                    <a:pt x="544" y="678"/>
                    <a:pt x="544" y="678"/>
                  </a:cubicBezTo>
                  <a:moveTo>
                    <a:pt x="582" y="678"/>
                  </a:moveTo>
                  <a:cubicBezTo>
                    <a:pt x="575" y="678"/>
                    <a:pt x="566" y="683"/>
                    <a:pt x="562" y="688"/>
                  </a:cubicBezTo>
                  <a:cubicBezTo>
                    <a:pt x="558" y="694"/>
                    <a:pt x="561" y="698"/>
                    <a:pt x="568" y="698"/>
                  </a:cubicBezTo>
                  <a:cubicBezTo>
                    <a:pt x="576" y="698"/>
                    <a:pt x="585" y="694"/>
                    <a:pt x="589" y="688"/>
                  </a:cubicBezTo>
                  <a:cubicBezTo>
                    <a:pt x="592" y="683"/>
                    <a:pt x="589" y="678"/>
                    <a:pt x="582" y="678"/>
                  </a:cubicBezTo>
                  <a:cubicBezTo>
                    <a:pt x="582" y="678"/>
                    <a:pt x="582" y="678"/>
                    <a:pt x="582" y="678"/>
                  </a:cubicBezTo>
                  <a:moveTo>
                    <a:pt x="620" y="678"/>
                  </a:moveTo>
                  <a:cubicBezTo>
                    <a:pt x="613" y="678"/>
                    <a:pt x="604" y="682"/>
                    <a:pt x="600" y="688"/>
                  </a:cubicBezTo>
                  <a:cubicBezTo>
                    <a:pt x="597" y="694"/>
                    <a:pt x="600" y="698"/>
                    <a:pt x="607" y="698"/>
                  </a:cubicBezTo>
                  <a:cubicBezTo>
                    <a:pt x="614" y="698"/>
                    <a:pt x="623" y="694"/>
                    <a:pt x="627" y="688"/>
                  </a:cubicBezTo>
                  <a:cubicBezTo>
                    <a:pt x="631" y="682"/>
                    <a:pt x="628" y="678"/>
                    <a:pt x="620" y="678"/>
                  </a:cubicBezTo>
                  <a:cubicBezTo>
                    <a:pt x="620" y="678"/>
                    <a:pt x="620" y="678"/>
                    <a:pt x="620" y="678"/>
                  </a:cubicBezTo>
                  <a:moveTo>
                    <a:pt x="658" y="678"/>
                  </a:moveTo>
                  <a:cubicBezTo>
                    <a:pt x="651" y="678"/>
                    <a:pt x="642" y="682"/>
                    <a:pt x="638" y="688"/>
                  </a:cubicBezTo>
                  <a:cubicBezTo>
                    <a:pt x="634" y="693"/>
                    <a:pt x="638" y="698"/>
                    <a:pt x="645" y="698"/>
                  </a:cubicBezTo>
                  <a:cubicBezTo>
                    <a:pt x="652" y="698"/>
                    <a:pt x="661" y="693"/>
                    <a:pt x="665" y="688"/>
                  </a:cubicBezTo>
                  <a:cubicBezTo>
                    <a:pt x="668" y="682"/>
                    <a:pt x="665" y="678"/>
                    <a:pt x="658" y="678"/>
                  </a:cubicBezTo>
                  <a:cubicBezTo>
                    <a:pt x="658" y="678"/>
                    <a:pt x="658" y="678"/>
                    <a:pt x="658" y="678"/>
                  </a:cubicBezTo>
                  <a:moveTo>
                    <a:pt x="1864" y="671"/>
                  </a:moveTo>
                  <a:cubicBezTo>
                    <a:pt x="1857" y="671"/>
                    <a:pt x="1850" y="675"/>
                    <a:pt x="1849" y="681"/>
                  </a:cubicBezTo>
                  <a:cubicBezTo>
                    <a:pt x="1848" y="687"/>
                    <a:pt x="1853" y="691"/>
                    <a:pt x="1860" y="691"/>
                  </a:cubicBezTo>
                  <a:cubicBezTo>
                    <a:pt x="1867" y="691"/>
                    <a:pt x="1874" y="686"/>
                    <a:pt x="1876" y="681"/>
                  </a:cubicBezTo>
                  <a:cubicBezTo>
                    <a:pt x="1877" y="675"/>
                    <a:pt x="1872" y="671"/>
                    <a:pt x="1865" y="671"/>
                  </a:cubicBezTo>
                  <a:cubicBezTo>
                    <a:pt x="1865" y="671"/>
                    <a:pt x="1865" y="671"/>
                    <a:pt x="1864" y="671"/>
                  </a:cubicBezTo>
                  <a:moveTo>
                    <a:pt x="1903" y="671"/>
                  </a:moveTo>
                  <a:cubicBezTo>
                    <a:pt x="1895" y="671"/>
                    <a:pt x="1888" y="675"/>
                    <a:pt x="1887" y="681"/>
                  </a:cubicBezTo>
                  <a:cubicBezTo>
                    <a:pt x="1886" y="686"/>
                    <a:pt x="1891" y="691"/>
                    <a:pt x="1898" y="691"/>
                  </a:cubicBezTo>
                  <a:cubicBezTo>
                    <a:pt x="1906" y="691"/>
                    <a:pt x="1913" y="686"/>
                    <a:pt x="1914" y="681"/>
                  </a:cubicBezTo>
                  <a:cubicBezTo>
                    <a:pt x="1915" y="675"/>
                    <a:pt x="1910" y="671"/>
                    <a:pt x="1903" y="671"/>
                  </a:cubicBezTo>
                  <a:cubicBezTo>
                    <a:pt x="1903" y="671"/>
                    <a:pt x="1903" y="671"/>
                    <a:pt x="1903" y="671"/>
                  </a:cubicBezTo>
                  <a:moveTo>
                    <a:pt x="1940" y="670"/>
                  </a:moveTo>
                  <a:cubicBezTo>
                    <a:pt x="1933" y="670"/>
                    <a:pt x="1926" y="675"/>
                    <a:pt x="1925" y="681"/>
                  </a:cubicBezTo>
                  <a:cubicBezTo>
                    <a:pt x="1924" y="686"/>
                    <a:pt x="1929" y="691"/>
                    <a:pt x="1936" y="691"/>
                  </a:cubicBezTo>
                  <a:cubicBezTo>
                    <a:pt x="1944" y="691"/>
                    <a:pt x="1950" y="686"/>
                    <a:pt x="1951" y="680"/>
                  </a:cubicBezTo>
                  <a:cubicBezTo>
                    <a:pt x="1953" y="675"/>
                    <a:pt x="1947" y="670"/>
                    <a:pt x="1940" y="670"/>
                  </a:cubicBezTo>
                  <a:cubicBezTo>
                    <a:pt x="1940" y="670"/>
                    <a:pt x="1940" y="670"/>
                    <a:pt x="1940" y="670"/>
                  </a:cubicBezTo>
                  <a:moveTo>
                    <a:pt x="1978" y="670"/>
                  </a:moveTo>
                  <a:cubicBezTo>
                    <a:pt x="1971" y="670"/>
                    <a:pt x="1964" y="675"/>
                    <a:pt x="1963" y="680"/>
                  </a:cubicBezTo>
                  <a:cubicBezTo>
                    <a:pt x="1962" y="686"/>
                    <a:pt x="1967" y="691"/>
                    <a:pt x="1974" y="690"/>
                  </a:cubicBezTo>
                  <a:cubicBezTo>
                    <a:pt x="1982" y="690"/>
                    <a:pt x="1988" y="686"/>
                    <a:pt x="1989" y="680"/>
                  </a:cubicBezTo>
                  <a:cubicBezTo>
                    <a:pt x="1990" y="675"/>
                    <a:pt x="1985" y="670"/>
                    <a:pt x="1978" y="670"/>
                  </a:cubicBezTo>
                  <a:cubicBezTo>
                    <a:pt x="1978" y="670"/>
                    <a:pt x="1978" y="670"/>
                    <a:pt x="1978" y="670"/>
                  </a:cubicBezTo>
                  <a:moveTo>
                    <a:pt x="2015" y="670"/>
                  </a:moveTo>
                  <a:cubicBezTo>
                    <a:pt x="2008" y="670"/>
                    <a:pt x="2001" y="675"/>
                    <a:pt x="2000" y="680"/>
                  </a:cubicBezTo>
                  <a:cubicBezTo>
                    <a:pt x="1999" y="686"/>
                    <a:pt x="2005" y="690"/>
                    <a:pt x="2012" y="690"/>
                  </a:cubicBezTo>
                  <a:cubicBezTo>
                    <a:pt x="2019" y="690"/>
                    <a:pt x="2026" y="686"/>
                    <a:pt x="2027" y="680"/>
                  </a:cubicBezTo>
                  <a:cubicBezTo>
                    <a:pt x="2028" y="674"/>
                    <a:pt x="2023" y="670"/>
                    <a:pt x="2015" y="670"/>
                  </a:cubicBezTo>
                  <a:cubicBezTo>
                    <a:pt x="2015" y="670"/>
                    <a:pt x="2015" y="670"/>
                    <a:pt x="2015" y="670"/>
                  </a:cubicBezTo>
                  <a:moveTo>
                    <a:pt x="2053" y="670"/>
                  </a:moveTo>
                  <a:cubicBezTo>
                    <a:pt x="2046" y="670"/>
                    <a:pt x="2039" y="674"/>
                    <a:pt x="2038" y="680"/>
                  </a:cubicBezTo>
                  <a:cubicBezTo>
                    <a:pt x="2038" y="686"/>
                    <a:pt x="2043" y="690"/>
                    <a:pt x="2050" y="690"/>
                  </a:cubicBezTo>
                  <a:cubicBezTo>
                    <a:pt x="2057" y="690"/>
                    <a:pt x="2064" y="685"/>
                    <a:pt x="2065" y="680"/>
                  </a:cubicBezTo>
                  <a:cubicBezTo>
                    <a:pt x="2066" y="674"/>
                    <a:pt x="2061" y="670"/>
                    <a:pt x="2053" y="670"/>
                  </a:cubicBezTo>
                  <a:cubicBezTo>
                    <a:pt x="2053" y="670"/>
                    <a:pt x="2053" y="670"/>
                    <a:pt x="2053" y="670"/>
                  </a:cubicBezTo>
                  <a:moveTo>
                    <a:pt x="2092" y="669"/>
                  </a:moveTo>
                  <a:cubicBezTo>
                    <a:pt x="2085" y="670"/>
                    <a:pt x="2078" y="674"/>
                    <a:pt x="2077" y="680"/>
                  </a:cubicBezTo>
                  <a:cubicBezTo>
                    <a:pt x="2077" y="685"/>
                    <a:pt x="2082" y="690"/>
                    <a:pt x="2089" y="690"/>
                  </a:cubicBezTo>
                  <a:cubicBezTo>
                    <a:pt x="2097" y="690"/>
                    <a:pt x="2103" y="685"/>
                    <a:pt x="2104" y="680"/>
                  </a:cubicBezTo>
                  <a:cubicBezTo>
                    <a:pt x="2105" y="674"/>
                    <a:pt x="2099" y="669"/>
                    <a:pt x="2092" y="669"/>
                  </a:cubicBezTo>
                  <a:cubicBezTo>
                    <a:pt x="2092" y="669"/>
                    <a:pt x="2092" y="669"/>
                    <a:pt x="2092" y="669"/>
                  </a:cubicBezTo>
                  <a:moveTo>
                    <a:pt x="2130" y="669"/>
                  </a:moveTo>
                  <a:cubicBezTo>
                    <a:pt x="2122" y="669"/>
                    <a:pt x="2116" y="674"/>
                    <a:pt x="2115" y="680"/>
                  </a:cubicBezTo>
                  <a:cubicBezTo>
                    <a:pt x="2114" y="685"/>
                    <a:pt x="2120" y="690"/>
                    <a:pt x="2127" y="690"/>
                  </a:cubicBezTo>
                  <a:cubicBezTo>
                    <a:pt x="2134" y="690"/>
                    <a:pt x="2141" y="685"/>
                    <a:pt x="2142" y="679"/>
                  </a:cubicBezTo>
                  <a:cubicBezTo>
                    <a:pt x="2142" y="674"/>
                    <a:pt x="2137" y="669"/>
                    <a:pt x="2130" y="669"/>
                  </a:cubicBezTo>
                  <a:cubicBezTo>
                    <a:pt x="2130" y="669"/>
                    <a:pt x="2130" y="669"/>
                    <a:pt x="2130" y="669"/>
                  </a:cubicBezTo>
                  <a:moveTo>
                    <a:pt x="2167" y="669"/>
                  </a:moveTo>
                  <a:cubicBezTo>
                    <a:pt x="2160" y="669"/>
                    <a:pt x="2154" y="674"/>
                    <a:pt x="2153" y="679"/>
                  </a:cubicBezTo>
                  <a:cubicBezTo>
                    <a:pt x="2152" y="685"/>
                    <a:pt x="2158" y="690"/>
                    <a:pt x="2165" y="689"/>
                  </a:cubicBezTo>
                  <a:cubicBezTo>
                    <a:pt x="2172" y="689"/>
                    <a:pt x="2179" y="685"/>
                    <a:pt x="2180" y="679"/>
                  </a:cubicBezTo>
                  <a:cubicBezTo>
                    <a:pt x="2180" y="674"/>
                    <a:pt x="2175" y="669"/>
                    <a:pt x="2168" y="669"/>
                  </a:cubicBezTo>
                  <a:cubicBezTo>
                    <a:pt x="2167" y="669"/>
                    <a:pt x="2167" y="669"/>
                    <a:pt x="2167" y="669"/>
                  </a:cubicBezTo>
                  <a:moveTo>
                    <a:pt x="2206" y="669"/>
                  </a:moveTo>
                  <a:cubicBezTo>
                    <a:pt x="2198" y="669"/>
                    <a:pt x="2192" y="673"/>
                    <a:pt x="2191" y="679"/>
                  </a:cubicBezTo>
                  <a:cubicBezTo>
                    <a:pt x="2191" y="685"/>
                    <a:pt x="2196" y="689"/>
                    <a:pt x="2204" y="689"/>
                  </a:cubicBezTo>
                  <a:cubicBezTo>
                    <a:pt x="2211" y="689"/>
                    <a:pt x="2217" y="685"/>
                    <a:pt x="2218" y="679"/>
                  </a:cubicBezTo>
                  <a:cubicBezTo>
                    <a:pt x="2218" y="673"/>
                    <a:pt x="2213" y="669"/>
                    <a:pt x="2206" y="669"/>
                  </a:cubicBezTo>
                  <a:cubicBezTo>
                    <a:pt x="2206" y="669"/>
                    <a:pt x="2206" y="669"/>
                    <a:pt x="2206" y="669"/>
                  </a:cubicBezTo>
                  <a:moveTo>
                    <a:pt x="2243" y="669"/>
                  </a:moveTo>
                  <a:cubicBezTo>
                    <a:pt x="2236" y="669"/>
                    <a:pt x="2229" y="673"/>
                    <a:pt x="2229" y="679"/>
                  </a:cubicBezTo>
                  <a:cubicBezTo>
                    <a:pt x="2228" y="685"/>
                    <a:pt x="2234" y="689"/>
                    <a:pt x="2241" y="689"/>
                  </a:cubicBezTo>
                  <a:cubicBezTo>
                    <a:pt x="2249" y="689"/>
                    <a:pt x="2255" y="684"/>
                    <a:pt x="2255" y="679"/>
                  </a:cubicBezTo>
                  <a:cubicBezTo>
                    <a:pt x="2256" y="673"/>
                    <a:pt x="2250" y="669"/>
                    <a:pt x="2243" y="669"/>
                  </a:cubicBezTo>
                  <a:cubicBezTo>
                    <a:pt x="2243" y="669"/>
                    <a:pt x="2243" y="669"/>
                    <a:pt x="2243" y="669"/>
                  </a:cubicBezTo>
                  <a:moveTo>
                    <a:pt x="2356" y="666"/>
                  </a:moveTo>
                  <a:cubicBezTo>
                    <a:pt x="2349" y="666"/>
                    <a:pt x="2343" y="670"/>
                    <a:pt x="2342" y="676"/>
                  </a:cubicBezTo>
                  <a:cubicBezTo>
                    <a:pt x="2342" y="682"/>
                    <a:pt x="2348" y="686"/>
                    <a:pt x="2355" y="686"/>
                  </a:cubicBezTo>
                  <a:cubicBezTo>
                    <a:pt x="2363" y="686"/>
                    <a:pt x="2369" y="682"/>
                    <a:pt x="2369" y="676"/>
                  </a:cubicBezTo>
                  <a:cubicBezTo>
                    <a:pt x="2369" y="670"/>
                    <a:pt x="2363" y="666"/>
                    <a:pt x="2356" y="666"/>
                  </a:cubicBezTo>
                  <a:cubicBezTo>
                    <a:pt x="2356" y="666"/>
                    <a:pt x="2356" y="666"/>
                    <a:pt x="2356" y="666"/>
                  </a:cubicBezTo>
                  <a:moveTo>
                    <a:pt x="2659" y="666"/>
                  </a:moveTo>
                  <a:cubicBezTo>
                    <a:pt x="2651" y="666"/>
                    <a:pt x="2646" y="670"/>
                    <a:pt x="2646" y="676"/>
                  </a:cubicBezTo>
                  <a:cubicBezTo>
                    <a:pt x="2646" y="682"/>
                    <a:pt x="2652" y="686"/>
                    <a:pt x="2660" y="686"/>
                  </a:cubicBezTo>
                  <a:cubicBezTo>
                    <a:pt x="2667" y="686"/>
                    <a:pt x="2673" y="681"/>
                    <a:pt x="2672" y="676"/>
                  </a:cubicBezTo>
                  <a:cubicBezTo>
                    <a:pt x="2672" y="670"/>
                    <a:pt x="2666" y="666"/>
                    <a:pt x="2659" y="666"/>
                  </a:cubicBezTo>
                  <a:cubicBezTo>
                    <a:pt x="2659" y="666"/>
                    <a:pt x="2659" y="666"/>
                    <a:pt x="2659" y="666"/>
                  </a:cubicBezTo>
                  <a:moveTo>
                    <a:pt x="2394" y="666"/>
                  </a:moveTo>
                  <a:cubicBezTo>
                    <a:pt x="2387" y="666"/>
                    <a:pt x="2381" y="670"/>
                    <a:pt x="2381" y="676"/>
                  </a:cubicBezTo>
                  <a:cubicBezTo>
                    <a:pt x="2380" y="682"/>
                    <a:pt x="2386" y="686"/>
                    <a:pt x="2394" y="686"/>
                  </a:cubicBezTo>
                  <a:cubicBezTo>
                    <a:pt x="2401" y="686"/>
                    <a:pt x="2407" y="681"/>
                    <a:pt x="2407" y="676"/>
                  </a:cubicBezTo>
                  <a:cubicBezTo>
                    <a:pt x="2407" y="670"/>
                    <a:pt x="2402" y="666"/>
                    <a:pt x="2394" y="666"/>
                  </a:cubicBezTo>
                  <a:cubicBezTo>
                    <a:pt x="2394" y="666"/>
                    <a:pt x="2394" y="666"/>
                    <a:pt x="2394" y="666"/>
                  </a:cubicBezTo>
                  <a:moveTo>
                    <a:pt x="2696" y="665"/>
                  </a:moveTo>
                  <a:cubicBezTo>
                    <a:pt x="2688" y="665"/>
                    <a:pt x="2683" y="670"/>
                    <a:pt x="2683" y="676"/>
                  </a:cubicBezTo>
                  <a:cubicBezTo>
                    <a:pt x="2684" y="681"/>
                    <a:pt x="2690" y="686"/>
                    <a:pt x="2697" y="686"/>
                  </a:cubicBezTo>
                  <a:cubicBezTo>
                    <a:pt x="2705" y="686"/>
                    <a:pt x="2710" y="681"/>
                    <a:pt x="2710" y="676"/>
                  </a:cubicBezTo>
                  <a:cubicBezTo>
                    <a:pt x="2709" y="670"/>
                    <a:pt x="2703" y="665"/>
                    <a:pt x="2696" y="665"/>
                  </a:cubicBezTo>
                  <a:cubicBezTo>
                    <a:pt x="2696" y="665"/>
                    <a:pt x="2696" y="665"/>
                    <a:pt x="2696" y="665"/>
                  </a:cubicBezTo>
                  <a:moveTo>
                    <a:pt x="2808" y="665"/>
                  </a:moveTo>
                  <a:cubicBezTo>
                    <a:pt x="2800" y="665"/>
                    <a:pt x="2795" y="670"/>
                    <a:pt x="2796" y="676"/>
                  </a:cubicBezTo>
                  <a:cubicBezTo>
                    <a:pt x="2796" y="681"/>
                    <a:pt x="2803" y="686"/>
                    <a:pt x="2810" y="686"/>
                  </a:cubicBezTo>
                  <a:cubicBezTo>
                    <a:pt x="2817" y="686"/>
                    <a:pt x="2823" y="681"/>
                    <a:pt x="2822" y="675"/>
                  </a:cubicBezTo>
                  <a:cubicBezTo>
                    <a:pt x="2821" y="670"/>
                    <a:pt x="2815" y="665"/>
                    <a:pt x="2808" y="665"/>
                  </a:cubicBezTo>
                  <a:cubicBezTo>
                    <a:pt x="2808" y="665"/>
                    <a:pt x="2808" y="665"/>
                    <a:pt x="2808" y="665"/>
                  </a:cubicBezTo>
                  <a:moveTo>
                    <a:pt x="2733" y="665"/>
                  </a:moveTo>
                  <a:cubicBezTo>
                    <a:pt x="2726" y="665"/>
                    <a:pt x="2720" y="670"/>
                    <a:pt x="2721" y="676"/>
                  </a:cubicBezTo>
                  <a:cubicBezTo>
                    <a:pt x="2721" y="681"/>
                    <a:pt x="2728" y="686"/>
                    <a:pt x="2735" y="686"/>
                  </a:cubicBezTo>
                  <a:cubicBezTo>
                    <a:pt x="2742" y="686"/>
                    <a:pt x="2748" y="681"/>
                    <a:pt x="2747" y="675"/>
                  </a:cubicBezTo>
                  <a:cubicBezTo>
                    <a:pt x="2747" y="670"/>
                    <a:pt x="2741" y="665"/>
                    <a:pt x="2733" y="665"/>
                  </a:cubicBezTo>
                  <a:cubicBezTo>
                    <a:pt x="2733" y="665"/>
                    <a:pt x="2733" y="665"/>
                    <a:pt x="2733" y="665"/>
                  </a:cubicBezTo>
                  <a:moveTo>
                    <a:pt x="2844" y="664"/>
                  </a:moveTo>
                  <a:cubicBezTo>
                    <a:pt x="2837" y="664"/>
                    <a:pt x="2831" y="669"/>
                    <a:pt x="2832" y="674"/>
                  </a:cubicBezTo>
                  <a:cubicBezTo>
                    <a:pt x="2833" y="680"/>
                    <a:pt x="2839" y="685"/>
                    <a:pt x="2847" y="685"/>
                  </a:cubicBezTo>
                  <a:cubicBezTo>
                    <a:pt x="2854" y="685"/>
                    <a:pt x="2859" y="680"/>
                    <a:pt x="2858" y="674"/>
                  </a:cubicBezTo>
                  <a:cubicBezTo>
                    <a:pt x="2858" y="669"/>
                    <a:pt x="2851" y="664"/>
                    <a:pt x="2844" y="664"/>
                  </a:cubicBezTo>
                  <a:cubicBezTo>
                    <a:pt x="2844" y="664"/>
                    <a:pt x="2844" y="664"/>
                    <a:pt x="2844" y="664"/>
                  </a:cubicBezTo>
                  <a:moveTo>
                    <a:pt x="2881" y="664"/>
                  </a:moveTo>
                  <a:cubicBezTo>
                    <a:pt x="2874" y="664"/>
                    <a:pt x="2869" y="669"/>
                    <a:pt x="2870" y="674"/>
                  </a:cubicBezTo>
                  <a:cubicBezTo>
                    <a:pt x="2870" y="680"/>
                    <a:pt x="2877" y="684"/>
                    <a:pt x="2884" y="684"/>
                  </a:cubicBezTo>
                  <a:cubicBezTo>
                    <a:pt x="2892" y="684"/>
                    <a:pt x="2897" y="680"/>
                    <a:pt x="2896" y="674"/>
                  </a:cubicBezTo>
                  <a:cubicBezTo>
                    <a:pt x="2895" y="668"/>
                    <a:pt x="2889" y="664"/>
                    <a:pt x="2881" y="664"/>
                  </a:cubicBezTo>
                  <a:cubicBezTo>
                    <a:pt x="2881" y="664"/>
                    <a:pt x="2881" y="664"/>
                    <a:pt x="2881" y="664"/>
                  </a:cubicBezTo>
                  <a:moveTo>
                    <a:pt x="2919" y="664"/>
                  </a:moveTo>
                  <a:cubicBezTo>
                    <a:pt x="2912" y="664"/>
                    <a:pt x="2907" y="668"/>
                    <a:pt x="2907" y="674"/>
                  </a:cubicBezTo>
                  <a:cubicBezTo>
                    <a:pt x="2908" y="680"/>
                    <a:pt x="2915" y="684"/>
                    <a:pt x="2922" y="684"/>
                  </a:cubicBezTo>
                  <a:cubicBezTo>
                    <a:pt x="2930" y="684"/>
                    <a:pt x="2935" y="680"/>
                    <a:pt x="2934" y="674"/>
                  </a:cubicBezTo>
                  <a:cubicBezTo>
                    <a:pt x="2933" y="668"/>
                    <a:pt x="2926" y="664"/>
                    <a:pt x="2919" y="664"/>
                  </a:cubicBezTo>
                  <a:cubicBezTo>
                    <a:pt x="2919" y="664"/>
                    <a:pt x="2919" y="664"/>
                    <a:pt x="2919" y="664"/>
                  </a:cubicBezTo>
                  <a:moveTo>
                    <a:pt x="2771" y="664"/>
                  </a:moveTo>
                  <a:cubicBezTo>
                    <a:pt x="2764" y="664"/>
                    <a:pt x="2758" y="668"/>
                    <a:pt x="2759" y="674"/>
                  </a:cubicBezTo>
                  <a:cubicBezTo>
                    <a:pt x="2759" y="680"/>
                    <a:pt x="2766" y="684"/>
                    <a:pt x="2773" y="684"/>
                  </a:cubicBezTo>
                  <a:cubicBezTo>
                    <a:pt x="2780" y="684"/>
                    <a:pt x="2786" y="680"/>
                    <a:pt x="2785" y="674"/>
                  </a:cubicBezTo>
                  <a:cubicBezTo>
                    <a:pt x="2784" y="668"/>
                    <a:pt x="2778" y="664"/>
                    <a:pt x="2771" y="664"/>
                  </a:cubicBezTo>
                  <a:cubicBezTo>
                    <a:pt x="2771" y="664"/>
                    <a:pt x="2771" y="664"/>
                    <a:pt x="2771" y="664"/>
                  </a:cubicBezTo>
                  <a:moveTo>
                    <a:pt x="2957" y="664"/>
                  </a:moveTo>
                  <a:cubicBezTo>
                    <a:pt x="2950" y="664"/>
                    <a:pt x="2945" y="668"/>
                    <a:pt x="2946" y="674"/>
                  </a:cubicBezTo>
                  <a:cubicBezTo>
                    <a:pt x="2947" y="679"/>
                    <a:pt x="2953" y="684"/>
                    <a:pt x="2961" y="684"/>
                  </a:cubicBezTo>
                  <a:cubicBezTo>
                    <a:pt x="2968" y="684"/>
                    <a:pt x="2973" y="679"/>
                    <a:pt x="2972" y="674"/>
                  </a:cubicBezTo>
                  <a:cubicBezTo>
                    <a:pt x="2971" y="668"/>
                    <a:pt x="2965" y="664"/>
                    <a:pt x="2957" y="664"/>
                  </a:cubicBezTo>
                  <a:cubicBezTo>
                    <a:pt x="2957" y="664"/>
                    <a:pt x="2957" y="664"/>
                    <a:pt x="2957" y="664"/>
                  </a:cubicBezTo>
                  <a:moveTo>
                    <a:pt x="2995" y="663"/>
                  </a:moveTo>
                  <a:cubicBezTo>
                    <a:pt x="2987" y="663"/>
                    <a:pt x="2982" y="668"/>
                    <a:pt x="2983" y="674"/>
                  </a:cubicBezTo>
                  <a:cubicBezTo>
                    <a:pt x="2984" y="679"/>
                    <a:pt x="2991" y="684"/>
                    <a:pt x="2998" y="684"/>
                  </a:cubicBezTo>
                  <a:cubicBezTo>
                    <a:pt x="3006" y="684"/>
                    <a:pt x="3011" y="679"/>
                    <a:pt x="3010" y="673"/>
                  </a:cubicBezTo>
                  <a:cubicBezTo>
                    <a:pt x="3009" y="668"/>
                    <a:pt x="3002" y="663"/>
                    <a:pt x="2995" y="663"/>
                  </a:cubicBezTo>
                  <a:cubicBezTo>
                    <a:pt x="2995" y="663"/>
                    <a:pt x="2995" y="663"/>
                    <a:pt x="2995" y="663"/>
                  </a:cubicBezTo>
                  <a:moveTo>
                    <a:pt x="2621" y="663"/>
                  </a:moveTo>
                  <a:cubicBezTo>
                    <a:pt x="2614" y="663"/>
                    <a:pt x="2608" y="668"/>
                    <a:pt x="2608" y="674"/>
                  </a:cubicBezTo>
                  <a:cubicBezTo>
                    <a:pt x="2609" y="679"/>
                    <a:pt x="2615" y="684"/>
                    <a:pt x="2622" y="684"/>
                  </a:cubicBezTo>
                  <a:cubicBezTo>
                    <a:pt x="2629" y="684"/>
                    <a:pt x="2635" y="679"/>
                    <a:pt x="2635" y="673"/>
                  </a:cubicBezTo>
                  <a:cubicBezTo>
                    <a:pt x="2634" y="668"/>
                    <a:pt x="2628" y="663"/>
                    <a:pt x="2621" y="663"/>
                  </a:cubicBezTo>
                  <a:cubicBezTo>
                    <a:pt x="2621" y="663"/>
                    <a:pt x="2621" y="663"/>
                    <a:pt x="2621" y="663"/>
                  </a:cubicBezTo>
                  <a:moveTo>
                    <a:pt x="3032" y="663"/>
                  </a:moveTo>
                  <a:cubicBezTo>
                    <a:pt x="3025" y="663"/>
                    <a:pt x="3020" y="668"/>
                    <a:pt x="3021" y="673"/>
                  </a:cubicBezTo>
                  <a:cubicBezTo>
                    <a:pt x="3022" y="679"/>
                    <a:pt x="3029" y="684"/>
                    <a:pt x="3036" y="684"/>
                  </a:cubicBezTo>
                  <a:cubicBezTo>
                    <a:pt x="3043" y="684"/>
                    <a:pt x="3049" y="679"/>
                    <a:pt x="3047" y="673"/>
                  </a:cubicBezTo>
                  <a:cubicBezTo>
                    <a:pt x="3046" y="668"/>
                    <a:pt x="3040" y="663"/>
                    <a:pt x="3032" y="663"/>
                  </a:cubicBezTo>
                  <a:cubicBezTo>
                    <a:pt x="3032" y="663"/>
                    <a:pt x="3032" y="663"/>
                    <a:pt x="3032" y="663"/>
                  </a:cubicBezTo>
                  <a:moveTo>
                    <a:pt x="3070" y="663"/>
                  </a:moveTo>
                  <a:cubicBezTo>
                    <a:pt x="3062" y="663"/>
                    <a:pt x="3057" y="668"/>
                    <a:pt x="3059" y="673"/>
                  </a:cubicBezTo>
                  <a:cubicBezTo>
                    <a:pt x="3060" y="679"/>
                    <a:pt x="3067" y="683"/>
                    <a:pt x="3074" y="683"/>
                  </a:cubicBezTo>
                  <a:cubicBezTo>
                    <a:pt x="3081" y="683"/>
                    <a:pt x="3086" y="679"/>
                    <a:pt x="3085" y="673"/>
                  </a:cubicBezTo>
                  <a:cubicBezTo>
                    <a:pt x="3084" y="667"/>
                    <a:pt x="3077" y="663"/>
                    <a:pt x="3070" y="663"/>
                  </a:cubicBezTo>
                  <a:cubicBezTo>
                    <a:pt x="3070" y="663"/>
                    <a:pt x="3070" y="663"/>
                    <a:pt x="3070" y="663"/>
                  </a:cubicBezTo>
                  <a:moveTo>
                    <a:pt x="3107" y="663"/>
                  </a:moveTo>
                  <a:cubicBezTo>
                    <a:pt x="3100" y="663"/>
                    <a:pt x="3095" y="667"/>
                    <a:pt x="3096" y="673"/>
                  </a:cubicBezTo>
                  <a:cubicBezTo>
                    <a:pt x="3098" y="679"/>
                    <a:pt x="3105" y="683"/>
                    <a:pt x="3112" y="683"/>
                  </a:cubicBezTo>
                  <a:cubicBezTo>
                    <a:pt x="3119" y="683"/>
                    <a:pt x="3124" y="679"/>
                    <a:pt x="3123" y="673"/>
                  </a:cubicBezTo>
                  <a:cubicBezTo>
                    <a:pt x="3122" y="667"/>
                    <a:pt x="3115" y="663"/>
                    <a:pt x="3107" y="663"/>
                  </a:cubicBezTo>
                  <a:cubicBezTo>
                    <a:pt x="3107" y="663"/>
                    <a:pt x="3107" y="663"/>
                    <a:pt x="3107" y="663"/>
                  </a:cubicBezTo>
                  <a:moveTo>
                    <a:pt x="3146" y="662"/>
                  </a:moveTo>
                  <a:cubicBezTo>
                    <a:pt x="3139" y="663"/>
                    <a:pt x="3134" y="667"/>
                    <a:pt x="3135" y="673"/>
                  </a:cubicBezTo>
                  <a:cubicBezTo>
                    <a:pt x="3137" y="678"/>
                    <a:pt x="3144" y="683"/>
                    <a:pt x="3151" y="683"/>
                  </a:cubicBezTo>
                  <a:cubicBezTo>
                    <a:pt x="3158" y="683"/>
                    <a:pt x="3163" y="678"/>
                    <a:pt x="3162" y="673"/>
                  </a:cubicBezTo>
                  <a:cubicBezTo>
                    <a:pt x="3160" y="667"/>
                    <a:pt x="3154" y="662"/>
                    <a:pt x="3146" y="662"/>
                  </a:cubicBezTo>
                  <a:cubicBezTo>
                    <a:pt x="3146" y="662"/>
                    <a:pt x="3146" y="662"/>
                    <a:pt x="3146" y="662"/>
                  </a:cubicBezTo>
                  <a:moveTo>
                    <a:pt x="3184" y="662"/>
                  </a:moveTo>
                  <a:cubicBezTo>
                    <a:pt x="3176" y="662"/>
                    <a:pt x="3172" y="667"/>
                    <a:pt x="3173" y="673"/>
                  </a:cubicBezTo>
                  <a:cubicBezTo>
                    <a:pt x="3174" y="678"/>
                    <a:pt x="3181" y="683"/>
                    <a:pt x="3189" y="683"/>
                  </a:cubicBezTo>
                  <a:cubicBezTo>
                    <a:pt x="3196" y="683"/>
                    <a:pt x="3201" y="678"/>
                    <a:pt x="3199" y="672"/>
                  </a:cubicBezTo>
                  <a:cubicBezTo>
                    <a:pt x="3198" y="667"/>
                    <a:pt x="3191" y="662"/>
                    <a:pt x="3184" y="662"/>
                  </a:cubicBezTo>
                  <a:cubicBezTo>
                    <a:pt x="3184" y="662"/>
                    <a:pt x="3184" y="662"/>
                    <a:pt x="3184" y="662"/>
                  </a:cubicBezTo>
                  <a:moveTo>
                    <a:pt x="3674" y="662"/>
                  </a:moveTo>
                  <a:cubicBezTo>
                    <a:pt x="3667" y="662"/>
                    <a:pt x="3663" y="667"/>
                    <a:pt x="3665" y="672"/>
                  </a:cubicBezTo>
                  <a:cubicBezTo>
                    <a:pt x="3668" y="678"/>
                    <a:pt x="3675" y="683"/>
                    <a:pt x="3683" y="683"/>
                  </a:cubicBezTo>
                  <a:cubicBezTo>
                    <a:pt x="3690" y="683"/>
                    <a:pt x="3694" y="678"/>
                    <a:pt x="3692" y="672"/>
                  </a:cubicBezTo>
                  <a:cubicBezTo>
                    <a:pt x="3689" y="667"/>
                    <a:pt x="3682" y="662"/>
                    <a:pt x="3674" y="662"/>
                  </a:cubicBezTo>
                  <a:cubicBezTo>
                    <a:pt x="3674" y="662"/>
                    <a:pt x="3674" y="662"/>
                    <a:pt x="3674" y="662"/>
                  </a:cubicBezTo>
                  <a:moveTo>
                    <a:pt x="3221" y="662"/>
                  </a:moveTo>
                  <a:cubicBezTo>
                    <a:pt x="3214" y="662"/>
                    <a:pt x="3209" y="667"/>
                    <a:pt x="3211" y="672"/>
                  </a:cubicBezTo>
                  <a:cubicBezTo>
                    <a:pt x="3212" y="678"/>
                    <a:pt x="3219" y="683"/>
                    <a:pt x="3227" y="683"/>
                  </a:cubicBezTo>
                  <a:cubicBezTo>
                    <a:pt x="3234" y="683"/>
                    <a:pt x="3239" y="678"/>
                    <a:pt x="3237" y="672"/>
                  </a:cubicBezTo>
                  <a:cubicBezTo>
                    <a:pt x="3236" y="667"/>
                    <a:pt x="3229" y="662"/>
                    <a:pt x="3221" y="662"/>
                  </a:cubicBezTo>
                  <a:cubicBezTo>
                    <a:pt x="3221" y="662"/>
                    <a:pt x="3221" y="662"/>
                    <a:pt x="3221" y="662"/>
                  </a:cubicBezTo>
                  <a:moveTo>
                    <a:pt x="3712" y="662"/>
                  </a:moveTo>
                  <a:cubicBezTo>
                    <a:pt x="3704" y="662"/>
                    <a:pt x="3700" y="667"/>
                    <a:pt x="3703" y="672"/>
                  </a:cubicBezTo>
                  <a:cubicBezTo>
                    <a:pt x="3705" y="678"/>
                    <a:pt x="3713" y="683"/>
                    <a:pt x="3720" y="682"/>
                  </a:cubicBezTo>
                  <a:cubicBezTo>
                    <a:pt x="3728" y="682"/>
                    <a:pt x="3732" y="678"/>
                    <a:pt x="3729" y="672"/>
                  </a:cubicBezTo>
                  <a:cubicBezTo>
                    <a:pt x="3727" y="666"/>
                    <a:pt x="3719" y="662"/>
                    <a:pt x="3712" y="662"/>
                  </a:cubicBezTo>
                  <a:cubicBezTo>
                    <a:pt x="3712" y="662"/>
                    <a:pt x="3712" y="662"/>
                    <a:pt x="3712" y="662"/>
                  </a:cubicBezTo>
                  <a:moveTo>
                    <a:pt x="3259" y="662"/>
                  </a:moveTo>
                  <a:cubicBezTo>
                    <a:pt x="3252" y="662"/>
                    <a:pt x="3247" y="667"/>
                    <a:pt x="3249" y="672"/>
                  </a:cubicBezTo>
                  <a:cubicBezTo>
                    <a:pt x="3250" y="678"/>
                    <a:pt x="3258" y="682"/>
                    <a:pt x="3265" y="682"/>
                  </a:cubicBezTo>
                  <a:cubicBezTo>
                    <a:pt x="3272" y="682"/>
                    <a:pt x="3277" y="678"/>
                    <a:pt x="3275" y="672"/>
                  </a:cubicBezTo>
                  <a:cubicBezTo>
                    <a:pt x="3274" y="666"/>
                    <a:pt x="3267" y="662"/>
                    <a:pt x="3259" y="662"/>
                  </a:cubicBezTo>
                  <a:cubicBezTo>
                    <a:pt x="3259" y="662"/>
                    <a:pt x="3259" y="662"/>
                    <a:pt x="3259" y="662"/>
                  </a:cubicBezTo>
                  <a:moveTo>
                    <a:pt x="3749" y="662"/>
                  </a:moveTo>
                  <a:cubicBezTo>
                    <a:pt x="3742" y="662"/>
                    <a:pt x="3738" y="666"/>
                    <a:pt x="3741" y="672"/>
                  </a:cubicBezTo>
                  <a:cubicBezTo>
                    <a:pt x="3743" y="678"/>
                    <a:pt x="3751" y="682"/>
                    <a:pt x="3758" y="682"/>
                  </a:cubicBezTo>
                  <a:cubicBezTo>
                    <a:pt x="3766" y="682"/>
                    <a:pt x="3770" y="678"/>
                    <a:pt x="3767" y="672"/>
                  </a:cubicBezTo>
                  <a:cubicBezTo>
                    <a:pt x="3765" y="666"/>
                    <a:pt x="3757" y="662"/>
                    <a:pt x="3749" y="662"/>
                  </a:cubicBezTo>
                  <a:cubicBezTo>
                    <a:pt x="3749" y="662"/>
                    <a:pt x="3749" y="662"/>
                    <a:pt x="3749" y="662"/>
                  </a:cubicBezTo>
                  <a:moveTo>
                    <a:pt x="3297" y="662"/>
                  </a:moveTo>
                  <a:cubicBezTo>
                    <a:pt x="3290" y="662"/>
                    <a:pt x="3285" y="666"/>
                    <a:pt x="3286" y="672"/>
                  </a:cubicBezTo>
                  <a:cubicBezTo>
                    <a:pt x="3288" y="678"/>
                    <a:pt x="3295" y="682"/>
                    <a:pt x="3303" y="682"/>
                  </a:cubicBezTo>
                  <a:cubicBezTo>
                    <a:pt x="3310" y="682"/>
                    <a:pt x="3315" y="677"/>
                    <a:pt x="3313" y="672"/>
                  </a:cubicBezTo>
                  <a:cubicBezTo>
                    <a:pt x="3311" y="666"/>
                    <a:pt x="3304" y="662"/>
                    <a:pt x="3297" y="662"/>
                  </a:cubicBezTo>
                  <a:cubicBezTo>
                    <a:pt x="3297" y="662"/>
                    <a:pt x="3297" y="662"/>
                    <a:pt x="3297" y="662"/>
                  </a:cubicBezTo>
                  <a:moveTo>
                    <a:pt x="3789" y="662"/>
                  </a:moveTo>
                  <a:cubicBezTo>
                    <a:pt x="3782" y="662"/>
                    <a:pt x="3778" y="666"/>
                    <a:pt x="3781" y="672"/>
                  </a:cubicBezTo>
                  <a:cubicBezTo>
                    <a:pt x="3783" y="678"/>
                    <a:pt x="3791" y="682"/>
                    <a:pt x="3799" y="682"/>
                  </a:cubicBezTo>
                  <a:cubicBezTo>
                    <a:pt x="3806" y="682"/>
                    <a:pt x="3810" y="677"/>
                    <a:pt x="3807" y="672"/>
                  </a:cubicBezTo>
                  <a:cubicBezTo>
                    <a:pt x="3805" y="666"/>
                    <a:pt x="3797" y="662"/>
                    <a:pt x="3789" y="662"/>
                  </a:cubicBezTo>
                  <a:cubicBezTo>
                    <a:pt x="3789" y="662"/>
                    <a:pt x="3789" y="662"/>
                    <a:pt x="3789" y="662"/>
                  </a:cubicBezTo>
                  <a:moveTo>
                    <a:pt x="3334" y="661"/>
                  </a:moveTo>
                  <a:cubicBezTo>
                    <a:pt x="3327" y="661"/>
                    <a:pt x="3323" y="666"/>
                    <a:pt x="3324" y="672"/>
                  </a:cubicBezTo>
                  <a:cubicBezTo>
                    <a:pt x="3326" y="677"/>
                    <a:pt x="3333" y="682"/>
                    <a:pt x="3340" y="682"/>
                  </a:cubicBezTo>
                  <a:cubicBezTo>
                    <a:pt x="3348" y="682"/>
                    <a:pt x="3352" y="677"/>
                    <a:pt x="3351" y="672"/>
                  </a:cubicBezTo>
                  <a:cubicBezTo>
                    <a:pt x="3349" y="666"/>
                    <a:pt x="3342" y="661"/>
                    <a:pt x="3334" y="661"/>
                  </a:cubicBezTo>
                  <a:cubicBezTo>
                    <a:pt x="3334" y="661"/>
                    <a:pt x="3334" y="661"/>
                    <a:pt x="3334" y="661"/>
                  </a:cubicBezTo>
                  <a:moveTo>
                    <a:pt x="3826" y="661"/>
                  </a:moveTo>
                  <a:cubicBezTo>
                    <a:pt x="3819" y="661"/>
                    <a:pt x="3815" y="666"/>
                    <a:pt x="3818" y="672"/>
                  </a:cubicBezTo>
                  <a:cubicBezTo>
                    <a:pt x="3821" y="677"/>
                    <a:pt x="3829" y="682"/>
                    <a:pt x="3836" y="682"/>
                  </a:cubicBezTo>
                  <a:cubicBezTo>
                    <a:pt x="3843" y="682"/>
                    <a:pt x="3847" y="677"/>
                    <a:pt x="3844" y="672"/>
                  </a:cubicBezTo>
                  <a:cubicBezTo>
                    <a:pt x="3842" y="666"/>
                    <a:pt x="3834" y="661"/>
                    <a:pt x="3826" y="661"/>
                  </a:cubicBezTo>
                  <a:cubicBezTo>
                    <a:pt x="3826" y="661"/>
                    <a:pt x="3826" y="661"/>
                    <a:pt x="3826" y="661"/>
                  </a:cubicBezTo>
                  <a:moveTo>
                    <a:pt x="3372" y="661"/>
                  </a:moveTo>
                  <a:cubicBezTo>
                    <a:pt x="3365" y="661"/>
                    <a:pt x="3360" y="666"/>
                    <a:pt x="3362" y="672"/>
                  </a:cubicBezTo>
                  <a:cubicBezTo>
                    <a:pt x="3363" y="677"/>
                    <a:pt x="3371" y="682"/>
                    <a:pt x="3378" y="682"/>
                  </a:cubicBezTo>
                  <a:cubicBezTo>
                    <a:pt x="3385" y="682"/>
                    <a:pt x="3390" y="677"/>
                    <a:pt x="3388" y="671"/>
                  </a:cubicBezTo>
                  <a:cubicBezTo>
                    <a:pt x="3386" y="666"/>
                    <a:pt x="3379" y="661"/>
                    <a:pt x="3372" y="661"/>
                  </a:cubicBezTo>
                  <a:cubicBezTo>
                    <a:pt x="3372" y="661"/>
                    <a:pt x="3372" y="661"/>
                    <a:pt x="3372" y="661"/>
                  </a:cubicBezTo>
                  <a:moveTo>
                    <a:pt x="3864" y="661"/>
                  </a:moveTo>
                  <a:cubicBezTo>
                    <a:pt x="3857" y="661"/>
                    <a:pt x="3853" y="666"/>
                    <a:pt x="3856" y="671"/>
                  </a:cubicBezTo>
                  <a:cubicBezTo>
                    <a:pt x="3858" y="677"/>
                    <a:pt x="3866" y="682"/>
                    <a:pt x="3874" y="682"/>
                  </a:cubicBezTo>
                  <a:cubicBezTo>
                    <a:pt x="3881" y="682"/>
                    <a:pt x="3885" y="677"/>
                    <a:pt x="3882" y="671"/>
                  </a:cubicBezTo>
                  <a:cubicBezTo>
                    <a:pt x="3879" y="666"/>
                    <a:pt x="3871" y="661"/>
                    <a:pt x="3864" y="661"/>
                  </a:cubicBezTo>
                  <a:cubicBezTo>
                    <a:pt x="3864" y="661"/>
                    <a:pt x="3864" y="661"/>
                    <a:pt x="3864" y="661"/>
                  </a:cubicBezTo>
                  <a:moveTo>
                    <a:pt x="3409" y="661"/>
                  </a:moveTo>
                  <a:cubicBezTo>
                    <a:pt x="3402" y="661"/>
                    <a:pt x="3398" y="666"/>
                    <a:pt x="3400" y="671"/>
                  </a:cubicBezTo>
                  <a:cubicBezTo>
                    <a:pt x="3401" y="677"/>
                    <a:pt x="3409" y="682"/>
                    <a:pt x="3416" y="682"/>
                  </a:cubicBezTo>
                  <a:cubicBezTo>
                    <a:pt x="3423" y="682"/>
                    <a:pt x="3428" y="677"/>
                    <a:pt x="3426" y="671"/>
                  </a:cubicBezTo>
                  <a:cubicBezTo>
                    <a:pt x="3424" y="666"/>
                    <a:pt x="3417" y="661"/>
                    <a:pt x="3410" y="661"/>
                  </a:cubicBezTo>
                  <a:cubicBezTo>
                    <a:pt x="3410" y="661"/>
                    <a:pt x="3410" y="661"/>
                    <a:pt x="3409" y="661"/>
                  </a:cubicBezTo>
                  <a:moveTo>
                    <a:pt x="3901" y="661"/>
                  </a:moveTo>
                  <a:cubicBezTo>
                    <a:pt x="3894" y="661"/>
                    <a:pt x="3891" y="666"/>
                    <a:pt x="3893" y="671"/>
                  </a:cubicBezTo>
                  <a:cubicBezTo>
                    <a:pt x="3896" y="677"/>
                    <a:pt x="3904" y="682"/>
                    <a:pt x="3912" y="681"/>
                  </a:cubicBezTo>
                  <a:cubicBezTo>
                    <a:pt x="3919" y="681"/>
                    <a:pt x="3923" y="677"/>
                    <a:pt x="3920" y="671"/>
                  </a:cubicBezTo>
                  <a:cubicBezTo>
                    <a:pt x="3917" y="665"/>
                    <a:pt x="3909" y="661"/>
                    <a:pt x="3902" y="661"/>
                  </a:cubicBezTo>
                  <a:cubicBezTo>
                    <a:pt x="3902" y="661"/>
                    <a:pt x="3902" y="661"/>
                    <a:pt x="3901" y="661"/>
                  </a:cubicBezTo>
                  <a:moveTo>
                    <a:pt x="3448" y="661"/>
                  </a:moveTo>
                  <a:cubicBezTo>
                    <a:pt x="3440" y="661"/>
                    <a:pt x="3436" y="666"/>
                    <a:pt x="3438" y="671"/>
                  </a:cubicBezTo>
                  <a:cubicBezTo>
                    <a:pt x="3440" y="677"/>
                    <a:pt x="3447" y="681"/>
                    <a:pt x="3454" y="681"/>
                  </a:cubicBezTo>
                  <a:cubicBezTo>
                    <a:pt x="3462" y="681"/>
                    <a:pt x="3466" y="677"/>
                    <a:pt x="3464" y="671"/>
                  </a:cubicBezTo>
                  <a:cubicBezTo>
                    <a:pt x="3462" y="665"/>
                    <a:pt x="3455" y="661"/>
                    <a:pt x="3448" y="661"/>
                  </a:cubicBezTo>
                  <a:cubicBezTo>
                    <a:pt x="3448" y="661"/>
                    <a:pt x="3448" y="661"/>
                    <a:pt x="3448" y="661"/>
                  </a:cubicBezTo>
                  <a:moveTo>
                    <a:pt x="3940" y="661"/>
                  </a:moveTo>
                  <a:cubicBezTo>
                    <a:pt x="3932" y="661"/>
                    <a:pt x="3929" y="665"/>
                    <a:pt x="3932" y="671"/>
                  </a:cubicBezTo>
                  <a:cubicBezTo>
                    <a:pt x="3934" y="677"/>
                    <a:pt x="3943" y="681"/>
                    <a:pt x="3950" y="681"/>
                  </a:cubicBezTo>
                  <a:cubicBezTo>
                    <a:pt x="3957" y="681"/>
                    <a:pt x="3961" y="677"/>
                    <a:pt x="3958" y="671"/>
                  </a:cubicBezTo>
                  <a:cubicBezTo>
                    <a:pt x="3955" y="665"/>
                    <a:pt x="3947" y="661"/>
                    <a:pt x="3940" y="661"/>
                  </a:cubicBezTo>
                  <a:cubicBezTo>
                    <a:pt x="3940" y="661"/>
                    <a:pt x="3940" y="661"/>
                    <a:pt x="3940" y="661"/>
                  </a:cubicBezTo>
                  <a:moveTo>
                    <a:pt x="3485" y="661"/>
                  </a:moveTo>
                  <a:cubicBezTo>
                    <a:pt x="3478" y="661"/>
                    <a:pt x="3473" y="665"/>
                    <a:pt x="3475" y="671"/>
                  </a:cubicBezTo>
                  <a:cubicBezTo>
                    <a:pt x="3477" y="677"/>
                    <a:pt x="3485" y="681"/>
                    <a:pt x="3492" y="681"/>
                  </a:cubicBezTo>
                  <a:cubicBezTo>
                    <a:pt x="3499" y="681"/>
                    <a:pt x="3504" y="676"/>
                    <a:pt x="3502" y="671"/>
                  </a:cubicBezTo>
                  <a:cubicBezTo>
                    <a:pt x="3500" y="665"/>
                    <a:pt x="3492" y="661"/>
                    <a:pt x="3485" y="661"/>
                  </a:cubicBezTo>
                  <a:cubicBezTo>
                    <a:pt x="3485" y="661"/>
                    <a:pt x="3485" y="661"/>
                    <a:pt x="3485" y="661"/>
                  </a:cubicBezTo>
                  <a:moveTo>
                    <a:pt x="3977" y="660"/>
                  </a:moveTo>
                  <a:cubicBezTo>
                    <a:pt x="3970" y="661"/>
                    <a:pt x="3966" y="665"/>
                    <a:pt x="3969" y="671"/>
                  </a:cubicBezTo>
                  <a:cubicBezTo>
                    <a:pt x="3972" y="677"/>
                    <a:pt x="3980" y="681"/>
                    <a:pt x="3988" y="681"/>
                  </a:cubicBezTo>
                  <a:cubicBezTo>
                    <a:pt x="3995" y="681"/>
                    <a:pt x="3998" y="676"/>
                    <a:pt x="3995" y="671"/>
                  </a:cubicBezTo>
                  <a:cubicBezTo>
                    <a:pt x="3992" y="665"/>
                    <a:pt x="3984" y="660"/>
                    <a:pt x="3977" y="660"/>
                  </a:cubicBezTo>
                  <a:cubicBezTo>
                    <a:pt x="3977" y="660"/>
                    <a:pt x="3977" y="660"/>
                    <a:pt x="3977" y="660"/>
                  </a:cubicBezTo>
                  <a:moveTo>
                    <a:pt x="3523" y="660"/>
                  </a:moveTo>
                  <a:cubicBezTo>
                    <a:pt x="3515" y="660"/>
                    <a:pt x="3511" y="665"/>
                    <a:pt x="3513" y="671"/>
                  </a:cubicBezTo>
                  <a:cubicBezTo>
                    <a:pt x="3515" y="676"/>
                    <a:pt x="3523" y="681"/>
                    <a:pt x="3530" y="681"/>
                  </a:cubicBezTo>
                  <a:cubicBezTo>
                    <a:pt x="3537" y="681"/>
                    <a:pt x="3541" y="676"/>
                    <a:pt x="3539" y="671"/>
                  </a:cubicBezTo>
                  <a:cubicBezTo>
                    <a:pt x="3537" y="665"/>
                    <a:pt x="3530" y="660"/>
                    <a:pt x="3523" y="660"/>
                  </a:cubicBezTo>
                  <a:cubicBezTo>
                    <a:pt x="3523" y="660"/>
                    <a:pt x="3523" y="660"/>
                    <a:pt x="3523" y="660"/>
                  </a:cubicBezTo>
                  <a:moveTo>
                    <a:pt x="4013" y="660"/>
                  </a:moveTo>
                  <a:cubicBezTo>
                    <a:pt x="4006" y="660"/>
                    <a:pt x="4003" y="665"/>
                    <a:pt x="4006" y="671"/>
                  </a:cubicBezTo>
                  <a:cubicBezTo>
                    <a:pt x="4009" y="676"/>
                    <a:pt x="4017" y="681"/>
                    <a:pt x="4024" y="681"/>
                  </a:cubicBezTo>
                  <a:cubicBezTo>
                    <a:pt x="4032" y="681"/>
                    <a:pt x="4035" y="676"/>
                    <a:pt x="4032" y="670"/>
                  </a:cubicBezTo>
                  <a:cubicBezTo>
                    <a:pt x="4029" y="665"/>
                    <a:pt x="4021" y="660"/>
                    <a:pt x="4014" y="660"/>
                  </a:cubicBezTo>
                  <a:cubicBezTo>
                    <a:pt x="4014" y="660"/>
                    <a:pt x="4013" y="660"/>
                    <a:pt x="4013" y="660"/>
                  </a:cubicBezTo>
                  <a:moveTo>
                    <a:pt x="3560" y="660"/>
                  </a:moveTo>
                  <a:cubicBezTo>
                    <a:pt x="3553" y="660"/>
                    <a:pt x="3548" y="665"/>
                    <a:pt x="3551" y="671"/>
                  </a:cubicBezTo>
                  <a:cubicBezTo>
                    <a:pt x="3553" y="676"/>
                    <a:pt x="3560" y="681"/>
                    <a:pt x="3568" y="681"/>
                  </a:cubicBezTo>
                  <a:cubicBezTo>
                    <a:pt x="3575" y="681"/>
                    <a:pt x="3579" y="676"/>
                    <a:pt x="3577" y="670"/>
                  </a:cubicBezTo>
                  <a:cubicBezTo>
                    <a:pt x="3575" y="665"/>
                    <a:pt x="3567" y="660"/>
                    <a:pt x="3560" y="660"/>
                  </a:cubicBezTo>
                  <a:cubicBezTo>
                    <a:pt x="3560" y="660"/>
                    <a:pt x="3560" y="660"/>
                    <a:pt x="3560" y="660"/>
                  </a:cubicBezTo>
                  <a:moveTo>
                    <a:pt x="3598" y="660"/>
                  </a:moveTo>
                  <a:cubicBezTo>
                    <a:pt x="3590" y="660"/>
                    <a:pt x="3586" y="665"/>
                    <a:pt x="3588" y="670"/>
                  </a:cubicBezTo>
                  <a:cubicBezTo>
                    <a:pt x="3591" y="676"/>
                    <a:pt x="3598" y="681"/>
                    <a:pt x="3606" y="681"/>
                  </a:cubicBezTo>
                  <a:cubicBezTo>
                    <a:pt x="3613" y="681"/>
                    <a:pt x="3617" y="676"/>
                    <a:pt x="3615" y="670"/>
                  </a:cubicBezTo>
                  <a:cubicBezTo>
                    <a:pt x="3613" y="665"/>
                    <a:pt x="3605" y="660"/>
                    <a:pt x="3598" y="660"/>
                  </a:cubicBezTo>
                  <a:cubicBezTo>
                    <a:pt x="3598" y="660"/>
                    <a:pt x="3598" y="660"/>
                    <a:pt x="3598" y="660"/>
                  </a:cubicBezTo>
                  <a:moveTo>
                    <a:pt x="3636" y="660"/>
                  </a:moveTo>
                  <a:cubicBezTo>
                    <a:pt x="3628" y="660"/>
                    <a:pt x="3624" y="664"/>
                    <a:pt x="3626" y="670"/>
                  </a:cubicBezTo>
                  <a:cubicBezTo>
                    <a:pt x="3629" y="676"/>
                    <a:pt x="3637" y="680"/>
                    <a:pt x="3644" y="680"/>
                  </a:cubicBezTo>
                  <a:cubicBezTo>
                    <a:pt x="3651" y="680"/>
                    <a:pt x="3655" y="676"/>
                    <a:pt x="3653" y="670"/>
                  </a:cubicBezTo>
                  <a:cubicBezTo>
                    <a:pt x="3651" y="664"/>
                    <a:pt x="3643" y="660"/>
                    <a:pt x="3636" y="660"/>
                  </a:cubicBezTo>
                  <a:cubicBezTo>
                    <a:pt x="3636" y="660"/>
                    <a:pt x="3636" y="660"/>
                    <a:pt x="3636" y="660"/>
                  </a:cubicBezTo>
                  <a:moveTo>
                    <a:pt x="75" y="652"/>
                  </a:moveTo>
                  <a:cubicBezTo>
                    <a:pt x="68" y="652"/>
                    <a:pt x="58" y="656"/>
                    <a:pt x="53" y="662"/>
                  </a:cubicBezTo>
                  <a:cubicBezTo>
                    <a:pt x="48" y="668"/>
                    <a:pt x="50" y="672"/>
                    <a:pt x="58" y="672"/>
                  </a:cubicBezTo>
                  <a:cubicBezTo>
                    <a:pt x="65" y="672"/>
                    <a:pt x="75" y="667"/>
                    <a:pt x="80" y="662"/>
                  </a:cubicBezTo>
                  <a:cubicBezTo>
                    <a:pt x="84" y="656"/>
                    <a:pt x="82" y="652"/>
                    <a:pt x="75" y="652"/>
                  </a:cubicBezTo>
                  <a:cubicBezTo>
                    <a:pt x="75" y="652"/>
                    <a:pt x="75" y="652"/>
                    <a:pt x="75" y="652"/>
                  </a:cubicBezTo>
                  <a:moveTo>
                    <a:pt x="114" y="652"/>
                  </a:moveTo>
                  <a:cubicBezTo>
                    <a:pt x="107" y="652"/>
                    <a:pt x="97" y="656"/>
                    <a:pt x="92" y="662"/>
                  </a:cubicBezTo>
                  <a:cubicBezTo>
                    <a:pt x="88" y="667"/>
                    <a:pt x="90" y="672"/>
                    <a:pt x="97" y="672"/>
                  </a:cubicBezTo>
                  <a:cubicBezTo>
                    <a:pt x="104" y="672"/>
                    <a:pt x="114" y="667"/>
                    <a:pt x="119" y="662"/>
                  </a:cubicBezTo>
                  <a:cubicBezTo>
                    <a:pt x="123" y="656"/>
                    <a:pt x="121" y="652"/>
                    <a:pt x="114" y="652"/>
                  </a:cubicBezTo>
                  <a:cubicBezTo>
                    <a:pt x="114" y="652"/>
                    <a:pt x="114" y="652"/>
                    <a:pt x="114" y="652"/>
                  </a:cubicBezTo>
                  <a:moveTo>
                    <a:pt x="151" y="651"/>
                  </a:moveTo>
                  <a:cubicBezTo>
                    <a:pt x="144" y="651"/>
                    <a:pt x="135" y="656"/>
                    <a:pt x="130" y="662"/>
                  </a:cubicBezTo>
                  <a:cubicBezTo>
                    <a:pt x="125" y="667"/>
                    <a:pt x="127" y="672"/>
                    <a:pt x="135" y="672"/>
                  </a:cubicBezTo>
                  <a:cubicBezTo>
                    <a:pt x="142" y="672"/>
                    <a:pt x="152" y="667"/>
                    <a:pt x="156" y="661"/>
                  </a:cubicBezTo>
                  <a:cubicBezTo>
                    <a:pt x="161" y="656"/>
                    <a:pt x="159" y="651"/>
                    <a:pt x="152" y="651"/>
                  </a:cubicBezTo>
                  <a:cubicBezTo>
                    <a:pt x="152" y="651"/>
                    <a:pt x="151" y="651"/>
                    <a:pt x="151" y="651"/>
                  </a:cubicBezTo>
                  <a:moveTo>
                    <a:pt x="189" y="651"/>
                  </a:moveTo>
                  <a:cubicBezTo>
                    <a:pt x="181" y="651"/>
                    <a:pt x="172" y="656"/>
                    <a:pt x="167" y="661"/>
                  </a:cubicBezTo>
                  <a:cubicBezTo>
                    <a:pt x="163" y="667"/>
                    <a:pt x="165" y="671"/>
                    <a:pt x="172" y="671"/>
                  </a:cubicBezTo>
                  <a:cubicBezTo>
                    <a:pt x="179" y="671"/>
                    <a:pt x="189" y="667"/>
                    <a:pt x="194" y="661"/>
                  </a:cubicBezTo>
                  <a:cubicBezTo>
                    <a:pt x="198" y="656"/>
                    <a:pt x="196" y="651"/>
                    <a:pt x="189" y="651"/>
                  </a:cubicBezTo>
                  <a:cubicBezTo>
                    <a:pt x="189" y="651"/>
                    <a:pt x="189" y="651"/>
                    <a:pt x="189" y="651"/>
                  </a:cubicBezTo>
                  <a:moveTo>
                    <a:pt x="226" y="651"/>
                  </a:moveTo>
                  <a:cubicBezTo>
                    <a:pt x="219" y="651"/>
                    <a:pt x="209" y="656"/>
                    <a:pt x="205" y="661"/>
                  </a:cubicBezTo>
                  <a:cubicBezTo>
                    <a:pt x="200" y="667"/>
                    <a:pt x="203" y="671"/>
                    <a:pt x="210" y="671"/>
                  </a:cubicBezTo>
                  <a:cubicBezTo>
                    <a:pt x="217" y="671"/>
                    <a:pt x="227" y="667"/>
                    <a:pt x="231" y="661"/>
                  </a:cubicBezTo>
                  <a:cubicBezTo>
                    <a:pt x="236" y="655"/>
                    <a:pt x="233" y="651"/>
                    <a:pt x="226" y="651"/>
                  </a:cubicBezTo>
                  <a:cubicBezTo>
                    <a:pt x="226" y="651"/>
                    <a:pt x="226" y="651"/>
                    <a:pt x="226" y="651"/>
                  </a:cubicBezTo>
                  <a:moveTo>
                    <a:pt x="263" y="651"/>
                  </a:moveTo>
                  <a:cubicBezTo>
                    <a:pt x="256" y="651"/>
                    <a:pt x="247" y="655"/>
                    <a:pt x="242" y="661"/>
                  </a:cubicBezTo>
                  <a:cubicBezTo>
                    <a:pt x="238" y="666"/>
                    <a:pt x="240" y="671"/>
                    <a:pt x="247" y="671"/>
                  </a:cubicBezTo>
                  <a:cubicBezTo>
                    <a:pt x="255" y="671"/>
                    <a:pt x="264" y="666"/>
                    <a:pt x="268" y="661"/>
                  </a:cubicBezTo>
                  <a:cubicBezTo>
                    <a:pt x="273" y="655"/>
                    <a:pt x="271" y="651"/>
                    <a:pt x="263" y="651"/>
                  </a:cubicBezTo>
                  <a:cubicBezTo>
                    <a:pt x="263" y="651"/>
                    <a:pt x="263" y="651"/>
                    <a:pt x="263" y="651"/>
                  </a:cubicBezTo>
                  <a:moveTo>
                    <a:pt x="301" y="650"/>
                  </a:moveTo>
                  <a:cubicBezTo>
                    <a:pt x="294" y="651"/>
                    <a:pt x="284" y="655"/>
                    <a:pt x="280" y="661"/>
                  </a:cubicBezTo>
                  <a:cubicBezTo>
                    <a:pt x="275" y="666"/>
                    <a:pt x="278" y="671"/>
                    <a:pt x="285" y="671"/>
                  </a:cubicBezTo>
                  <a:cubicBezTo>
                    <a:pt x="292" y="671"/>
                    <a:pt x="302" y="666"/>
                    <a:pt x="306" y="661"/>
                  </a:cubicBezTo>
                  <a:cubicBezTo>
                    <a:pt x="310" y="655"/>
                    <a:pt x="308" y="650"/>
                    <a:pt x="301" y="650"/>
                  </a:cubicBezTo>
                  <a:cubicBezTo>
                    <a:pt x="301" y="650"/>
                    <a:pt x="301" y="650"/>
                    <a:pt x="301" y="650"/>
                  </a:cubicBezTo>
                  <a:moveTo>
                    <a:pt x="339" y="650"/>
                  </a:moveTo>
                  <a:cubicBezTo>
                    <a:pt x="332" y="650"/>
                    <a:pt x="323" y="655"/>
                    <a:pt x="319" y="660"/>
                  </a:cubicBezTo>
                  <a:cubicBezTo>
                    <a:pt x="314" y="666"/>
                    <a:pt x="317" y="671"/>
                    <a:pt x="324" y="671"/>
                  </a:cubicBezTo>
                  <a:cubicBezTo>
                    <a:pt x="331" y="670"/>
                    <a:pt x="341" y="666"/>
                    <a:pt x="345" y="660"/>
                  </a:cubicBezTo>
                  <a:cubicBezTo>
                    <a:pt x="349" y="655"/>
                    <a:pt x="347" y="650"/>
                    <a:pt x="340" y="650"/>
                  </a:cubicBezTo>
                  <a:cubicBezTo>
                    <a:pt x="340" y="650"/>
                    <a:pt x="340" y="650"/>
                    <a:pt x="339" y="650"/>
                  </a:cubicBezTo>
                  <a:moveTo>
                    <a:pt x="377" y="650"/>
                  </a:moveTo>
                  <a:cubicBezTo>
                    <a:pt x="369" y="650"/>
                    <a:pt x="360" y="655"/>
                    <a:pt x="356" y="660"/>
                  </a:cubicBezTo>
                  <a:cubicBezTo>
                    <a:pt x="352" y="666"/>
                    <a:pt x="354" y="670"/>
                    <a:pt x="362" y="670"/>
                  </a:cubicBezTo>
                  <a:cubicBezTo>
                    <a:pt x="369" y="670"/>
                    <a:pt x="378" y="666"/>
                    <a:pt x="382" y="660"/>
                  </a:cubicBezTo>
                  <a:cubicBezTo>
                    <a:pt x="386" y="655"/>
                    <a:pt x="384" y="650"/>
                    <a:pt x="377" y="650"/>
                  </a:cubicBezTo>
                  <a:cubicBezTo>
                    <a:pt x="377" y="650"/>
                    <a:pt x="377" y="650"/>
                    <a:pt x="377" y="650"/>
                  </a:cubicBezTo>
                  <a:moveTo>
                    <a:pt x="414" y="650"/>
                  </a:moveTo>
                  <a:cubicBezTo>
                    <a:pt x="407" y="650"/>
                    <a:pt x="398" y="654"/>
                    <a:pt x="394" y="660"/>
                  </a:cubicBezTo>
                  <a:cubicBezTo>
                    <a:pt x="390" y="666"/>
                    <a:pt x="392" y="670"/>
                    <a:pt x="399" y="670"/>
                  </a:cubicBezTo>
                  <a:cubicBezTo>
                    <a:pt x="407" y="670"/>
                    <a:pt x="416" y="666"/>
                    <a:pt x="420" y="660"/>
                  </a:cubicBezTo>
                  <a:cubicBezTo>
                    <a:pt x="424" y="654"/>
                    <a:pt x="422" y="650"/>
                    <a:pt x="414" y="650"/>
                  </a:cubicBezTo>
                  <a:cubicBezTo>
                    <a:pt x="414" y="650"/>
                    <a:pt x="414" y="650"/>
                    <a:pt x="414" y="650"/>
                  </a:cubicBezTo>
                  <a:moveTo>
                    <a:pt x="452" y="650"/>
                  </a:moveTo>
                  <a:cubicBezTo>
                    <a:pt x="445" y="650"/>
                    <a:pt x="436" y="654"/>
                    <a:pt x="432" y="660"/>
                  </a:cubicBezTo>
                  <a:cubicBezTo>
                    <a:pt x="428" y="665"/>
                    <a:pt x="430" y="670"/>
                    <a:pt x="438" y="670"/>
                  </a:cubicBezTo>
                  <a:cubicBezTo>
                    <a:pt x="445" y="670"/>
                    <a:pt x="454" y="665"/>
                    <a:pt x="458" y="660"/>
                  </a:cubicBezTo>
                  <a:cubicBezTo>
                    <a:pt x="462" y="654"/>
                    <a:pt x="459" y="650"/>
                    <a:pt x="452" y="650"/>
                  </a:cubicBezTo>
                  <a:cubicBezTo>
                    <a:pt x="452" y="650"/>
                    <a:pt x="452" y="650"/>
                    <a:pt x="452" y="650"/>
                  </a:cubicBezTo>
                  <a:moveTo>
                    <a:pt x="489" y="649"/>
                  </a:moveTo>
                  <a:cubicBezTo>
                    <a:pt x="482" y="649"/>
                    <a:pt x="473" y="654"/>
                    <a:pt x="469" y="660"/>
                  </a:cubicBezTo>
                  <a:cubicBezTo>
                    <a:pt x="465" y="665"/>
                    <a:pt x="468" y="670"/>
                    <a:pt x="475" y="670"/>
                  </a:cubicBezTo>
                  <a:cubicBezTo>
                    <a:pt x="482" y="670"/>
                    <a:pt x="491" y="665"/>
                    <a:pt x="495" y="659"/>
                  </a:cubicBezTo>
                  <a:cubicBezTo>
                    <a:pt x="499" y="654"/>
                    <a:pt x="497" y="649"/>
                    <a:pt x="489" y="649"/>
                  </a:cubicBezTo>
                  <a:cubicBezTo>
                    <a:pt x="489" y="649"/>
                    <a:pt x="489" y="649"/>
                    <a:pt x="489" y="649"/>
                  </a:cubicBezTo>
                  <a:moveTo>
                    <a:pt x="527" y="649"/>
                  </a:moveTo>
                  <a:cubicBezTo>
                    <a:pt x="520" y="649"/>
                    <a:pt x="511" y="654"/>
                    <a:pt x="507" y="659"/>
                  </a:cubicBezTo>
                  <a:cubicBezTo>
                    <a:pt x="503" y="665"/>
                    <a:pt x="505" y="670"/>
                    <a:pt x="513" y="669"/>
                  </a:cubicBezTo>
                  <a:cubicBezTo>
                    <a:pt x="520" y="669"/>
                    <a:pt x="529" y="665"/>
                    <a:pt x="533" y="659"/>
                  </a:cubicBezTo>
                  <a:cubicBezTo>
                    <a:pt x="537" y="654"/>
                    <a:pt x="534" y="649"/>
                    <a:pt x="527" y="649"/>
                  </a:cubicBezTo>
                  <a:cubicBezTo>
                    <a:pt x="527" y="649"/>
                    <a:pt x="527" y="649"/>
                    <a:pt x="527" y="649"/>
                  </a:cubicBezTo>
                  <a:moveTo>
                    <a:pt x="564" y="649"/>
                  </a:moveTo>
                  <a:cubicBezTo>
                    <a:pt x="557" y="649"/>
                    <a:pt x="548" y="654"/>
                    <a:pt x="544" y="659"/>
                  </a:cubicBezTo>
                  <a:cubicBezTo>
                    <a:pt x="540" y="665"/>
                    <a:pt x="543" y="669"/>
                    <a:pt x="550" y="669"/>
                  </a:cubicBezTo>
                  <a:cubicBezTo>
                    <a:pt x="558" y="669"/>
                    <a:pt x="567" y="665"/>
                    <a:pt x="570" y="659"/>
                  </a:cubicBezTo>
                  <a:cubicBezTo>
                    <a:pt x="574" y="653"/>
                    <a:pt x="571" y="649"/>
                    <a:pt x="564" y="649"/>
                  </a:cubicBezTo>
                  <a:cubicBezTo>
                    <a:pt x="564" y="649"/>
                    <a:pt x="564" y="649"/>
                    <a:pt x="564" y="649"/>
                  </a:cubicBezTo>
                  <a:moveTo>
                    <a:pt x="602" y="649"/>
                  </a:moveTo>
                  <a:cubicBezTo>
                    <a:pt x="594" y="649"/>
                    <a:pt x="585" y="653"/>
                    <a:pt x="582" y="659"/>
                  </a:cubicBezTo>
                  <a:cubicBezTo>
                    <a:pt x="578" y="665"/>
                    <a:pt x="581" y="669"/>
                    <a:pt x="588" y="669"/>
                  </a:cubicBezTo>
                  <a:cubicBezTo>
                    <a:pt x="595" y="669"/>
                    <a:pt x="604" y="664"/>
                    <a:pt x="608" y="659"/>
                  </a:cubicBezTo>
                  <a:cubicBezTo>
                    <a:pt x="612" y="653"/>
                    <a:pt x="609" y="649"/>
                    <a:pt x="602" y="649"/>
                  </a:cubicBezTo>
                  <a:cubicBezTo>
                    <a:pt x="602" y="649"/>
                    <a:pt x="602" y="649"/>
                    <a:pt x="602" y="649"/>
                  </a:cubicBezTo>
                  <a:moveTo>
                    <a:pt x="639" y="649"/>
                  </a:moveTo>
                  <a:cubicBezTo>
                    <a:pt x="632" y="649"/>
                    <a:pt x="623" y="653"/>
                    <a:pt x="620" y="659"/>
                  </a:cubicBezTo>
                  <a:cubicBezTo>
                    <a:pt x="616" y="664"/>
                    <a:pt x="619" y="669"/>
                    <a:pt x="626" y="669"/>
                  </a:cubicBezTo>
                  <a:cubicBezTo>
                    <a:pt x="634" y="669"/>
                    <a:pt x="642" y="664"/>
                    <a:pt x="646" y="659"/>
                  </a:cubicBezTo>
                  <a:cubicBezTo>
                    <a:pt x="650" y="653"/>
                    <a:pt x="647" y="649"/>
                    <a:pt x="640" y="649"/>
                  </a:cubicBezTo>
                  <a:cubicBezTo>
                    <a:pt x="639" y="649"/>
                    <a:pt x="639" y="649"/>
                    <a:pt x="639" y="649"/>
                  </a:cubicBezTo>
                  <a:moveTo>
                    <a:pt x="677" y="648"/>
                  </a:moveTo>
                  <a:cubicBezTo>
                    <a:pt x="669" y="648"/>
                    <a:pt x="661" y="653"/>
                    <a:pt x="657" y="659"/>
                  </a:cubicBezTo>
                  <a:cubicBezTo>
                    <a:pt x="653" y="664"/>
                    <a:pt x="656" y="669"/>
                    <a:pt x="664" y="669"/>
                  </a:cubicBezTo>
                  <a:cubicBezTo>
                    <a:pt x="671" y="669"/>
                    <a:pt x="680" y="664"/>
                    <a:pt x="683" y="658"/>
                  </a:cubicBezTo>
                  <a:cubicBezTo>
                    <a:pt x="687" y="653"/>
                    <a:pt x="684" y="648"/>
                    <a:pt x="677" y="648"/>
                  </a:cubicBezTo>
                  <a:cubicBezTo>
                    <a:pt x="677" y="648"/>
                    <a:pt x="677" y="648"/>
                    <a:pt x="677" y="648"/>
                  </a:cubicBezTo>
                  <a:moveTo>
                    <a:pt x="714" y="648"/>
                  </a:moveTo>
                  <a:cubicBezTo>
                    <a:pt x="707" y="648"/>
                    <a:pt x="698" y="653"/>
                    <a:pt x="695" y="658"/>
                  </a:cubicBezTo>
                  <a:cubicBezTo>
                    <a:pt x="691" y="664"/>
                    <a:pt x="694" y="668"/>
                    <a:pt x="701" y="668"/>
                  </a:cubicBezTo>
                  <a:cubicBezTo>
                    <a:pt x="709" y="668"/>
                    <a:pt x="717" y="664"/>
                    <a:pt x="721" y="658"/>
                  </a:cubicBezTo>
                  <a:cubicBezTo>
                    <a:pt x="724" y="653"/>
                    <a:pt x="721" y="648"/>
                    <a:pt x="714" y="648"/>
                  </a:cubicBezTo>
                  <a:cubicBezTo>
                    <a:pt x="714" y="648"/>
                    <a:pt x="714" y="648"/>
                    <a:pt x="714" y="648"/>
                  </a:cubicBezTo>
                  <a:moveTo>
                    <a:pt x="1909" y="640"/>
                  </a:moveTo>
                  <a:cubicBezTo>
                    <a:pt x="1902" y="640"/>
                    <a:pt x="1895" y="644"/>
                    <a:pt x="1894" y="650"/>
                  </a:cubicBezTo>
                  <a:cubicBezTo>
                    <a:pt x="1893" y="656"/>
                    <a:pt x="1898" y="660"/>
                    <a:pt x="1905" y="660"/>
                  </a:cubicBezTo>
                  <a:cubicBezTo>
                    <a:pt x="1912" y="660"/>
                    <a:pt x="1919" y="656"/>
                    <a:pt x="1920" y="650"/>
                  </a:cubicBezTo>
                  <a:cubicBezTo>
                    <a:pt x="1921" y="644"/>
                    <a:pt x="1916" y="640"/>
                    <a:pt x="1909" y="640"/>
                  </a:cubicBezTo>
                  <a:cubicBezTo>
                    <a:pt x="1909" y="640"/>
                    <a:pt x="1909" y="640"/>
                    <a:pt x="1909" y="640"/>
                  </a:cubicBezTo>
                  <a:moveTo>
                    <a:pt x="1946" y="640"/>
                  </a:moveTo>
                  <a:cubicBezTo>
                    <a:pt x="1939" y="640"/>
                    <a:pt x="1932" y="644"/>
                    <a:pt x="1931" y="650"/>
                  </a:cubicBezTo>
                  <a:cubicBezTo>
                    <a:pt x="1930" y="655"/>
                    <a:pt x="1935" y="660"/>
                    <a:pt x="1942" y="660"/>
                  </a:cubicBezTo>
                  <a:cubicBezTo>
                    <a:pt x="1949" y="660"/>
                    <a:pt x="1956" y="655"/>
                    <a:pt x="1957" y="650"/>
                  </a:cubicBezTo>
                  <a:cubicBezTo>
                    <a:pt x="1958" y="644"/>
                    <a:pt x="1953" y="640"/>
                    <a:pt x="1946" y="640"/>
                  </a:cubicBezTo>
                  <a:cubicBezTo>
                    <a:pt x="1946" y="640"/>
                    <a:pt x="1946" y="640"/>
                    <a:pt x="1946" y="640"/>
                  </a:cubicBezTo>
                  <a:moveTo>
                    <a:pt x="1983" y="639"/>
                  </a:moveTo>
                  <a:cubicBezTo>
                    <a:pt x="1976" y="639"/>
                    <a:pt x="1969" y="644"/>
                    <a:pt x="1968" y="650"/>
                  </a:cubicBezTo>
                  <a:cubicBezTo>
                    <a:pt x="1967" y="655"/>
                    <a:pt x="1972" y="660"/>
                    <a:pt x="1980" y="660"/>
                  </a:cubicBezTo>
                  <a:cubicBezTo>
                    <a:pt x="1987" y="660"/>
                    <a:pt x="1994" y="655"/>
                    <a:pt x="1995" y="649"/>
                  </a:cubicBezTo>
                  <a:cubicBezTo>
                    <a:pt x="1996" y="644"/>
                    <a:pt x="1991" y="639"/>
                    <a:pt x="1983" y="639"/>
                  </a:cubicBezTo>
                  <a:cubicBezTo>
                    <a:pt x="1983" y="639"/>
                    <a:pt x="1983" y="639"/>
                    <a:pt x="1983" y="639"/>
                  </a:cubicBezTo>
                  <a:moveTo>
                    <a:pt x="2020" y="639"/>
                  </a:moveTo>
                  <a:cubicBezTo>
                    <a:pt x="2013" y="639"/>
                    <a:pt x="2007" y="644"/>
                    <a:pt x="2006" y="649"/>
                  </a:cubicBezTo>
                  <a:cubicBezTo>
                    <a:pt x="2005" y="655"/>
                    <a:pt x="2010" y="660"/>
                    <a:pt x="2017" y="660"/>
                  </a:cubicBezTo>
                  <a:cubicBezTo>
                    <a:pt x="2024" y="659"/>
                    <a:pt x="2031" y="655"/>
                    <a:pt x="2032" y="649"/>
                  </a:cubicBezTo>
                  <a:cubicBezTo>
                    <a:pt x="2033" y="644"/>
                    <a:pt x="2028" y="639"/>
                    <a:pt x="2021" y="639"/>
                  </a:cubicBezTo>
                  <a:cubicBezTo>
                    <a:pt x="2021" y="639"/>
                    <a:pt x="2020" y="639"/>
                    <a:pt x="2020" y="639"/>
                  </a:cubicBezTo>
                  <a:moveTo>
                    <a:pt x="2058" y="639"/>
                  </a:moveTo>
                  <a:cubicBezTo>
                    <a:pt x="2051" y="639"/>
                    <a:pt x="2044" y="644"/>
                    <a:pt x="2043" y="649"/>
                  </a:cubicBezTo>
                  <a:cubicBezTo>
                    <a:pt x="2042" y="655"/>
                    <a:pt x="2048" y="659"/>
                    <a:pt x="2055" y="659"/>
                  </a:cubicBezTo>
                  <a:cubicBezTo>
                    <a:pt x="2062" y="659"/>
                    <a:pt x="2069" y="655"/>
                    <a:pt x="2069" y="649"/>
                  </a:cubicBezTo>
                  <a:cubicBezTo>
                    <a:pt x="2070" y="643"/>
                    <a:pt x="2065" y="639"/>
                    <a:pt x="2058" y="639"/>
                  </a:cubicBezTo>
                  <a:cubicBezTo>
                    <a:pt x="2058" y="639"/>
                    <a:pt x="2058" y="639"/>
                    <a:pt x="2058" y="639"/>
                  </a:cubicBezTo>
                  <a:moveTo>
                    <a:pt x="2096" y="639"/>
                  </a:moveTo>
                  <a:cubicBezTo>
                    <a:pt x="2089" y="639"/>
                    <a:pt x="2083" y="643"/>
                    <a:pt x="2082" y="649"/>
                  </a:cubicBezTo>
                  <a:cubicBezTo>
                    <a:pt x="2081" y="655"/>
                    <a:pt x="2086" y="659"/>
                    <a:pt x="2094" y="659"/>
                  </a:cubicBezTo>
                  <a:cubicBezTo>
                    <a:pt x="2101" y="659"/>
                    <a:pt x="2107" y="654"/>
                    <a:pt x="2108" y="649"/>
                  </a:cubicBezTo>
                  <a:cubicBezTo>
                    <a:pt x="2109" y="643"/>
                    <a:pt x="2104" y="639"/>
                    <a:pt x="2096" y="639"/>
                  </a:cubicBezTo>
                  <a:cubicBezTo>
                    <a:pt x="2096" y="639"/>
                    <a:pt x="2096" y="639"/>
                    <a:pt x="2096" y="639"/>
                  </a:cubicBezTo>
                  <a:moveTo>
                    <a:pt x="2133" y="638"/>
                  </a:moveTo>
                  <a:cubicBezTo>
                    <a:pt x="2126" y="639"/>
                    <a:pt x="2120" y="643"/>
                    <a:pt x="2119" y="649"/>
                  </a:cubicBezTo>
                  <a:cubicBezTo>
                    <a:pt x="2118" y="654"/>
                    <a:pt x="2124" y="659"/>
                    <a:pt x="2131" y="659"/>
                  </a:cubicBezTo>
                  <a:cubicBezTo>
                    <a:pt x="2138" y="659"/>
                    <a:pt x="2145" y="654"/>
                    <a:pt x="2145" y="649"/>
                  </a:cubicBezTo>
                  <a:cubicBezTo>
                    <a:pt x="2146" y="643"/>
                    <a:pt x="2141" y="638"/>
                    <a:pt x="2134" y="638"/>
                  </a:cubicBezTo>
                  <a:cubicBezTo>
                    <a:pt x="2134" y="638"/>
                    <a:pt x="2134" y="638"/>
                    <a:pt x="2133" y="638"/>
                  </a:cubicBezTo>
                  <a:moveTo>
                    <a:pt x="2171" y="638"/>
                  </a:moveTo>
                  <a:cubicBezTo>
                    <a:pt x="2164" y="638"/>
                    <a:pt x="2157" y="643"/>
                    <a:pt x="2157" y="649"/>
                  </a:cubicBezTo>
                  <a:cubicBezTo>
                    <a:pt x="2156" y="654"/>
                    <a:pt x="2161" y="659"/>
                    <a:pt x="2169" y="659"/>
                  </a:cubicBezTo>
                  <a:cubicBezTo>
                    <a:pt x="2176" y="659"/>
                    <a:pt x="2182" y="654"/>
                    <a:pt x="2183" y="648"/>
                  </a:cubicBezTo>
                  <a:cubicBezTo>
                    <a:pt x="2183" y="643"/>
                    <a:pt x="2178" y="638"/>
                    <a:pt x="2171" y="638"/>
                  </a:cubicBezTo>
                  <a:cubicBezTo>
                    <a:pt x="2171" y="638"/>
                    <a:pt x="2171" y="638"/>
                    <a:pt x="2171" y="638"/>
                  </a:cubicBezTo>
                  <a:moveTo>
                    <a:pt x="2805" y="636"/>
                  </a:moveTo>
                  <a:cubicBezTo>
                    <a:pt x="2798" y="636"/>
                    <a:pt x="2793" y="641"/>
                    <a:pt x="2793" y="647"/>
                  </a:cubicBezTo>
                  <a:cubicBezTo>
                    <a:pt x="2794" y="652"/>
                    <a:pt x="2800" y="657"/>
                    <a:pt x="2808" y="657"/>
                  </a:cubicBezTo>
                  <a:cubicBezTo>
                    <a:pt x="2815" y="657"/>
                    <a:pt x="2820" y="652"/>
                    <a:pt x="2820" y="646"/>
                  </a:cubicBezTo>
                  <a:cubicBezTo>
                    <a:pt x="2819" y="641"/>
                    <a:pt x="2813" y="636"/>
                    <a:pt x="2806" y="636"/>
                  </a:cubicBezTo>
                  <a:cubicBezTo>
                    <a:pt x="2805" y="636"/>
                    <a:pt x="2805" y="636"/>
                    <a:pt x="2805" y="636"/>
                  </a:cubicBezTo>
                  <a:moveTo>
                    <a:pt x="2841" y="636"/>
                  </a:moveTo>
                  <a:cubicBezTo>
                    <a:pt x="2833" y="636"/>
                    <a:pt x="2828" y="641"/>
                    <a:pt x="2829" y="646"/>
                  </a:cubicBezTo>
                  <a:cubicBezTo>
                    <a:pt x="2829" y="652"/>
                    <a:pt x="2836" y="657"/>
                    <a:pt x="2843" y="657"/>
                  </a:cubicBezTo>
                  <a:cubicBezTo>
                    <a:pt x="2850" y="657"/>
                    <a:pt x="2856" y="652"/>
                    <a:pt x="2855" y="646"/>
                  </a:cubicBezTo>
                  <a:cubicBezTo>
                    <a:pt x="2854" y="641"/>
                    <a:pt x="2848" y="636"/>
                    <a:pt x="2841" y="636"/>
                  </a:cubicBezTo>
                  <a:cubicBezTo>
                    <a:pt x="2841" y="636"/>
                    <a:pt x="2841" y="636"/>
                    <a:pt x="2841" y="636"/>
                  </a:cubicBezTo>
                  <a:moveTo>
                    <a:pt x="2878" y="636"/>
                  </a:moveTo>
                  <a:cubicBezTo>
                    <a:pt x="2870" y="636"/>
                    <a:pt x="2865" y="641"/>
                    <a:pt x="2866" y="646"/>
                  </a:cubicBezTo>
                  <a:cubicBezTo>
                    <a:pt x="2867" y="652"/>
                    <a:pt x="2873" y="656"/>
                    <a:pt x="2880" y="656"/>
                  </a:cubicBezTo>
                  <a:cubicBezTo>
                    <a:pt x="2888" y="656"/>
                    <a:pt x="2893" y="652"/>
                    <a:pt x="2892" y="646"/>
                  </a:cubicBezTo>
                  <a:cubicBezTo>
                    <a:pt x="2891" y="640"/>
                    <a:pt x="2885" y="636"/>
                    <a:pt x="2878" y="636"/>
                  </a:cubicBezTo>
                  <a:cubicBezTo>
                    <a:pt x="2878" y="636"/>
                    <a:pt x="2878" y="636"/>
                    <a:pt x="2878" y="636"/>
                  </a:cubicBezTo>
                  <a:moveTo>
                    <a:pt x="2915" y="636"/>
                  </a:moveTo>
                  <a:cubicBezTo>
                    <a:pt x="2908" y="636"/>
                    <a:pt x="2903" y="640"/>
                    <a:pt x="2903" y="646"/>
                  </a:cubicBezTo>
                  <a:cubicBezTo>
                    <a:pt x="2904" y="652"/>
                    <a:pt x="2911" y="656"/>
                    <a:pt x="2918" y="656"/>
                  </a:cubicBezTo>
                  <a:cubicBezTo>
                    <a:pt x="2925" y="656"/>
                    <a:pt x="2930" y="652"/>
                    <a:pt x="2930" y="646"/>
                  </a:cubicBezTo>
                  <a:cubicBezTo>
                    <a:pt x="2929" y="640"/>
                    <a:pt x="2922" y="636"/>
                    <a:pt x="2915" y="636"/>
                  </a:cubicBezTo>
                  <a:cubicBezTo>
                    <a:pt x="2915" y="636"/>
                    <a:pt x="2915" y="636"/>
                    <a:pt x="2915" y="636"/>
                  </a:cubicBezTo>
                  <a:moveTo>
                    <a:pt x="2953" y="635"/>
                  </a:moveTo>
                  <a:cubicBezTo>
                    <a:pt x="2945" y="635"/>
                    <a:pt x="2940" y="640"/>
                    <a:pt x="2941" y="646"/>
                  </a:cubicBezTo>
                  <a:cubicBezTo>
                    <a:pt x="2942" y="651"/>
                    <a:pt x="2949" y="656"/>
                    <a:pt x="2956" y="656"/>
                  </a:cubicBezTo>
                  <a:cubicBezTo>
                    <a:pt x="2963" y="656"/>
                    <a:pt x="2968" y="651"/>
                    <a:pt x="2967" y="646"/>
                  </a:cubicBezTo>
                  <a:cubicBezTo>
                    <a:pt x="2966" y="640"/>
                    <a:pt x="2960" y="635"/>
                    <a:pt x="2953" y="635"/>
                  </a:cubicBezTo>
                  <a:cubicBezTo>
                    <a:pt x="2953" y="635"/>
                    <a:pt x="2953" y="635"/>
                    <a:pt x="2953" y="635"/>
                  </a:cubicBezTo>
                  <a:moveTo>
                    <a:pt x="2990" y="635"/>
                  </a:moveTo>
                  <a:cubicBezTo>
                    <a:pt x="2982" y="635"/>
                    <a:pt x="2977" y="640"/>
                    <a:pt x="2978" y="646"/>
                  </a:cubicBezTo>
                  <a:cubicBezTo>
                    <a:pt x="2979" y="651"/>
                    <a:pt x="2986" y="656"/>
                    <a:pt x="2993" y="656"/>
                  </a:cubicBezTo>
                  <a:cubicBezTo>
                    <a:pt x="3001" y="656"/>
                    <a:pt x="3006" y="651"/>
                    <a:pt x="3005" y="645"/>
                  </a:cubicBezTo>
                  <a:cubicBezTo>
                    <a:pt x="3004" y="640"/>
                    <a:pt x="2997" y="635"/>
                    <a:pt x="2990" y="635"/>
                  </a:cubicBezTo>
                  <a:cubicBezTo>
                    <a:pt x="2990" y="635"/>
                    <a:pt x="2990" y="635"/>
                    <a:pt x="2990" y="635"/>
                  </a:cubicBezTo>
                  <a:moveTo>
                    <a:pt x="3027" y="635"/>
                  </a:moveTo>
                  <a:cubicBezTo>
                    <a:pt x="3020" y="635"/>
                    <a:pt x="3015" y="640"/>
                    <a:pt x="3016" y="645"/>
                  </a:cubicBezTo>
                  <a:cubicBezTo>
                    <a:pt x="3017" y="651"/>
                    <a:pt x="3024" y="656"/>
                    <a:pt x="3031" y="656"/>
                  </a:cubicBezTo>
                  <a:cubicBezTo>
                    <a:pt x="3038" y="655"/>
                    <a:pt x="3043" y="651"/>
                    <a:pt x="3042" y="645"/>
                  </a:cubicBezTo>
                  <a:cubicBezTo>
                    <a:pt x="3041" y="640"/>
                    <a:pt x="3034" y="635"/>
                    <a:pt x="3027" y="635"/>
                  </a:cubicBezTo>
                  <a:cubicBezTo>
                    <a:pt x="3027" y="635"/>
                    <a:pt x="3027" y="635"/>
                    <a:pt x="3027" y="635"/>
                  </a:cubicBezTo>
                  <a:moveTo>
                    <a:pt x="3064" y="635"/>
                  </a:moveTo>
                  <a:cubicBezTo>
                    <a:pt x="3057" y="635"/>
                    <a:pt x="3052" y="640"/>
                    <a:pt x="3053" y="645"/>
                  </a:cubicBezTo>
                  <a:cubicBezTo>
                    <a:pt x="3054" y="651"/>
                    <a:pt x="3061" y="655"/>
                    <a:pt x="3068" y="655"/>
                  </a:cubicBezTo>
                  <a:cubicBezTo>
                    <a:pt x="3075" y="655"/>
                    <a:pt x="3080" y="651"/>
                    <a:pt x="3079" y="645"/>
                  </a:cubicBezTo>
                  <a:cubicBezTo>
                    <a:pt x="3078" y="639"/>
                    <a:pt x="3071" y="635"/>
                    <a:pt x="3064" y="635"/>
                  </a:cubicBezTo>
                  <a:cubicBezTo>
                    <a:pt x="3064" y="635"/>
                    <a:pt x="3064" y="635"/>
                    <a:pt x="3064" y="635"/>
                  </a:cubicBezTo>
                  <a:moveTo>
                    <a:pt x="3101" y="635"/>
                  </a:moveTo>
                  <a:cubicBezTo>
                    <a:pt x="3094" y="635"/>
                    <a:pt x="3089" y="639"/>
                    <a:pt x="3090" y="645"/>
                  </a:cubicBezTo>
                  <a:cubicBezTo>
                    <a:pt x="3092" y="651"/>
                    <a:pt x="3098" y="655"/>
                    <a:pt x="3106" y="655"/>
                  </a:cubicBezTo>
                  <a:cubicBezTo>
                    <a:pt x="3113" y="655"/>
                    <a:pt x="3118" y="650"/>
                    <a:pt x="3117" y="645"/>
                  </a:cubicBezTo>
                  <a:cubicBezTo>
                    <a:pt x="3115" y="639"/>
                    <a:pt x="3109" y="635"/>
                    <a:pt x="3101" y="635"/>
                  </a:cubicBezTo>
                  <a:cubicBezTo>
                    <a:pt x="3101" y="635"/>
                    <a:pt x="3101" y="635"/>
                    <a:pt x="3101" y="635"/>
                  </a:cubicBezTo>
                  <a:moveTo>
                    <a:pt x="3140" y="634"/>
                  </a:moveTo>
                  <a:cubicBezTo>
                    <a:pt x="3133" y="634"/>
                    <a:pt x="3128" y="639"/>
                    <a:pt x="3129" y="645"/>
                  </a:cubicBezTo>
                  <a:cubicBezTo>
                    <a:pt x="3130" y="650"/>
                    <a:pt x="3137" y="655"/>
                    <a:pt x="3144" y="655"/>
                  </a:cubicBezTo>
                  <a:cubicBezTo>
                    <a:pt x="3152" y="655"/>
                    <a:pt x="3157" y="650"/>
                    <a:pt x="3155" y="645"/>
                  </a:cubicBezTo>
                  <a:cubicBezTo>
                    <a:pt x="3154" y="639"/>
                    <a:pt x="3147" y="634"/>
                    <a:pt x="3140" y="634"/>
                  </a:cubicBezTo>
                  <a:cubicBezTo>
                    <a:pt x="3140" y="634"/>
                    <a:pt x="3140" y="634"/>
                    <a:pt x="3140" y="634"/>
                  </a:cubicBezTo>
                  <a:moveTo>
                    <a:pt x="2768" y="634"/>
                  </a:moveTo>
                  <a:cubicBezTo>
                    <a:pt x="2761" y="634"/>
                    <a:pt x="2755" y="639"/>
                    <a:pt x="2756" y="645"/>
                  </a:cubicBezTo>
                  <a:cubicBezTo>
                    <a:pt x="2756" y="650"/>
                    <a:pt x="2763" y="655"/>
                    <a:pt x="2770" y="655"/>
                  </a:cubicBezTo>
                  <a:cubicBezTo>
                    <a:pt x="2777" y="655"/>
                    <a:pt x="2783" y="650"/>
                    <a:pt x="2782" y="644"/>
                  </a:cubicBezTo>
                  <a:cubicBezTo>
                    <a:pt x="2781" y="639"/>
                    <a:pt x="2775" y="634"/>
                    <a:pt x="2768" y="634"/>
                  </a:cubicBezTo>
                  <a:cubicBezTo>
                    <a:pt x="2768" y="634"/>
                    <a:pt x="2768" y="634"/>
                    <a:pt x="2768" y="634"/>
                  </a:cubicBezTo>
                  <a:moveTo>
                    <a:pt x="3177" y="634"/>
                  </a:moveTo>
                  <a:cubicBezTo>
                    <a:pt x="3170" y="634"/>
                    <a:pt x="3165" y="639"/>
                    <a:pt x="3166" y="645"/>
                  </a:cubicBezTo>
                  <a:cubicBezTo>
                    <a:pt x="3168" y="650"/>
                    <a:pt x="3175" y="655"/>
                    <a:pt x="3182" y="655"/>
                  </a:cubicBezTo>
                  <a:cubicBezTo>
                    <a:pt x="3189" y="655"/>
                    <a:pt x="3194" y="650"/>
                    <a:pt x="3192" y="644"/>
                  </a:cubicBezTo>
                  <a:cubicBezTo>
                    <a:pt x="3191" y="639"/>
                    <a:pt x="3184" y="634"/>
                    <a:pt x="3177" y="634"/>
                  </a:cubicBezTo>
                  <a:cubicBezTo>
                    <a:pt x="3177" y="634"/>
                    <a:pt x="3177" y="634"/>
                    <a:pt x="3177" y="634"/>
                  </a:cubicBezTo>
                  <a:moveTo>
                    <a:pt x="2657" y="634"/>
                  </a:moveTo>
                  <a:cubicBezTo>
                    <a:pt x="2650" y="634"/>
                    <a:pt x="2644" y="639"/>
                    <a:pt x="2644" y="644"/>
                  </a:cubicBezTo>
                  <a:cubicBezTo>
                    <a:pt x="2645" y="650"/>
                    <a:pt x="2651" y="654"/>
                    <a:pt x="2658" y="654"/>
                  </a:cubicBezTo>
                  <a:cubicBezTo>
                    <a:pt x="2665" y="654"/>
                    <a:pt x="2671" y="650"/>
                    <a:pt x="2670" y="644"/>
                  </a:cubicBezTo>
                  <a:cubicBezTo>
                    <a:pt x="2670" y="639"/>
                    <a:pt x="2664" y="634"/>
                    <a:pt x="2657" y="634"/>
                  </a:cubicBezTo>
                  <a:cubicBezTo>
                    <a:pt x="2657" y="634"/>
                    <a:pt x="2657" y="634"/>
                    <a:pt x="2657" y="634"/>
                  </a:cubicBezTo>
                  <a:moveTo>
                    <a:pt x="3214" y="634"/>
                  </a:moveTo>
                  <a:cubicBezTo>
                    <a:pt x="3207" y="634"/>
                    <a:pt x="3202" y="639"/>
                    <a:pt x="3204" y="644"/>
                  </a:cubicBezTo>
                  <a:cubicBezTo>
                    <a:pt x="3205" y="650"/>
                    <a:pt x="3212" y="655"/>
                    <a:pt x="3219" y="654"/>
                  </a:cubicBezTo>
                  <a:cubicBezTo>
                    <a:pt x="3227" y="654"/>
                    <a:pt x="3231" y="650"/>
                    <a:pt x="3230" y="644"/>
                  </a:cubicBezTo>
                  <a:cubicBezTo>
                    <a:pt x="3228" y="639"/>
                    <a:pt x="3221" y="634"/>
                    <a:pt x="3214" y="634"/>
                  </a:cubicBezTo>
                  <a:cubicBezTo>
                    <a:pt x="3214" y="634"/>
                    <a:pt x="3214" y="634"/>
                    <a:pt x="3214" y="634"/>
                  </a:cubicBezTo>
                  <a:moveTo>
                    <a:pt x="2693" y="634"/>
                  </a:moveTo>
                  <a:cubicBezTo>
                    <a:pt x="2686" y="634"/>
                    <a:pt x="2681" y="638"/>
                    <a:pt x="2681" y="644"/>
                  </a:cubicBezTo>
                  <a:cubicBezTo>
                    <a:pt x="2682" y="650"/>
                    <a:pt x="2688" y="654"/>
                    <a:pt x="2695" y="654"/>
                  </a:cubicBezTo>
                  <a:cubicBezTo>
                    <a:pt x="2702" y="654"/>
                    <a:pt x="2708" y="650"/>
                    <a:pt x="2707" y="644"/>
                  </a:cubicBezTo>
                  <a:cubicBezTo>
                    <a:pt x="2707" y="638"/>
                    <a:pt x="2701" y="634"/>
                    <a:pt x="2694" y="634"/>
                  </a:cubicBezTo>
                  <a:cubicBezTo>
                    <a:pt x="2694" y="634"/>
                    <a:pt x="2694" y="634"/>
                    <a:pt x="2693" y="634"/>
                  </a:cubicBezTo>
                  <a:moveTo>
                    <a:pt x="3252" y="634"/>
                  </a:moveTo>
                  <a:cubicBezTo>
                    <a:pt x="3245" y="634"/>
                    <a:pt x="3240" y="638"/>
                    <a:pt x="3242" y="644"/>
                  </a:cubicBezTo>
                  <a:cubicBezTo>
                    <a:pt x="3243" y="650"/>
                    <a:pt x="3250" y="654"/>
                    <a:pt x="3257" y="654"/>
                  </a:cubicBezTo>
                  <a:cubicBezTo>
                    <a:pt x="3265" y="654"/>
                    <a:pt x="3269" y="650"/>
                    <a:pt x="3268" y="644"/>
                  </a:cubicBezTo>
                  <a:cubicBezTo>
                    <a:pt x="3266" y="638"/>
                    <a:pt x="3259" y="634"/>
                    <a:pt x="3252" y="634"/>
                  </a:cubicBezTo>
                  <a:cubicBezTo>
                    <a:pt x="3252" y="634"/>
                    <a:pt x="3252" y="634"/>
                    <a:pt x="3252" y="634"/>
                  </a:cubicBezTo>
                  <a:moveTo>
                    <a:pt x="2620" y="634"/>
                  </a:moveTo>
                  <a:cubicBezTo>
                    <a:pt x="2612" y="634"/>
                    <a:pt x="2607" y="638"/>
                    <a:pt x="2607" y="644"/>
                  </a:cubicBezTo>
                  <a:cubicBezTo>
                    <a:pt x="2607" y="650"/>
                    <a:pt x="2613" y="654"/>
                    <a:pt x="2621" y="654"/>
                  </a:cubicBezTo>
                  <a:cubicBezTo>
                    <a:pt x="2628" y="654"/>
                    <a:pt x="2634" y="650"/>
                    <a:pt x="2633" y="644"/>
                  </a:cubicBezTo>
                  <a:cubicBezTo>
                    <a:pt x="2633" y="638"/>
                    <a:pt x="2627" y="634"/>
                    <a:pt x="2620" y="634"/>
                  </a:cubicBezTo>
                  <a:cubicBezTo>
                    <a:pt x="2620" y="634"/>
                    <a:pt x="2620" y="634"/>
                    <a:pt x="2620" y="634"/>
                  </a:cubicBezTo>
                  <a:moveTo>
                    <a:pt x="2731" y="634"/>
                  </a:moveTo>
                  <a:cubicBezTo>
                    <a:pt x="2723" y="634"/>
                    <a:pt x="2718" y="638"/>
                    <a:pt x="2718" y="644"/>
                  </a:cubicBezTo>
                  <a:cubicBezTo>
                    <a:pt x="2719" y="650"/>
                    <a:pt x="2725" y="654"/>
                    <a:pt x="2732" y="654"/>
                  </a:cubicBezTo>
                  <a:cubicBezTo>
                    <a:pt x="2739" y="654"/>
                    <a:pt x="2745" y="649"/>
                    <a:pt x="2744" y="644"/>
                  </a:cubicBezTo>
                  <a:cubicBezTo>
                    <a:pt x="2744" y="638"/>
                    <a:pt x="2738" y="634"/>
                    <a:pt x="2731" y="634"/>
                  </a:cubicBezTo>
                  <a:cubicBezTo>
                    <a:pt x="2731" y="634"/>
                    <a:pt x="2731" y="634"/>
                    <a:pt x="2731" y="634"/>
                  </a:cubicBezTo>
                  <a:moveTo>
                    <a:pt x="3289" y="634"/>
                  </a:moveTo>
                  <a:cubicBezTo>
                    <a:pt x="3282" y="634"/>
                    <a:pt x="3277" y="638"/>
                    <a:pt x="3279" y="644"/>
                  </a:cubicBezTo>
                  <a:cubicBezTo>
                    <a:pt x="3280" y="650"/>
                    <a:pt x="3287" y="654"/>
                    <a:pt x="3295" y="654"/>
                  </a:cubicBezTo>
                  <a:cubicBezTo>
                    <a:pt x="3302" y="654"/>
                    <a:pt x="3306" y="649"/>
                    <a:pt x="3305" y="644"/>
                  </a:cubicBezTo>
                  <a:cubicBezTo>
                    <a:pt x="3303" y="638"/>
                    <a:pt x="3296" y="634"/>
                    <a:pt x="3289" y="634"/>
                  </a:cubicBezTo>
                  <a:cubicBezTo>
                    <a:pt x="3289" y="634"/>
                    <a:pt x="3289" y="634"/>
                    <a:pt x="3289" y="634"/>
                  </a:cubicBezTo>
                  <a:moveTo>
                    <a:pt x="3326" y="633"/>
                  </a:moveTo>
                  <a:cubicBezTo>
                    <a:pt x="3319" y="633"/>
                    <a:pt x="3314" y="638"/>
                    <a:pt x="3316" y="644"/>
                  </a:cubicBezTo>
                  <a:cubicBezTo>
                    <a:pt x="3318" y="649"/>
                    <a:pt x="3325" y="654"/>
                    <a:pt x="3332" y="654"/>
                  </a:cubicBezTo>
                  <a:cubicBezTo>
                    <a:pt x="3339" y="654"/>
                    <a:pt x="3344" y="649"/>
                    <a:pt x="3342" y="644"/>
                  </a:cubicBezTo>
                  <a:cubicBezTo>
                    <a:pt x="3341" y="638"/>
                    <a:pt x="3333" y="633"/>
                    <a:pt x="3326" y="633"/>
                  </a:cubicBezTo>
                  <a:cubicBezTo>
                    <a:pt x="3326" y="633"/>
                    <a:pt x="3326" y="633"/>
                    <a:pt x="3326" y="633"/>
                  </a:cubicBezTo>
                  <a:moveTo>
                    <a:pt x="3363" y="633"/>
                  </a:moveTo>
                  <a:cubicBezTo>
                    <a:pt x="3356" y="633"/>
                    <a:pt x="3351" y="638"/>
                    <a:pt x="3353" y="643"/>
                  </a:cubicBezTo>
                  <a:cubicBezTo>
                    <a:pt x="3355" y="649"/>
                    <a:pt x="3362" y="654"/>
                    <a:pt x="3369" y="654"/>
                  </a:cubicBezTo>
                  <a:cubicBezTo>
                    <a:pt x="3377" y="654"/>
                    <a:pt x="3381" y="649"/>
                    <a:pt x="3379" y="643"/>
                  </a:cubicBezTo>
                  <a:cubicBezTo>
                    <a:pt x="3378" y="638"/>
                    <a:pt x="3370" y="633"/>
                    <a:pt x="3363" y="633"/>
                  </a:cubicBezTo>
                  <a:cubicBezTo>
                    <a:pt x="3363" y="633"/>
                    <a:pt x="3363" y="633"/>
                    <a:pt x="3363" y="633"/>
                  </a:cubicBezTo>
                  <a:moveTo>
                    <a:pt x="3400" y="633"/>
                  </a:moveTo>
                  <a:cubicBezTo>
                    <a:pt x="3393" y="633"/>
                    <a:pt x="3389" y="638"/>
                    <a:pt x="3391" y="643"/>
                  </a:cubicBezTo>
                  <a:cubicBezTo>
                    <a:pt x="3392" y="649"/>
                    <a:pt x="3400" y="653"/>
                    <a:pt x="3407" y="653"/>
                  </a:cubicBezTo>
                  <a:cubicBezTo>
                    <a:pt x="3414" y="653"/>
                    <a:pt x="3419" y="649"/>
                    <a:pt x="3417" y="643"/>
                  </a:cubicBezTo>
                  <a:cubicBezTo>
                    <a:pt x="3415" y="637"/>
                    <a:pt x="3408" y="633"/>
                    <a:pt x="3401" y="633"/>
                  </a:cubicBezTo>
                  <a:cubicBezTo>
                    <a:pt x="3401" y="633"/>
                    <a:pt x="3401" y="633"/>
                    <a:pt x="3400" y="633"/>
                  </a:cubicBezTo>
                  <a:moveTo>
                    <a:pt x="3438" y="633"/>
                  </a:moveTo>
                  <a:cubicBezTo>
                    <a:pt x="3431" y="633"/>
                    <a:pt x="3427" y="637"/>
                    <a:pt x="3428" y="643"/>
                  </a:cubicBezTo>
                  <a:cubicBezTo>
                    <a:pt x="3430" y="649"/>
                    <a:pt x="3438" y="653"/>
                    <a:pt x="3445" y="653"/>
                  </a:cubicBezTo>
                  <a:cubicBezTo>
                    <a:pt x="3452" y="653"/>
                    <a:pt x="3457" y="649"/>
                    <a:pt x="3455" y="643"/>
                  </a:cubicBezTo>
                  <a:cubicBezTo>
                    <a:pt x="3453" y="637"/>
                    <a:pt x="3445" y="633"/>
                    <a:pt x="3438" y="633"/>
                  </a:cubicBezTo>
                  <a:cubicBezTo>
                    <a:pt x="3438" y="633"/>
                    <a:pt x="3438" y="633"/>
                    <a:pt x="3438" y="633"/>
                  </a:cubicBezTo>
                  <a:moveTo>
                    <a:pt x="3475" y="632"/>
                  </a:moveTo>
                  <a:cubicBezTo>
                    <a:pt x="3468" y="633"/>
                    <a:pt x="3464" y="637"/>
                    <a:pt x="3466" y="643"/>
                  </a:cubicBezTo>
                  <a:cubicBezTo>
                    <a:pt x="3468" y="649"/>
                    <a:pt x="3475" y="653"/>
                    <a:pt x="3482" y="653"/>
                  </a:cubicBezTo>
                  <a:cubicBezTo>
                    <a:pt x="3490" y="653"/>
                    <a:pt x="3494" y="648"/>
                    <a:pt x="3492" y="643"/>
                  </a:cubicBezTo>
                  <a:cubicBezTo>
                    <a:pt x="3490" y="637"/>
                    <a:pt x="3482" y="632"/>
                    <a:pt x="3475" y="632"/>
                  </a:cubicBezTo>
                  <a:cubicBezTo>
                    <a:pt x="3475" y="632"/>
                    <a:pt x="3475" y="632"/>
                    <a:pt x="3475" y="632"/>
                  </a:cubicBezTo>
                  <a:moveTo>
                    <a:pt x="3512" y="632"/>
                  </a:moveTo>
                  <a:cubicBezTo>
                    <a:pt x="3505" y="632"/>
                    <a:pt x="3501" y="637"/>
                    <a:pt x="3503" y="643"/>
                  </a:cubicBezTo>
                  <a:cubicBezTo>
                    <a:pt x="3505" y="648"/>
                    <a:pt x="3513" y="653"/>
                    <a:pt x="3520" y="653"/>
                  </a:cubicBezTo>
                  <a:cubicBezTo>
                    <a:pt x="3527" y="653"/>
                    <a:pt x="3531" y="648"/>
                    <a:pt x="3529" y="642"/>
                  </a:cubicBezTo>
                  <a:cubicBezTo>
                    <a:pt x="3527" y="637"/>
                    <a:pt x="3520" y="632"/>
                    <a:pt x="3512" y="632"/>
                  </a:cubicBezTo>
                  <a:cubicBezTo>
                    <a:pt x="3512" y="632"/>
                    <a:pt x="3512" y="632"/>
                    <a:pt x="3512" y="632"/>
                  </a:cubicBezTo>
                  <a:moveTo>
                    <a:pt x="3549" y="632"/>
                  </a:moveTo>
                  <a:cubicBezTo>
                    <a:pt x="3542" y="632"/>
                    <a:pt x="3538" y="637"/>
                    <a:pt x="3540" y="642"/>
                  </a:cubicBezTo>
                  <a:cubicBezTo>
                    <a:pt x="3542" y="648"/>
                    <a:pt x="3550" y="653"/>
                    <a:pt x="3557" y="653"/>
                  </a:cubicBezTo>
                  <a:cubicBezTo>
                    <a:pt x="3564" y="653"/>
                    <a:pt x="3568" y="648"/>
                    <a:pt x="3566" y="642"/>
                  </a:cubicBezTo>
                  <a:cubicBezTo>
                    <a:pt x="3564" y="637"/>
                    <a:pt x="3557" y="632"/>
                    <a:pt x="3549" y="632"/>
                  </a:cubicBezTo>
                  <a:cubicBezTo>
                    <a:pt x="3549" y="632"/>
                    <a:pt x="3549" y="632"/>
                    <a:pt x="3549" y="632"/>
                  </a:cubicBezTo>
                  <a:moveTo>
                    <a:pt x="3587" y="632"/>
                  </a:moveTo>
                  <a:cubicBezTo>
                    <a:pt x="3580" y="632"/>
                    <a:pt x="3575" y="637"/>
                    <a:pt x="3578" y="642"/>
                  </a:cubicBezTo>
                  <a:cubicBezTo>
                    <a:pt x="3580" y="648"/>
                    <a:pt x="3587" y="652"/>
                    <a:pt x="3595" y="652"/>
                  </a:cubicBezTo>
                  <a:cubicBezTo>
                    <a:pt x="3602" y="652"/>
                    <a:pt x="3606" y="648"/>
                    <a:pt x="3604" y="642"/>
                  </a:cubicBezTo>
                  <a:cubicBezTo>
                    <a:pt x="3602" y="636"/>
                    <a:pt x="3594" y="632"/>
                    <a:pt x="3587" y="632"/>
                  </a:cubicBezTo>
                  <a:cubicBezTo>
                    <a:pt x="3587" y="632"/>
                    <a:pt x="3587" y="632"/>
                    <a:pt x="3587" y="632"/>
                  </a:cubicBezTo>
                  <a:moveTo>
                    <a:pt x="3624" y="632"/>
                  </a:moveTo>
                  <a:cubicBezTo>
                    <a:pt x="3617" y="632"/>
                    <a:pt x="3613" y="636"/>
                    <a:pt x="3615" y="642"/>
                  </a:cubicBezTo>
                  <a:cubicBezTo>
                    <a:pt x="3618" y="648"/>
                    <a:pt x="3625" y="652"/>
                    <a:pt x="3633" y="652"/>
                  </a:cubicBezTo>
                  <a:cubicBezTo>
                    <a:pt x="3640" y="652"/>
                    <a:pt x="3644" y="648"/>
                    <a:pt x="3642" y="642"/>
                  </a:cubicBezTo>
                  <a:cubicBezTo>
                    <a:pt x="3639" y="636"/>
                    <a:pt x="3632" y="632"/>
                    <a:pt x="3624" y="632"/>
                  </a:cubicBezTo>
                  <a:cubicBezTo>
                    <a:pt x="3624" y="632"/>
                    <a:pt x="3624" y="632"/>
                    <a:pt x="3624" y="632"/>
                  </a:cubicBezTo>
                  <a:moveTo>
                    <a:pt x="3661" y="631"/>
                  </a:moveTo>
                  <a:cubicBezTo>
                    <a:pt x="3654" y="631"/>
                    <a:pt x="3650" y="636"/>
                    <a:pt x="3653" y="641"/>
                  </a:cubicBezTo>
                  <a:cubicBezTo>
                    <a:pt x="3655" y="647"/>
                    <a:pt x="3663" y="652"/>
                    <a:pt x="3670" y="652"/>
                  </a:cubicBezTo>
                  <a:cubicBezTo>
                    <a:pt x="3677" y="652"/>
                    <a:pt x="3681" y="647"/>
                    <a:pt x="3679" y="641"/>
                  </a:cubicBezTo>
                  <a:cubicBezTo>
                    <a:pt x="3676" y="636"/>
                    <a:pt x="3669" y="631"/>
                    <a:pt x="3662" y="631"/>
                  </a:cubicBezTo>
                  <a:cubicBezTo>
                    <a:pt x="3661" y="631"/>
                    <a:pt x="3661" y="631"/>
                    <a:pt x="3661" y="631"/>
                  </a:cubicBezTo>
                  <a:moveTo>
                    <a:pt x="3698" y="631"/>
                  </a:moveTo>
                  <a:cubicBezTo>
                    <a:pt x="3691" y="631"/>
                    <a:pt x="3687" y="636"/>
                    <a:pt x="3690" y="641"/>
                  </a:cubicBezTo>
                  <a:cubicBezTo>
                    <a:pt x="3692" y="647"/>
                    <a:pt x="3700" y="651"/>
                    <a:pt x="3707" y="651"/>
                  </a:cubicBezTo>
                  <a:cubicBezTo>
                    <a:pt x="3714" y="651"/>
                    <a:pt x="3718" y="647"/>
                    <a:pt x="3716" y="641"/>
                  </a:cubicBezTo>
                  <a:cubicBezTo>
                    <a:pt x="3713" y="635"/>
                    <a:pt x="3706" y="631"/>
                    <a:pt x="3698" y="631"/>
                  </a:cubicBezTo>
                  <a:cubicBezTo>
                    <a:pt x="3698" y="631"/>
                    <a:pt x="3698" y="631"/>
                    <a:pt x="3698" y="631"/>
                  </a:cubicBezTo>
                  <a:moveTo>
                    <a:pt x="3736" y="631"/>
                  </a:moveTo>
                  <a:cubicBezTo>
                    <a:pt x="3729" y="631"/>
                    <a:pt x="3725" y="635"/>
                    <a:pt x="3727" y="641"/>
                  </a:cubicBezTo>
                  <a:cubicBezTo>
                    <a:pt x="3730" y="647"/>
                    <a:pt x="3737" y="651"/>
                    <a:pt x="3745" y="651"/>
                  </a:cubicBezTo>
                  <a:cubicBezTo>
                    <a:pt x="3752" y="651"/>
                    <a:pt x="3756" y="647"/>
                    <a:pt x="3753" y="641"/>
                  </a:cubicBezTo>
                  <a:cubicBezTo>
                    <a:pt x="3751" y="635"/>
                    <a:pt x="3743" y="631"/>
                    <a:pt x="3736" y="631"/>
                  </a:cubicBezTo>
                  <a:cubicBezTo>
                    <a:pt x="3736" y="631"/>
                    <a:pt x="3736" y="631"/>
                    <a:pt x="3736" y="631"/>
                  </a:cubicBezTo>
                  <a:moveTo>
                    <a:pt x="3775" y="630"/>
                  </a:moveTo>
                  <a:cubicBezTo>
                    <a:pt x="3768" y="630"/>
                    <a:pt x="3764" y="635"/>
                    <a:pt x="3767" y="641"/>
                  </a:cubicBezTo>
                  <a:cubicBezTo>
                    <a:pt x="3769" y="646"/>
                    <a:pt x="3777" y="651"/>
                    <a:pt x="3785" y="651"/>
                  </a:cubicBezTo>
                  <a:cubicBezTo>
                    <a:pt x="3792" y="651"/>
                    <a:pt x="3796" y="646"/>
                    <a:pt x="3793" y="641"/>
                  </a:cubicBezTo>
                  <a:cubicBezTo>
                    <a:pt x="3790" y="635"/>
                    <a:pt x="3782" y="630"/>
                    <a:pt x="3775" y="630"/>
                  </a:cubicBezTo>
                  <a:cubicBezTo>
                    <a:pt x="3775" y="630"/>
                    <a:pt x="3775" y="630"/>
                    <a:pt x="3775" y="630"/>
                  </a:cubicBezTo>
                  <a:moveTo>
                    <a:pt x="3812" y="630"/>
                  </a:moveTo>
                  <a:cubicBezTo>
                    <a:pt x="3805" y="630"/>
                    <a:pt x="3801" y="635"/>
                    <a:pt x="3804" y="641"/>
                  </a:cubicBezTo>
                  <a:cubicBezTo>
                    <a:pt x="3806" y="646"/>
                    <a:pt x="3814" y="651"/>
                    <a:pt x="3821" y="651"/>
                  </a:cubicBezTo>
                  <a:cubicBezTo>
                    <a:pt x="3829" y="651"/>
                    <a:pt x="3832" y="646"/>
                    <a:pt x="3830" y="640"/>
                  </a:cubicBezTo>
                  <a:cubicBezTo>
                    <a:pt x="3827" y="635"/>
                    <a:pt x="3819" y="630"/>
                    <a:pt x="3812" y="630"/>
                  </a:cubicBezTo>
                  <a:cubicBezTo>
                    <a:pt x="3812" y="630"/>
                    <a:pt x="3812" y="630"/>
                    <a:pt x="3812" y="630"/>
                  </a:cubicBezTo>
                  <a:moveTo>
                    <a:pt x="3849" y="630"/>
                  </a:moveTo>
                  <a:cubicBezTo>
                    <a:pt x="3842" y="630"/>
                    <a:pt x="3838" y="635"/>
                    <a:pt x="3841" y="640"/>
                  </a:cubicBezTo>
                  <a:cubicBezTo>
                    <a:pt x="3843" y="646"/>
                    <a:pt x="3852" y="651"/>
                    <a:pt x="3859" y="651"/>
                  </a:cubicBezTo>
                  <a:cubicBezTo>
                    <a:pt x="3866" y="651"/>
                    <a:pt x="3870" y="646"/>
                    <a:pt x="3867" y="640"/>
                  </a:cubicBezTo>
                  <a:cubicBezTo>
                    <a:pt x="3864" y="635"/>
                    <a:pt x="3856" y="630"/>
                    <a:pt x="3849" y="630"/>
                  </a:cubicBezTo>
                  <a:cubicBezTo>
                    <a:pt x="3849" y="630"/>
                    <a:pt x="3849" y="630"/>
                    <a:pt x="3849" y="630"/>
                  </a:cubicBezTo>
                  <a:moveTo>
                    <a:pt x="3886" y="630"/>
                  </a:moveTo>
                  <a:cubicBezTo>
                    <a:pt x="3879" y="630"/>
                    <a:pt x="3875" y="634"/>
                    <a:pt x="3878" y="640"/>
                  </a:cubicBezTo>
                  <a:cubicBezTo>
                    <a:pt x="3881" y="646"/>
                    <a:pt x="3889" y="650"/>
                    <a:pt x="3896" y="650"/>
                  </a:cubicBezTo>
                  <a:cubicBezTo>
                    <a:pt x="3904" y="650"/>
                    <a:pt x="3907" y="646"/>
                    <a:pt x="3904" y="640"/>
                  </a:cubicBezTo>
                  <a:cubicBezTo>
                    <a:pt x="3902" y="634"/>
                    <a:pt x="3893" y="630"/>
                    <a:pt x="3886" y="630"/>
                  </a:cubicBezTo>
                  <a:cubicBezTo>
                    <a:pt x="3886" y="630"/>
                    <a:pt x="3886" y="630"/>
                    <a:pt x="3886" y="630"/>
                  </a:cubicBezTo>
                  <a:moveTo>
                    <a:pt x="3924" y="630"/>
                  </a:moveTo>
                  <a:cubicBezTo>
                    <a:pt x="3917" y="630"/>
                    <a:pt x="3913" y="634"/>
                    <a:pt x="3916" y="640"/>
                  </a:cubicBezTo>
                  <a:cubicBezTo>
                    <a:pt x="3919" y="646"/>
                    <a:pt x="3927" y="650"/>
                    <a:pt x="3934" y="650"/>
                  </a:cubicBezTo>
                  <a:cubicBezTo>
                    <a:pt x="3941" y="650"/>
                    <a:pt x="3945" y="646"/>
                    <a:pt x="3942" y="640"/>
                  </a:cubicBezTo>
                  <a:cubicBezTo>
                    <a:pt x="3939" y="634"/>
                    <a:pt x="3931" y="630"/>
                    <a:pt x="3924" y="630"/>
                  </a:cubicBezTo>
                  <a:cubicBezTo>
                    <a:pt x="3924" y="630"/>
                    <a:pt x="3924" y="630"/>
                    <a:pt x="3924" y="630"/>
                  </a:cubicBezTo>
                  <a:moveTo>
                    <a:pt x="3961" y="629"/>
                  </a:moveTo>
                  <a:cubicBezTo>
                    <a:pt x="3954" y="629"/>
                    <a:pt x="3950" y="634"/>
                    <a:pt x="3953" y="640"/>
                  </a:cubicBezTo>
                  <a:cubicBezTo>
                    <a:pt x="3956" y="645"/>
                    <a:pt x="3964" y="650"/>
                    <a:pt x="3971" y="650"/>
                  </a:cubicBezTo>
                  <a:cubicBezTo>
                    <a:pt x="3979" y="650"/>
                    <a:pt x="3982" y="645"/>
                    <a:pt x="3979" y="640"/>
                  </a:cubicBezTo>
                  <a:cubicBezTo>
                    <a:pt x="3976" y="634"/>
                    <a:pt x="3968" y="629"/>
                    <a:pt x="3961" y="629"/>
                  </a:cubicBezTo>
                  <a:cubicBezTo>
                    <a:pt x="3961" y="629"/>
                    <a:pt x="3961" y="629"/>
                    <a:pt x="3961" y="629"/>
                  </a:cubicBezTo>
                  <a:moveTo>
                    <a:pt x="99" y="624"/>
                  </a:moveTo>
                  <a:cubicBezTo>
                    <a:pt x="91" y="624"/>
                    <a:pt x="82" y="629"/>
                    <a:pt x="77" y="634"/>
                  </a:cubicBezTo>
                  <a:cubicBezTo>
                    <a:pt x="72" y="640"/>
                    <a:pt x="74" y="644"/>
                    <a:pt x="81" y="644"/>
                  </a:cubicBezTo>
                  <a:cubicBezTo>
                    <a:pt x="89" y="644"/>
                    <a:pt x="98" y="640"/>
                    <a:pt x="103" y="634"/>
                  </a:cubicBezTo>
                  <a:cubicBezTo>
                    <a:pt x="108" y="628"/>
                    <a:pt x="106" y="624"/>
                    <a:pt x="99" y="624"/>
                  </a:cubicBezTo>
                  <a:cubicBezTo>
                    <a:pt x="99" y="624"/>
                    <a:pt x="99" y="624"/>
                    <a:pt x="99" y="624"/>
                  </a:cubicBezTo>
                  <a:moveTo>
                    <a:pt x="136" y="624"/>
                  </a:moveTo>
                  <a:cubicBezTo>
                    <a:pt x="128" y="624"/>
                    <a:pt x="119" y="628"/>
                    <a:pt x="114" y="634"/>
                  </a:cubicBezTo>
                  <a:cubicBezTo>
                    <a:pt x="109" y="640"/>
                    <a:pt x="111" y="644"/>
                    <a:pt x="119" y="644"/>
                  </a:cubicBezTo>
                  <a:cubicBezTo>
                    <a:pt x="126" y="644"/>
                    <a:pt x="135" y="639"/>
                    <a:pt x="140" y="634"/>
                  </a:cubicBezTo>
                  <a:cubicBezTo>
                    <a:pt x="145" y="628"/>
                    <a:pt x="143" y="624"/>
                    <a:pt x="136" y="624"/>
                  </a:cubicBezTo>
                  <a:cubicBezTo>
                    <a:pt x="136" y="624"/>
                    <a:pt x="136" y="624"/>
                    <a:pt x="136" y="624"/>
                  </a:cubicBezTo>
                  <a:moveTo>
                    <a:pt x="174" y="624"/>
                  </a:moveTo>
                  <a:cubicBezTo>
                    <a:pt x="167" y="624"/>
                    <a:pt x="157" y="628"/>
                    <a:pt x="153" y="634"/>
                  </a:cubicBezTo>
                  <a:cubicBezTo>
                    <a:pt x="148" y="639"/>
                    <a:pt x="150" y="644"/>
                    <a:pt x="158" y="644"/>
                  </a:cubicBezTo>
                  <a:cubicBezTo>
                    <a:pt x="165" y="644"/>
                    <a:pt x="174" y="639"/>
                    <a:pt x="179" y="634"/>
                  </a:cubicBezTo>
                  <a:cubicBezTo>
                    <a:pt x="183" y="628"/>
                    <a:pt x="181" y="624"/>
                    <a:pt x="174" y="624"/>
                  </a:cubicBezTo>
                  <a:cubicBezTo>
                    <a:pt x="174" y="624"/>
                    <a:pt x="174" y="624"/>
                    <a:pt x="174" y="624"/>
                  </a:cubicBezTo>
                  <a:moveTo>
                    <a:pt x="211" y="623"/>
                  </a:moveTo>
                  <a:cubicBezTo>
                    <a:pt x="204" y="623"/>
                    <a:pt x="194" y="628"/>
                    <a:pt x="190" y="633"/>
                  </a:cubicBezTo>
                  <a:cubicBezTo>
                    <a:pt x="185" y="639"/>
                    <a:pt x="187" y="644"/>
                    <a:pt x="195" y="644"/>
                  </a:cubicBezTo>
                  <a:cubicBezTo>
                    <a:pt x="202" y="643"/>
                    <a:pt x="211" y="639"/>
                    <a:pt x="216" y="633"/>
                  </a:cubicBezTo>
                  <a:cubicBezTo>
                    <a:pt x="220" y="628"/>
                    <a:pt x="218" y="623"/>
                    <a:pt x="211" y="623"/>
                  </a:cubicBezTo>
                  <a:cubicBezTo>
                    <a:pt x="211" y="623"/>
                    <a:pt x="211" y="623"/>
                    <a:pt x="211" y="623"/>
                  </a:cubicBezTo>
                  <a:moveTo>
                    <a:pt x="248" y="623"/>
                  </a:moveTo>
                  <a:cubicBezTo>
                    <a:pt x="241" y="623"/>
                    <a:pt x="232" y="628"/>
                    <a:pt x="227" y="633"/>
                  </a:cubicBezTo>
                  <a:cubicBezTo>
                    <a:pt x="223" y="639"/>
                    <a:pt x="225" y="643"/>
                    <a:pt x="232" y="643"/>
                  </a:cubicBezTo>
                  <a:cubicBezTo>
                    <a:pt x="239" y="643"/>
                    <a:pt x="249" y="639"/>
                    <a:pt x="253" y="633"/>
                  </a:cubicBezTo>
                  <a:cubicBezTo>
                    <a:pt x="258" y="628"/>
                    <a:pt x="255" y="623"/>
                    <a:pt x="248" y="623"/>
                  </a:cubicBezTo>
                  <a:cubicBezTo>
                    <a:pt x="248" y="623"/>
                    <a:pt x="248" y="623"/>
                    <a:pt x="248" y="623"/>
                  </a:cubicBezTo>
                  <a:moveTo>
                    <a:pt x="285" y="623"/>
                  </a:moveTo>
                  <a:cubicBezTo>
                    <a:pt x="278" y="623"/>
                    <a:pt x="269" y="627"/>
                    <a:pt x="264" y="633"/>
                  </a:cubicBezTo>
                  <a:cubicBezTo>
                    <a:pt x="260" y="639"/>
                    <a:pt x="262" y="643"/>
                    <a:pt x="269" y="643"/>
                  </a:cubicBezTo>
                  <a:cubicBezTo>
                    <a:pt x="276" y="643"/>
                    <a:pt x="286" y="639"/>
                    <a:pt x="290" y="633"/>
                  </a:cubicBezTo>
                  <a:cubicBezTo>
                    <a:pt x="295" y="627"/>
                    <a:pt x="292" y="623"/>
                    <a:pt x="285" y="623"/>
                  </a:cubicBezTo>
                  <a:cubicBezTo>
                    <a:pt x="285" y="623"/>
                    <a:pt x="285" y="623"/>
                    <a:pt x="285" y="623"/>
                  </a:cubicBezTo>
                  <a:moveTo>
                    <a:pt x="322" y="623"/>
                  </a:moveTo>
                  <a:cubicBezTo>
                    <a:pt x="315" y="623"/>
                    <a:pt x="306" y="627"/>
                    <a:pt x="301" y="633"/>
                  </a:cubicBezTo>
                  <a:cubicBezTo>
                    <a:pt x="297" y="638"/>
                    <a:pt x="299" y="643"/>
                    <a:pt x="307" y="643"/>
                  </a:cubicBezTo>
                  <a:cubicBezTo>
                    <a:pt x="314" y="643"/>
                    <a:pt x="323" y="638"/>
                    <a:pt x="328" y="633"/>
                  </a:cubicBezTo>
                  <a:cubicBezTo>
                    <a:pt x="332" y="627"/>
                    <a:pt x="329" y="623"/>
                    <a:pt x="322" y="623"/>
                  </a:cubicBezTo>
                  <a:cubicBezTo>
                    <a:pt x="322" y="623"/>
                    <a:pt x="322" y="623"/>
                    <a:pt x="322" y="623"/>
                  </a:cubicBezTo>
                  <a:moveTo>
                    <a:pt x="361" y="622"/>
                  </a:moveTo>
                  <a:cubicBezTo>
                    <a:pt x="353" y="622"/>
                    <a:pt x="344" y="627"/>
                    <a:pt x="340" y="633"/>
                  </a:cubicBezTo>
                  <a:cubicBezTo>
                    <a:pt x="336" y="638"/>
                    <a:pt x="338" y="643"/>
                    <a:pt x="345" y="643"/>
                  </a:cubicBezTo>
                  <a:cubicBezTo>
                    <a:pt x="352" y="643"/>
                    <a:pt x="362" y="638"/>
                    <a:pt x="366" y="632"/>
                  </a:cubicBezTo>
                  <a:cubicBezTo>
                    <a:pt x="370" y="627"/>
                    <a:pt x="368" y="622"/>
                    <a:pt x="361" y="622"/>
                  </a:cubicBezTo>
                  <a:cubicBezTo>
                    <a:pt x="361" y="622"/>
                    <a:pt x="361" y="622"/>
                    <a:pt x="361" y="622"/>
                  </a:cubicBezTo>
                  <a:moveTo>
                    <a:pt x="397" y="622"/>
                  </a:moveTo>
                  <a:cubicBezTo>
                    <a:pt x="390" y="622"/>
                    <a:pt x="381" y="627"/>
                    <a:pt x="377" y="632"/>
                  </a:cubicBezTo>
                  <a:cubicBezTo>
                    <a:pt x="373" y="638"/>
                    <a:pt x="375" y="643"/>
                    <a:pt x="382" y="642"/>
                  </a:cubicBezTo>
                  <a:cubicBezTo>
                    <a:pt x="390" y="642"/>
                    <a:pt x="399" y="638"/>
                    <a:pt x="403" y="632"/>
                  </a:cubicBezTo>
                  <a:cubicBezTo>
                    <a:pt x="407" y="627"/>
                    <a:pt x="405" y="622"/>
                    <a:pt x="398" y="622"/>
                  </a:cubicBezTo>
                  <a:cubicBezTo>
                    <a:pt x="398" y="622"/>
                    <a:pt x="397" y="622"/>
                    <a:pt x="397" y="622"/>
                  </a:cubicBezTo>
                  <a:moveTo>
                    <a:pt x="435" y="622"/>
                  </a:moveTo>
                  <a:cubicBezTo>
                    <a:pt x="427" y="622"/>
                    <a:pt x="418" y="627"/>
                    <a:pt x="414" y="632"/>
                  </a:cubicBezTo>
                  <a:cubicBezTo>
                    <a:pt x="410" y="638"/>
                    <a:pt x="413" y="642"/>
                    <a:pt x="420" y="642"/>
                  </a:cubicBezTo>
                  <a:cubicBezTo>
                    <a:pt x="427" y="642"/>
                    <a:pt x="436" y="638"/>
                    <a:pt x="440" y="632"/>
                  </a:cubicBezTo>
                  <a:cubicBezTo>
                    <a:pt x="444" y="626"/>
                    <a:pt x="442" y="622"/>
                    <a:pt x="435" y="622"/>
                  </a:cubicBezTo>
                  <a:cubicBezTo>
                    <a:pt x="435" y="622"/>
                    <a:pt x="435" y="622"/>
                    <a:pt x="435" y="622"/>
                  </a:cubicBezTo>
                  <a:moveTo>
                    <a:pt x="472" y="622"/>
                  </a:moveTo>
                  <a:cubicBezTo>
                    <a:pt x="465" y="622"/>
                    <a:pt x="456" y="626"/>
                    <a:pt x="452" y="632"/>
                  </a:cubicBezTo>
                  <a:cubicBezTo>
                    <a:pt x="448" y="638"/>
                    <a:pt x="450" y="642"/>
                    <a:pt x="458" y="642"/>
                  </a:cubicBezTo>
                  <a:cubicBezTo>
                    <a:pt x="465" y="642"/>
                    <a:pt x="474" y="637"/>
                    <a:pt x="478" y="632"/>
                  </a:cubicBezTo>
                  <a:cubicBezTo>
                    <a:pt x="482" y="626"/>
                    <a:pt x="479" y="622"/>
                    <a:pt x="472" y="622"/>
                  </a:cubicBezTo>
                  <a:cubicBezTo>
                    <a:pt x="472" y="622"/>
                    <a:pt x="472" y="622"/>
                    <a:pt x="472" y="622"/>
                  </a:cubicBezTo>
                  <a:moveTo>
                    <a:pt x="509" y="622"/>
                  </a:moveTo>
                  <a:cubicBezTo>
                    <a:pt x="502" y="622"/>
                    <a:pt x="493" y="626"/>
                    <a:pt x="489" y="632"/>
                  </a:cubicBezTo>
                  <a:cubicBezTo>
                    <a:pt x="485" y="637"/>
                    <a:pt x="488" y="642"/>
                    <a:pt x="495" y="642"/>
                  </a:cubicBezTo>
                  <a:cubicBezTo>
                    <a:pt x="502" y="642"/>
                    <a:pt x="511" y="637"/>
                    <a:pt x="515" y="632"/>
                  </a:cubicBezTo>
                  <a:cubicBezTo>
                    <a:pt x="519" y="626"/>
                    <a:pt x="516" y="622"/>
                    <a:pt x="509" y="622"/>
                  </a:cubicBezTo>
                  <a:cubicBezTo>
                    <a:pt x="509" y="622"/>
                    <a:pt x="509" y="622"/>
                    <a:pt x="509" y="622"/>
                  </a:cubicBezTo>
                  <a:moveTo>
                    <a:pt x="546" y="621"/>
                  </a:moveTo>
                  <a:cubicBezTo>
                    <a:pt x="539" y="621"/>
                    <a:pt x="530" y="626"/>
                    <a:pt x="526" y="632"/>
                  </a:cubicBezTo>
                  <a:cubicBezTo>
                    <a:pt x="522" y="637"/>
                    <a:pt x="525" y="642"/>
                    <a:pt x="532" y="642"/>
                  </a:cubicBezTo>
                  <a:cubicBezTo>
                    <a:pt x="539" y="642"/>
                    <a:pt x="548" y="637"/>
                    <a:pt x="552" y="631"/>
                  </a:cubicBezTo>
                  <a:cubicBezTo>
                    <a:pt x="556" y="626"/>
                    <a:pt x="553" y="621"/>
                    <a:pt x="546" y="621"/>
                  </a:cubicBezTo>
                  <a:cubicBezTo>
                    <a:pt x="546" y="621"/>
                    <a:pt x="546" y="621"/>
                    <a:pt x="546" y="621"/>
                  </a:cubicBezTo>
                  <a:moveTo>
                    <a:pt x="583" y="621"/>
                  </a:moveTo>
                  <a:cubicBezTo>
                    <a:pt x="576" y="621"/>
                    <a:pt x="567" y="626"/>
                    <a:pt x="563" y="631"/>
                  </a:cubicBezTo>
                  <a:cubicBezTo>
                    <a:pt x="559" y="637"/>
                    <a:pt x="562" y="641"/>
                    <a:pt x="569" y="641"/>
                  </a:cubicBezTo>
                  <a:cubicBezTo>
                    <a:pt x="576" y="641"/>
                    <a:pt x="585" y="637"/>
                    <a:pt x="589" y="631"/>
                  </a:cubicBezTo>
                  <a:cubicBezTo>
                    <a:pt x="593" y="626"/>
                    <a:pt x="590" y="621"/>
                    <a:pt x="583" y="621"/>
                  </a:cubicBezTo>
                  <a:cubicBezTo>
                    <a:pt x="583" y="621"/>
                    <a:pt x="583" y="621"/>
                    <a:pt x="583" y="621"/>
                  </a:cubicBezTo>
                  <a:moveTo>
                    <a:pt x="620" y="621"/>
                  </a:moveTo>
                  <a:cubicBezTo>
                    <a:pt x="613" y="621"/>
                    <a:pt x="604" y="626"/>
                    <a:pt x="600" y="631"/>
                  </a:cubicBezTo>
                  <a:cubicBezTo>
                    <a:pt x="597" y="637"/>
                    <a:pt x="599" y="641"/>
                    <a:pt x="607" y="641"/>
                  </a:cubicBezTo>
                  <a:cubicBezTo>
                    <a:pt x="614" y="641"/>
                    <a:pt x="623" y="637"/>
                    <a:pt x="626" y="631"/>
                  </a:cubicBezTo>
                  <a:cubicBezTo>
                    <a:pt x="630" y="625"/>
                    <a:pt x="627" y="621"/>
                    <a:pt x="620" y="621"/>
                  </a:cubicBezTo>
                  <a:cubicBezTo>
                    <a:pt x="620" y="621"/>
                    <a:pt x="620" y="621"/>
                    <a:pt x="620" y="621"/>
                  </a:cubicBezTo>
                  <a:moveTo>
                    <a:pt x="658" y="621"/>
                  </a:moveTo>
                  <a:cubicBezTo>
                    <a:pt x="650" y="621"/>
                    <a:pt x="642" y="625"/>
                    <a:pt x="638" y="631"/>
                  </a:cubicBezTo>
                  <a:cubicBezTo>
                    <a:pt x="634" y="637"/>
                    <a:pt x="637" y="641"/>
                    <a:pt x="644" y="641"/>
                  </a:cubicBezTo>
                  <a:cubicBezTo>
                    <a:pt x="652" y="641"/>
                    <a:pt x="660" y="636"/>
                    <a:pt x="664" y="631"/>
                  </a:cubicBezTo>
                  <a:cubicBezTo>
                    <a:pt x="668" y="625"/>
                    <a:pt x="665" y="621"/>
                    <a:pt x="658" y="621"/>
                  </a:cubicBezTo>
                  <a:cubicBezTo>
                    <a:pt x="658" y="621"/>
                    <a:pt x="658" y="621"/>
                    <a:pt x="658" y="621"/>
                  </a:cubicBezTo>
                  <a:moveTo>
                    <a:pt x="694" y="620"/>
                  </a:moveTo>
                  <a:cubicBezTo>
                    <a:pt x="687" y="621"/>
                    <a:pt x="679" y="625"/>
                    <a:pt x="675" y="631"/>
                  </a:cubicBezTo>
                  <a:cubicBezTo>
                    <a:pt x="671" y="636"/>
                    <a:pt x="674" y="641"/>
                    <a:pt x="682" y="641"/>
                  </a:cubicBezTo>
                  <a:cubicBezTo>
                    <a:pt x="689" y="641"/>
                    <a:pt x="697" y="636"/>
                    <a:pt x="701" y="631"/>
                  </a:cubicBezTo>
                  <a:cubicBezTo>
                    <a:pt x="705" y="625"/>
                    <a:pt x="702" y="620"/>
                    <a:pt x="695" y="620"/>
                  </a:cubicBezTo>
                  <a:cubicBezTo>
                    <a:pt x="695" y="620"/>
                    <a:pt x="694" y="620"/>
                    <a:pt x="694" y="620"/>
                  </a:cubicBezTo>
                  <a:moveTo>
                    <a:pt x="732" y="620"/>
                  </a:moveTo>
                  <a:cubicBezTo>
                    <a:pt x="724" y="620"/>
                    <a:pt x="716" y="625"/>
                    <a:pt x="712" y="630"/>
                  </a:cubicBezTo>
                  <a:cubicBezTo>
                    <a:pt x="709" y="636"/>
                    <a:pt x="712" y="641"/>
                    <a:pt x="719" y="641"/>
                  </a:cubicBezTo>
                  <a:cubicBezTo>
                    <a:pt x="726" y="641"/>
                    <a:pt x="735" y="636"/>
                    <a:pt x="738" y="630"/>
                  </a:cubicBezTo>
                  <a:cubicBezTo>
                    <a:pt x="742" y="625"/>
                    <a:pt x="739" y="620"/>
                    <a:pt x="732" y="620"/>
                  </a:cubicBezTo>
                  <a:cubicBezTo>
                    <a:pt x="732" y="620"/>
                    <a:pt x="732" y="620"/>
                    <a:pt x="732" y="620"/>
                  </a:cubicBezTo>
                  <a:moveTo>
                    <a:pt x="767" y="620"/>
                  </a:moveTo>
                  <a:cubicBezTo>
                    <a:pt x="760" y="620"/>
                    <a:pt x="752" y="625"/>
                    <a:pt x="748" y="630"/>
                  </a:cubicBezTo>
                  <a:cubicBezTo>
                    <a:pt x="745" y="636"/>
                    <a:pt x="748" y="640"/>
                    <a:pt x="755" y="640"/>
                  </a:cubicBezTo>
                  <a:cubicBezTo>
                    <a:pt x="762" y="640"/>
                    <a:pt x="771" y="636"/>
                    <a:pt x="774" y="630"/>
                  </a:cubicBezTo>
                  <a:cubicBezTo>
                    <a:pt x="778" y="625"/>
                    <a:pt x="775" y="620"/>
                    <a:pt x="767" y="620"/>
                  </a:cubicBezTo>
                  <a:cubicBezTo>
                    <a:pt x="767" y="620"/>
                    <a:pt x="767" y="620"/>
                    <a:pt x="767" y="620"/>
                  </a:cubicBezTo>
                  <a:moveTo>
                    <a:pt x="2025" y="611"/>
                  </a:moveTo>
                  <a:cubicBezTo>
                    <a:pt x="2018" y="611"/>
                    <a:pt x="2011" y="616"/>
                    <a:pt x="2010" y="621"/>
                  </a:cubicBezTo>
                  <a:cubicBezTo>
                    <a:pt x="2009" y="627"/>
                    <a:pt x="2015" y="631"/>
                    <a:pt x="2022" y="631"/>
                  </a:cubicBezTo>
                  <a:cubicBezTo>
                    <a:pt x="2029" y="631"/>
                    <a:pt x="2035" y="627"/>
                    <a:pt x="2036" y="621"/>
                  </a:cubicBezTo>
                  <a:cubicBezTo>
                    <a:pt x="2037" y="616"/>
                    <a:pt x="2032" y="611"/>
                    <a:pt x="2025" y="611"/>
                  </a:cubicBezTo>
                  <a:cubicBezTo>
                    <a:pt x="2025" y="611"/>
                    <a:pt x="2025" y="611"/>
                    <a:pt x="2025" y="611"/>
                  </a:cubicBezTo>
                  <a:moveTo>
                    <a:pt x="2062" y="611"/>
                  </a:moveTo>
                  <a:cubicBezTo>
                    <a:pt x="2055" y="611"/>
                    <a:pt x="2048" y="615"/>
                    <a:pt x="2048" y="621"/>
                  </a:cubicBezTo>
                  <a:cubicBezTo>
                    <a:pt x="2047" y="627"/>
                    <a:pt x="2052" y="631"/>
                    <a:pt x="2059" y="631"/>
                  </a:cubicBezTo>
                  <a:cubicBezTo>
                    <a:pt x="2066" y="631"/>
                    <a:pt x="2073" y="627"/>
                    <a:pt x="2074" y="621"/>
                  </a:cubicBezTo>
                  <a:cubicBezTo>
                    <a:pt x="2074" y="615"/>
                    <a:pt x="2069" y="611"/>
                    <a:pt x="2062" y="611"/>
                  </a:cubicBezTo>
                  <a:cubicBezTo>
                    <a:pt x="2062" y="611"/>
                    <a:pt x="2062" y="611"/>
                    <a:pt x="2062" y="611"/>
                  </a:cubicBezTo>
                  <a:moveTo>
                    <a:pt x="2100" y="611"/>
                  </a:moveTo>
                  <a:cubicBezTo>
                    <a:pt x="2093" y="611"/>
                    <a:pt x="2087" y="615"/>
                    <a:pt x="2086" y="621"/>
                  </a:cubicBezTo>
                  <a:cubicBezTo>
                    <a:pt x="2085" y="627"/>
                    <a:pt x="2090" y="631"/>
                    <a:pt x="2097" y="631"/>
                  </a:cubicBezTo>
                  <a:cubicBezTo>
                    <a:pt x="2105" y="631"/>
                    <a:pt x="2111" y="626"/>
                    <a:pt x="2112" y="621"/>
                  </a:cubicBezTo>
                  <a:cubicBezTo>
                    <a:pt x="2113" y="615"/>
                    <a:pt x="2107" y="611"/>
                    <a:pt x="2100" y="611"/>
                  </a:cubicBezTo>
                  <a:cubicBezTo>
                    <a:pt x="2100" y="611"/>
                    <a:pt x="2100" y="611"/>
                    <a:pt x="2100" y="611"/>
                  </a:cubicBezTo>
                  <a:moveTo>
                    <a:pt x="2137" y="610"/>
                  </a:moveTo>
                  <a:cubicBezTo>
                    <a:pt x="2130" y="610"/>
                    <a:pt x="2123" y="615"/>
                    <a:pt x="2123" y="621"/>
                  </a:cubicBezTo>
                  <a:cubicBezTo>
                    <a:pt x="2122" y="626"/>
                    <a:pt x="2127" y="631"/>
                    <a:pt x="2134" y="631"/>
                  </a:cubicBezTo>
                  <a:cubicBezTo>
                    <a:pt x="2142" y="631"/>
                    <a:pt x="2148" y="626"/>
                    <a:pt x="2149" y="621"/>
                  </a:cubicBezTo>
                  <a:cubicBezTo>
                    <a:pt x="2149" y="615"/>
                    <a:pt x="2144" y="610"/>
                    <a:pt x="2137" y="610"/>
                  </a:cubicBezTo>
                  <a:cubicBezTo>
                    <a:pt x="2137" y="610"/>
                    <a:pt x="2137" y="610"/>
                    <a:pt x="2137" y="610"/>
                  </a:cubicBezTo>
                  <a:moveTo>
                    <a:pt x="2174" y="610"/>
                  </a:moveTo>
                  <a:cubicBezTo>
                    <a:pt x="2167" y="610"/>
                    <a:pt x="2161" y="615"/>
                    <a:pt x="2160" y="620"/>
                  </a:cubicBezTo>
                  <a:cubicBezTo>
                    <a:pt x="2159" y="626"/>
                    <a:pt x="2165" y="631"/>
                    <a:pt x="2172" y="631"/>
                  </a:cubicBezTo>
                  <a:cubicBezTo>
                    <a:pt x="2179" y="631"/>
                    <a:pt x="2185" y="626"/>
                    <a:pt x="2186" y="620"/>
                  </a:cubicBezTo>
                  <a:cubicBezTo>
                    <a:pt x="2186" y="615"/>
                    <a:pt x="2181" y="610"/>
                    <a:pt x="2174" y="610"/>
                  </a:cubicBezTo>
                  <a:cubicBezTo>
                    <a:pt x="2174" y="610"/>
                    <a:pt x="2174" y="610"/>
                    <a:pt x="2174" y="610"/>
                  </a:cubicBezTo>
                  <a:moveTo>
                    <a:pt x="2433" y="608"/>
                  </a:moveTo>
                  <a:cubicBezTo>
                    <a:pt x="2426" y="608"/>
                    <a:pt x="2420" y="613"/>
                    <a:pt x="2420" y="618"/>
                  </a:cubicBezTo>
                  <a:cubicBezTo>
                    <a:pt x="2419" y="624"/>
                    <a:pt x="2425" y="628"/>
                    <a:pt x="2432" y="628"/>
                  </a:cubicBezTo>
                  <a:cubicBezTo>
                    <a:pt x="2440" y="628"/>
                    <a:pt x="2445" y="624"/>
                    <a:pt x="2446" y="618"/>
                  </a:cubicBezTo>
                  <a:cubicBezTo>
                    <a:pt x="2446" y="612"/>
                    <a:pt x="2440" y="608"/>
                    <a:pt x="2433" y="608"/>
                  </a:cubicBezTo>
                  <a:cubicBezTo>
                    <a:pt x="2433" y="608"/>
                    <a:pt x="2433" y="608"/>
                    <a:pt x="2433" y="608"/>
                  </a:cubicBezTo>
                  <a:moveTo>
                    <a:pt x="2802" y="607"/>
                  </a:moveTo>
                  <a:cubicBezTo>
                    <a:pt x="2795" y="607"/>
                    <a:pt x="2790" y="611"/>
                    <a:pt x="2790" y="617"/>
                  </a:cubicBezTo>
                  <a:cubicBezTo>
                    <a:pt x="2791" y="623"/>
                    <a:pt x="2797" y="627"/>
                    <a:pt x="2804" y="627"/>
                  </a:cubicBezTo>
                  <a:cubicBezTo>
                    <a:pt x="2812" y="627"/>
                    <a:pt x="2817" y="623"/>
                    <a:pt x="2816" y="617"/>
                  </a:cubicBezTo>
                  <a:cubicBezTo>
                    <a:pt x="2816" y="611"/>
                    <a:pt x="2809" y="607"/>
                    <a:pt x="2802" y="607"/>
                  </a:cubicBezTo>
                  <a:cubicBezTo>
                    <a:pt x="2802" y="607"/>
                    <a:pt x="2802" y="607"/>
                    <a:pt x="2802" y="607"/>
                  </a:cubicBezTo>
                  <a:moveTo>
                    <a:pt x="2837" y="607"/>
                  </a:moveTo>
                  <a:cubicBezTo>
                    <a:pt x="2830" y="607"/>
                    <a:pt x="2825" y="611"/>
                    <a:pt x="2825" y="617"/>
                  </a:cubicBezTo>
                  <a:cubicBezTo>
                    <a:pt x="2826" y="622"/>
                    <a:pt x="2832" y="627"/>
                    <a:pt x="2839" y="627"/>
                  </a:cubicBezTo>
                  <a:cubicBezTo>
                    <a:pt x="2847" y="627"/>
                    <a:pt x="2852" y="622"/>
                    <a:pt x="2851" y="617"/>
                  </a:cubicBezTo>
                  <a:cubicBezTo>
                    <a:pt x="2850" y="611"/>
                    <a:pt x="2844" y="607"/>
                    <a:pt x="2837" y="607"/>
                  </a:cubicBezTo>
                  <a:cubicBezTo>
                    <a:pt x="2837" y="607"/>
                    <a:pt x="2837" y="607"/>
                    <a:pt x="2837" y="607"/>
                  </a:cubicBezTo>
                  <a:moveTo>
                    <a:pt x="2874" y="606"/>
                  </a:moveTo>
                  <a:cubicBezTo>
                    <a:pt x="2866" y="606"/>
                    <a:pt x="2861" y="611"/>
                    <a:pt x="2862" y="617"/>
                  </a:cubicBezTo>
                  <a:cubicBezTo>
                    <a:pt x="2863" y="622"/>
                    <a:pt x="2869" y="627"/>
                    <a:pt x="2876" y="627"/>
                  </a:cubicBezTo>
                  <a:cubicBezTo>
                    <a:pt x="2883" y="627"/>
                    <a:pt x="2889" y="622"/>
                    <a:pt x="2888" y="616"/>
                  </a:cubicBezTo>
                  <a:cubicBezTo>
                    <a:pt x="2887" y="611"/>
                    <a:pt x="2881" y="606"/>
                    <a:pt x="2874" y="606"/>
                  </a:cubicBezTo>
                  <a:cubicBezTo>
                    <a:pt x="2874" y="606"/>
                    <a:pt x="2874" y="606"/>
                    <a:pt x="2874" y="606"/>
                  </a:cubicBezTo>
                  <a:moveTo>
                    <a:pt x="2655" y="606"/>
                  </a:moveTo>
                  <a:cubicBezTo>
                    <a:pt x="2648" y="606"/>
                    <a:pt x="2642" y="611"/>
                    <a:pt x="2643" y="616"/>
                  </a:cubicBezTo>
                  <a:cubicBezTo>
                    <a:pt x="2643" y="622"/>
                    <a:pt x="2649" y="627"/>
                    <a:pt x="2656" y="627"/>
                  </a:cubicBezTo>
                  <a:cubicBezTo>
                    <a:pt x="2663" y="627"/>
                    <a:pt x="2669" y="622"/>
                    <a:pt x="2669" y="616"/>
                  </a:cubicBezTo>
                  <a:cubicBezTo>
                    <a:pt x="2668" y="611"/>
                    <a:pt x="2662" y="606"/>
                    <a:pt x="2655" y="606"/>
                  </a:cubicBezTo>
                  <a:cubicBezTo>
                    <a:pt x="2655" y="606"/>
                    <a:pt x="2655" y="606"/>
                    <a:pt x="2655" y="606"/>
                  </a:cubicBezTo>
                  <a:moveTo>
                    <a:pt x="2911" y="606"/>
                  </a:moveTo>
                  <a:cubicBezTo>
                    <a:pt x="2903" y="606"/>
                    <a:pt x="2898" y="611"/>
                    <a:pt x="2899" y="616"/>
                  </a:cubicBezTo>
                  <a:cubicBezTo>
                    <a:pt x="2900" y="622"/>
                    <a:pt x="2906" y="627"/>
                    <a:pt x="2914" y="627"/>
                  </a:cubicBezTo>
                  <a:cubicBezTo>
                    <a:pt x="2921" y="627"/>
                    <a:pt x="2926" y="622"/>
                    <a:pt x="2925" y="616"/>
                  </a:cubicBezTo>
                  <a:cubicBezTo>
                    <a:pt x="2924" y="611"/>
                    <a:pt x="2918" y="606"/>
                    <a:pt x="2911" y="606"/>
                  </a:cubicBezTo>
                  <a:cubicBezTo>
                    <a:pt x="2911" y="606"/>
                    <a:pt x="2911" y="606"/>
                    <a:pt x="2911" y="606"/>
                  </a:cubicBezTo>
                  <a:moveTo>
                    <a:pt x="2691" y="606"/>
                  </a:moveTo>
                  <a:cubicBezTo>
                    <a:pt x="2684" y="606"/>
                    <a:pt x="2679" y="611"/>
                    <a:pt x="2679" y="616"/>
                  </a:cubicBezTo>
                  <a:cubicBezTo>
                    <a:pt x="2680" y="622"/>
                    <a:pt x="2686" y="626"/>
                    <a:pt x="2693" y="626"/>
                  </a:cubicBezTo>
                  <a:cubicBezTo>
                    <a:pt x="2700" y="626"/>
                    <a:pt x="2706" y="622"/>
                    <a:pt x="2705" y="616"/>
                  </a:cubicBezTo>
                  <a:cubicBezTo>
                    <a:pt x="2705" y="610"/>
                    <a:pt x="2699" y="606"/>
                    <a:pt x="2692" y="606"/>
                  </a:cubicBezTo>
                  <a:cubicBezTo>
                    <a:pt x="2692" y="606"/>
                    <a:pt x="2692" y="606"/>
                    <a:pt x="2691" y="606"/>
                  </a:cubicBezTo>
                  <a:moveTo>
                    <a:pt x="2765" y="606"/>
                  </a:moveTo>
                  <a:cubicBezTo>
                    <a:pt x="2758" y="606"/>
                    <a:pt x="2753" y="611"/>
                    <a:pt x="2753" y="616"/>
                  </a:cubicBezTo>
                  <a:cubicBezTo>
                    <a:pt x="2754" y="622"/>
                    <a:pt x="2760" y="626"/>
                    <a:pt x="2767" y="626"/>
                  </a:cubicBezTo>
                  <a:cubicBezTo>
                    <a:pt x="2774" y="626"/>
                    <a:pt x="2780" y="622"/>
                    <a:pt x="2779" y="616"/>
                  </a:cubicBezTo>
                  <a:cubicBezTo>
                    <a:pt x="2779" y="610"/>
                    <a:pt x="2772" y="606"/>
                    <a:pt x="2765" y="606"/>
                  </a:cubicBezTo>
                  <a:cubicBezTo>
                    <a:pt x="2765" y="606"/>
                    <a:pt x="2765" y="606"/>
                    <a:pt x="2765" y="606"/>
                  </a:cubicBezTo>
                  <a:moveTo>
                    <a:pt x="2948" y="606"/>
                  </a:moveTo>
                  <a:cubicBezTo>
                    <a:pt x="2941" y="606"/>
                    <a:pt x="2936" y="611"/>
                    <a:pt x="2937" y="616"/>
                  </a:cubicBezTo>
                  <a:cubicBezTo>
                    <a:pt x="2937" y="622"/>
                    <a:pt x="2944" y="626"/>
                    <a:pt x="2951" y="626"/>
                  </a:cubicBezTo>
                  <a:cubicBezTo>
                    <a:pt x="2958" y="626"/>
                    <a:pt x="2963" y="622"/>
                    <a:pt x="2962" y="616"/>
                  </a:cubicBezTo>
                  <a:cubicBezTo>
                    <a:pt x="2962" y="610"/>
                    <a:pt x="2955" y="606"/>
                    <a:pt x="2948" y="606"/>
                  </a:cubicBezTo>
                  <a:cubicBezTo>
                    <a:pt x="2948" y="606"/>
                    <a:pt x="2948" y="606"/>
                    <a:pt x="2948" y="606"/>
                  </a:cubicBezTo>
                  <a:moveTo>
                    <a:pt x="2728" y="606"/>
                  </a:moveTo>
                  <a:cubicBezTo>
                    <a:pt x="2721" y="606"/>
                    <a:pt x="2716" y="610"/>
                    <a:pt x="2716" y="616"/>
                  </a:cubicBezTo>
                  <a:cubicBezTo>
                    <a:pt x="2717" y="622"/>
                    <a:pt x="2723" y="626"/>
                    <a:pt x="2730" y="626"/>
                  </a:cubicBezTo>
                  <a:cubicBezTo>
                    <a:pt x="2737" y="626"/>
                    <a:pt x="2742" y="622"/>
                    <a:pt x="2742" y="616"/>
                  </a:cubicBezTo>
                  <a:cubicBezTo>
                    <a:pt x="2741" y="610"/>
                    <a:pt x="2735" y="606"/>
                    <a:pt x="2728" y="606"/>
                  </a:cubicBezTo>
                  <a:cubicBezTo>
                    <a:pt x="2728" y="606"/>
                    <a:pt x="2728" y="606"/>
                    <a:pt x="2728" y="606"/>
                  </a:cubicBezTo>
                  <a:moveTo>
                    <a:pt x="2984" y="606"/>
                  </a:moveTo>
                  <a:cubicBezTo>
                    <a:pt x="2977" y="606"/>
                    <a:pt x="2972" y="610"/>
                    <a:pt x="2973" y="616"/>
                  </a:cubicBezTo>
                  <a:cubicBezTo>
                    <a:pt x="2974" y="622"/>
                    <a:pt x="2981" y="626"/>
                    <a:pt x="2988" y="626"/>
                  </a:cubicBezTo>
                  <a:cubicBezTo>
                    <a:pt x="2995" y="626"/>
                    <a:pt x="3000" y="621"/>
                    <a:pt x="2999" y="616"/>
                  </a:cubicBezTo>
                  <a:cubicBezTo>
                    <a:pt x="2998" y="610"/>
                    <a:pt x="2992" y="606"/>
                    <a:pt x="2985" y="606"/>
                  </a:cubicBezTo>
                  <a:cubicBezTo>
                    <a:pt x="2985" y="606"/>
                    <a:pt x="2985" y="606"/>
                    <a:pt x="2984" y="606"/>
                  </a:cubicBezTo>
                  <a:moveTo>
                    <a:pt x="2618" y="605"/>
                  </a:moveTo>
                  <a:cubicBezTo>
                    <a:pt x="2611" y="606"/>
                    <a:pt x="2606" y="610"/>
                    <a:pt x="2606" y="616"/>
                  </a:cubicBezTo>
                  <a:cubicBezTo>
                    <a:pt x="2606" y="621"/>
                    <a:pt x="2612" y="626"/>
                    <a:pt x="2619" y="626"/>
                  </a:cubicBezTo>
                  <a:cubicBezTo>
                    <a:pt x="2626" y="626"/>
                    <a:pt x="2632" y="621"/>
                    <a:pt x="2632" y="616"/>
                  </a:cubicBezTo>
                  <a:cubicBezTo>
                    <a:pt x="2632" y="610"/>
                    <a:pt x="2626" y="605"/>
                    <a:pt x="2618" y="605"/>
                  </a:cubicBezTo>
                  <a:cubicBezTo>
                    <a:pt x="2618" y="605"/>
                    <a:pt x="2618" y="605"/>
                    <a:pt x="2618" y="605"/>
                  </a:cubicBezTo>
                  <a:moveTo>
                    <a:pt x="3021" y="605"/>
                  </a:moveTo>
                  <a:cubicBezTo>
                    <a:pt x="3014" y="605"/>
                    <a:pt x="3009" y="610"/>
                    <a:pt x="3010" y="616"/>
                  </a:cubicBezTo>
                  <a:cubicBezTo>
                    <a:pt x="3011" y="621"/>
                    <a:pt x="3018" y="626"/>
                    <a:pt x="3025" y="626"/>
                  </a:cubicBezTo>
                  <a:cubicBezTo>
                    <a:pt x="3032" y="626"/>
                    <a:pt x="3037" y="621"/>
                    <a:pt x="3036" y="616"/>
                  </a:cubicBezTo>
                  <a:cubicBezTo>
                    <a:pt x="3035" y="610"/>
                    <a:pt x="3029" y="605"/>
                    <a:pt x="3021" y="605"/>
                  </a:cubicBezTo>
                  <a:cubicBezTo>
                    <a:pt x="3021" y="605"/>
                    <a:pt x="3021" y="605"/>
                    <a:pt x="3021" y="605"/>
                  </a:cubicBezTo>
                  <a:moveTo>
                    <a:pt x="3058" y="605"/>
                  </a:moveTo>
                  <a:cubicBezTo>
                    <a:pt x="3051" y="605"/>
                    <a:pt x="3046" y="610"/>
                    <a:pt x="3047" y="616"/>
                  </a:cubicBezTo>
                  <a:cubicBezTo>
                    <a:pt x="3048" y="621"/>
                    <a:pt x="3055" y="626"/>
                    <a:pt x="3062" y="626"/>
                  </a:cubicBezTo>
                  <a:cubicBezTo>
                    <a:pt x="3069" y="626"/>
                    <a:pt x="3074" y="621"/>
                    <a:pt x="3073" y="615"/>
                  </a:cubicBezTo>
                  <a:cubicBezTo>
                    <a:pt x="3072" y="610"/>
                    <a:pt x="3065" y="605"/>
                    <a:pt x="3058" y="605"/>
                  </a:cubicBezTo>
                  <a:cubicBezTo>
                    <a:pt x="3058" y="605"/>
                    <a:pt x="3058" y="605"/>
                    <a:pt x="3058" y="605"/>
                  </a:cubicBezTo>
                  <a:moveTo>
                    <a:pt x="3095" y="605"/>
                  </a:moveTo>
                  <a:cubicBezTo>
                    <a:pt x="3088" y="605"/>
                    <a:pt x="3083" y="610"/>
                    <a:pt x="3084" y="615"/>
                  </a:cubicBezTo>
                  <a:cubicBezTo>
                    <a:pt x="3085" y="621"/>
                    <a:pt x="3092" y="626"/>
                    <a:pt x="3099" y="626"/>
                  </a:cubicBezTo>
                  <a:cubicBezTo>
                    <a:pt x="3107" y="625"/>
                    <a:pt x="3111" y="621"/>
                    <a:pt x="3110" y="615"/>
                  </a:cubicBezTo>
                  <a:cubicBezTo>
                    <a:pt x="3109" y="610"/>
                    <a:pt x="3102" y="605"/>
                    <a:pt x="3095" y="605"/>
                  </a:cubicBezTo>
                  <a:cubicBezTo>
                    <a:pt x="3095" y="605"/>
                    <a:pt x="3095" y="605"/>
                    <a:pt x="3095" y="605"/>
                  </a:cubicBezTo>
                  <a:moveTo>
                    <a:pt x="3133" y="605"/>
                  </a:moveTo>
                  <a:cubicBezTo>
                    <a:pt x="3126" y="605"/>
                    <a:pt x="3121" y="609"/>
                    <a:pt x="3122" y="615"/>
                  </a:cubicBezTo>
                  <a:cubicBezTo>
                    <a:pt x="3124" y="621"/>
                    <a:pt x="3131" y="625"/>
                    <a:pt x="3138" y="625"/>
                  </a:cubicBezTo>
                  <a:cubicBezTo>
                    <a:pt x="3145" y="625"/>
                    <a:pt x="3150" y="621"/>
                    <a:pt x="3148" y="615"/>
                  </a:cubicBezTo>
                  <a:cubicBezTo>
                    <a:pt x="3147" y="609"/>
                    <a:pt x="3140" y="605"/>
                    <a:pt x="3133" y="605"/>
                  </a:cubicBezTo>
                  <a:cubicBezTo>
                    <a:pt x="3133" y="605"/>
                    <a:pt x="3133" y="605"/>
                    <a:pt x="3133" y="605"/>
                  </a:cubicBezTo>
                  <a:moveTo>
                    <a:pt x="3170" y="605"/>
                  </a:moveTo>
                  <a:cubicBezTo>
                    <a:pt x="3163" y="605"/>
                    <a:pt x="3158" y="609"/>
                    <a:pt x="3159" y="615"/>
                  </a:cubicBezTo>
                  <a:cubicBezTo>
                    <a:pt x="3161" y="621"/>
                    <a:pt x="3167" y="625"/>
                    <a:pt x="3175" y="625"/>
                  </a:cubicBezTo>
                  <a:cubicBezTo>
                    <a:pt x="3182" y="625"/>
                    <a:pt x="3187" y="620"/>
                    <a:pt x="3185" y="615"/>
                  </a:cubicBezTo>
                  <a:cubicBezTo>
                    <a:pt x="3184" y="609"/>
                    <a:pt x="3177" y="605"/>
                    <a:pt x="3170" y="605"/>
                  </a:cubicBezTo>
                  <a:cubicBezTo>
                    <a:pt x="3170" y="605"/>
                    <a:pt x="3170" y="605"/>
                    <a:pt x="3170" y="605"/>
                  </a:cubicBezTo>
                  <a:moveTo>
                    <a:pt x="3207" y="604"/>
                  </a:moveTo>
                  <a:cubicBezTo>
                    <a:pt x="3200" y="604"/>
                    <a:pt x="3195" y="609"/>
                    <a:pt x="3196" y="615"/>
                  </a:cubicBezTo>
                  <a:cubicBezTo>
                    <a:pt x="3198" y="620"/>
                    <a:pt x="3205" y="625"/>
                    <a:pt x="3212" y="625"/>
                  </a:cubicBezTo>
                  <a:cubicBezTo>
                    <a:pt x="3219" y="625"/>
                    <a:pt x="3224" y="620"/>
                    <a:pt x="3222" y="615"/>
                  </a:cubicBezTo>
                  <a:cubicBezTo>
                    <a:pt x="3221" y="609"/>
                    <a:pt x="3214" y="604"/>
                    <a:pt x="3207" y="604"/>
                  </a:cubicBezTo>
                  <a:cubicBezTo>
                    <a:pt x="3207" y="604"/>
                    <a:pt x="3207" y="604"/>
                    <a:pt x="3207" y="604"/>
                  </a:cubicBezTo>
                  <a:moveTo>
                    <a:pt x="3244" y="604"/>
                  </a:moveTo>
                  <a:cubicBezTo>
                    <a:pt x="3237" y="604"/>
                    <a:pt x="3232" y="609"/>
                    <a:pt x="3234" y="614"/>
                  </a:cubicBezTo>
                  <a:cubicBezTo>
                    <a:pt x="3235" y="620"/>
                    <a:pt x="3242" y="625"/>
                    <a:pt x="3249" y="625"/>
                  </a:cubicBezTo>
                  <a:cubicBezTo>
                    <a:pt x="3257" y="625"/>
                    <a:pt x="3261" y="620"/>
                    <a:pt x="3260" y="614"/>
                  </a:cubicBezTo>
                  <a:cubicBezTo>
                    <a:pt x="3258" y="609"/>
                    <a:pt x="3251" y="604"/>
                    <a:pt x="3244" y="604"/>
                  </a:cubicBezTo>
                  <a:cubicBezTo>
                    <a:pt x="3244" y="604"/>
                    <a:pt x="3244" y="604"/>
                    <a:pt x="3244" y="604"/>
                  </a:cubicBezTo>
                  <a:moveTo>
                    <a:pt x="3281" y="604"/>
                  </a:moveTo>
                  <a:cubicBezTo>
                    <a:pt x="3273" y="604"/>
                    <a:pt x="3269" y="609"/>
                    <a:pt x="3271" y="614"/>
                  </a:cubicBezTo>
                  <a:cubicBezTo>
                    <a:pt x="3272" y="620"/>
                    <a:pt x="3279" y="624"/>
                    <a:pt x="3286" y="624"/>
                  </a:cubicBezTo>
                  <a:cubicBezTo>
                    <a:pt x="3293" y="624"/>
                    <a:pt x="3298" y="620"/>
                    <a:pt x="3296" y="614"/>
                  </a:cubicBezTo>
                  <a:cubicBezTo>
                    <a:pt x="3295" y="608"/>
                    <a:pt x="3288" y="604"/>
                    <a:pt x="3281" y="604"/>
                  </a:cubicBezTo>
                  <a:cubicBezTo>
                    <a:pt x="3281" y="604"/>
                    <a:pt x="3281" y="604"/>
                    <a:pt x="3281" y="604"/>
                  </a:cubicBezTo>
                  <a:moveTo>
                    <a:pt x="3317" y="604"/>
                  </a:moveTo>
                  <a:cubicBezTo>
                    <a:pt x="3310" y="604"/>
                    <a:pt x="3306" y="608"/>
                    <a:pt x="3307" y="614"/>
                  </a:cubicBezTo>
                  <a:cubicBezTo>
                    <a:pt x="3309" y="620"/>
                    <a:pt x="3316" y="624"/>
                    <a:pt x="3323" y="624"/>
                  </a:cubicBezTo>
                  <a:cubicBezTo>
                    <a:pt x="3331" y="624"/>
                    <a:pt x="3335" y="620"/>
                    <a:pt x="3333" y="614"/>
                  </a:cubicBezTo>
                  <a:cubicBezTo>
                    <a:pt x="3332" y="608"/>
                    <a:pt x="3325" y="604"/>
                    <a:pt x="3318" y="604"/>
                  </a:cubicBezTo>
                  <a:cubicBezTo>
                    <a:pt x="3318" y="604"/>
                    <a:pt x="3317" y="604"/>
                    <a:pt x="3317" y="604"/>
                  </a:cubicBezTo>
                  <a:moveTo>
                    <a:pt x="3354" y="604"/>
                  </a:moveTo>
                  <a:cubicBezTo>
                    <a:pt x="3347" y="604"/>
                    <a:pt x="3343" y="608"/>
                    <a:pt x="3344" y="614"/>
                  </a:cubicBezTo>
                  <a:cubicBezTo>
                    <a:pt x="3346" y="620"/>
                    <a:pt x="3353" y="624"/>
                    <a:pt x="3360" y="624"/>
                  </a:cubicBezTo>
                  <a:cubicBezTo>
                    <a:pt x="3368" y="624"/>
                    <a:pt x="3372" y="619"/>
                    <a:pt x="3370" y="614"/>
                  </a:cubicBezTo>
                  <a:cubicBezTo>
                    <a:pt x="3368" y="608"/>
                    <a:pt x="3361" y="604"/>
                    <a:pt x="3354" y="604"/>
                  </a:cubicBezTo>
                  <a:cubicBezTo>
                    <a:pt x="3354" y="604"/>
                    <a:pt x="3354" y="604"/>
                    <a:pt x="3354" y="604"/>
                  </a:cubicBezTo>
                  <a:moveTo>
                    <a:pt x="3391" y="603"/>
                  </a:moveTo>
                  <a:cubicBezTo>
                    <a:pt x="3384" y="603"/>
                    <a:pt x="3380" y="608"/>
                    <a:pt x="3381" y="614"/>
                  </a:cubicBezTo>
                  <a:cubicBezTo>
                    <a:pt x="3383" y="619"/>
                    <a:pt x="3390" y="624"/>
                    <a:pt x="3398" y="624"/>
                  </a:cubicBezTo>
                  <a:cubicBezTo>
                    <a:pt x="3405" y="624"/>
                    <a:pt x="3409" y="619"/>
                    <a:pt x="3407" y="613"/>
                  </a:cubicBezTo>
                  <a:cubicBezTo>
                    <a:pt x="3405" y="608"/>
                    <a:pt x="3398" y="603"/>
                    <a:pt x="3391" y="603"/>
                  </a:cubicBezTo>
                  <a:cubicBezTo>
                    <a:pt x="3391" y="603"/>
                    <a:pt x="3391" y="603"/>
                    <a:pt x="3391" y="603"/>
                  </a:cubicBezTo>
                  <a:moveTo>
                    <a:pt x="3428" y="603"/>
                  </a:moveTo>
                  <a:cubicBezTo>
                    <a:pt x="3421" y="603"/>
                    <a:pt x="3417" y="608"/>
                    <a:pt x="3419" y="613"/>
                  </a:cubicBezTo>
                  <a:cubicBezTo>
                    <a:pt x="3421" y="619"/>
                    <a:pt x="3428" y="624"/>
                    <a:pt x="3435" y="624"/>
                  </a:cubicBezTo>
                  <a:cubicBezTo>
                    <a:pt x="3442" y="624"/>
                    <a:pt x="3447" y="619"/>
                    <a:pt x="3445" y="613"/>
                  </a:cubicBezTo>
                  <a:cubicBezTo>
                    <a:pt x="3443" y="608"/>
                    <a:pt x="3435" y="603"/>
                    <a:pt x="3428" y="603"/>
                  </a:cubicBezTo>
                  <a:cubicBezTo>
                    <a:pt x="3428" y="603"/>
                    <a:pt x="3428" y="603"/>
                    <a:pt x="3428" y="603"/>
                  </a:cubicBezTo>
                  <a:moveTo>
                    <a:pt x="3465" y="603"/>
                  </a:moveTo>
                  <a:cubicBezTo>
                    <a:pt x="3458" y="603"/>
                    <a:pt x="3454" y="608"/>
                    <a:pt x="3456" y="613"/>
                  </a:cubicBezTo>
                  <a:cubicBezTo>
                    <a:pt x="3457" y="619"/>
                    <a:pt x="3465" y="623"/>
                    <a:pt x="3472" y="623"/>
                  </a:cubicBezTo>
                  <a:cubicBezTo>
                    <a:pt x="3479" y="623"/>
                    <a:pt x="3483" y="619"/>
                    <a:pt x="3481" y="613"/>
                  </a:cubicBezTo>
                  <a:cubicBezTo>
                    <a:pt x="3479" y="607"/>
                    <a:pt x="3472" y="603"/>
                    <a:pt x="3465" y="603"/>
                  </a:cubicBezTo>
                  <a:cubicBezTo>
                    <a:pt x="3465" y="603"/>
                    <a:pt x="3465" y="603"/>
                    <a:pt x="3465" y="603"/>
                  </a:cubicBezTo>
                  <a:moveTo>
                    <a:pt x="3502" y="603"/>
                  </a:moveTo>
                  <a:cubicBezTo>
                    <a:pt x="3495" y="603"/>
                    <a:pt x="3490" y="607"/>
                    <a:pt x="3492" y="613"/>
                  </a:cubicBezTo>
                  <a:cubicBezTo>
                    <a:pt x="3494" y="619"/>
                    <a:pt x="3502" y="623"/>
                    <a:pt x="3509" y="623"/>
                  </a:cubicBezTo>
                  <a:cubicBezTo>
                    <a:pt x="3516" y="623"/>
                    <a:pt x="3520" y="619"/>
                    <a:pt x="3518" y="613"/>
                  </a:cubicBezTo>
                  <a:cubicBezTo>
                    <a:pt x="3516" y="607"/>
                    <a:pt x="3509" y="603"/>
                    <a:pt x="3502" y="603"/>
                  </a:cubicBezTo>
                  <a:cubicBezTo>
                    <a:pt x="3502" y="603"/>
                    <a:pt x="3502" y="603"/>
                    <a:pt x="3502" y="603"/>
                  </a:cubicBezTo>
                  <a:moveTo>
                    <a:pt x="3538" y="602"/>
                  </a:moveTo>
                  <a:cubicBezTo>
                    <a:pt x="3531" y="602"/>
                    <a:pt x="3527" y="607"/>
                    <a:pt x="3529" y="613"/>
                  </a:cubicBezTo>
                  <a:cubicBezTo>
                    <a:pt x="3531" y="618"/>
                    <a:pt x="3539" y="623"/>
                    <a:pt x="3546" y="623"/>
                  </a:cubicBezTo>
                  <a:cubicBezTo>
                    <a:pt x="3553" y="623"/>
                    <a:pt x="3557" y="618"/>
                    <a:pt x="3555" y="613"/>
                  </a:cubicBezTo>
                  <a:cubicBezTo>
                    <a:pt x="3553" y="607"/>
                    <a:pt x="3546" y="602"/>
                    <a:pt x="3538" y="602"/>
                  </a:cubicBezTo>
                  <a:cubicBezTo>
                    <a:pt x="3538" y="602"/>
                    <a:pt x="3538" y="602"/>
                    <a:pt x="3538" y="602"/>
                  </a:cubicBezTo>
                  <a:moveTo>
                    <a:pt x="3575" y="602"/>
                  </a:moveTo>
                  <a:cubicBezTo>
                    <a:pt x="3568" y="602"/>
                    <a:pt x="3564" y="607"/>
                    <a:pt x="3566" y="613"/>
                  </a:cubicBezTo>
                  <a:cubicBezTo>
                    <a:pt x="3568" y="618"/>
                    <a:pt x="3576" y="623"/>
                    <a:pt x="3583" y="623"/>
                  </a:cubicBezTo>
                  <a:cubicBezTo>
                    <a:pt x="3590" y="623"/>
                    <a:pt x="3594" y="618"/>
                    <a:pt x="3592" y="612"/>
                  </a:cubicBezTo>
                  <a:cubicBezTo>
                    <a:pt x="3590" y="607"/>
                    <a:pt x="3583" y="602"/>
                    <a:pt x="3575" y="602"/>
                  </a:cubicBezTo>
                  <a:cubicBezTo>
                    <a:pt x="3575" y="602"/>
                    <a:pt x="3575" y="602"/>
                    <a:pt x="3575" y="602"/>
                  </a:cubicBezTo>
                  <a:moveTo>
                    <a:pt x="3613" y="602"/>
                  </a:moveTo>
                  <a:cubicBezTo>
                    <a:pt x="3605" y="602"/>
                    <a:pt x="3601" y="607"/>
                    <a:pt x="3604" y="612"/>
                  </a:cubicBezTo>
                  <a:cubicBezTo>
                    <a:pt x="3606" y="618"/>
                    <a:pt x="3614" y="623"/>
                    <a:pt x="3621" y="623"/>
                  </a:cubicBezTo>
                  <a:cubicBezTo>
                    <a:pt x="3628" y="622"/>
                    <a:pt x="3632" y="618"/>
                    <a:pt x="3630" y="612"/>
                  </a:cubicBezTo>
                  <a:cubicBezTo>
                    <a:pt x="3627" y="607"/>
                    <a:pt x="3620" y="602"/>
                    <a:pt x="3613" y="602"/>
                  </a:cubicBezTo>
                  <a:cubicBezTo>
                    <a:pt x="3613" y="602"/>
                    <a:pt x="3613" y="602"/>
                    <a:pt x="3613" y="602"/>
                  </a:cubicBezTo>
                  <a:moveTo>
                    <a:pt x="3649" y="601"/>
                  </a:moveTo>
                  <a:cubicBezTo>
                    <a:pt x="3642" y="601"/>
                    <a:pt x="3638" y="606"/>
                    <a:pt x="3641" y="612"/>
                  </a:cubicBezTo>
                  <a:cubicBezTo>
                    <a:pt x="3643" y="617"/>
                    <a:pt x="3651" y="622"/>
                    <a:pt x="3658" y="622"/>
                  </a:cubicBezTo>
                  <a:cubicBezTo>
                    <a:pt x="3665" y="622"/>
                    <a:pt x="3669" y="617"/>
                    <a:pt x="3666" y="612"/>
                  </a:cubicBezTo>
                  <a:cubicBezTo>
                    <a:pt x="3664" y="606"/>
                    <a:pt x="3656" y="601"/>
                    <a:pt x="3649" y="601"/>
                  </a:cubicBezTo>
                  <a:cubicBezTo>
                    <a:pt x="3649" y="601"/>
                    <a:pt x="3649" y="601"/>
                    <a:pt x="3649" y="601"/>
                  </a:cubicBezTo>
                  <a:moveTo>
                    <a:pt x="3686" y="601"/>
                  </a:moveTo>
                  <a:cubicBezTo>
                    <a:pt x="3679" y="601"/>
                    <a:pt x="3675" y="606"/>
                    <a:pt x="3677" y="612"/>
                  </a:cubicBezTo>
                  <a:cubicBezTo>
                    <a:pt x="3680" y="617"/>
                    <a:pt x="3687" y="622"/>
                    <a:pt x="3695" y="622"/>
                  </a:cubicBezTo>
                  <a:cubicBezTo>
                    <a:pt x="3702" y="622"/>
                    <a:pt x="3706" y="617"/>
                    <a:pt x="3703" y="611"/>
                  </a:cubicBezTo>
                  <a:cubicBezTo>
                    <a:pt x="3701" y="606"/>
                    <a:pt x="3693" y="601"/>
                    <a:pt x="3686" y="601"/>
                  </a:cubicBezTo>
                  <a:cubicBezTo>
                    <a:pt x="3686" y="601"/>
                    <a:pt x="3686" y="601"/>
                    <a:pt x="3686" y="601"/>
                  </a:cubicBezTo>
                  <a:moveTo>
                    <a:pt x="3723" y="601"/>
                  </a:moveTo>
                  <a:cubicBezTo>
                    <a:pt x="3716" y="601"/>
                    <a:pt x="3712" y="606"/>
                    <a:pt x="3714" y="611"/>
                  </a:cubicBezTo>
                  <a:cubicBezTo>
                    <a:pt x="3717" y="617"/>
                    <a:pt x="3725" y="622"/>
                    <a:pt x="3732" y="622"/>
                  </a:cubicBezTo>
                  <a:cubicBezTo>
                    <a:pt x="3739" y="622"/>
                    <a:pt x="3743" y="617"/>
                    <a:pt x="3740" y="611"/>
                  </a:cubicBezTo>
                  <a:cubicBezTo>
                    <a:pt x="3738" y="606"/>
                    <a:pt x="3730" y="601"/>
                    <a:pt x="3723" y="601"/>
                  </a:cubicBezTo>
                  <a:cubicBezTo>
                    <a:pt x="3723" y="601"/>
                    <a:pt x="3723" y="601"/>
                    <a:pt x="3723" y="601"/>
                  </a:cubicBezTo>
                  <a:moveTo>
                    <a:pt x="3762" y="601"/>
                  </a:moveTo>
                  <a:cubicBezTo>
                    <a:pt x="3755" y="601"/>
                    <a:pt x="3751" y="605"/>
                    <a:pt x="3754" y="611"/>
                  </a:cubicBezTo>
                  <a:cubicBezTo>
                    <a:pt x="3756" y="617"/>
                    <a:pt x="3764" y="621"/>
                    <a:pt x="3771" y="621"/>
                  </a:cubicBezTo>
                  <a:cubicBezTo>
                    <a:pt x="3778" y="621"/>
                    <a:pt x="3782" y="617"/>
                    <a:pt x="3779" y="611"/>
                  </a:cubicBezTo>
                  <a:cubicBezTo>
                    <a:pt x="3777" y="605"/>
                    <a:pt x="3769" y="601"/>
                    <a:pt x="3762" y="601"/>
                  </a:cubicBezTo>
                  <a:cubicBezTo>
                    <a:pt x="3762" y="601"/>
                    <a:pt x="3762" y="601"/>
                    <a:pt x="3762" y="601"/>
                  </a:cubicBezTo>
                  <a:moveTo>
                    <a:pt x="3798" y="601"/>
                  </a:moveTo>
                  <a:cubicBezTo>
                    <a:pt x="3791" y="601"/>
                    <a:pt x="3787" y="605"/>
                    <a:pt x="3790" y="611"/>
                  </a:cubicBezTo>
                  <a:cubicBezTo>
                    <a:pt x="3793" y="617"/>
                    <a:pt x="3801" y="621"/>
                    <a:pt x="3808" y="621"/>
                  </a:cubicBezTo>
                  <a:cubicBezTo>
                    <a:pt x="3815" y="621"/>
                    <a:pt x="3819" y="616"/>
                    <a:pt x="3816" y="611"/>
                  </a:cubicBezTo>
                  <a:cubicBezTo>
                    <a:pt x="3813" y="605"/>
                    <a:pt x="3805" y="601"/>
                    <a:pt x="3798" y="601"/>
                  </a:cubicBezTo>
                  <a:cubicBezTo>
                    <a:pt x="3798" y="601"/>
                    <a:pt x="3798" y="601"/>
                    <a:pt x="3798" y="601"/>
                  </a:cubicBezTo>
                  <a:moveTo>
                    <a:pt x="3835" y="600"/>
                  </a:moveTo>
                  <a:cubicBezTo>
                    <a:pt x="3828" y="600"/>
                    <a:pt x="3824" y="605"/>
                    <a:pt x="3827" y="611"/>
                  </a:cubicBezTo>
                  <a:cubicBezTo>
                    <a:pt x="3829" y="616"/>
                    <a:pt x="3837" y="621"/>
                    <a:pt x="3845" y="621"/>
                  </a:cubicBezTo>
                  <a:cubicBezTo>
                    <a:pt x="3852" y="621"/>
                    <a:pt x="3855" y="616"/>
                    <a:pt x="3853" y="611"/>
                  </a:cubicBezTo>
                  <a:cubicBezTo>
                    <a:pt x="3850" y="605"/>
                    <a:pt x="3842" y="600"/>
                    <a:pt x="3835" y="600"/>
                  </a:cubicBezTo>
                  <a:cubicBezTo>
                    <a:pt x="3835" y="600"/>
                    <a:pt x="3835" y="600"/>
                    <a:pt x="3835" y="600"/>
                  </a:cubicBezTo>
                  <a:moveTo>
                    <a:pt x="3872" y="600"/>
                  </a:moveTo>
                  <a:cubicBezTo>
                    <a:pt x="3865" y="600"/>
                    <a:pt x="3861" y="605"/>
                    <a:pt x="3864" y="611"/>
                  </a:cubicBezTo>
                  <a:cubicBezTo>
                    <a:pt x="3867" y="616"/>
                    <a:pt x="3875" y="621"/>
                    <a:pt x="3882" y="621"/>
                  </a:cubicBezTo>
                  <a:cubicBezTo>
                    <a:pt x="3889" y="621"/>
                    <a:pt x="3892" y="616"/>
                    <a:pt x="3890" y="610"/>
                  </a:cubicBezTo>
                  <a:cubicBezTo>
                    <a:pt x="3887" y="605"/>
                    <a:pt x="3879" y="600"/>
                    <a:pt x="3872" y="600"/>
                  </a:cubicBezTo>
                  <a:cubicBezTo>
                    <a:pt x="3872" y="600"/>
                    <a:pt x="3872" y="600"/>
                    <a:pt x="3872" y="600"/>
                  </a:cubicBezTo>
                  <a:moveTo>
                    <a:pt x="3909" y="600"/>
                  </a:moveTo>
                  <a:cubicBezTo>
                    <a:pt x="3902" y="600"/>
                    <a:pt x="3898" y="605"/>
                    <a:pt x="3901" y="610"/>
                  </a:cubicBezTo>
                  <a:cubicBezTo>
                    <a:pt x="3904" y="616"/>
                    <a:pt x="3912" y="621"/>
                    <a:pt x="3919" y="621"/>
                  </a:cubicBezTo>
                  <a:cubicBezTo>
                    <a:pt x="3926" y="620"/>
                    <a:pt x="3930" y="616"/>
                    <a:pt x="3927" y="610"/>
                  </a:cubicBezTo>
                  <a:cubicBezTo>
                    <a:pt x="3924" y="604"/>
                    <a:pt x="3916" y="600"/>
                    <a:pt x="3909" y="600"/>
                  </a:cubicBezTo>
                  <a:cubicBezTo>
                    <a:pt x="3909" y="600"/>
                    <a:pt x="3909" y="600"/>
                    <a:pt x="3909" y="600"/>
                  </a:cubicBezTo>
                  <a:moveTo>
                    <a:pt x="3946" y="600"/>
                  </a:moveTo>
                  <a:cubicBezTo>
                    <a:pt x="3938" y="600"/>
                    <a:pt x="3935" y="604"/>
                    <a:pt x="3938" y="610"/>
                  </a:cubicBezTo>
                  <a:cubicBezTo>
                    <a:pt x="3941" y="616"/>
                    <a:pt x="3949" y="620"/>
                    <a:pt x="3956" y="620"/>
                  </a:cubicBezTo>
                  <a:cubicBezTo>
                    <a:pt x="3963" y="620"/>
                    <a:pt x="3967" y="616"/>
                    <a:pt x="3964" y="610"/>
                  </a:cubicBezTo>
                  <a:cubicBezTo>
                    <a:pt x="3961" y="604"/>
                    <a:pt x="3953" y="600"/>
                    <a:pt x="3946" y="600"/>
                  </a:cubicBezTo>
                  <a:cubicBezTo>
                    <a:pt x="3946" y="600"/>
                    <a:pt x="3946" y="600"/>
                    <a:pt x="3946" y="600"/>
                  </a:cubicBezTo>
                  <a:moveTo>
                    <a:pt x="4055" y="599"/>
                  </a:moveTo>
                  <a:cubicBezTo>
                    <a:pt x="4048" y="599"/>
                    <a:pt x="4045" y="604"/>
                    <a:pt x="4048" y="610"/>
                  </a:cubicBezTo>
                  <a:cubicBezTo>
                    <a:pt x="4051" y="615"/>
                    <a:pt x="4059" y="620"/>
                    <a:pt x="4066" y="620"/>
                  </a:cubicBezTo>
                  <a:cubicBezTo>
                    <a:pt x="4073" y="620"/>
                    <a:pt x="4077" y="615"/>
                    <a:pt x="4073" y="610"/>
                  </a:cubicBezTo>
                  <a:cubicBezTo>
                    <a:pt x="4070" y="604"/>
                    <a:pt x="4062" y="599"/>
                    <a:pt x="4055" y="599"/>
                  </a:cubicBezTo>
                  <a:cubicBezTo>
                    <a:pt x="4055" y="599"/>
                    <a:pt x="4055" y="599"/>
                    <a:pt x="4055" y="599"/>
                  </a:cubicBezTo>
                  <a:moveTo>
                    <a:pt x="4092" y="599"/>
                  </a:moveTo>
                  <a:cubicBezTo>
                    <a:pt x="4085" y="599"/>
                    <a:pt x="4081" y="604"/>
                    <a:pt x="4085" y="610"/>
                  </a:cubicBezTo>
                  <a:cubicBezTo>
                    <a:pt x="4088" y="615"/>
                    <a:pt x="4096" y="620"/>
                    <a:pt x="4103" y="620"/>
                  </a:cubicBezTo>
                  <a:cubicBezTo>
                    <a:pt x="4111" y="620"/>
                    <a:pt x="4114" y="615"/>
                    <a:pt x="4111" y="609"/>
                  </a:cubicBezTo>
                  <a:cubicBezTo>
                    <a:pt x="4107" y="604"/>
                    <a:pt x="4099" y="599"/>
                    <a:pt x="4092" y="599"/>
                  </a:cubicBezTo>
                  <a:cubicBezTo>
                    <a:pt x="4092" y="599"/>
                    <a:pt x="4092" y="599"/>
                    <a:pt x="4092" y="599"/>
                  </a:cubicBezTo>
                  <a:moveTo>
                    <a:pt x="4166" y="599"/>
                  </a:moveTo>
                  <a:cubicBezTo>
                    <a:pt x="4159" y="599"/>
                    <a:pt x="4156" y="603"/>
                    <a:pt x="4159" y="609"/>
                  </a:cubicBezTo>
                  <a:cubicBezTo>
                    <a:pt x="4163" y="615"/>
                    <a:pt x="4171" y="619"/>
                    <a:pt x="4178" y="619"/>
                  </a:cubicBezTo>
                  <a:cubicBezTo>
                    <a:pt x="4185" y="619"/>
                    <a:pt x="4188" y="615"/>
                    <a:pt x="4185" y="609"/>
                  </a:cubicBezTo>
                  <a:cubicBezTo>
                    <a:pt x="4182" y="603"/>
                    <a:pt x="4173" y="599"/>
                    <a:pt x="4166" y="599"/>
                  </a:cubicBezTo>
                  <a:cubicBezTo>
                    <a:pt x="4166" y="599"/>
                    <a:pt x="4166" y="599"/>
                    <a:pt x="4166" y="599"/>
                  </a:cubicBezTo>
                  <a:moveTo>
                    <a:pt x="4206" y="599"/>
                  </a:moveTo>
                  <a:cubicBezTo>
                    <a:pt x="4199" y="599"/>
                    <a:pt x="4196" y="603"/>
                    <a:pt x="4200" y="609"/>
                  </a:cubicBezTo>
                  <a:cubicBezTo>
                    <a:pt x="4203" y="615"/>
                    <a:pt x="4212" y="619"/>
                    <a:pt x="4219" y="619"/>
                  </a:cubicBezTo>
                  <a:cubicBezTo>
                    <a:pt x="4226" y="619"/>
                    <a:pt x="4229" y="614"/>
                    <a:pt x="4225" y="609"/>
                  </a:cubicBezTo>
                  <a:cubicBezTo>
                    <a:pt x="4222" y="603"/>
                    <a:pt x="4213" y="599"/>
                    <a:pt x="4206" y="599"/>
                  </a:cubicBezTo>
                  <a:cubicBezTo>
                    <a:pt x="4206" y="599"/>
                    <a:pt x="4206" y="599"/>
                    <a:pt x="4206" y="599"/>
                  </a:cubicBezTo>
                  <a:moveTo>
                    <a:pt x="4239" y="598"/>
                  </a:moveTo>
                  <a:cubicBezTo>
                    <a:pt x="4232" y="598"/>
                    <a:pt x="4229" y="603"/>
                    <a:pt x="4233" y="609"/>
                  </a:cubicBezTo>
                  <a:cubicBezTo>
                    <a:pt x="4236" y="614"/>
                    <a:pt x="4245" y="619"/>
                    <a:pt x="4252" y="619"/>
                  </a:cubicBezTo>
                  <a:cubicBezTo>
                    <a:pt x="4259" y="619"/>
                    <a:pt x="4262" y="614"/>
                    <a:pt x="4259" y="609"/>
                  </a:cubicBezTo>
                  <a:cubicBezTo>
                    <a:pt x="4255" y="603"/>
                    <a:pt x="4246" y="598"/>
                    <a:pt x="4239" y="598"/>
                  </a:cubicBezTo>
                  <a:cubicBezTo>
                    <a:pt x="4239" y="598"/>
                    <a:pt x="4239" y="598"/>
                    <a:pt x="4239" y="598"/>
                  </a:cubicBezTo>
                  <a:moveTo>
                    <a:pt x="123" y="595"/>
                  </a:moveTo>
                  <a:cubicBezTo>
                    <a:pt x="116" y="595"/>
                    <a:pt x="107" y="599"/>
                    <a:pt x="102" y="605"/>
                  </a:cubicBezTo>
                  <a:cubicBezTo>
                    <a:pt x="97" y="611"/>
                    <a:pt x="99" y="615"/>
                    <a:pt x="106" y="615"/>
                  </a:cubicBezTo>
                  <a:cubicBezTo>
                    <a:pt x="113" y="615"/>
                    <a:pt x="123" y="610"/>
                    <a:pt x="128" y="605"/>
                  </a:cubicBezTo>
                  <a:cubicBezTo>
                    <a:pt x="132" y="599"/>
                    <a:pt x="130" y="595"/>
                    <a:pt x="123" y="595"/>
                  </a:cubicBezTo>
                  <a:cubicBezTo>
                    <a:pt x="123" y="595"/>
                    <a:pt x="123" y="595"/>
                    <a:pt x="123" y="595"/>
                  </a:cubicBezTo>
                  <a:moveTo>
                    <a:pt x="160" y="595"/>
                  </a:moveTo>
                  <a:cubicBezTo>
                    <a:pt x="153" y="595"/>
                    <a:pt x="143" y="599"/>
                    <a:pt x="139" y="605"/>
                  </a:cubicBezTo>
                  <a:cubicBezTo>
                    <a:pt x="134" y="610"/>
                    <a:pt x="136" y="615"/>
                    <a:pt x="143" y="615"/>
                  </a:cubicBezTo>
                  <a:cubicBezTo>
                    <a:pt x="150" y="615"/>
                    <a:pt x="160" y="610"/>
                    <a:pt x="164" y="605"/>
                  </a:cubicBezTo>
                  <a:cubicBezTo>
                    <a:pt x="169" y="599"/>
                    <a:pt x="167" y="595"/>
                    <a:pt x="160" y="595"/>
                  </a:cubicBezTo>
                  <a:cubicBezTo>
                    <a:pt x="160" y="595"/>
                    <a:pt x="160" y="595"/>
                    <a:pt x="160" y="595"/>
                  </a:cubicBezTo>
                  <a:moveTo>
                    <a:pt x="198" y="594"/>
                  </a:moveTo>
                  <a:cubicBezTo>
                    <a:pt x="191" y="594"/>
                    <a:pt x="182" y="599"/>
                    <a:pt x="177" y="604"/>
                  </a:cubicBezTo>
                  <a:cubicBezTo>
                    <a:pt x="172" y="610"/>
                    <a:pt x="174" y="615"/>
                    <a:pt x="182" y="615"/>
                  </a:cubicBezTo>
                  <a:cubicBezTo>
                    <a:pt x="189" y="614"/>
                    <a:pt x="198" y="610"/>
                    <a:pt x="203" y="604"/>
                  </a:cubicBezTo>
                  <a:cubicBezTo>
                    <a:pt x="207" y="599"/>
                    <a:pt x="205" y="594"/>
                    <a:pt x="198" y="594"/>
                  </a:cubicBezTo>
                  <a:cubicBezTo>
                    <a:pt x="198" y="594"/>
                    <a:pt x="198" y="594"/>
                    <a:pt x="198" y="594"/>
                  </a:cubicBezTo>
                  <a:moveTo>
                    <a:pt x="235" y="594"/>
                  </a:moveTo>
                  <a:cubicBezTo>
                    <a:pt x="228" y="594"/>
                    <a:pt x="218" y="599"/>
                    <a:pt x="214" y="604"/>
                  </a:cubicBezTo>
                  <a:cubicBezTo>
                    <a:pt x="209" y="610"/>
                    <a:pt x="211" y="614"/>
                    <a:pt x="218" y="614"/>
                  </a:cubicBezTo>
                  <a:cubicBezTo>
                    <a:pt x="226" y="614"/>
                    <a:pt x="235" y="610"/>
                    <a:pt x="239" y="604"/>
                  </a:cubicBezTo>
                  <a:cubicBezTo>
                    <a:pt x="244" y="599"/>
                    <a:pt x="242" y="594"/>
                    <a:pt x="235" y="594"/>
                  </a:cubicBezTo>
                  <a:cubicBezTo>
                    <a:pt x="235" y="594"/>
                    <a:pt x="235" y="594"/>
                    <a:pt x="235" y="594"/>
                  </a:cubicBezTo>
                  <a:moveTo>
                    <a:pt x="271" y="594"/>
                  </a:moveTo>
                  <a:cubicBezTo>
                    <a:pt x="264" y="594"/>
                    <a:pt x="255" y="598"/>
                    <a:pt x="250" y="604"/>
                  </a:cubicBezTo>
                  <a:cubicBezTo>
                    <a:pt x="246" y="610"/>
                    <a:pt x="248" y="614"/>
                    <a:pt x="255" y="614"/>
                  </a:cubicBezTo>
                  <a:cubicBezTo>
                    <a:pt x="262" y="614"/>
                    <a:pt x="272" y="609"/>
                    <a:pt x="276" y="604"/>
                  </a:cubicBezTo>
                  <a:cubicBezTo>
                    <a:pt x="281" y="598"/>
                    <a:pt x="278" y="594"/>
                    <a:pt x="271" y="594"/>
                  </a:cubicBezTo>
                  <a:cubicBezTo>
                    <a:pt x="271" y="594"/>
                    <a:pt x="271" y="594"/>
                    <a:pt x="271" y="594"/>
                  </a:cubicBezTo>
                  <a:moveTo>
                    <a:pt x="308" y="594"/>
                  </a:moveTo>
                  <a:cubicBezTo>
                    <a:pt x="301" y="594"/>
                    <a:pt x="291" y="598"/>
                    <a:pt x="287" y="604"/>
                  </a:cubicBezTo>
                  <a:cubicBezTo>
                    <a:pt x="283" y="609"/>
                    <a:pt x="285" y="614"/>
                    <a:pt x="292" y="614"/>
                  </a:cubicBezTo>
                  <a:cubicBezTo>
                    <a:pt x="299" y="614"/>
                    <a:pt x="309" y="609"/>
                    <a:pt x="313" y="604"/>
                  </a:cubicBezTo>
                  <a:cubicBezTo>
                    <a:pt x="317" y="598"/>
                    <a:pt x="315" y="594"/>
                    <a:pt x="308" y="594"/>
                  </a:cubicBezTo>
                  <a:cubicBezTo>
                    <a:pt x="308" y="594"/>
                    <a:pt x="308" y="594"/>
                    <a:pt x="308" y="594"/>
                  </a:cubicBezTo>
                  <a:moveTo>
                    <a:pt x="345" y="593"/>
                  </a:moveTo>
                  <a:cubicBezTo>
                    <a:pt x="338" y="593"/>
                    <a:pt x="328" y="598"/>
                    <a:pt x="324" y="604"/>
                  </a:cubicBezTo>
                  <a:cubicBezTo>
                    <a:pt x="320" y="609"/>
                    <a:pt x="322" y="614"/>
                    <a:pt x="329" y="614"/>
                  </a:cubicBezTo>
                  <a:cubicBezTo>
                    <a:pt x="336" y="614"/>
                    <a:pt x="346" y="609"/>
                    <a:pt x="350" y="603"/>
                  </a:cubicBezTo>
                  <a:cubicBezTo>
                    <a:pt x="354" y="598"/>
                    <a:pt x="352" y="593"/>
                    <a:pt x="345" y="593"/>
                  </a:cubicBezTo>
                  <a:cubicBezTo>
                    <a:pt x="345" y="593"/>
                    <a:pt x="345" y="593"/>
                    <a:pt x="345" y="593"/>
                  </a:cubicBezTo>
                  <a:moveTo>
                    <a:pt x="383" y="593"/>
                  </a:moveTo>
                  <a:cubicBezTo>
                    <a:pt x="375" y="593"/>
                    <a:pt x="366" y="598"/>
                    <a:pt x="362" y="603"/>
                  </a:cubicBezTo>
                  <a:cubicBezTo>
                    <a:pt x="358" y="609"/>
                    <a:pt x="360" y="613"/>
                    <a:pt x="367" y="613"/>
                  </a:cubicBezTo>
                  <a:cubicBezTo>
                    <a:pt x="374" y="613"/>
                    <a:pt x="384" y="609"/>
                    <a:pt x="388" y="603"/>
                  </a:cubicBezTo>
                  <a:cubicBezTo>
                    <a:pt x="392" y="598"/>
                    <a:pt x="390" y="593"/>
                    <a:pt x="383" y="593"/>
                  </a:cubicBezTo>
                  <a:cubicBezTo>
                    <a:pt x="383" y="593"/>
                    <a:pt x="383" y="593"/>
                    <a:pt x="383" y="593"/>
                  </a:cubicBezTo>
                  <a:moveTo>
                    <a:pt x="419" y="593"/>
                  </a:moveTo>
                  <a:cubicBezTo>
                    <a:pt x="412" y="593"/>
                    <a:pt x="403" y="598"/>
                    <a:pt x="399" y="603"/>
                  </a:cubicBezTo>
                  <a:cubicBezTo>
                    <a:pt x="395" y="609"/>
                    <a:pt x="397" y="613"/>
                    <a:pt x="404" y="613"/>
                  </a:cubicBezTo>
                  <a:cubicBezTo>
                    <a:pt x="411" y="613"/>
                    <a:pt x="420" y="609"/>
                    <a:pt x="425" y="603"/>
                  </a:cubicBezTo>
                  <a:cubicBezTo>
                    <a:pt x="429" y="597"/>
                    <a:pt x="426" y="593"/>
                    <a:pt x="419" y="593"/>
                  </a:cubicBezTo>
                  <a:cubicBezTo>
                    <a:pt x="419" y="593"/>
                    <a:pt x="419" y="593"/>
                    <a:pt x="419" y="593"/>
                  </a:cubicBezTo>
                  <a:moveTo>
                    <a:pt x="456" y="593"/>
                  </a:moveTo>
                  <a:cubicBezTo>
                    <a:pt x="449" y="593"/>
                    <a:pt x="440" y="597"/>
                    <a:pt x="436" y="603"/>
                  </a:cubicBezTo>
                  <a:cubicBezTo>
                    <a:pt x="432" y="609"/>
                    <a:pt x="434" y="613"/>
                    <a:pt x="441" y="613"/>
                  </a:cubicBezTo>
                  <a:cubicBezTo>
                    <a:pt x="448" y="613"/>
                    <a:pt x="457" y="608"/>
                    <a:pt x="461" y="603"/>
                  </a:cubicBezTo>
                  <a:cubicBezTo>
                    <a:pt x="465" y="597"/>
                    <a:pt x="463" y="593"/>
                    <a:pt x="456" y="593"/>
                  </a:cubicBezTo>
                  <a:cubicBezTo>
                    <a:pt x="456" y="593"/>
                    <a:pt x="456" y="593"/>
                    <a:pt x="456" y="593"/>
                  </a:cubicBezTo>
                  <a:moveTo>
                    <a:pt x="493" y="593"/>
                  </a:moveTo>
                  <a:cubicBezTo>
                    <a:pt x="486" y="593"/>
                    <a:pt x="477" y="597"/>
                    <a:pt x="473" y="603"/>
                  </a:cubicBezTo>
                  <a:cubicBezTo>
                    <a:pt x="469" y="608"/>
                    <a:pt x="471" y="613"/>
                    <a:pt x="479" y="613"/>
                  </a:cubicBezTo>
                  <a:cubicBezTo>
                    <a:pt x="486" y="613"/>
                    <a:pt x="495" y="608"/>
                    <a:pt x="499" y="603"/>
                  </a:cubicBezTo>
                  <a:cubicBezTo>
                    <a:pt x="503" y="597"/>
                    <a:pt x="500" y="593"/>
                    <a:pt x="493" y="593"/>
                  </a:cubicBezTo>
                  <a:cubicBezTo>
                    <a:pt x="493" y="593"/>
                    <a:pt x="493" y="593"/>
                    <a:pt x="493" y="593"/>
                  </a:cubicBezTo>
                  <a:moveTo>
                    <a:pt x="529" y="592"/>
                  </a:moveTo>
                  <a:cubicBezTo>
                    <a:pt x="522" y="592"/>
                    <a:pt x="513" y="597"/>
                    <a:pt x="510" y="602"/>
                  </a:cubicBezTo>
                  <a:cubicBezTo>
                    <a:pt x="506" y="608"/>
                    <a:pt x="508" y="613"/>
                    <a:pt x="515" y="613"/>
                  </a:cubicBezTo>
                  <a:cubicBezTo>
                    <a:pt x="522" y="613"/>
                    <a:pt x="531" y="608"/>
                    <a:pt x="535" y="602"/>
                  </a:cubicBezTo>
                  <a:cubicBezTo>
                    <a:pt x="539" y="597"/>
                    <a:pt x="537" y="592"/>
                    <a:pt x="530" y="592"/>
                  </a:cubicBezTo>
                  <a:cubicBezTo>
                    <a:pt x="530" y="592"/>
                    <a:pt x="530" y="592"/>
                    <a:pt x="529" y="592"/>
                  </a:cubicBezTo>
                  <a:moveTo>
                    <a:pt x="566" y="592"/>
                  </a:moveTo>
                  <a:cubicBezTo>
                    <a:pt x="559" y="592"/>
                    <a:pt x="550" y="597"/>
                    <a:pt x="546" y="602"/>
                  </a:cubicBezTo>
                  <a:cubicBezTo>
                    <a:pt x="542" y="608"/>
                    <a:pt x="545" y="612"/>
                    <a:pt x="552" y="612"/>
                  </a:cubicBezTo>
                  <a:cubicBezTo>
                    <a:pt x="559" y="612"/>
                    <a:pt x="568" y="608"/>
                    <a:pt x="572" y="602"/>
                  </a:cubicBezTo>
                  <a:cubicBezTo>
                    <a:pt x="576" y="597"/>
                    <a:pt x="573" y="592"/>
                    <a:pt x="566" y="592"/>
                  </a:cubicBezTo>
                  <a:cubicBezTo>
                    <a:pt x="566" y="592"/>
                    <a:pt x="566" y="592"/>
                    <a:pt x="566" y="592"/>
                  </a:cubicBezTo>
                  <a:moveTo>
                    <a:pt x="603" y="592"/>
                  </a:moveTo>
                  <a:cubicBezTo>
                    <a:pt x="596" y="592"/>
                    <a:pt x="587" y="596"/>
                    <a:pt x="583" y="602"/>
                  </a:cubicBezTo>
                  <a:cubicBezTo>
                    <a:pt x="579" y="608"/>
                    <a:pt x="582" y="612"/>
                    <a:pt x="589" y="612"/>
                  </a:cubicBezTo>
                  <a:cubicBezTo>
                    <a:pt x="596" y="612"/>
                    <a:pt x="605" y="608"/>
                    <a:pt x="609" y="602"/>
                  </a:cubicBezTo>
                  <a:cubicBezTo>
                    <a:pt x="612" y="596"/>
                    <a:pt x="610" y="592"/>
                    <a:pt x="603" y="592"/>
                  </a:cubicBezTo>
                  <a:cubicBezTo>
                    <a:pt x="603" y="592"/>
                    <a:pt x="603" y="592"/>
                    <a:pt x="603" y="592"/>
                  </a:cubicBezTo>
                  <a:moveTo>
                    <a:pt x="639" y="592"/>
                  </a:moveTo>
                  <a:cubicBezTo>
                    <a:pt x="632" y="592"/>
                    <a:pt x="624" y="596"/>
                    <a:pt x="620" y="602"/>
                  </a:cubicBezTo>
                  <a:cubicBezTo>
                    <a:pt x="616" y="607"/>
                    <a:pt x="619" y="612"/>
                    <a:pt x="626" y="612"/>
                  </a:cubicBezTo>
                  <a:cubicBezTo>
                    <a:pt x="633" y="612"/>
                    <a:pt x="642" y="607"/>
                    <a:pt x="646" y="602"/>
                  </a:cubicBezTo>
                  <a:cubicBezTo>
                    <a:pt x="649" y="596"/>
                    <a:pt x="647" y="592"/>
                    <a:pt x="640" y="592"/>
                  </a:cubicBezTo>
                  <a:cubicBezTo>
                    <a:pt x="640" y="592"/>
                    <a:pt x="639" y="592"/>
                    <a:pt x="639" y="592"/>
                  </a:cubicBezTo>
                  <a:moveTo>
                    <a:pt x="677" y="591"/>
                  </a:moveTo>
                  <a:cubicBezTo>
                    <a:pt x="669" y="591"/>
                    <a:pt x="661" y="596"/>
                    <a:pt x="657" y="602"/>
                  </a:cubicBezTo>
                  <a:cubicBezTo>
                    <a:pt x="653" y="607"/>
                    <a:pt x="656" y="612"/>
                    <a:pt x="663" y="612"/>
                  </a:cubicBezTo>
                  <a:cubicBezTo>
                    <a:pt x="671" y="612"/>
                    <a:pt x="679" y="607"/>
                    <a:pt x="683" y="601"/>
                  </a:cubicBezTo>
                  <a:cubicBezTo>
                    <a:pt x="686" y="596"/>
                    <a:pt x="684" y="591"/>
                    <a:pt x="677" y="591"/>
                  </a:cubicBezTo>
                  <a:cubicBezTo>
                    <a:pt x="677" y="591"/>
                    <a:pt x="677" y="591"/>
                    <a:pt x="677" y="591"/>
                  </a:cubicBezTo>
                  <a:moveTo>
                    <a:pt x="713" y="591"/>
                  </a:moveTo>
                  <a:cubicBezTo>
                    <a:pt x="706" y="591"/>
                    <a:pt x="697" y="596"/>
                    <a:pt x="694" y="601"/>
                  </a:cubicBezTo>
                  <a:cubicBezTo>
                    <a:pt x="690" y="607"/>
                    <a:pt x="693" y="612"/>
                    <a:pt x="700" y="611"/>
                  </a:cubicBezTo>
                  <a:cubicBezTo>
                    <a:pt x="707" y="611"/>
                    <a:pt x="716" y="607"/>
                    <a:pt x="720" y="601"/>
                  </a:cubicBezTo>
                  <a:cubicBezTo>
                    <a:pt x="723" y="596"/>
                    <a:pt x="720" y="591"/>
                    <a:pt x="713" y="591"/>
                  </a:cubicBezTo>
                  <a:cubicBezTo>
                    <a:pt x="713" y="591"/>
                    <a:pt x="713" y="591"/>
                    <a:pt x="713" y="591"/>
                  </a:cubicBezTo>
                  <a:moveTo>
                    <a:pt x="750" y="591"/>
                  </a:moveTo>
                  <a:cubicBezTo>
                    <a:pt x="743" y="591"/>
                    <a:pt x="734" y="596"/>
                    <a:pt x="731" y="601"/>
                  </a:cubicBezTo>
                  <a:cubicBezTo>
                    <a:pt x="727" y="607"/>
                    <a:pt x="730" y="611"/>
                    <a:pt x="737" y="611"/>
                  </a:cubicBezTo>
                  <a:cubicBezTo>
                    <a:pt x="744" y="611"/>
                    <a:pt x="753" y="607"/>
                    <a:pt x="756" y="601"/>
                  </a:cubicBezTo>
                  <a:cubicBezTo>
                    <a:pt x="760" y="595"/>
                    <a:pt x="757" y="591"/>
                    <a:pt x="750" y="591"/>
                  </a:cubicBezTo>
                  <a:cubicBezTo>
                    <a:pt x="750" y="591"/>
                    <a:pt x="750" y="591"/>
                    <a:pt x="750" y="591"/>
                  </a:cubicBezTo>
                  <a:moveTo>
                    <a:pt x="785" y="591"/>
                  </a:moveTo>
                  <a:cubicBezTo>
                    <a:pt x="778" y="591"/>
                    <a:pt x="770" y="595"/>
                    <a:pt x="766" y="601"/>
                  </a:cubicBezTo>
                  <a:cubicBezTo>
                    <a:pt x="763" y="607"/>
                    <a:pt x="766" y="611"/>
                    <a:pt x="773" y="611"/>
                  </a:cubicBezTo>
                  <a:cubicBezTo>
                    <a:pt x="780" y="611"/>
                    <a:pt x="789" y="606"/>
                    <a:pt x="792" y="601"/>
                  </a:cubicBezTo>
                  <a:cubicBezTo>
                    <a:pt x="795" y="595"/>
                    <a:pt x="792" y="591"/>
                    <a:pt x="785" y="591"/>
                  </a:cubicBezTo>
                  <a:cubicBezTo>
                    <a:pt x="785" y="591"/>
                    <a:pt x="785" y="591"/>
                    <a:pt x="785" y="591"/>
                  </a:cubicBezTo>
                  <a:moveTo>
                    <a:pt x="2248" y="582"/>
                  </a:moveTo>
                  <a:cubicBezTo>
                    <a:pt x="2241" y="582"/>
                    <a:pt x="2234" y="586"/>
                    <a:pt x="2234" y="592"/>
                  </a:cubicBezTo>
                  <a:cubicBezTo>
                    <a:pt x="2233" y="598"/>
                    <a:pt x="2239" y="602"/>
                    <a:pt x="2246" y="602"/>
                  </a:cubicBezTo>
                  <a:cubicBezTo>
                    <a:pt x="2253" y="602"/>
                    <a:pt x="2259" y="597"/>
                    <a:pt x="2260" y="592"/>
                  </a:cubicBezTo>
                  <a:cubicBezTo>
                    <a:pt x="2260" y="586"/>
                    <a:pt x="2255" y="582"/>
                    <a:pt x="2248" y="582"/>
                  </a:cubicBezTo>
                  <a:cubicBezTo>
                    <a:pt x="2248" y="582"/>
                    <a:pt x="2248" y="582"/>
                    <a:pt x="2248" y="582"/>
                  </a:cubicBezTo>
                  <a:moveTo>
                    <a:pt x="1921" y="581"/>
                  </a:moveTo>
                  <a:cubicBezTo>
                    <a:pt x="1914" y="581"/>
                    <a:pt x="1907" y="586"/>
                    <a:pt x="1906" y="591"/>
                  </a:cubicBezTo>
                  <a:cubicBezTo>
                    <a:pt x="1905" y="597"/>
                    <a:pt x="1910" y="601"/>
                    <a:pt x="1917" y="601"/>
                  </a:cubicBezTo>
                  <a:cubicBezTo>
                    <a:pt x="1924" y="601"/>
                    <a:pt x="1931" y="597"/>
                    <a:pt x="1932" y="591"/>
                  </a:cubicBezTo>
                  <a:cubicBezTo>
                    <a:pt x="1933" y="585"/>
                    <a:pt x="1928" y="581"/>
                    <a:pt x="1921" y="581"/>
                  </a:cubicBezTo>
                  <a:cubicBezTo>
                    <a:pt x="1921" y="581"/>
                    <a:pt x="1921" y="581"/>
                    <a:pt x="1921" y="581"/>
                  </a:cubicBezTo>
                  <a:moveTo>
                    <a:pt x="1957" y="581"/>
                  </a:moveTo>
                  <a:cubicBezTo>
                    <a:pt x="1950" y="581"/>
                    <a:pt x="1944" y="585"/>
                    <a:pt x="1942" y="591"/>
                  </a:cubicBezTo>
                  <a:cubicBezTo>
                    <a:pt x="1941" y="597"/>
                    <a:pt x="1946" y="601"/>
                    <a:pt x="1953" y="601"/>
                  </a:cubicBezTo>
                  <a:cubicBezTo>
                    <a:pt x="1960" y="601"/>
                    <a:pt x="1967" y="596"/>
                    <a:pt x="1968" y="591"/>
                  </a:cubicBezTo>
                  <a:cubicBezTo>
                    <a:pt x="1969" y="585"/>
                    <a:pt x="1964" y="581"/>
                    <a:pt x="1957" y="581"/>
                  </a:cubicBezTo>
                  <a:cubicBezTo>
                    <a:pt x="1957" y="581"/>
                    <a:pt x="1957" y="581"/>
                    <a:pt x="1957" y="581"/>
                  </a:cubicBezTo>
                  <a:moveTo>
                    <a:pt x="1994" y="580"/>
                  </a:moveTo>
                  <a:cubicBezTo>
                    <a:pt x="1987" y="581"/>
                    <a:pt x="1980" y="585"/>
                    <a:pt x="1979" y="591"/>
                  </a:cubicBezTo>
                  <a:cubicBezTo>
                    <a:pt x="1978" y="596"/>
                    <a:pt x="1983" y="601"/>
                    <a:pt x="1990" y="601"/>
                  </a:cubicBezTo>
                  <a:cubicBezTo>
                    <a:pt x="1997" y="601"/>
                    <a:pt x="2004" y="596"/>
                    <a:pt x="2005" y="591"/>
                  </a:cubicBezTo>
                  <a:cubicBezTo>
                    <a:pt x="2006" y="585"/>
                    <a:pt x="2001" y="580"/>
                    <a:pt x="1994" y="580"/>
                  </a:cubicBezTo>
                  <a:cubicBezTo>
                    <a:pt x="1994" y="580"/>
                    <a:pt x="1994" y="580"/>
                    <a:pt x="1994" y="580"/>
                  </a:cubicBezTo>
                  <a:moveTo>
                    <a:pt x="2397" y="579"/>
                  </a:moveTo>
                  <a:cubicBezTo>
                    <a:pt x="2390" y="579"/>
                    <a:pt x="2384" y="583"/>
                    <a:pt x="2384" y="589"/>
                  </a:cubicBezTo>
                  <a:cubicBezTo>
                    <a:pt x="2384" y="595"/>
                    <a:pt x="2389" y="599"/>
                    <a:pt x="2396" y="599"/>
                  </a:cubicBezTo>
                  <a:cubicBezTo>
                    <a:pt x="2404" y="599"/>
                    <a:pt x="2409" y="594"/>
                    <a:pt x="2410" y="589"/>
                  </a:cubicBezTo>
                  <a:cubicBezTo>
                    <a:pt x="2410" y="583"/>
                    <a:pt x="2404" y="579"/>
                    <a:pt x="2397" y="579"/>
                  </a:cubicBezTo>
                  <a:cubicBezTo>
                    <a:pt x="2397" y="579"/>
                    <a:pt x="2397" y="579"/>
                    <a:pt x="2397" y="579"/>
                  </a:cubicBezTo>
                  <a:moveTo>
                    <a:pt x="2470" y="578"/>
                  </a:moveTo>
                  <a:cubicBezTo>
                    <a:pt x="2463" y="578"/>
                    <a:pt x="2457" y="583"/>
                    <a:pt x="2457" y="588"/>
                  </a:cubicBezTo>
                  <a:cubicBezTo>
                    <a:pt x="2457" y="594"/>
                    <a:pt x="2463" y="599"/>
                    <a:pt x="2470" y="599"/>
                  </a:cubicBezTo>
                  <a:cubicBezTo>
                    <a:pt x="2477" y="599"/>
                    <a:pt x="2483" y="594"/>
                    <a:pt x="2483" y="588"/>
                  </a:cubicBezTo>
                  <a:cubicBezTo>
                    <a:pt x="2483" y="583"/>
                    <a:pt x="2477" y="578"/>
                    <a:pt x="2470" y="578"/>
                  </a:cubicBezTo>
                  <a:cubicBezTo>
                    <a:pt x="2470" y="578"/>
                    <a:pt x="2470" y="578"/>
                    <a:pt x="2470" y="578"/>
                  </a:cubicBezTo>
                  <a:moveTo>
                    <a:pt x="2506" y="578"/>
                  </a:moveTo>
                  <a:cubicBezTo>
                    <a:pt x="2499" y="578"/>
                    <a:pt x="2493" y="583"/>
                    <a:pt x="2493" y="588"/>
                  </a:cubicBezTo>
                  <a:cubicBezTo>
                    <a:pt x="2493" y="594"/>
                    <a:pt x="2499" y="598"/>
                    <a:pt x="2506" y="598"/>
                  </a:cubicBezTo>
                  <a:cubicBezTo>
                    <a:pt x="2513" y="598"/>
                    <a:pt x="2519" y="594"/>
                    <a:pt x="2519" y="588"/>
                  </a:cubicBezTo>
                  <a:cubicBezTo>
                    <a:pt x="2519" y="582"/>
                    <a:pt x="2513" y="578"/>
                    <a:pt x="2506" y="578"/>
                  </a:cubicBezTo>
                  <a:cubicBezTo>
                    <a:pt x="2506" y="578"/>
                    <a:pt x="2506" y="578"/>
                    <a:pt x="2506" y="578"/>
                  </a:cubicBezTo>
                  <a:moveTo>
                    <a:pt x="2543" y="578"/>
                  </a:moveTo>
                  <a:cubicBezTo>
                    <a:pt x="2536" y="578"/>
                    <a:pt x="2530" y="582"/>
                    <a:pt x="2530" y="588"/>
                  </a:cubicBezTo>
                  <a:cubicBezTo>
                    <a:pt x="2530" y="594"/>
                    <a:pt x="2536" y="598"/>
                    <a:pt x="2543" y="598"/>
                  </a:cubicBezTo>
                  <a:cubicBezTo>
                    <a:pt x="2550" y="598"/>
                    <a:pt x="2556" y="594"/>
                    <a:pt x="2556" y="588"/>
                  </a:cubicBezTo>
                  <a:cubicBezTo>
                    <a:pt x="2556" y="582"/>
                    <a:pt x="2550" y="578"/>
                    <a:pt x="2543" y="578"/>
                  </a:cubicBezTo>
                  <a:cubicBezTo>
                    <a:pt x="2543" y="578"/>
                    <a:pt x="2543" y="578"/>
                    <a:pt x="2543" y="578"/>
                  </a:cubicBezTo>
                  <a:moveTo>
                    <a:pt x="2617" y="578"/>
                  </a:moveTo>
                  <a:cubicBezTo>
                    <a:pt x="2610" y="578"/>
                    <a:pt x="2605" y="582"/>
                    <a:pt x="2605" y="588"/>
                  </a:cubicBezTo>
                  <a:cubicBezTo>
                    <a:pt x="2605" y="594"/>
                    <a:pt x="2611" y="598"/>
                    <a:pt x="2618" y="598"/>
                  </a:cubicBezTo>
                  <a:cubicBezTo>
                    <a:pt x="2625" y="598"/>
                    <a:pt x="2631" y="593"/>
                    <a:pt x="2630" y="588"/>
                  </a:cubicBezTo>
                  <a:cubicBezTo>
                    <a:pt x="2630" y="582"/>
                    <a:pt x="2624" y="578"/>
                    <a:pt x="2617" y="578"/>
                  </a:cubicBezTo>
                  <a:cubicBezTo>
                    <a:pt x="2617" y="578"/>
                    <a:pt x="2617" y="578"/>
                    <a:pt x="2617" y="578"/>
                  </a:cubicBezTo>
                  <a:moveTo>
                    <a:pt x="2580" y="578"/>
                  </a:moveTo>
                  <a:cubicBezTo>
                    <a:pt x="2573" y="578"/>
                    <a:pt x="2567" y="582"/>
                    <a:pt x="2567" y="588"/>
                  </a:cubicBezTo>
                  <a:cubicBezTo>
                    <a:pt x="2567" y="593"/>
                    <a:pt x="2573" y="598"/>
                    <a:pt x="2580" y="598"/>
                  </a:cubicBezTo>
                  <a:cubicBezTo>
                    <a:pt x="2588" y="598"/>
                    <a:pt x="2593" y="593"/>
                    <a:pt x="2593" y="588"/>
                  </a:cubicBezTo>
                  <a:cubicBezTo>
                    <a:pt x="2593" y="582"/>
                    <a:pt x="2587" y="578"/>
                    <a:pt x="2580" y="578"/>
                  </a:cubicBezTo>
                  <a:cubicBezTo>
                    <a:pt x="2580" y="578"/>
                    <a:pt x="2580" y="578"/>
                    <a:pt x="2580" y="578"/>
                  </a:cubicBezTo>
                  <a:moveTo>
                    <a:pt x="2762" y="577"/>
                  </a:moveTo>
                  <a:cubicBezTo>
                    <a:pt x="2755" y="577"/>
                    <a:pt x="2750" y="582"/>
                    <a:pt x="2750" y="588"/>
                  </a:cubicBezTo>
                  <a:cubicBezTo>
                    <a:pt x="2751" y="593"/>
                    <a:pt x="2757" y="598"/>
                    <a:pt x="2764" y="598"/>
                  </a:cubicBezTo>
                  <a:cubicBezTo>
                    <a:pt x="2771" y="598"/>
                    <a:pt x="2776" y="593"/>
                    <a:pt x="2776" y="588"/>
                  </a:cubicBezTo>
                  <a:cubicBezTo>
                    <a:pt x="2775" y="582"/>
                    <a:pt x="2769" y="577"/>
                    <a:pt x="2762" y="577"/>
                  </a:cubicBezTo>
                  <a:cubicBezTo>
                    <a:pt x="2762" y="577"/>
                    <a:pt x="2762" y="577"/>
                    <a:pt x="2762" y="577"/>
                  </a:cubicBezTo>
                  <a:moveTo>
                    <a:pt x="2799" y="577"/>
                  </a:moveTo>
                  <a:cubicBezTo>
                    <a:pt x="2792" y="577"/>
                    <a:pt x="2787" y="582"/>
                    <a:pt x="2787" y="587"/>
                  </a:cubicBezTo>
                  <a:cubicBezTo>
                    <a:pt x="2788" y="593"/>
                    <a:pt x="2794" y="598"/>
                    <a:pt x="2801" y="598"/>
                  </a:cubicBezTo>
                  <a:cubicBezTo>
                    <a:pt x="2808" y="598"/>
                    <a:pt x="2813" y="593"/>
                    <a:pt x="2813" y="587"/>
                  </a:cubicBezTo>
                  <a:cubicBezTo>
                    <a:pt x="2812" y="582"/>
                    <a:pt x="2806" y="577"/>
                    <a:pt x="2799" y="577"/>
                  </a:cubicBezTo>
                  <a:cubicBezTo>
                    <a:pt x="2799" y="577"/>
                    <a:pt x="2799" y="577"/>
                    <a:pt x="2799" y="577"/>
                  </a:cubicBezTo>
                  <a:moveTo>
                    <a:pt x="2833" y="577"/>
                  </a:moveTo>
                  <a:cubicBezTo>
                    <a:pt x="2826" y="577"/>
                    <a:pt x="2821" y="582"/>
                    <a:pt x="2822" y="587"/>
                  </a:cubicBezTo>
                  <a:cubicBezTo>
                    <a:pt x="2822" y="593"/>
                    <a:pt x="2829" y="597"/>
                    <a:pt x="2836" y="597"/>
                  </a:cubicBezTo>
                  <a:cubicBezTo>
                    <a:pt x="2843" y="597"/>
                    <a:pt x="2848" y="593"/>
                    <a:pt x="2847" y="587"/>
                  </a:cubicBezTo>
                  <a:cubicBezTo>
                    <a:pt x="2847" y="581"/>
                    <a:pt x="2840" y="577"/>
                    <a:pt x="2833" y="577"/>
                  </a:cubicBezTo>
                  <a:cubicBezTo>
                    <a:pt x="2833" y="577"/>
                    <a:pt x="2833" y="577"/>
                    <a:pt x="2833" y="577"/>
                  </a:cubicBezTo>
                  <a:moveTo>
                    <a:pt x="2870" y="577"/>
                  </a:moveTo>
                  <a:cubicBezTo>
                    <a:pt x="2862" y="577"/>
                    <a:pt x="2857" y="581"/>
                    <a:pt x="2858" y="587"/>
                  </a:cubicBezTo>
                  <a:cubicBezTo>
                    <a:pt x="2859" y="593"/>
                    <a:pt x="2865" y="597"/>
                    <a:pt x="2872" y="597"/>
                  </a:cubicBezTo>
                  <a:cubicBezTo>
                    <a:pt x="2879" y="597"/>
                    <a:pt x="2885" y="593"/>
                    <a:pt x="2884" y="587"/>
                  </a:cubicBezTo>
                  <a:cubicBezTo>
                    <a:pt x="2883" y="581"/>
                    <a:pt x="2877" y="577"/>
                    <a:pt x="2870" y="577"/>
                  </a:cubicBezTo>
                  <a:cubicBezTo>
                    <a:pt x="2870" y="577"/>
                    <a:pt x="2870" y="577"/>
                    <a:pt x="2870" y="577"/>
                  </a:cubicBezTo>
                  <a:moveTo>
                    <a:pt x="2653" y="577"/>
                  </a:moveTo>
                  <a:cubicBezTo>
                    <a:pt x="2646" y="577"/>
                    <a:pt x="2641" y="581"/>
                    <a:pt x="2641" y="587"/>
                  </a:cubicBezTo>
                  <a:cubicBezTo>
                    <a:pt x="2641" y="593"/>
                    <a:pt x="2647" y="597"/>
                    <a:pt x="2655" y="597"/>
                  </a:cubicBezTo>
                  <a:cubicBezTo>
                    <a:pt x="2662" y="597"/>
                    <a:pt x="2667" y="592"/>
                    <a:pt x="2667" y="587"/>
                  </a:cubicBezTo>
                  <a:cubicBezTo>
                    <a:pt x="2666" y="581"/>
                    <a:pt x="2661" y="577"/>
                    <a:pt x="2653" y="577"/>
                  </a:cubicBezTo>
                  <a:cubicBezTo>
                    <a:pt x="2653" y="577"/>
                    <a:pt x="2653" y="577"/>
                    <a:pt x="2653" y="577"/>
                  </a:cubicBezTo>
                  <a:moveTo>
                    <a:pt x="2906" y="577"/>
                  </a:moveTo>
                  <a:cubicBezTo>
                    <a:pt x="2899" y="577"/>
                    <a:pt x="2894" y="581"/>
                    <a:pt x="2895" y="587"/>
                  </a:cubicBezTo>
                  <a:cubicBezTo>
                    <a:pt x="2896" y="592"/>
                    <a:pt x="2902" y="597"/>
                    <a:pt x="2909" y="597"/>
                  </a:cubicBezTo>
                  <a:cubicBezTo>
                    <a:pt x="2916" y="597"/>
                    <a:pt x="2921" y="592"/>
                    <a:pt x="2921" y="587"/>
                  </a:cubicBezTo>
                  <a:cubicBezTo>
                    <a:pt x="2920" y="581"/>
                    <a:pt x="2913" y="577"/>
                    <a:pt x="2906" y="577"/>
                  </a:cubicBezTo>
                  <a:cubicBezTo>
                    <a:pt x="2906" y="577"/>
                    <a:pt x="2906" y="577"/>
                    <a:pt x="2906" y="577"/>
                  </a:cubicBezTo>
                  <a:moveTo>
                    <a:pt x="2689" y="576"/>
                  </a:moveTo>
                  <a:cubicBezTo>
                    <a:pt x="2682" y="576"/>
                    <a:pt x="2677" y="581"/>
                    <a:pt x="2677" y="587"/>
                  </a:cubicBezTo>
                  <a:cubicBezTo>
                    <a:pt x="2678" y="592"/>
                    <a:pt x="2684" y="597"/>
                    <a:pt x="2691" y="597"/>
                  </a:cubicBezTo>
                  <a:cubicBezTo>
                    <a:pt x="2698" y="597"/>
                    <a:pt x="2703" y="592"/>
                    <a:pt x="2703" y="587"/>
                  </a:cubicBezTo>
                  <a:cubicBezTo>
                    <a:pt x="2703" y="581"/>
                    <a:pt x="2697" y="576"/>
                    <a:pt x="2689" y="576"/>
                  </a:cubicBezTo>
                  <a:cubicBezTo>
                    <a:pt x="2689" y="576"/>
                    <a:pt x="2689" y="576"/>
                    <a:pt x="2689" y="576"/>
                  </a:cubicBezTo>
                  <a:moveTo>
                    <a:pt x="2943" y="576"/>
                  </a:moveTo>
                  <a:cubicBezTo>
                    <a:pt x="2936" y="576"/>
                    <a:pt x="2931" y="581"/>
                    <a:pt x="2932" y="587"/>
                  </a:cubicBezTo>
                  <a:cubicBezTo>
                    <a:pt x="2933" y="592"/>
                    <a:pt x="2939" y="597"/>
                    <a:pt x="2946" y="597"/>
                  </a:cubicBezTo>
                  <a:cubicBezTo>
                    <a:pt x="2953" y="597"/>
                    <a:pt x="2958" y="592"/>
                    <a:pt x="2958" y="586"/>
                  </a:cubicBezTo>
                  <a:cubicBezTo>
                    <a:pt x="2957" y="581"/>
                    <a:pt x="2950" y="576"/>
                    <a:pt x="2943" y="576"/>
                  </a:cubicBezTo>
                  <a:cubicBezTo>
                    <a:pt x="2943" y="576"/>
                    <a:pt x="2943" y="576"/>
                    <a:pt x="2943" y="576"/>
                  </a:cubicBezTo>
                  <a:moveTo>
                    <a:pt x="2726" y="576"/>
                  </a:moveTo>
                  <a:cubicBezTo>
                    <a:pt x="2719" y="576"/>
                    <a:pt x="2713" y="581"/>
                    <a:pt x="2714" y="587"/>
                  </a:cubicBezTo>
                  <a:cubicBezTo>
                    <a:pt x="2714" y="592"/>
                    <a:pt x="2720" y="597"/>
                    <a:pt x="2727" y="597"/>
                  </a:cubicBezTo>
                  <a:cubicBezTo>
                    <a:pt x="2734" y="597"/>
                    <a:pt x="2740" y="592"/>
                    <a:pt x="2739" y="586"/>
                  </a:cubicBezTo>
                  <a:cubicBezTo>
                    <a:pt x="2739" y="581"/>
                    <a:pt x="2733" y="576"/>
                    <a:pt x="2726" y="576"/>
                  </a:cubicBezTo>
                  <a:cubicBezTo>
                    <a:pt x="2726" y="576"/>
                    <a:pt x="2726" y="576"/>
                    <a:pt x="2726" y="576"/>
                  </a:cubicBezTo>
                  <a:moveTo>
                    <a:pt x="2979" y="576"/>
                  </a:moveTo>
                  <a:cubicBezTo>
                    <a:pt x="2972" y="576"/>
                    <a:pt x="2967" y="581"/>
                    <a:pt x="2968" y="586"/>
                  </a:cubicBezTo>
                  <a:cubicBezTo>
                    <a:pt x="2969" y="592"/>
                    <a:pt x="2976" y="597"/>
                    <a:pt x="2983" y="597"/>
                  </a:cubicBezTo>
                  <a:cubicBezTo>
                    <a:pt x="2990" y="597"/>
                    <a:pt x="2995" y="592"/>
                    <a:pt x="2994" y="586"/>
                  </a:cubicBezTo>
                  <a:cubicBezTo>
                    <a:pt x="2993" y="581"/>
                    <a:pt x="2986" y="576"/>
                    <a:pt x="2979" y="576"/>
                  </a:cubicBezTo>
                  <a:cubicBezTo>
                    <a:pt x="2979" y="576"/>
                    <a:pt x="2979" y="576"/>
                    <a:pt x="2979" y="576"/>
                  </a:cubicBezTo>
                  <a:moveTo>
                    <a:pt x="3016" y="576"/>
                  </a:moveTo>
                  <a:cubicBezTo>
                    <a:pt x="3009" y="576"/>
                    <a:pt x="3004" y="581"/>
                    <a:pt x="3005" y="586"/>
                  </a:cubicBezTo>
                  <a:cubicBezTo>
                    <a:pt x="3006" y="592"/>
                    <a:pt x="3013" y="596"/>
                    <a:pt x="3020" y="596"/>
                  </a:cubicBezTo>
                  <a:cubicBezTo>
                    <a:pt x="3027" y="596"/>
                    <a:pt x="3032" y="592"/>
                    <a:pt x="3031" y="586"/>
                  </a:cubicBezTo>
                  <a:cubicBezTo>
                    <a:pt x="3030" y="580"/>
                    <a:pt x="3023" y="576"/>
                    <a:pt x="3016" y="576"/>
                  </a:cubicBezTo>
                  <a:cubicBezTo>
                    <a:pt x="3016" y="576"/>
                    <a:pt x="3016" y="576"/>
                    <a:pt x="3016" y="576"/>
                  </a:cubicBezTo>
                  <a:moveTo>
                    <a:pt x="3052" y="576"/>
                  </a:moveTo>
                  <a:cubicBezTo>
                    <a:pt x="3045" y="576"/>
                    <a:pt x="3040" y="580"/>
                    <a:pt x="3041" y="586"/>
                  </a:cubicBezTo>
                  <a:cubicBezTo>
                    <a:pt x="3042" y="592"/>
                    <a:pt x="3049" y="596"/>
                    <a:pt x="3056" y="596"/>
                  </a:cubicBezTo>
                  <a:cubicBezTo>
                    <a:pt x="3063" y="596"/>
                    <a:pt x="3068" y="591"/>
                    <a:pt x="3067" y="586"/>
                  </a:cubicBezTo>
                  <a:cubicBezTo>
                    <a:pt x="3066" y="580"/>
                    <a:pt x="3059" y="576"/>
                    <a:pt x="3052" y="576"/>
                  </a:cubicBezTo>
                  <a:cubicBezTo>
                    <a:pt x="3052" y="576"/>
                    <a:pt x="3052" y="576"/>
                    <a:pt x="3052" y="576"/>
                  </a:cubicBezTo>
                  <a:moveTo>
                    <a:pt x="3089" y="575"/>
                  </a:moveTo>
                  <a:cubicBezTo>
                    <a:pt x="3082" y="575"/>
                    <a:pt x="3077" y="580"/>
                    <a:pt x="3078" y="586"/>
                  </a:cubicBezTo>
                  <a:cubicBezTo>
                    <a:pt x="3079" y="591"/>
                    <a:pt x="3086" y="596"/>
                    <a:pt x="3093" y="596"/>
                  </a:cubicBezTo>
                  <a:cubicBezTo>
                    <a:pt x="3100" y="596"/>
                    <a:pt x="3105" y="591"/>
                    <a:pt x="3104" y="586"/>
                  </a:cubicBezTo>
                  <a:cubicBezTo>
                    <a:pt x="3102" y="580"/>
                    <a:pt x="3096" y="575"/>
                    <a:pt x="3089" y="575"/>
                  </a:cubicBezTo>
                  <a:cubicBezTo>
                    <a:pt x="3089" y="575"/>
                    <a:pt x="3089" y="575"/>
                    <a:pt x="3089" y="575"/>
                  </a:cubicBezTo>
                  <a:moveTo>
                    <a:pt x="3126" y="575"/>
                  </a:moveTo>
                  <a:cubicBezTo>
                    <a:pt x="3119" y="575"/>
                    <a:pt x="3115" y="580"/>
                    <a:pt x="3116" y="586"/>
                  </a:cubicBezTo>
                  <a:cubicBezTo>
                    <a:pt x="3117" y="591"/>
                    <a:pt x="3124" y="596"/>
                    <a:pt x="3131" y="596"/>
                  </a:cubicBezTo>
                  <a:cubicBezTo>
                    <a:pt x="3138" y="596"/>
                    <a:pt x="3143" y="591"/>
                    <a:pt x="3141" y="585"/>
                  </a:cubicBezTo>
                  <a:cubicBezTo>
                    <a:pt x="3140" y="580"/>
                    <a:pt x="3133" y="575"/>
                    <a:pt x="3126" y="575"/>
                  </a:cubicBezTo>
                  <a:cubicBezTo>
                    <a:pt x="3126" y="575"/>
                    <a:pt x="3126" y="575"/>
                    <a:pt x="3126" y="575"/>
                  </a:cubicBezTo>
                  <a:moveTo>
                    <a:pt x="3163" y="575"/>
                  </a:moveTo>
                  <a:cubicBezTo>
                    <a:pt x="3156" y="575"/>
                    <a:pt x="3151" y="580"/>
                    <a:pt x="3152" y="585"/>
                  </a:cubicBezTo>
                  <a:cubicBezTo>
                    <a:pt x="3154" y="591"/>
                    <a:pt x="3160" y="596"/>
                    <a:pt x="3168" y="595"/>
                  </a:cubicBezTo>
                  <a:cubicBezTo>
                    <a:pt x="3175" y="595"/>
                    <a:pt x="3179" y="591"/>
                    <a:pt x="3178" y="585"/>
                  </a:cubicBezTo>
                  <a:cubicBezTo>
                    <a:pt x="3177" y="579"/>
                    <a:pt x="3170" y="575"/>
                    <a:pt x="3163" y="575"/>
                  </a:cubicBezTo>
                  <a:cubicBezTo>
                    <a:pt x="3163" y="575"/>
                    <a:pt x="3163" y="575"/>
                    <a:pt x="3163" y="575"/>
                  </a:cubicBezTo>
                  <a:moveTo>
                    <a:pt x="3199" y="575"/>
                  </a:moveTo>
                  <a:cubicBezTo>
                    <a:pt x="3192" y="575"/>
                    <a:pt x="3188" y="579"/>
                    <a:pt x="3189" y="585"/>
                  </a:cubicBezTo>
                  <a:cubicBezTo>
                    <a:pt x="3190" y="591"/>
                    <a:pt x="3197" y="595"/>
                    <a:pt x="3204" y="595"/>
                  </a:cubicBezTo>
                  <a:cubicBezTo>
                    <a:pt x="3211" y="595"/>
                    <a:pt x="3216" y="591"/>
                    <a:pt x="3215" y="585"/>
                  </a:cubicBezTo>
                  <a:cubicBezTo>
                    <a:pt x="3213" y="579"/>
                    <a:pt x="3206" y="575"/>
                    <a:pt x="3199" y="575"/>
                  </a:cubicBezTo>
                  <a:cubicBezTo>
                    <a:pt x="3199" y="575"/>
                    <a:pt x="3199" y="575"/>
                    <a:pt x="3199" y="575"/>
                  </a:cubicBezTo>
                  <a:moveTo>
                    <a:pt x="3236" y="575"/>
                  </a:moveTo>
                  <a:cubicBezTo>
                    <a:pt x="3229" y="575"/>
                    <a:pt x="3225" y="579"/>
                    <a:pt x="3226" y="585"/>
                  </a:cubicBezTo>
                  <a:cubicBezTo>
                    <a:pt x="3227" y="591"/>
                    <a:pt x="3234" y="595"/>
                    <a:pt x="3242" y="595"/>
                  </a:cubicBezTo>
                  <a:cubicBezTo>
                    <a:pt x="3249" y="595"/>
                    <a:pt x="3253" y="590"/>
                    <a:pt x="3252" y="585"/>
                  </a:cubicBezTo>
                  <a:cubicBezTo>
                    <a:pt x="3250" y="579"/>
                    <a:pt x="3243" y="575"/>
                    <a:pt x="3236" y="575"/>
                  </a:cubicBezTo>
                  <a:cubicBezTo>
                    <a:pt x="3236" y="575"/>
                    <a:pt x="3236" y="575"/>
                    <a:pt x="3236" y="575"/>
                  </a:cubicBezTo>
                  <a:moveTo>
                    <a:pt x="3272" y="574"/>
                  </a:moveTo>
                  <a:cubicBezTo>
                    <a:pt x="3265" y="574"/>
                    <a:pt x="3261" y="579"/>
                    <a:pt x="3262" y="585"/>
                  </a:cubicBezTo>
                  <a:cubicBezTo>
                    <a:pt x="3264" y="590"/>
                    <a:pt x="3271" y="595"/>
                    <a:pt x="3278" y="595"/>
                  </a:cubicBezTo>
                  <a:cubicBezTo>
                    <a:pt x="3285" y="595"/>
                    <a:pt x="3290" y="590"/>
                    <a:pt x="3288" y="584"/>
                  </a:cubicBezTo>
                  <a:cubicBezTo>
                    <a:pt x="3286" y="579"/>
                    <a:pt x="3279" y="574"/>
                    <a:pt x="3272" y="574"/>
                  </a:cubicBezTo>
                  <a:cubicBezTo>
                    <a:pt x="3272" y="574"/>
                    <a:pt x="3272" y="574"/>
                    <a:pt x="3272" y="574"/>
                  </a:cubicBezTo>
                  <a:moveTo>
                    <a:pt x="3309" y="574"/>
                  </a:moveTo>
                  <a:cubicBezTo>
                    <a:pt x="3302" y="574"/>
                    <a:pt x="3297" y="579"/>
                    <a:pt x="3299" y="584"/>
                  </a:cubicBezTo>
                  <a:cubicBezTo>
                    <a:pt x="3301" y="590"/>
                    <a:pt x="3308" y="595"/>
                    <a:pt x="3315" y="595"/>
                  </a:cubicBezTo>
                  <a:cubicBezTo>
                    <a:pt x="3322" y="595"/>
                    <a:pt x="3326" y="590"/>
                    <a:pt x="3325" y="584"/>
                  </a:cubicBezTo>
                  <a:cubicBezTo>
                    <a:pt x="3323" y="579"/>
                    <a:pt x="3316" y="574"/>
                    <a:pt x="3309" y="574"/>
                  </a:cubicBezTo>
                  <a:cubicBezTo>
                    <a:pt x="3309" y="574"/>
                    <a:pt x="3309" y="574"/>
                    <a:pt x="3309" y="574"/>
                  </a:cubicBezTo>
                  <a:moveTo>
                    <a:pt x="3345" y="574"/>
                  </a:moveTo>
                  <a:cubicBezTo>
                    <a:pt x="3338" y="574"/>
                    <a:pt x="3334" y="579"/>
                    <a:pt x="3335" y="584"/>
                  </a:cubicBezTo>
                  <a:cubicBezTo>
                    <a:pt x="3337" y="590"/>
                    <a:pt x="3344" y="594"/>
                    <a:pt x="3351" y="594"/>
                  </a:cubicBezTo>
                  <a:cubicBezTo>
                    <a:pt x="3358" y="594"/>
                    <a:pt x="3363" y="590"/>
                    <a:pt x="3361" y="584"/>
                  </a:cubicBezTo>
                  <a:cubicBezTo>
                    <a:pt x="3359" y="578"/>
                    <a:pt x="3352" y="574"/>
                    <a:pt x="3345" y="574"/>
                  </a:cubicBezTo>
                  <a:cubicBezTo>
                    <a:pt x="3345" y="574"/>
                    <a:pt x="3345" y="574"/>
                    <a:pt x="3345" y="574"/>
                  </a:cubicBezTo>
                  <a:moveTo>
                    <a:pt x="3382" y="574"/>
                  </a:moveTo>
                  <a:cubicBezTo>
                    <a:pt x="3375" y="574"/>
                    <a:pt x="3370" y="578"/>
                    <a:pt x="3372" y="584"/>
                  </a:cubicBezTo>
                  <a:cubicBezTo>
                    <a:pt x="3374" y="590"/>
                    <a:pt x="3381" y="594"/>
                    <a:pt x="3388" y="594"/>
                  </a:cubicBezTo>
                  <a:cubicBezTo>
                    <a:pt x="3395" y="594"/>
                    <a:pt x="3400" y="589"/>
                    <a:pt x="3398" y="584"/>
                  </a:cubicBezTo>
                  <a:cubicBezTo>
                    <a:pt x="3396" y="578"/>
                    <a:pt x="3389" y="574"/>
                    <a:pt x="3382" y="574"/>
                  </a:cubicBezTo>
                  <a:cubicBezTo>
                    <a:pt x="3382" y="574"/>
                    <a:pt x="3382" y="574"/>
                    <a:pt x="3382" y="574"/>
                  </a:cubicBezTo>
                  <a:moveTo>
                    <a:pt x="3419" y="573"/>
                  </a:moveTo>
                  <a:cubicBezTo>
                    <a:pt x="3411" y="573"/>
                    <a:pt x="3407" y="578"/>
                    <a:pt x="3409" y="584"/>
                  </a:cubicBezTo>
                  <a:cubicBezTo>
                    <a:pt x="3411" y="589"/>
                    <a:pt x="3418" y="594"/>
                    <a:pt x="3425" y="594"/>
                  </a:cubicBezTo>
                  <a:cubicBezTo>
                    <a:pt x="3432" y="594"/>
                    <a:pt x="3437" y="589"/>
                    <a:pt x="3435" y="584"/>
                  </a:cubicBezTo>
                  <a:cubicBezTo>
                    <a:pt x="3433" y="578"/>
                    <a:pt x="3426" y="573"/>
                    <a:pt x="3419" y="573"/>
                  </a:cubicBezTo>
                  <a:cubicBezTo>
                    <a:pt x="3419" y="573"/>
                    <a:pt x="3419" y="573"/>
                    <a:pt x="3419" y="573"/>
                  </a:cubicBezTo>
                  <a:moveTo>
                    <a:pt x="3638" y="573"/>
                  </a:moveTo>
                  <a:cubicBezTo>
                    <a:pt x="3631" y="573"/>
                    <a:pt x="3627" y="578"/>
                    <a:pt x="3629" y="584"/>
                  </a:cubicBezTo>
                  <a:cubicBezTo>
                    <a:pt x="3631" y="589"/>
                    <a:pt x="3639" y="594"/>
                    <a:pt x="3646" y="594"/>
                  </a:cubicBezTo>
                  <a:cubicBezTo>
                    <a:pt x="3653" y="594"/>
                    <a:pt x="3657" y="589"/>
                    <a:pt x="3655" y="583"/>
                  </a:cubicBezTo>
                  <a:cubicBezTo>
                    <a:pt x="3652" y="578"/>
                    <a:pt x="3645" y="573"/>
                    <a:pt x="3638" y="573"/>
                  </a:cubicBezTo>
                  <a:cubicBezTo>
                    <a:pt x="3638" y="573"/>
                    <a:pt x="3638" y="573"/>
                    <a:pt x="3638" y="573"/>
                  </a:cubicBezTo>
                  <a:moveTo>
                    <a:pt x="3455" y="573"/>
                  </a:moveTo>
                  <a:cubicBezTo>
                    <a:pt x="3448" y="573"/>
                    <a:pt x="3444" y="578"/>
                    <a:pt x="3445" y="584"/>
                  </a:cubicBezTo>
                  <a:cubicBezTo>
                    <a:pt x="3447" y="589"/>
                    <a:pt x="3455" y="594"/>
                    <a:pt x="3462" y="594"/>
                  </a:cubicBezTo>
                  <a:cubicBezTo>
                    <a:pt x="3469" y="594"/>
                    <a:pt x="3473" y="589"/>
                    <a:pt x="3471" y="583"/>
                  </a:cubicBezTo>
                  <a:cubicBezTo>
                    <a:pt x="3469" y="578"/>
                    <a:pt x="3462" y="573"/>
                    <a:pt x="3455" y="573"/>
                  </a:cubicBezTo>
                  <a:cubicBezTo>
                    <a:pt x="3455" y="573"/>
                    <a:pt x="3455" y="573"/>
                    <a:pt x="3455" y="573"/>
                  </a:cubicBezTo>
                  <a:moveTo>
                    <a:pt x="3674" y="573"/>
                  </a:moveTo>
                  <a:cubicBezTo>
                    <a:pt x="3667" y="573"/>
                    <a:pt x="3663" y="578"/>
                    <a:pt x="3666" y="583"/>
                  </a:cubicBezTo>
                  <a:cubicBezTo>
                    <a:pt x="3668" y="589"/>
                    <a:pt x="3676" y="594"/>
                    <a:pt x="3683" y="594"/>
                  </a:cubicBezTo>
                  <a:cubicBezTo>
                    <a:pt x="3690" y="594"/>
                    <a:pt x="3694" y="589"/>
                    <a:pt x="3691" y="583"/>
                  </a:cubicBezTo>
                  <a:cubicBezTo>
                    <a:pt x="3689" y="578"/>
                    <a:pt x="3681" y="573"/>
                    <a:pt x="3674" y="573"/>
                  </a:cubicBezTo>
                  <a:cubicBezTo>
                    <a:pt x="3674" y="573"/>
                    <a:pt x="3674" y="573"/>
                    <a:pt x="3674" y="573"/>
                  </a:cubicBezTo>
                  <a:moveTo>
                    <a:pt x="3491" y="573"/>
                  </a:moveTo>
                  <a:cubicBezTo>
                    <a:pt x="3484" y="573"/>
                    <a:pt x="3480" y="578"/>
                    <a:pt x="3482" y="583"/>
                  </a:cubicBezTo>
                  <a:cubicBezTo>
                    <a:pt x="3484" y="589"/>
                    <a:pt x="3491" y="594"/>
                    <a:pt x="3499" y="594"/>
                  </a:cubicBezTo>
                  <a:cubicBezTo>
                    <a:pt x="3506" y="593"/>
                    <a:pt x="3510" y="589"/>
                    <a:pt x="3508" y="583"/>
                  </a:cubicBezTo>
                  <a:cubicBezTo>
                    <a:pt x="3506" y="578"/>
                    <a:pt x="3498" y="573"/>
                    <a:pt x="3491" y="573"/>
                  </a:cubicBezTo>
                  <a:cubicBezTo>
                    <a:pt x="3491" y="573"/>
                    <a:pt x="3491" y="573"/>
                    <a:pt x="3491" y="573"/>
                  </a:cubicBezTo>
                  <a:moveTo>
                    <a:pt x="3711" y="573"/>
                  </a:moveTo>
                  <a:cubicBezTo>
                    <a:pt x="3704" y="573"/>
                    <a:pt x="3700" y="577"/>
                    <a:pt x="3702" y="583"/>
                  </a:cubicBezTo>
                  <a:cubicBezTo>
                    <a:pt x="3705" y="589"/>
                    <a:pt x="3712" y="593"/>
                    <a:pt x="3719" y="593"/>
                  </a:cubicBezTo>
                  <a:cubicBezTo>
                    <a:pt x="3727" y="593"/>
                    <a:pt x="3730" y="589"/>
                    <a:pt x="3728" y="583"/>
                  </a:cubicBezTo>
                  <a:cubicBezTo>
                    <a:pt x="3725" y="577"/>
                    <a:pt x="3718" y="573"/>
                    <a:pt x="3711" y="573"/>
                  </a:cubicBezTo>
                  <a:cubicBezTo>
                    <a:pt x="3711" y="573"/>
                    <a:pt x="3711" y="573"/>
                    <a:pt x="3711" y="573"/>
                  </a:cubicBezTo>
                  <a:moveTo>
                    <a:pt x="3527" y="573"/>
                  </a:moveTo>
                  <a:cubicBezTo>
                    <a:pt x="3520" y="573"/>
                    <a:pt x="3516" y="577"/>
                    <a:pt x="3518" y="583"/>
                  </a:cubicBezTo>
                  <a:cubicBezTo>
                    <a:pt x="3521" y="589"/>
                    <a:pt x="3528" y="593"/>
                    <a:pt x="3535" y="593"/>
                  </a:cubicBezTo>
                  <a:cubicBezTo>
                    <a:pt x="3542" y="593"/>
                    <a:pt x="3546" y="589"/>
                    <a:pt x="3544" y="583"/>
                  </a:cubicBezTo>
                  <a:cubicBezTo>
                    <a:pt x="3542" y="577"/>
                    <a:pt x="3535" y="573"/>
                    <a:pt x="3528" y="573"/>
                  </a:cubicBezTo>
                  <a:cubicBezTo>
                    <a:pt x="3528" y="573"/>
                    <a:pt x="3527" y="573"/>
                    <a:pt x="3527" y="573"/>
                  </a:cubicBezTo>
                  <a:moveTo>
                    <a:pt x="3749" y="573"/>
                  </a:moveTo>
                  <a:cubicBezTo>
                    <a:pt x="3742" y="573"/>
                    <a:pt x="3739" y="577"/>
                    <a:pt x="3741" y="583"/>
                  </a:cubicBezTo>
                  <a:cubicBezTo>
                    <a:pt x="3744" y="589"/>
                    <a:pt x="3751" y="593"/>
                    <a:pt x="3758" y="593"/>
                  </a:cubicBezTo>
                  <a:cubicBezTo>
                    <a:pt x="3766" y="593"/>
                    <a:pt x="3769" y="588"/>
                    <a:pt x="3767" y="583"/>
                  </a:cubicBezTo>
                  <a:cubicBezTo>
                    <a:pt x="3764" y="577"/>
                    <a:pt x="3756" y="573"/>
                    <a:pt x="3749" y="573"/>
                  </a:cubicBezTo>
                  <a:cubicBezTo>
                    <a:pt x="3749" y="573"/>
                    <a:pt x="3749" y="573"/>
                    <a:pt x="3749" y="573"/>
                  </a:cubicBezTo>
                  <a:moveTo>
                    <a:pt x="3564" y="573"/>
                  </a:moveTo>
                  <a:cubicBezTo>
                    <a:pt x="3557" y="573"/>
                    <a:pt x="3553" y="577"/>
                    <a:pt x="3555" y="583"/>
                  </a:cubicBezTo>
                  <a:cubicBezTo>
                    <a:pt x="3557" y="589"/>
                    <a:pt x="3565" y="593"/>
                    <a:pt x="3572" y="593"/>
                  </a:cubicBezTo>
                  <a:cubicBezTo>
                    <a:pt x="3579" y="593"/>
                    <a:pt x="3583" y="588"/>
                    <a:pt x="3581" y="583"/>
                  </a:cubicBezTo>
                  <a:cubicBezTo>
                    <a:pt x="3579" y="577"/>
                    <a:pt x="3571" y="573"/>
                    <a:pt x="3564" y="573"/>
                  </a:cubicBezTo>
                  <a:cubicBezTo>
                    <a:pt x="3564" y="573"/>
                    <a:pt x="3564" y="573"/>
                    <a:pt x="3564" y="573"/>
                  </a:cubicBezTo>
                  <a:moveTo>
                    <a:pt x="3785" y="572"/>
                  </a:moveTo>
                  <a:cubicBezTo>
                    <a:pt x="3778" y="572"/>
                    <a:pt x="3775" y="577"/>
                    <a:pt x="3777" y="583"/>
                  </a:cubicBezTo>
                  <a:cubicBezTo>
                    <a:pt x="3780" y="588"/>
                    <a:pt x="3788" y="593"/>
                    <a:pt x="3795" y="593"/>
                  </a:cubicBezTo>
                  <a:cubicBezTo>
                    <a:pt x="3802" y="593"/>
                    <a:pt x="3805" y="588"/>
                    <a:pt x="3803" y="583"/>
                  </a:cubicBezTo>
                  <a:cubicBezTo>
                    <a:pt x="3800" y="577"/>
                    <a:pt x="3792" y="572"/>
                    <a:pt x="3785" y="572"/>
                  </a:cubicBezTo>
                  <a:cubicBezTo>
                    <a:pt x="3785" y="572"/>
                    <a:pt x="3785" y="572"/>
                    <a:pt x="3785" y="572"/>
                  </a:cubicBezTo>
                  <a:moveTo>
                    <a:pt x="3601" y="572"/>
                  </a:moveTo>
                  <a:cubicBezTo>
                    <a:pt x="3594" y="572"/>
                    <a:pt x="3590" y="577"/>
                    <a:pt x="3592" y="583"/>
                  </a:cubicBezTo>
                  <a:cubicBezTo>
                    <a:pt x="3594" y="588"/>
                    <a:pt x="3602" y="593"/>
                    <a:pt x="3609" y="593"/>
                  </a:cubicBezTo>
                  <a:cubicBezTo>
                    <a:pt x="3616" y="593"/>
                    <a:pt x="3620" y="588"/>
                    <a:pt x="3618" y="583"/>
                  </a:cubicBezTo>
                  <a:cubicBezTo>
                    <a:pt x="3615" y="577"/>
                    <a:pt x="3608" y="572"/>
                    <a:pt x="3601" y="572"/>
                  </a:cubicBezTo>
                  <a:cubicBezTo>
                    <a:pt x="3601" y="572"/>
                    <a:pt x="3601" y="572"/>
                    <a:pt x="3601" y="572"/>
                  </a:cubicBezTo>
                  <a:moveTo>
                    <a:pt x="3821" y="572"/>
                  </a:moveTo>
                  <a:cubicBezTo>
                    <a:pt x="3814" y="572"/>
                    <a:pt x="3811" y="577"/>
                    <a:pt x="3814" y="582"/>
                  </a:cubicBezTo>
                  <a:cubicBezTo>
                    <a:pt x="3816" y="588"/>
                    <a:pt x="3824" y="593"/>
                    <a:pt x="3831" y="593"/>
                  </a:cubicBezTo>
                  <a:cubicBezTo>
                    <a:pt x="3838" y="593"/>
                    <a:pt x="3842" y="588"/>
                    <a:pt x="3839" y="582"/>
                  </a:cubicBezTo>
                  <a:cubicBezTo>
                    <a:pt x="3836" y="577"/>
                    <a:pt x="3829" y="572"/>
                    <a:pt x="3822" y="572"/>
                  </a:cubicBezTo>
                  <a:cubicBezTo>
                    <a:pt x="3822" y="572"/>
                    <a:pt x="3822" y="572"/>
                    <a:pt x="3821" y="572"/>
                  </a:cubicBezTo>
                  <a:moveTo>
                    <a:pt x="3858" y="572"/>
                  </a:moveTo>
                  <a:cubicBezTo>
                    <a:pt x="3851" y="572"/>
                    <a:pt x="3847" y="577"/>
                    <a:pt x="3850" y="582"/>
                  </a:cubicBezTo>
                  <a:cubicBezTo>
                    <a:pt x="3853" y="588"/>
                    <a:pt x="3861" y="593"/>
                    <a:pt x="3868" y="592"/>
                  </a:cubicBezTo>
                  <a:cubicBezTo>
                    <a:pt x="3875" y="592"/>
                    <a:pt x="3879" y="588"/>
                    <a:pt x="3876" y="582"/>
                  </a:cubicBezTo>
                  <a:cubicBezTo>
                    <a:pt x="3873" y="576"/>
                    <a:pt x="3865" y="572"/>
                    <a:pt x="3858" y="572"/>
                  </a:cubicBezTo>
                  <a:cubicBezTo>
                    <a:pt x="3858" y="572"/>
                    <a:pt x="3858" y="572"/>
                    <a:pt x="3858" y="572"/>
                  </a:cubicBezTo>
                  <a:moveTo>
                    <a:pt x="3895" y="572"/>
                  </a:moveTo>
                  <a:cubicBezTo>
                    <a:pt x="3888" y="572"/>
                    <a:pt x="3884" y="576"/>
                    <a:pt x="3887" y="582"/>
                  </a:cubicBezTo>
                  <a:cubicBezTo>
                    <a:pt x="3890" y="588"/>
                    <a:pt x="3898" y="592"/>
                    <a:pt x="3905" y="592"/>
                  </a:cubicBezTo>
                  <a:cubicBezTo>
                    <a:pt x="3912" y="592"/>
                    <a:pt x="3916" y="588"/>
                    <a:pt x="3913" y="582"/>
                  </a:cubicBezTo>
                  <a:cubicBezTo>
                    <a:pt x="3910" y="576"/>
                    <a:pt x="3902" y="572"/>
                    <a:pt x="3895" y="572"/>
                  </a:cubicBezTo>
                  <a:cubicBezTo>
                    <a:pt x="3895" y="572"/>
                    <a:pt x="3895" y="572"/>
                    <a:pt x="3895" y="572"/>
                  </a:cubicBezTo>
                  <a:moveTo>
                    <a:pt x="3931" y="571"/>
                  </a:moveTo>
                  <a:cubicBezTo>
                    <a:pt x="3924" y="571"/>
                    <a:pt x="3921" y="576"/>
                    <a:pt x="3924" y="582"/>
                  </a:cubicBezTo>
                  <a:cubicBezTo>
                    <a:pt x="3926" y="588"/>
                    <a:pt x="3935" y="592"/>
                    <a:pt x="3942" y="592"/>
                  </a:cubicBezTo>
                  <a:cubicBezTo>
                    <a:pt x="3949" y="592"/>
                    <a:pt x="3952" y="587"/>
                    <a:pt x="3949" y="582"/>
                  </a:cubicBezTo>
                  <a:cubicBezTo>
                    <a:pt x="3946" y="576"/>
                    <a:pt x="3938" y="571"/>
                    <a:pt x="3931" y="571"/>
                  </a:cubicBezTo>
                  <a:cubicBezTo>
                    <a:pt x="3931" y="571"/>
                    <a:pt x="3931" y="571"/>
                    <a:pt x="3931" y="571"/>
                  </a:cubicBezTo>
                  <a:moveTo>
                    <a:pt x="4004" y="571"/>
                  </a:moveTo>
                  <a:cubicBezTo>
                    <a:pt x="3997" y="571"/>
                    <a:pt x="3993" y="576"/>
                    <a:pt x="3996" y="581"/>
                  </a:cubicBezTo>
                  <a:cubicBezTo>
                    <a:pt x="4000" y="587"/>
                    <a:pt x="4008" y="592"/>
                    <a:pt x="4015" y="592"/>
                  </a:cubicBezTo>
                  <a:cubicBezTo>
                    <a:pt x="4022" y="592"/>
                    <a:pt x="4025" y="587"/>
                    <a:pt x="4022" y="581"/>
                  </a:cubicBezTo>
                  <a:cubicBezTo>
                    <a:pt x="4019" y="576"/>
                    <a:pt x="4011" y="571"/>
                    <a:pt x="4004" y="571"/>
                  </a:cubicBezTo>
                  <a:cubicBezTo>
                    <a:pt x="4004" y="571"/>
                    <a:pt x="4004" y="571"/>
                    <a:pt x="4004" y="571"/>
                  </a:cubicBezTo>
                  <a:moveTo>
                    <a:pt x="4040" y="571"/>
                  </a:moveTo>
                  <a:cubicBezTo>
                    <a:pt x="4033" y="571"/>
                    <a:pt x="4030" y="575"/>
                    <a:pt x="4033" y="581"/>
                  </a:cubicBezTo>
                  <a:cubicBezTo>
                    <a:pt x="4036" y="587"/>
                    <a:pt x="4045" y="591"/>
                    <a:pt x="4052" y="591"/>
                  </a:cubicBezTo>
                  <a:cubicBezTo>
                    <a:pt x="4059" y="591"/>
                    <a:pt x="4062" y="587"/>
                    <a:pt x="4059" y="581"/>
                  </a:cubicBezTo>
                  <a:cubicBezTo>
                    <a:pt x="4056" y="575"/>
                    <a:pt x="4047" y="571"/>
                    <a:pt x="4040" y="571"/>
                  </a:cubicBezTo>
                  <a:cubicBezTo>
                    <a:pt x="4040" y="571"/>
                    <a:pt x="4040" y="571"/>
                    <a:pt x="4040" y="571"/>
                  </a:cubicBezTo>
                  <a:moveTo>
                    <a:pt x="4223" y="570"/>
                  </a:moveTo>
                  <a:cubicBezTo>
                    <a:pt x="4216" y="570"/>
                    <a:pt x="4213" y="574"/>
                    <a:pt x="4216" y="580"/>
                  </a:cubicBezTo>
                  <a:cubicBezTo>
                    <a:pt x="4220" y="586"/>
                    <a:pt x="4228" y="590"/>
                    <a:pt x="4235" y="590"/>
                  </a:cubicBezTo>
                  <a:cubicBezTo>
                    <a:pt x="4243" y="590"/>
                    <a:pt x="4245" y="586"/>
                    <a:pt x="4242" y="580"/>
                  </a:cubicBezTo>
                  <a:cubicBezTo>
                    <a:pt x="4238" y="574"/>
                    <a:pt x="4230" y="570"/>
                    <a:pt x="4223" y="570"/>
                  </a:cubicBezTo>
                  <a:cubicBezTo>
                    <a:pt x="4223" y="570"/>
                    <a:pt x="4223" y="570"/>
                    <a:pt x="4223" y="570"/>
                  </a:cubicBezTo>
                  <a:moveTo>
                    <a:pt x="114" y="564"/>
                  </a:moveTo>
                  <a:cubicBezTo>
                    <a:pt x="107" y="565"/>
                    <a:pt x="98" y="569"/>
                    <a:pt x="93" y="575"/>
                  </a:cubicBezTo>
                  <a:cubicBezTo>
                    <a:pt x="88" y="580"/>
                    <a:pt x="90" y="585"/>
                    <a:pt x="97" y="585"/>
                  </a:cubicBezTo>
                  <a:cubicBezTo>
                    <a:pt x="104" y="585"/>
                    <a:pt x="114" y="580"/>
                    <a:pt x="119" y="575"/>
                  </a:cubicBezTo>
                  <a:cubicBezTo>
                    <a:pt x="123" y="569"/>
                    <a:pt x="122" y="564"/>
                    <a:pt x="115" y="564"/>
                  </a:cubicBezTo>
                  <a:cubicBezTo>
                    <a:pt x="115" y="564"/>
                    <a:pt x="115" y="564"/>
                    <a:pt x="114" y="564"/>
                  </a:cubicBezTo>
                  <a:moveTo>
                    <a:pt x="149" y="564"/>
                  </a:moveTo>
                  <a:cubicBezTo>
                    <a:pt x="142" y="564"/>
                    <a:pt x="132" y="569"/>
                    <a:pt x="128" y="574"/>
                  </a:cubicBezTo>
                  <a:cubicBezTo>
                    <a:pt x="123" y="580"/>
                    <a:pt x="125" y="585"/>
                    <a:pt x="132" y="585"/>
                  </a:cubicBezTo>
                  <a:cubicBezTo>
                    <a:pt x="139" y="584"/>
                    <a:pt x="149" y="580"/>
                    <a:pt x="153" y="574"/>
                  </a:cubicBezTo>
                  <a:cubicBezTo>
                    <a:pt x="158" y="569"/>
                    <a:pt x="156" y="564"/>
                    <a:pt x="149" y="564"/>
                  </a:cubicBezTo>
                  <a:cubicBezTo>
                    <a:pt x="149" y="564"/>
                    <a:pt x="149" y="564"/>
                    <a:pt x="149" y="564"/>
                  </a:cubicBezTo>
                  <a:moveTo>
                    <a:pt x="185" y="564"/>
                  </a:moveTo>
                  <a:cubicBezTo>
                    <a:pt x="178" y="564"/>
                    <a:pt x="169" y="569"/>
                    <a:pt x="164" y="574"/>
                  </a:cubicBezTo>
                  <a:cubicBezTo>
                    <a:pt x="159" y="580"/>
                    <a:pt x="161" y="584"/>
                    <a:pt x="168" y="584"/>
                  </a:cubicBezTo>
                  <a:cubicBezTo>
                    <a:pt x="175" y="584"/>
                    <a:pt x="185" y="580"/>
                    <a:pt x="190" y="574"/>
                  </a:cubicBezTo>
                  <a:cubicBezTo>
                    <a:pt x="194" y="569"/>
                    <a:pt x="192" y="564"/>
                    <a:pt x="185" y="564"/>
                  </a:cubicBezTo>
                  <a:cubicBezTo>
                    <a:pt x="185" y="564"/>
                    <a:pt x="185" y="564"/>
                    <a:pt x="185" y="564"/>
                  </a:cubicBezTo>
                  <a:moveTo>
                    <a:pt x="223" y="564"/>
                  </a:moveTo>
                  <a:cubicBezTo>
                    <a:pt x="216" y="564"/>
                    <a:pt x="207" y="568"/>
                    <a:pt x="202" y="574"/>
                  </a:cubicBezTo>
                  <a:cubicBezTo>
                    <a:pt x="197" y="580"/>
                    <a:pt x="199" y="584"/>
                    <a:pt x="207" y="584"/>
                  </a:cubicBezTo>
                  <a:cubicBezTo>
                    <a:pt x="214" y="584"/>
                    <a:pt x="223" y="579"/>
                    <a:pt x="228" y="574"/>
                  </a:cubicBezTo>
                  <a:cubicBezTo>
                    <a:pt x="232" y="568"/>
                    <a:pt x="230" y="564"/>
                    <a:pt x="223" y="564"/>
                  </a:cubicBezTo>
                  <a:cubicBezTo>
                    <a:pt x="223" y="564"/>
                    <a:pt x="223" y="564"/>
                    <a:pt x="223" y="564"/>
                  </a:cubicBezTo>
                  <a:moveTo>
                    <a:pt x="259" y="564"/>
                  </a:moveTo>
                  <a:cubicBezTo>
                    <a:pt x="252" y="564"/>
                    <a:pt x="243" y="568"/>
                    <a:pt x="238" y="574"/>
                  </a:cubicBezTo>
                  <a:cubicBezTo>
                    <a:pt x="234" y="579"/>
                    <a:pt x="236" y="584"/>
                    <a:pt x="243" y="584"/>
                  </a:cubicBezTo>
                  <a:cubicBezTo>
                    <a:pt x="250" y="584"/>
                    <a:pt x="259" y="579"/>
                    <a:pt x="264" y="574"/>
                  </a:cubicBezTo>
                  <a:cubicBezTo>
                    <a:pt x="268" y="568"/>
                    <a:pt x="266" y="564"/>
                    <a:pt x="259" y="564"/>
                  </a:cubicBezTo>
                  <a:cubicBezTo>
                    <a:pt x="259" y="564"/>
                    <a:pt x="259" y="564"/>
                    <a:pt x="259" y="564"/>
                  </a:cubicBezTo>
                  <a:moveTo>
                    <a:pt x="295" y="563"/>
                  </a:moveTo>
                  <a:cubicBezTo>
                    <a:pt x="288" y="563"/>
                    <a:pt x="279" y="568"/>
                    <a:pt x="275" y="574"/>
                  </a:cubicBezTo>
                  <a:cubicBezTo>
                    <a:pt x="270" y="579"/>
                    <a:pt x="272" y="584"/>
                    <a:pt x="279" y="584"/>
                  </a:cubicBezTo>
                  <a:cubicBezTo>
                    <a:pt x="287" y="584"/>
                    <a:pt x="296" y="579"/>
                    <a:pt x="300" y="573"/>
                  </a:cubicBezTo>
                  <a:cubicBezTo>
                    <a:pt x="305" y="568"/>
                    <a:pt x="302" y="563"/>
                    <a:pt x="296" y="563"/>
                  </a:cubicBezTo>
                  <a:cubicBezTo>
                    <a:pt x="295" y="563"/>
                    <a:pt x="295" y="563"/>
                    <a:pt x="295" y="563"/>
                  </a:cubicBezTo>
                  <a:moveTo>
                    <a:pt x="332" y="563"/>
                  </a:moveTo>
                  <a:cubicBezTo>
                    <a:pt x="325" y="563"/>
                    <a:pt x="315" y="568"/>
                    <a:pt x="311" y="573"/>
                  </a:cubicBezTo>
                  <a:cubicBezTo>
                    <a:pt x="307" y="579"/>
                    <a:pt x="309" y="583"/>
                    <a:pt x="316" y="583"/>
                  </a:cubicBezTo>
                  <a:cubicBezTo>
                    <a:pt x="323" y="583"/>
                    <a:pt x="332" y="579"/>
                    <a:pt x="336" y="573"/>
                  </a:cubicBezTo>
                  <a:cubicBezTo>
                    <a:pt x="341" y="568"/>
                    <a:pt x="339" y="563"/>
                    <a:pt x="332" y="563"/>
                  </a:cubicBezTo>
                  <a:cubicBezTo>
                    <a:pt x="332" y="563"/>
                    <a:pt x="332" y="563"/>
                    <a:pt x="332" y="563"/>
                  </a:cubicBezTo>
                  <a:moveTo>
                    <a:pt x="368" y="563"/>
                  </a:moveTo>
                  <a:cubicBezTo>
                    <a:pt x="361" y="563"/>
                    <a:pt x="352" y="568"/>
                    <a:pt x="347" y="573"/>
                  </a:cubicBezTo>
                  <a:cubicBezTo>
                    <a:pt x="343" y="579"/>
                    <a:pt x="345" y="583"/>
                    <a:pt x="353" y="583"/>
                  </a:cubicBezTo>
                  <a:cubicBezTo>
                    <a:pt x="360" y="583"/>
                    <a:pt x="369" y="579"/>
                    <a:pt x="373" y="573"/>
                  </a:cubicBezTo>
                  <a:cubicBezTo>
                    <a:pt x="377" y="567"/>
                    <a:pt x="375" y="563"/>
                    <a:pt x="368" y="563"/>
                  </a:cubicBezTo>
                  <a:cubicBezTo>
                    <a:pt x="368" y="563"/>
                    <a:pt x="368" y="563"/>
                    <a:pt x="368" y="563"/>
                  </a:cubicBezTo>
                  <a:moveTo>
                    <a:pt x="405" y="563"/>
                  </a:moveTo>
                  <a:cubicBezTo>
                    <a:pt x="398" y="563"/>
                    <a:pt x="389" y="567"/>
                    <a:pt x="385" y="573"/>
                  </a:cubicBezTo>
                  <a:cubicBezTo>
                    <a:pt x="381" y="578"/>
                    <a:pt x="383" y="583"/>
                    <a:pt x="390" y="583"/>
                  </a:cubicBezTo>
                  <a:cubicBezTo>
                    <a:pt x="397" y="583"/>
                    <a:pt x="406" y="578"/>
                    <a:pt x="411" y="573"/>
                  </a:cubicBezTo>
                  <a:cubicBezTo>
                    <a:pt x="415" y="567"/>
                    <a:pt x="412" y="563"/>
                    <a:pt x="406" y="563"/>
                  </a:cubicBezTo>
                  <a:cubicBezTo>
                    <a:pt x="406" y="563"/>
                    <a:pt x="405" y="563"/>
                    <a:pt x="405" y="563"/>
                  </a:cubicBezTo>
                  <a:moveTo>
                    <a:pt x="442" y="562"/>
                  </a:moveTo>
                  <a:cubicBezTo>
                    <a:pt x="435" y="563"/>
                    <a:pt x="425" y="567"/>
                    <a:pt x="421" y="573"/>
                  </a:cubicBezTo>
                  <a:cubicBezTo>
                    <a:pt x="417" y="578"/>
                    <a:pt x="420" y="583"/>
                    <a:pt x="427" y="583"/>
                  </a:cubicBezTo>
                  <a:cubicBezTo>
                    <a:pt x="434" y="583"/>
                    <a:pt x="443" y="578"/>
                    <a:pt x="447" y="573"/>
                  </a:cubicBezTo>
                  <a:cubicBezTo>
                    <a:pt x="451" y="567"/>
                    <a:pt x="449" y="562"/>
                    <a:pt x="442" y="562"/>
                  </a:cubicBezTo>
                  <a:cubicBezTo>
                    <a:pt x="442" y="562"/>
                    <a:pt x="442" y="562"/>
                    <a:pt x="442" y="562"/>
                  </a:cubicBezTo>
                  <a:moveTo>
                    <a:pt x="478" y="562"/>
                  </a:moveTo>
                  <a:cubicBezTo>
                    <a:pt x="471" y="562"/>
                    <a:pt x="462" y="567"/>
                    <a:pt x="458" y="572"/>
                  </a:cubicBezTo>
                  <a:cubicBezTo>
                    <a:pt x="454" y="578"/>
                    <a:pt x="456" y="583"/>
                    <a:pt x="463" y="582"/>
                  </a:cubicBezTo>
                  <a:cubicBezTo>
                    <a:pt x="470" y="582"/>
                    <a:pt x="479" y="578"/>
                    <a:pt x="483" y="572"/>
                  </a:cubicBezTo>
                  <a:cubicBezTo>
                    <a:pt x="487" y="567"/>
                    <a:pt x="485" y="562"/>
                    <a:pt x="478" y="562"/>
                  </a:cubicBezTo>
                  <a:cubicBezTo>
                    <a:pt x="478" y="562"/>
                    <a:pt x="478" y="562"/>
                    <a:pt x="478" y="562"/>
                  </a:cubicBezTo>
                  <a:moveTo>
                    <a:pt x="515" y="562"/>
                  </a:moveTo>
                  <a:cubicBezTo>
                    <a:pt x="508" y="562"/>
                    <a:pt x="499" y="567"/>
                    <a:pt x="495" y="572"/>
                  </a:cubicBezTo>
                  <a:cubicBezTo>
                    <a:pt x="491" y="578"/>
                    <a:pt x="493" y="582"/>
                    <a:pt x="500" y="582"/>
                  </a:cubicBezTo>
                  <a:cubicBezTo>
                    <a:pt x="507" y="582"/>
                    <a:pt x="516" y="578"/>
                    <a:pt x="520" y="572"/>
                  </a:cubicBezTo>
                  <a:cubicBezTo>
                    <a:pt x="524" y="566"/>
                    <a:pt x="522" y="562"/>
                    <a:pt x="515" y="562"/>
                  </a:cubicBezTo>
                  <a:cubicBezTo>
                    <a:pt x="515" y="562"/>
                    <a:pt x="515" y="562"/>
                    <a:pt x="515" y="562"/>
                  </a:cubicBezTo>
                  <a:moveTo>
                    <a:pt x="551" y="562"/>
                  </a:moveTo>
                  <a:cubicBezTo>
                    <a:pt x="544" y="562"/>
                    <a:pt x="535" y="566"/>
                    <a:pt x="531" y="572"/>
                  </a:cubicBezTo>
                  <a:cubicBezTo>
                    <a:pt x="527" y="578"/>
                    <a:pt x="530" y="582"/>
                    <a:pt x="537" y="582"/>
                  </a:cubicBezTo>
                  <a:cubicBezTo>
                    <a:pt x="544" y="582"/>
                    <a:pt x="553" y="577"/>
                    <a:pt x="556" y="572"/>
                  </a:cubicBezTo>
                  <a:cubicBezTo>
                    <a:pt x="560" y="566"/>
                    <a:pt x="558" y="562"/>
                    <a:pt x="551" y="562"/>
                  </a:cubicBezTo>
                  <a:cubicBezTo>
                    <a:pt x="551" y="562"/>
                    <a:pt x="551" y="562"/>
                    <a:pt x="551" y="562"/>
                  </a:cubicBezTo>
                  <a:moveTo>
                    <a:pt x="587" y="562"/>
                  </a:moveTo>
                  <a:cubicBezTo>
                    <a:pt x="580" y="562"/>
                    <a:pt x="571" y="566"/>
                    <a:pt x="567" y="572"/>
                  </a:cubicBezTo>
                  <a:cubicBezTo>
                    <a:pt x="564" y="577"/>
                    <a:pt x="566" y="582"/>
                    <a:pt x="573" y="582"/>
                  </a:cubicBezTo>
                  <a:cubicBezTo>
                    <a:pt x="580" y="582"/>
                    <a:pt x="589" y="577"/>
                    <a:pt x="593" y="572"/>
                  </a:cubicBezTo>
                  <a:cubicBezTo>
                    <a:pt x="597" y="566"/>
                    <a:pt x="594" y="562"/>
                    <a:pt x="587" y="562"/>
                  </a:cubicBezTo>
                  <a:cubicBezTo>
                    <a:pt x="587" y="562"/>
                    <a:pt x="587" y="562"/>
                    <a:pt x="587" y="562"/>
                  </a:cubicBezTo>
                  <a:moveTo>
                    <a:pt x="623" y="561"/>
                  </a:moveTo>
                  <a:cubicBezTo>
                    <a:pt x="616" y="561"/>
                    <a:pt x="607" y="566"/>
                    <a:pt x="604" y="572"/>
                  </a:cubicBezTo>
                  <a:cubicBezTo>
                    <a:pt x="600" y="577"/>
                    <a:pt x="602" y="582"/>
                    <a:pt x="610" y="582"/>
                  </a:cubicBezTo>
                  <a:cubicBezTo>
                    <a:pt x="617" y="582"/>
                    <a:pt x="625" y="577"/>
                    <a:pt x="629" y="571"/>
                  </a:cubicBezTo>
                  <a:cubicBezTo>
                    <a:pt x="633" y="566"/>
                    <a:pt x="630" y="561"/>
                    <a:pt x="623" y="561"/>
                  </a:cubicBezTo>
                  <a:cubicBezTo>
                    <a:pt x="623" y="561"/>
                    <a:pt x="623" y="561"/>
                    <a:pt x="623" y="561"/>
                  </a:cubicBezTo>
                  <a:moveTo>
                    <a:pt x="660" y="561"/>
                  </a:moveTo>
                  <a:cubicBezTo>
                    <a:pt x="653" y="561"/>
                    <a:pt x="644" y="566"/>
                    <a:pt x="640" y="571"/>
                  </a:cubicBezTo>
                  <a:cubicBezTo>
                    <a:pt x="636" y="577"/>
                    <a:pt x="639" y="581"/>
                    <a:pt x="646" y="581"/>
                  </a:cubicBezTo>
                  <a:cubicBezTo>
                    <a:pt x="653" y="581"/>
                    <a:pt x="662" y="577"/>
                    <a:pt x="666" y="571"/>
                  </a:cubicBezTo>
                  <a:cubicBezTo>
                    <a:pt x="669" y="566"/>
                    <a:pt x="667" y="561"/>
                    <a:pt x="660" y="561"/>
                  </a:cubicBezTo>
                  <a:cubicBezTo>
                    <a:pt x="660" y="561"/>
                    <a:pt x="660" y="561"/>
                    <a:pt x="660" y="561"/>
                  </a:cubicBezTo>
                  <a:moveTo>
                    <a:pt x="696" y="561"/>
                  </a:moveTo>
                  <a:cubicBezTo>
                    <a:pt x="689" y="561"/>
                    <a:pt x="681" y="565"/>
                    <a:pt x="677" y="571"/>
                  </a:cubicBezTo>
                  <a:cubicBezTo>
                    <a:pt x="673" y="577"/>
                    <a:pt x="676" y="581"/>
                    <a:pt x="683" y="581"/>
                  </a:cubicBezTo>
                  <a:cubicBezTo>
                    <a:pt x="690" y="581"/>
                    <a:pt x="699" y="577"/>
                    <a:pt x="702" y="571"/>
                  </a:cubicBezTo>
                  <a:cubicBezTo>
                    <a:pt x="706" y="565"/>
                    <a:pt x="703" y="561"/>
                    <a:pt x="696" y="561"/>
                  </a:cubicBezTo>
                  <a:cubicBezTo>
                    <a:pt x="696" y="561"/>
                    <a:pt x="696" y="561"/>
                    <a:pt x="696" y="561"/>
                  </a:cubicBezTo>
                  <a:moveTo>
                    <a:pt x="732" y="561"/>
                  </a:moveTo>
                  <a:cubicBezTo>
                    <a:pt x="725" y="561"/>
                    <a:pt x="717" y="565"/>
                    <a:pt x="713" y="571"/>
                  </a:cubicBezTo>
                  <a:cubicBezTo>
                    <a:pt x="710" y="576"/>
                    <a:pt x="712" y="581"/>
                    <a:pt x="720" y="581"/>
                  </a:cubicBezTo>
                  <a:cubicBezTo>
                    <a:pt x="727" y="581"/>
                    <a:pt x="735" y="576"/>
                    <a:pt x="739" y="571"/>
                  </a:cubicBezTo>
                  <a:cubicBezTo>
                    <a:pt x="742" y="565"/>
                    <a:pt x="739" y="561"/>
                    <a:pt x="732" y="561"/>
                  </a:cubicBezTo>
                  <a:cubicBezTo>
                    <a:pt x="732" y="561"/>
                    <a:pt x="732" y="561"/>
                    <a:pt x="732" y="561"/>
                  </a:cubicBezTo>
                  <a:moveTo>
                    <a:pt x="769" y="560"/>
                  </a:moveTo>
                  <a:cubicBezTo>
                    <a:pt x="762" y="560"/>
                    <a:pt x="753" y="565"/>
                    <a:pt x="750" y="571"/>
                  </a:cubicBezTo>
                  <a:cubicBezTo>
                    <a:pt x="746" y="576"/>
                    <a:pt x="749" y="581"/>
                    <a:pt x="756" y="581"/>
                  </a:cubicBezTo>
                  <a:cubicBezTo>
                    <a:pt x="763" y="581"/>
                    <a:pt x="772" y="576"/>
                    <a:pt x="775" y="571"/>
                  </a:cubicBezTo>
                  <a:cubicBezTo>
                    <a:pt x="779" y="565"/>
                    <a:pt x="776" y="560"/>
                    <a:pt x="769" y="560"/>
                  </a:cubicBezTo>
                  <a:cubicBezTo>
                    <a:pt x="769" y="560"/>
                    <a:pt x="769" y="560"/>
                    <a:pt x="769" y="560"/>
                  </a:cubicBezTo>
                  <a:moveTo>
                    <a:pt x="803" y="560"/>
                  </a:moveTo>
                  <a:cubicBezTo>
                    <a:pt x="796" y="560"/>
                    <a:pt x="788" y="565"/>
                    <a:pt x="784" y="571"/>
                  </a:cubicBezTo>
                  <a:cubicBezTo>
                    <a:pt x="781" y="576"/>
                    <a:pt x="784" y="581"/>
                    <a:pt x="791" y="581"/>
                  </a:cubicBezTo>
                  <a:cubicBezTo>
                    <a:pt x="798" y="581"/>
                    <a:pt x="807" y="576"/>
                    <a:pt x="810" y="570"/>
                  </a:cubicBezTo>
                  <a:cubicBezTo>
                    <a:pt x="813" y="565"/>
                    <a:pt x="810" y="560"/>
                    <a:pt x="803" y="560"/>
                  </a:cubicBezTo>
                  <a:cubicBezTo>
                    <a:pt x="803" y="560"/>
                    <a:pt x="803" y="560"/>
                    <a:pt x="803" y="560"/>
                  </a:cubicBezTo>
                  <a:moveTo>
                    <a:pt x="839" y="560"/>
                  </a:moveTo>
                  <a:cubicBezTo>
                    <a:pt x="832" y="560"/>
                    <a:pt x="824" y="565"/>
                    <a:pt x="821" y="570"/>
                  </a:cubicBezTo>
                  <a:cubicBezTo>
                    <a:pt x="817" y="576"/>
                    <a:pt x="820" y="581"/>
                    <a:pt x="827" y="580"/>
                  </a:cubicBezTo>
                  <a:cubicBezTo>
                    <a:pt x="834" y="580"/>
                    <a:pt x="843" y="576"/>
                    <a:pt x="846" y="570"/>
                  </a:cubicBezTo>
                  <a:cubicBezTo>
                    <a:pt x="849" y="565"/>
                    <a:pt x="846" y="560"/>
                    <a:pt x="839" y="560"/>
                  </a:cubicBezTo>
                  <a:cubicBezTo>
                    <a:pt x="839" y="560"/>
                    <a:pt x="839" y="560"/>
                    <a:pt x="839" y="560"/>
                  </a:cubicBezTo>
                  <a:moveTo>
                    <a:pt x="876" y="560"/>
                  </a:moveTo>
                  <a:cubicBezTo>
                    <a:pt x="869" y="560"/>
                    <a:pt x="860" y="565"/>
                    <a:pt x="857" y="570"/>
                  </a:cubicBezTo>
                  <a:cubicBezTo>
                    <a:pt x="854" y="576"/>
                    <a:pt x="857" y="580"/>
                    <a:pt x="864" y="580"/>
                  </a:cubicBezTo>
                  <a:cubicBezTo>
                    <a:pt x="871" y="580"/>
                    <a:pt x="879" y="576"/>
                    <a:pt x="883" y="570"/>
                  </a:cubicBezTo>
                  <a:cubicBezTo>
                    <a:pt x="886" y="564"/>
                    <a:pt x="883" y="560"/>
                    <a:pt x="876" y="560"/>
                  </a:cubicBezTo>
                  <a:cubicBezTo>
                    <a:pt x="876" y="560"/>
                    <a:pt x="876" y="560"/>
                    <a:pt x="876" y="560"/>
                  </a:cubicBezTo>
                  <a:moveTo>
                    <a:pt x="1893" y="554"/>
                  </a:moveTo>
                  <a:cubicBezTo>
                    <a:pt x="1886" y="554"/>
                    <a:pt x="1879" y="559"/>
                    <a:pt x="1878" y="565"/>
                  </a:cubicBezTo>
                  <a:cubicBezTo>
                    <a:pt x="1877" y="570"/>
                    <a:pt x="1882" y="575"/>
                    <a:pt x="1889" y="575"/>
                  </a:cubicBezTo>
                  <a:cubicBezTo>
                    <a:pt x="1896" y="575"/>
                    <a:pt x="1902" y="570"/>
                    <a:pt x="1904" y="565"/>
                  </a:cubicBezTo>
                  <a:cubicBezTo>
                    <a:pt x="1905" y="559"/>
                    <a:pt x="1900" y="554"/>
                    <a:pt x="1893" y="554"/>
                  </a:cubicBezTo>
                  <a:cubicBezTo>
                    <a:pt x="1893" y="554"/>
                    <a:pt x="1893" y="554"/>
                    <a:pt x="1893" y="554"/>
                  </a:cubicBezTo>
                  <a:moveTo>
                    <a:pt x="1926" y="554"/>
                  </a:moveTo>
                  <a:cubicBezTo>
                    <a:pt x="1919" y="554"/>
                    <a:pt x="1913" y="559"/>
                    <a:pt x="1912" y="564"/>
                  </a:cubicBezTo>
                  <a:cubicBezTo>
                    <a:pt x="1910" y="570"/>
                    <a:pt x="1915" y="575"/>
                    <a:pt x="1922" y="575"/>
                  </a:cubicBezTo>
                  <a:cubicBezTo>
                    <a:pt x="1929" y="575"/>
                    <a:pt x="1936" y="570"/>
                    <a:pt x="1937" y="564"/>
                  </a:cubicBezTo>
                  <a:cubicBezTo>
                    <a:pt x="1938" y="559"/>
                    <a:pt x="1933" y="554"/>
                    <a:pt x="1926" y="554"/>
                  </a:cubicBezTo>
                  <a:cubicBezTo>
                    <a:pt x="1926" y="554"/>
                    <a:pt x="1926" y="554"/>
                    <a:pt x="1926" y="554"/>
                  </a:cubicBezTo>
                  <a:moveTo>
                    <a:pt x="1962" y="554"/>
                  </a:moveTo>
                  <a:cubicBezTo>
                    <a:pt x="1955" y="554"/>
                    <a:pt x="1949" y="559"/>
                    <a:pt x="1948" y="564"/>
                  </a:cubicBezTo>
                  <a:cubicBezTo>
                    <a:pt x="1947" y="570"/>
                    <a:pt x="1951" y="574"/>
                    <a:pt x="1958" y="574"/>
                  </a:cubicBezTo>
                  <a:cubicBezTo>
                    <a:pt x="1966" y="574"/>
                    <a:pt x="1972" y="570"/>
                    <a:pt x="1973" y="564"/>
                  </a:cubicBezTo>
                  <a:cubicBezTo>
                    <a:pt x="1974" y="558"/>
                    <a:pt x="1969" y="554"/>
                    <a:pt x="1962" y="554"/>
                  </a:cubicBezTo>
                  <a:cubicBezTo>
                    <a:pt x="1962" y="554"/>
                    <a:pt x="1962" y="554"/>
                    <a:pt x="1962" y="554"/>
                  </a:cubicBezTo>
                  <a:moveTo>
                    <a:pt x="1999" y="554"/>
                  </a:moveTo>
                  <a:cubicBezTo>
                    <a:pt x="1992" y="554"/>
                    <a:pt x="1985" y="558"/>
                    <a:pt x="1984" y="564"/>
                  </a:cubicBezTo>
                  <a:cubicBezTo>
                    <a:pt x="1983" y="570"/>
                    <a:pt x="1988" y="574"/>
                    <a:pt x="1995" y="574"/>
                  </a:cubicBezTo>
                  <a:cubicBezTo>
                    <a:pt x="2002" y="574"/>
                    <a:pt x="2008" y="569"/>
                    <a:pt x="2009" y="564"/>
                  </a:cubicBezTo>
                  <a:cubicBezTo>
                    <a:pt x="2010" y="558"/>
                    <a:pt x="2006" y="554"/>
                    <a:pt x="1999" y="554"/>
                  </a:cubicBezTo>
                  <a:cubicBezTo>
                    <a:pt x="1999" y="554"/>
                    <a:pt x="1999" y="554"/>
                    <a:pt x="1999" y="554"/>
                  </a:cubicBezTo>
                  <a:moveTo>
                    <a:pt x="2035" y="552"/>
                  </a:moveTo>
                  <a:cubicBezTo>
                    <a:pt x="2028" y="552"/>
                    <a:pt x="2021" y="557"/>
                    <a:pt x="2020" y="562"/>
                  </a:cubicBezTo>
                  <a:cubicBezTo>
                    <a:pt x="2019" y="568"/>
                    <a:pt x="2024" y="573"/>
                    <a:pt x="2031" y="573"/>
                  </a:cubicBezTo>
                  <a:cubicBezTo>
                    <a:pt x="2038" y="573"/>
                    <a:pt x="2045" y="568"/>
                    <a:pt x="2046" y="562"/>
                  </a:cubicBezTo>
                  <a:cubicBezTo>
                    <a:pt x="2047" y="557"/>
                    <a:pt x="2042" y="552"/>
                    <a:pt x="2035" y="552"/>
                  </a:cubicBezTo>
                  <a:cubicBezTo>
                    <a:pt x="2035" y="552"/>
                    <a:pt x="2035" y="552"/>
                    <a:pt x="2035" y="552"/>
                  </a:cubicBezTo>
                  <a:moveTo>
                    <a:pt x="2179" y="551"/>
                  </a:moveTo>
                  <a:cubicBezTo>
                    <a:pt x="2172" y="551"/>
                    <a:pt x="2166" y="556"/>
                    <a:pt x="2165" y="562"/>
                  </a:cubicBezTo>
                  <a:cubicBezTo>
                    <a:pt x="2164" y="567"/>
                    <a:pt x="2170" y="572"/>
                    <a:pt x="2177" y="572"/>
                  </a:cubicBezTo>
                  <a:cubicBezTo>
                    <a:pt x="2184" y="572"/>
                    <a:pt x="2190" y="567"/>
                    <a:pt x="2190" y="561"/>
                  </a:cubicBezTo>
                  <a:cubicBezTo>
                    <a:pt x="2191" y="556"/>
                    <a:pt x="2186" y="551"/>
                    <a:pt x="2179" y="551"/>
                  </a:cubicBezTo>
                  <a:cubicBezTo>
                    <a:pt x="2179" y="551"/>
                    <a:pt x="2179" y="551"/>
                    <a:pt x="2179" y="551"/>
                  </a:cubicBezTo>
                  <a:moveTo>
                    <a:pt x="2289" y="550"/>
                  </a:moveTo>
                  <a:cubicBezTo>
                    <a:pt x="2282" y="550"/>
                    <a:pt x="2276" y="554"/>
                    <a:pt x="2276" y="560"/>
                  </a:cubicBezTo>
                  <a:cubicBezTo>
                    <a:pt x="2275" y="566"/>
                    <a:pt x="2281" y="570"/>
                    <a:pt x="2288" y="570"/>
                  </a:cubicBezTo>
                  <a:cubicBezTo>
                    <a:pt x="2295" y="570"/>
                    <a:pt x="2301" y="566"/>
                    <a:pt x="2301" y="560"/>
                  </a:cubicBezTo>
                  <a:cubicBezTo>
                    <a:pt x="2302" y="554"/>
                    <a:pt x="2296" y="550"/>
                    <a:pt x="2289" y="550"/>
                  </a:cubicBezTo>
                  <a:cubicBezTo>
                    <a:pt x="2289" y="550"/>
                    <a:pt x="2289" y="550"/>
                    <a:pt x="2289" y="550"/>
                  </a:cubicBezTo>
                  <a:moveTo>
                    <a:pt x="2362" y="549"/>
                  </a:moveTo>
                  <a:cubicBezTo>
                    <a:pt x="2355" y="549"/>
                    <a:pt x="2349" y="554"/>
                    <a:pt x="2348" y="560"/>
                  </a:cubicBezTo>
                  <a:cubicBezTo>
                    <a:pt x="2348" y="565"/>
                    <a:pt x="2354" y="570"/>
                    <a:pt x="2361" y="570"/>
                  </a:cubicBezTo>
                  <a:cubicBezTo>
                    <a:pt x="2368" y="570"/>
                    <a:pt x="2374" y="565"/>
                    <a:pt x="2374" y="559"/>
                  </a:cubicBezTo>
                  <a:cubicBezTo>
                    <a:pt x="2374" y="554"/>
                    <a:pt x="2369" y="549"/>
                    <a:pt x="2362" y="549"/>
                  </a:cubicBezTo>
                  <a:cubicBezTo>
                    <a:pt x="2362" y="549"/>
                    <a:pt x="2362" y="549"/>
                    <a:pt x="2362" y="549"/>
                  </a:cubicBezTo>
                  <a:moveTo>
                    <a:pt x="2760" y="549"/>
                  </a:moveTo>
                  <a:cubicBezTo>
                    <a:pt x="2753" y="549"/>
                    <a:pt x="2747" y="554"/>
                    <a:pt x="2748" y="559"/>
                  </a:cubicBezTo>
                  <a:cubicBezTo>
                    <a:pt x="2748" y="565"/>
                    <a:pt x="2755" y="570"/>
                    <a:pt x="2762" y="569"/>
                  </a:cubicBezTo>
                  <a:cubicBezTo>
                    <a:pt x="2769" y="569"/>
                    <a:pt x="2774" y="565"/>
                    <a:pt x="2773" y="559"/>
                  </a:cubicBezTo>
                  <a:cubicBezTo>
                    <a:pt x="2773" y="554"/>
                    <a:pt x="2767" y="549"/>
                    <a:pt x="2760" y="549"/>
                  </a:cubicBezTo>
                  <a:cubicBezTo>
                    <a:pt x="2760" y="549"/>
                    <a:pt x="2760" y="549"/>
                    <a:pt x="2760" y="549"/>
                  </a:cubicBezTo>
                  <a:moveTo>
                    <a:pt x="2470" y="549"/>
                  </a:moveTo>
                  <a:cubicBezTo>
                    <a:pt x="2463" y="549"/>
                    <a:pt x="2457" y="553"/>
                    <a:pt x="2457" y="559"/>
                  </a:cubicBezTo>
                  <a:cubicBezTo>
                    <a:pt x="2457" y="565"/>
                    <a:pt x="2463" y="569"/>
                    <a:pt x="2470" y="569"/>
                  </a:cubicBezTo>
                  <a:cubicBezTo>
                    <a:pt x="2477" y="569"/>
                    <a:pt x="2483" y="564"/>
                    <a:pt x="2483" y="559"/>
                  </a:cubicBezTo>
                  <a:cubicBezTo>
                    <a:pt x="2483" y="553"/>
                    <a:pt x="2477" y="549"/>
                    <a:pt x="2470" y="549"/>
                  </a:cubicBezTo>
                  <a:cubicBezTo>
                    <a:pt x="2470" y="549"/>
                    <a:pt x="2470" y="549"/>
                    <a:pt x="2470" y="549"/>
                  </a:cubicBezTo>
                  <a:moveTo>
                    <a:pt x="2506" y="548"/>
                  </a:moveTo>
                  <a:cubicBezTo>
                    <a:pt x="2499" y="548"/>
                    <a:pt x="2493" y="553"/>
                    <a:pt x="2493" y="559"/>
                  </a:cubicBezTo>
                  <a:cubicBezTo>
                    <a:pt x="2493" y="564"/>
                    <a:pt x="2499" y="569"/>
                    <a:pt x="2506" y="569"/>
                  </a:cubicBezTo>
                  <a:cubicBezTo>
                    <a:pt x="2513" y="569"/>
                    <a:pt x="2519" y="564"/>
                    <a:pt x="2519" y="559"/>
                  </a:cubicBezTo>
                  <a:cubicBezTo>
                    <a:pt x="2519" y="553"/>
                    <a:pt x="2513" y="548"/>
                    <a:pt x="2506" y="548"/>
                  </a:cubicBezTo>
                  <a:cubicBezTo>
                    <a:pt x="2506" y="548"/>
                    <a:pt x="2506" y="548"/>
                    <a:pt x="2506" y="548"/>
                  </a:cubicBezTo>
                  <a:moveTo>
                    <a:pt x="2652" y="548"/>
                  </a:moveTo>
                  <a:cubicBezTo>
                    <a:pt x="2645" y="548"/>
                    <a:pt x="2639" y="553"/>
                    <a:pt x="2640" y="559"/>
                  </a:cubicBezTo>
                  <a:cubicBezTo>
                    <a:pt x="2640" y="564"/>
                    <a:pt x="2646" y="569"/>
                    <a:pt x="2653" y="569"/>
                  </a:cubicBezTo>
                  <a:cubicBezTo>
                    <a:pt x="2660" y="569"/>
                    <a:pt x="2665" y="564"/>
                    <a:pt x="2665" y="559"/>
                  </a:cubicBezTo>
                  <a:cubicBezTo>
                    <a:pt x="2665" y="553"/>
                    <a:pt x="2659" y="548"/>
                    <a:pt x="2652" y="548"/>
                  </a:cubicBezTo>
                  <a:cubicBezTo>
                    <a:pt x="2652" y="548"/>
                    <a:pt x="2652" y="548"/>
                    <a:pt x="2652" y="548"/>
                  </a:cubicBezTo>
                  <a:moveTo>
                    <a:pt x="2542" y="548"/>
                  </a:moveTo>
                  <a:cubicBezTo>
                    <a:pt x="2535" y="548"/>
                    <a:pt x="2530" y="553"/>
                    <a:pt x="2530" y="558"/>
                  </a:cubicBezTo>
                  <a:cubicBezTo>
                    <a:pt x="2530" y="564"/>
                    <a:pt x="2536" y="569"/>
                    <a:pt x="2543" y="569"/>
                  </a:cubicBezTo>
                  <a:cubicBezTo>
                    <a:pt x="2550" y="569"/>
                    <a:pt x="2555" y="564"/>
                    <a:pt x="2555" y="558"/>
                  </a:cubicBezTo>
                  <a:cubicBezTo>
                    <a:pt x="2555" y="553"/>
                    <a:pt x="2549" y="548"/>
                    <a:pt x="2542" y="548"/>
                  </a:cubicBezTo>
                  <a:cubicBezTo>
                    <a:pt x="2542" y="548"/>
                    <a:pt x="2542" y="548"/>
                    <a:pt x="2542" y="548"/>
                  </a:cubicBezTo>
                  <a:moveTo>
                    <a:pt x="2687" y="548"/>
                  </a:moveTo>
                  <a:cubicBezTo>
                    <a:pt x="2680" y="548"/>
                    <a:pt x="2675" y="553"/>
                    <a:pt x="2675" y="558"/>
                  </a:cubicBezTo>
                  <a:cubicBezTo>
                    <a:pt x="2676" y="564"/>
                    <a:pt x="2682" y="569"/>
                    <a:pt x="2689" y="569"/>
                  </a:cubicBezTo>
                  <a:cubicBezTo>
                    <a:pt x="2696" y="569"/>
                    <a:pt x="2701" y="564"/>
                    <a:pt x="2701" y="558"/>
                  </a:cubicBezTo>
                  <a:cubicBezTo>
                    <a:pt x="2700" y="553"/>
                    <a:pt x="2694" y="548"/>
                    <a:pt x="2688" y="548"/>
                  </a:cubicBezTo>
                  <a:cubicBezTo>
                    <a:pt x="2688" y="548"/>
                    <a:pt x="2687" y="548"/>
                    <a:pt x="2687" y="548"/>
                  </a:cubicBezTo>
                  <a:moveTo>
                    <a:pt x="2616" y="548"/>
                  </a:moveTo>
                  <a:cubicBezTo>
                    <a:pt x="2609" y="548"/>
                    <a:pt x="2603" y="553"/>
                    <a:pt x="2604" y="558"/>
                  </a:cubicBezTo>
                  <a:cubicBezTo>
                    <a:pt x="2604" y="564"/>
                    <a:pt x="2610" y="569"/>
                    <a:pt x="2617" y="569"/>
                  </a:cubicBezTo>
                  <a:cubicBezTo>
                    <a:pt x="2624" y="569"/>
                    <a:pt x="2629" y="564"/>
                    <a:pt x="2629" y="558"/>
                  </a:cubicBezTo>
                  <a:cubicBezTo>
                    <a:pt x="2629" y="553"/>
                    <a:pt x="2623" y="548"/>
                    <a:pt x="2616" y="548"/>
                  </a:cubicBezTo>
                  <a:cubicBezTo>
                    <a:pt x="2616" y="548"/>
                    <a:pt x="2616" y="548"/>
                    <a:pt x="2616" y="548"/>
                  </a:cubicBezTo>
                  <a:moveTo>
                    <a:pt x="2579" y="548"/>
                  </a:moveTo>
                  <a:cubicBezTo>
                    <a:pt x="2572" y="548"/>
                    <a:pt x="2566" y="553"/>
                    <a:pt x="2566" y="558"/>
                  </a:cubicBezTo>
                  <a:cubicBezTo>
                    <a:pt x="2567" y="564"/>
                    <a:pt x="2572" y="568"/>
                    <a:pt x="2579" y="568"/>
                  </a:cubicBezTo>
                  <a:cubicBezTo>
                    <a:pt x="2587" y="568"/>
                    <a:pt x="2592" y="564"/>
                    <a:pt x="2592" y="558"/>
                  </a:cubicBezTo>
                  <a:cubicBezTo>
                    <a:pt x="2592" y="552"/>
                    <a:pt x="2586" y="548"/>
                    <a:pt x="2579" y="548"/>
                  </a:cubicBezTo>
                  <a:cubicBezTo>
                    <a:pt x="2579" y="548"/>
                    <a:pt x="2579" y="548"/>
                    <a:pt x="2579" y="548"/>
                  </a:cubicBezTo>
                  <a:moveTo>
                    <a:pt x="2723" y="548"/>
                  </a:moveTo>
                  <a:cubicBezTo>
                    <a:pt x="2716" y="548"/>
                    <a:pt x="2711" y="553"/>
                    <a:pt x="2712" y="558"/>
                  </a:cubicBezTo>
                  <a:cubicBezTo>
                    <a:pt x="2712" y="564"/>
                    <a:pt x="2718" y="568"/>
                    <a:pt x="2725" y="568"/>
                  </a:cubicBezTo>
                  <a:cubicBezTo>
                    <a:pt x="2732" y="568"/>
                    <a:pt x="2737" y="564"/>
                    <a:pt x="2737" y="558"/>
                  </a:cubicBezTo>
                  <a:cubicBezTo>
                    <a:pt x="2736" y="552"/>
                    <a:pt x="2730" y="548"/>
                    <a:pt x="2723" y="548"/>
                  </a:cubicBezTo>
                  <a:cubicBezTo>
                    <a:pt x="2723" y="548"/>
                    <a:pt x="2723" y="548"/>
                    <a:pt x="2723" y="548"/>
                  </a:cubicBezTo>
                  <a:moveTo>
                    <a:pt x="2796" y="548"/>
                  </a:moveTo>
                  <a:cubicBezTo>
                    <a:pt x="2789" y="548"/>
                    <a:pt x="2784" y="552"/>
                    <a:pt x="2784" y="558"/>
                  </a:cubicBezTo>
                  <a:cubicBezTo>
                    <a:pt x="2785" y="564"/>
                    <a:pt x="2791" y="568"/>
                    <a:pt x="2798" y="568"/>
                  </a:cubicBezTo>
                  <a:cubicBezTo>
                    <a:pt x="2805" y="568"/>
                    <a:pt x="2810" y="563"/>
                    <a:pt x="2809" y="558"/>
                  </a:cubicBezTo>
                  <a:cubicBezTo>
                    <a:pt x="2809" y="552"/>
                    <a:pt x="2803" y="548"/>
                    <a:pt x="2796" y="548"/>
                  </a:cubicBezTo>
                  <a:cubicBezTo>
                    <a:pt x="2796" y="548"/>
                    <a:pt x="2796" y="548"/>
                    <a:pt x="2796" y="548"/>
                  </a:cubicBezTo>
                  <a:moveTo>
                    <a:pt x="2830" y="547"/>
                  </a:moveTo>
                  <a:cubicBezTo>
                    <a:pt x="2823" y="547"/>
                    <a:pt x="2818" y="552"/>
                    <a:pt x="2818" y="558"/>
                  </a:cubicBezTo>
                  <a:cubicBezTo>
                    <a:pt x="2819" y="563"/>
                    <a:pt x="2825" y="568"/>
                    <a:pt x="2832" y="568"/>
                  </a:cubicBezTo>
                  <a:cubicBezTo>
                    <a:pt x="2839" y="568"/>
                    <a:pt x="2844" y="563"/>
                    <a:pt x="2844" y="558"/>
                  </a:cubicBezTo>
                  <a:cubicBezTo>
                    <a:pt x="2843" y="552"/>
                    <a:pt x="2837" y="547"/>
                    <a:pt x="2830" y="547"/>
                  </a:cubicBezTo>
                  <a:cubicBezTo>
                    <a:pt x="2830" y="547"/>
                    <a:pt x="2830" y="547"/>
                    <a:pt x="2830" y="547"/>
                  </a:cubicBezTo>
                  <a:moveTo>
                    <a:pt x="2866" y="547"/>
                  </a:moveTo>
                  <a:cubicBezTo>
                    <a:pt x="2859" y="547"/>
                    <a:pt x="2854" y="552"/>
                    <a:pt x="2854" y="557"/>
                  </a:cubicBezTo>
                  <a:cubicBezTo>
                    <a:pt x="2855" y="563"/>
                    <a:pt x="2861" y="568"/>
                    <a:pt x="2868" y="568"/>
                  </a:cubicBezTo>
                  <a:cubicBezTo>
                    <a:pt x="2875" y="568"/>
                    <a:pt x="2880" y="563"/>
                    <a:pt x="2880" y="557"/>
                  </a:cubicBezTo>
                  <a:cubicBezTo>
                    <a:pt x="2879" y="552"/>
                    <a:pt x="2873" y="547"/>
                    <a:pt x="2866" y="547"/>
                  </a:cubicBezTo>
                  <a:cubicBezTo>
                    <a:pt x="2866" y="547"/>
                    <a:pt x="2866" y="547"/>
                    <a:pt x="2866" y="547"/>
                  </a:cubicBezTo>
                  <a:moveTo>
                    <a:pt x="2902" y="547"/>
                  </a:moveTo>
                  <a:cubicBezTo>
                    <a:pt x="2895" y="547"/>
                    <a:pt x="2890" y="552"/>
                    <a:pt x="2891" y="557"/>
                  </a:cubicBezTo>
                  <a:cubicBezTo>
                    <a:pt x="2891" y="563"/>
                    <a:pt x="2898" y="567"/>
                    <a:pt x="2905" y="567"/>
                  </a:cubicBezTo>
                  <a:cubicBezTo>
                    <a:pt x="2912" y="567"/>
                    <a:pt x="2917" y="563"/>
                    <a:pt x="2916" y="557"/>
                  </a:cubicBezTo>
                  <a:cubicBezTo>
                    <a:pt x="2915" y="551"/>
                    <a:pt x="2909" y="547"/>
                    <a:pt x="2902" y="547"/>
                  </a:cubicBezTo>
                  <a:cubicBezTo>
                    <a:pt x="2902" y="547"/>
                    <a:pt x="2902" y="547"/>
                    <a:pt x="2902" y="547"/>
                  </a:cubicBezTo>
                  <a:moveTo>
                    <a:pt x="2938" y="547"/>
                  </a:moveTo>
                  <a:cubicBezTo>
                    <a:pt x="2931" y="547"/>
                    <a:pt x="2926" y="551"/>
                    <a:pt x="2927" y="557"/>
                  </a:cubicBezTo>
                  <a:cubicBezTo>
                    <a:pt x="2928" y="563"/>
                    <a:pt x="2935" y="567"/>
                    <a:pt x="2942" y="567"/>
                  </a:cubicBezTo>
                  <a:cubicBezTo>
                    <a:pt x="2949" y="567"/>
                    <a:pt x="2954" y="563"/>
                    <a:pt x="2953" y="557"/>
                  </a:cubicBezTo>
                  <a:cubicBezTo>
                    <a:pt x="2952" y="551"/>
                    <a:pt x="2945" y="547"/>
                    <a:pt x="2938" y="547"/>
                  </a:cubicBezTo>
                  <a:cubicBezTo>
                    <a:pt x="2938" y="547"/>
                    <a:pt x="2938" y="547"/>
                    <a:pt x="2938" y="547"/>
                  </a:cubicBezTo>
                  <a:moveTo>
                    <a:pt x="2974" y="546"/>
                  </a:moveTo>
                  <a:cubicBezTo>
                    <a:pt x="2967" y="547"/>
                    <a:pt x="2962" y="551"/>
                    <a:pt x="2963" y="557"/>
                  </a:cubicBezTo>
                  <a:cubicBezTo>
                    <a:pt x="2964" y="562"/>
                    <a:pt x="2971" y="567"/>
                    <a:pt x="2978" y="567"/>
                  </a:cubicBezTo>
                  <a:cubicBezTo>
                    <a:pt x="2985" y="567"/>
                    <a:pt x="2990" y="562"/>
                    <a:pt x="2989" y="557"/>
                  </a:cubicBezTo>
                  <a:cubicBezTo>
                    <a:pt x="2988" y="551"/>
                    <a:pt x="2981" y="546"/>
                    <a:pt x="2974" y="546"/>
                  </a:cubicBezTo>
                  <a:cubicBezTo>
                    <a:pt x="2974" y="546"/>
                    <a:pt x="2974" y="546"/>
                    <a:pt x="2974" y="546"/>
                  </a:cubicBezTo>
                  <a:moveTo>
                    <a:pt x="3010" y="546"/>
                  </a:moveTo>
                  <a:cubicBezTo>
                    <a:pt x="3003" y="546"/>
                    <a:pt x="2999" y="551"/>
                    <a:pt x="3000" y="557"/>
                  </a:cubicBezTo>
                  <a:cubicBezTo>
                    <a:pt x="3001" y="562"/>
                    <a:pt x="3007" y="567"/>
                    <a:pt x="3014" y="567"/>
                  </a:cubicBezTo>
                  <a:cubicBezTo>
                    <a:pt x="3021" y="567"/>
                    <a:pt x="3026" y="562"/>
                    <a:pt x="3025" y="556"/>
                  </a:cubicBezTo>
                  <a:cubicBezTo>
                    <a:pt x="3024" y="551"/>
                    <a:pt x="3017" y="546"/>
                    <a:pt x="3010" y="546"/>
                  </a:cubicBezTo>
                  <a:cubicBezTo>
                    <a:pt x="3010" y="546"/>
                    <a:pt x="3010" y="546"/>
                    <a:pt x="3010" y="546"/>
                  </a:cubicBezTo>
                  <a:moveTo>
                    <a:pt x="3046" y="546"/>
                  </a:moveTo>
                  <a:cubicBezTo>
                    <a:pt x="3039" y="546"/>
                    <a:pt x="3035" y="551"/>
                    <a:pt x="3036" y="556"/>
                  </a:cubicBezTo>
                  <a:cubicBezTo>
                    <a:pt x="3037" y="562"/>
                    <a:pt x="3043" y="567"/>
                    <a:pt x="3050" y="567"/>
                  </a:cubicBezTo>
                  <a:cubicBezTo>
                    <a:pt x="3057" y="566"/>
                    <a:pt x="3062" y="562"/>
                    <a:pt x="3061" y="556"/>
                  </a:cubicBezTo>
                  <a:cubicBezTo>
                    <a:pt x="3060" y="551"/>
                    <a:pt x="3053" y="546"/>
                    <a:pt x="3046" y="546"/>
                  </a:cubicBezTo>
                  <a:cubicBezTo>
                    <a:pt x="3046" y="546"/>
                    <a:pt x="3046" y="546"/>
                    <a:pt x="3046" y="546"/>
                  </a:cubicBezTo>
                  <a:moveTo>
                    <a:pt x="3082" y="546"/>
                  </a:moveTo>
                  <a:cubicBezTo>
                    <a:pt x="3075" y="546"/>
                    <a:pt x="3071" y="550"/>
                    <a:pt x="3072" y="556"/>
                  </a:cubicBezTo>
                  <a:cubicBezTo>
                    <a:pt x="3073" y="562"/>
                    <a:pt x="3080" y="566"/>
                    <a:pt x="3087" y="566"/>
                  </a:cubicBezTo>
                  <a:cubicBezTo>
                    <a:pt x="3094" y="566"/>
                    <a:pt x="3099" y="562"/>
                    <a:pt x="3097" y="556"/>
                  </a:cubicBezTo>
                  <a:cubicBezTo>
                    <a:pt x="3096" y="550"/>
                    <a:pt x="3090" y="546"/>
                    <a:pt x="3083" y="546"/>
                  </a:cubicBezTo>
                  <a:cubicBezTo>
                    <a:pt x="3083" y="546"/>
                    <a:pt x="3083" y="546"/>
                    <a:pt x="3082" y="546"/>
                  </a:cubicBezTo>
                  <a:moveTo>
                    <a:pt x="3120" y="546"/>
                  </a:moveTo>
                  <a:cubicBezTo>
                    <a:pt x="3113" y="546"/>
                    <a:pt x="3108" y="550"/>
                    <a:pt x="3109" y="556"/>
                  </a:cubicBezTo>
                  <a:cubicBezTo>
                    <a:pt x="3111" y="562"/>
                    <a:pt x="3117" y="566"/>
                    <a:pt x="3124" y="566"/>
                  </a:cubicBezTo>
                  <a:cubicBezTo>
                    <a:pt x="3131" y="566"/>
                    <a:pt x="3136" y="561"/>
                    <a:pt x="3135" y="556"/>
                  </a:cubicBezTo>
                  <a:cubicBezTo>
                    <a:pt x="3133" y="550"/>
                    <a:pt x="3127" y="546"/>
                    <a:pt x="3120" y="546"/>
                  </a:cubicBezTo>
                  <a:cubicBezTo>
                    <a:pt x="3120" y="546"/>
                    <a:pt x="3120" y="546"/>
                    <a:pt x="3120" y="546"/>
                  </a:cubicBezTo>
                  <a:moveTo>
                    <a:pt x="3156" y="545"/>
                  </a:moveTo>
                  <a:cubicBezTo>
                    <a:pt x="3149" y="545"/>
                    <a:pt x="3144" y="550"/>
                    <a:pt x="3145" y="556"/>
                  </a:cubicBezTo>
                  <a:cubicBezTo>
                    <a:pt x="3147" y="561"/>
                    <a:pt x="3153" y="566"/>
                    <a:pt x="3160" y="566"/>
                  </a:cubicBezTo>
                  <a:cubicBezTo>
                    <a:pt x="3167" y="566"/>
                    <a:pt x="3172" y="561"/>
                    <a:pt x="3171" y="556"/>
                  </a:cubicBezTo>
                  <a:cubicBezTo>
                    <a:pt x="3169" y="550"/>
                    <a:pt x="3163" y="545"/>
                    <a:pt x="3156" y="545"/>
                  </a:cubicBezTo>
                  <a:cubicBezTo>
                    <a:pt x="3156" y="545"/>
                    <a:pt x="3156" y="545"/>
                    <a:pt x="3156" y="545"/>
                  </a:cubicBezTo>
                  <a:moveTo>
                    <a:pt x="3192" y="545"/>
                  </a:moveTo>
                  <a:cubicBezTo>
                    <a:pt x="3185" y="545"/>
                    <a:pt x="3180" y="550"/>
                    <a:pt x="3182" y="555"/>
                  </a:cubicBezTo>
                  <a:cubicBezTo>
                    <a:pt x="3183" y="561"/>
                    <a:pt x="3190" y="566"/>
                    <a:pt x="3197" y="566"/>
                  </a:cubicBezTo>
                  <a:cubicBezTo>
                    <a:pt x="3204" y="566"/>
                    <a:pt x="3208" y="561"/>
                    <a:pt x="3207" y="555"/>
                  </a:cubicBezTo>
                  <a:cubicBezTo>
                    <a:pt x="3206" y="550"/>
                    <a:pt x="3199" y="545"/>
                    <a:pt x="3192" y="545"/>
                  </a:cubicBezTo>
                  <a:cubicBezTo>
                    <a:pt x="3192" y="545"/>
                    <a:pt x="3192" y="545"/>
                    <a:pt x="3192" y="545"/>
                  </a:cubicBezTo>
                  <a:moveTo>
                    <a:pt x="3228" y="545"/>
                  </a:moveTo>
                  <a:cubicBezTo>
                    <a:pt x="3221" y="545"/>
                    <a:pt x="3217" y="550"/>
                    <a:pt x="3218" y="555"/>
                  </a:cubicBezTo>
                  <a:cubicBezTo>
                    <a:pt x="3220" y="561"/>
                    <a:pt x="3227" y="565"/>
                    <a:pt x="3234" y="565"/>
                  </a:cubicBezTo>
                  <a:cubicBezTo>
                    <a:pt x="3241" y="565"/>
                    <a:pt x="3245" y="561"/>
                    <a:pt x="3244" y="555"/>
                  </a:cubicBezTo>
                  <a:cubicBezTo>
                    <a:pt x="3242" y="549"/>
                    <a:pt x="3235" y="545"/>
                    <a:pt x="3228" y="545"/>
                  </a:cubicBezTo>
                  <a:cubicBezTo>
                    <a:pt x="3228" y="545"/>
                    <a:pt x="3228" y="545"/>
                    <a:pt x="3228" y="545"/>
                  </a:cubicBezTo>
                  <a:moveTo>
                    <a:pt x="3264" y="545"/>
                  </a:moveTo>
                  <a:cubicBezTo>
                    <a:pt x="3257" y="545"/>
                    <a:pt x="3253" y="549"/>
                    <a:pt x="3254" y="555"/>
                  </a:cubicBezTo>
                  <a:cubicBezTo>
                    <a:pt x="3256" y="561"/>
                    <a:pt x="3263" y="565"/>
                    <a:pt x="3270" y="565"/>
                  </a:cubicBezTo>
                  <a:cubicBezTo>
                    <a:pt x="3277" y="565"/>
                    <a:pt x="3281" y="561"/>
                    <a:pt x="3280" y="555"/>
                  </a:cubicBezTo>
                  <a:cubicBezTo>
                    <a:pt x="3278" y="549"/>
                    <a:pt x="3271" y="545"/>
                    <a:pt x="3264" y="545"/>
                  </a:cubicBezTo>
                  <a:cubicBezTo>
                    <a:pt x="3264" y="545"/>
                    <a:pt x="3264" y="545"/>
                    <a:pt x="3264" y="545"/>
                  </a:cubicBezTo>
                  <a:moveTo>
                    <a:pt x="3300" y="544"/>
                  </a:moveTo>
                  <a:cubicBezTo>
                    <a:pt x="3293" y="544"/>
                    <a:pt x="3289" y="549"/>
                    <a:pt x="3291" y="555"/>
                  </a:cubicBezTo>
                  <a:cubicBezTo>
                    <a:pt x="3292" y="560"/>
                    <a:pt x="3299" y="565"/>
                    <a:pt x="3306" y="565"/>
                  </a:cubicBezTo>
                  <a:cubicBezTo>
                    <a:pt x="3313" y="565"/>
                    <a:pt x="3318" y="560"/>
                    <a:pt x="3316" y="555"/>
                  </a:cubicBezTo>
                  <a:cubicBezTo>
                    <a:pt x="3314" y="549"/>
                    <a:pt x="3307" y="544"/>
                    <a:pt x="3300" y="544"/>
                  </a:cubicBezTo>
                  <a:cubicBezTo>
                    <a:pt x="3300" y="544"/>
                    <a:pt x="3300" y="544"/>
                    <a:pt x="3300" y="544"/>
                  </a:cubicBezTo>
                  <a:moveTo>
                    <a:pt x="3336" y="544"/>
                  </a:moveTo>
                  <a:cubicBezTo>
                    <a:pt x="3329" y="544"/>
                    <a:pt x="3325" y="549"/>
                    <a:pt x="3327" y="555"/>
                  </a:cubicBezTo>
                  <a:cubicBezTo>
                    <a:pt x="3328" y="560"/>
                    <a:pt x="3335" y="565"/>
                    <a:pt x="3342" y="565"/>
                  </a:cubicBezTo>
                  <a:cubicBezTo>
                    <a:pt x="3349" y="565"/>
                    <a:pt x="3354" y="560"/>
                    <a:pt x="3352" y="554"/>
                  </a:cubicBezTo>
                  <a:cubicBezTo>
                    <a:pt x="3350" y="549"/>
                    <a:pt x="3343" y="544"/>
                    <a:pt x="3336" y="544"/>
                  </a:cubicBezTo>
                  <a:cubicBezTo>
                    <a:pt x="3336" y="544"/>
                    <a:pt x="3336" y="544"/>
                    <a:pt x="3336" y="544"/>
                  </a:cubicBezTo>
                  <a:moveTo>
                    <a:pt x="3372" y="544"/>
                  </a:moveTo>
                  <a:cubicBezTo>
                    <a:pt x="3365" y="544"/>
                    <a:pt x="3361" y="549"/>
                    <a:pt x="3363" y="554"/>
                  </a:cubicBezTo>
                  <a:cubicBezTo>
                    <a:pt x="3365" y="560"/>
                    <a:pt x="3372" y="565"/>
                    <a:pt x="3379" y="565"/>
                  </a:cubicBezTo>
                  <a:cubicBezTo>
                    <a:pt x="3386" y="564"/>
                    <a:pt x="3390" y="560"/>
                    <a:pt x="3388" y="554"/>
                  </a:cubicBezTo>
                  <a:cubicBezTo>
                    <a:pt x="3386" y="549"/>
                    <a:pt x="3379" y="544"/>
                    <a:pt x="3372" y="544"/>
                  </a:cubicBezTo>
                  <a:cubicBezTo>
                    <a:pt x="3372" y="544"/>
                    <a:pt x="3372" y="544"/>
                    <a:pt x="3372" y="544"/>
                  </a:cubicBezTo>
                  <a:moveTo>
                    <a:pt x="3409" y="544"/>
                  </a:moveTo>
                  <a:cubicBezTo>
                    <a:pt x="3402" y="544"/>
                    <a:pt x="3398" y="548"/>
                    <a:pt x="3399" y="554"/>
                  </a:cubicBezTo>
                  <a:cubicBezTo>
                    <a:pt x="3401" y="560"/>
                    <a:pt x="3408" y="564"/>
                    <a:pt x="3416" y="564"/>
                  </a:cubicBezTo>
                  <a:cubicBezTo>
                    <a:pt x="3423" y="564"/>
                    <a:pt x="3427" y="560"/>
                    <a:pt x="3425" y="554"/>
                  </a:cubicBezTo>
                  <a:cubicBezTo>
                    <a:pt x="3423" y="548"/>
                    <a:pt x="3416" y="544"/>
                    <a:pt x="3409" y="544"/>
                  </a:cubicBezTo>
                  <a:cubicBezTo>
                    <a:pt x="3409" y="544"/>
                    <a:pt x="3409" y="544"/>
                    <a:pt x="3409" y="544"/>
                  </a:cubicBezTo>
                  <a:moveTo>
                    <a:pt x="3626" y="544"/>
                  </a:moveTo>
                  <a:cubicBezTo>
                    <a:pt x="3619" y="544"/>
                    <a:pt x="3615" y="548"/>
                    <a:pt x="3617" y="554"/>
                  </a:cubicBezTo>
                  <a:cubicBezTo>
                    <a:pt x="3620" y="560"/>
                    <a:pt x="3627" y="564"/>
                    <a:pt x="3634" y="564"/>
                  </a:cubicBezTo>
                  <a:cubicBezTo>
                    <a:pt x="3641" y="564"/>
                    <a:pt x="3645" y="559"/>
                    <a:pt x="3643" y="554"/>
                  </a:cubicBezTo>
                  <a:cubicBezTo>
                    <a:pt x="3640" y="548"/>
                    <a:pt x="3633" y="544"/>
                    <a:pt x="3626" y="544"/>
                  </a:cubicBezTo>
                  <a:cubicBezTo>
                    <a:pt x="3626" y="544"/>
                    <a:pt x="3626" y="544"/>
                    <a:pt x="3626" y="544"/>
                  </a:cubicBezTo>
                  <a:moveTo>
                    <a:pt x="3445" y="544"/>
                  </a:moveTo>
                  <a:cubicBezTo>
                    <a:pt x="3438" y="544"/>
                    <a:pt x="3434" y="548"/>
                    <a:pt x="3435" y="554"/>
                  </a:cubicBezTo>
                  <a:cubicBezTo>
                    <a:pt x="3437" y="560"/>
                    <a:pt x="3445" y="564"/>
                    <a:pt x="3452" y="564"/>
                  </a:cubicBezTo>
                  <a:cubicBezTo>
                    <a:pt x="3459" y="564"/>
                    <a:pt x="3463" y="559"/>
                    <a:pt x="3461" y="554"/>
                  </a:cubicBezTo>
                  <a:cubicBezTo>
                    <a:pt x="3459" y="548"/>
                    <a:pt x="3452" y="544"/>
                    <a:pt x="3445" y="544"/>
                  </a:cubicBezTo>
                  <a:cubicBezTo>
                    <a:pt x="3445" y="544"/>
                    <a:pt x="3445" y="544"/>
                    <a:pt x="3445" y="544"/>
                  </a:cubicBezTo>
                  <a:moveTo>
                    <a:pt x="3662" y="543"/>
                  </a:moveTo>
                  <a:cubicBezTo>
                    <a:pt x="3655" y="543"/>
                    <a:pt x="3651" y="548"/>
                    <a:pt x="3653" y="554"/>
                  </a:cubicBezTo>
                  <a:cubicBezTo>
                    <a:pt x="3656" y="559"/>
                    <a:pt x="3663" y="564"/>
                    <a:pt x="3670" y="564"/>
                  </a:cubicBezTo>
                  <a:cubicBezTo>
                    <a:pt x="3677" y="564"/>
                    <a:pt x="3681" y="559"/>
                    <a:pt x="3679" y="554"/>
                  </a:cubicBezTo>
                  <a:cubicBezTo>
                    <a:pt x="3676" y="548"/>
                    <a:pt x="3669" y="543"/>
                    <a:pt x="3662" y="543"/>
                  </a:cubicBezTo>
                  <a:cubicBezTo>
                    <a:pt x="3662" y="543"/>
                    <a:pt x="3662" y="543"/>
                    <a:pt x="3662" y="543"/>
                  </a:cubicBezTo>
                  <a:moveTo>
                    <a:pt x="3481" y="543"/>
                  </a:moveTo>
                  <a:cubicBezTo>
                    <a:pt x="3474" y="543"/>
                    <a:pt x="3470" y="548"/>
                    <a:pt x="3472" y="554"/>
                  </a:cubicBezTo>
                  <a:cubicBezTo>
                    <a:pt x="3474" y="559"/>
                    <a:pt x="3481" y="564"/>
                    <a:pt x="3488" y="564"/>
                  </a:cubicBezTo>
                  <a:cubicBezTo>
                    <a:pt x="3495" y="564"/>
                    <a:pt x="3499" y="559"/>
                    <a:pt x="3497" y="553"/>
                  </a:cubicBezTo>
                  <a:cubicBezTo>
                    <a:pt x="3495" y="548"/>
                    <a:pt x="3488" y="543"/>
                    <a:pt x="3481" y="543"/>
                  </a:cubicBezTo>
                  <a:cubicBezTo>
                    <a:pt x="3481" y="543"/>
                    <a:pt x="3481" y="543"/>
                    <a:pt x="3481" y="543"/>
                  </a:cubicBezTo>
                  <a:moveTo>
                    <a:pt x="3698" y="543"/>
                  </a:moveTo>
                  <a:cubicBezTo>
                    <a:pt x="3691" y="543"/>
                    <a:pt x="3687" y="548"/>
                    <a:pt x="3690" y="554"/>
                  </a:cubicBezTo>
                  <a:cubicBezTo>
                    <a:pt x="3692" y="559"/>
                    <a:pt x="3700" y="564"/>
                    <a:pt x="3707" y="564"/>
                  </a:cubicBezTo>
                  <a:cubicBezTo>
                    <a:pt x="3714" y="564"/>
                    <a:pt x="3717" y="559"/>
                    <a:pt x="3715" y="553"/>
                  </a:cubicBezTo>
                  <a:cubicBezTo>
                    <a:pt x="3712" y="548"/>
                    <a:pt x="3705" y="543"/>
                    <a:pt x="3698" y="543"/>
                  </a:cubicBezTo>
                  <a:cubicBezTo>
                    <a:pt x="3698" y="543"/>
                    <a:pt x="3698" y="543"/>
                    <a:pt x="3698" y="543"/>
                  </a:cubicBezTo>
                  <a:moveTo>
                    <a:pt x="3517" y="543"/>
                  </a:moveTo>
                  <a:cubicBezTo>
                    <a:pt x="3510" y="543"/>
                    <a:pt x="3506" y="548"/>
                    <a:pt x="3508" y="553"/>
                  </a:cubicBezTo>
                  <a:cubicBezTo>
                    <a:pt x="3510" y="559"/>
                    <a:pt x="3517" y="564"/>
                    <a:pt x="3524" y="564"/>
                  </a:cubicBezTo>
                  <a:cubicBezTo>
                    <a:pt x="3531" y="564"/>
                    <a:pt x="3535" y="559"/>
                    <a:pt x="3533" y="553"/>
                  </a:cubicBezTo>
                  <a:cubicBezTo>
                    <a:pt x="3531" y="548"/>
                    <a:pt x="3524" y="543"/>
                    <a:pt x="3517" y="543"/>
                  </a:cubicBezTo>
                  <a:cubicBezTo>
                    <a:pt x="3517" y="543"/>
                    <a:pt x="3517" y="543"/>
                    <a:pt x="3517" y="543"/>
                  </a:cubicBezTo>
                  <a:moveTo>
                    <a:pt x="3736" y="543"/>
                  </a:moveTo>
                  <a:cubicBezTo>
                    <a:pt x="3729" y="543"/>
                    <a:pt x="3726" y="548"/>
                    <a:pt x="3728" y="553"/>
                  </a:cubicBezTo>
                  <a:cubicBezTo>
                    <a:pt x="3731" y="559"/>
                    <a:pt x="3738" y="564"/>
                    <a:pt x="3745" y="563"/>
                  </a:cubicBezTo>
                  <a:cubicBezTo>
                    <a:pt x="3752" y="563"/>
                    <a:pt x="3756" y="559"/>
                    <a:pt x="3753" y="553"/>
                  </a:cubicBezTo>
                  <a:cubicBezTo>
                    <a:pt x="3751" y="547"/>
                    <a:pt x="3743" y="543"/>
                    <a:pt x="3736" y="543"/>
                  </a:cubicBezTo>
                  <a:cubicBezTo>
                    <a:pt x="3736" y="543"/>
                    <a:pt x="3736" y="543"/>
                    <a:pt x="3736" y="543"/>
                  </a:cubicBezTo>
                  <a:moveTo>
                    <a:pt x="3553" y="543"/>
                  </a:moveTo>
                  <a:cubicBezTo>
                    <a:pt x="3546" y="543"/>
                    <a:pt x="3542" y="548"/>
                    <a:pt x="3544" y="553"/>
                  </a:cubicBezTo>
                  <a:cubicBezTo>
                    <a:pt x="3546" y="559"/>
                    <a:pt x="3554" y="563"/>
                    <a:pt x="3561" y="563"/>
                  </a:cubicBezTo>
                  <a:cubicBezTo>
                    <a:pt x="3568" y="563"/>
                    <a:pt x="3572" y="559"/>
                    <a:pt x="3569" y="553"/>
                  </a:cubicBezTo>
                  <a:cubicBezTo>
                    <a:pt x="3567" y="547"/>
                    <a:pt x="3560" y="543"/>
                    <a:pt x="3553" y="543"/>
                  </a:cubicBezTo>
                  <a:cubicBezTo>
                    <a:pt x="3553" y="543"/>
                    <a:pt x="3553" y="543"/>
                    <a:pt x="3553" y="543"/>
                  </a:cubicBezTo>
                  <a:moveTo>
                    <a:pt x="3772" y="543"/>
                  </a:moveTo>
                  <a:cubicBezTo>
                    <a:pt x="3765" y="543"/>
                    <a:pt x="3761" y="547"/>
                    <a:pt x="3764" y="553"/>
                  </a:cubicBezTo>
                  <a:cubicBezTo>
                    <a:pt x="3766" y="559"/>
                    <a:pt x="3774" y="563"/>
                    <a:pt x="3781" y="563"/>
                  </a:cubicBezTo>
                  <a:cubicBezTo>
                    <a:pt x="3788" y="563"/>
                    <a:pt x="3792" y="559"/>
                    <a:pt x="3789" y="553"/>
                  </a:cubicBezTo>
                  <a:cubicBezTo>
                    <a:pt x="3786" y="547"/>
                    <a:pt x="3779" y="543"/>
                    <a:pt x="3772" y="543"/>
                  </a:cubicBezTo>
                  <a:cubicBezTo>
                    <a:pt x="3772" y="543"/>
                    <a:pt x="3772" y="543"/>
                    <a:pt x="3772" y="543"/>
                  </a:cubicBezTo>
                  <a:moveTo>
                    <a:pt x="3589" y="543"/>
                  </a:moveTo>
                  <a:cubicBezTo>
                    <a:pt x="3582" y="543"/>
                    <a:pt x="3578" y="547"/>
                    <a:pt x="3581" y="553"/>
                  </a:cubicBezTo>
                  <a:cubicBezTo>
                    <a:pt x="3583" y="559"/>
                    <a:pt x="3590" y="563"/>
                    <a:pt x="3597" y="563"/>
                  </a:cubicBezTo>
                  <a:cubicBezTo>
                    <a:pt x="3604" y="563"/>
                    <a:pt x="3608" y="558"/>
                    <a:pt x="3606" y="553"/>
                  </a:cubicBezTo>
                  <a:cubicBezTo>
                    <a:pt x="3604" y="547"/>
                    <a:pt x="3596" y="543"/>
                    <a:pt x="3589" y="543"/>
                  </a:cubicBezTo>
                  <a:cubicBezTo>
                    <a:pt x="3589" y="543"/>
                    <a:pt x="3589" y="543"/>
                    <a:pt x="3589" y="543"/>
                  </a:cubicBezTo>
                  <a:moveTo>
                    <a:pt x="3808" y="542"/>
                  </a:moveTo>
                  <a:cubicBezTo>
                    <a:pt x="3801" y="543"/>
                    <a:pt x="3797" y="547"/>
                    <a:pt x="3800" y="553"/>
                  </a:cubicBezTo>
                  <a:cubicBezTo>
                    <a:pt x="3802" y="559"/>
                    <a:pt x="3810" y="563"/>
                    <a:pt x="3817" y="563"/>
                  </a:cubicBezTo>
                  <a:cubicBezTo>
                    <a:pt x="3824" y="563"/>
                    <a:pt x="3828" y="558"/>
                    <a:pt x="3825" y="553"/>
                  </a:cubicBezTo>
                  <a:cubicBezTo>
                    <a:pt x="3822" y="547"/>
                    <a:pt x="3815" y="542"/>
                    <a:pt x="3808" y="542"/>
                  </a:cubicBezTo>
                  <a:cubicBezTo>
                    <a:pt x="3808" y="542"/>
                    <a:pt x="3808" y="542"/>
                    <a:pt x="3808" y="542"/>
                  </a:cubicBezTo>
                  <a:moveTo>
                    <a:pt x="3844" y="542"/>
                  </a:moveTo>
                  <a:cubicBezTo>
                    <a:pt x="3837" y="542"/>
                    <a:pt x="3833" y="547"/>
                    <a:pt x="3836" y="553"/>
                  </a:cubicBezTo>
                  <a:cubicBezTo>
                    <a:pt x="3839" y="558"/>
                    <a:pt x="3847" y="563"/>
                    <a:pt x="3854" y="563"/>
                  </a:cubicBezTo>
                  <a:cubicBezTo>
                    <a:pt x="3861" y="563"/>
                    <a:pt x="3864" y="558"/>
                    <a:pt x="3861" y="552"/>
                  </a:cubicBezTo>
                  <a:cubicBezTo>
                    <a:pt x="3859" y="547"/>
                    <a:pt x="3851" y="542"/>
                    <a:pt x="3844" y="542"/>
                  </a:cubicBezTo>
                  <a:cubicBezTo>
                    <a:pt x="3844" y="542"/>
                    <a:pt x="3844" y="542"/>
                    <a:pt x="3844" y="542"/>
                  </a:cubicBezTo>
                  <a:moveTo>
                    <a:pt x="3880" y="542"/>
                  </a:moveTo>
                  <a:cubicBezTo>
                    <a:pt x="3873" y="542"/>
                    <a:pt x="3870" y="547"/>
                    <a:pt x="3873" y="552"/>
                  </a:cubicBezTo>
                  <a:cubicBezTo>
                    <a:pt x="3875" y="558"/>
                    <a:pt x="3883" y="563"/>
                    <a:pt x="3890" y="563"/>
                  </a:cubicBezTo>
                  <a:cubicBezTo>
                    <a:pt x="3897" y="563"/>
                    <a:pt x="3901" y="558"/>
                    <a:pt x="3898" y="552"/>
                  </a:cubicBezTo>
                  <a:cubicBezTo>
                    <a:pt x="3895" y="547"/>
                    <a:pt x="3887" y="542"/>
                    <a:pt x="3880" y="542"/>
                  </a:cubicBezTo>
                  <a:cubicBezTo>
                    <a:pt x="3880" y="542"/>
                    <a:pt x="3880" y="542"/>
                    <a:pt x="3880" y="542"/>
                  </a:cubicBezTo>
                  <a:moveTo>
                    <a:pt x="3916" y="542"/>
                  </a:moveTo>
                  <a:cubicBezTo>
                    <a:pt x="3909" y="542"/>
                    <a:pt x="3906" y="546"/>
                    <a:pt x="3909" y="552"/>
                  </a:cubicBezTo>
                  <a:cubicBezTo>
                    <a:pt x="3911" y="558"/>
                    <a:pt x="3919" y="562"/>
                    <a:pt x="3926" y="562"/>
                  </a:cubicBezTo>
                  <a:cubicBezTo>
                    <a:pt x="3933" y="562"/>
                    <a:pt x="3937" y="558"/>
                    <a:pt x="3934" y="552"/>
                  </a:cubicBezTo>
                  <a:cubicBezTo>
                    <a:pt x="3931" y="546"/>
                    <a:pt x="3923" y="542"/>
                    <a:pt x="3916" y="542"/>
                  </a:cubicBezTo>
                  <a:cubicBezTo>
                    <a:pt x="3916" y="542"/>
                    <a:pt x="3916" y="542"/>
                    <a:pt x="3916" y="542"/>
                  </a:cubicBezTo>
                  <a:moveTo>
                    <a:pt x="3988" y="541"/>
                  </a:moveTo>
                  <a:cubicBezTo>
                    <a:pt x="3981" y="541"/>
                    <a:pt x="3978" y="546"/>
                    <a:pt x="3981" y="552"/>
                  </a:cubicBezTo>
                  <a:cubicBezTo>
                    <a:pt x="3984" y="557"/>
                    <a:pt x="3992" y="562"/>
                    <a:pt x="3999" y="562"/>
                  </a:cubicBezTo>
                  <a:cubicBezTo>
                    <a:pt x="4006" y="562"/>
                    <a:pt x="4009" y="557"/>
                    <a:pt x="4006" y="552"/>
                  </a:cubicBezTo>
                  <a:cubicBezTo>
                    <a:pt x="4003" y="546"/>
                    <a:pt x="3995" y="541"/>
                    <a:pt x="3988" y="541"/>
                  </a:cubicBezTo>
                  <a:cubicBezTo>
                    <a:pt x="3988" y="541"/>
                    <a:pt x="3988" y="541"/>
                    <a:pt x="3988" y="541"/>
                  </a:cubicBezTo>
                  <a:moveTo>
                    <a:pt x="4203" y="537"/>
                  </a:moveTo>
                  <a:cubicBezTo>
                    <a:pt x="4196" y="537"/>
                    <a:pt x="4193" y="541"/>
                    <a:pt x="4196" y="547"/>
                  </a:cubicBezTo>
                  <a:cubicBezTo>
                    <a:pt x="4200" y="553"/>
                    <a:pt x="4208" y="557"/>
                    <a:pt x="4215" y="557"/>
                  </a:cubicBezTo>
                  <a:cubicBezTo>
                    <a:pt x="4222" y="557"/>
                    <a:pt x="4225" y="553"/>
                    <a:pt x="4222" y="547"/>
                  </a:cubicBezTo>
                  <a:cubicBezTo>
                    <a:pt x="4218" y="541"/>
                    <a:pt x="4210" y="537"/>
                    <a:pt x="4203" y="537"/>
                  </a:cubicBezTo>
                  <a:cubicBezTo>
                    <a:pt x="4203" y="537"/>
                    <a:pt x="4203" y="537"/>
                    <a:pt x="4203" y="537"/>
                  </a:cubicBezTo>
                  <a:moveTo>
                    <a:pt x="174" y="535"/>
                  </a:moveTo>
                  <a:cubicBezTo>
                    <a:pt x="167" y="535"/>
                    <a:pt x="157" y="540"/>
                    <a:pt x="152" y="545"/>
                  </a:cubicBezTo>
                  <a:cubicBezTo>
                    <a:pt x="148" y="551"/>
                    <a:pt x="150" y="555"/>
                    <a:pt x="157" y="555"/>
                  </a:cubicBezTo>
                  <a:cubicBezTo>
                    <a:pt x="164" y="555"/>
                    <a:pt x="173" y="551"/>
                    <a:pt x="178" y="545"/>
                  </a:cubicBezTo>
                  <a:cubicBezTo>
                    <a:pt x="182" y="540"/>
                    <a:pt x="180" y="535"/>
                    <a:pt x="174" y="535"/>
                  </a:cubicBezTo>
                  <a:cubicBezTo>
                    <a:pt x="174" y="535"/>
                    <a:pt x="174" y="535"/>
                    <a:pt x="174" y="535"/>
                  </a:cubicBezTo>
                  <a:moveTo>
                    <a:pt x="209" y="535"/>
                  </a:moveTo>
                  <a:cubicBezTo>
                    <a:pt x="202" y="535"/>
                    <a:pt x="193" y="539"/>
                    <a:pt x="188" y="545"/>
                  </a:cubicBezTo>
                  <a:cubicBezTo>
                    <a:pt x="184" y="551"/>
                    <a:pt x="186" y="555"/>
                    <a:pt x="193" y="555"/>
                  </a:cubicBezTo>
                  <a:cubicBezTo>
                    <a:pt x="200" y="555"/>
                    <a:pt x="209" y="550"/>
                    <a:pt x="214" y="545"/>
                  </a:cubicBezTo>
                  <a:cubicBezTo>
                    <a:pt x="218" y="539"/>
                    <a:pt x="216" y="535"/>
                    <a:pt x="209" y="535"/>
                  </a:cubicBezTo>
                  <a:cubicBezTo>
                    <a:pt x="209" y="535"/>
                    <a:pt x="209" y="535"/>
                    <a:pt x="209" y="535"/>
                  </a:cubicBezTo>
                  <a:moveTo>
                    <a:pt x="247" y="535"/>
                  </a:moveTo>
                  <a:cubicBezTo>
                    <a:pt x="240" y="535"/>
                    <a:pt x="230" y="539"/>
                    <a:pt x="226" y="545"/>
                  </a:cubicBezTo>
                  <a:cubicBezTo>
                    <a:pt x="221" y="550"/>
                    <a:pt x="223" y="555"/>
                    <a:pt x="230" y="555"/>
                  </a:cubicBezTo>
                  <a:cubicBezTo>
                    <a:pt x="237" y="555"/>
                    <a:pt x="247" y="550"/>
                    <a:pt x="251" y="545"/>
                  </a:cubicBezTo>
                  <a:cubicBezTo>
                    <a:pt x="256" y="539"/>
                    <a:pt x="254" y="535"/>
                    <a:pt x="247" y="535"/>
                  </a:cubicBezTo>
                  <a:cubicBezTo>
                    <a:pt x="247" y="535"/>
                    <a:pt x="247" y="535"/>
                    <a:pt x="247" y="535"/>
                  </a:cubicBezTo>
                  <a:moveTo>
                    <a:pt x="282" y="534"/>
                  </a:moveTo>
                  <a:cubicBezTo>
                    <a:pt x="276" y="534"/>
                    <a:pt x="266" y="539"/>
                    <a:pt x="262" y="545"/>
                  </a:cubicBezTo>
                  <a:cubicBezTo>
                    <a:pt x="257" y="550"/>
                    <a:pt x="259" y="555"/>
                    <a:pt x="266" y="555"/>
                  </a:cubicBezTo>
                  <a:cubicBezTo>
                    <a:pt x="273" y="555"/>
                    <a:pt x="283" y="550"/>
                    <a:pt x="287" y="544"/>
                  </a:cubicBezTo>
                  <a:cubicBezTo>
                    <a:pt x="291" y="539"/>
                    <a:pt x="289" y="534"/>
                    <a:pt x="283" y="534"/>
                  </a:cubicBezTo>
                  <a:cubicBezTo>
                    <a:pt x="283" y="534"/>
                    <a:pt x="282" y="534"/>
                    <a:pt x="282" y="534"/>
                  </a:cubicBezTo>
                  <a:moveTo>
                    <a:pt x="318" y="534"/>
                  </a:moveTo>
                  <a:cubicBezTo>
                    <a:pt x="311" y="534"/>
                    <a:pt x="302" y="539"/>
                    <a:pt x="298" y="544"/>
                  </a:cubicBezTo>
                  <a:cubicBezTo>
                    <a:pt x="293" y="550"/>
                    <a:pt x="296" y="554"/>
                    <a:pt x="303" y="554"/>
                  </a:cubicBezTo>
                  <a:cubicBezTo>
                    <a:pt x="310" y="554"/>
                    <a:pt x="319" y="550"/>
                    <a:pt x="323" y="544"/>
                  </a:cubicBezTo>
                  <a:cubicBezTo>
                    <a:pt x="327" y="539"/>
                    <a:pt x="325" y="534"/>
                    <a:pt x="319" y="534"/>
                  </a:cubicBezTo>
                  <a:cubicBezTo>
                    <a:pt x="318" y="534"/>
                    <a:pt x="318" y="534"/>
                    <a:pt x="318" y="534"/>
                  </a:cubicBezTo>
                  <a:moveTo>
                    <a:pt x="354" y="534"/>
                  </a:moveTo>
                  <a:cubicBezTo>
                    <a:pt x="347" y="534"/>
                    <a:pt x="338" y="538"/>
                    <a:pt x="334" y="544"/>
                  </a:cubicBezTo>
                  <a:cubicBezTo>
                    <a:pt x="329" y="550"/>
                    <a:pt x="332" y="554"/>
                    <a:pt x="339" y="554"/>
                  </a:cubicBezTo>
                  <a:cubicBezTo>
                    <a:pt x="346" y="554"/>
                    <a:pt x="355" y="550"/>
                    <a:pt x="359" y="544"/>
                  </a:cubicBezTo>
                  <a:cubicBezTo>
                    <a:pt x="363" y="538"/>
                    <a:pt x="361" y="534"/>
                    <a:pt x="354" y="534"/>
                  </a:cubicBezTo>
                  <a:cubicBezTo>
                    <a:pt x="354" y="534"/>
                    <a:pt x="354" y="534"/>
                    <a:pt x="354" y="534"/>
                  </a:cubicBezTo>
                  <a:moveTo>
                    <a:pt x="390" y="534"/>
                  </a:moveTo>
                  <a:cubicBezTo>
                    <a:pt x="383" y="534"/>
                    <a:pt x="374" y="538"/>
                    <a:pt x="370" y="544"/>
                  </a:cubicBezTo>
                  <a:cubicBezTo>
                    <a:pt x="366" y="549"/>
                    <a:pt x="368" y="554"/>
                    <a:pt x="375" y="554"/>
                  </a:cubicBezTo>
                  <a:cubicBezTo>
                    <a:pt x="382" y="554"/>
                    <a:pt x="391" y="549"/>
                    <a:pt x="395" y="544"/>
                  </a:cubicBezTo>
                  <a:cubicBezTo>
                    <a:pt x="399" y="538"/>
                    <a:pt x="397" y="534"/>
                    <a:pt x="390" y="534"/>
                  </a:cubicBezTo>
                  <a:cubicBezTo>
                    <a:pt x="390" y="534"/>
                    <a:pt x="390" y="534"/>
                    <a:pt x="390" y="534"/>
                  </a:cubicBezTo>
                  <a:moveTo>
                    <a:pt x="427" y="533"/>
                  </a:moveTo>
                  <a:cubicBezTo>
                    <a:pt x="420" y="533"/>
                    <a:pt x="411" y="538"/>
                    <a:pt x="407" y="544"/>
                  </a:cubicBezTo>
                  <a:cubicBezTo>
                    <a:pt x="403" y="549"/>
                    <a:pt x="405" y="554"/>
                    <a:pt x="412" y="554"/>
                  </a:cubicBezTo>
                  <a:cubicBezTo>
                    <a:pt x="419" y="554"/>
                    <a:pt x="428" y="549"/>
                    <a:pt x="432" y="543"/>
                  </a:cubicBezTo>
                  <a:cubicBezTo>
                    <a:pt x="436" y="538"/>
                    <a:pt x="434" y="533"/>
                    <a:pt x="427" y="533"/>
                  </a:cubicBezTo>
                  <a:cubicBezTo>
                    <a:pt x="427" y="533"/>
                    <a:pt x="427" y="533"/>
                    <a:pt x="427" y="533"/>
                  </a:cubicBezTo>
                  <a:moveTo>
                    <a:pt x="463" y="533"/>
                  </a:moveTo>
                  <a:cubicBezTo>
                    <a:pt x="456" y="533"/>
                    <a:pt x="447" y="538"/>
                    <a:pt x="443" y="543"/>
                  </a:cubicBezTo>
                  <a:cubicBezTo>
                    <a:pt x="439" y="549"/>
                    <a:pt x="441" y="553"/>
                    <a:pt x="448" y="553"/>
                  </a:cubicBezTo>
                  <a:cubicBezTo>
                    <a:pt x="455" y="553"/>
                    <a:pt x="464" y="549"/>
                    <a:pt x="468" y="543"/>
                  </a:cubicBezTo>
                  <a:cubicBezTo>
                    <a:pt x="472" y="538"/>
                    <a:pt x="470" y="533"/>
                    <a:pt x="463" y="533"/>
                  </a:cubicBezTo>
                  <a:cubicBezTo>
                    <a:pt x="463" y="533"/>
                    <a:pt x="463" y="533"/>
                    <a:pt x="463" y="533"/>
                  </a:cubicBezTo>
                  <a:moveTo>
                    <a:pt x="499" y="533"/>
                  </a:moveTo>
                  <a:cubicBezTo>
                    <a:pt x="492" y="533"/>
                    <a:pt x="483" y="538"/>
                    <a:pt x="479" y="543"/>
                  </a:cubicBezTo>
                  <a:cubicBezTo>
                    <a:pt x="475" y="549"/>
                    <a:pt x="477" y="553"/>
                    <a:pt x="484" y="553"/>
                  </a:cubicBezTo>
                  <a:cubicBezTo>
                    <a:pt x="491" y="553"/>
                    <a:pt x="500" y="549"/>
                    <a:pt x="504" y="543"/>
                  </a:cubicBezTo>
                  <a:cubicBezTo>
                    <a:pt x="508" y="537"/>
                    <a:pt x="506" y="533"/>
                    <a:pt x="499" y="533"/>
                  </a:cubicBezTo>
                  <a:cubicBezTo>
                    <a:pt x="499" y="533"/>
                    <a:pt x="499" y="533"/>
                    <a:pt x="499" y="533"/>
                  </a:cubicBezTo>
                  <a:moveTo>
                    <a:pt x="535" y="533"/>
                  </a:moveTo>
                  <a:cubicBezTo>
                    <a:pt x="528" y="533"/>
                    <a:pt x="520" y="537"/>
                    <a:pt x="516" y="543"/>
                  </a:cubicBezTo>
                  <a:cubicBezTo>
                    <a:pt x="512" y="549"/>
                    <a:pt x="514" y="553"/>
                    <a:pt x="521" y="553"/>
                  </a:cubicBezTo>
                  <a:cubicBezTo>
                    <a:pt x="528" y="553"/>
                    <a:pt x="537" y="548"/>
                    <a:pt x="541" y="543"/>
                  </a:cubicBezTo>
                  <a:cubicBezTo>
                    <a:pt x="545" y="537"/>
                    <a:pt x="542" y="533"/>
                    <a:pt x="535" y="533"/>
                  </a:cubicBezTo>
                  <a:cubicBezTo>
                    <a:pt x="535" y="533"/>
                    <a:pt x="535" y="533"/>
                    <a:pt x="535" y="533"/>
                  </a:cubicBezTo>
                  <a:moveTo>
                    <a:pt x="571" y="532"/>
                  </a:moveTo>
                  <a:cubicBezTo>
                    <a:pt x="564" y="533"/>
                    <a:pt x="555" y="537"/>
                    <a:pt x="551" y="543"/>
                  </a:cubicBezTo>
                  <a:cubicBezTo>
                    <a:pt x="548" y="548"/>
                    <a:pt x="550" y="553"/>
                    <a:pt x="557" y="553"/>
                  </a:cubicBezTo>
                  <a:cubicBezTo>
                    <a:pt x="564" y="553"/>
                    <a:pt x="573" y="548"/>
                    <a:pt x="577" y="543"/>
                  </a:cubicBezTo>
                  <a:cubicBezTo>
                    <a:pt x="581" y="537"/>
                    <a:pt x="578" y="532"/>
                    <a:pt x="571" y="532"/>
                  </a:cubicBezTo>
                  <a:cubicBezTo>
                    <a:pt x="571" y="532"/>
                    <a:pt x="571" y="532"/>
                    <a:pt x="571" y="532"/>
                  </a:cubicBezTo>
                  <a:moveTo>
                    <a:pt x="607" y="532"/>
                  </a:moveTo>
                  <a:cubicBezTo>
                    <a:pt x="600" y="532"/>
                    <a:pt x="591" y="537"/>
                    <a:pt x="588" y="542"/>
                  </a:cubicBezTo>
                  <a:cubicBezTo>
                    <a:pt x="584" y="548"/>
                    <a:pt x="586" y="553"/>
                    <a:pt x="593" y="553"/>
                  </a:cubicBezTo>
                  <a:cubicBezTo>
                    <a:pt x="600" y="552"/>
                    <a:pt x="609" y="548"/>
                    <a:pt x="613" y="542"/>
                  </a:cubicBezTo>
                  <a:cubicBezTo>
                    <a:pt x="616" y="537"/>
                    <a:pt x="614" y="532"/>
                    <a:pt x="607" y="532"/>
                  </a:cubicBezTo>
                  <a:cubicBezTo>
                    <a:pt x="607" y="532"/>
                    <a:pt x="607" y="532"/>
                    <a:pt x="607" y="532"/>
                  </a:cubicBezTo>
                  <a:moveTo>
                    <a:pt x="643" y="532"/>
                  </a:moveTo>
                  <a:cubicBezTo>
                    <a:pt x="636" y="532"/>
                    <a:pt x="627" y="537"/>
                    <a:pt x="623" y="542"/>
                  </a:cubicBezTo>
                  <a:cubicBezTo>
                    <a:pt x="620" y="548"/>
                    <a:pt x="622" y="552"/>
                    <a:pt x="629" y="552"/>
                  </a:cubicBezTo>
                  <a:cubicBezTo>
                    <a:pt x="636" y="552"/>
                    <a:pt x="645" y="548"/>
                    <a:pt x="649" y="542"/>
                  </a:cubicBezTo>
                  <a:cubicBezTo>
                    <a:pt x="652" y="537"/>
                    <a:pt x="650" y="532"/>
                    <a:pt x="643" y="532"/>
                  </a:cubicBezTo>
                  <a:cubicBezTo>
                    <a:pt x="643" y="532"/>
                    <a:pt x="643" y="532"/>
                    <a:pt x="643" y="532"/>
                  </a:cubicBezTo>
                  <a:moveTo>
                    <a:pt x="679" y="532"/>
                  </a:moveTo>
                  <a:cubicBezTo>
                    <a:pt x="672" y="532"/>
                    <a:pt x="663" y="536"/>
                    <a:pt x="659" y="542"/>
                  </a:cubicBezTo>
                  <a:cubicBezTo>
                    <a:pt x="656" y="548"/>
                    <a:pt x="658" y="552"/>
                    <a:pt x="665" y="552"/>
                  </a:cubicBezTo>
                  <a:cubicBezTo>
                    <a:pt x="672" y="552"/>
                    <a:pt x="681" y="547"/>
                    <a:pt x="685" y="542"/>
                  </a:cubicBezTo>
                  <a:cubicBezTo>
                    <a:pt x="688" y="536"/>
                    <a:pt x="686" y="532"/>
                    <a:pt x="679" y="532"/>
                  </a:cubicBezTo>
                  <a:cubicBezTo>
                    <a:pt x="679" y="532"/>
                    <a:pt x="679" y="532"/>
                    <a:pt x="679" y="532"/>
                  </a:cubicBezTo>
                  <a:moveTo>
                    <a:pt x="715" y="532"/>
                  </a:moveTo>
                  <a:cubicBezTo>
                    <a:pt x="708" y="532"/>
                    <a:pt x="700" y="536"/>
                    <a:pt x="696" y="542"/>
                  </a:cubicBezTo>
                  <a:cubicBezTo>
                    <a:pt x="692" y="547"/>
                    <a:pt x="695" y="552"/>
                    <a:pt x="702" y="552"/>
                  </a:cubicBezTo>
                  <a:cubicBezTo>
                    <a:pt x="709" y="552"/>
                    <a:pt x="718" y="547"/>
                    <a:pt x="721" y="542"/>
                  </a:cubicBezTo>
                  <a:cubicBezTo>
                    <a:pt x="725" y="536"/>
                    <a:pt x="722" y="532"/>
                    <a:pt x="715" y="532"/>
                  </a:cubicBezTo>
                  <a:cubicBezTo>
                    <a:pt x="715" y="532"/>
                    <a:pt x="715" y="532"/>
                    <a:pt x="715" y="532"/>
                  </a:cubicBezTo>
                  <a:moveTo>
                    <a:pt x="751" y="531"/>
                  </a:moveTo>
                  <a:cubicBezTo>
                    <a:pt x="744" y="531"/>
                    <a:pt x="735" y="536"/>
                    <a:pt x="732" y="542"/>
                  </a:cubicBezTo>
                  <a:cubicBezTo>
                    <a:pt x="728" y="547"/>
                    <a:pt x="731" y="552"/>
                    <a:pt x="738" y="552"/>
                  </a:cubicBezTo>
                  <a:cubicBezTo>
                    <a:pt x="745" y="552"/>
                    <a:pt x="754" y="547"/>
                    <a:pt x="757" y="541"/>
                  </a:cubicBezTo>
                  <a:cubicBezTo>
                    <a:pt x="760" y="536"/>
                    <a:pt x="758" y="531"/>
                    <a:pt x="751" y="531"/>
                  </a:cubicBezTo>
                  <a:cubicBezTo>
                    <a:pt x="751" y="531"/>
                    <a:pt x="751" y="531"/>
                    <a:pt x="751" y="531"/>
                  </a:cubicBezTo>
                  <a:moveTo>
                    <a:pt x="785" y="531"/>
                  </a:moveTo>
                  <a:cubicBezTo>
                    <a:pt x="778" y="531"/>
                    <a:pt x="769" y="536"/>
                    <a:pt x="766" y="541"/>
                  </a:cubicBezTo>
                  <a:cubicBezTo>
                    <a:pt x="762" y="547"/>
                    <a:pt x="765" y="551"/>
                    <a:pt x="772" y="551"/>
                  </a:cubicBezTo>
                  <a:cubicBezTo>
                    <a:pt x="779" y="551"/>
                    <a:pt x="788" y="547"/>
                    <a:pt x="791" y="541"/>
                  </a:cubicBezTo>
                  <a:cubicBezTo>
                    <a:pt x="795" y="536"/>
                    <a:pt x="792" y="531"/>
                    <a:pt x="785" y="531"/>
                  </a:cubicBezTo>
                  <a:cubicBezTo>
                    <a:pt x="785" y="531"/>
                    <a:pt x="785" y="531"/>
                    <a:pt x="785" y="531"/>
                  </a:cubicBezTo>
                  <a:moveTo>
                    <a:pt x="821" y="531"/>
                  </a:moveTo>
                  <a:cubicBezTo>
                    <a:pt x="814" y="531"/>
                    <a:pt x="806" y="536"/>
                    <a:pt x="802" y="541"/>
                  </a:cubicBezTo>
                  <a:cubicBezTo>
                    <a:pt x="799" y="547"/>
                    <a:pt x="802" y="551"/>
                    <a:pt x="809" y="551"/>
                  </a:cubicBezTo>
                  <a:cubicBezTo>
                    <a:pt x="816" y="551"/>
                    <a:pt x="824" y="547"/>
                    <a:pt x="828" y="541"/>
                  </a:cubicBezTo>
                  <a:cubicBezTo>
                    <a:pt x="831" y="535"/>
                    <a:pt x="828" y="531"/>
                    <a:pt x="821" y="531"/>
                  </a:cubicBezTo>
                  <a:cubicBezTo>
                    <a:pt x="821" y="531"/>
                    <a:pt x="821" y="531"/>
                    <a:pt x="821" y="531"/>
                  </a:cubicBezTo>
                  <a:moveTo>
                    <a:pt x="857" y="531"/>
                  </a:moveTo>
                  <a:cubicBezTo>
                    <a:pt x="850" y="531"/>
                    <a:pt x="842" y="535"/>
                    <a:pt x="838" y="541"/>
                  </a:cubicBezTo>
                  <a:cubicBezTo>
                    <a:pt x="835" y="547"/>
                    <a:pt x="838" y="551"/>
                    <a:pt x="845" y="551"/>
                  </a:cubicBezTo>
                  <a:cubicBezTo>
                    <a:pt x="852" y="551"/>
                    <a:pt x="860" y="546"/>
                    <a:pt x="863" y="541"/>
                  </a:cubicBezTo>
                  <a:cubicBezTo>
                    <a:pt x="867" y="535"/>
                    <a:pt x="864" y="531"/>
                    <a:pt x="857" y="531"/>
                  </a:cubicBezTo>
                  <a:cubicBezTo>
                    <a:pt x="857" y="531"/>
                    <a:pt x="857" y="531"/>
                    <a:pt x="857" y="531"/>
                  </a:cubicBezTo>
                  <a:moveTo>
                    <a:pt x="893" y="530"/>
                  </a:moveTo>
                  <a:cubicBezTo>
                    <a:pt x="886" y="530"/>
                    <a:pt x="877" y="535"/>
                    <a:pt x="874" y="541"/>
                  </a:cubicBezTo>
                  <a:cubicBezTo>
                    <a:pt x="871" y="546"/>
                    <a:pt x="874" y="551"/>
                    <a:pt x="881" y="551"/>
                  </a:cubicBezTo>
                  <a:cubicBezTo>
                    <a:pt x="888" y="551"/>
                    <a:pt x="896" y="546"/>
                    <a:pt x="899" y="541"/>
                  </a:cubicBezTo>
                  <a:cubicBezTo>
                    <a:pt x="903" y="535"/>
                    <a:pt x="900" y="530"/>
                    <a:pt x="893" y="530"/>
                  </a:cubicBezTo>
                  <a:cubicBezTo>
                    <a:pt x="893" y="530"/>
                    <a:pt x="893" y="530"/>
                    <a:pt x="893" y="530"/>
                  </a:cubicBezTo>
                  <a:moveTo>
                    <a:pt x="928" y="530"/>
                  </a:moveTo>
                  <a:cubicBezTo>
                    <a:pt x="921" y="530"/>
                    <a:pt x="913" y="535"/>
                    <a:pt x="910" y="540"/>
                  </a:cubicBezTo>
                  <a:cubicBezTo>
                    <a:pt x="907" y="546"/>
                    <a:pt x="910" y="551"/>
                    <a:pt x="917" y="551"/>
                  </a:cubicBezTo>
                  <a:cubicBezTo>
                    <a:pt x="924" y="550"/>
                    <a:pt x="932" y="546"/>
                    <a:pt x="935" y="540"/>
                  </a:cubicBezTo>
                  <a:cubicBezTo>
                    <a:pt x="938" y="535"/>
                    <a:pt x="935" y="530"/>
                    <a:pt x="928" y="530"/>
                  </a:cubicBezTo>
                  <a:cubicBezTo>
                    <a:pt x="928" y="530"/>
                    <a:pt x="928" y="530"/>
                    <a:pt x="928" y="530"/>
                  </a:cubicBezTo>
                  <a:moveTo>
                    <a:pt x="1933" y="523"/>
                  </a:moveTo>
                  <a:cubicBezTo>
                    <a:pt x="1926" y="523"/>
                    <a:pt x="1919" y="528"/>
                    <a:pt x="1918" y="534"/>
                  </a:cubicBezTo>
                  <a:cubicBezTo>
                    <a:pt x="1917" y="539"/>
                    <a:pt x="1921" y="544"/>
                    <a:pt x="1928" y="544"/>
                  </a:cubicBezTo>
                  <a:cubicBezTo>
                    <a:pt x="1935" y="544"/>
                    <a:pt x="1942" y="539"/>
                    <a:pt x="1943" y="534"/>
                  </a:cubicBezTo>
                  <a:cubicBezTo>
                    <a:pt x="1944" y="528"/>
                    <a:pt x="1940" y="523"/>
                    <a:pt x="1933" y="523"/>
                  </a:cubicBezTo>
                  <a:cubicBezTo>
                    <a:pt x="1933" y="523"/>
                    <a:pt x="1933" y="523"/>
                    <a:pt x="1933" y="523"/>
                  </a:cubicBezTo>
                  <a:moveTo>
                    <a:pt x="1968" y="523"/>
                  </a:moveTo>
                  <a:cubicBezTo>
                    <a:pt x="1961" y="523"/>
                    <a:pt x="1955" y="528"/>
                    <a:pt x="1954" y="533"/>
                  </a:cubicBezTo>
                  <a:cubicBezTo>
                    <a:pt x="1953" y="539"/>
                    <a:pt x="1957" y="544"/>
                    <a:pt x="1964" y="544"/>
                  </a:cubicBezTo>
                  <a:cubicBezTo>
                    <a:pt x="1971" y="544"/>
                    <a:pt x="1978" y="539"/>
                    <a:pt x="1979" y="533"/>
                  </a:cubicBezTo>
                  <a:cubicBezTo>
                    <a:pt x="1980" y="528"/>
                    <a:pt x="1975" y="523"/>
                    <a:pt x="1968" y="523"/>
                  </a:cubicBezTo>
                  <a:cubicBezTo>
                    <a:pt x="1968" y="523"/>
                    <a:pt x="1968" y="523"/>
                    <a:pt x="1968" y="523"/>
                  </a:cubicBezTo>
                  <a:moveTo>
                    <a:pt x="2004" y="523"/>
                  </a:moveTo>
                  <a:cubicBezTo>
                    <a:pt x="1997" y="523"/>
                    <a:pt x="1991" y="528"/>
                    <a:pt x="1990" y="533"/>
                  </a:cubicBezTo>
                  <a:cubicBezTo>
                    <a:pt x="1989" y="539"/>
                    <a:pt x="1993" y="543"/>
                    <a:pt x="2000" y="543"/>
                  </a:cubicBezTo>
                  <a:cubicBezTo>
                    <a:pt x="2007" y="543"/>
                    <a:pt x="2014" y="539"/>
                    <a:pt x="2015" y="533"/>
                  </a:cubicBezTo>
                  <a:cubicBezTo>
                    <a:pt x="2016" y="527"/>
                    <a:pt x="2011" y="523"/>
                    <a:pt x="2004" y="523"/>
                  </a:cubicBezTo>
                  <a:cubicBezTo>
                    <a:pt x="2004" y="523"/>
                    <a:pt x="2004" y="523"/>
                    <a:pt x="2004" y="523"/>
                  </a:cubicBezTo>
                  <a:moveTo>
                    <a:pt x="2256" y="523"/>
                  </a:moveTo>
                  <a:cubicBezTo>
                    <a:pt x="2249" y="523"/>
                    <a:pt x="2243" y="527"/>
                    <a:pt x="2243" y="533"/>
                  </a:cubicBezTo>
                  <a:cubicBezTo>
                    <a:pt x="2242" y="539"/>
                    <a:pt x="2247" y="543"/>
                    <a:pt x="2254" y="543"/>
                  </a:cubicBezTo>
                  <a:cubicBezTo>
                    <a:pt x="2261" y="543"/>
                    <a:pt x="2267" y="538"/>
                    <a:pt x="2268" y="533"/>
                  </a:cubicBezTo>
                  <a:cubicBezTo>
                    <a:pt x="2268" y="527"/>
                    <a:pt x="2263" y="523"/>
                    <a:pt x="2256" y="523"/>
                  </a:cubicBezTo>
                  <a:cubicBezTo>
                    <a:pt x="2256" y="523"/>
                    <a:pt x="2256" y="523"/>
                    <a:pt x="2256" y="523"/>
                  </a:cubicBezTo>
                  <a:moveTo>
                    <a:pt x="2040" y="521"/>
                  </a:moveTo>
                  <a:cubicBezTo>
                    <a:pt x="2033" y="521"/>
                    <a:pt x="2026" y="526"/>
                    <a:pt x="2026" y="532"/>
                  </a:cubicBezTo>
                  <a:cubicBezTo>
                    <a:pt x="2025" y="537"/>
                    <a:pt x="2029" y="542"/>
                    <a:pt x="2036" y="542"/>
                  </a:cubicBezTo>
                  <a:cubicBezTo>
                    <a:pt x="2043" y="542"/>
                    <a:pt x="2050" y="537"/>
                    <a:pt x="2051" y="532"/>
                  </a:cubicBezTo>
                  <a:cubicBezTo>
                    <a:pt x="2052" y="526"/>
                    <a:pt x="2047" y="521"/>
                    <a:pt x="2040" y="521"/>
                  </a:cubicBezTo>
                  <a:cubicBezTo>
                    <a:pt x="2040" y="521"/>
                    <a:pt x="2040" y="521"/>
                    <a:pt x="2040" y="521"/>
                  </a:cubicBezTo>
                  <a:moveTo>
                    <a:pt x="2076" y="521"/>
                  </a:moveTo>
                  <a:cubicBezTo>
                    <a:pt x="2069" y="521"/>
                    <a:pt x="2063" y="526"/>
                    <a:pt x="2062" y="531"/>
                  </a:cubicBezTo>
                  <a:cubicBezTo>
                    <a:pt x="2061" y="537"/>
                    <a:pt x="2066" y="542"/>
                    <a:pt x="2073" y="542"/>
                  </a:cubicBezTo>
                  <a:cubicBezTo>
                    <a:pt x="2080" y="542"/>
                    <a:pt x="2086" y="537"/>
                    <a:pt x="2087" y="531"/>
                  </a:cubicBezTo>
                  <a:cubicBezTo>
                    <a:pt x="2088" y="526"/>
                    <a:pt x="2083" y="521"/>
                    <a:pt x="2076" y="521"/>
                  </a:cubicBezTo>
                  <a:cubicBezTo>
                    <a:pt x="2076" y="521"/>
                    <a:pt x="2076" y="521"/>
                    <a:pt x="2076" y="521"/>
                  </a:cubicBezTo>
                  <a:moveTo>
                    <a:pt x="2363" y="520"/>
                  </a:moveTo>
                  <a:cubicBezTo>
                    <a:pt x="2356" y="520"/>
                    <a:pt x="2350" y="524"/>
                    <a:pt x="2350" y="530"/>
                  </a:cubicBezTo>
                  <a:cubicBezTo>
                    <a:pt x="2350" y="536"/>
                    <a:pt x="2355" y="540"/>
                    <a:pt x="2362" y="540"/>
                  </a:cubicBezTo>
                  <a:cubicBezTo>
                    <a:pt x="2369" y="540"/>
                    <a:pt x="2375" y="536"/>
                    <a:pt x="2375" y="530"/>
                  </a:cubicBezTo>
                  <a:cubicBezTo>
                    <a:pt x="2375" y="524"/>
                    <a:pt x="2370" y="520"/>
                    <a:pt x="2363" y="520"/>
                  </a:cubicBezTo>
                  <a:cubicBezTo>
                    <a:pt x="2363" y="520"/>
                    <a:pt x="2363" y="520"/>
                    <a:pt x="2363" y="520"/>
                  </a:cubicBezTo>
                  <a:moveTo>
                    <a:pt x="2399" y="520"/>
                  </a:moveTo>
                  <a:cubicBezTo>
                    <a:pt x="2392" y="520"/>
                    <a:pt x="2386" y="524"/>
                    <a:pt x="2386" y="530"/>
                  </a:cubicBezTo>
                  <a:cubicBezTo>
                    <a:pt x="2386" y="535"/>
                    <a:pt x="2391" y="540"/>
                    <a:pt x="2398" y="540"/>
                  </a:cubicBezTo>
                  <a:cubicBezTo>
                    <a:pt x="2405" y="540"/>
                    <a:pt x="2411" y="535"/>
                    <a:pt x="2411" y="530"/>
                  </a:cubicBezTo>
                  <a:cubicBezTo>
                    <a:pt x="2411" y="524"/>
                    <a:pt x="2406" y="520"/>
                    <a:pt x="2399" y="520"/>
                  </a:cubicBezTo>
                  <a:cubicBezTo>
                    <a:pt x="2399" y="520"/>
                    <a:pt x="2399" y="520"/>
                    <a:pt x="2399" y="520"/>
                  </a:cubicBezTo>
                  <a:moveTo>
                    <a:pt x="2793" y="519"/>
                  </a:moveTo>
                  <a:cubicBezTo>
                    <a:pt x="2786" y="519"/>
                    <a:pt x="2781" y="524"/>
                    <a:pt x="2781" y="530"/>
                  </a:cubicBezTo>
                  <a:cubicBezTo>
                    <a:pt x="2782" y="535"/>
                    <a:pt x="2788" y="540"/>
                    <a:pt x="2795" y="540"/>
                  </a:cubicBezTo>
                  <a:cubicBezTo>
                    <a:pt x="2802" y="540"/>
                    <a:pt x="2807" y="535"/>
                    <a:pt x="2806" y="530"/>
                  </a:cubicBezTo>
                  <a:cubicBezTo>
                    <a:pt x="2806" y="524"/>
                    <a:pt x="2800" y="519"/>
                    <a:pt x="2793" y="519"/>
                  </a:cubicBezTo>
                  <a:cubicBezTo>
                    <a:pt x="2793" y="519"/>
                    <a:pt x="2793" y="519"/>
                    <a:pt x="2793" y="519"/>
                  </a:cubicBezTo>
                  <a:moveTo>
                    <a:pt x="2435" y="519"/>
                  </a:moveTo>
                  <a:cubicBezTo>
                    <a:pt x="2428" y="519"/>
                    <a:pt x="2422" y="524"/>
                    <a:pt x="2422" y="530"/>
                  </a:cubicBezTo>
                  <a:cubicBezTo>
                    <a:pt x="2422" y="535"/>
                    <a:pt x="2427" y="540"/>
                    <a:pt x="2434" y="540"/>
                  </a:cubicBezTo>
                  <a:cubicBezTo>
                    <a:pt x="2441" y="540"/>
                    <a:pt x="2447" y="535"/>
                    <a:pt x="2447" y="529"/>
                  </a:cubicBezTo>
                  <a:cubicBezTo>
                    <a:pt x="2447" y="524"/>
                    <a:pt x="2442" y="519"/>
                    <a:pt x="2435" y="519"/>
                  </a:cubicBezTo>
                  <a:cubicBezTo>
                    <a:pt x="2435" y="519"/>
                    <a:pt x="2435" y="519"/>
                    <a:pt x="2435" y="519"/>
                  </a:cubicBezTo>
                  <a:moveTo>
                    <a:pt x="2826" y="519"/>
                  </a:moveTo>
                  <a:cubicBezTo>
                    <a:pt x="2819" y="519"/>
                    <a:pt x="2814" y="524"/>
                    <a:pt x="2815" y="530"/>
                  </a:cubicBezTo>
                  <a:cubicBezTo>
                    <a:pt x="2816" y="535"/>
                    <a:pt x="2822" y="540"/>
                    <a:pt x="2829" y="540"/>
                  </a:cubicBezTo>
                  <a:cubicBezTo>
                    <a:pt x="2836" y="540"/>
                    <a:pt x="2841" y="535"/>
                    <a:pt x="2840" y="529"/>
                  </a:cubicBezTo>
                  <a:cubicBezTo>
                    <a:pt x="2839" y="524"/>
                    <a:pt x="2833" y="519"/>
                    <a:pt x="2826" y="519"/>
                  </a:cubicBezTo>
                  <a:cubicBezTo>
                    <a:pt x="2826" y="519"/>
                    <a:pt x="2826" y="519"/>
                    <a:pt x="2826" y="519"/>
                  </a:cubicBezTo>
                  <a:moveTo>
                    <a:pt x="2685" y="519"/>
                  </a:moveTo>
                  <a:cubicBezTo>
                    <a:pt x="2679" y="519"/>
                    <a:pt x="2673" y="524"/>
                    <a:pt x="2674" y="529"/>
                  </a:cubicBezTo>
                  <a:cubicBezTo>
                    <a:pt x="2674" y="535"/>
                    <a:pt x="2680" y="540"/>
                    <a:pt x="2687" y="540"/>
                  </a:cubicBezTo>
                  <a:cubicBezTo>
                    <a:pt x="2694" y="540"/>
                    <a:pt x="2699" y="535"/>
                    <a:pt x="2699" y="529"/>
                  </a:cubicBezTo>
                  <a:cubicBezTo>
                    <a:pt x="2698" y="524"/>
                    <a:pt x="2692" y="519"/>
                    <a:pt x="2686" y="519"/>
                  </a:cubicBezTo>
                  <a:cubicBezTo>
                    <a:pt x="2685" y="519"/>
                    <a:pt x="2685" y="519"/>
                    <a:pt x="2685" y="519"/>
                  </a:cubicBezTo>
                  <a:moveTo>
                    <a:pt x="2470" y="519"/>
                  </a:moveTo>
                  <a:cubicBezTo>
                    <a:pt x="2463" y="519"/>
                    <a:pt x="2458" y="524"/>
                    <a:pt x="2458" y="529"/>
                  </a:cubicBezTo>
                  <a:cubicBezTo>
                    <a:pt x="2458" y="535"/>
                    <a:pt x="2463" y="540"/>
                    <a:pt x="2470" y="540"/>
                  </a:cubicBezTo>
                  <a:cubicBezTo>
                    <a:pt x="2477" y="540"/>
                    <a:pt x="2483" y="535"/>
                    <a:pt x="2483" y="529"/>
                  </a:cubicBezTo>
                  <a:cubicBezTo>
                    <a:pt x="2483" y="524"/>
                    <a:pt x="2477" y="519"/>
                    <a:pt x="2471" y="519"/>
                  </a:cubicBezTo>
                  <a:cubicBezTo>
                    <a:pt x="2470" y="519"/>
                    <a:pt x="2470" y="519"/>
                    <a:pt x="2470" y="519"/>
                  </a:cubicBezTo>
                  <a:moveTo>
                    <a:pt x="2862" y="519"/>
                  </a:moveTo>
                  <a:cubicBezTo>
                    <a:pt x="2855" y="519"/>
                    <a:pt x="2850" y="524"/>
                    <a:pt x="2851" y="529"/>
                  </a:cubicBezTo>
                  <a:cubicBezTo>
                    <a:pt x="2851" y="535"/>
                    <a:pt x="2858" y="540"/>
                    <a:pt x="2865" y="539"/>
                  </a:cubicBezTo>
                  <a:cubicBezTo>
                    <a:pt x="2872" y="539"/>
                    <a:pt x="2877" y="535"/>
                    <a:pt x="2876" y="529"/>
                  </a:cubicBezTo>
                  <a:cubicBezTo>
                    <a:pt x="2875" y="524"/>
                    <a:pt x="2869" y="519"/>
                    <a:pt x="2862" y="519"/>
                  </a:cubicBezTo>
                  <a:cubicBezTo>
                    <a:pt x="2862" y="519"/>
                    <a:pt x="2862" y="519"/>
                    <a:pt x="2862" y="519"/>
                  </a:cubicBezTo>
                  <a:moveTo>
                    <a:pt x="2721" y="519"/>
                  </a:moveTo>
                  <a:cubicBezTo>
                    <a:pt x="2714" y="519"/>
                    <a:pt x="2709" y="524"/>
                    <a:pt x="2709" y="529"/>
                  </a:cubicBezTo>
                  <a:cubicBezTo>
                    <a:pt x="2710" y="535"/>
                    <a:pt x="2716" y="539"/>
                    <a:pt x="2723" y="539"/>
                  </a:cubicBezTo>
                  <a:cubicBezTo>
                    <a:pt x="2730" y="539"/>
                    <a:pt x="2735" y="535"/>
                    <a:pt x="2734" y="529"/>
                  </a:cubicBezTo>
                  <a:cubicBezTo>
                    <a:pt x="2734" y="523"/>
                    <a:pt x="2728" y="519"/>
                    <a:pt x="2721" y="519"/>
                  </a:cubicBezTo>
                  <a:cubicBezTo>
                    <a:pt x="2721" y="519"/>
                    <a:pt x="2721" y="519"/>
                    <a:pt x="2721" y="519"/>
                  </a:cubicBezTo>
                  <a:moveTo>
                    <a:pt x="2898" y="519"/>
                  </a:moveTo>
                  <a:cubicBezTo>
                    <a:pt x="2891" y="519"/>
                    <a:pt x="2886" y="523"/>
                    <a:pt x="2887" y="529"/>
                  </a:cubicBezTo>
                  <a:cubicBezTo>
                    <a:pt x="2887" y="535"/>
                    <a:pt x="2894" y="539"/>
                    <a:pt x="2901" y="539"/>
                  </a:cubicBezTo>
                  <a:cubicBezTo>
                    <a:pt x="2908" y="539"/>
                    <a:pt x="2913" y="535"/>
                    <a:pt x="2912" y="529"/>
                  </a:cubicBezTo>
                  <a:cubicBezTo>
                    <a:pt x="2911" y="523"/>
                    <a:pt x="2905" y="519"/>
                    <a:pt x="2898" y="519"/>
                  </a:cubicBezTo>
                  <a:cubicBezTo>
                    <a:pt x="2898" y="519"/>
                    <a:pt x="2898" y="519"/>
                    <a:pt x="2898" y="519"/>
                  </a:cubicBezTo>
                  <a:moveTo>
                    <a:pt x="2757" y="519"/>
                  </a:moveTo>
                  <a:cubicBezTo>
                    <a:pt x="2750" y="519"/>
                    <a:pt x="2745" y="523"/>
                    <a:pt x="2745" y="529"/>
                  </a:cubicBezTo>
                  <a:cubicBezTo>
                    <a:pt x="2746" y="535"/>
                    <a:pt x="2752" y="539"/>
                    <a:pt x="2759" y="539"/>
                  </a:cubicBezTo>
                  <a:cubicBezTo>
                    <a:pt x="2766" y="539"/>
                    <a:pt x="2771" y="534"/>
                    <a:pt x="2770" y="529"/>
                  </a:cubicBezTo>
                  <a:cubicBezTo>
                    <a:pt x="2770" y="523"/>
                    <a:pt x="2764" y="519"/>
                    <a:pt x="2757" y="519"/>
                  </a:cubicBezTo>
                  <a:cubicBezTo>
                    <a:pt x="2757" y="519"/>
                    <a:pt x="2757" y="519"/>
                    <a:pt x="2757" y="519"/>
                  </a:cubicBezTo>
                  <a:moveTo>
                    <a:pt x="2542" y="519"/>
                  </a:moveTo>
                  <a:cubicBezTo>
                    <a:pt x="2535" y="519"/>
                    <a:pt x="2529" y="523"/>
                    <a:pt x="2529" y="529"/>
                  </a:cubicBezTo>
                  <a:cubicBezTo>
                    <a:pt x="2529" y="535"/>
                    <a:pt x="2535" y="539"/>
                    <a:pt x="2542" y="539"/>
                  </a:cubicBezTo>
                  <a:cubicBezTo>
                    <a:pt x="2549" y="539"/>
                    <a:pt x="2555" y="534"/>
                    <a:pt x="2555" y="529"/>
                  </a:cubicBezTo>
                  <a:cubicBezTo>
                    <a:pt x="2554" y="523"/>
                    <a:pt x="2549" y="519"/>
                    <a:pt x="2542" y="519"/>
                  </a:cubicBezTo>
                  <a:cubicBezTo>
                    <a:pt x="2542" y="519"/>
                    <a:pt x="2542" y="519"/>
                    <a:pt x="2542" y="519"/>
                  </a:cubicBezTo>
                  <a:moveTo>
                    <a:pt x="2934" y="519"/>
                  </a:moveTo>
                  <a:cubicBezTo>
                    <a:pt x="2927" y="519"/>
                    <a:pt x="2922" y="523"/>
                    <a:pt x="2923" y="529"/>
                  </a:cubicBezTo>
                  <a:cubicBezTo>
                    <a:pt x="2924" y="535"/>
                    <a:pt x="2930" y="539"/>
                    <a:pt x="2937" y="539"/>
                  </a:cubicBezTo>
                  <a:cubicBezTo>
                    <a:pt x="2944" y="539"/>
                    <a:pt x="2949" y="534"/>
                    <a:pt x="2948" y="529"/>
                  </a:cubicBezTo>
                  <a:cubicBezTo>
                    <a:pt x="2947" y="523"/>
                    <a:pt x="2941" y="519"/>
                    <a:pt x="2934" y="519"/>
                  </a:cubicBezTo>
                  <a:cubicBezTo>
                    <a:pt x="2934" y="519"/>
                    <a:pt x="2934" y="519"/>
                    <a:pt x="2934" y="519"/>
                  </a:cubicBezTo>
                  <a:moveTo>
                    <a:pt x="2578" y="518"/>
                  </a:moveTo>
                  <a:cubicBezTo>
                    <a:pt x="2571" y="518"/>
                    <a:pt x="2566" y="523"/>
                    <a:pt x="2566" y="529"/>
                  </a:cubicBezTo>
                  <a:cubicBezTo>
                    <a:pt x="2566" y="534"/>
                    <a:pt x="2572" y="539"/>
                    <a:pt x="2579" y="539"/>
                  </a:cubicBezTo>
                  <a:cubicBezTo>
                    <a:pt x="2586" y="539"/>
                    <a:pt x="2591" y="534"/>
                    <a:pt x="2591" y="529"/>
                  </a:cubicBezTo>
                  <a:cubicBezTo>
                    <a:pt x="2591" y="523"/>
                    <a:pt x="2585" y="518"/>
                    <a:pt x="2578" y="518"/>
                  </a:cubicBezTo>
                  <a:cubicBezTo>
                    <a:pt x="2578" y="518"/>
                    <a:pt x="2578" y="518"/>
                    <a:pt x="2578" y="518"/>
                  </a:cubicBezTo>
                  <a:moveTo>
                    <a:pt x="2969" y="518"/>
                  </a:moveTo>
                  <a:cubicBezTo>
                    <a:pt x="2963" y="518"/>
                    <a:pt x="2958" y="523"/>
                    <a:pt x="2959" y="529"/>
                  </a:cubicBezTo>
                  <a:cubicBezTo>
                    <a:pt x="2960" y="534"/>
                    <a:pt x="2966" y="539"/>
                    <a:pt x="2973" y="539"/>
                  </a:cubicBezTo>
                  <a:cubicBezTo>
                    <a:pt x="2980" y="539"/>
                    <a:pt x="2985" y="534"/>
                    <a:pt x="2984" y="528"/>
                  </a:cubicBezTo>
                  <a:cubicBezTo>
                    <a:pt x="2983" y="523"/>
                    <a:pt x="2976" y="518"/>
                    <a:pt x="2970" y="518"/>
                  </a:cubicBezTo>
                  <a:cubicBezTo>
                    <a:pt x="2969" y="518"/>
                    <a:pt x="2969" y="518"/>
                    <a:pt x="2969" y="518"/>
                  </a:cubicBezTo>
                  <a:moveTo>
                    <a:pt x="3005" y="518"/>
                  </a:moveTo>
                  <a:cubicBezTo>
                    <a:pt x="2998" y="518"/>
                    <a:pt x="2993" y="523"/>
                    <a:pt x="2995" y="528"/>
                  </a:cubicBezTo>
                  <a:cubicBezTo>
                    <a:pt x="2996" y="534"/>
                    <a:pt x="3002" y="539"/>
                    <a:pt x="3009" y="539"/>
                  </a:cubicBezTo>
                  <a:cubicBezTo>
                    <a:pt x="3016" y="539"/>
                    <a:pt x="3021" y="534"/>
                    <a:pt x="3020" y="528"/>
                  </a:cubicBezTo>
                  <a:cubicBezTo>
                    <a:pt x="3019" y="523"/>
                    <a:pt x="3012" y="518"/>
                    <a:pt x="3005" y="518"/>
                  </a:cubicBezTo>
                  <a:cubicBezTo>
                    <a:pt x="3005" y="518"/>
                    <a:pt x="3005" y="518"/>
                    <a:pt x="3005" y="518"/>
                  </a:cubicBezTo>
                  <a:moveTo>
                    <a:pt x="3041" y="518"/>
                  </a:moveTo>
                  <a:cubicBezTo>
                    <a:pt x="3034" y="518"/>
                    <a:pt x="3029" y="523"/>
                    <a:pt x="3030" y="528"/>
                  </a:cubicBezTo>
                  <a:cubicBezTo>
                    <a:pt x="3031" y="534"/>
                    <a:pt x="3038" y="538"/>
                    <a:pt x="3045" y="538"/>
                  </a:cubicBezTo>
                  <a:cubicBezTo>
                    <a:pt x="3052" y="538"/>
                    <a:pt x="3056" y="534"/>
                    <a:pt x="3055" y="528"/>
                  </a:cubicBezTo>
                  <a:cubicBezTo>
                    <a:pt x="3054" y="522"/>
                    <a:pt x="3048" y="518"/>
                    <a:pt x="3041" y="518"/>
                  </a:cubicBezTo>
                  <a:cubicBezTo>
                    <a:pt x="3041" y="518"/>
                    <a:pt x="3041" y="518"/>
                    <a:pt x="3041" y="518"/>
                  </a:cubicBezTo>
                  <a:moveTo>
                    <a:pt x="3077" y="518"/>
                  </a:moveTo>
                  <a:cubicBezTo>
                    <a:pt x="3070" y="518"/>
                    <a:pt x="3065" y="522"/>
                    <a:pt x="3066" y="528"/>
                  </a:cubicBezTo>
                  <a:cubicBezTo>
                    <a:pt x="3067" y="534"/>
                    <a:pt x="3074" y="538"/>
                    <a:pt x="3081" y="538"/>
                  </a:cubicBezTo>
                  <a:cubicBezTo>
                    <a:pt x="3088" y="538"/>
                    <a:pt x="3092" y="533"/>
                    <a:pt x="3091" y="528"/>
                  </a:cubicBezTo>
                  <a:cubicBezTo>
                    <a:pt x="3090" y="522"/>
                    <a:pt x="3084" y="518"/>
                    <a:pt x="3077" y="518"/>
                  </a:cubicBezTo>
                  <a:cubicBezTo>
                    <a:pt x="3077" y="518"/>
                    <a:pt x="3077" y="518"/>
                    <a:pt x="3077" y="518"/>
                  </a:cubicBezTo>
                  <a:moveTo>
                    <a:pt x="3113" y="517"/>
                  </a:moveTo>
                  <a:cubicBezTo>
                    <a:pt x="3107" y="517"/>
                    <a:pt x="3102" y="522"/>
                    <a:pt x="3103" y="528"/>
                  </a:cubicBezTo>
                  <a:cubicBezTo>
                    <a:pt x="3104" y="533"/>
                    <a:pt x="3111" y="538"/>
                    <a:pt x="3118" y="538"/>
                  </a:cubicBezTo>
                  <a:cubicBezTo>
                    <a:pt x="3125" y="538"/>
                    <a:pt x="3130" y="533"/>
                    <a:pt x="3128" y="528"/>
                  </a:cubicBezTo>
                  <a:cubicBezTo>
                    <a:pt x="3127" y="522"/>
                    <a:pt x="3120" y="517"/>
                    <a:pt x="3114" y="517"/>
                  </a:cubicBezTo>
                  <a:cubicBezTo>
                    <a:pt x="3114" y="517"/>
                    <a:pt x="3113" y="517"/>
                    <a:pt x="3113" y="517"/>
                  </a:cubicBezTo>
                  <a:moveTo>
                    <a:pt x="3149" y="517"/>
                  </a:moveTo>
                  <a:cubicBezTo>
                    <a:pt x="3142" y="517"/>
                    <a:pt x="3138" y="522"/>
                    <a:pt x="3139" y="528"/>
                  </a:cubicBezTo>
                  <a:cubicBezTo>
                    <a:pt x="3140" y="533"/>
                    <a:pt x="3147" y="538"/>
                    <a:pt x="3154" y="538"/>
                  </a:cubicBezTo>
                  <a:cubicBezTo>
                    <a:pt x="3161" y="538"/>
                    <a:pt x="3165" y="533"/>
                    <a:pt x="3164" y="527"/>
                  </a:cubicBezTo>
                  <a:cubicBezTo>
                    <a:pt x="3163" y="522"/>
                    <a:pt x="3156" y="517"/>
                    <a:pt x="3149" y="517"/>
                  </a:cubicBezTo>
                  <a:cubicBezTo>
                    <a:pt x="3149" y="517"/>
                    <a:pt x="3149" y="517"/>
                    <a:pt x="3149" y="517"/>
                  </a:cubicBezTo>
                  <a:moveTo>
                    <a:pt x="3185" y="517"/>
                  </a:moveTo>
                  <a:cubicBezTo>
                    <a:pt x="3178" y="517"/>
                    <a:pt x="3173" y="522"/>
                    <a:pt x="3175" y="527"/>
                  </a:cubicBezTo>
                  <a:cubicBezTo>
                    <a:pt x="3176" y="533"/>
                    <a:pt x="3183" y="537"/>
                    <a:pt x="3190" y="537"/>
                  </a:cubicBezTo>
                  <a:cubicBezTo>
                    <a:pt x="3197" y="537"/>
                    <a:pt x="3201" y="533"/>
                    <a:pt x="3200" y="527"/>
                  </a:cubicBezTo>
                  <a:cubicBezTo>
                    <a:pt x="3198" y="521"/>
                    <a:pt x="3192" y="517"/>
                    <a:pt x="3185" y="517"/>
                  </a:cubicBezTo>
                  <a:cubicBezTo>
                    <a:pt x="3185" y="517"/>
                    <a:pt x="3185" y="517"/>
                    <a:pt x="3185" y="517"/>
                  </a:cubicBezTo>
                  <a:moveTo>
                    <a:pt x="3221" y="517"/>
                  </a:moveTo>
                  <a:cubicBezTo>
                    <a:pt x="3214" y="517"/>
                    <a:pt x="3210" y="521"/>
                    <a:pt x="3211" y="527"/>
                  </a:cubicBezTo>
                  <a:cubicBezTo>
                    <a:pt x="3213" y="533"/>
                    <a:pt x="3219" y="537"/>
                    <a:pt x="3226" y="537"/>
                  </a:cubicBezTo>
                  <a:cubicBezTo>
                    <a:pt x="3233" y="537"/>
                    <a:pt x="3238" y="533"/>
                    <a:pt x="3236" y="527"/>
                  </a:cubicBezTo>
                  <a:cubicBezTo>
                    <a:pt x="3235" y="521"/>
                    <a:pt x="3228" y="517"/>
                    <a:pt x="3221" y="517"/>
                  </a:cubicBezTo>
                  <a:cubicBezTo>
                    <a:pt x="3221" y="517"/>
                    <a:pt x="3221" y="517"/>
                    <a:pt x="3221" y="517"/>
                  </a:cubicBezTo>
                  <a:moveTo>
                    <a:pt x="3256" y="516"/>
                  </a:moveTo>
                  <a:cubicBezTo>
                    <a:pt x="3250" y="516"/>
                    <a:pt x="3245" y="521"/>
                    <a:pt x="3247" y="527"/>
                  </a:cubicBezTo>
                  <a:cubicBezTo>
                    <a:pt x="3248" y="532"/>
                    <a:pt x="3255" y="537"/>
                    <a:pt x="3262" y="537"/>
                  </a:cubicBezTo>
                  <a:cubicBezTo>
                    <a:pt x="3269" y="537"/>
                    <a:pt x="3273" y="532"/>
                    <a:pt x="3272" y="527"/>
                  </a:cubicBezTo>
                  <a:cubicBezTo>
                    <a:pt x="3270" y="521"/>
                    <a:pt x="3263" y="516"/>
                    <a:pt x="3257" y="516"/>
                  </a:cubicBezTo>
                  <a:cubicBezTo>
                    <a:pt x="3257" y="516"/>
                    <a:pt x="3256" y="516"/>
                    <a:pt x="3256" y="516"/>
                  </a:cubicBezTo>
                  <a:moveTo>
                    <a:pt x="3292" y="516"/>
                  </a:moveTo>
                  <a:cubicBezTo>
                    <a:pt x="3285" y="516"/>
                    <a:pt x="3281" y="521"/>
                    <a:pt x="3283" y="527"/>
                  </a:cubicBezTo>
                  <a:cubicBezTo>
                    <a:pt x="3284" y="532"/>
                    <a:pt x="3291" y="537"/>
                    <a:pt x="3298" y="537"/>
                  </a:cubicBezTo>
                  <a:cubicBezTo>
                    <a:pt x="3305" y="537"/>
                    <a:pt x="3309" y="532"/>
                    <a:pt x="3308" y="526"/>
                  </a:cubicBezTo>
                  <a:cubicBezTo>
                    <a:pt x="3306" y="521"/>
                    <a:pt x="3299" y="516"/>
                    <a:pt x="3292" y="516"/>
                  </a:cubicBezTo>
                  <a:cubicBezTo>
                    <a:pt x="3292" y="516"/>
                    <a:pt x="3292" y="516"/>
                    <a:pt x="3292" y="516"/>
                  </a:cubicBezTo>
                  <a:moveTo>
                    <a:pt x="3328" y="516"/>
                  </a:moveTo>
                  <a:cubicBezTo>
                    <a:pt x="3321" y="516"/>
                    <a:pt x="3317" y="521"/>
                    <a:pt x="3318" y="526"/>
                  </a:cubicBezTo>
                  <a:cubicBezTo>
                    <a:pt x="3320" y="532"/>
                    <a:pt x="3327" y="537"/>
                    <a:pt x="3334" y="537"/>
                  </a:cubicBezTo>
                  <a:cubicBezTo>
                    <a:pt x="3341" y="536"/>
                    <a:pt x="3345" y="532"/>
                    <a:pt x="3343" y="526"/>
                  </a:cubicBezTo>
                  <a:cubicBezTo>
                    <a:pt x="3342" y="521"/>
                    <a:pt x="3335" y="516"/>
                    <a:pt x="3328" y="516"/>
                  </a:cubicBezTo>
                  <a:cubicBezTo>
                    <a:pt x="3328" y="516"/>
                    <a:pt x="3328" y="516"/>
                    <a:pt x="3328" y="516"/>
                  </a:cubicBezTo>
                  <a:moveTo>
                    <a:pt x="3364" y="516"/>
                  </a:moveTo>
                  <a:cubicBezTo>
                    <a:pt x="3357" y="516"/>
                    <a:pt x="3352" y="520"/>
                    <a:pt x="3354" y="526"/>
                  </a:cubicBezTo>
                  <a:cubicBezTo>
                    <a:pt x="3356" y="532"/>
                    <a:pt x="3363" y="536"/>
                    <a:pt x="3370" y="536"/>
                  </a:cubicBezTo>
                  <a:cubicBezTo>
                    <a:pt x="3377" y="536"/>
                    <a:pt x="3381" y="532"/>
                    <a:pt x="3379" y="526"/>
                  </a:cubicBezTo>
                  <a:cubicBezTo>
                    <a:pt x="3377" y="520"/>
                    <a:pt x="3370" y="516"/>
                    <a:pt x="3364" y="516"/>
                  </a:cubicBezTo>
                  <a:cubicBezTo>
                    <a:pt x="3364" y="516"/>
                    <a:pt x="3364" y="516"/>
                    <a:pt x="3364" y="516"/>
                  </a:cubicBezTo>
                  <a:moveTo>
                    <a:pt x="3400" y="516"/>
                  </a:moveTo>
                  <a:cubicBezTo>
                    <a:pt x="3393" y="516"/>
                    <a:pt x="3389" y="520"/>
                    <a:pt x="3390" y="526"/>
                  </a:cubicBezTo>
                  <a:cubicBezTo>
                    <a:pt x="3392" y="532"/>
                    <a:pt x="3399" y="536"/>
                    <a:pt x="3406" y="536"/>
                  </a:cubicBezTo>
                  <a:cubicBezTo>
                    <a:pt x="3413" y="536"/>
                    <a:pt x="3417" y="531"/>
                    <a:pt x="3416" y="526"/>
                  </a:cubicBezTo>
                  <a:cubicBezTo>
                    <a:pt x="3414" y="520"/>
                    <a:pt x="3407" y="516"/>
                    <a:pt x="3400" y="516"/>
                  </a:cubicBezTo>
                  <a:cubicBezTo>
                    <a:pt x="3400" y="516"/>
                    <a:pt x="3400" y="516"/>
                    <a:pt x="3400" y="516"/>
                  </a:cubicBezTo>
                  <a:moveTo>
                    <a:pt x="3435" y="515"/>
                  </a:moveTo>
                  <a:cubicBezTo>
                    <a:pt x="3428" y="515"/>
                    <a:pt x="3424" y="520"/>
                    <a:pt x="3426" y="526"/>
                  </a:cubicBezTo>
                  <a:cubicBezTo>
                    <a:pt x="3428" y="531"/>
                    <a:pt x="3435" y="536"/>
                    <a:pt x="3442" y="536"/>
                  </a:cubicBezTo>
                  <a:cubicBezTo>
                    <a:pt x="3449" y="536"/>
                    <a:pt x="3453" y="531"/>
                    <a:pt x="3451" y="526"/>
                  </a:cubicBezTo>
                  <a:cubicBezTo>
                    <a:pt x="3449" y="520"/>
                    <a:pt x="3442" y="515"/>
                    <a:pt x="3435" y="515"/>
                  </a:cubicBezTo>
                  <a:cubicBezTo>
                    <a:pt x="3435" y="515"/>
                    <a:pt x="3435" y="515"/>
                    <a:pt x="3435" y="515"/>
                  </a:cubicBezTo>
                  <a:moveTo>
                    <a:pt x="3471" y="515"/>
                  </a:moveTo>
                  <a:cubicBezTo>
                    <a:pt x="3464" y="515"/>
                    <a:pt x="3460" y="520"/>
                    <a:pt x="3462" y="525"/>
                  </a:cubicBezTo>
                  <a:cubicBezTo>
                    <a:pt x="3464" y="531"/>
                    <a:pt x="3471" y="536"/>
                    <a:pt x="3478" y="536"/>
                  </a:cubicBezTo>
                  <a:cubicBezTo>
                    <a:pt x="3485" y="536"/>
                    <a:pt x="3489" y="531"/>
                    <a:pt x="3487" y="525"/>
                  </a:cubicBezTo>
                  <a:cubicBezTo>
                    <a:pt x="3485" y="520"/>
                    <a:pt x="3478" y="515"/>
                    <a:pt x="3471" y="515"/>
                  </a:cubicBezTo>
                  <a:cubicBezTo>
                    <a:pt x="3471" y="515"/>
                    <a:pt x="3471" y="515"/>
                    <a:pt x="3471" y="515"/>
                  </a:cubicBezTo>
                  <a:moveTo>
                    <a:pt x="3506" y="515"/>
                  </a:moveTo>
                  <a:cubicBezTo>
                    <a:pt x="3499" y="515"/>
                    <a:pt x="3495" y="520"/>
                    <a:pt x="3498" y="525"/>
                  </a:cubicBezTo>
                  <a:cubicBezTo>
                    <a:pt x="3500" y="531"/>
                    <a:pt x="3507" y="535"/>
                    <a:pt x="3514" y="535"/>
                  </a:cubicBezTo>
                  <a:cubicBezTo>
                    <a:pt x="3521" y="535"/>
                    <a:pt x="3525" y="531"/>
                    <a:pt x="3523" y="525"/>
                  </a:cubicBezTo>
                  <a:cubicBezTo>
                    <a:pt x="3521" y="519"/>
                    <a:pt x="3513" y="515"/>
                    <a:pt x="3506" y="515"/>
                  </a:cubicBezTo>
                  <a:cubicBezTo>
                    <a:pt x="3506" y="515"/>
                    <a:pt x="3506" y="515"/>
                    <a:pt x="3506" y="515"/>
                  </a:cubicBezTo>
                  <a:moveTo>
                    <a:pt x="3542" y="515"/>
                  </a:moveTo>
                  <a:cubicBezTo>
                    <a:pt x="3535" y="515"/>
                    <a:pt x="3531" y="519"/>
                    <a:pt x="3533" y="525"/>
                  </a:cubicBezTo>
                  <a:cubicBezTo>
                    <a:pt x="3536" y="531"/>
                    <a:pt x="3543" y="535"/>
                    <a:pt x="3550" y="535"/>
                  </a:cubicBezTo>
                  <a:cubicBezTo>
                    <a:pt x="3557" y="535"/>
                    <a:pt x="3561" y="530"/>
                    <a:pt x="3559" y="525"/>
                  </a:cubicBezTo>
                  <a:cubicBezTo>
                    <a:pt x="3556" y="519"/>
                    <a:pt x="3549" y="515"/>
                    <a:pt x="3542" y="515"/>
                  </a:cubicBezTo>
                  <a:cubicBezTo>
                    <a:pt x="3542" y="515"/>
                    <a:pt x="3542" y="515"/>
                    <a:pt x="3542" y="515"/>
                  </a:cubicBezTo>
                  <a:moveTo>
                    <a:pt x="3578" y="514"/>
                  </a:moveTo>
                  <a:cubicBezTo>
                    <a:pt x="3571" y="514"/>
                    <a:pt x="3568" y="519"/>
                    <a:pt x="3570" y="525"/>
                  </a:cubicBezTo>
                  <a:cubicBezTo>
                    <a:pt x="3572" y="530"/>
                    <a:pt x="3579" y="535"/>
                    <a:pt x="3586" y="535"/>
                  </a:cubicBezTo>
                  <a:cubicBezTo>
                    <a:pt x="3593" y="535"/>
                    <a:pt x="3597" y="530"/>
                    <a:pt x="3595" y="525"/>
                  </a:cubicBezTo>
                  <a:cubicBezTo>
                    <a:pt x="3593" y="519"/>
                    <a:pt x="3585" y="514"/>
                    <a:pt x="3578" y="514"/>
                  </a:cubicBezTo>
                  <a:cubicBezTo>
                    <a:pt x="3578" y="514"/>
                    <a:pt x="3578" y="514"/>
                    <a:pt x="3578" y="514"/>
                  </a:cubicBezTo>
                  <a:moveTo>
                    <a:pt x="3614" y="514"/>
                  </a:moveTo>
                  <a:cubicBezTo>
                    <a:pt x="3607" y="514"/>
                    <a:pt x="3603" y="519"/>
                    <a:pt x="3605" y="524"/>
                  </a:cubicBezTo>
                  <a:cubicBezTo>
                    <a:pt x="3608" y="530"/>
                    <a:pt x="3615" y="535"/>
                    <a:pt x="3622" y="535"/>
                  </a:cubicBezTo>
                  <a:cubicBezTo>
                    <a:pt x="3629" y="534"/>
                    <a:pt x="3633" y="530"/>
                    <a:pt x="3631" y="524"/>
                  </a:cubicBezTo>
                  <a:cubicBezTo>
                    <a:pt x="3628" y="519"/>
                    <a:pt x="3621" y="514"/>
                    <a:pt x="3614" y="514"/>
                  </a:cubicBezTo>
                  <a:cubicBezTo>
                    <a:pt x="3614" y="514"/>
                    <a:pt x="3614" y="514"/>
                    <a:pt x="3614" y="514"/>
                  </a:cubicBezTo>
                  <a:moveTo>
                    <a:pt x="3649" y="514"/>
                  </a:moveTo>
                  <a:cubicBezTo>
                    <a:pt x="3642" y="514"/>
                    <a:pt x="3639" y="518"/>
                    <a:pt x="3641" y="524"/>
                  </a:cubicBezTo>
                  <a:cubicBezTo>
                    <a:pt x="3643" y="530"/>
                    <a:pt x="3651" y="534"/>
                    <a:pt x="3658" y="534"/>
                  </a:cubicBezTo>
                  <a:cubicBezTo>
                    <a:pt x="3665" y="534"/>
                    <a:pt x="3669" y="530"/>
                    <a:pt x="3666" y="524"/>
                  </a:cubicBezTo>
                  <a:cubicBezTo>
                    <a:pt x="3664" y="518"/>
                    <a:pt x="3656" y="514"/>
                    <a:pt x="3649" y="514"/>
                  </a:cubicBezTo>
                  <a:cubicBezTo>
                    <a:pt x="3649" y="514"/>
                    <a:pt x="3649" y="514"/>
                    <a:pt x="3649" y="514"/>
                  </a:cubicBezTo>
                  <a:moveTo>
                    <a:pt x="3685" y="514"/>
                  </a:moveTo>
                  <a:cubicBezTo>
                    <a:pt x="3678" y="514"/>
                    <a:pt x="3675" y="518"/>
                    <a:pt x="3677" y="524"/>
                  </a:cubicBezTo>
                  <a:cubicBezTo>
                    <a:pt x="3679" y="530"/>
                    <a:pt x="3687" y="534"/>
                    <a:pt x="3694" y="534"/>
                  </a:cubicBezTo>
                  <a:cubicBezTo>
                    <a:pt x="3701" y="534"/>
                    <a:pt x="3705" y="529"/>
                    <a:pt x="3702" y="524"/>
                  </a:cubicBezTo>
                  <a:cubicBezTo>
                    <a:pt x="3700" y="518"/>
                    <a:pt x="3692" y="514"/>
                    <a:pt x="3685" y="514"/>
                  </a:cubicBezTo>
                  <a:cubicBezTo>
                    <a:pt x="3685" y="514"/>
                    <a:pt x="3685" y="514"/>
                    <a:pt x="3685" y="514"/>
                  </a:cubicBezTo>
                  <a:moveTo>
                    <a:pt x="3723" y="513"/>
                  </a:moveTo>
                  <a:cubicBezTo>
                    <a:pt x="3716" y="513"/>
                    <a:pt x="3713" y="518"/>
                    <a:pt x="3715" y="524"/>
                  </a:cubicBezTo>
                  <a:cubicBezTo>
                    <a:pt x="3718" y="529"/>
                    <a:pt x="3725" y="534"/>
                    <a:pt x="3732" y="534"/>
                  </a:cubicBezTo>
                  <a:cubicBezTo>
                    <a:pt x="3739" y="534"/>
                    <a:pt x="3743" y="529"/>
                    <a:pt x="3740" y="523"/>
                  </a:cubicBezTo>
                  <a:cubicBezTo>
                    <a:pt x="3738" y="518"/>
                    <a:pt x="3730" y="513"/>
                    <a:pt x="3723" y="513"/>
                  </a:cubicBezTo>
                  <a:cubicBezTo>
                    <a:pt x="3723" y="513"/>
                    <a:pt x="3723" y="513"/>
                    <a:pt x="3723" y="513"/>
                  </a:cubicBezTo>
                  <a:moveTo>
                    <a:pt x="3758" y="513"/>
                  </a:moveTo>
                  <a:cubicBezTo>
                    <a:pt x="3751" y="513"/>
                    <a:pt x="3748" y="518"/>
                    <a:pt x="3750" y="523"/>
                  </a:cubicBezTo>
                  <a:cubicBezTo>
                    <a:pt x="3753" y="529"/>
                    <a:pt x="3761" y="534"/>
                    <a:pt x="3768" y="534"/>
                  </a:cubicBezTo>
                  <a:cubicBezTo>
                    <a:pt x="3775" y="534"/>
                    <a:pt x="3778" y="529"/>
                    <a:pt x="3775" y="523"/>
                  </a:cubicBezTo>
                  <a:cubicBezTo>
                    <a:pt x="3773" y="518"/>
                    <a:pt x="3765" y="513"/>
                    <a:pt x="3758" y="513"/>
                  </a:cubicBezTo>
                  <a:cubicBezTo>
                    <a:pt x="3758" y="513"/>
                    <a:pt x="3758" y="513"/>
                    <a:pt x="3758" y="513"/>
                  </a:cubicBezTo>
                  <a:moveTo>
                    <a:pt x="3794" y="513"/>
                  </a:moveTo>
                  <a:cubicBezTo>
                    <a:pt x="3787" y="513"/>
                    <a:pt x="3783" y="518"/>
                    <a:pt x="3786" y="523"/>
                  </a:cubicBezTo>
                  <a:cubicBezTo>
                    <a:pt x="3789" y="529"/>
                    <a:pt x="3796" y="533"/>
                    <a:pt x="3803" y="533"/>
                  </a:cubicBezTo>
                  <a:cubicBezTo>
                    <a:pt x="3810" y="533"/>
                    <a:pt x="3814" y="529"/>
                    <a:pt x="3811" y="523"/>
                  </a:cubicBezTo>
                  <a:cubicBezTo>
                    <a:pt x="3808" y="517"/>
                    <a:pt x="3801" y="513"/>
                    <a:pt x="3794" y="513"/>
                  </a:cubicBezTo>
                  <a:cubicBezTo>
                    <a:pt x="3794" y="513"/>
                    <a:pt x="3794" y="513"/>
                    <a:pt x="3794" y="513"/>
                  </a:cubicBezTo>
                  <a:moveTo>
                    <a:pt x="3830" y="513"/>
                  </a:moveTo>
                  <a:cubicBezTo>
                    <a:pt x="3823" y="513"/>
                    <a:pt x="3819" y="517"/>
                    <a:pt x="3822" y="523"/>
                  </a:cubicBezTo>
                  <a:cubicBezTo>
                    <a:pt x="3825" y="529"/>
                    <a:pt x="3832" y="533"/>
                    <a:pt x="3839" y="533"/>
                  </a:cubicBezTo>
                  <a:cubicBezTo>
                    <a:pt x="3846" y="533"/>
                    <a:pt x="3850" y="528"/>
                    <a:pt x="3847" y="523"/>
                  </a:cubicBezTo>
                  <a:cubicBezTo>
                    <a:pt x="3844" y="517"/>
                    <a:pt x="3836" y="513"/>
                    <a:pt x="3830" y="513"/>
                  </a:cubicBezTo>
                  <a:cubicBezTo>
                    <a:pt x="3830" y="513"/>
                    <a:pt x="3830" y="513"/>
                    <a:pt x="3830" y="513"/>
                  </a:cubicBezTo>
                  <a:moveTo>
                    <a:pt x="3866" y="512"/>
                  </a:moveTo>
                  <a:cubicBezTo>
                    <a:pt x="3859" y="512"/>
                    <a:pt x="3855" y="517"/>
                    <a:pt x="3858" y="523"/>
                  </a:cubicBezTo>
                  <a:cubicBezTo>
                    <a:pt x="3861" y="528"/>
                    <a:pt x="3869" y="533"/>
                    <a:pt x="3876" y="533"/>
                  </a:cubicBezTo>
                  <a:cubicBezTo>
                    <a:pt x="3883" y="533"/>
                    <a:pt x="3886" y="528"/>
                    <a:pt x="3883" y="523"/>
                  </a:cubicBezTo>
                  <a:cubicBezTo>
                    <a:pt x="3880" y="517"/>
                    <a:pt x="3873" y="512"/>
                    <a:pt x="3866" y="512"/>
                  </a:cubicBezTo>
                  <a:cubicBezTo>
                    <a:pt x="3866" y="512"/>
                    <a:pt x="3866" y="512"/>
                    <a:pt x="3866" y="512"/>
                  </a:cubicBezTo>
                  <a:moveTo>
                    <a:pt x="3901" y="512"/>
                  </a:moveTo>
                  <a:cubicBezTo>
                    <a:pt x="3894" y="512"/>
                    <a:pt x="3891" y="517"/>
                    <a:pt x="3894" y="522"/>
                  </a:cubicBezTo>
                  <a:cubicBezTo>
                    <a:pt x="3897" y="528"/>
                    <a:pt x="3904" y="533"/>
                    <a:pt x="3911" y="533"/>
                  </a:cubicBezTo>
                  <a:cubicBezTo>
                    <a:pt x="3918" y="533"/>
                    <a:pt x="3922" y="528"/>
                    <a:pt x="3919" y="522"/>
                  </a:cubicBezTo>
                  <a:cubicBezTo>
                    <a:pt x="3916" y="517"/>
                    <a:pt x="3908" y="512"/>
                    <a:pt x="3901" y="512"/>
                  </a:cubicBezTo>
                  <a:cubicBezTo>
                    <a:pt x="3901" y="512"/>
                    <a:pt x="3901" y="512"/>
                    <a:pt x="3901" y="512"/>
                  </a:cubicBezTo>
                  <a:moveTo>
                    <a:pt x="3937" y="512"/>
                  </a:moveTo>
                  <a:cubicBezTo>
                    <a:pt x="3930" y="512"/>
                    <a:pt x="3927" y="517"/>
                    <a:pt x="3930" y="522"/>
                  </a:cubicBezTo>
                  <a:cubicBezTo>
                    <a:pt x="3932" y="528"/>
                    <a:pt x="3940" y="533"/>
                    <a:pt x="3947" y="532"/>
                  </a:cubicBezTo>
                  <a:cubicBezTo>
                    <a:pt x="3954" y="532"/>
                    <a:pt x="3958" y="528"/>
                    <a:pt x="3955" y="522"/>
                  </a:cubicBezTo>
                  <a:cubicBezTo>
                    <a:pt x="3952" y="516"/>
                    <a:pt x="3944" y="512"/>
                    <a:pt x="3937" y="512"/>
                  </a:cubicBezTo>
                  <a:cubicBezTo>
                    <a:pt x="3937" y="512"/>
                    <a:pt x="3937" y="512"/>
                    <a:pt x="3937" y="512"/>
                  </a:cubicBezTo>
                  <a:moveTo>
                    <a:pt x="3972" y="512"/>
                  </a:moveTo>
                  <a:cubicBezTo>
                    <a:pt x="3965" y="512"/>
                    <a:pt x="3962" y="516"/>
                    <a:pt x="3965" y="522"/>
                  </a:cubicBezTo>
                  <a:cubicBezTo>
                    <a:pt x="3968" y="528"/>
                    <a:pt x="3976" y="532"/>
                    <a:pt x="3983" y="532"/>
                  </a:cubicBezTo>
                  <a:cubicBezTo>
                    <a:pt x="3990" y="532"/>
                    <a:pt x="3993" y="528"/>
                    <a:pt x="3990" y="522"/>
                  </a:cubicBezTo>
                  <a:cubicBezTo>
                    <a:pt x="3987" y="516"/>
                    <a:pt x="3979" y="512"/>
                    <a:pt x="3972" y="512"/>
                  </a:cubicBezTo>
                  <a:cubicBezTo>
                    <a:pt x="3972" y="512"/>
                    <a:pt x="3972" y="512"/>
                    <a:pt x="3972" y="512"/>
                  </a:cubicBezTo>
                  <a:moveTo>
                    <a:pt x="4008" y="511"/>
                  </a:moveTo>
                  <a:cubicBezTo>
                    <a:pt x="4001" y="511"/>
                    <a:pt x="3998" y="516"/>
                    <a:pt x="4001" y="522"/>
                  </a:cubicBezTo>
                  <a:cubicBezTo>
                    <a:pt x="4004" y="527"/>
                    <a:pt x="4012" y="532"/>
                    <a:pt x="4019" y="532"/>
                  </a:cubicBezTo>
                  <a:cubicBezTo>
                    <a:pt x="4026" y="532"/>
                    <a:pt x="4029" y="527"/>
                    <a:pt x="4026" y="522"/>
                  </a:cubicBezTo>
                  <a:cubicBezTo>
                    <a:pt x="4023" y="516"/>
                    <a:pt x="4015" y="511"/>
                    <a:pt x="4008" y="511"/>
                  </a:cubicBezTo>
                  <a:cubicBezTo>
                    <a:pt x="4008" y="511"/>
                    <a:pt x="4008" y="511"/>
                    <a:pt x="4008" y="511"/>
                  </a:cubicBezTo>
                  <a:moveTo>
                    <a:pt x="199" y="506"/>
                  </a:moveTo>
                  <a:cubicBezTo>
                    <a:pt x="192" y="506"/>
                    <a:pt x="183" y="511"/>
                    <a:pt x="178" y="516"/>
                  </a:cubicBezTo>
                  <a:cubicBezTo>
                    <a:pt x="174" y="522"/>
                    <a:pt x="175" y="527"/>
                    <a:pt x="182" y="526"/>
                  </a:cubicBezTo>
                  <a:cubicBezTo>
                    <a:pt x="189" y="526"/>
                    <a:pt x="199" y="522"/>
                    <a:pt x="203" y="516"/>
                  </a:cubicBezTo>
                  <a:cubicBezTo>
                    <a:pt x="208" y="511"/>
                    <a:pt x="206" y="506"/>
                    <a:pt x="199" y="506"/>
                  </a:cubicBezTo>
                  <a:cubicBezTo>
                    <a:pt x="199" y="506"/>
                    <a:pt x="199" y="506"/>
                    <a:pt x="199" y="506"/>
                  </a:cubicBezTo>
                  <a:moveTo>
                    <a:pt x="235" y="506"/>
                  </a:moveTo>
                  <a:cubicBezTo>
                    <a:pt x="228" y="506"/>
                    <a:pt x="218" y="511"/>
                    <a:pt x="214" y="516"/>
                  </a:cubicBezTo>
                  <a:cubicBezTo>
                    <a:pt x="209" y="522"/>
                    <a:pt x="211" y="526"/>
                    <a:pt x="218" y="526"/>
                  </a:cubicBezTo>
                  <a:cubicBezTo>
                    <a:pt x="225" y="526"/>
                    <a:pt x="234" y="522"/>
                    <a:pt x="239" y="516"/>
                  </a:cubicBezTo>
                  <a:cubicBezTo>
                    <a:pt x="243" y="510"/>
                    <a:pt x="241" y="506"/>
                    <a:pt x="235" y="506"/>
                  </a:cubicBezTo>
                  <a:cubicBezTo>
                    <a:pt x="235" y="506"/>
                    <a:pt x="235" y="506"/>
                    <a:pt x="235" y="506"/>
                  </a:cubicBezTo>
                  <a:moveTo>
                    <a:pt x="270" y="506"/>
                  </a:moveTo>
                  <a:cubicBezTo>
                    <a:pt x="263" y="506"/>
                    <a:pt x="254" y="510"/>
                    <a:pt x="249" y="516"/>
                  </a:cubicBezTo>
                  <a:cubicBezTo>
                    <a:pt x="245" y="522"/>
                    <a:pt x="247" y="526"/>
                    <a:pt x="254" y="526"/>
                  </a:cubicBezTo>
                  <a:cubicBezTo>
                    <a:pt x="261" y="526"/>
                    <a:pt x="270" y="521"/>
                    <a:pt x="274" y="516"/>
                  </a:cubicBezTo>
                  <a:cubicBezTo>
                    <a:pt x="279" y="510"/>
                    <a:pt x="277" y="506"/>
                    <a:pt x="270" y="506"/>
                  </a:cubicBezTo>
                  <a:cubicBezTo>
                    <a:pt x="270" y="506"/>
                    <a:pt x="270" y="506"/>
                    <a:pt x="270" y="506"/>
                  </a:cubicBezTo>
                  <a:moveTo>
                    <a:pt x="305" y="506"/>
                  </a:moveTo>
                  <a:cubicBezTo>
                    <a:pt x="298" y="506"/>
                    <a:pt x="289" y="510"/>
                    <a:pt x="285" y="516"/>
                  </a:cubicBezTo>
                  <a:cubicBezTo>
                    <a:pt x="280" y="521"/>
                    <a:pt x="282" y="526"/>
                    <a:pt x="289" y="526"/>
                  </a:cubicBezTo>
                  <a:cubicBezTo>
                    <a:pt x="296" y="526"/>
                    <a:pt x="305" y="521"/>
                    <a:pt x="310" y="516"/>
                  </a:cubicBezTo>
                  <a:cubicBezTo>
                    <a:pt x="314" y="510"/>
                    <a:pt x="312" y="506"/>
                    <a:pt x="305" y="506"/>
                  </a:cubicBezTo>
                  <a:cubicBezTo>
                    <a:pt x="305" y="506"/>
                    <a:pt x="305" y="506"/>
                    <a:pt x="305" y="506"/>
                  </a:cubicBezTo>
                  <a:moveTo>
                    <a:pt x="341" y="505"/>
                  </a:moveTo>
                  <a:cubicBezTo>
                    <a:pt x="334" y="505"/>
                    <a:pt x="325" y="510"/>
                    <a:pt x="321" y="515"/>
                  </a:cubicBezTo>
                  <a:cubicBezTo>
                    <a:pt x="316" y="521"/>
                    <a:pt x="318" y="526"/>
                    <a:pt x="325" y="526"/>
                  </a:cubicBezTo>
                  <a:cubicBezTo>
                    <a:pt x="332" y="526"/>
                    <a:pt x="341" y="521"/>
                    <a:pt x="346" y="515"/>
                  </a:cubicBezTo>
                  <a:cubicBezTo>
                    <a:pt x="350" y="510"/>
                    <a:pt x="348" y="505"/>
                    <a:pt x="341" y="505"/>
                  </a:cubicBezTo>
                  <a:cubicBezTo>
                    <a:pt x="341" y="505"/>
                    <a:pt x="341" y="505"/>
                    <a:pt x="341" y="505"/>
                  </a:cubicBezTo>
                  <a:moveTo>
                    <a:pt x="376" y="505"/>
                  </a:moveTo>
                  <a:cubicBezTo>
                    <a:pt x="369" y="505"/>
                    <a:pt x="360" y="510"/>
                    <a:pt x="356" y="515"/>
                  </a:cubicBezTo>
                  <a:cubicBezTo>
                    <a:pt x="352" y="521"/>
                    <a:pt x="354" y="525"/>
                    <a:pt x="361" y="525"/>
                  </a:cubicBezTo>
                  <a:cubicBezTo>
                    <a:pt x="368" y="525"/>
                    <a:pt x="377" y="521"/>
                    <a:pt x="381" y="515"/>
                  </a:cubicBezTo>
                  <a:cubicBezTo>
                    <a:pt x="385" y="510"/>
                    <a:pt x="383" y="505"/>
                    <a:pt x="376" y="505"/>
                  </a:cubicBezTo>
                  <a:cubicBezTo>
                    <a:pt x="376" y="505"/>
                    <a:pt x="376" y="505"/>
                    <a:pt x="376" y="505"/>
                  </a:cubicBezTo>
                  <a:moveTo>
                    <a:pt x="412" y="505"/>
                  </a:moveTo>
                  <a:cubicBezTo>
                    <a:pt x="405" y="505"/>
                    <a:pt x="396" y="509"/>
                    <a:pt x="392" y="515"/>
                  </a:cubicBezTo>
                  <a:cubicBezTo>
                    <a:pt x="388" y="521"/>
                    <a:pt x="390" y="525"/>
                    <a:pt x="397" y="525"/>
                  </a:cubicBezTo>
                  <a:cubicBezTo>
                    <a:pt x="404" y="525"/>
                    <a:pt x="413" y="520"/>
                    <a:pt x="417" y="515"/>
                  </a:cubicBezTo>
                  <a:cubicBezTo>
                    <a:pt x="421" y="509"/>
                    <a:pt x="419" y="505"/>
                    <a:pt x="412" y="505"/>
                  </a:cubicBezTo>
                  <a:cubicBezTo>
                    <a:pt x="412" y="505"/>
                    <a:pt x="412" y="505"/>
                    <a:pt x="412" y="505"/>
                  </a:cubicBezTo>
                  <a:moveTo>
                    <a:pt x="449" y="505"/>
                  </a:moveTo>
                  <a:cubicBezTo>
                    <a:pt x="442" y="505"/>
                    <a:pt x="433" y="509"/>
                    <a:pt x="429" y="515"/>
                  </a:cubicBezTo>
                  <a:cubicBezTo>
                    <a:pt x="424" y="520"/>
                    <a:pt x="427" y="525"/>
                    <a:pt x="434" y="525"/>
                  </a:cubicBezTo>
                  <a:cubicBezTo>
                    <a:pt x="441" y="525"/>
                    <a:pt x="450" y="520"/>
                    <a:pt x="454" y="515"/>
                  </a:cubicBezTo>
                  <a:cubicBezTo>
                    <a:pt x="458" y="509"/>
                    <a:pt x="456" y="505"/>
                    <a:pt x="449" y="505"/>
                  </a:cubicBezTo>
                  <a:cubicBezTo>
                    <a:pt x="449" y="505"/>
                    <a:pt x="449" y="505"/>
                    <a:pt x="449" y="505"/>
                  </a:cubicBezTo>
                  <a:moveTo>
                    <a:pt x="484" y="504"/>
                  </a:moveTo>
                  <a:cubicBezTo>
                    <a:pt x="477" y="504"/>
                    <a:pt x="468" y="509"/>
                    <a:pt x="464" y="515"/>
                  </a:cubicBezTo>
                  <a:cubicBezTo>
                    <a:pt x="460" y="520"/>
                    <a:pt x="462" y="525"/>
                    <a:pt x="469" y="525"/>
                  </a:cubicBezTo>
                  <a:cubicBezTo>
                    <a:pt x="476" y="525"/>
                    <a:pt x="485" y="520"/>
                    <a:pt x="489" y="514"/>
                  </a:cubicBezTo>
                  <a:cubicBezTo>
                    <a:pt x="493" y="509"/>
                    <a:pt x="491" y="504"/>
                    <a:pt x="484" y="504"/>
                  </a:cubicBezTo>
                  <a:cubicBezTo>
                    <a:pt x="484" y="504"/>
                    <a:pt x="484" y="504"/>
                    <a:pt x="484" y="504"/>
                  </a:cubicBezTo>
                  <a:moveTo>
                    <a:pt x="520" y="504"/>
                  </a:moveTo>
                  <a:cubicBezTo>
                    <a:pt x="513" y="504"/>
                    <a:pt x="504" y="509"/>
                    <a:pt x="500" y="514"/>
                  </a:cubicBezTo>
                  <a:cubicBezTo>
                    <a:pt x="496" y="520"/>
                    <a:pt x="498" y="524"/>
                    <a:pt x="505" y="524"/>
                  </a:cubicBezTo>
                  <a:cubicBezTo>
                    <a:pt x="512" y="524"/>
                    <a:pt x="521" y="520"/>
                    <a:pt x="525" y="514"/>
                  </a:cubicBezTo>
                  <a:cubicBezTo>
                    <a:pt x="529" y="509"/>
                    <a:pt x="527" y="504"/>
                    <a:pt x="520" y="504"/>
                  </a:cubicBezTo>
                  <a:cubicBezTo>
                    <a:pt x="520" y="504"/>
                    <a:pt x="520" y="504"/>
                    <a:pt x="520" y="504"/>
                  </a:cubicBezTo>
                  <a:moveTo>
                    <a:pt x="556" y="504"/>
                  </a:moveTo>
                  <a:cubicBezTo>
                    <a:pt x="549" y="504"/>
                    <a:pt x="540" y="509"/>
                    <a:pt x="536" y="514"/>
                  </a:cubicBezTo>
                  <a:cubicBezTo>
                    <a:pt x="532" y="520"/>
                    <a:pt x="534" y="524"/>
                    <a:pt x="541" y="524"/>
                  </a:cubicBezTo>
                  <a:cubicBezTo>
                    <a:pt x="548" y="524"/>
                    <a:pt x="557" y="520"/>
                    <a:pt x="561" y="514"/>
                  </a:cubicBezTo>
                  <a:cubicBezTo>
                    <a:pt x="565" y="508"/>
                    <a:pt x="563" y="504"/>
                    <a:pt x="556" y="504"/>
                  </a:cubicBezTo>
                  <a:cubicBezTo>
                    <a:pt x="556" y="504"/>
                    <a:pt x="556" y="504"/>
                    <a:pt x="556" y="504"/>
                  </a:cubicBezTo>
                  <a:moveTo>
                    <a:pt x="591" y="504"/>
                  </a:moveTo>
                  <a:cubicBezTo>
                    <a:pt x="584" y="504"/>
                    <a:pt x="575" y="508"/>
                    <a:pt x="572" y="514"/>
                  </a:cubicBezTo>
                  <a:cubicBezTo>
                    <a:pt x="568" y="519"/>
                    <a:pt x="570" y="524"/>
                    <a:pt x="577" y="524"/>
                  </a:cubicBezTo>
                  <a:cubicBezTo>
                    <a:pt x="584" y="524"/>
                    <a:pt x="593" y="519"/>
                    <a:pt x="597" y="514"/>
                  </a:cubicBezTo>
                  <a:cubicBezTo>
                    <a:pt x="600" y="508"/>
                    <a:pt x="598" y="504"/>
                    <a:pt x="591" y="504"/>
                  </a:cubicBezTo>
                  <a:cubicBezTo>
                    <a:pt x="591" y="504"/>
                    <a:pt x="591" y="504"/>
                    <a:pt x="591" y="504"/>
                  </a:cubicBezTo>
                  <a:moveTo>
                    <a:pt x="627" y="503"/>
                  </a:moveTo>
                  <a:cubicBezTo>
                    <a:pt x="620" y="503"/>
                    <a:pt x="611" y="508"/>
                    <a:pt x="607" y="514"/>
                  </a:cubicBezTo>
                  <a:cubicBezTo>
                    <a:pt x="603" y="519"/>
                    <a:pt x="606" y="524"/>
                    <a:pt x="613" y="524"/>
                  </a:cubicBezTo>
                  <a:cubicBezTo>
                    <a:pt x="620" y="524"/>
                    <a:pt x="628" y="519"/>
                    <a:pt x="632" y="513"/>
                  </a:cubicBezTo>
                  <a:cubicBezTo>
                    <a:pt x="636" y="508"/>
                    <a:pt x="633" y="503"/>
                    <a:pt x="627" y="503"/>
                  </a:cubicBezTo>
                  <a:cubicBezTo>
                    <a:pt x="627" y="503"/>
                    <a:pt x="627" y="503"/>
                    <a:pt x="627" y="503"/>
                  </a:cubicBezTo>
                  <a:moveTo>
                    <a:pt x="662" y="503"/>
                  </a:moveTo>
                  <a:cubicBezTo>
                    <a:pt x="655" y="503"/>
                    <a:pt x="646" y="508"/>
                    <a:pt x="643" y="513"/>
                  </a:cubicBezTo>
                  <a:cubicBezTo>
                    <a:pt x="639" y="519"/>
                    <a:pt x="641" y="524"/>
                    <a:pt x="648" y="523"/>
                  </a:cubicBezTo>
                  <a:cubicBezTo>
                    <a:pt x="655" y="523"/>
                    <a:pt x="664" y="519"/>
                    <a:pt x="668" y="513"/>
                  </a:cubicBezTo>
                  <a:cubicBezTo>
                    <a:pt x="671" y="508"/>
                    <a:pt x="669" y="503"/>
                    <a:pt x="662" y="503"/>
                  </a:cubicBezTo>
                  <a:cubicBezTo>
                    <a:pt x="662" y="503"/>
                    <a:pt x="662" y="503"/>
                    <a:pt x="662" y="503"/>
                  </a:cubicBezTo>
                  <a:moveTo>
                    <a:pt x="698" y="503"/>
                  </a:moveTo>
                  <a:cubicBezTo>
                    <a:pt x="691" y="503"/>
                    <a:pt x="682" y="508"/>
                    <a:pt x="678" y="513"/>
                  </a:cubicBezTo>
                  <a:cubicBezTo>
                    <a:pt x="675" y="519"/>
                    <a:pt x="677" y="523"/>
                    <a:pt x="684" y="523"/>
                  </a:cubicBezTo>
                  <a:cubicBezTo>
                    <a:pt x="691" y="523"/>
                    <a:pt x="700" y="519"/>
                    <a:pt x="703" y="513"/>
                  </a:cubicBezTo>
                  <a:cubicBezTo>
                    <a:pt x="707" y="507"/>
                    <a:pt x="704" y="503"/>
                    <a:pt x="698" y="503"/>
                  </a:cubicBezTo>
                  <a:cubicBezTo>
                    <a:pt x="698" y="503"/>
                    <a:pt x="698" y="503"/>
                    <a:pt x="698" y="503"/>
                  </a:cubicBezTo>
                  <a:moveTo>
                    <a:pt x="733" y="503"/>
                  </a:moveTo>
                  <a:cubicBezTo>
                    <a:pt x="727" y="503"/>
                    <a:pt x="718" y="507"/>
                    <a:pt x="715" y="513"/>
                  </a:cubicBezTo>
                  <a:cubicBezTo>
                    <a:pt x="711" y="519"/>
                    <a:pt x="714" y="523"/>
                    <a:pt x="721" y="523"/>
                  </a:cubicBezTo>
                  <a:cubicBezTo>
                    <a:pt x="727" y="523"/>
                    <a:pt x="736" y="518"/>
                    <a:pt x="740" y="513"/>
                  </a:cubicBezTo>
                  <a:cubicBezTo>
                    <a:pt x="743" y="507"/>
                    <a:pt x="740" y="503"/>
                    <a:pt x="734" y="503"/>
                  </a:cubicBezTo>
                  <a:cubicBezTo>
                    <a:pt x="734" y="503"/>
                    <a:pt x="734" y="503"/>
                    <a:pt x="733" y="503"/>
                  </a:cubicBezTo>
                  <a:moveTo>
                    <a:pt x="769" y="502"/>
                  </a:moveTo>
                  <a:cubicBezTo>
                    <a:pt x="762" y="503"/>
                    <a:pt x="754" y="507"/>
                    <a:pt x="750" y="513"/>
                  </a:cubicBezTo>
                  <a:cubicBezTo>
                    <a:pt x="746" y="518"/>
                    <a:pt x="749" y="523"/>
                    <a:pt x="756" y="523"/>
                  </a:cubicBezTo>
                  <a:cubicBezTo>
                    <a:pt x="763" y="523"/>
                    <a:pt x="771" y="518"/>
                    <a:pt x="775" y="513"/>
                  </a:cubicBezTo>
                  <a:cubicBezTo>
                    <a:pt x="778" y="507"/>
                    <a:pt x="776" y="502"/>
                    <a:pt x="769" y="502"/>
                  </a:cubicBezTo>
                  <a:cubicBezTo>
                    <a:pt x="769" y="502"/>
                    <a:pt x="769" y="502"/>
                    <a:pt x="769" y="502"/>
                  </a:cubicBezTo>
                  <a:moveTo>
                    <a:pt x="802" y="502"/>
                  </a:moveTo>
                  <a:cubicBezTo>
                    <a:pt x="796" y="502"/>
                    <a:pt x="787" y="507"/>
                    <a:pt x="784" y="512"/>
                  </a:cubicBezTo>
                  <a:cubicBezTo>
                    <a:pt x="780" y="518"/>
                    <a:pt x="783" y="523"/>
                    <a:pt x="790" y="523"/>
                  </a:cubicBezTo>
                  <a:cubicBezTo>
                    <a:pt x="797" y="523"/>
                    <a:pt x="805" y="518"/>
                    <a:pt x="809" y="512"/>
                  </a:cubicBezTo>
                  <a:cubicBezTo>
                    <a:pt x="812" y="507"/>
                    <a:pt x="809" y="502"/>
                    <a:pt x="803" y="502"/>
                  </a:cubicBezTo>
                  <a:cubicBezTo>
                    <a:pt x="803" y="502"/>
                    <a:pt x="803" y="502"/>
                    <a:pt x="802" y="502"/>
                  </a:cubicBezTo>
                  <a:moveTo>
                    <a:pt x="838" y="502"/>
                  </a:moveTo>
                  <a:cubicBezTo>
                    <a:pt x="832" y="502"/>
                    <a:pt x="823" y="507"/>
                    <a:pt x="820" y="512"/>
                  </a:cubicBezTo>
                  <a:cubicBezTo>
                    <a:pt x="816" y="518"/>
                    <a:pt x="819" y="522"/>
                    <a:pt x="826" y="522"/>
                  </a:cubicBezTo>
                  <a:cubicBezTo>
                    <a:pt x="833" y="522"/>
                    <a:pt x="841" y="518"/>
                    <a:pt x="845" y="512"/>
                  </a:cubicBezTo>
                  <a:cubicBezTo>
                    <a:pt x="848" y="507"/>
                    <a:pt x="845" y="502"/>
                    <a:pt x="839" y="502"/>
                  </a:cubicBezTo>
                  <a:cubicBezTo>
                    <a:pt x="839" y="502"/>
                    <a:pt x="838" y="502"/>
                    <a:pt x="838" y="502"/>
                  </a:cubicBezTo>
                  <a:moveTo>
                    <a:pt x="874" y="502"/>
                  </a:moveTo>
                  <a:cubicBezTo>
                    <a:pt x="867" y="502"/>
                    <a:pt x="859" y="506"/>
                    <a:pt x="855" y="512"/>
                  </a:cubicBezTo>
                  <a:cubicBezTo>
                    <a:pt x="852" y="518"/>
                    <a:pt x="855" y="522"/>
                    <a:pt x="862" y="522"/>
                  </a:cubicBezTo>
                  <a:cubicBezTo>
                    <a:pt x="869" y="522"/>
                    <a:pt x="877" y="517"/>
                    <a:pt x="880" y="512"/>
                  </a:cubicBezTo>
                  <a:cubicBezTo>
                    <a:pt x="884" y="506"/>
                    <a:pt x="881" y="502"/>
                    <a:pt x="874" y="502"/>
                  </a:cubicBezTo>
                  <a:cubicBezTo>
                    <a:pt x="874" y="502"/>
                    <a:pt x="874" y="502"/>
                    <a:pt x="874" y="502"/>
                  </a:cubicBezTo>
                  <a:moveTo>
                    <a:pt x="909" y="502"/>
                  </a:moveTo>
                  <a:cubicBezTo>
                    <a:pt x="902" y="502"/>
                    <a:pt x="894" y="506"/>
                    <a:pt x="891" y="512"/>
                  </a:cubicBezTo>
                  <a:cubicBezTo>
                    <a:pt x="888" y="517"/>
                    <a:pt x="891" y="522"/>
                    <a:pt x="898" y="522"/>
                  </a:cubicBezTo>
                  <a:cubicBezTo>
                    <a:pt x="905" y="522"/>
                    <a:pt x="913" y="517"/>
                    <a:pt x="916" y="512"/>
                  </a:cubicBezTo>
                  <a:cubicBezTo>
                    <a:pt x="919" y="506"/>
                    <a:pt x="916" y="502"/>
                    <a:pt x="909" y="502"/>
                  </a:cubicBezTo>
                  <a:cubicBezTo>
                    <a:pt x="909" y="502"/>
                    <a:pt x="909" y="502"/>
                    <a:pt x="909" y="502"/>
                  </a:cubicBezTo>
                  <a:moveTo>
                    <a:pt x="945" y="501"/>
                  </a:moveTo>
                  <a:cubicBezTo>
                    <a:pt x="938" y="501"/>
                    <a:pt x="930" y="506"/>
                    <a:pt x="926" y="512"/>
                  </a:cubicBezTo>
                  <a:cubicBezTo>
                    <a:pt x="923" y="517"/>
                    <a:pt x="926" y="522"/>
                    <a:pt x="933" y="522"/>
                  </a:cubicBezTo>
                  <a:cubicBezTo>
                    <a:pt x="940" y="522"/>
                    <a:pt x="948" y="517"/>
                    <a:pt x="951" y="511"/>
                  </a:cubicBezTo>
                  <a:cubicBezTo>
                    <a:pt x="954" y="506"/>
                    <a:pt x="952" y="501"/>
                    <a:pt x="945" y="501"/>
                  </a:cubicBezTo>
                  <a:cubicBezTo>
                    <a:pt x="945" y="501"/>
                    <a:pt x="945" y="501"/>
                    <a:pt x="945" y="501"/>
                  </a:cubicBezTo>
                  <a:moveTo>
                    <a:pt x="980" y="501"/>
                  </a:moveTo>
                  <a:cubicBezTo>
                    <a:pt x="973" y="501"/>
                    <a:pt x="965" y="506"/>
                    <a:pt x="962" y="511"/>
                  </a:cubicBezTo>
                  <a:cubicBezTo>
                    <a:pt x="959" y="517"/>
                    <a:pt x="962" y="521"/>
                    <a:pt x="969" y="521"/>
                  </a:cubicBezTo>
                  <a:cubicBezTo>
                    <a:pt x="976" y="521"/>
                    <a:pt x="984" y="517"/>
                    <a:pt x="987" y="511"/>
                  </a:cubicBezTo>
                  <a:cubicBezTo>
                    <a:pt x="990" y="506"/>
                    <a:pt x="987" y="501"/>
                    <a:pt x="980" y="501"/>
                  </a:cubicBezTo>
                  <a:cubicBezTo>
                    <a:pt x="980" y="501"/>
                    <a:pt x="980" y="501"/>
                    <a:pt x="980" y="501"/>
                  </a:cubicBezTo>
                  <a:moveTo>
                    <a:pt x="1938" y="498"/>
                  </a:moveTo>
                  <a:cubicBezTo>
                    <a:pt x="1931" y="498"/>
                    <a:pt x="1924" y="503"/>
                    <a:pt x="1923" y="508"/>
                  </a:cubicBezTo>
                  <a:cubicBezTo>
                    <a:pt x="1922" y="514"/>
                    <a:pt x="1927" y="518"/>
                    <a:pt x="1934" y="518"/>
                  </a:cubicBezTo>
                  <a:cubicBezTo>
                    <a:pt x="1940" y="518"/>
                    <a:pt x="1947" y="514"/>
                    <a:pt x="1948" y="508"/>
                  </a:cubicBezTo>
                  <a:cubicBezTo>
                    <a:pt x="1949" y="503"/>
                    <a:pt x="1945" y="498"/>
                    <a:pt x="1938" y="498"/>
                  </a:cubicBezTo>
                  <a:cubicBezTo>
                    <a:pt x="1938" y="498"/>
                    <a:pt x="1938" y="498"/>
                    <a:pt x="1938" y="498"/>
                  </a:cubicBezTo>
                  <a:moveTo>
                    <a:pt x="1973" y="498"/>
                  </a:moveTo>
                  <a:cubicBezTo>
                    <a:pt x="1966" y="498"/>
                    <a:pt x="1960" y="502"/>
                    <a:pt x="1959" y="508"/>
                  </a:cubicBezTo>
                  <a:cubicBezTo>
                    <a:pt x="1957" y="514"/>
                    <a:pt x="1962" y="518"/>
                    <a:pt x="1969" y="518"/>
                  </a:cubicBezTo>
                  <a:cubicBezTo>
                    <a:pt x="1976" y="518"/>
                    <a:pt x="1982" y="514"/>
                    <a:pt x="1983" y="508"/>
                  </a:cubicBezTo>
                  <a:cubicBezTo>
                    <a:pt x="1985" y="502"/>
                    <a:pt x="1980" y="498"/>
                    <a:pt x="1973" y="498"/>
                  </a:cubicBezTo>
                  <a:cubicBezTo>
                    <a:pt x="1973" y="498"/>
                    <a:pt x="1973" y="498"/>
                    <a:pt x="1973" y="498"/>
                  </a:cubicBezTo>
                  <a:moveTo>
                    <a:pt x="2044" y="493"/>
                  </a:moveTo>
                  <a:cubicBezTo>
                    <a:pt x="2037" y="493"/>
                    <a:pt x="2031" y="498"/>
                    <a:pt x="2030" y="504"/>
                  </a:cubicBezTo>
                  <a:cubicBezTo>
                    <a:pt x="2029" y="509"/>
                    <a:pt x="2034" y="514"/>
                    <a:pt x="2041" y="514"/>
                  </a:cubicBezTo>
                  <a:cubicBezTo>
                    <a:pt x="2048" y="514"/>
                    <a:pt x="2054" y="509"/>
                    <a:pt x="2055" y="503"/>
                  </a:cubicBezTo>
                  <a:cubicBezTo>
                    <a:pt x="2056" y="498"/>
                    <a:pt x="2051" y="493"/>
                    <a:pt x="2044" y="493"/>
                  </a:cubicBezTo>
                  <a:cubicBezTo>
                    <a:pt x="2044" y="493"/>
                    <a:pt x="2044" y="493"/>
                    <a:pt x="2044" y="493"/>
                  </a:cubicBezTo>
                  <a:moveTo>
                    <a:pt x="2080" y="493"/>
                  </a:moveTo>
                  <a:cubicBezTo>
                    <a:pt x="2073" y="493"/>
                    <a:pt x="2067" y="498"/>
                    <a:pt x="2066" y="503"/>
                  </a:cubicBezTo>
                  <a:cubicBezTo>
                    <a:pt x="2065" y="509"/>
                    <a:pt x="2070" y="514"/>
                    <a:pt x="2077" y="514"/>
                  </a:cubicBezTo>
                  <a:cubicBezTo>
                    <a:pt x="2084" y="513"/>
                    <a:pt x="2090" y="509"/>
                    <a:pt x="2091" y="503"/>
                  </a:cubicBezTo>
                  <a:cubicBezTo>
                    <a:pt x="2092" y="498"/>
                    <a:pt x="2087" y="493"/>
                    <a:pt x="2080" y="493"/>
                  </a:cubicBezTo>
                  <a:cubicBezTo>
                    <a:pt x="2080" y="493"/>
                    <a:pt x="2080" y="493"/>
                    <a:pt x="2080" y="493"/>
                  </a:cubicBezTo>
                  <a:moveTo>
                    <a:pt x="2114" y="493"/>
                  </a:moveTo>
                  <a:cubicBezTo>
                    <a:pt x="2107" y="493"/>
                    <a:pt x="2101" y="498"/>
                    <a:pt x="2100" y="503"/>
                  </a:cubicBezTo>
                  <a:cubicBezTo>
                    <a:pt x="2099" y="509"/>
                    <a:pt x="2104" y="513"/>
                    <a:pt x="2111" y="513"/>
                  </a:cubicBezTo>
                  <a:cubicBezTo>
                    <a:pt x="2118" y="513"/>
                    <a:pt x="2124" y="509"/>
                    <a:pt x="2125" y="503"/>
                  </a:cubicBezTo>
                  <a:cubicBezTo>
                    <a:pt x="2126" y="497"/>
                    <a:pt x="2121" y="493"/>
                    <a:pt x="2114" y="493"/>
                  </a:cubicBezTo>
                  <a:cubicBezTo>
                    <a:pt x="2114" y="493"/>
                    <a:pt x="2114" y="493"/>
                    <a:pt x="2114" y="493"/>
                  </a:cubicBezTo>
                  <a:moveTo>
                    <a:pt x="2223" y="493"/>
                  </a:moveTo>
                  <a:cubicBezTo>
                    <a:pt x="2217" y="493"/>
                    <a:pt x="2211" y="497"/>
                    <a:pt x="2210" y="503"/>
                  </a:cubicBezTo>
                  <a:cubicBezTo>
                    <a:pt x="2209" y="509"/>
                    <a:pt x="2214" y="513"/>
                    <a:pt x="2221" y="513"/>
                  </a:cubicBezTo>
                  <a:cubicBezTo>
                    <a:pt x="2228" y="513"/>
                    <a:pt x="2234" y="508"/>
                    <a:pt x="2235" y="503"/>
                  </a:cubicBezTo>
                  <a:cubicBezTo>
                    <a:pt x="2235" y="497"/>
                    <a:pt x="2230" y="493"/>
                    <a:pt x="2223" y="493"/>
                  </a:cubicBezTo>
                  <a:cubicBezTo>
                    <a:pt x="2223" y="493"/>
                    <a:pt x="2223" y="493"/>
                    <a:pt x="2223" y="493"/>
                  </a:cubicBezTo>
                  <a:moveTo>
                    <a:pt x="2150" y="493"/>
                  </a:moveTo>
                  <a:cubicBezTo>
                    <a:pt x="2143" y="493"/>
                    <a:pt x="2137" y="497"/>
                    <a:pt x="2136" y="503"/>
                  </a:cubicBezTo>
                  <a:cubicBezTo>
                    <a:pt x="2135" y="509"/>
                    <a:pt x="2140" y="513"/>
                    <a:pt x="2147" y="513"/>
                  </a:cubicBezTo>
                  <a:cubicBezTo>
                    <a:pt x="2154" y="513"/>
                    <a:pt x="2160" y="508"/>
                    <a:pt x="2161" y="503"/>
                  </a:cubicBezTo>
                  <a:cubicBezTo>
                    <a:pt x="2162" y="497"/>
                    <a:pt x="2157" y="493"/>
                    <a:pt x="2150" y="493"/>
                  </a:cubicBezTo>
                  <a:cubicBezTo>
                    <a:pt x="2150" y="493"/>
                    <a:pt x="2150" y="493"/>
                    <a:pt x="2150" y="493"/>
                  </a:cubicBezTo>
                  <a:moveTo>
                    <a:pt x="2294" y="492"/>
                  </a:moveTo>
                  <a:cubicBezTo>
                    <a:pt x="2287" y="492"/>
                    <a:pt x="2281" y="497"/>
                    <a:pt x="2280" y="502"/>
                  </a:cubicBezTo>
                  <a:cubicBezTo>
                    <a:pt x="2280" y="508"/>
                    <a:pt x="2285" y="513"/>
                    <a:pt x="2292" y="513"/>
                  </a:cubicBezTo>
                  <a:cubicBezTo>
                    <a:pt x="2299" y="513"/>
                    <a:pt x="2305" y="508"/>
                    <a:pt x="2305" y="502"/>
                  </a:cubicBezTo>
                  <a:cubicBezTo>
                    <a:pt x="2306" y="497"/>
                    <a:pt x="2300" y="492"/>
                    <a:pt x="2294" y="492"/>
                  </a:cubicBezTo>
                  <a:cubicBezTo>
                    <a:pt x="2294" y="492"/>
                    <a:pt x="2294" y="492"/>
                    <a:pt x="2294" y="492"/>
                  </a:cubicBezTo>
                  <a:moveTo>
                    <a:pt x="2329" y="492"/>
                  </a:moveTo>
                  <a:cubicBezTo>
                    <a:pt x="2322" y="492"/>
                    <a:pt x="2316" y="497"/>
                    <a:pt x="2316" y="502"/>
                  </a:cubicBezTo>
                  <a:cubicBezTo>
                    <a:pt x="2315" y="508"/>
                    <a:pt x="2321" y="512"/>
                    <a:pt x="2328" y="512"/>
                  </a:cubicBezTo>
                  <a:cubicBezTo>
                    <a:pt x="2334" y="512"/>
                    <a:pt x="2340" y="508"/>
                    <a:pt x="2341" y="502"/>
                  </a:cubicBezTo>
                  <a:cubicBezTo>
                    <a:pt x="2341" y="496"/>
                    <a:pt x="2336" y="492"/>
                    <a:pt x="2329" y="492"/>
                  </a:cubicBezTo>
                  <a:cubicBezTo>
                    <a:pt x="2329" y="492"/>
                    <a:pt x="2329" y="492"/>
                    <a:pt x="2329" y="492"/>
                  </a:cubicBezTo>
                  <a:moveTo>
                    <a:pt x="2364" y="492"/>
                  </a:moveTo>
                  <a:cubicBezTo>
                    <a:pt x="2357" y="492"/>
                    <a:pt x="2352" y="496"/>
                    <a:pt x="2351" y="502"/>
                  </a:cubicBezTo>
                  <a:cubicBezTo>
                    <a:pt x="2351" y="508"/>
                    <a:pt x="2356" y="512"/>
                    <a:pt x="2363" y="512"/>
                  </a:cubicBezTo>
                  <a:cubicBezTo>
                    <a:pt x="2370" y="512"/>
                    <a:pt x="2376" y="507"/>
                    <a:pt x="2376" y="502"/>
                  </a:cubicBezTo>
                  <a:cubicBezTo>
                    <a:pt x="2376" y="496"/>
                    <a:pt x="2371" y="492"/>
                    <a:pt x="2364" y="492"/>
                  </a:cubicBezTo>
                  <a:cubicBezTo>
                    <a:pt x="2364" y="492"/>
                    <a:pt x="2364" y="492"/>
                    <a:pt x="2364" y="492"/>
                  </a:cubicBezTo>
                  <a:moveTo>
                    <a:pt x="2649" y="492"/>
                  </a:moveTo>
                  <a:cubicBezTo>
                    <a:pt x="2642" y="492"/>
                    <a:pt x="2636" y="496"/>
                    <a:pt x="2637" y="502"/>
                  </a:cubicBezTo>
                  <a:cubicBezTo>
                    <a:pt x="2637" y="507"/>
                    <a:pt x="2643" y="512"/>
                    <a:pt x="2650" y="512"/>
                  </a:cubicBezTo>
                  <a:cubicBezTo>
                    <a:pt x="2657" y="512"/>
                    <a:pt x="2662" y="507"/>
                    <a:pt x="2662" y="502"/>
                  </a:cubicBezTo>
                  <a:cubicBezTo>
                    <a:pt x="2661" y="496"/>
                    <a:pt x="2656" y="492"/>
                    <a:pt x="2649" y="492"/>
                  </a:cubicBezTo>
                  <a:cubicBezTo>
                    <a:pt x="2649" y="492"/>
                    <a:pt x="2649" y="492"/>
                    <a:pt x="2649" y="492"/>
                  </a:cubicBezTo>
                  <a:moveTo>
                    <a:pt x="2400" y="491"/>
                  </a:moveTo>
                  <a:cubicBezTo>
                    <a:pt x="2393" y="492"/>
                    <a:pt x="2387" y="496"/>
                    <a:pt x="2387" y="502"/>
                  </a:cubicBezTo>
                  <a:cubicBezTo>
                    <a:pt x="2387" y="507"/>
                    <a:pt x="2392" y="512"/>
                    <a:pt x="2399" y="512"/>
                  </a:cubicBezTo>
                  <a:cubicBezTo>
                    <a:pt x="2406" y="512"/>
                    <a:pt x="2412" y="507"/>
                    <a:pt x="2412" y="502"/>
                  </a:cubicBezTo>
                  <a:cubicBezTo>
                    <a:pt x="2412" y="496"/>
                    <a:pt x="2407" y="491"/>
                    <a:pt x="2400" y="491"/>
                  </a:cubicBezTo>
                  <a:cubicBezTo>
                    <a:pt x="2400" y="491"/>
                    <a:pt x="2400" y="491"/>
                    <a:pt x="2400" y="491"/>
                  </a:cubicBezTo>
                  <a:moveTo>
                    <a:pt x="2684" y="491"/>
                  </a:moveTo>
                  <a:cubicBezTo>
                    <a:pt x="2677" y="491"/>
                    <a:pt x="2671" y="496"/>
                    <a:pt x="2672" y="502"/>
                  </a:cubicBezTo>
                  <a:cubicBezTo>
                    <a:pt x="2672" y="507"/>
                    <a:pt x="2678" y="512"/>
                    <a:pt x="2685" y="512"/>
                  </a:cubicBezTo>
                  <a:cubicBezTo>
                    <a:pt x="2692" y="512"/>
                    <a:pt x="2697" y="507"/>
                    <a:pt x="2697" y="501"/>
                  </a:cubicBezTo>
                  <a:cubicBezTo>
                    <a:pt x="2696" y="496"/>
                    <a:pt x="2690" y="491"/>
                    <a:pt x="2684" y="491"/>
                  </a:cubicBezTo>
                  <a:cubicBezTo>
                    <a:pt x="2684" y="491"/>
                    <a:pt x="2684" y="491"/>
                    <a:pt x="2684" y="491"/>
                  </a:cubicBezTo>
                  <a:moveTo>
                    <a:pt x="2435" y="491"/>
                  </a:moveTo>
                  <a:cubicBezTo>
                    <a:pt x="2428" y="491"/>
                    <a:pt x="2423" y="496"/>
                    <a:pt x="2423" y="502"/>
                  </a:cubicBezTo>
                  <a:cubicBezTo>
                    <a:pt x="2422" y="507"/>
                    <a:pt x="2428" y="512"/>
                    <a:pt x="2435" y="512"/>
                  </a:cubicBezTo>
                  <a:cubicBezTo>
                    <a:pt x="2442" y="512"/>
                    <a:pt x="2447" y="507"/>
                    <a:pt x="2447" y="501"/>
                  </a:cubicBezTo>
                  <a:cubicBezTo>
                    <a:pt x="2448" y="496"/>
                    <a:pt x="2442" y="491"/>
                    <a:pt x="2435" y="491"/>
                  </a:cubicBezTo>
                  <a:cubicBezTo>
                    <a:pt x="2435" y="491"/>
                    <a:pt x="2435" y="491"/>
                    <a:pt x="2435" y="491"/>
                  </a:cubicBezTo>
                  <a:moveTo>
                    <a:pt x="2719" y="491"/>
                  </a:moveTo>
                  <a:cubicBezTo>
                    <a:pt x="2712" y="491"/>
                    <a:pt x="2707" y="496"/>
                    <a:pt x="2707" y="501"/>
                  </a:cubicBezTo>
                  <a:cubicBezTo>
                    <a:pt x="2708" y="507"/>
                    <a:pt x="2713" y="512"/>
                    <a:pt x="2720" y="512"/>
                  </a:cubicBezTo>
                  <a:cubicBezTo>
                    <a:pt x="2727" y="511"/>
                    <a:pt x="2732" y="507"/>
                    <a:pt x="2732" y="501"/>
                  </a:cubicBezTo>
                  <a:cubicBezTo>
                    <a:pt x="2732" y="496"/>
                    <a:pt x="2726" y="491"/>
                    <a:pt x="2719" y="491"/>
                  </a:cubicBezTo>
                  <a:cubicBezTo>
                    <a:pt x="2719" y="491"/>
                    <a:pt x="2719" y="491"/>
                    <a:pt x="2719" y="491"/>
                  </a:cubicBezTo>
                  <a:moveTo>
                    <a:pt x="2471" y="491"/>
                  </a:moveTo>
                  <a:cubicBezTo>
                    <a:pt x="2464" y="491"/>
                    <a:pt x="2458" y="496"/>
                    <a:pt x="2458" y="501"/>
                  </a:cubicBezTo>
                  <a:cubicBezTo>
                    <a:pt x="2458" y="507"/>
                    <a:pt x="2464" y="512"/>
                    <a:pt x="2470" y="511"/>
                  </a:cubicBezTo>
                  <a:cubicBezTo>
                    <a:pt x="2477" y="511"/>
                    <a:pt x="2483" y="507"/>
                    <a:pt x="2483" y="501"/>
                  </a:cubicBezTo>
                  <a:cubicBezTo>
                    <a:pt x="2483" y="496"/>
                    <a:pt x="2478" y="491"/>
                    <a:pt x="2471" y="491"/>
                  </a:cubicBezTo>
                  <a:cubicBezTo>
                    <a:pt x="2471" y="491"/>
                    <a:pt x="2471" y="491"/>
                    <a:pt x="2471" y="491"/>
                  </a:cubicBezTo>
                  <a:moveTo>
                    <a:pt x="2754" y="491"/>
                  </a:moveTo>
                  <a:cubicBezTo>
                    <a:pt x="2747" y="491"/>
                    <a:pt x="2742" y="496"/>
                    <a:pt x="2743" y="501"/>
                  </a:cubicBezTo>
                  <a:cubicBezTo>
                    <a:pt x="2743" y="507"/>
                    <a:pt x="2749" y="511"/>
                    <a:pt x="2756" y="511"/>
                  </a:cubicBezTo>
                  <a:cubicBezTo>
                    <a:pt x="2763" y="511"/>
                    <a:pt x="2768" y="507"/>
                    <a:pt x="2768" y="501"/>
                  </a:cubicBezTo>
                  <a:cubicBezTo>
                    <a:pt x="2767" y="495"/>
                    <a:pt x="2761" y="491"/>
                    <a:pt x="2754" y="491"/>
                  </a:cubicBezTo>
                  <a:cubicBezTo>
                    <a:pt x="2754" y="491"/>
                    <a:pt x="2754" y="491"/>
                    <a:pt x="2754" y="491"/>
                  </a:cubicBezTo>
                  <a:moveTo>
                    <a:pt x="2790" y="490"/>
                  </a:moveTo>
                  <a:cubicBezTo>
                    <a:pt x="2783" y="490"/>
                    <a:pt x="2778" y="495"/>
                    <a:pt x="2778" y="500"/>
                  </a:cubicBezTo>
                  <a:cubicBezTo>
                    <a:pt x="2779" y="506"/>
                    <a:pt x="2785" y="510"/>
                    <a:pt x="2792" y="510"/>
                  </a:cubicBezTo>
                  <a:cubicBezTo>
                    <a:pt x="2799" y="510"/>
                    <a:pt x="2804" y="506"/>
                    <a:pt x="2803" y="500"/>
                  </a:cubicBezTo>
                  <a:cubicBezTo>
                    <a:pt x="2802" y="494"/>
                    <a:pt x="2796" y="490"/>
                    <a:pt x="2790" y="490"/>
                  </a:cubicBezTo>
                  <a:cubicBezTo>
                    <a:pt x="2790" y="490"/>
                    <a:pt x="2790" y="490"/>
                    <a:pt x="2790" y="490"/>
                  </a:cubicBezTo>
                  <a:moveTo>
                    <a:pt x="2823" y="490"/>
                  </a:moveTo>
                  <a:cubicBezTo>
                    <a:pt x="2816" y="490"/>
                    <a:pt x="2811" y="494"/>
                    <a:pt x="2812" y="500"/>
                  </a:cubicBezTo>
                  <a:cubicBezTo>
                    <a:pt x="2812" y="506"/>
                    <a:pt x="2818" y="510"/>
                    <a:pt x="2825" y="510"/>
                  </a:cubicBezTo>
                  <a:cubicBezTo>
                    <a:pt x="2832" y="510"/>
                    <a:pt x="2837" y="505"/>
                    <a:pt x="2836" y="500"/>
                  </a:cubicBezTo>
                  <a:cubicBezTo>
                    <a:pt x="2836" y="494"/>
                    <a:pt x="2830" y="490"/>
                    <a:pt x="2823" y="490"/>
                  </a:cubicBezTo>
                  <a:cubicBezTo>
                    <a:pt x="2823" y="490"/>
                    <a:pt x="2823" y="490"/>
                    <a:pt x="2823" y="490"/>
                  </a:cubicBezTo>
                  <a:moveTo>
                    <a:pt x="2858" y="489"/>
                  </a:moveTo>
                  <a:cubicBezTo>
                    <a:pt x="2851" y="489"/>
                    <a:pt x="2846" y="494"/>
                    <a:pt x="2847" y="500"/>
                  </a:cubicBezTo>
                  <a:cubicBezTo>
                    <a:pt x="2848" y="505"/>
                    <a:pt x="2854" y="510"/>
                    <a:pt x="2861" y="510"/>
                  </a:cubicBezTo>
                  <a:cubicBezTo>
                    <a:pt x="2868" y="510"/>
                    <a:pt x="2873" y="505"/>
                    <a:pt x="2872" y="500"/>
                  </a:cubicBezTo>
                  <a:cubicBezTo>
                    <a:pt x="2871" y="494"/>
                    <a:pt x="2865" y="489"/>
                    <a:pt x="2858" y="489"/>
                  </a:cubicBezTo>
                  <a:cubicBezTo>
                    <a:pt x="2858" y="489"/>
                    <a:pt x="2858" y="489"/>
                    <a:pt x="2858" y="489"/>
                  </a:cubicBezTo>
                  <a:moveTo>
                    <a:pt x="2893" y="489"/>
                  </a:moveTo>
                  <a:cubicBezTo>
                    <a:pt x="2887" y="489"/>
                    <a:pt x="2882" y="494"/>
                    <a:pt x="2883" y="500"/>
                  </a:cubicBezTo>
                  <a:cubicBezTo>
                    <a:pt x="2883" y="505"/>
                    <a:pt x="2890" y="510"/>
                    <a:pt x="2896" y="510"/>
                  </a:cubicBezTo>
                  <a:cubicBezTo>
                    <a:pt x="2903" y="510"/>
                    <a:pt x="2908" y="505"/>
                    <a:pt x="2907" y="499"/>
                  </a:cubicBezTo>
                  <a:cubicBezTo>
                    <a:pt x="2907" y="494"/>
                    <a:pt x="2900" y="489"/>
                    <a:pt x="2894" y="489"/>
                  </a:cubicBezTo>
                  <a:cubicBezTo>
                    <a:pt x="2894" y="489"/>
                    <a:pt x="2894" y="489"/>
                    <a:pt x="2893" y="489"/>
                  </a:cubicBezTo>
                  <a:moveTo>
                    <a:pt x="2929" y="489"/>
                  </a:moveTo>
                  <a:cubicBezTo>
                    <a:pt x="2922" y="489"/>
                    <a:pt x="2918" y="494"/>
                    <a:pt x="2918" y="499"/>
                  </a:cubicBezTo>
                  <a:cubicBezTo>
                    <a:pt x="2919" y="505"/>
                    <a:pt x="2926" y="509"/>
                    <a:pt x="2932" y="509"/>
                  </a:cubicBezTo>
                  <a:cubicBezTo>
                    <a:pt x="2939" y="509"/>
                    <a:pt x="2944" y="505"/>
                    <a:pt x="2943" y="499"/>
                  </a:cubicBezTo>
                  <a:cubicBezTo>
                    <a:pt x="2942" y="493"/>
                    <a:pt x="2936" y="489"/>
                    <a:pt x="2929" y="489"/>
                  </a:cubicBezTo>
                  <a:cubicBezTo>
                    <a:pt x="2929" y="489"/>
                    <a:pt x="2929" y="489"/>
                    <a:pt x="2929" y="489"/>
                  </a:cubicBezTo>
                  <a:moveTo>
                    <a:pt x="2964" y="489"/>
                  </a:moveTo>
                  <a:cubicBezTo>
                    <a:pt x="2958" y="489"/>
                    <a:pt x="2953" y="493"/>
                    <a:pt x="2954" y="499"/>
                  </a:cubicBezTo>
                  <a:cubicBezTo>
                    <a:pt x="2955" y="505"/>
                    <a:pt x="2961" y="509"/>
                    <a:pt x="2968" y="509"/>
                  </a:cubicBezTo>
                  <a:cubicBezTo>
                    <a:pt x="2975" y="509"/>
                    <a:pt x="2980" y="505"/>
                    <a:pt x="2979" y="499"/>
                  </a:cubicBezTo>
                  <a:cubicBezTo>
                    <a:pt x="2978" y="493"/>
                    <a:pt x="2971" y="489"/>
                    <a:pt x="2965" y="489"/>
                  </a:cubicBezTo>
                  <a:cubicBezTo>
                    <a:pt x="2964" y="489"/>
                    <a:pt x="2964" y="489"/>
                    <a:pt x="2964" y="489"/>
                  </a:cubicBezTo>
                  <a:moveTo>
                    <a:pt x="3000" y="488"/>
                  </a:moveTo>
                  <a:cubicBezTo>
                    <a:pt x="2993" y="489"/>
                    <a:pt x="2988" y="493"/>
                    <a:pt x="2989" y="499"/>
                  </a:cubicBezTo>
                  <a:cubicBezTo>
                    <a:pt x="2990" y="504"/>
                    <a:pt x="2997" y="509"/>
                    <a:pt x="3004" y="509"/>
                  </a:cubicBezTo>
                  <a:cubicBezTo>
                    <a:pt x="3010" y="509"/>
                    <a:pt x="3015" y="504"/>
                    <a:pt x="3014" y="499"/>
                  </a:cubicBezTo>
                  <a:cubicBezTo>
                    <a:pt x="3013" y="493"/>
                    <a:pt x="3007" y="488"/>
                    <a:pt x="3000" y="488"/>
                  </a:cubicBezTo>
                  <a:cubicBezTo>
                    <a:pt x="3000" y="488"/>
                    <a:pt x="3000" y="488"/>
                    <a:pt x="3000" y="488"/>
                  </a:cubicBezTo>
                  <a:moveTo>
                    <a:pt x="3035" y="488"/>
                  </a:moveTo>
                  <a:cubicBezTo>
                    <a:pt x="3028" y="488"/>
                    <a:pt x="3023" y="493"/>
                    <a:pt x="3025" y="499"/>
                  </a:cubicBezTo>
                  <a:cubicBezTo>
                    <a:pt x="3026" y="504"/>
                    <a:pt x="3032" y="509"/>
                    <a:pt x="3039" y="509"/>
                  </a:cubicBezTo>
                  <a:cubicBezTo>
                    <a:pt x="3046" y="509"/>
                    <a:pt x="3050" y="504"/>
                    <a:pt x="3049" y="498"/>
                  </a:cubicBezTo>
                  <a:cubicBezTo>
                    <a:pt x="3048" y="493"/>
                    <a:pt x="3042" y="488"/>
                    <a:pt x="3035" y="488"/>
                  </a:cubicBezTo>
                  <a:cubicBezTo>
                    <a:pt x="3035" y="488"/>
                    <a:pt x="3035" y="488"/>
                    <a:pt x="3035" y="488"/>
                  </a:cubicBezTo>
                  <a:moveTo>
                    <a:pt x="3070" y="488"/>
                  </a:moveTo>
                  <a:cubicBezTo>
                    <a:pt x="3064" y="488"/>
                    <a:pt x="3059" y="493"/>
                    <a:pt x="3060" y="498"/>
                  </a:cubicBezTo>
                  <a:cubicBezTo>
                    <a:pt x="3061" y="504"/>
                    <a:pt x="3068" y="509"/>
                    <a:pt x="3075" y="509"/>
                  </a:cubicBezTo>
                  <a:cubicBezTo>
                    <a:pt x="3082" y="508"/>
                    <a:pt x="3086" y="504"/>
                    <a:pt x="3085" y="498"/>
                  </a:cubicBezTo>
                  <a:cubicBezTo>
                    <a:pt x="3084" y="493"/>
                    <a:pt x="3077" y="488"/>
                    <a:pt x="3071" y="488"/>
                  </a:cubicBezTo>
                  <a:cubicBezTo>
                    <a:pt x="3070" y="488"/>
                    <a:pt x="3070" y="488"/>
                    <a:pt x="3070" y="488"/>
                  </a:cubicBezTo>
                  <a:moveTo>
                    <a:pt x="3107" y="488"/>
                  </a:moveTo>
                  <a:cubicBezTo>
                    <a:pt x="3100" y="488"/>
                    <a:pt x="3096" y="492"/>
                    <a:pt x="3097" y="498"/>
                  </a:cubicBezTo>
                  <a:cubicBezTo>
                    <a:pt x="3098" y="504"/>
                    <a:pt x="3105" y="508"/>
                    <a:pt x="3111" y="508"/>
                  </a:cubicBezTo>
                  <a:cubicBezTo>
                    <a:pt x="3118" y="508"/>
                    <a:pt x="3123" y="504"/>
                    <a:pt x="3122" y="498"/>
                  </a:cubicBezTo>
                  <a:cubicBezTo>
                    <a:pt x="3120" y="492"/>
                    <a:pt x="3114" y="488"/>
                    <a:pt x="3107" y="488"/>
                  </a:cubicBezTo>
                  <a:cubicBezTo>
                    <a:pt x="3107" y="488"/>
                    <a:pt x="3107" y="488"/>
                    <a:pt x="3107" y="488"/>
                  </a:cubicBezTo>
                  <a:moveTo>
                    <a:pt x="3142" y="488"/>
                  </a:moveTo>
                  <a:cubicBezTo>
                    <a:pt x="3135" y="488"/>
                    <a:pt x="3131" y="492"/>
                    <a:pt x="3132" y="498"/>
                  </a:cubicBezTo>
                  <a:cubicBezTo>
                    <a:pt x="3133" y="504"/>
                    <a:pt x="3140" y="508"/>
                    <a:pt x="3147" y="508"/>
                  </a:cubicBezTo>
                  <a:cubicBezTo>
                    <a:pt x="3154" y="508"/>
                    <a:pt x="3158" y="503"/>
                    <a:pt x="3157" y="498"/>
                  </a:cubicBezTo>
                  <a:cubicBezTo>
                    <a:pt x="3156" y="492"/>
                    <a:pt x="3149" y="488"/>
                    <a:pt x="3142" y="488"/>
                  </a:cubicBezTo>
                  <a:cubicBezTo>
                    <a:pt x="3142" y="488"/>
                    <a:pt x="3142" y="488"/>
                    <a:pt x="3142" y="488"/>
                  </a:cubicBezTo>
                  <a:moveTo>
                    <a:pt x="3177" y="487"/>
                  </a:moveTo>
                  <a:cubicBezTo>
                    <a:pt x="3171" y="487"/>
                    <a:pt x="3166" y="492"/>
                    <a:pt x="3168" y="498"/>
                  </a:cubicBezTo>
                  <a:cubicBezTo>
                    <a:pt x="3169" y="503"/>
                    <a:pt x="3176" y="508"/>
                    <a:pt x="3183" y="508"/>
                  </a:cubicBezTo>
                  <a:cubicBezTo>
                    <a:pt x="3189" y="508"/>
                    <a:pt x="3194" y="503"/>
                    <a:pt x="3192" y="497"/>
                  </a:cubicBezTo>
                  <a:cubicBezTo>
                    <a:pt x="3191" y="492"/>
                    <a:pt x="3184" y="487"/>
                    <a:pt x="3178" y="487"/>
                  </a:cubicBezTo>
                  <a:cubicBezTo>
                    <a:pt x="3178" y="487"/>
                    <a:pt x="3178" y="487"/>
                    <a:pt x="3177" y="487"/>
                  </a:cubicBezTo>
                  <a:moveTo>
                    <a:pt x="3213" y="487"/>
                  </a:moveTo>
                  <a:cubicBezTo>
                    <a:pt x="3206" y="487"/>
                    <a:pt x="3202" y="492"/>
                    <a:pt x="3203" y="497"/>
                  </a:cubicBezTo>
                  <a:cubicBezTo>
                    <a:pt x="3205" y="503"/>
                    <a:pt x="3212" y="508"/>
                    <a:pt x="3219" y="508"/>
                  </a:cubicBezTo>
                  <a:cubicBezTo>
                    <a:pt x="3225" y="508"/>
                    <a:pt x="3230" y="503"/>
                    <a:pt x="3228" y="497"/>
                  </a:cubicBezTo>
                  <a:cubicBezTo>
                    <a:pt x="3227" y="492"/>
                    <a:pt x="3220" y="487"/>
                    <a:pt x="3213" y="487"/>
                  </a:cubicBezTo>
                  <a:cubicBezTo>
                    <a:pt x="3213" y="487"/>
                    <a:pt x="3213" y="487"/>
                    <a:pt x="3213" y="487"/>
                  </a:cubicBezTo>
                  <a:moveTo>
                    <a:pt x="3248" y="487"/>
                  </a:moveTo>
                  <a:cubicBezTo>
                    <a:pt x="3242" y="487"/>
                    <a:pt x="3237" y="492"/>
                    <a:pt x="3239" y="497"/>
                  </a:cubicBezTo>
                  <a:cubicBezTo>
                    <a:pt x="3240" y="503"/>
                    <a:pt x="3247" y="507"/>
                    <a:pt x="3254" y="507"/>
                  </a:cubicBezTo>
                  <a:cubicBezTo>
                    <a:pt x="3261" y="507"/>
                    <a:pt x="3265" y="503"/>
                    <a:pt x="3264" y="497"/>
                  </a:cubicBezTo>
                  <a:cubicBezTo>
                    <a:pt x="3262" y="491"/>
                    <a:pt x="3255" y="487"/>
                    <a:pt x="3248" y="487"/>
                  </a:cubicBezTo>
                  <a:cubicBezTo>
                    <a:pt x="3248" y="487"/>
                    <a:pt x="3248" y="487"/>
                    <a:pt x="3248" y="487"/>
                  </a:cubicBezTo>
                  <a:moveTo>
                    <a:pt x="3284" y="487"/>
                  </a:moveTo>
                  <a:cubicBezTo>
                    <a:pt x="3277" y="487"/>
                    <a:pt x="3273" y="491"/>
                    <a:pt x="3274" y="497"/>
                  </a:cubicBezTo>
                  <a:cubicBezTo>
                    <a:pt x="3276" y="503"/>
                    <a:pt x="3283" y="507"/>
                    <a:pt x="3290" y="507"/>
                  </a:cubicBezTo>
                  <a:cubicBezTo>
                    <a:pt x="3296" y="507"/>
                    <a:pt x="3301" y="502"/>
                    <a:pt x="3299" y="497"/>
                  </a:cubicBezTo>
                  <a:cubicBezTo>
                    <a:pt x="3297" y="491"/>
                    <a:pt x="3291" y="487"/>
                    <a:pt x="3284" y="487"/>
                  </a:cubicBezTo>
                  <a:cubicBezTo>
                    <a:pt x="3284" y="487"/>
                    <a:pt x="3284" y="487"/>
                    <a:pt x="3284" y="487"/>
                  </a:cubicBezTo>
                  <a:moveTo>
                    <a:pt x="3319" y="486"/>
                  </a:moveTo>
                  <a:cubicBezTo>
                    <a:pt x="3312" y="486"/>
                    <a:pt x="3308" y="491"/>
                    <a:pt x="3310" y="497"/>
                  </a:cubicBezTo>
                  <a:cubicBezTo>
                    <a:pt x="3311" y="502"/>
                    <a:pt x="3318" y="507"/>
                    <a:pt x="3325" y="507"/>
                  </a:cubicBezTo>
                  <a:cubicBezTo>
                    <a:pt x="3332" y="507"/>
                    <a:pt x="3336" y="502"/>
                    <a:pt x="3334" y="497"/>
                  </a:cubicBezTo>
                  <a:cubicBezTo>
                    <a:pt x="3333" y="491"/>
                    <a:pt x="3326" y="486"/>
                    <a:pt x="3319" y="486"/>
                  </a:cubicBezTo>
                  <a:cubicBezTo>
                    <a:pt x="3319" y="486"/>
                    <a:pt x="3319" y="486"/>
                    <a:pt x="3319" y="486"/>
                  </a:cubicBezTo>
                  <a:moveTo>
                    <a:pt x="3354" y="486"/>
                  </a:moveTo>
                  <a:cubicBezTo>
                    <a:pt x="3347" y="486"/>
                    <a:pt x="3343" y="491"/>
                    <a:pt x="3345" y="496"/>
                  </a:cubicBezTo>
                  <a:cubicBezTo>
                    <a:pt x="3347" y="502"/>
                    <a:pt x="3354" y="507"/>
                    <a:pt x="3361" y="507"/>
                  </a:cubicBezTo>
                  <a:cubicBezTo>
                    <a:pt x="3368" y="507"/>
                    <a:pt x="3372" y="502"/>
                    <a:pt x="3370" y="496"/>
                  </a:cubicBezTo>
                  <a:cubicBezTo>
                    <a:pt x="3368" y="491"/>
                    <a:pt x="3361" y="486"/>
                    <a:pt x="3354" y="486"/>
                  </a:cubicBezTo>
                  <a:cubicBezTo>
                    <a:pt x="3354" y="486"/>
                    <a:pt x="3354" y="486"/>
                    <a:pt x="3354" y="486"/>
                  </a:cubicBezTo>
                  <a:moveTo>
                    <a:pt x="3390" y="486"/>
                  </a:moveTo>
                  <a:cubicBezTo>
                    <a:pt x="3383" y="486"/>
                    <a:pt x="3379" y="491"/>
                    <a:pt x="3381" y="496"/>
                  </a:cubicBezTo>
                  <a:cubicBezTo>
                    <a:pt x="3383" y="502"/>
                    <a:pt x="3390" y="506"/>
                    <a:pt x="3397" y="506"/>
                  </a:cubicBezTo>
                  <a:cubicBezTo>
                    <a:pt x="3404" y="506"/>
                    <a:pt x="3408" y="502"/>
                    <a:pt x="3406" y="496"/>
                  </a:cubicBezTo>
                  <a:cubicBezTo>
                    <a:pt x="3404" y="490"/>
                    <a:pt x="3397" y="486"/>
                    <a:pt x="3390" y="486"/>
                  </a:cubicBezTo>
                  <a:cubicBezTo>
                    <a:pt x="3390" y="486"/>
                    <a:pt x="3390" y="486"/>
                    <a:pt x="3390" y="486"/>
                  </a:cubicBezTo>
                  <a:moveTo>
                    <a:pt x="3425" y="486"/>
                  </a:moveTo>
                  <a:cubicBezTo>
                    <a:pt x="3418" y="486"/>
                    <a:pt x="3414" y="490"/>
                    <a:pt x="3416" y="496"/>
                  </a:cubicBezTo>
                  <a:cubicBezTo>
                    <a:pt x="3418" y="502"/>
                    <a:pt x="3425" y="506"/>
                    <a:pt x="3432" y="506"/>
                  </a:cubicBezTo>
                  <a:cubicBezTo>
                    <a:pt x="3439" y="506"/>
                    <a:pt x="3443" y="502"/>
                    <a:pt x="3441" y="496"/>
                  </a:cubicBezTo>
                  <a:cubicBezTo>
                    <a:pt x="3439" y="490"/>
                    <a:pt x="3432" y="486"/>
                    <a:pt x="3425" y="486"/>
                  </a:cubicBezTo>
                  <a:cubicBezTo>
                    <a:pt x="3425" y="486"/>
                    <a:pt x="3425" y="486"/>
                    <a:pt x="3425" y="486"/>
                  </a:cubicBezTo>
                  <a:moveTo>
                    <a:pt x="3461" y="485"/>
                  </a:moveTo>
                  <a:cubicBezTo>
                    <a:pt x="3454" y="485"/>
                    <a:pt x="3450" y="490"/>
                    <a:pt x="3452" y="496"/>
                  </a:cubicBezTo>
                  <a:cubicBezTo>
                    <a:pt x="3454" y="501"/>
                    <a:pt x="3461" y="506"/>
                    <a:pt x="3468" y="506"/>
                  </a:cubicBezTo>
                  <a:cubicBezTo>
                    <a:pt x="3475" y="506"/>
                    <a:pt x="3478" y="501"/>
                    <a:pt x="3476" y="496"/>
                  </a:cubicBezTo>
                  <a:cubicBezTo>
                    <a:pt x="3474" y="490"/>
                    <a:pt x="3467" y="485"/>
                    <a:pt x="3461" y="485"/>
                  </a:cubicBezTo>
                  <a:cubicBezTo>
                    <a:pt x="3461" y="485"/>
                    <a:pt x="3461" y="485"/>
                    <a:pt x="3461" y="485"/>
                  </a:cubicBezTo>
                  <a:moveTo>
                    <a:pt x="3496" y="485"/>
                  </a:moveTo>
                  <a:cubicBezTo>
                    <a:pt x="3489" y="485"/>
                    <a:pt x="3485" y="490"/>
                    <a:pt x="3487" y="496"/>
                  </a:cubicBezTo>
                  <a:cubicBezTo>
                    <a:pt x="3489" y="501"/>
                    <a:pt x="3496" y="506"/>
                    <a:pt x="3503" y="506"/>
                  </a:cubicBezTo>
                  <a:cubicBezTo>
                    <a:pt x="3510" y="506"/>
                    <a:pt x="3514" y="501"/>
                    <a:pt x="3512" y="495"/>
                  </a:cubicBezTo>
                  <a:cubicBezTo>
                    <a:pt x="3510" y="490"/>
                    <a:pt x="3503" y="485"/>
                    <a:pt x="3496" y="485"/>
                  </a:cubicBezTo>
                  <a:cubicBezTo>
                    <a:pt x="3496" y="485"/>
                    <a:pt x="3496" y="485"/>
                    <a:pt x="3496" y="485"/>
                  </a:cubicBezTo>
                  <a:moveTo>
                    <a:pt x="3531" y="485"/>
                  </a:moveTo>
                  <a:cubicBezTo>
                    <a:pt x="3524" y="485"/>
                    <a:pt x="3520" y="490"/>
                    <a:pt x="3522" y="495"/>
                  </a:cubicBezTo>
                  <a:cubicBezTo>
                    <a:pt x="3525" y="501"/>
                    <a:pt x="3532" y="506"/>
                    <a:pt x="3539" y="505"/>
                  </a:cubicBezTo>
                  <a:cubicBezTo>
                    <a:pt x="3546" y="505"/>
                    <a:pt x="3549" y="501"/>
                    <a:pt x="3547" y="495"/>
                  </a:cubicBezTo>
                  <a:cubicBezTo>
                    <a:pt x="3545" y="490"/>
                    <a:pt x="3538" y="485"/>
                    <a:pt x="3531" y="485"/>
                  </a:cubicBezTo>
                  <a:cubicBezTo>
                    <a:pt x="3531" y="485"/>
                    <a:pt x="3531" y="485"/>
                    <a:pt x="3531" y="485"/>
                  </a:cubicBezTo>
                  <a:moveTo>
                    <a:pt x="3567" y="485"/>
                  </a:moveTo>
                  <a:cubicBezTo>
                    <a:pt x="3560" y="485"/>
                    <a:pt x="3556" y="489"/>
                    <a:pt x="3558" y="495"/>
                  </a:cubicBezTo>
                  <a:cubicBezTo>
                    <a:pt x="3560" y="501"/>
                    <a:pt x="3568" y="505"/>
                    <a:pt x="3575" y="505"/>
                  </a:cubicBezTo>
                  <a:cubicBezTo>
                    <a:pt x="3582" y="505"/>
                    <a:pt x="3585" y="501"/>
                    <a:pt x="3583" y="495"/>
                  </a:cubicBezTo>
                  <a:cubicBezTo>
                    <a:pt x="3581" y="489"/>
                    <a:pt x="3574" y="485"/>
                    <a:pt x="3567" y="485"/>
                  </a:cubicBezTo>
                  <a:cubicBezTo>
                    <a:pt x="3567" y="485"/>
                    <a:pt x="3567" y="485"/>
                    <a:pt x="3567" y="485"/>
                  </a:cubicBezTo>
                  <a:moveTo>
                    <a:pt x="3602" y="484"/>
                  </a:moveTo>
                  <a:cubicBezTo>
                    <a:pt x="3595" y="484"/>
                    <a:pt x="3591" y="489"/>
                    <a:pt x="3594" y="495"/>
                  </a:cubicBezTo>
                  <a:cubicBezTo>
                    <a:pt x="3596" y="500"/>
                    <a:pt x="3603" y="505"/>
                    <a:pt x="3610" y="505"/>
                  </a:cubicBezTo>
                  <a:cubicBezTo>
                    <a:pt x="3617" y="505"/>
                    <a:pt x="3621" y="500"/>
                    <a:pt x="3619" y="495"/>
                  </a:cubicBezTo>
                  <a:cubicBezTo>
                    <a:pt x="3616" y="489"/>
                    <a:pt x="3609" y="484"/>
                    <a:pt x="3602" y="484"/>
                  </a:cubicBezTo>
                  <a:cubicBezTo>
                    <a:pt x="3602" y="484"/>
                    <a:pt x="3602" y="484"/>
                    <a:pt x="3602" y="484"/>
                  </a:cubicBezTo>
                  <a:moveTo>
                    <a:pt x="3637" y="484"/>
                  </a:moveTo>
                  <a:cubicBezTo>
                    <a:pt x="3630" y="484"/>
                    <a:pt x="3627" y="489"/>
                    <a:pt x="3629" y="494"/>
                  </a:cubicBezTo>
                  <a:cubicBezTo>
                    <a:pt x="3631" y="500"/>
                    <a:pt x="3639" y="505"/>
                    <a:pt x="3646" y="505"/>
                  </a:cubicBezTo>
                  <a:cubicBezTo>
                    <a:pt x="3652" y="505"/>
                    <a:pt x="3656" y="500"/>
                    <a:pt x="3654" y="494"/>
                  </a:cubicBezTo>
                  <a:cubicBezTo>
                    <a:pt x="3651" y="489"/>
                    <a:pt x="3644" y="484"/>
                    <a:pt x="3637" y="484"/>
                  </a:cubicBezTo>
                  <a:cubicBezTo>
                    <a:pt x="3637" y="484"/>
                    <a:pt x="3637" y="484"/>
                    <a:pt x="3637" y="484"/>
                  </a:cubicBezTo>
                  <a:moveTo>
                    <a:pt x="3673" y="484"/>
                  </a:moveTo>
                  <a:cubicBezTo>
                    <a:pt x="3666" y="484"/>
                    <a:pt x="3662" y="489"/>
                    <a:pt x="3664" y="494"/>
                  </a:cubicBezTo>
                  <a:cubicBezTo>
                    <a:pt x="3667" y="500"/>
                    <a:pt x="3674" y="504"/>
                    <a:pt x="3681" y="504"/>
                  </a:cubicBezTo>
                  <a:cubicBezTo>
                    <a:pt x="3688" y="504"/>
                    <a:pt x="3692" y="500"/>
                    <a:pt x="3689" y="494"/>
                  </a:cubicBezTo>
                  <a:cubicBezTo>
                    <a:pt x="3687" y="488"/>
                    <a:pt x="3679" y="484"/>
                    <a:pt x="3673" y="484"/>
                  </a:cubicBezTo>
                  <a:cubicBezTo>
                    <a:pt x="3673" y="484"/>
                    <a:pt x="3673" y="484"/>
                    <a:pt x="3673" y="484"/>
                  </a:cubicBezTo>
                  <a:moveTo>
                    <a:pt x="3710" y="484"/>
                  </a:moveTo>
                  <a:cubicBezTo>
                    <a:pt x="3703" y="484"/>
                    <a:pt x="3700" y="488"/>
                    <a:pt x="3702" y="494"/>
                  </a:cubicBezTo>
                  <a:cubicBezTo>
                    <a:pt x="3705" y="500"/>
                    <a:pt x="3712" y="504"/>
                    <a:pt x="3719" y="504"/>
                  </a:cubicBezTo>
                  <a:cubicBezTo>
                    <a:pt x="3726" y="504"/>
                    <a:pt x="3729" y="500"/>
                    <a:pt x="3727" y="494"/>
                  </a:cubicBezTo>
                  <a:cubicBezTo>
                    <a:pt x="3724" y="488"/>
                    <a:pt x="3717" y="484"/>
                    <a:pt x="3710" y="484"/>
                  </a:cubicBezTo>
                  <a:cubicBezTo>
                    <a:pt x="3710" y="484"/>
                    <a:pt x="3710" y="484"/>
                    <a:pt x="3710" y="484"/>
                  </a:cubicBezTo>
                  <a:moveTo>
                    <a:pt x="3745" y="483"/>
                  </a:moveTo>
                  <a:cubicBezTo>
                    <a:pt x="3738" y="483"/>
                    <a:pt x="3735" y="488"/>
                    <a:pt x="3737" y="494"/>
                  </a:cubicBezTo>
                  <a:cubicBezTo>
                    <a:pt x="3740" y="499"/>
                    <a:pt x="3747" y="504"/>
                    <a:pt x="3754" y="504"/>
                  </a:cubicBezTo>
                  <a:cubicBezTo>
                    <a:pt x="3761" y="504"/>
                    <a:pt x="3765" y="499"/>
                    <a:pt x="3762" y="494"/>
                  </a:cubicBezTo>
                  <a:cubicBezTo>
                    <a:pt x="3759" y="488"/>
                    <a:pt x="3752" y="483"/>
                    <a:pt x="3745" y="483"/>
                  </a:cubicBezTo>
                  <a:cubicBezTo>
                    <a:pt x="3745" y="483"/>
                    <a:pt x="3745" y="483"/>
                    <a:pt x="3745" y="483"/>
                  </a:cubicBezTo>
                  <a:moveTo>
                    <a:pt x="3780" y="483"/>
                  </a:moveTo>
                  <a:cubicBezTo>
                    <a:pt x="3773" y="483"/>
                    <a:pt x="3770" y="488"/>
                    <a:pt x="3772" y="494"/>
                  </a:cubicBezTo>
                  <a:cubicBezTo>
                    <a:pt x="3775" y="499"/>
                    <a:pt x="3783" y="504"/>
                    <a:pt x="3789" y="504"/>
                  </a:cubicBezTo>
                  <a:cubicBezTo>
                    <a:pt x="3796" y="504"/>
                    <a:pt x="3800" y="499"/>
                    <a:pt x="3797" y="493"/>
                  </a:cubicBezTo>
                  <a:cubicBezTo>
                    <a:pt x="3795" y="488"/>
                    <a:pt x="3787" y="483"/>
                    <a:pt x="3780" y="483"/>
                  </a:cubicBezTo>
                  <a:cubicBezTo>
                    <a:pt x="3780" y="483"/>
                    <a:pt x="3780" y="483"/>
                    <a:pt x="3780" y="483"/>
                  </a:cubicBezTo>
                  <a:moveTo>
                    <a:pt x="3815" y="483"/>
                  </a:moveTo>
                  <a:cubicBezTo>
                    <a:pt x="3809" y="483"/>
                    <a:pt x="3805" y="488"/>
                    <a:pt x="3808" y="493"/>
                  </a:cubicBezTo>
                  <a:cubicBezTo>
                    <a:pt x="3811" y="499"/>
                    <a:pt x="3818" y="504"/>
                    <a:pt x="3825" y="503"/>
                  </a:cubicBezTo>
                  <a:cubicBezTo>
                    <a:pt x="3832" y="503"/>
                    <a:pt x="3835" y="499"/>
                    <a:pt x="3833" y="493"/>
                  </a:cubicBezTo>
                  <a:cubicBezTo>
                    <a:pt x="3830" y="487"/>
                    <a:pt x="3822" y="483"/>
                    <a:pt x="3815" y="483"/>
                  </a:cubicBezTo>
                  <a:cubicBezTo>
                    <a:pt x="3815" y="483"/>
                    <a:pt x="3815" y="483"/>
                    <a:pt x="3815" y="483"/>
                  </a:cubicBezTo>
                  <a:moveTo>
                    <a:pt x="3851" y="483"/>
                  </a:moveTo>
                  <a:cubicBezTo>
                    <a:pt x="3844" y="483"/>
                    <a:pt x="3841" y="487"/>
                    <a:pt x="3844" y="493"/>
                  </a:cubicBezTo>
                  <a:cubicBezTo>
                    <a:pt x="3846" y="499"/>
                    <a:pt x="3854" y="503"/>
                    <a:pt x="3861" y="503"/>
                  </a:cubicBezTo>
                  <a:cubicBezTo>
                    <a:pt x="3868" y="503"/>
                    <a:pt x="3871" y="499"/>
                    <a:pt x="3869" y="493"/>
                  </a:cubicBezTo>
                  <a:cubicBezTo>
                    <a:pt x="3866" y="487"/>
                    <a:pt x="3858" y="483"/>
                    <a:pt x="3851" y="483"/>
                  </a:cubicBezTo>
                  <a:cubicBezTo>
                    <a:pt x="3851" y="483"/>
                    <a:pt x="3851" y="483"/>
                    <a:pt x="3851" y="483"/>
                  </a:cubicBezTo>
                  <a:moveTo>
                    <a:pt x="3886" y="482"/>
                  </a:moveTo>
                  <a:cubicBezTo>
                    <a:pt x="3879" y="482"/>
                    <a:pt x="3876" y="487"/>
                    <a:pt x="3879" y="493"/>
                  </a:cubicBezTo>
                  <a:cubicBezTo>
                    <a:pt x="3882" y="499"/>
                    <a:pt x="3890" y="503"/>
                    <a:pt x="3896" y="503"/>
                  </a:cubicBezTo>
                  <a:cubicBezTo>
                    <a:pt x="3903" y="503"/>
                    <a:pt x="3907" y="498"/>
                    <a:pt x="3904" y="493"/>
                  </a:cubicBezTo>
                  <a:cubicBezTo>
                    <a:pt x="3901" y="487"/>
                    <a:pt x="3893" y="482"/>
                    <a:pt x="3886" y="482"/>
                  </a:cubicBezTo>
                  <a:cubicBezTo>
                    <a:pt x="3886" y="482"/>
                    <a:pt x="3886" y="482"/>
                    <a:pt x="3886" y="482"/>
                  </a:cubicBezTo>
                  <a:moveTo>
                    <a:pt x="3921" y="482"/>
                  </a:moveTo>
                  <a:cubicBezTo>
                    <a:pt x="3915" y="482"/>
                    <a:pt x="3911" y="487"/>
                    <a:pt x="3914" y="493"/>
                  </a:cubicBezTo>
                  <a:cubicBezTo>
                    <a:pt x="3917" y="498"/>
                    <a:pt x="3925" y="503"/>
                    <a:pt x="3932" y="503"/>
                  </a:cubicBezTo>
                  <a:cubicBezTo>
                    <a:pt x="3939" y="503"/>
                    <a:pt x="3942" y="498"/>
                    <a:pt x="3939" y="492"/>
                  </a:cubicBezTo>
                  <a:cubicBezTo>
                    <a:pt x="3936" y="487"/>
                    <a:pt x="3928" y="482"/>
                    <a:pt x="3922" y="482"/>
                  </a:cubicBezTo>
                  <a:cubicBezTo>
                    <a:pt x="3922" y="482"/>
                    <a:pt x="3921" y="482"/>
                    <a:pt x="3921" y="482"/>
                  </a:cubicBezTo>
                  <a:moveTo>
                    <a:pt x="3957" y="482"/>
                  </a:moveTo>
                  <a:cubicBezTo>
                    <a:pt x="3950" y="482"/>
                    <a:pt x="3947" y="487"/>
                    <a:pt x="3950" y="492"/>
                  </a:cubicBezTo>
                  <a:cubicBezTo>
                    <a:pt x="3953" y="498"/>
                    <a:pt x="3960" y="503"/>
                    <a:pt x="3967" y="503"/>
                  </a:cubicBezTo>
                  <a:cubicBezTo>
                    <a:pt x="3974" y="503"/>
                    <a:pt x="3977" y="498"/>
                    <a:pt x="3974" y="492"/>
                  </a:cubicBezTo>
                  <a:cubicBezTo>
                    <a:pt x="3971" y="487"/>
                    <a:pt x="3963" y="482"/>
                    <a:pt x="3957" y="482"/>
                  </a:cubicBezTo>
                  <a:cubicBezTo>
                    <a:pt x="3957" y="482"/>
                    <a:pt x="3957" y="482"/>
                    <a:pt x="3957" y="482"/>
                  </a:cubicBezTo>
                  <a:moveTo>
                    <a:pt x="3992" y="482"/>
                  </a:moveTo>
                  <a:cubicBezTo>
                    <a:pt x="3985" y="482"/>
                    <a:pt x="3982" y="486"/>
                    <a:pt x="3985" y="492"/>
                  </a:cubicBezTo>
                  <a:cubicBezTo>
                    <a:pt x="3988" y="498"/>
                    <a:pt x="3996" y="502"/>
                    <a:pt x="4003" y="502"/>
                  </a:cubicBezTo>
                  <a:cubicBezTo>
                    <a:pt x="4010" y="502"/>
                    <a:pt x="4013" y="498"/>
                    <a:pt x="4010" y="492"/>
                  </a:cubicBezTo>
                  <a:cubicBezTo>
                    <a:pt x="4007" y="486"/>
                    <a:pt x="3999" y="482"/>
                    <a:pt x="3992" y="482"/>
                  </a:cubicBezTo>
                  <a:cubicBezTo>
                    <a:pt x="3992" y="482"/>
                    <a:pt x="3992" y="482"/>
                    <a:pt x="3992" y="482"/>
                  </a:cubicBezTo>
                  <a:moveTo>
                    <a:pt x="4026" y="482"/>
                  </a:moveTo>
                  <a:cubicBezTo>
                    <a:pt x="4019" y="482"/>
                    <a:pt x="4016" y="486"/>
                    <a:pt x="4019" y="492"/>
                  </a:cubicBezTo>
                  <a:cubicBezTo>
                    <a:pt x="4023" y="498"/>
                    <a:pt x="4031" y="502"/>
                    <a:pt x="4038" y="502"/>
                  </a:cubicBezTo>
                  <a:cubicBezTo>
                    <a:pt x="4044" y="502"/>
                    <a:pt x="4047" y="497"/>
                    <a:pt x="4044" y="492"/>
                  </a:cubicBezTo>
                  <a:cubicBezTo>
                    <a:pt x="4041" y="486"/>
                    <a:pt x="4033" y="482"/>
                    <a:pt x="4026" y="482"/>
                  </a:cubicBezTo>
                  <a:cubicBezTo>
                    <a:pt x="4026" y="482"/>
                    <a:pt x="4026" y="482"/>
                    <a:pt x="4026" y="482"/>
                  </a:cubicBezTo>
                  <a:moveTo>
                    <a:pt x="4134" y="481"/>
                  </a:moveTo>
                  <a:cubicBezTo>
                    <a:pt x="4128" y="481"/>
                    <a:pt x="4125" y="486"/>
                    <a:pt x="4128" y="491"/>
                  </a:cubicBezTo>
                  <a:cubicBezTo>
                    <a:pt x="4131" y="497"/>
                    <a:pt x="4140" y="501"/>
                    <a:pt x="4147" y="501"/>
                  </a:cubicBezTo>
                  <a:cubicBezTo>
                    <a:pt x="4153" y="501"/>
                    <a:pt x="4156" y="497"/>
                    <a:pt x="4153" y="491"/>
                  </a:cubicBezTo>
                  <a:cubicBezTo>
                    <a:pt x="4149" y="485"/>
                    <a:pt x="4141" y="481"/>
                    <a:pt x="4134" y="481"/>
                  </a:cubicBezTo>
                  <a:cubicBezTo>
                    <a:pt x="4134" y="481"/>
                    <a:pt x="4134" y="481"/>
                    <a:pt x="4134" y="481"/>
                  </a:cubicBezTo>
                  <a:moveTo>
                    <a:pt x="4169" y="481"/>
                  </a:moveTo>
                  <a:cubicBezTo>
                    <a:pt x="4162" y="481"/>
                    <a:pt x="4159" y="485"/>
                    <a:pt x="4162" y="491"/>
                  </a:cubicBezTo>
                  <a:cubicBezTo>
                    <a:pt x="4166" y="497"/>
                    <a:pt x="4174" y="501"/>
                    <a:pt x="4181" y="501"/>
                  </a:cubicBezTo>
                  <a:cubicBezTo>
                    <a:pt x="4188" y="501"/>
                    <a:pt x="4191" y="496"/>
                    <a:pt x="4187" y="491"/>
                  </a:cubicBezTo>
                  <a:cubicBezTo>
                    <a:pt x="4184" y="485"/>
                    <a:pt x="4176" y="481"/>
                    <a:pt x="4169" y="481"/>
                  </a:cubicBezTo>
                  <a:cubicBezTo>
                    <a:pt x="4169" y="481"/>
                    <a:pt x="4169" y="481"/>
                    <a:pt x="4169" y="481"/>
                  </a:cubicBezTo>
                  <a:moveTo>
                    <a:pt x="258" y="477"/>
                  </a:moveTo>
                  <a:cubicBezTo>
                    <a:pt x="252" y="477"/>
                    <a:pt x="242" y="481"/>
                    <a:pt x="238" y="487"/>
                  </a:cubicBezTo>
                  <a:cubicBezTo>
                    <a:pt x="233" y="493"/>
                    <a:pt x="235" y="497"/>
                    <a:pt x="242" y="497"/>
                  </a:cubicBezTo>
                  <a:cubicBezTo>
                    <a:pt x="249" y="497"/>
                    <a:pt x="258" y="492"/>
                    <a:pt x="263" y="487"/>
                  </a:cubicBezTo>
                  <a:cubicBezTo>
                    <a:pt x="267" y="481"/>
                    <a:pt x="265" y="477"/>
                    <a:pt x="258" y="477"/>
                  </a:cubicBezTo>
                  <a:cubicBezTo>
                    <a:pt x="258" y="477"/>
                    <a:pt x="258" y="477"/>
                    <a:pt x="258" y="477"/>
                  </a:cubicBezTo>
                  <a:moveTo>
                    <a:pt x="294" y="477"/>
                  </a:moveTo>
                  <a:cubicBezTo>
                    <a:pt x="287" y="477"/>
                    <a:pt x="278" y="481"/>
                    <a:pt x="273" y="487"/>
                  </a:cubicBezTo>
                  <a:cubicBezTo>
                    <a:pt x="269" y="492"/>
                    <a:pt x="270" y="497"/>
                    <a:pt x="277" y="497"/>
                  </a:cubicBezTo>
                  <a:cubicBezTo>
                    <a:pt x="284" y="497"/>
                    <a:pt x="293" y="492"/>
                    <a:pt x="298" y="487"/>
                  </a:cubicBezTo>
                  <a:cubicBezTo>
                    <a:pt x="302" y="481"/>
                    <a:pt x="300" y="477"/>
                    <a:pt x="294" y="477"/>
                  </a:cubicBezTo>
                  <a:cubicBezTo>
                    <a:pt x="294" y="477"/>
                    <a:pt x="294" y="477"/>
                    <a:pt x="294" y="477"/>
                  </a:cubicBezTo>
                  <a:moveTo>
                    <a:pt x="328" y="476"/>
                  </a:moveTo>
                  <a:cubicBezTo>
                    <a:pt x="322" y="476"/>
                    <a:pt x="313" y="481"/>
                    <a:pt x="308" y="486"/>
                  </a:cubicBezTo>
                  <a:cubicBezTo>
                    <a:pt x="304" y="492"/>
                    <a:pt x="306" y="497"/>
                    <a:pt x="312" y="497"/>
                  </a:cubicBezTo>
                  <a:cubicBezTo>
                    <a:pt x="319" y="496"/>
                    <a:pt x="328" y="492"/>
                    <a:pt x="333" y="486"/>
                  </a:cubicBezTo>
                  <a:cubicBezTo>
                    <a:pt x="337" y="481"/>
                    <a:pt x="335" y="476"/>
                    <a:pt x="329" y="476"/>
                  </a:cubicBezTo>
                  <a:cubicBezTo>
                    <a:pt x="329" y="476"/>
                    <a:pt x="329" y="476"/>
                    <a:pt x="328" y="476"/>
                  </a:cubicBezTo>
                  <a:moveTo>
                    <a:pt x="364" y="476"/>
                  </a:moveTo>
                  <a:cubicBezTo>
                    <a:pt x="357" y="476"/>
                    <a:pt x="348" y="481"/>
                    <a:pt x="343" y="486"/>
                  </a:cubicBezTo>
                  <a:cubicBezTo>
                    <a:pt x="339" y="492"/>
                    <a:pt x="341" y="496"/>
                    <a:pt x="348" y="496"/>
                  </a:cubicBezTo>
                  <a:cubicBezTo>
                    <a:pt x="355" y="496"/>
                    <a:pt x="364" y="492"/>
                    <a:pt x="368" y="486"/>
                  </a:cubicBezTo>
                  <a:cubicBezTo>
                    <a:pt x="372" y="481"/>
                    <a:pt x="371" y="476"/>
                    <a:pt x="364" y="476"/>
                  </a:cubicBezTo>
                  <a:cubicBezTo>
                    <a:pt x="364" y="476"/>
                    <a:pt x="364" y="476"/>
                    <a:pt x="364" y="476"/>
                  </a:cubicBezTo>
                  <a:moveTo>
                    <a:pt x="399" y="476"/>
                  </a:moveTo>
                  <a:cubicBezTo>
                    <a:pt x="392" y="476"/>
                    <a:pt x="383" y="480"/>
                    <a:pt x="379" y="486"/>
                  </a:cubicBezTo>
                  <a:cubicBezTo>
                    <a:pt x="374" y="492"/>
                    <a:pt x="376" y="496"/>
                    <a:pt x="383" y="496"/>
                  </a:cubicBezTo>
                  <a:cubicBezTo>
                    <a:pt x="390" y="496"/>
                    <a:pt x="399" y="491"/>
                    <a:pt x="403" y="486"/>
                  </a:cubicBezTo>
                  <a:cubicBezTo>
                    <a:pt x="408" y="480"/>
                    <a:pt x="406" y="476"/>
                    <a:pt x="399" y="476"/>
                  </a:cubicBezTo>
                  <a:cubicBezTo>
                    <a:pt x="399" y="476"/>
                    <a:pt x="399" y="476"/>
                    <a:pt x="399" y="476"/>
                  </a:cubicBezTo>
                  <a:moveTo>
                    <a:pt x="434" y="476"/>
                  </a:moveTo>
                  <a:cubicBezTo>
                    <a:pt x="427" y="476"/>
                    <a:pt x="418" y="480"/>
                    <a:pt x="414" y="486"/>
                  </a:cubicBezTo>
                  <a:cubicBezTo>
                    <a:pt x="410" y="491"/>
                    <a:pt x="412" y="496"/>
                    <a:pt x="419" y="496"/>
                  </a:cubicBezTo>
                  <a:cubicBezTo>
                    <a:pt x="426" y="496"/>
                    <a:pt x="435" y="491"/>
                    <a:pt x="439" y="486"/>
                  </a:cubicBezTo>
                  <a:cubicBezTo>
                    <a:pt x="443" y="480"/>
                    <a:pt x="441" y="476"/>
                    <a:pt x="434" y="476"/>
                  </a:cubicBezTo>
                  <a:cubicBezTo>
                    <a:pt x="434" y="476"/>
                    <a:pt x="434" y="476"/>
                    <a:pt x="434" y="476"/>
                  </a:cubicBezTo>
                  <a:moveTo>
                    <a:pt x="470" y="475"/>
                  </a:moveTo>
                  <a:cubicBezTo>
                    <a:pt x="463" y="475"/>
                    <a:pt x="455" y="480"/>
                    <a:pt x="450" y="486"/>
                  </a:cubicBezTo>
                  <a:cubicBezTo>
                    <a:pt x="446" y="491"/>
                    <a:pt x="448" y="496"/>
                    <a:pt x="455" y="496"/>
                  </a:cubicBezTo>
                  <a:cubicBezTo>
                    <a:pt x="462" y="496"/>
                    <a:pt x="471" y="491"/>
                    <a:pt x="475" y="485"/>
                  </a:cubicBezTo>
                  <a:cubicBezTo>
                    <a:pt x="479" y="480"/>
                    <a:pt x="477" y="475"/>
                    <a:pt x="470" y="475"/>
                  </a:cubicBezTo>
                  <a:cubicBezTo>
                    <a:pt x="470" y="475"/>
                    <a:pt x="470" y="475"/>
                    <a:pt x="470" y="475"/>
                  </a:cubicBezTo>
                  <a:moveTo>
                    <a:pt x="505" y="475"/>
                  </a:moveTo>
                  <a:cubicBezTo>
                    <a:pt x="498" y="475"/>
                    <a:pt x="490" y="480"/>
                    <a:pt x="486" y="485"/>
                  </a:cubicBezTo>
                  <a:cubicBezTo>
                    <a:pt x="482" y="491"/>
                    <a:pt x="484" y="495"/>
                    <a:pt x="491" y="495"/>
                  </a:cubicBezTo>
                  <a:cubicBezTo>
                    <a:pt x="497" y="495"/>
                    <a:pt x="506" y="491"/>
                    <a:pt x="510" y="485"/>
                  </a:cubicBezTo>
                  <a:cubicBezTo>
                    <a:pt x="514" y="480"/>
                    <a:pt x="512" y="475"/>
                    <a:pt x="505" y="475"/>
                  </a:cubicBezTo>
                  <a:cubicBezTo>
                    <a:pt x="505" y="475"/>
                    <a:pt x="505" y="475"/>
                    <a:pt x="505" y="475"/>
                  </a:cubicBezTo>
                  <a:moveTo>
                    <a:pt x="541" y="475"/>
                  </a:moveTo>
                  <a:cubicBezTo>
                    <a:pt x="534" y="475"/>
                    <a:pt x="525" y="479"/>
                    <a:pt x="521" y="485"/>
                  </a:cubicBezTo>
                  <a:cubicBezTo>
                    <a:pt x="517" y="491"/>
                    <a:pt x="519" y="495"/>
                    <a:pt x="526" y="495"/>
                  </a:cubicBezTo>
                  <a:cubicBezTo>
                    <a:pt x="533" y="495"/>
                    <a:pt x="542" y="490"/>
                    <a:pt x="546" y="485"/>
                  </a:cubicBezTo>
                  <a:cubicBezTo>
                    <a:pt x="550" y="479"/>
                    <a:pt x="547" y="475"/>
                    <a:pt x="541" y="475"/>
                  </a:cubicBezTo>
                  <a:cubicBezTo>
                    <a:pt x="541" y="475"/>
                    <a:pt x="541" y="475"/>
                    <a:pt x="541" y="475"/>
                  </a:cubicBezTo>
                  <a:moveTo>
                    <a:pt x="576" y="475"/>
                  </a:moveTo>
                  <a:cubicBezTo>
                    <a:pt x="569" y="475"/>
                    <a:pt x="561" y="479"/>
                    <a:pt x="557" y="485"/>
                  </a:cubicBezTo>
                  <a:cubicBezTo>
                    <a:pt x="553" y="490"/>
                    <a:pt x="555" y="495"/>
                    <a:pt x="562" y="495"/>
                  </a:cubicBezTo>
                  <a:cubicBezTo>
                    <a:pt x="569" y="495"/>
                    <a:pt x="578" y="490"/>
                    <a:pt x="581" y="485"/>
                  </a:cubicBezTo>
                  <a:cubicBezTo>
                    <a:pt x="585" y="479"/>
                    <a:pt x="583" y="475"/>
                    <a:pt x="576" y="475"/>
                  </a:cubicBezTo>
                  <a:cubicBezTo>
                    <a:pt x="576" y="475"/>
                    <a:pt x="576" y="475"/>
                    <a:pt x="576" y="475"/>
                  </a:cubicBezTo>
                  <a:moveTo>
                    <a:pt x="611" y="474"/>
                  </a:moveTo>
                  <a:cubicBezTo>
                    <a:pt x="604" y="474"/>
                    <a:pt x="596" y="479"/>
                    <a:pt x="592" y="485"/>
                  </a:cubicBezTo>
                  <a:cubicBezTo>
                    <a:pt x="588" y="490"/>
                    <a:pt x="590" y="495"/>
                    <a:pt x="597" y="495"/>
                  </a:cubicBezTo>
                  <a:cubicBezTo>
                    <a:pt x="604" y="495"/>
                    <a:pt x="613" y="490"/>
                    <a:pt x="617" y="484"/>
                  </a:cubicBezTo>
                  <a:cubicBezTo>
                    <a:pt x="620" y="479"/>
                    <a:pt x="618" y="474"/>
                    <a:pt x="611" y="474"/>
                  </a:cubicBezTo>
                  <a:cubicBezTo>
                    <a:pt x="611" y="474"/>
                    <a:pt x="611" y="474"/>
                    <a:pt x="611" y="474"/>
                  </a:cubicBezTo>
                  <a:moveTo>
                    <a:pt x="646" y="474"/>
                  </a:moveTo>
                  <a:cubicBezTo>
                    <a:pt x="640" y="474"/>
                    <a:pt x="631" y="479"/>
                    <a:pt x="627" y="484"/>
                  </a:cubicBezTo>
                  <a:cubicBezTo>
                    <a:pt x="623" y="490"/>
                    <a:pt x="626" y="494"/>
                    <a:pt x="633" y="494"/>
                  </a:cubicBezTo>
                  <a:cubicBezTo>
                    <a:pt x="640" y="494"/>
                    <a:pt x="648" y="490"/>
                    <a:pt x="652" y="484"/>
                  </a:cubicBezTo>
                  <a:cubicBezTo>
                    <a:pt x="656" y="479"/>
                    <a:pt x="653" y="474"/>
                    <a:pt x="646" y="474"/>
                  </a:cubicBezTo>
                  <a:cubicBezTo>
                    <a:pt x="646" y="474"/>
                    <a:pt x="646" y="474"/>
                    <a:pt x="646" y="474"/>
                  </a:cubicBezTo>
                  <a:moveTo>
                    <a:pt x="681" y="474"/>
                  </a:moveTo>
                  <a:cubicBezTo>
                    <a:pt x="674" y="474"/>
                    <a:pt x="666" y="479"/>
                    <a:pt x="662" y="484"/>
                  </a:cubicBezTo>
                  <a:cubicBezTo>
                    <a:pt x="659" y="490"/>
                    <a:pt x="661" y="494"/>
                    <a:pt x="668" y="494"/>
                  </a:cubicBezTo>
                  <a:cubicBezTo>
                    <a:pt x="675" y="494"/>
                    <a:pt x="683" y="490"/>
                    <a:pt x="687" y="484"/>
                  </a:cubicBezTo>
                  <a:cubicBezTo>
                    <a:pt x="691" y="478"/>
                    <a:pt x="688" y="474"/>
                    <a:pt x="681" y="474"/>
                  </a:cubicBezTo>
                  <a:cubicBezTo>
                    <a:pt x="681" y="474"/>
                    <a:pt x="681" y="474"/>
                    <a:pt x="681" y="474"/>
                  </a:cubicBezTo>
                  <a:moveTo>
                    <a:pt x="717" y="474"/>
                  </a:moveTo>
                  <a:cubicBezTo>
                    <a:pt x="710" y="474"/>
                    <a:pt x="701" y="478"/>
                    <a:pt x="698" y="484"/>
                  </a:cubicBezTo>
                  <a:cubicBezTo>
                    <a:pt x="694" y="489"/>
                    <a:pt x="697" y="494"/>
                    <a:pt x="703" y="494"/>
                  </a:cubicBezTo>
                  <a:cubicBezTo>
                    <a:pt x="710" y="494"/>
                    <a:pt x="719" y="489"/>
                    <a:pt x="722" y="484"/>
                  </a:cubicBezTo>
                  <a:cubicBezTo>
                    <a:pt x="726" y="478"/>
                    <a:pt x="723" y="474"/>
                    <a:pt x="717" y="474"/>
                  </a:cubicBezTo>
                  <a:cubicBezTo>
                    <a:pt x="717" y="474"/>
                    <a:pt x="717" y="474"/>
                    <a:pt x="717" y="474"/>
                  </a:cubicBezTo>
                  <a:moveTo>
                    <a:pt x="752" y="473"/>
                  </a:moveTo>
                  <a:cubicBezTo>
                    <a:pt x="745" y="473"/>
                    <a:pt x="737" y="478"/>
                    <a:pt x="733" y="484"/>
                  </a:cubicBezTo>
                  <a:cubicBezTo>
                    <a:pt x="730" y="489"/>
                    <a:pt x="732" y="494"/>
                    <a:pt x="739" y="494"/>
                  </a:cubicBezTo>
                  <a:cubicBezTo>
                    <a:pt x="746" y="494"/>
                    <a:pt x="755" y="489"/>
                    <a:pt x="758" y="483"/>
                  </a:cubicBezTo>
                  <a:cubicBezTo>
                    <a:pt x="762" y="478"/>
                    <a:pt x="759" y="473"/>
                    <a:pt x="752" y="473"/>
                  </a:cubicBezTo>
                  <a:cubicBezTo>
                    <a:pt x="752" y="473"/>
                    <a:pt x="752" y="473"/>
                    <a:pt x="752" y="473"/>
                  </a:cubicBezTo>
                  <a:moveTo>
                    <a:pt x="787" y="473"/>
                  </a:moveTo>
                  <a:cubicBezTo>
                    <a:pt x="780" y="473"/>
                    <a:pt x="772" y="478"/>
                    <a:pt x="768" y="483"/>
                  </a:cubicBezTo>
                  <a:cubicBezTo>
                    <a:pt x="765" y="489"/>
                    <a:pt x="768" y="493"/>
                    <a:pt x="774" y="493"/>
                  </a:cubicBezTo>
                  <a:cubicBezTo>
                    <a:pt x="781" y="493"/>
                    <a:pt x="790" y="489"/>
                    <a:pt x="793" y="483"/>
                  </a:cubicBezTo>
                  <a:cubicBezTo>
                    <a:pt x="797" y="478"/>
                    <a:pt x="794" y="473"/>
                    <a:pt x="787" y="473"/>
                  </a:cubicBezTo>
                  <a:cubicBezTo>
                    <a:pt x="787" y="473"/>
                    <a:pt x="787" y="473"/>
                    <a:pt x="787" y="473"/>
                  </a:cubicBezTo>
                  <a:moveTo>
                    <a:pt x="820" y="473"/>
                  </a:moveTo>
                  <a:cubicBezTo>
                    <a:pt x="814" y="473"/>
                    <a:pt x="805" y="478"/>
                    <a:pt x="802" y="483"/>
                  </a:cubicBezTo>
                  <a:cubicBezTo>
                    <a:pt x="798" y="489"/>
                    <a:pt x="801" y="493"/>
                    <a:pt x="808" y="493"/>
                  </a:cubicBezTo>
                  <a:cubicBezTo>
                    <a:pt x="815" y="493"/>
                    <a:pt x="823" y="489"/>
                    <a:pt x="827" y="483"/>
                  </a:cubicBezTo>
                  <a:cubicBezTo>
                    <a:pt x="830" y="477"/>
                    <a:pt x="827" y="473"/>
                    <a:pt x="820" y="473"/>
                  </a:cubicBezTo>
                  <a:cubicBezTo>
                    <a:pt x="820" y="473"/>
                    <a:pt x="820" y="473"/>
                    <a:pt x="820" y="473"/>
                  </a:cubicBezTo>
                  <a:moveTo>
                    <a:pt x="856" y="473"/>
                  </a:moveTo>
                  <a:cubicBezTo>
                    <a:pt x="849" y="473"/>
                    <a:pt x="841" y="477"/>
                    <a:pt x="838" y="483"/>
                  </a:cubicBezTo>
                  <a:cubicBezTo>
                    <a:pt x="834" y="489"/>
                    <a:pt x="837" y="493"/>
                    <a:pt x="844" y="493"/>
                  </a:cubicBezTo>
                  <a:cubicBezTo>
                    <a:pt x="851" y="493"/>
                    <a:pt x="859" y="488"/>
                    <a:pt x="862" y="483"/>
                  </a:cubicBezTo>
                  <a:cubicBezTo>
                    <a:pt x="866" y="477"/>
                    <a:pt x="863" y="473"/>
                    <a:pt x="856" y="473"/>
                  </a:cubicBezTo>
                  <a:cubicBezTo>
                    <a:pt x="856" y="473"/>
                    <a:pt x="856" y="473"/>
                    <a:pt x="856" y="473"/>
                  </a:cubicBezTo>
                  <a:moveTo>
                    <a:pt x="891" y="472"/>
                  </a:moveTo>
                  <a:cubicBezTo>
                    <a:pt x="884" y="473"/>
                    <a:pt x="876" y="477"/>
                    <a:pt x="873" y="483"/>
                  </a:cubicBezTo>
                  <a:cubicBezTo>
                    <a:pt x="869" y="488"/>
                    <a:pt x="872" y="493"/>
                    <a:pt x="879" y="493"/>
                  </a:cubicBezTo>
                  <a:cubicBezTo>
                    <a:pt x="886" y="493"/>
                    <a:pt x="894" y="488"/>
                    <a:pt x="897" y="483"/>
                  </a:cubicBezTo>
                  <a:cubicBezTo>
                    <a:pt x="901" y="477"/>
                    <a:pt x="898" y="472"/>
                    <a:pt x="891" y="472"/>
                  </a:cubicBezTo>
                  <a:cubicBezTo>
                    <a:pt x="891" y="472"/>
                    <a:pt x="891" y="472"/>
                    <a:pt x="891" y="472"/>
                  </a:cubicBezTo>
                  <a:moveTo>
                    <a:pt x="926" y="472"/>
                  </a:moveTo>
                  <a:cubicBezTo>
                    <a:pt x="919" y="472"/>
                    <a:pt x="911" y="477"/>
                    <a:pt x="908" y="482"/>
                  </a:cubicBezTo>
                  <a:cubicBezTo>
                    <a:pt x="905" y="488"/>
                    <a:pt x="908" y="493"/>
                    <a:pt x="914" y="493"/>
                  </a:cubicBezTo>
                  <a:cubicBezTo>
                    <a:pt x="921" y="492"/>
                    <a:pt x="929" y="488"/>
                    <a:pt x="933" y="482"/>
                  </a:cubicBezTo>
                  <a:cubicBezTo>
                    <a:pt x="936" y="477"/>
                    <a:pt x="933" y="472"/>
                    <a:pt x="926" y="472"/>
                  </a:cubicBezTo>
                  <a:cubicBezTo>
                    <a:pt x="926" y="472"/>
                    <a:pt x="926" y="472"/>
                    <a:pt x="926" y="472"/>
                  </a:cubicBezTo>
                  <a:moveTo>
                    <a:pt x="961" y="472"/>
                  </a:moveTo>
                  <a:cubicBezTo>
                    <a:pt x="954" y="472"/>
                    <a:pt x="946" y="477"/>
                    <a:pt x="943" y="482"/>
                  </a:cubicBezTo>
                  <a:cubicBezTo>
                    <a:pt x="940" y="488"/>
                    <a:pt x="943" y="492"/>
                    <a:pt x="950" y="492"/>
                  </a:cubicBezTo>
                  <a:cubicBezTo>
                    <a:pt x="957" y="492"/>
                    <a:pt x="965" y="488"/>
                    <a:pt x="968" y="482"/>
                  </a:cubicBezTo>
                  <a:cubicBezTo>
                    <a:pt x="971" y="476"/>
                    <a:pt x="968" y="472"/>
                    <a:pt x="961" y="472"/>
                  </a:cubicBezTo>
                  <a:cubicBezTo>
                    <a:pt x="961" y="472"/>
                    <a:pt x="961" y="472"/>
                    <a:pt x="961" y="472"/>
                  </a:cubicBezTo>
                  <a:moveTo>
                    <a:pt x="996" y="472"/>
                  </a:moveTo>
                  <a:cubicBezTo>
                    <a:pt x="989" y="472"/>
                    <a:pt x="981" y="476"/>
                    <a:pt x="978" y="482"/>
                  </a:cubicBezTo>
                  <a:cubicBezTo>
                    <a:pt x="975" y="488"/>
                    <a:pt x="978" y="492"/>
                    <a:pt x="985" y="492"/>
                  </a:cubicBezTo>
                  <a:cubicBezTo>
                    <a:pt x="992" y="492"/>
                    <a:pt x="1000" y="487"/>
                    <a:pt x="1003" y="482"/>
                  </a:cubicBezTo>
                  <a:cubicBezTo>
                    <a:pt x="1006" y="476"/>
                    <a:pt x="1003" y="472"/>
                    <a:pt x="996" y="472"/>
                  </a:cubicBezTo>
                  <a:cubicBezTo>
                    <a:pt x="996" y="472"/>
                    <a:pt x="996" y="472"/>
                    <a:pt x="996" y="472"/>
                  </a:cubicBezTo>
                  <a:moveTo>
                    <a:pt x="1032" y="471"/>
                  </a:moveTo>
                  <a:cubicBezTo>
                    <a:pt x="1025" y="472"/>
                    <a:pt x="1017" y="476"/>
                    <a:pt x="1014" y="482"/>
                  </a:cubicBezTo>
                  <a:cubicBezTo>
                    <a:pt x="1011" y="487"/>
                    <a:pt x="1014" y="492"/>
                    <a:pt x="1021" y="492"/>
                  </a:cubicBezTo>
                  <a:cubicBezTo>
                    <a:pt x="1028" y="492"/>
                    <a:pt x="1036" y="487"/>
                    <a:pt x="1039" y="482"/>
                  </a:cubicBezTo>
                  <a:cubicBezTo>
                    <a:pt x="1042" y="476"/>
                    <a:pt x="1039" y="471"/>
                    <a:pt x="1032" y="471"/>
                  </a:cubicBezTo>
                  <a:cubicBezTo>
                    <a:pt x="1032" y="471"/>
                    <a:pt x="1032" y="471"/>
                    <a:pt x="1032" y="471"/>
                  </a:cubicBezTo>
                  <a:moveTo>
                    <a:pt x="1067" y="471"/>
                  </a:moveTo>
                  <a:cubicBezTo>
                    <a:pt x="1060" y="471"/>
                    <a:pt x="1052" y="476"/>
                    <a:pt x="1049" y="482"/>
                  </a:cubicBezTo>
                  <a:cubicBezTo>
                    <a:pt x="1046" y="487"/>
                    <a:pt x="1049" y="492"/>
                    <a:pt x="1056" y="492"/>
                  </a:cubicBezTo>
                  <a:cubicBezTo>
                    <a:pt x="1063" y="492"/>
                    <a:pt x="1071" y="487"/>
                    <a:pt x="1074" y="481"/>
                  </a:cubicBezTo>
                  <a:cubicBezTo>
                    <a:pt x="1077" y="476"/>
                    <a:pt x="1074" y="471"/>
                    <a:pt x="1067" y="471"/>
                  </a:cubicBezTo>
                  <a:cubicBezTo>
                    <a:pt x="1067" y="471"/>
                    <a:pt x="1067" y="471"/>
                    <a:pt x="1067" y="471"/>
                  </a:cubicBezTo>
                  <a:moveTo>
                    <a:pt x="1101" y="471"/>
                  </a:moveTo>
                  <a:cubicBezTo>
                    <a:pt x="1094" y="471"/>
                    <a:pt x="1087" y="476"/>
                    <a:pt x="1084" y="481"/>
                  </a:cubicBezTo>
                  <a:cubicBezTo>
                    <a:pt x="1081" y="487"/>
                    <a:pt x="1084" y="491"/>
                    <a:pt x="1091" y="491"/>
                  </a:cubicBezTo>
                  <a:cubicBezTo>
                    <a:pt x="1098" y="491"/>
                    <a:pt x="1106" y="487"/>
                    <a:pt x="1108" y="481"/>
                  </a:cubicBezTo>
                  <a:cubicBezTo>
                    <a:pt x="1111" y="476"/>
                    <a:pt x="1108" y="471"/>
                    <a:pt x="1101" y="471"/>
                  </a:cubicBezTo>
                  <a:cubicBezTo>
                    <a:pt x="1101" y="471"/>
                    <a:pt x="1101" y="471"/>
                    <a:pt x="1101" y="471"/>
                  </a:cubicBezTo>
                  <a:moveTo>
                    <a:pt x="1137" y="471"/>
                  </a:moveTo>
                  <a:cubicBezTo>
                    <a:pt x="1130" y="471"/>
                    <a:pt x="1122" y="475"/>
                    <a:pt x="1119" y="481"/>
                  </a:cubicBezTo>
                  <a:cubicBezTo>
                    <a:pt x="1117" y="487"/>
                    <a:pt x="1120" y="491"/>
                    <a:pt x="1127" y="491"/>
                  </a:cubicBezTo>
                  <a:cubicBezTo>
                    <a:pt x="1134" y="491"/>
                    <a:pt x="1141" y="486"/>
                    <a:pt x="1144" y="481"/>
                  </a:cubicBezTo>
                  <a:cubicBezTo>
                    <a:pt x="1147" y="475"/>
                    <a:pt x="1144" y="471"/>
                    <a:pt x="1137" y="471"/>
                  </a:cubicBezTo>
                  <a:cubicBezTo>
                    <a:pt x="1137" y="471"/>
                    <a:pt x="1137" y="471"/>
                    <a:pt x="1137" y="471"/>
                  </a:cubicBezTo>
                  <a:moveTo>
                    <a:pt x="2049" y="465"/>
                  </a:moveTo>
                  <a:cubicBezTo>
                    <a:pt x="2042" y="465"/>
                    <a:pt x="2036" y="470"/>
                    <a:pt x="2035" y="476"/>
                  </a:cubicBezTo>
                  <a:cubicBezTo>
                    <a:pt x="2034" y="481"/>
                    <a:pt x="2039" y="486"/>
                    <a:pt x="2046" y="486"/>
                  </a:cubicBezTo>
                  <a:cubicBezTo>
                    <a:pt x="2052" y="486"/>
                    <a:pt x="2059" y="481"/>
                    <a:pt x="2060" y="475"/>
                  </a:cubicBezTo>
                  <a:cubicBezTo>
                    <a:pt x="2060" y="470"/>
                    <a:pt x="2056" y="465"/>
                    <a:pt x="2049" y="465"/>
                  </a:cubicBezTo>
                  <a:cubicBezTo>
                    <a:pt x="2049" y="465"/>
                    <a:pt x="2049" y="465"/>
                    <a:pt x="2049" y="465"/>
                  </a:cubicBezTo>
                  <a:moveTo>
                    <a:pt x="2084" y="465"/>
                  </a:moveTo>
                  <a:cubicBezTo>
                    <a:pt x="2078" y="465"/>
                    <a:pt x="2071" y="470"/>
                    <a:pt x="2070" y="475"/>
                  </a:cubicBezTo>
                  <a:cubicBezTo>
                    <a:pt x="2070" y="481"/>
                    <a:pt x="2074" y="485"/>
                    <a:pt x="2081" y="485"/>
                  </a:cubicBezTo>
                  <a:cubicBezTo>
                    <a:pt x="2088" y="485"/>
                    <a:pt x="2094" y="481"/>
                    <a:pt x="2095" y="475"/>
                  </a:cubicBezTo>
                  <a:cubicBezTo>
                    <a:pt x="2096" y="470"/>
                    <a:pt x="2091" y="465"/>
                    <a:pt x="2084" y="465"/>
                  </a:cubicBezTo>
                  <a:cubicBezTo>
                    <a:pt x="2084" y="465"/>
                    <a:pt x="2084" y="465"/>
                    <a:pt x="2084" y="465"/>
                  </a:cubicBezTo>
                  <a:moveTo>
                    <a:pt x="2118" y="465"/>
                  </a:moveTo>
                  <a:cubicBezTo>
                    <a:pt x="2111" y="465"/>
                    <a:pt x="2105" y="469"/>
                    <a:pt x="2104" y="475"/>
                  </a:cubicBezTo>
                  <a:cubicBezTo>
                    <a:pt x="2103" y="481"/>
                    <a:pt x="2108" y="485"/>
                    <a:pt x="2115" y="485"/>
                  </a:cubicBezTo>
                  <a:cubicBezTo>
                    <a:pt x="2122" y="485"/>
                    <a:pt x="2128" y="481"/>
                    <a:pt x="2129" y="475"/>
                  </a:cubicBezTo>
                  <a:cubicBezTo>
                    <a:pt x="2129" y="469"/>
                    <a:pt x="2125" y="465"/>
                    <a:pt x="2118" y="465"/>
                  </a:cubicBezTo>
                  <a:cubicBezTo>
                    <a:pt x="2118" y="465"/>
                    <a:pt x="2118" y="465"/>
                    <a:pt x="2118" y="465"/>
                  </a:cubicBezTo>
                  <a:moveTo>
                    <a:pt x="2153" y="465"/>
                  </a:moveTo>
                  <a:cubicBezTo>
                    <a:pt x="2146" y="465"/>
                    <a:pt x="2140" y="469"/>
                    <a:pt x="2140" y="475"/>
                  </a:cubicBezTo>
                  <a:cubicBezTo>
                    <a:pt x="2139" y="480"/>
                    <a:pt x="2144" y="485"/>
                    <a:pt x="2151" y="485"/>
                  </a:cubicBezTo>
                  <a:cubicBezTo>
                    <a:pt x="2158" y="485"/>
                    <a:pt x="2164" y="480"/>
                    <a:pt x="2164" y="475"/>
                  </a:cubicBezTo>
                  <a:cubicBezTo>
                    <a:pt x="2165" y="469"/>
                    <a:pt x="2160" y="465"/>
                    <a:pt x="2153" y="465"/>
                  </a:cubicBezTo>
                  <a:cubicBezTo>
                    <a:pt x="2153" y="465"/>
                    <a:pt x="2153" y="465"/>
                    <a:pt x="2153" y="465"/>
                  </a:cubicBezTo>
                  <a:moveTo>
                    <a:pt x="2190" y="463"/>
                  </a:moveTo>
                  <a:cubicBezTo>
                    <a:pt x="2184" y="463"/>
                    <a:pt x="2178" y="468"/>
                    <a:pt x="2177" y="474"/>
                  </a:cubicBezTo>
                  <a:cubicBezTo>
                    <a:pt x="2176" y="479"/>
                    <a:pt x="2181" y="484"/>
                    <a:pt x="2188" y="484"/>
                  </a:cubicBezTo>
                  <a:cubicBezTo>
                    <a:pt x="2195" y="484"/>
                    <a:pt x="2201" y="479"/>
                    <a:pt x="2202" y="474"/>
                  </a:cubicBezTo>
                  <a:cubicBezTo>
                    <a:pt x="2202" y="468"/>
                    <a:pt x="2197" y="463"/>
                    <a:pt x="2190" y="463"/>
                  </a:cubicBezTo>
                  <a:cubicBezTo>
                    <a:pt x="2190" y="463"/>
                    <a:pt x="2190" y="463"/>
                    <a:pt x="2190" y="463"/>
                  </a:cubicBezTo>
                  <a:moveTo>
                    <a:pt x="2226" y="463"/>
                  </a:moveTo>
                  <a:cubicBezTo>
                    <a:pt x="2219" y="463"/>
                    <a:pt x="2214" y="468"/>
                    <a:pt x="2213" y="473"/>
                  </a:cubicBezTo>
                  <a:cubicBezTo>
                    <a:pt x="2212" y="479"/>
                    <a:pt x="2217" y="484"/>
                    <a:pt x="2224" y="484"/>
                  </a:cubicBezTo>
                  <a:cubicBezTo>
                    <a:pt x="2231" y="484"/>
                    <a:pt x="2237" y="479"/>
                    <a:pt x="2238" y="473"/>
                  </a:cubicBezTo>
                  <a:cubicBezTo>
                    <a:pt x="2238" y="468"/>
                    <a:pt x="2233" y="463"/>
                    <a:pt x="2226" y="463"/>
                  </a:cubicBezTo>
                  <a:cubicBezTo>
                    <a:pt x="2226" y="463"/>
                    <a:pt x="2226" y="463"/>
                    <a:pt x="2226" y="463"/>
                  </a:cubicBezTo>
                  <a:moveTo>
                    <a:pt x="2261" y="463"/>
                  </a:moveTo>
                  <a:cubicBezTo>
                    <a:pt x="2254" y="463"/>
                    <a:pt x="2248" y="468"/>
                    <a:pt x="2248" y="473"/>
                  </a:cubicBezTo>
                  <a:cubicBezTo>
                    <a:pt x="2247" y="479"/>
                    <a:pt x="2253" y="483"/>
                    <a:pt x="2259" y="483"/>
                  </a:cubicBezTo>
                  <a:cubicBezTo>
                    <a:pt x="2266" y="483"/>
                    <a:pt x="2272" y="479"/>
                    <a:pt x="2273" y="473"/>
                  </a:cubicBezTo>
                  <a:cubicBezTo>
                    <a:pt x="2273" y="467"/>
                    <a:pt x="2268" y="463"/>
                    <a:pt x="2261" y="463"/>
                  </a:cubicBezTo>
                  <a:cubicBezTo>
                    <a:pt x="2261" y="463"/>
                    <a:pt x="2261" y="463"/>
                    <a:pt x="2261" y="463"/>
                  </a:cubicBezTo>
                  <a:moveTo>
                    <a:pt x="2296" y="463"/>
                  </a:moveTo>
                  <a:cubicBezTo>
                    <a:pt x="2289" y="463"/>
                    <a:pt x="2283" y="467"/>
                    <a:pt x="2283" y="473"/>
                  </a:cubicBezTo>
                  <a:cubicBezTo>
                    <a:pt x="2282" y="479"/>
                    <a:pt x="2287" y="483"/>
                    <a:pt x="2294" y="483"/>
                  </a:cubicBezTo>
                  <a:cubicBezTo>
                    <a:pt x="2301" y="483"/>
                    <a:pt x="2307" y="478"/>
                    <a:pt x="2307" y="473"/>
                  </a:cubicBezTo>
                  <a:cubicBezTo>
                    <a:pt x="2308" y="467"/>
                    <a:pt x="2303" y="463"/>
                    <a:pt x="2296" y="463"/>
                  </a:cubicBezTo>
                  <a:cubicBezTo>
                    <a:pt x="2296" y="463"/>
                    <a:pt x="2296" y="463"/>
                    <a:pt x="2296" y="463"/>
                  </a:cubicBezTo>
                  <a:moveTo>
                    <a:pt x="2331" y="462"/>
                  </a:moveTo>
                  <a:cubicBezTo>
                    <a:pt x="2324" y="462"/>
                    <a:pt x="2318" y="467"/>
                    <a:pt x="2318" y="473"/>
                  </a:cubicBezTo>
                  <a:cubicBezTo>
                    <a:pt x="2317" y="478"/>
                    <a:pt x="2322" y="483"/>
                    <a:pt x="2329" y="483"/>
                  </a:cubicBezTo>
                  <a:cubicBezTo>
                    <a:pt x="2336" y="483"/>
                    <a:pt x="2342" y="478"/>
                    <a:pt x="2342" y="473"/>
                  </a:cubicBezTo>
                  <a:cubicBezTo>
                    <a:pt x="2343" y="467"/>
                    <a:pt x="2337" y="462"/>
                    <a:pt x="2331" y="462"/>
                  </a:cubicBezTo>
                  <a:cubicBezTo>
                    <a:pt x="2331" y="462"/>
                    <a:pt x="2331" y="462"/>
                    <a:pt x="2331" y="462"/>
                  </a:cubicBezTo>
                  <a:moveTo>
                    <a:pt x="2366" y="462"/>
                  </a:moveTo>
                  <a:cubicBezTo>
                    <a:pt x="2359" y="462"/>
                    <a:pt x="2353" y="467"/>
                    <a:pt x="2353" y="472"/>
                  </a:cubicBezTo>
                  <a:cubicBezTo>
                    <a:pt x="2353" y="478"/>
                    <a:pt x="2358" y="483"/>
                    <a:pt x="2365" y="483"/>
                  </a:cubicBezTo>
                  <a:cubicBezTo>
                    <a:pt x="2371" y="483"/>
                    <a:pt x="2377" y="478"/>
                    <a:pt x="2377" y="472"/>
                  </a:cubicBezTo>
                  <a:cubicBezTo>
                    <a:pt x="2378" y="467"/>
                    <a:pt x="2372" y="462"/>
                    <a:pt x="2366" y="462"/>
                  </a:cubicBezTo>
                  <a:cubicBezTo>
                    <a:pt x="2366" y="462"/>
                    <a:pt x="2366" y="462"/>
                    <a:pt x="2366" y="462"/>
                  </a:cubicBezTo>
                  <a:moveTo>
                    <a:pt x="2401" y="462"/>
                  </a:moveTo>
                  <a:cubicBezTo>
                    <a:pt x="2394" y="462"/>
                    <a:pt x="2389" y="467"/>
                    <a:pt x="2388" y="472"/>
                  </a:cubicBezTo>
                  <a:cubicBezTo>
                    <a:pt x="2388" y="478"/>
                    <a:pt x="2394" y="482"/>
                    <a:pt x="2400" y="482"/>
                  </a:cubicBezTo>
                  <a:cubicBezTo>
                    <a:pt x="2407" y="482"/>
                    <a:pt x="2413" y="478"/>
                    <a:pt x="2413" y="472"/>
                  </a:cubicBezTo>
                  <a:cubicBezTo>
                    <a:pt x="2413" y="466"/>
                    <a:pt x="2408" y="462"/>
                    <a:pt x="2401" y="462"/>
                  </a:cubicBezTo>
                  <a:cubicBezTo>
                    <a:pt x="2401" y="462"/>
                    <a:pt x="2401" y="462"/>
                    <a:pt x="2401" y="462"/>
                  </a:cubicBezTo>
                  <a:moveTo>
                    <a:pt x="2436" y="462"/>
                  </a:moveTo>
                  <a:cubicBezTo>
                    <a:pt x="2429" y="462"/>
                    <a:pt x="2424" y="466"/>
                    <a:pt x="2423" y="472"/>
                  </a:cubicBezTo>
                  <a:cubicBezTo>
                    <a:pt x="2423" y="478"/>
                    <a:pt x="2429" y="482"/>
                    <a:pt x="2435" y="482"/>
                  </a:cubicBezTo>
                  <a:cubicBezTo>
                    <a:pt x="2442" y="482"/>
                    <a:pt x="2448" y="477"/>
                    <a:pt x="2448" y="472"/>
                  </a:cubicBezTo>
                  <a:cubicBezTo>
                    <a:pt x="2448" y="466"/>
                    <a:pt x="2443" y="462"/>
                    <a:pt x="2436" y="462"/>
                  </a:cubicBezTo>
                  <a:cubicBezTo>
                    <a:pt x="2436" y="462"/>
                    <a:pt x="2436" y="462"/>
                    <a:pt x="2436" y="462"/>
                  </a:cubicBezTo>
                  <a:moveTo>
                    <a:pt x="2471" y="461"/>
                  </a:moveTo>
                  <a:cubicBezTo>
                    <a:pt x="2464" y="462"/>
                    <a:pt x="2459" y="466"/>
                    <a:pt x="2459" y="472"/>
                  </a:cubicBezTo>
                  <a:cubicBezTo>
                    <a:pt x="2458" y="477"/>
                    <a:pt x="2464" y="482"/>
                    <a:pt x="2471" y="482"/>
                  </a:cubicBezTo>
                  <a:cubicBezTo>
                    <a:pt x="2478" y="482"/>
                    <a:pt x="2483" y="477"/>
                    <a:pt x="2483" y="472"/>
                  </a:cubicBezTo>
                  <a:cubicBezTo>
                    <a:pt x="2483" y="466"/>
                    <a:pt x="2478" y="461"/>
                    <a:pt x="2471" y="461"/>
                  </a:cubicBezTo>
                  <a:cubicBezTo>
                    <a:pt x="2471" y="461"/>
                    <a:pt x="2471" y="461"/>
                    <a:pt x="2471" y="461"/>
                  </a:cubicBezTo>
                  <a:moveTo>
                    <a:pt x="2541" y="461"/>
                  </a:moveTo>
                  <a:cubicBezTo>
                    <a:pt x="2534" y="461"/>
                    <a:pt x="2529" y="466"/>
                    <a:pt x="2529" y="471"/>
                  </a:cubicBezTo>
                  <a:cubicBezTo>
                    <a:pt x="2529" y="477"/>
                    <a:pt x="2534" y="481"/>
                    <a:pt x="2541" y="481"/>
                  </a:cubicBezTo>
                  <a:cubicBezTo>
                    <a:pt x="2548" y="481"/>
                    <a:pt x="2553" y="477"/>
                    <a:pt x="2553" y="471"/>
                  </a:cubicBezTo>
                  <a:cubicBezTo>
                    <a:pt x="2553" y="466"/>
                    <a:pt x="2548" y="461"/>
                    <a:pt x="2541" y="461"/>
                  </a:cubicBezTo>
                  <a:cubicBezTo>
                    <a:pt x="2541" y="461"/>
                    <a:pt x="2541" y="461"/>
                    <a:pt x="2541" y="461"/>
                  </a:cubicBezTo>
                  <a:moveTo>
                    <a:pt x="2612" y="461"/>
                  </a:moveTo>
                  <a:cubicBezTo>
                    <a:pt x="2605" y="461"/>
                    <a:pt x="2600" y="466"/>
                    <a:pt x="2600" y="471"/>
                  </a:cubicBezTo>
                  <a:cubicBezTo>
                    <a:pt x="2600" y="477"/>
                    <a:pt x="2606" y="482"/>
                    <a:pt x="2613" y="481"/>
                  </a:cubicBezTo>
                  <a:cubicBezTo>
                    <a:pt x="2620" y="481"/>
                    <a:pt x="2625" y="477"/>
                    <a:pt x="2625" y="471"/>
                  </a:cubicBezTo>
                  <a:cubicBezTo>
                    <a:pt x="2625" y="466"/>
                    <a:pt x="2619" y="461"/>
                    <a:pt x="2612" y="461"/>
                  </a:cubicBezTo>
                  <a:cubicBezTo>
                    <a:pt x="2612" y="461"/>
                    <a:pt x="2612" y="461"/>
                    <a:pt x="2612" y="461"/>
                  </a:cubicBezTo>
                  <a:moveTo>
                    <a:pt x="2647" y="461"/>
                  </a:moveTo>
                  <a:cubicBezTo>
                    <a:pt x="2640" y="461"/>
                    <a:pt x="2635" y="465"/>
                    <a:pt x="2635" y="471"/>
                  </a:cubicBezTo>
                  <a:cubicBezTo>
                    <a:pt x="2635" y="477"/>
                    <a:pt x="2641" y="481"/>
                    <a:pt x="2648" y="481"/>
                  </a:cubicBezTo>
                  <a:cubicBezTo>
                    <a:pt x="2655" y="481"/>
                    <a:pt x="2660" y="477"/>
                    <a:pt x="2660" y="471"/>
                  </a:cubicBezTo>
                  <a:cubicBezTo>
                    <a:pt x="2659" y="465"/>
                    <a:pt x="2654" y="461"/>
                    <a:pt x="2647" y="461"/>
                  </a:cubicBezTo>
                  <a:cubicBezTo>
                    <a:pt x="2647" y="461"/>
                    <a:pt x="2647" y="461"/>
                    <a:pt x="2647" y="461"/>
                  </a:cubicBezTo>
                  <a:moveTo>
                    <a:pt x="2681" y="461"/>
                  </a:moveTo>
                  <a:cubicBezTo>
                    <a:pt x="2675" y="461"/>
                    <a:pt x="2669" y="465"/>
                    <a:pt x="2670" y="471"/>
                  </a:cubicBezTo>
                  <a:cubicBezTo>
                    <a:pt x="2670" y="476"/>
                    <a:pt x="2676" y="481"/>
                    <a:pt x="2683" y="481"/>
                  </a:cubicBezTo>
                  <a:cubicBezTo>
                    <a:pt x="2690" y="481"/>
                    <a:pt x="2695" y="476"/>
                    <a:pt x="2694" y="471"/>
                  </a:cubicBezTo>
                  <a:cubicBezTo>
                    <a:pt x="2694" y="465"/>
                    <a:pt x="2688" y="461"/>
                    <a:pt x="2682" y="461"/>
                  </a:cubicBezTo>
                  <a:cubicBezTo>
                    <a:pt x="2681" y="461"/>
                    <a:pt x="2681" y="461"/>
                    <a:pt x="2681" y="461"/>
                  </a:cubicBezTo>
                  <a:moveTo>
                    <a:pt x="2716" y="460"/>
                  </a:moveTo>
                  <a:cubicBezTo>
                    <a:pt x="2709" y="460"/>
                    <a:pt x="2704" y="465"/>
                    <a:pt x="2705" y="471"/>
                  </a:cubicBezTo>
                  <a:cubicBezTo>
                    <a:pt x="2705" y="476"/>
                    <a:pt x="2711" y="481"/>
                    <a:pt x="2718" y="481"/>
                  </a:cubicBezTo>
                  <a:cubicBezTo>
                    <a:pt x="2725" y="481"/>
                    <a:pt x="2730" y="476"/>
                    <a:pt x="2729" y="470"/>
                  </a:cubicBezTo>
                  <a:cubicBezTo>
                    <a:pt x="2729" y="465"/>
                    <a:pt x="2723" y="460"/>
                    <a:pt x="2716" y="460"/>
                  </a:cubicBezTo>
                  <a:cubicBezTo>
                    <a:pt x="2716" y="460"/>
                    <a:pt x="2716" y="460"/>
                    <a:pt x="2716" y="460"/>
                  </a:cubicBezTo>
                  <a:moveTo>
                    <a:pt x="2751" y="460"/>
                  </a:moveTo>
                  <a:cubicBezTo>
                    <a:pt x="2745" y="460"/>
                    <a:pt x="2740" y="465"/>
                    <a:pt x="2740" y="470"/>
                  </a:cubicBezTo>
                  <a:cubicBezTo>
                    <a:pt x="2740" y="476"/>
                    <a:pt x="2746" y="481"/>
                    <a:pt x="2753" y="481"/>
                  </a:cubicBezTo>
                  <a:cubicBezTo>
                    <a:pt x="2760" y="480"/>
                    <a:pt x="2765" y="476"/>
                    <a:pt x="2765" y="470"/>
                  </a:cubicBezTo>
                  <a:cubicBezTo>
                    <a:pt x="2764" y="465"/>
                    <a:pt x="2758" y="460"/>
                    <a:pt x="2751" y="460"/>
                  </a:cubicBezTo>
                  <a:cubicBezTo>
                    <a:pt x="2751" y="460"/>
                    <a:pt x="2751" y="460"/>
                    <a:pt x="2751" y="460"/>
                  </a:cubicBezTo>
                  <a:moveTo>
                    <a:pt x="2786" y="459"/>
                  </a:moveTo>
                  <a:cubicBezTo>
                    <a:pt x="2779" y="459"/>
                    <a:pt x="2774" y="464"/>
                    <a:pt x="2775" y="469"/>
                  </a:cubicBezTo>
                  <a:cubicBezTo>
                    <a:pt x="2776" y="475"/>
                    <a:pt x="2782" y="480"/>
                    <a:pt x="2788" y="480"/>
                  </a:cubicBezTo>
                  <a:cubicBezTo>
                    <a:pt x="2795" y="479"/>
                    <a:pt x="2800" y="475"/>
                    <a:pt x="2800" y="469"/>
                  </a:cubicBezTo>
                  <a:cubicBezTo>
                    <a:pt x="2799" y="464"/>
                    <a:pt x="2793" y="459"/>
                    <a:pt x="2786" y="459"/>
                  </a:cubicBezTo>
                  <a:cubicBezTo>
                    <a:pt x="2786" y="459"/>
                    <a:pt x="2786" y="459"/>
                    <a:pt x="2786" y="459"/>
                  </a:cubicBezTo>
                  <a:moveTo>
                    <a:pt x="2819" y="459"/>
                  </a:moveTo>
                  <a:cubicBezTo>
                    <a:pt x="2812" y="459"/>
                    <a:pt x="2807" y="463"/>
                    <a:pt x="2808" y="469"/>
                  </a:cubicBezTo>
                  <a:cubicBezTo>
                    <a:pt x="2809" y="475"/>
                    <a:pt x="2815" y="479"/>
                    <a:pt x="2822" y="479"/>
                  </a:cubicBezTo>
                  <a:cubicBezTo>
                    <a:pt x="2828" y="479"/>
                    <a:pt x="2833" y="475"/>
                    <a:pt x="2833" y="469"/>
                  </a:cubicBezTo>
                  <a:cubicBezTo>
                    <a:pt x="2832" y="463"/>
                    <a:pt x="2826" y="459"/>
                    <a:pt x="2819" y="459"/>
                  </a:cubicBezTo>
                  <a:cubicBezTo>
                    <a:pt x="2819" y="459"/>
                    <a:pt x="2819" y="459"/>
                    <a:pt x="2819" y="459"/>
                  </a:cubicBezTo>
                  <a:moveTo>
                    <a:pt x="2854" y="459"/>
                  </a:moveTo>
                  <a:cubicBezTo>
                    <a:pt x="2847" y="459"/>
                    <a:pt x="2842" y="463"/>
                    <a:pt x="2843" y="469"/>
                  </a:cubicBezTo>
                  <a:cubicBezTo>
                    <a:pt x="2844" y="475"/>
                    <a:pt x="2850" y="479"/>
                    <a:pt x="2857" y="479"/>
                  </a:cubicBezTo>
                  <a:cubicBezTo>
                    <a:pt x="2863" y="479"/>
                    <a:pt x="2868" y="474"/>
                    <a:pt x="2868" y="469"/>
                  </a:cubicBezTo>
                  <a:cubicBezTo>
                    <a:pt x="2867" y="463"/>
                    <a:pt x="2861" y="459"/>
                    <a:pt x="2854" y="459"/>
                  </a:cubicBezTo>
                  <a:cubicBezTo>
                    <a:pt x="2854" y="459"/>
                    <a:pt x="2854" y="459"/>
                    <a:pt x="2854" y="459"/>
                  </a:cubicBezTo>
                  <a:moveTo>
                    <a:pt x="2889" y="458"/>
                  </a:moveTo>
                  <a:cubicBezTo>
                    <a:pt x="2882" y="458"/>
                    <a:pt x="2877" y="463"/>
                    <a:pt x="2878" y="469"/>
                  </a:cubicBezTo>
                  <a:cubicBezTo>
                    <a:pt x="2879" y="474"/>
                    <a:pt x="2885" y="479"/>
                    <a:pt x="2892" y="479"/>
                  </a:cubicBezTo>
                  <a:cubicBezTo>
                    <a:pt x="2899" y="479"/>
                    <a:pt x="2904" y="474"/>
                    <a:pt x="2903" y="469"/>
                  </a:cubicBezTo>
                  <a:cubicBezTo>
                    <a:pt x="2902" y="463"/>
                    <a:pt x="2896" y="458"/>
                    <a:pt x="2889" y="458"/>
                  </a:cubicBezTo>
                  <a:cubicBezTo>
                    <a:pt x="2889" y="458"/>
                    <a:pt x="2889" y="458"/>
                    <a:pt x="2889" y="458"/>
                  </a:cubicBezTo>
                  <a:moveTo>
                    <a:pt x="2924" y="458"/>
                  </a:moveTo>
                  <a:cubicBezTo>
                    <a:pt x="2918" y="458"/>
                    <a:pt x="2913" y="463"/>
                    <a:pt x="2914" y="468"/>
                  </a:cubicBezTo>
                  <a:cubicBezTo>
                    <a:pt x="2915" y="474"/>
                    <a:pt x="2921" y="479"/>
                    <a:pt x="2928" y="479"/>
                  </a:cubicBezTo>
                  <a:cubicBezTo>
                    <a:pt x="2934" y="479"/>
                    <a:pt x="2939" y="474"/>
                    <a:pt x="2938" y="468"/>
                  </a:cubicBezTo>
                  <a:cubicBezTo>
                    <a:pt x="2937" y="463"/>
                    <a:pt x="2931" y="458"/>
                    <a:pt x="2925" y="458"/>
                  </a:cubicBezTo>
                  <a:cubicBezTo>
                    <a:pt x="2925" y="458"/>
                    <a:pt x="2924" y="458"/>
                    <a:pt x="2924" y="458"/>
                  </a:cubicBezTo>
                  <a:moveTo>
                    <a:pt x="2959" y="458"/>
                  </a:moveTo>
                  <a:cubicBezTo>
                    <a:pt x="2952" y="458"/>
                    <a:pt x="2948" y="463"/>
                    <a:pt x="2949" y="468"/>
                  </a:cubicBezTo>
                  <a:cubicBezTo>
                    <a:pt x="2950" y="474"/>
                    <a:pt x="2956" y="478"/>
                    <a:pt x="2963" y="478"/>
                  </a:cubicBezTo>
                  <a:cubicBezTo>
                    <a:pt x="2969" y="478"/>
                    <a:pt x="2974" y="474"/>
                    <a:pt x="2973" y="468"/>
                  </a:cubicBezTo>
                  <a:cubicBezTo>
                    <a:pt x="2972" y="462"/>
                    <a:pt x="2966" y="458"/>
                    <a:pt x="2959" y="458"/>
                  </a:cubicBezTo>
                  <a:cubicBezTo>
                    <a:pt x="2959" y="458"/>
                    <a:pt x="2959" y="458"/>
                    <a:pt x="2959" y="458"/>
                  </a:cubicBezTo>
                  <a:moveTo>
                    <a:pt x="2994" y="458"/>
                  </a:moveTo>
                  <a:cubicBezTo>
                    <a:pt x="2987" y="458"/>
                    <a:pt x="2983" y="462"/>
                    <a:pt x="2984" y="468"/>
                  </a:cubicBezTo>
                  <a:cubicBezTo>
                    <a:pt x="2985" y="474"/>
                    <a:pt x="2991" y="478"/>
                    <a:pt x="2998" y="478"/>
                  </a:cubicBezTo>
                  <a:cubicBezTo>
                    <a:pt x="3005" y="478"/>
                    <a:pt x="3009" y="473"/>
                    <a:pt x="3008" y="468"/>
                  </a:cubicBezTo>
                  <a:cubicBezTo>
                    <a:pt x="3007" y="462"/>
                    <a:pt x="3001" y="458"/>
                    <a:pt x="2994" y="458"/>
                  </a:cubicBezTo>
                  <a:cubicBezTo>
                    <a:pt x="2994" y="458"/>
                    <a:pt x="2994" y="458"/>
                    <a:pt x="2994" y="458"/>
                  </a:cubicBezTo>
                  <a:moveTo>
                    <a:pt x="3029" y="457"/>
                  </a:moveTo>
                  <a:cubicBezTo>
                    <a:pt x="3022" y="457"/>
                    <a:pt x="3018" y="462"/>
                    <a:pt x="3019" y="468"/>
                  </a:cubicBezTo>
                  <a:cubicBezTo>
                    <a:pt x="3020" y="473"/>
                    <a:pt x="3026" y="478"/>
                    <a:pt x="3033" y="478"/>
                  </a:cubicBezTo>
                  <a:cubicBezTo>
                    <a:pt x="3040" y="478"/>
                    <a:pt x="3044" y="473"/>
                    <a:pt x="3043" y="468"/>
                  </a:cubicBezTo>
                  <a:cubicBezTo>
                    <a:pt x="3042" y="462"/>
                    <a:pt x="3036" y="457"/>
                    <a:pt x="3029" y="457"/>
                  </a:cubicBezTo>
                  <a:cubicBezTo>
                    <a:pt x="3029" y="457"/>
                    <a:pt x="3029" y="457"/>
                    <a:pt x="3029" y="457"/>
                  </a:cubicBezTo>
                  <a:moveTo>
                    <a:pt x="3064" y="457"/>
                  </a:moveTo>
                  <a:cubicBezTo>
                    <a:pt x="3057" y="457"/>
                    <a:pt x="3053" y="462"/>
                    <a:pt x="3054" y="467"/>
                  </a:cubicBezTo>
                  <a:cubicBezTo>
                    <a:pt x="3055" y="473"/>
                    <a:pt x="3061" y="478"/>
                    <a:pt x="3068" y="478"/>
                  </a:cubicBezTo>
                  <a:cubicBezTo>
                    <a:pt x="3075" y="478"/>
                    <a:pt x="3080" y="473"/>
                    <a:pt x="3078" y="467"/>
                  </a:cubicBezTo>
                  <a:cubicBezTo>
                    <a:pt x="3077" y="462"/>
                    <a:pt x="3071" y="457"/>
                    <a:pt x="3064" y="457"/>
                  </a:cubicBezTo>
                  <a:cubicBezTo>
                    <a:pt x="3064" y="457"/>
                    <a:pt x="3064" y="457"/>
                    <a:pt x="3064" y="457"/>
                  </a:cubicBezTo>
                  <a:moveTo>
                    <a:pt x="3100" y="457"/>
                  </a:moveTo>
                  <a:cubicBezTo>
                    <a:pt x="3093" y="457"/>
                    <a:pt x="3089" y="462"/>
                    <a:pt x="3090" y="467"/>
                  </a:cubicBezTo>
                  <a:cubicBezTo>
                    <a:pt x="3091" y="473"/>
                    <a:pt x="3098" y="477"/>
                    <a:pt x="3105" y="477"/>
                  </a:cubicBezTo>
                  <a:cubicBezTo>
                    <a:pt x="3111" y="477"/>
                    <a:pt x="3116" y="473"/>
                    <a:pt x="3115" y="467"/>
                  </a:cubicBezTo>
                  <a:cubicBezTo>
                    <a:pt x="3113" y="461"/>
                    <a:pt x="3107" y="457"/>
                    <a:pt x="3100" y="457"/>
                  </a:cubicBezTo>
                  <a:cubicBezTo>
                    <a:pt x="3100" y="457"/>
                    <a:pt x="3100" y="457"/>
                    <a:pt x="3100" y="457"/>
                  </a:cubicBezTo>
                  <a:moveTo>
                    <a:pt x="3135" y="457"/>
                  </a:moveTo>
                  <a:cubicBezTo>
                    <a:pt x="3128" y="457"/>
                    <a:pt x="3124" y="461"/>
                    <a:pt x="3125" y="467"/>
                  </a:cubicBezTo>
                  <a:cubicBezTo>
                    <a:pt x="3126" y="473"/>
                    <a:pt x="3133" y="477"/>
                    <a:pt x="3140" y="477"/>
                  </a:cubicBezTo>
                  <a:cubicBezTo>
                    <a:pt x="3146" y="477"/>
                    <a:pt x="3151" y="472"/>
                    <a:pt x="3150" y="467"/>
                  </a:cubicBezTo>
                  <a:cubicBezTo>
                    <a:pt x="3148" y="461"/>
                    <a:pt x="3142" y="457"/>
                    <a:pt x="3135" y="457"/>
                  </a:cubicBezTo>
                  <a:cubicBezTo>
                    <a:pt x="3135" y="457"/>
                    <a:pt x="3135" y="457"/>
                    <a:pt x="3135" y="457"/>
                  </a:cubicBezTo>
                  <a:moveTo>
                    <a:pt x="3170" y="456"/>
                  </a:moveTo>
                  <a:cubicBezTo>
                    <a:pt x="3163" y="456"/>
                    <a:pt x="3159" y="461"/>
                    <a:pt x="3160" y="467"/>
                  </a:cubicBezTo>
                  <a:cubicBezTo>
                    <a:pt x="3162" y="472"/>
                    <a:pt x="3168" y="477"/>
                    <a:pt x="3175" y="477"/>
                  </a:cubicBezTo>
                  <a:cubicBezTo>
                    <a:pt x="3182" y="477"/>
                    <a:pt x="3186" y="472"/>
                    <a:pt x="3185" y="467"/>
                  </a:cubicBezTo>
                  <a:cubicBezTo>
                    <a:pt x="3183" y="461"/>
                    <a:pt x="3177" y="456"/>
                    <a:pt x="3170" y="456"/>
                  </a:cubicBezTo>
                  <a:cubicBezTo>
                    <a:pt x="3170" y="456"/>
                    <a:pt x="3170" y="456"/>
                    <a:pt x="3170" y="456"/>
                  </a:cubicBezTo>
                  <a:moveTo>
                    <a:pt x="3205" y="456"/>
                  </a:moveTo>
                  <a:cubicBezTo>
                    <a:pt x="3199" y="456"/>
                    <a:pt x="3194" y="461"/>
                    <a:pt x="3196" y="467"/>
                  </a:cubicBezTo>
                  <a:cubicBezTo>
                    <a:pt x="3197" y="472"/>
                    <a:pt x="3204" y="477"/>
                    <a:pt x="3211" y="477"/>
                  </a:cubicBezTo>
                  <a:cubicBezTo>
                    <a:pt x="3217" y="477"/>
                    <a:pt x="3222" y="472"/>
                    <a:pt x="3220" y="466"/>
                  </a:cubicBezTo>
                  <a:cubicBezTo>
                    <a:pt x="3219" y="461"/>
                    <a:pt x="3212" y="456"/>
                    <a:pt x="3205" y="456"/>
                  </a:cubicBezTo>
                  <a:cubicBezTo>
                    <a:pt x="3205" y="456"/>
                    <a:pt x="3205" y="456"/>
                    <a:pt x="3205" y="456"/>
                  </a:cubicBezTo>
                  <a:moveTo>
                    <a:pt x="3240" y="456"/>
                  </a:moveTo>
                  <a:cubicBezTo>
                    <a:pt x="3233" y="456"/>
                    <a:pt x="3229" y="461"/>
                    <a:pt x="3231" y="466"/>
                  </a:cubicBezTo>
                  <a:cubicBezTo>
                    <a:pt x="3232" y="472"/>
                    <a:pt x="3239" y="477"/>
                    <a:pt x="3246" y="476"/>
                  </a:cubicBezTo>
                  <a:cubicBezTo>
                    <a:pt x="3252" y="476"/>
                    <a:pt x="3257" y="472"/>
                    <a:pt x="3255" y="466"/>
                  </a:cubicBezTo>
                  <a:cubicBezTo>
                    <a:pt x="3254" y="460"/>
                    <a:pt x="3247" y="456"/>
                    <a:pt x="3240" y="456"/>
                  </a:cubicBezTo>
                  <a:cubicBezTo>
                    <a:pt x="3240" y="456"/>
                    <a:pt x="3240" y="456"/>
                    <a:pt x="3240" y="456"/>
                  </a:cubicBezTo>
                  <a:moveTo>
                    <a:pt x="3275" y="456"/>
                  </a:moveTo>
                  <a:cubicBezTo>
                    <a:pt x="3268" y="456"/>
                    <a:pt x="3264" y="460"/>
                    <a:pt x="3266" y="466"/>
                  </a:cubicBezTo>
                  <a:cubicBezTo>
                    <a:pt x="3267" y="472"/>
                    <a:pt x="3274" y="476"/>
                    <a:pt x="3281" y="476"/>
                  </a:cubicBezTo>
                  <a:cubicBezTo>
                    <a:pt x="3288" y="476"/>
                    <a:pt x="3292" y="472"/>
                    <a:pt x="3290" y="466"/>
                  </a:cubicBezTo>
                  <a:cubicBezTo>
                    <a:pt x="3289" y="460"/>
                    <a:pt x="3282" y="456"/>
                    <a:pt x="3275" y="456"/>
                  </a:cubicBezTo>
                  <a:cubicBezTo>
                    <a:pt x="3275" y="456"/>
                    <a:pt x="3275" y="456"/>
                    <a:pt x="3275" y="456"/>
                  </a:cubicBezTo>
                  <a:moveTo>
                    <a:pt x="3310" y="455"/>
                  </a:moveTo>
                  <a:cubicBezTo>
                    <a:pt x="3303" y="456"/>
                    <a:pt x="3299" y="460"/>
                    <a:pt x="3300" y="466"/>
                  </a:cubicBezTo>
                  <a:cubicBezTo>
                    <a:pt x="3302" y="471"/>
                    <a:pt x="3309" y="476"/>
                    <a:pt x="3316" y="476"/>
                  </a:cubicBezTo>
                  <a:cubicBezTo>
                    <a:pt x="3323" y="476"/>
                    <a:pt x="3327" y="471"/>
                    <a:pt x="3325" y="466"/>
                  </a:cubicBezTo>
                  <a:cubicBezTo>
                    <a:pt x="3323" y="460"/>
                    <a:pt x="3317" y="455"/>
                    <a:pt x="3310" y="455"/>
                  </a:cubicBezTo>
                  <a:cubicBezTo>
                    <a:pt x="3310" y="455"/>
                    <a:pt x="3310" y="455"/>
                    <a:pt x="3310" y="455"/>
                  </a:cubicBezTo>
                  <a:moveTo>
                    <a:pt x="3345" y="455"/>
                  </a:moveTo>
                  <a:cubicBezTo>
                    <a:pt x="3338" y="455"/>
                    <a:pt x="3334" y="460"/>
                    <a:pt x="3336" y="466"/>
                  </a:cubicBezTo>
                  <a:cubicBezTo>
                    <a:pt x="3337" y="471"/>
                    <a:pt x="3344" y="476"/>
                    <a:pt x="3351" y="476"/>
                  </a:cubicBezTo>
                  <a:cubicBezTo>
                    <a:pt x="3358" y="476"/>
                    <a:pt x="3362" y="471"/>
                    <a:pt x="3360" y="465"/>
                  </a:cubicBezTo>
                  <a:cubicBezTo>
                    <a:pt x="3358" y="460"/>
                    <a:pt x="3352" y="455"/>
                    <a:pt x="3345" y="455"/>
                  </a:cubicBezTo>
                  <a:cubicBezTo>
                    <a:pt x="3345" y="455"/>
                    <a:pt x="3345" y="455"/>
                    <a:pt x="3345" y="455"/>
                  </a:cubicBezTo>
                  <a:moveTo>
                    <a:pt x="3380" y="455"/>
                  </a:moveTo>
                  <a:cubicBezTo>
                    <a:pt x="3373" y="455"/>
                    <a:pt x="3369" y="460"/>
                    <a:pt x="3371" y="465"/>
                  </a:cubicBezTo>
                  <a:cubicBezTo>
                    <a:pt x="3373" y="471"/>
                    <a:pt x="3380" y="476"/>
                    <a:pt x="3387" y="476"/>
                  </a:cubicBezTo>
                  <a:cubicBezTo>
                    <a:pt x="3394" y="475"/>
                    <a:pt x="3398" y="471"/>
                    <a:pt x="3396" y="465"/>
                  </a:cubicBezTo>
                  <a:cubicBezTo>
                    <a:pt x="3394" y="460"/>
                    <a:pt x="3387" y="455"/>
                    <a:pt x="3380" y="455"/>
                  </a:cubicBezTo>
                  <a:cubicBezTo>
                    <a:pt x="3380" y="455"/>
                    <a:pt x="3380" y="455"/>
                    <a:pt x="3380" y="455"/>
                  </a:cubicBezTo>
                  <a:moveTo>
                    <a:pt x="3415" y="455"/>
                  </a:moveTo>
                  <a:cubicBezTo>
                    <a:pt x="3408" y="455"/>
                    <a:pt x="3404" y="459"/>
                    <a:pt x="3406" y="465"/>
                  </a:cubicBezTo>
                  <a:cubicBezTo>
                    <a:pt x="3408" y="471"/>
                    <a:pt x="3415" y="475"/>
                    <a:pt x="3422" y="475"/>
                  </a:cubicBezTo>
                  <a:cubicBezTo>
                    <a:pt x="3429" y="475"/>
                    <a:pt x="3432" y="471"/>
                    <a:pt x="3431" y="465"/>
                  </a:cubicBezTo>
                  <a:cubicBezTo>
                    <a:pt x="3429" y="459"/>
                    <a:pt x="3422" y="455"/>
                    <a:pt x="3415" y="455"/>
                  </a:cubicBezTo>
                  <a:cubicBezTo>
                    <a:pt x="3415" y="455"/>
                    <a:pt x="3415" y="455"/>
                    <a:pt x="3415" y="455"/>
                  </a:cubicBezTo>
                  <a:moveTo>
                    <a:pt x="3450" y="455"/>
                  </a:moveTo>
                  <a:cubicBezTo>
                    <a:pt x="3443" y="455"/>
                    <a:pt x="3439" y="459"/>
                    <a:pt x="3441" y="465"/>
                  </a:cubicBezTo>
                  <a:cubicBezTo>
                    <a:pt x="3443" y="471"/>
                    <a:pt x="3450" y="475"/>
                    <a:pt x="3457" y="475"/>
                  </a:cubicBezTo>
                  <a:cubicBezTo>
                    <a:pt x="3464" y="475"/>
                    <a:pt x="3468" y="470"/>
                    <a:pt x="3466" y="465"/>
                  </a:cubicBezTo>
                  <a:cubicBezTo>
                    <a:pt x="3464" y="459"/>
                    <a:pt x="3457" y="455"/>
                    <a:pt x="3450" y="455"/>
                  </a:cubicBezTo>
                  <a:cubicBezTo>
                    <a:pt x="3450" y="455"/>
                    <a:pt x="3450" y="455"/>
                    <a:pt x="3450" y="455"/>
                  </a:cubicBezTo>
                  <a:moveTo>
                    <a:pt x="3485" y="454"/>
                  </a:moveTo>
                  <a:cubicBezTo>
                    <a:pt x="3478" y="454"/>
                    <a:pt x="3474" y="459"/>
                    <a:pt x="3476" y="465"/>
                  </a:cubicBezTo>
                  <a:cubicBezTo>
                    <a:pt x="3478" y="470"/>
                    <a:pt x="3485" y="475"/>
                    <a:pt x="3492" y="475"/>
                  </a:cubicBezTo>
                  <a:cubicBezTo>
                    <a:pt x="3499" y="475"/>
                    <a:pt x="3503" y="470"/>
                    <a:pt x="3500" y="464"/>
                  </a:cubicBezTo>
                  <a:cubicBezTo>
                    <a:pt x="3498" y="459"/>
                    <a:pt x="3491" y="454"/>
                    <a:pt x="3485" y="454"/>
                  </a:cubicBezTo>
                  <a:cubicBezTo>
                    <a:pt x="3485" y="454"/>
                    <a:pt x="3485" y="454"/>
                    <a:pt x="3485" y="454"/>
                  </a:cubicBezTo>
                  <a:moveTo>
                    <a:pt x="3520" y="454"/>
                  </a:moveTo>
                  <a:cubicBezTo>
                    <a:pt x="3513" y="454"/>
                    <a:pt x="3509" y="459"/>
                    <a:pt x="3511" y="464"/>
                  </a:cubicBezTo>
                  <a:cubicBezTo>
                    <a:pt x="3513" y="470"/>
                    <a:pt x="3520" y="475"/>
                    <a:pt x="3527" y="475"/>
                  </a:cubicBezTo>
                  <a:cubicBezTo>
                    <a:pt x="3534" y="475"/>
                    <a:pt x="3538" y="470"/>
                    <a:pt x="3536" y="464"/>
                  </a:cubicBezTo>
                  <a:cubicBezTo>
                    <a:pt x="3534" y="459"/>
                    <a:pt x="3526" y="454"/>
                    <a:pt x="3520" y="454"/>
                  </a:cubicBezTo>
                  <a:cubicBezTo>
                    <a:pt x="3520" y="454"/>
                    <a:pt x="3520" y="454"/>
                    <a:pt x="3520" y="454"/>
                  </a:cubicBezTo>
                  <a:moveTo>
                    <a:pt x="3555" y="454"/>
                  </a:moveTo>
                  <a:cubicBezTo>
                    <a:pt x="3548" y="454"/>
                    <a:pt x="3544" y="458"/>
                    <a:pt x="3547" y="464"/>
                  </a:cubicBezTo>
                  <a:cubicBezTo>
                    <a:pt x="3549" y="470"/>
                    <a:pt x="3556" y="474"/>
                    <a:pt x="3563" y="474"/>
                  </a:cubicBezTo>
                  <a:cubicBezTo>
                    <a:pt x="3570" y="474"/>
                    <a:pt x="3573" y="470"/>
                    <a:pt x="3571" y="464"/>
                  </a:cubicBezTo>
                  <a:cubicBezTo>
                    <a:pt x="3569" y="458"/>
                    <a:pt x="3562" y="454"/>
                    <a:pt x="3555" y="454"/>
                  </a:cubicBezTo>
                  <a:cubicBezTo>
                    <a:pt x="3555" y="454"/>
                    <a:pt x="3555" y="454"/>
                    <a:pt x="3555" y="454"/>
                  </a:cubicBezTo>
                  <a:moveTo>
                    <a:pt x="3590" y="453"/>
                  </a:moveTo>
                  <a:cubicBezTo>
                    <a:pt x="3583" y="453"/>
                    <a:pt x="3579" y="458"/>
                    <a:pt x="3581" y="464"/>
                  </a:cubicBezTo>
                  <a:cubicBezTo>
                    <a:pt x="3584" y="469"/>
                    <a:pt x="3591" y="474"/>
                    <a:pt x="3598" y="474"/>
                  </a:cubicBezTo>
                  <a:cubicBezTo>
                    <a:pt x="3605" y="474"/>
                    <a:pt x="3608" y="469"/>
                    <a:pt x="3606" y="463"/>
                  </a:cubicBezTo>
                  <a:cubicBezTo>
                    <a:pt x="3604" y="458"/>
                    <a:pt x="3597" y="453"/>
                    <a:pt x="3590" y="453"/>
                  </a:cubicBezTo>
                  <a:cubicBezTo>
                    <a:pt x="3590" y="453"/>
                    <a:pt x="3590" y="453"/>
                    <a:pt x="3590" y="453"/>
                  </a:cubicBezTo>
                  <a:moveTo>
                    <a:pt x="3624" y="453"/>
                  </a:moveTo>
                  <a:cubicBezTo>
                    <a:pt x="3618" y="453"/>
                    <a:pt x="3614" y="458"/>
                    <a:pt x="3616" y="463"/>
                  </a:cubicBezTo>
                  <a:cubicBezTo>
                    <a:pt x="3619" y="469"/>
                    <a:pt x="3626" y="474"/>
                    <a:pt x="3633" y="474"/>
                  </a:cubicBezTo>
                  <a:cubicBezTo>
                    <a:pt x="3640" y="474"/>
                    <a:pt x="3643" y="469"/>
                    <a:pt x="3641" y="463"/>
                  </a:cubicBezTo>
                  <a:cubicBezTo>
                    <a:pt x="3639" y="458"/>
                    <a:pt x="3631" y="453"/>
                    <a:pt x="3625" y="453"/>
                  </a:cubicBezTo>
                  <a:cubicBezTo>
                    <a:pt x="3624" y="453"/>
                    <a:pt x="3624" y="453"/>
                    <a:pt x="3624" y="453"/>
                  </a:cubicBezTo>
                  <a:moveTo>
                    <a:pt x="3659" y="453"/>
                  </a:moveTo>
                  <a:cubicBezTo>
                    <a:pt x="3653" y="453"/>
                    <a:pt x="3649" y="458"/>
                    <a:pt x="3651" y="463"/>
                  </a:cubicBezTo>
                  <a:cubicBezTo>
                    <a:pt x="3654" y="469"/>
                    <a:pt x="3661" y="473"/>
                    <a:pt x="3668" y="473"/>
                  </a:cubicBezTo>
                  <a:cubicBezTo>
                    <a:pt x="3675" y="473"/>
                    <a:pt x="3678" y="469"/>
                    <a:pt x="3676" y="463"/>
                  </a:cubicBezTo>
                  <a:cubicBezTo>
                    <a:pt x="3674" y="457"/>
                    <a:pt x="3666" y="453"/>
                    <a:pt x="3660" y="453"/>
                  </a:cubicBezTo>
                  <a:cubicBezTo>
                    <a:pt x="3659" y="453"/>
                    <a:pt x="3659" y="453"/>
                    <a:pt x="3659" y="453"/>
                  </a:cubicBezTo>
                  <a:moveTo>
                    <a:pt x="3697" y="453"/>
                  </a:moveTo>
                  <a:cubicBezTo>
                    <a:pt x="3690" y="453"/>
                    <a:pt x="3686" y="457"/>
                    <a:pt x="3689" y="463"/>
                  </a:cubicBezTo>
                  <a:cubicBezTo>
                    <a:pt x="3691" y="469"/>
                    <a:pt x="3699" y="473"/>
                    <a:pt x="3705" y="473"/>
                  </a:cubicBezTo>
                  <a:cubicBezTo>
                    <a:pt x="3712" y="473"/>
                    <a:pt x="3716" y="468"/>
                    <a:pt x="3713" y="463"/>
                  </a:cubicBezTo>
                  <a:cubicBezTo>
                    <a:pt x="3711" y="457"/>
                    <a:pt x="3703" y="453"/>
                    <a:pt x="3697" y="453"/>
                  </a:cubicBezTo>
                  <a:cubicBezTo>
                    <a:pt x="3697" y="453"/>
                    <a:pt x="3697" y="453"/>
                    <a:pt x="3697" y="453"/>
                  </a:cubicBezTo>
                  <a:moveTo>
                    <a:pt x="3731" y="452"/>
                  </a:moveTo>
                  <a:cubicBezTo>
                    <a:pt x="3724" y="452"/>
                    <a:pt x="3721" y="457"/>
                    <a:pt x="3723" y="463"/>
                  </a:cubicBezTo>
                  <a:cubicBezTo>
                    <a:pt x="3726" y="468"/>
                    <a:pt x="3733" y="473"/>
                    <a:pt x="3740" y="473"/>
                  </a:cubicBezTo>
                  <a:cubicBezTo>
                    <a:pt x="3747" y="473"/>
                    <a:pt x="3750" y="468"/>
                    <a:pt x="3748" y="463"/>
                  </a:cubicBezTo>
                  <a:cubicBezTo>
                    <a:pt x="3745" y="457"/>
                    <a:pt x="3738" y="452"/>
                    <a:pt x="3731" y="452"/>
                  </a:cubicBezTo>
                  <a:cubicBezTo>
                    <a:pt x="3731" y="452"/>
                    <a:pt x="3731" y="452"/>
                    <a:pt x="3731" y="452"/>
                  </a:cubicBezTo>
                  <a:moveTo>
                    <a:pt x="3766" y="452"/>
                  </a:moveTo>
                  <a:cubicBezTo>
                    <a:pt x="3759" y="452"/>
                    <a:pt x="3756" y="457"/>
                    <a:pt x="3758" y="462"/>
                  </a:cubicBezTo>
                  <a:cubicBezTo>
                    <a:pt x="3761" y="468"/>
                    <a:pt x="3768" y="473"/>
                    <a:pt x="3775" y="473"/>
                  </a:cubicBezTo>
                  <a:cubicBezTo>
                    <a:pt x="3782" y="473"/>
                    <a:pt x="3785" y="468"/>
                    <a:pt x="3783" y="462"/>
                  </a:cubicBezTo>
                  <a:cubicBezTo>
                    <a:pt x="3780" y="457"/>
                    <a:pt x="3772" y="452"/>
                    <a:pt x="3766" y="452"/>
                  </a:cubicBezTo>
                  <a:cubicBezTo>
                    <a:pt x="3766" y="452"/>
                    <a:pt x="3766" y="452"/>
                    <a:pt x="3766" y="452"/>
                  </a:cubicBezTo>
                  <a:moveTo>
                    <a:pt x="3801" y="452"/>
                  </a:moveTo>
                  <a:cubicBezTo>
                    <a:pt x="3794" y="452"/>
                    <a:pt x="3791" y="457"/>
                    <a:pt x="3793" y="462"/>
                  </a:cubicBezTo>
                  <a:cubicBezTo>
                    <a:pt x="3796" y="468"/>
                    <a:pt x="3804" y="472"/>
                    <a:pt x="3810" y="472"/>
                  </a:cubicBezTo>
                  <a:cubicBezTo>
                    <a:pt x="3817" y="472"/>
                    <a:pt x="3820" y="468"/>
                    <a:pt x="3818" y="462"/>
                  </a:cubicBezTo>
                  <a:cubicBezTo>
                    <a:pt x="3815" y="456"/>
                    <a:pt x="3807" y="452"/>
                    <a:pt x="3801" y="452"/>
                  </a:cubicBezTo>
                  <a:cubicBezTo>
                    <a:pt x="3801" y="452"/>
                    <a:pt x="3801" y="452"/>
                    <a:pt x="3801" y="452"/>
                  </a:cubicBezTo>
                  <a:moveTo>
                    <a:pt x="3836" y="452"/>
                  </a:moveTo>
                  <a:cubicBezTo>
                    <a:pt x="3829" y="452"/>
                    <a:pt x="3826" y="456"/>
                    <a:pt x="3829" y="462"/>
                  </a:cubicBezTo>
                  <a:cubicBezTo>
                    <a:pt x="3831" y="468"/>
                    <a:pt x="3839" y="472"/>
                    <a:pt x="3846" y="472"/>
                  </a:cubicBezTo>
                  <a:cubicBezTo>
                    <a:pt x="3853" y="472"/>
                    <a:pt x="3856" y="467"/>
                    <a:pt x="3853" y="462"/>
                  </a:cubicBezTo>
                  <a:cubicBezTo>
                    <a:pt x="3850" y="456"/>
                    <a:pt x="3843" y="452"/>
                    <a:pt x="3836" y="452"/>
                  </a:cubicBezTo>
                  <a:cubicBezTo>
                    <a:pt x="3836" y="452"/>
                    <a:pt x="3836" y="452"/>
                    <a:pt x="3836" y="452"/>
                  </a:cubicBezTo>
                  <a:moveTo>
                    <a:pt x="3871" y="451"/>
                  </a:moveTo>
                  <a:cubicBezTo>
                    <a:pt x="3864" y="451"/>
                    <a:pt x="3861" y="456"/>
                    <a:pt x="3863" y="462"/>
                  </a:cubicBezTo>
                  <a:cubicBezTo>
                    <a:pt x="3866" y="467"/>
                    <a:pt x="3874" y="472"/>
                    <a:pt x="3881" y="472"/>
                  </a:cubicBezTo>
                  <a:cubicBezTo>
                    <a:pt x="3888" y="472"/>
                    <a:pt x="3891" y="467"/>
                    <a:pt x="3888" y="462"/>
                  </a:cubicBezTo>
                  <a:cubicBezTo>
                    <a:pt x="3885" y="456"/>
                    <a:pt x="3877" y="451"/>
                    <a:pt x="3871" y="451"/>
                  </a:cubicBezTo>
                  <a:cubicBezTo>
                    <a:pt x="3871" y="451"/>
                    <a:pt x="3871" y="451"/>
                    <a:pt x="3871" y="451"/>
                  </a:cubicBezTo>
                  <a:moveTo>
                    <a:pt x="3906" y="451"/>
                  </a:moveTo>
                  <a:cubicBezTo>
                    <a:pt x="3899" y="451"/>
                    <a:pt x="3896" y="456"/>
                    <a:pt x="3899" y="462"/>
                  </a:cubicBezTo>
                  <a:cubicBezTo>
                    <a:pt x="3901" y="467"/>
                    <a:pt x="3909" y="472"/>
                    <a:pt x="3916" y="472"/>
                  </a:cubicBezTo>
                  <a:cubicBezTo>
                    <a:pt x="3923" y="472"/>
                    <a:pt x="3926" y="467"/>
                    <a:pt x="3923" y="461"/>
                  </a:cubicBezTo>
                  <a:cubicBezTo>
                    <a:pt x="3920" y="456"/>
                    <a:pt x="3912" y="451"/>
                    <a:pt x="3906" y="451"/>
                  </a:cubicBezTo>
                  <a:cubicBezTo>
                    <a:pt x="3906" y="451"/>
                    <a:pt x="3906" y="451"/>
                    <a:pt x="3906" y="451"/>
                  </a:cubicBezTo>
                  <a:moveTo>
                    <a:pt x="3940" y="451"/>
                  </a:moveTo>
                  <a:cubicBezTo>
                    <a:pt x="3933" y="451"/>
                    <a:pt x="3930" y="456"/>
                    <a:pt x="3933" y="461"/>
                  </a:cubicBezTo>
                  <a:cubicBezTo>
                    <a:pt x="3936" y="467"/>
                    <a:pt x="3944" y="472"/>
                    <a:pt x="3951" y="471"/>
                  </a:cubicBezTo>
                  <a:cubicBezTo>
                    <a:pt x="3958" y="471"/>
                    <a:pt x="3961" y="467"/>
                    <a:pt x="3958" y="461"/>
                  </a:cubicBezTo>
                  <a:cubicBezTo>
                    <a:pt x="3955" y="455"/>
                    <a:pt x="3947" y="451"/>
                    <a:pt x="3940" y="451"/>
                  </a:cubicBezTo>
                  <a:cubicBezTo>
                    <a:pt x="3940" y="451"/>
                    <a:pt x="3940" y="451"/>
                    <a:pt x="3940" y="451"/>
                  </a:cubicBezTo>
                  <a:moveTo>
                    <a:pt x="3975" y="451"/>
                  </a:moveTo>
                  <a:cubicBezTo>
                    <a:pt x="3968" y="451"/>
                    <a:pt x="3965" y="455"/>
                    <a:pt x="3968" y="461"/>
                  </a:cubicBezTo>
                  <a:cubicBezTo>
                    <a:pt x="3971" y="467"/>
                    <a:pt x="3979" y="471"/>
                    <a:pt x="3986" y="471"/>
                  </a:cubicBezTo>
                  <a:cubicBezTo>
                    <a:pt x="3993" y="471"/>
                    <a:pt x="3996" y="467"/>
                    <a:pt x="3993" y="461"/>
                  </a:cubicBezTo>
                  <a:cubicBezTo>
                    <a:pt x="3990" y="455"/>
                    <a:pt x="3982" y="451"/>
                    <a:pt x="3975" y="451"/>
                  </a:cubicBezTo>
                  <a:cubicBezTo>
                    <a:pt x="3975" y="451"/>
                    <a:pt x="3975" y="451"/>
                    <a:pt x="3975" y="451"/>
                  </a:cubicBezTo>
                  <a:moveTo>
                    <a:pt x="4009" y="450"/>
                  </a:moveTo>
                  <a:cubicBezTo>
                    <a:pt x="4002" y="450"/>
                    <a:pt x="3999" y="455"/>
                    <a:pt x="4003" y="461"/>
                  </a:cubicBezTo>
                  <a:cubicBezTo>
                    <a:pt x="4006" y="466"/>
                    <a:pt x="4014" y="471"/>
                    <a:pt x="4020" y="471"/>
                  </a:cubicBezTo>
                  <a:cubicBezTo>
                    <a:pt x="4027" y="471"/>
                    <a:pt x="4030" y="466"/>
                    <a:pt x="4027" y="461"/>
                  </a:cubicBezTo>
                  <a:cubicBezTo>
                    <a:pt x="4024" y="455"/>
                    <a:pt x="4016" y="450"/>
                    <a:pt x="4009" y="450"/>
                  </a:cubicBezTo>
                  <a:cubicBezTo>
                    <a:pt x="4009" y="450"/>
                    <a:pt x="4009" y="450"/>
                    <a:pt x="4009" y="450"/>
                  </a:cubicBezTo>
                  <a:moveTo>
                    <a:pt x="316" y="449"/>
                  </a:moveTo>
                  <a:cubicBezTo>
                    <a:pt x="309" y="449"/>
                    <a:pt x="300" y="453"/>
                    <a:pt x="295" y="459"/>
                  </a:cubicBezTo>
                  <a:cubicBezTo>
                    <a:pt x="291" y="465"/>
                    <a:pt x="293" y="469"/>
                    <a:pt x="300" y="469"/>
                  </a:cubicBezTo>
                  <a:cubicBezTo>
                    <a:pt x="306" y="469"/>
                    <a:pt x="315" y="464"/>
                    <a:pt x="320" y="459"/>
                  </a:cubicBezTo>
                  <a:cubicBezTo>
                    <a:pt x="324" y="453"/>
                    <a:pt x="322" y="449"/>
                    <a:pt x="316" y="449"/>
                  </a:cubicBezTo>
                  <a:cubicBezTo>
                    <a:pt x="316" y="449"/>
                    <a:pt x="316" y="449"/>
                    <a:pt x="316" y="449"/>
                  </a:cubicBezTo>
                  <a:moveTo>
                    <a:pt x="350" y="448"/>
                  </a:moveTo>
                  <a:cubicBezTo>
                    <a:pt x="344" y="449"/>
                    <a:pt x="335" y="453"/>
                    <a:pt x="330" y="459"/>
                  </a:cubicBezTo>
                  <a:cubicBezTo>
                    <a:pt x="326" y="464"/>
                    <a:pt x="328" y="469"/>
                    <a:pt x="334" y="469"/>
                  </a:cubicBezTo>
                  <a:cubicBezTo>
                    <a:pt x="341" y="469"/>
                    <a:pt x="350" y="464"/>
                    <a:pt x="355" y="459"/>
                  </a:cubicBezTo>
                  <a:cubicBezTo>
                    <a:pt x="359" y="453"/>
                    <a:pt x="357" y="448"/>
                    <a:pt x="350" y="448"/>
                  </a:cubicBezTo>
                  <a:cubicBezTo>
                    <a:pt x="350" y="448"/>
                    <a:pt x="350" y="448"/>
                    <a:pt x="350" y="448"/>
                  </a:cubicBezTo>
                  <a:moveTo>
                    <a:pt x="385" y="448"/>
                  </a:moveTo>
                  <a:cubicBezTo>
                    <a:pt x="378" y="448"/>
                    <a:pt x="370" y="453"/>
                    <a:pt x="365" y="458"/>
                  </a:cubicBezTo>
                  <a:cubicBezTo>
                    <a:pt x="361" y="464"/>
                    <a:pt x="363" y="469"/>
                    <a:pt x="370" y="468"/>
                  </a:cubicBezTo>
                  <a:cubicBezTo>
                    <a:pt x="376" y="468"/>
                    <a:pt x="385" y="464"/>
                    <a:pt x="390" y="458"/>
                  </a:cubicBezTo>
                  <a:cubicBezTo>
                    <a:pt x="394" y="453"/>
                    <a:pt x="392" y="448"/>
                    <a:pt x="385" y="448"/>
                  </a:cubicBezTo>
                  <a:cubicBezTo>
                    <a:pt x="385" y="448"/>
                    <a:pt x="385" y="448"/>
                    <a:pt x="385" y="448"/>
                  </a:cubicBezTo>
                  <a:moveTo>
                    <a:pt x="420" y="448"/>
                  </a:moveTo>
                  <a:cubicBezTo>
                    <a:pt x="413" y="448"/>
                    <a:pt x="404" y="453"/>
                    <a:pt x="400" y="458"/>
                  </a:cubicBezTo>
                  <a:cubicBezTo>
                    <a:pt x="396" y="464"/>
                    <a:pt x="398" y="468"/>
                    <a:pt x="404" y="468"/>
                  </a:cubicBezTo>
                  <a:cubicBezTo>
                    <a:pt x="411" y="468"/>
                    <a:pt x="420" y="464"/>
                    <a:pt x="424" y="458"/>
                  </a:cubicBezTo>
                  <a:cubicBezTo>
                    <a:pt x="429" y="452"/>
                    <a:pt x="427" y="448"/>
                    <a:pt x="420" y="448"/>
                  </a:cubicBezTo>
                  <a:cubicBezTo>
                    <a:pt x="420" y="448"/>
                    <a:pt x="420" y="448"/>
                    <a:pt x="420" y="448"/>
                  </a:cubicBezTo>
                  <a:moveTo>
                    <a:pt x="455" y="448"/>
                  </a:moveTo>
                  <a:cubicBezTo>
                    <a:pt x="448" y="448"/>
                    <a:pt x="439" y="452"/>
                    <a:pt x="435" y="458"/>
                  </a:cubicBezTo>
                  <a:cubicBezTo>
                    <a:pt x="431" y="464"/>
                    <a:pt x="433" y="468"/>
                    <a:pt x="440" y="468"/>
                  </a:cubicBezTo>
                  <a:cubicBezTo>
                    <a:pt x="446" y="468"/>
                    <a:pt x="455" y="463"/>
                    <a:pt x="459" y="458"/>
                  </a:cubicBezTo>
                  <a:cubicBezTo>
                    <a:pt x="464" y="452"/>
                    <a:pt x="462" y="448"/>
                    <a:pt x="455" y="448"/>
                  </a:cubicBezTo>
                  <a:cubicBezTo>
                    <a:pt x="455" y="448"/>
                    <a:pt x="455" y="448"/>
                    <a:pt x="455" y="448"/>
                  </a:cubicBezTo>
                  <a:moveTo>
                    <a:pt x="491" y="447"/>
                  </a:moveTo>
                  <a:cubicBezTo>
                    <a:pt x="484" y="448"/>
                    <a:pt x="475" y="452"/>
                    <a:pt x="471" y="458"/>
                  </a:cubicBezTo>
                  <a:cubicBezTo>
                    <a:pt x="467" y="463"/>
                    <a:pt x="469" y="468"/>
                    <a:pt x="476" y="468"/>
                  </a:cubicBezTo>
                  <a:cubicBezTo>
                    <a:pt x="483" y="468"/>
                    <a:pt x="491" y="463"/>
                    <a:pt x="496" y="458"/>
                  </a:cubicBezTo>
                  <a:cubicBezTo>
                    <a:pt x="500" y="452"/>
                    <a:pt x="498" y="447"/>
                    <a:pt x="491" y="447"/>
                  </a:cubicBezTo>
                  <a:cubicBezTo>
                    <a:pt x="491" y="447"/>
                    <a:pt x="491" y="447"/>
                    <a:pt x="491" y="447"/>
                  </a:cubicBezTo>
                  <a:moveTo>
                    <a:pt x="525" y="447"/>
                  </a:moveTo>
                  <a:cubicBezTo>
                    <a:pt x="519" y="447"/>
                    <a:pt x="510" y="452"/>
                    <a:pt x="506" y="457"/>
                  </a:cubicBezTo>
                  <a:cubicBezTo>
                    <a:pt x="502" y="463"/>
                    <a:pt x="504" y="468"/>
                    <a:pt x="511" y="468"/>
                  </a:cubicBezTo>
                  <a:cubicBezTo>
                    <a:pt x="518" y="467"/>
                    <a:pt x="526" y="463"/>
                    <a:pt x="530" y="457"/>
                  </a:cubicBezTo>
                  <a:cubicBezTo>
                    <a:pt x="534" y="452"/>
                    <a:pt x="532" y="447"/>
                    <a:pt x="526" y="447"/>
                  </a:cubicBezTo>
                  <a:cubicBezTo>
                    <a:pt x="525" y="447"/>
                    <a:pt x="525" y="447"/>
                    <a:pt x="525" y="447"/>
                  </a:cubicBezTo>
                  <a:moveTo>
                    <a:pt x="560" y="447"/>
                  </a:moveTo>
                  <a:cubicBezTo>
                    <a:pt x="554" y="447"/>
                    <a:pt x="545" y="452"/>
                    <a:pt x="541" y="457"/>
                  </a:cubicBezTo>
                  <a:cubicBezTo>
                    <a:pt x="537" y="463"/>
                    <a:pt x="539" y="467"/>
                    <a:pt x="546" y="467"/>
                  </a:cubicBezTo>
                  <a:cubicBezTo>
                    <a:pt x="553" y="467"/>
                    <a:pt x="561" y="463"/>
                    <a:pt x="565" y="457"/>
                  </a:cubicBezTo>
                  <a:cubicBezTo>
                    <a:pt x="569" y="451"/>
                    <a:pt x="567" y="447"/>
                    <a:pt x="560" y="447"/>
                  </a:cubicBezTo>
                  <a:cubicBezTo>
                    <a:pt x="560" y="447"/>
                    <a:pt x="560" y="447"/>
                    <a:pt x="560" y="447"/>
                  </a:cubicBezTo>
                  <a:moveTo>
                    <a:pt x="596" y="447"/>
                  </a:moveTo>
                  <a:cubicBezTo>
                    <a:pt x="589" y="447"/>
                    <a:pt x="580" y="451"/>
                    <a:pt x="576" y="457"/>
                  </a:cubicBezTo>
                  <a:cubicBezTo>
                    <a:pt x="572" y="463"/>
                    <a:pt x="575" y="467"/>
                    <a:pt x="581" y="467"/>
                  </a:cubicBezTo>
                  <a:cubicBezTo>
                    <a:pt x="588" y="467"/>
                    <a:pt x="597" y="462"/>
                    <a:pt x="601" y="457"/>
                  </a:cubicBezTo>
                  <a:cubicBezTo>
                    <a:pt x="605" y="451"/>
                    <a:pt x="602" y="447"/>
                    <a:pt x="596" y="447"/>
                  </a:cubicBezTo>
                  <a:cubicBezTo>
                    <a:pt x="596" y="447"/>
                    <a:pt x="596" y="447"/>
                    <a:pt x="596" y="447"/>
                  </a:cubicBezTo>
                  <a:moveTo>
                    <a:pt x="630" y="447"/>
                  </a:moveTo>
                  <a:cubicBezTo>
                    <a:pt x="623" y="447"/>
                    <a:pt x="615" y="451"/>
                    <a:pt x="611" y="457"/>
                  </a:cubicBezTo>
                  <a:cubicBezTo>
                    <a:pt x="607" y="462"/>
                    <a:pt x="610" y="467"/>
                    <a:pt x="616" y="467"/>
                  </a:cubicBezTo>
                  <a:cubicBezTo>
                    <a:pt x="623" y="467"/>
                    <a:pt x="632" y="462"/>
                    <a:pt x="635" y="457"/>
                  </a:cubicBezTo>
                  <a:cubicBezTo>
                    <a:pt x="639" y="451"/>
                    <a:pt x="637" y="447"/>
                    <a:pt x="630" y="447"/>
                  </a:cubicBezTo>
                  <a:cubicBezTo>
                    <a:pt x="630" y="447"/>
                    <a:pt x="630" y="447"/>
                    <a:pt x="630" y="447"/>
                  </a:cubicBezTo>
                  <a:moveTo>
                    <a:pt x="665" y="446"/>
                  </a:moveTo>
                  <a:cubicBezTo>
                    <a:pt x="658" y="446"/>
                    <a:pt x="650" y="451"/>
                    <a:pt x="646" y="456"/>
                  </a:cubicBezTo>
                  <a:cubicBezTo>
                    <a:pt x="642" y="462"/>
                    <a:pt x="645" y="467"/>
                    <a:pt x="651" y="467"/>
                  </a:cubicBezTo>
                  <a:cubicBezTo>
                    <a:pt x="658" y="466"/>
                    <a:pt x="667" y="462"/>
                    <a:pt x="670" y="456"/>
                  </a:cubicBezTo>
                  <a:cubicBezTo>
                    <a:pt x="674" y="451"/>
                    <a:pt x="672" y="446"/>
                    <a:pt x="665" y="446"/>
                  </a:cubicBezTo>
                  <a:cubicBezTo>
                    <a:pt x="665" y="446"/>
                    <a:pt x="665" y="446"/>
                    <a:pt x="665" y="446"/>
                  </a:cubicBezTo>
                  <a:moveTo>
                    <a:pt x="700" y="446"/>
                  </a:moveTo>
                  <a:cubicBezTo>
                    <a:pt x="693" y="446"/>
                    <a:pt x="684" y="451"/>
                    <a:pt x="681" y="456"/>
                  </a:cubicBezTo>
                  <a:cubicBezTo>
                    <a:pt x="677" y="462"/>
                    <a:pt x="679" y="466"/>
                    <a:pt x="686" y="466"/>
                  </a:cubicBezTo>
                  <a:cubicBezTo>
                    <a:pt x="693" y="466"/>
                    <a:pt x="702" y="462"/>
                    <a:pt x="705" y="456"/>
                  </a:cubicBezTo>
                  <a:cubicBezTo>
                    <a:pt x="709" y="451"/>
                    <a:pt x="706" y="446"/>
                    <a:pt x="700" y="446"/>
                  </a:cubicBezTo>
                  <a:cubicBezTo>
                    <a:pt x="700" y="446"/>
                    <a:pt x="700" y="446"/>
                    <a:pt x="700" y="446"/>
                  </a:cubicBezTo>
                  <a:moveTo>
                    <a:pt x="735" y="446"/>
                  </a:moveTo>
                  <a:cubicBezTo>
                    <a:pt x="728" y="446"/>
                    <a:pt x="719" y="450"/>
                    <a:pt x="716" y="456"/>
                  </a:cubicBezTo>
                  <a:cubicBezTo>
                    <a:pt x="712" y="462"/>
                    <a:pt x="715" y="466"/>
                    <a:pt x="721" y="466"/>
                  </a:cubicBezTo>
                  <a:cubicBezTo>
                    <a:pt x="728" y="466"/>
                    <a:pt x="737" y="461"/>
                    <a:pt x="740" y="456"/>
                  </a:cubicBezTo>
                  <a:cubicBezTo>
                    <a:pt x="744" y="450"/>
                    <a:pt x="741" y="446"/>
                    <a:pt x="735" y="446"/>
                  </a:cubicBezTo>
                  <a:cubicBezTo>
                    <a:pt x="735" y="446"/>
                    <a:pt x="735" y="446"/>
                    <a:pt x="735" y="446"/>
                  </a:cubicBezTo>
                  <a:moveTo>
                    <a:pt x="770" y="446"/>
                  </a:moveTo>
                  <a:cubicBezTo>
                    <a:pt x="763" y="446"/>
                    <a:pt x="755" y="450"/>
                    <a:pt x="751" y="456"/>
                  </a:cubicBezTo>
                  <a:cubicBezTo>
                    <a:pt x="748" y="461"/>
                    <a:pt x="750" y="466"/>
                    <a:pt x="757" y="466"/>
                  </a:cubicBezTo>
                  <a:cubicBezTo>
                    <a:pt x="764" y="466"/>
                    <a:pt x="772" y="461"/>
                    <a:pt x="776" y="456"/>
                  </a:cubicBezTo>
                  <a:cubicBezTo>
                    <a:pt x="779" y="450"/>
                    <a:pt x="777" y="446"/>
                    <a:pt x="770" y="446"/>
                  </a:cubicBezTo>
                  <a:cubicBezTo>
                    <a:pt x="770" y="446"/>
                    <a:pt x="770" y="446"/>
                    <a:pt x="770" y="446"/>
                  </a:cubicBezTo>
                  <a:moveTo>
                    <a:pt x="804" y="445"/>
                  </a:moveTo>
                  <a:cubicBezTo>
                    <a:pt x="798" y="445"/>
                    <a:pt x="789" y="450"/>
                    <a:pt x="786" y="456"/>
                  </a:cubicBezTo>
                  <a:cubicBezTo>
                    <a:pt x="782" y="461"/>
                    <a:pt x="785" y="466"/>
                    <a:pt x="792" y="466"/>
                  </a:cubicBezTo>
                  <a:cubicBezTo>
                    <a:pt x="799" y="466"/>
                    <a:pt x="807" y="461"/>
                    <a:pt x="810" y="455"/>
                  </a:cubicBezTo>
                  <a:cubicBezTo>
                    <a:pt x="814" y="450"/>
                    <a:pt x="811" y="445"/>
                    <a:pt x="804" y="445"/>
                  </a:cubicBezTo>
                  <a:cubicBezTo>
                    <a:pt x="804" y="445"/>
                    <a:pt x="804" y="445"/>
                    <a:pt x="804" y="445"/>
                  </a:cubicBezTo>
                  <a:moveTo>
                    <a:pt x="837" y="445"/>
                  </a:moveTo>
                  <a:cubicBezTo>
                    <a:pt x="831" y="445"/>
                    <a:pt x="822" y="450"/>
                    <a:pt x="819" y="455"/>
                  </a:cubicBezTo>
                  <a:cubicBezTo>
                    <a:pt x="816" y="461"/>
                    <a:pt x="818" y="465"/>
                    <a:pt x="825" y="465"/>
                  </a:cubicBezTo>
                  <a:cubicBezTo>
                    <a:pt x="832" y="465"/>
                    <a:pt x="840" y="461"/>
                    <a:pt x="843" y="455"/>
                  </a:cubicBezTo>
                  <a:cubicBezTo>
                    <a:pt x="847" y="450"/>
                    <a:pt x="844" y="445"/>
                    <a:pt x="837" y="445"/>
                  </a:cubicBezTo>
                  <a:cubicBezTo>
                    <a:pt x="837" y="445"/>
                    <a:pt x="837" y="445"/>
                    <a:pt x="837" y="445"/>
                  </a:cubicBezTo>
                  <a:moveTo>
                    <a:pt x="873" y="445"/>
                  </a:moveTo>
                  <a:cubicBezTo>
                    <a:pt x="866" y="445"/>
                    <a:pt x="858" y="449"/>
                    <a:pt x="854" y="455"/>
                  </a:cubicBezTo>
                  <a:cubicBezTo>
                    <a:pt x="851" y="461"/>
                    <a:pt x="854" y="465"/>
                    <a:pt x="860" y="465"/>
                  </a:cubicBezTo>
                  <a:cubicBezTo>
                    <a:pt x="867" y="465"/>
                    <a:pt x="875" y="460"/>
                    <a:pt x="879" y="455"/>
                  </a:cubicBezTo>
                  <a:cubicBezTo>
                    <a:pt x="882" y="449"/>
                    <a:pt x="879" y="445"/>
                    <a:pt x="873" y="445"/>
                  </a:cubicBezTo>
                  <a:cubicBezTo>
                    <a:pt x="873" y="445"/>
                    <a:pt x="873" y="445"/>
                    <a:pt x="873" y="445"/>
                  </a:cubicBezTo>
                  <a:moveTo>
                    <a:pt x="907" y="445"/>
                  </a:moveTo>
                  <a:cubicBezTo>
                    <a:pt x="900" y="445"/>
                    <a:pt x="892" y="449"/>
                    <a:pt x="889" y="455"/>
                  </a:cubicBezTo>
                  <a:cubicBezTo>
                    <a:pt x="886" y="460"/>
                    <a:pt x="889" y="465"/>
                    <a:pt x="895" y="465"/>
                  </a:cubicBezTo>
                  <a:cubicBezTo>
                    <a:pt x="902" y="465"/>
                    <a:pt x="910" y="460"/>
                    <a:pt x="913" y="455"/>
                  </a:cubicBezTo>
                  <a:cubicBezTo>
                    <a:pt x="917" y="449"/>
                    <a:pt x="914" y="445"/>
                    <a:pt x="907" y="445"/>
                  </a:cubicBezTo>
                  <a:cubicBezTo>
                    <a:pt x="907" y="445"/>
                    <a:pt x="907" y="445"/>
                    <a:pt x="907" y="445"/>
                  </a:cubicBezTo>
                  <a:moveTo>
                    <a:pt x="942" y="444"/>
                  </a:moveTo>
                  <a:cubicBezTo>
                    <a:pt x="935" y="444"/>
                    <a:pt x="927" y="449"/>
                    <a:pt x="924" y="455"/>
                  </a:cubicBezTo>
                  <a:cubicBezTo>
                    <a:pt x="921" y="460"/>
                    <a:pt x="924" y="465"/>
                    <a:pt x="930" y="465"/>
                  </a:cubicBezTo>
                  <a:cubicBezTo>
                    <a:pt x="937" y="465"/>
                    <a:pt x="945" y="460"/>
                    <a:pt x="948" y="454"/>
                  </a:cubicBezTo>
                  <a:cubicBezTo>
                    <a:pt x="952" y="449"/>
                    <a:pt x="949" y="444"/>
                    <a:pt x="942" y="444"/>
                  </a:cubicBezTo>
                  <a:cubicBezTo>
                    <a:pt x="942" y="444"/>
                    <a:pt x="942" y="444"/>
                    <a:pt x="942" y="444"/>
                  </a:cubicBezTo>
                  <a:moveTo>
                    <a:pt x="977" y="444"/>
                  </a:moveTo>
                  <a:cubicBezTo>
                    <a:pt x="970" y="444"/>
                    <a:pt x="962" y="449"/>
                    <a:pt x="959" y="454"/>
                  </a:cubicBezTo>
                  <a:cubicBezTo>
                    <a:pt x="956" y="460"/>
                    <a:pt x="958" y="464"/>
                    <a:pt x="965" y="464"/>
                  </a:cubicBezTo>
                  <a:cubicBezTo>
                    <a:pt x="972" y="464"/>
                    <a:pt x="980" y="460"/>
                    <a:pt x="983" y="454"/>
                  </a:cubicBezTo>
                  <a:cubicBezTo>
                    <a:pt x="986" y="449"/>
                    <a:pt x="983" y="444"/>
                    <a:pt x="977" y="444"/>
                  </a:cubicBezTo>
                  <a:cubicBezTo>
                    <a:pt x="977" y="444"/>
                    <a:pt x="977" y="444"/>
                    <a:pt x="977" y="444"/>
                  </a:cubicBezTo>
                  <a:moveTo>
                    <a:pt x="1011" y="444"/>
                  </a:moveTo>
                  <a:cubicBezTo>
                    <a:pt x="1005" y="444"/>
                    <a:pt x="997" y="448"/>
                    <a:pt x="994" y="454"/>
                  </a:cubicBezTo>
                  <a:cubicBezTo>
                    <a:pt x="991" y="460"/>
                    <a:pt x="994" y="464"/>
                    <a:pt x="1000" y="464"/>
                  </a:cubicBezTo>
                  <a:cubicBezTo>
                    <a:pt x="1007" y="464"/>
                    <a:pt x="1015" y="460"/>
                    <a:pt x="1018" y="454"/>
                  </a:cubicBezTo>
                  <a:cubicBezTo>
                    <a:pt x="1021" y="448"/>
                    <a:pt x="1018" y="444"/>
                    <a:pt x="1012" y="444"/>
                  </a:cubicBezTo>
                  <a:cubicBezTo>
                    <a:pt x="1012" y="444"/>
                    <a:pt x="1011" y="444"/>
                    <a:pt x="1011" y="444"/>
                  </a:cubicBezTo>
                  <a:moveTo>
                    <a:pt x="1047" y="444"/>
                  </a:moveTo>
                  <a:cubicBezTo>
                    <a:pt x="1040" y="444"/>
                    <a:pt x="1032" y="448"/>
                    <a:pt x="1029" y="454"/>
                  </a:cubicBezTo>
                  <a:cubicBezTo>
                    <a:pt x="1026" y="459"/>
                    <a:pt x="1029" y="464"/>
                    <a:pt x="1036" y="464"/>
                  </a:cubicBezTo>
                  <a:cubicBezTo>
                    <a:pt x="1043" y="464"/>
                    <a:pt x="1051" y="459"/>
                    <a:pt x="1053" y="454"/>
                  </a:cubicBezTo>
                  <a:cubicBezTo>
                    <a:pt x="1056" y="448"/>
                    <a:pt x="1053" y="444"/>
                    <a:pt x="1047" y="444"/>
                  </a:cubicBezTo>
                  <a:cubicBezTo>
                    <a:pt x="1047" y="444"/>
                    <a:pt x="1047" y="444"/>
                    <a:pt x="1047" y="444"/>
                  </a:cubicBezTo>
                  <a:moveTo>
                    <a:pt x="1081" y="443"/>
                  </a:moveTo>
                  <a:cubicBezTo>
                    <a:pt x="1074" y="443"/>
                    <a:pt x="1067" y="448"/>
                    <a:pt x="1064" y="454"/>
                  </a:cubicBezTo>
                  <a:cubicBezTo>
                    <a:pt x="1061" y="459"/>
                    <a:pt x="1064" y="464"/>
                    <a:pt x="1071" y="464"/>
                  </a:cubicBezTo>
                  <a:cubicBezTo>
                    <a:pt x="1077" y="464"/>
                    <a:pt x="1085" y="459"/>
                    <a:pt x="1088" y="453"/>
                  </a:cubicBezTo>
                  <a:cubicBezTo>
                    <a:pt x="1091" y="448"/>
                    <a:pt x="1088" y="443"/>
                    <a:pt x="1081" y="443"/>
                  </a:cubicBezTo>
                  <a:cubicBezTo>
                    <a:pt x="1081" y="443"/>
                    <a:pt x="1081" y="443"/>
                    <a:pt x="1081" y="443"/>
                  </a:cubicBezTo>
                  <a:moveTo>
                    <a:pt x="1115" y="443"/>
                  </a:moveTo>
                  <a:cubicBezTo>
                    <a:pt x="1109" y="443"/>
                    <a:pt x="1101" y="448"/>
                    <a:pt x="1098" y="453"/>
                  </a:cubicBezTo>
                  <a:cubicBezTo>
                    <a:pt x="1095" y="459"/>
                    <a:pt x="1098" y="463"/>
                    <a:pt x="1105" y="463"/>
                  </a:cubicBezTo>
                  <a:cubicBezTo>
                    <a:pt x="1112" y="463"/>
                    <a:pt x="1120" y="459"/>
                    <a:pt x="1122" y="453"/>
                  </a:cubicBezTo>
                  <a:cubicBezTo>
                    <a:pt x="1125" y="448"/>
                    <a:pt x="1122" y="443"/>
                    <a:pt x="1115" y="443"/>
                  </a:cubicBezTo>
                  <a:cubicBezTo>
                    <a:pt x="1115" y="443"/>
                    <a:pt x="1115" y="443"/>
                    <a:pt x="1115" y="443"/>
                  </a:cubicBezTo>
                  <a:moveTo>
                    <a:pt x="1256" y="442"/>
                  </a:moveTo>
                  <a:cubicBezTo>
                    <a:pt x="1249" y="442"/>
                    <a:pt x="1242" y="447"/>
                    <a:pt x="1239" y="452"/>
                  </a:cubicBezTo>
                  <a:cubicBezTo>
                    <a:pt x="1237" y="458"/>
                    <a:pt x="1240" y="463"/>
                    <a:pt x="1247" y="462"/>
                  </a:cubicBezTo>
                  <a:cubicBezTo>
                    <a:pt x="1253" y="462"/>
                    <a:pt x="1261" y="458"/>
                    <a:pt x="1264" y="452"/>
                  </a:cubicBezTo>
                  <a:cubicBezTo>
                    <a:pt x="1266" y="447"/>
                    <a:pt x="1263" y="442"/>
                    <a:pt x="1256" y="442"/>
                  </a:cubicBezTo>
                  <a:cubicBezTo>
                    <a:pt x="1256" y="442"/>
                    <a:pt x="1256" y="442"/>
                    <a:pt x="1256" y="442"/>
                  </a:cubicBezTo>
                  <a:moveTo>
                    <a:pt x="1291" y="442"/>
                  </a:moveTo>
                  <a:cubicBezTo>
                    <a:pt x="1284" y="442"/>
                    <a:pt x="1276" y="447"/>
                    <a:pt x="1274" y="452"/>
                  </a:cubicBezTo>
                  <a:cubicBezTo>
                    <a:pt x="1271" y="458"/>
                    <a:pt x="1275" y="462"/>
                    <a:pt x="1282" y="462"/>
                  </a:cubicBezTo>
                  <a:cubicBezTo>
                    <a:pt x="1288" y="462"/>
                    <a:pt x="1296" y="458"/>
                    <a:pt x="1298" y="452"/>
                  </a:cubicBezTo>
                  <a:cubicBezTo>
                    <a:pt x="1301" y="446"/>
                    <a:pt x="1297" y="442"/>
                    <a:pt x="1291" y="442"/>
                  </a:cubicBezTo>
                  <a:cubicBezTo>
                    <a:pt x="1291" y="442"/>
                    <a:pt x="1291" y="442"/>
                    <a:pt x="1291" y="442"/>
                  </a:cubicBezTo>
                  <a:moveTo>
                    <a:pt x="2018" y="437"/>
                  </a:moveTo>
                  <a:cubicBezTo>
                    <a:pt x="2012" y="437"/>
                    <a:pt x="2005" y="442"/>
                    <a:pt x="2004" y="448"/>
                  </a:cubicBezTo>
                  <a:cubicBezTo>
                    <a:pt x="2003" y="453"/>
                    <a:pt x="2008" y="458"/>
                    <a:pt x="2015" y="458"/>
                  </a:cubicBezTo>
                  <a:cubicBezTo>
                    <a:pt x="2022" y="458"/>
                    <a:pt x="2028" y="453"/>
                    <a:pt x="2029" y="448"/>
                  </a:cubicBezTo>
                  <a:cubicBezTo>
                    <a:pt x="2030" y="442"/>
                    <a:pt x="2025" y="437"/>
                    <a:pt x="2018" y="437"/>
                  </a:cubicBezTo>
                  <a:cubicBezTo>
                    <a:pt x="2018" y="437"/>
                    <a:pt x="2018" y="437"/>
                    <a:pt x="2018" y="437"/>
                  </a:cubicBezTo>
                  <a:moveTo>
                    <a:pt x="2053" y="437"/>
                  </a:moveTo>
                  <a:cubicBezTo>
                    <a:pt x="2047" y="437"/>
                    <a:pt x="2041" y="442"/>
                    <a:pt x="2040" y="447"/>
                  </a:cubicBezTo>
                  <a:cubicBezTo>
                    <a:pt x="2039" y="453"/>
                    <a:pt x="2043" y="458"/>
                    <a:pt x="2050" y="458"/>
                  </a:cubicBezTo>
                  <a:cubicBezTo>
                    <a:pt x="2057" y="458"/>
                    <a:pt x="2063" y="453"/>
                    <a:pt x="2064" y="447"/>
                  </a:cubicBezTo>
                  <a:cubicBezTo>
                    <a:pt x="2065" y="442"/>
                    <a:pt x="2060" y="437"/>
                    <a:pt x="2054" y="437"/>
                  </a:cubicBezTo>
                  <a:cubicBezTo>
                    <a:pt x="2054" y="437"/>
                    <a:pt x="2053" y="437"/>
                    <a:pt x="2053" y="437"/>
                  </a:cubicBezTo>
                  <a:moveTo>
                    <a:pt x="2088" y="437"/>
                  </a:moveTo>
                  <a:cubicBezTo>
                    <a:pt x="2082" y="437"/>
                    <a:pt x="2076" y="442"/>
                    <a:pt x="2075" y="447"/>
                  </a:cubicBezTo>
                  <a:cubicBezTo>
                    <a:pt x="2074" y="453"/>
                    <a:pt x="2079" y="457"/>
                    <a:pt x="2085" y="457"/>
                  </a:cubicBezTo>
                  <a:cubicBezTo>
                    <a:pt x="2092" y="457"/>
                    <a:pt x="2098" y="453"/>
                    <a:pt x="2099" y="447"/>
                  </a:cubicBezTo>
                  <a:cubicBezTo>
                    <a:pt x="2100" y="441"/>
                    <a:pt x="2095" y="437"/>
                    <a:pt x="2089" y="437"/>
                  </a:cubicBezTo>
                  <a:cubicBezTo>
                    <a:pt x="2089" y="437"/>
                    <a:pt x="2089" y="437"/>
                    <a:pt x="2088" y="437"/>
                  </a:cubicBezTo>
                  <a:moveTo>
                    <a:pt x="2122" y="437"/>
                  </a:moveTo>
                  <a:cubicBezTo>
                    <a:pt x="2115" y="437"/>
                    <a:pt x="2109" y="441"/>
                    <a:pt x="2108" y="447"/>
                  </a:cubicBezTo>
                  <a:cubicBezTo>
                    <a:pt x="2107" y="453"/>
                    <a:pt x="2112" y="457"/>
                    <a:pt x="2119" y="457"/>
                  </a:cubicBezTo>
                  <a:cubicBezTo>
                    <a:pt x="2126" y="457"/>
                    <a:pt x="2132" y="452"/>
                    <a:pt x="2132" y="447"/>
                  </a:cubicBezTo>
                  <a:cubicBezTo>
                    <a:pt x="2133" y="441"/>
                    <a:pt x="2128" y="437"/>
                    <a:pt x="2122" y="437"/>
                  </a:cubicBezTo>
                  <a:cubicBezTo>
                    <a:pt x="2122" y="437"/>
                    <a:pt x="2122" y="437"/>
                    <a:pt x="2122" y="437"/>
                  </a:cubicBezTo>
                  <a:moveTo>
                    <a:pt x="2157" y="436"/>
                  </a:moveTo>
                  <a:cubicBezTo>
                    <a:pt x="2150" y="436"/>
                    <a:pt x="2144" y="441"/>
                    <a:pt x="2143" y="447"/>
                  </a:cubicBezTo>
                  <a:cubicBezTo>
                    <a:pt x="2143" y="452"/>
                    <a:pt x="2147" y="457"/>
                    <a:pt x="2154" y="457"/>
                  </a:cubicBezTo>
                  <a:cubicBezTo>
                    <a:pt x="2161" y="457"/>
                    <a:pt x="2167" y="452"/>
                    <a:pt x="2168" y="447"/>
                  </a:cubicBezTo>
                  <a:cubicBezTo>
                    <a:pt x="2168" y="441"/>
                    <a:pt x="2163" y="436"/>
                    <a:pt x="2157" y="436"/>
                  </a:cubicBezTo>
                  <a:cubicBezTo>
                    <a:pt x="2157" y="436"/>
                    <a:pt x="2157" y="436"/>
                    <a:pt x="2157" y="436"/>
                  </a:cubicBezTo>
                  <a:moveTo>
                    <a:pt x="2576" y="433"/>
                  </a:moveTo>
                  <a:cubicBezTo>
                    <a:pt x="2569" y="433"/>
                    <a:pt x="2564" y="438"/>
                    <a:pt x="2564" y="444"/>
                  </a:cubicBezTo>
                  <a:cubicBezTo>
                    <a:pt x="2564" y="449"/>
                    <a:pt x="2569" y="454"/>
                    <a:pt x="2576" y="454"/>
                  </a:cubicBezTo>
                  <a:cubicBezTo>
                    <a:pt x="2583" y="454"/>
                    <a:pt x="2588" y="449"/>
                    <a:pt x="2588" y="444"/>
                  </a:cubicBezTo>
                  <a:cubicBezTo>
                    <a:pt x="2588" y="438"/>
                    <a:pt x="2582" y="433"/>
                    <a:pt x="2576" y="433"/>
                  </a:cubicBezTo>
                  <a:cubicBezTo>
                    <a:pt x="2576" y="433"/>
                    <a:pt x="2576" y="433"/>
                    <a:pt x="2576" y="433"/>
                  </a:cubicBezTo>
                  <a:moveTo>
                    <a:pt x="2611" y="433"/>
                  </a:moveTo>
                  <a:cubicBezTo>
                    <a:pt x="2604" y="433"/>
                    <a:pt x="2599" y="438"/>
                    <a:pt x="2599" y="443"/>
                  </a:cubicBezTo>
                  <a:cubicBezTo>
                    <a:pt x="2599" y="449"/>
                    <a:pt x="2605" y="454"/>
                    <a:pt x="2612" y="454"/>
                  </a:cubicBezTo>
                  <a:cubicBezTo>
                    <a:pt x="2619" y="454"/>
                    <a:pt x="2624" y="449"/>
                    <a:pt x="2624" y="443"/>
                  </a:cubicBezTo>
                  <a:cubicBezTo>
                    <a:pt x="2623" y="438"/>
                    <a:pt x="2618" y="433"/>
                    <a:pt x="2611" y="433"/>
                  </a:cubicBezTo>
                  <a:cubicBezTo>
                    <a:pt x="2611" y="433"/>
                    <a:pt x="2611" y="433"/>
                    <a:pt x="2611" y="433"/>
                  </a:cubicBezTo>
                  <a:moveTo>
                    <a:pt x="2645" y="433"/>
                  </a:moveTo>
                  <a:cubicBezTo>
                    <a:pt x="2639" y="433"/>
                    <a:pt x="2633" y="438"/>
                    <a:pt x="2634" y="443"/>
                  </a:cubicBezTo>
                  <a:cubicBezTo>
                    <a:pt x="2634" y="449"/>
                    <a:pt x="2640" y="453"/>
                    <a:pt x="2646" y="453"/>
                  </a:cubicBezTo>
                  <a:cubicBezTo>
                    <a:pt x="2653" y="453"/>
                    <a:pt x="2658" y="449"/>
                    <a:pt x="2658" y="443"/>
                  </a:cubicBezTo>
                  <a:cubicBezTo>
                    <a:pt x="2658" y="437"/>
                    <a:pt x="2652" y="433"/>
                    <a:pt x="2645" y="433"/>
                  </a:cubicBezTo>
                  <a:cubicBezTo>
                    <a:pt x="2645" y="433"/>
                    <a:pt x="2645" y="433"/>
                    <a:pt x="2645" y="433"/>
                  </a:cubicBezTo>
                  <a:moveTo>
                    <a:pt x="2680" y="433"/>
                  </a:moveTo>
                  <a:cubicBezTo>
                    <a:pt x="2673" y="433"/>
                    <a:pt x="2668" y="437"/>
                    <a:pt x="2668" y="443"/>
                  </a:cubicBezTo>
                  <a:cubicBezTo>
                    <a:pt x="2668" y="449"/>
                    <a:pt x="2674" y="453"/>
                    <a:pt x="2681" y="453"/>
                  </a:cubicBezTo>
                  <a:cubicBezTo>
                    <a:pt x="2688" y="453"/>
                    <a:pt x="2693" y="448"/>
                    <a:pt x="2692" y="443"/>
                  </a:cubicBezTo>
                  <a:cubicBezTo>
                    <a:pt x="2692" y="437"/>
                    <a:pt x="2686" y="433"/>
                    <a:pt x="2680" y="433"/>
                  </a:cubicBezTo>
                  <a:cubicBezTo>
                    <a:pt x="2680" y="433"/>
                    <a:pt x="2680" y="433"/>
                    <a:pt x="2680" y="433"/>
                  </a:cubicBezTo>
                  <a:moveTo>
                    <a:pt x="2194" y="433"/>
                  </a:moveTo>
                  <a:cubicBezTo>
                    <a:pt x="2187" y="433"/>
                    <a:pt x="2181" y="437"/>
                    <a:pt x="2180" y="443"/>
                  </a:cubicBezTo>
                  <a:cubicBezTo>
                    <a:pt x="2180" y="449"/>
                    <a:pt x="2185" y="453"/>
                    <a:pt x="2191" y="453"/>
                  </a:cubicBezTo>
                  <a:cubicBezTo>
                    <a:pt x="2198" y="453"/>
                    <a:pt x="2204" y="448"/>
                    <a:pt x="2205" y="443"/>
                  </a:cubicBezTo>
                  <a:cubicBezTo>
                    <a:pt x="2205" y="437"/>
                    <a:pt x="2200" y="433"/>
                    <a:pt x="2194" y="433"/>
                  </a:cubicBezTo>
                  <a:cubicBezTo>
                    <a:pt x="2194" y="433"/>
                    <a:pt x="2194" y="433"/>
                    <a:pt x="2194" y="433"/>
                  </a:cubicBezTo>
                  <a:moveTo>
                    <a:pt x="2714" y="432"/>
                  </a:moveTo>
                  <a:cubicBezTo>
                    <a:pt x="2707" y="433"/>
                    <a:pt x="2702" y="437"/>
                    <a:pt x="2703" y="443"/>
                  </a:cubicBezTo>
                  <a:cubicBezTo>
                    <a:pt x="2703" y="448"/>
                    <a:pt x="2709" y="453"/>
                    <a:pt x="2716" y="453"/>
                  </a:cubicBezTo>
                  <a:cubicBezTo>
                    <a:pt x="2722" y="453"/>
                    <a:pt x="2727" y="448"/>
                    <a:pt x="2727" y="443"/>
                  </a:cubicBezTo>
                  <a:cubicBezTo>
                    <a:pt x="2727" y="437"/>
                    <a:pt x="2721" y="432"/>
                    <a:pt x="2714" y="432"/>
                  </a:cubicBezTo>
                  <a:cubicBezTo>
                    <a:pt x="2714" y="432"/>
                    <a:pt x="2714" y="432"/>
                    <a:pt x="2714" y="432"/>
                  </a:cubicBezTo>
                  <a:moveTo>
                    <a:pt x="2229" y="432"/>
                  </a:moveTo>
                  <a:cubicBezTo>
                    <a:pt x="2223" y="432"/>
                    <a:pt x="2217" y="437"/>
                    <a:pt x="2216" y="443"/>
                  </a:cubicBezTo>
                  <a:cubicBezTo>
                    <a:pt x="2216" y="448"/>
                    <a:pt x="2221" y="453"/>
                    <a:pt x="2227" y="453"/>
                  </a:cubicBezTo>
                  <a:cubicBezTo>
                    <a:pt x="2234" y="453"/>
                    <a:pt x="2240" y="448"/>
                    <a:pt x="2240" y="443"/>
                  </a:cubicBezTo>
                  <a:cubicBezTo>
                    <a:pt x="2241" y="437"/>
                    <a:pt x="2236" y="432"/>
                    <a:pt x="2229" y="432"/>
                  </a:cubicBezTo>
                  <a:cubicBezTo>
                    <a:pt x="2229" y="432"/>
                    <a:pt x="2229" y="432"/>
                    <a:pt x="2229" y="432"/>
                  </a:cubicBezTo>
                  <a:moveTo>
                    <a:pt x="2749" y="432"/>
                  </a:moveTo>
                  <a:cubicBezTo>
                    <a:pt x="2742" y="432"/>
                    <a:pt x="2737" y="437"/>
                    <a:pt x="2738" y="443"/>
                  </a:cubicBezTo>
                  <a:cubicBezTo>
                    <a:pt x="2738" y="448"/>
                    <a:pt x="2744" y="453"/>
                    <a:pt x="2751" y="453"/>
                  </a:cubicBezTo>
                  <a:cubicBezTo>
                    <a:pt x="2757" y="453"/>
                    <a:pt x="2762" y="448"/>
                    <a:pt x="2762" y="442"/>
                  </a:cubicBezTo>
                  <a:cubicBezTo>
                    <a:pt x="2761" y="437"/>
                    <a:pt x="2756" y="432"/>
                    <a:pt x="2749" y="432"/>
                  </a:cubicBezTo>
                  <a:cubicBezTo>
                    <a:pt x="2749" y="432"/>
                    <a:pt x="2749" y="432"/>
                    <a:pt x="2749" y="432"/>
                  </a:cubicBezTo>
                  <a:moveTo>
                    <a:pt x="2264" y="432"/>
                  </a:moveTo>
                  <a:cubicBezTo>
                    <a:pt x="2257" y="432"/>
                    <a:pt x="2251" y="437"/>
                    <a:pt x="2251" y="442"/>
                  </a:cubicBezTo>
                  <a:cubicBezTo>
                    <a:pt x="2250" y="448"/>
                    <a:pt x="2255" y="453"/>
                    <a:pt x="2262" y="453"/>
                  </a:cubicBezTo>
                  <a:cubicBezTo>
                    <a:pt x="2269" y="453"/>
                    <a:pt x="2275" y="448"/>
                    <a:pt x="2275" y="442"/>
                  </a:cubicBezTo>
                  <a:cubicBezTo>
                    <a:pt x="2275" y="437"/>
                    <a:pt x="2270" y="432"/>
                    <a:pt x="2264" y="432"/>
                  </a:cubicBezTo>
                  <a:cubicBezTo>
                    <a:pt x="2264" y="432"/>
                    <a:pt x="2264" y="432"/>
                    <a:pt x="2264" y="432"/>
                  </a:cubicBezTo>
                  <a:moveTo>
                    <a:pt x="2298" y="432"/>
                  </a:moveTo>
                  <a:cubicBezTo>
                    <a:pt x="2291" y="432"/>
                    <a:pt x="2285" y="437"/>
                    <a:pt x="2285" y="442"/>
                  </a:cubicBezTo>
                  <a:cubicBezTo>
                    <a:pt x="2285" y="448"/>
                    <a:pt x="2290" y="452"/>
                    <a:pt x="2296" y="452"/>
                  </a:cubicBezTo>
                  <a:cubicBezTo>
                    <a:pt x="2303" y="452"/>
                    <a:pt x="2309" y="448"/>
                    <a:pt x="2309" y="442"/>
                  </a:cubicBezTo>
                  <a:cubicBezTo>
                    <a:pt x="2310" y="436"/>
                    <a:pt x="2305" y="432"/>
                    <a:pt x="2298" y="432"/>
                  </a:cubicBezTo>
                  <a:cubicBezTo>
                    <a:pt x="2298" y="432"/>
                    <a:pt x="2298" y="432"/>
                    <a:pt x="2298" y="432"/>
                  </a:cubicBezTo>
                  <a:moveTo>
                    <a:pt x="2332" y="432"/>
                  </a:moveTo>
                  <a:cubicBezTo>
                    <a:pt x="2326" y="432"/>
                    <a:pt x="2320" y="436"/>
                    <a:pt x="2320" y="442"/>
                  </a:cubicBezTo>
                  <a:cubicBezTo>
                    <a:pt x="2319" y="448"/>
                    <a:pt x="2324" y="452"/>
                    <a:pt x="2331" y="452"/>
                  </a:cubicBezTo>
                  <a:cubicBezTo>
                    <a:pt x="2338" y="452"/>
                    <a:pt x="2344" y="447"/>
                    <a:pt x="2344" y="442"/>
                  </a:cubicBezTo>
                  <a:cubicBezTo>
                    <a:pt x="2344" y="436"/>
                    <a:pt x="2339" y="432"/>
                    <a:pt x="2332" y="432"/>
                  </a:cubicBezTo>
                  <a:cubicBezTo>
                    <a:pt x="2332" y="432"/>
                    <a:pt x="2332" y="432"/>
                    <a:pt x="2332" y="432"/>
                  </a:cubicBezTo>
                  <a:moveTo>
                    <a:pt x="2367" y="431"/>
                  </a:moveTo>
                  <a:cubicBezTo>
                    <a:pt x="2360" y="431"/>
                    <a:pt x="2355" y="436"/>
                    <a:pt x="2354" y="442"/>
                  </a:cubicBezTo>
                  <a:cubicBezTo>
                    <a:pt x="2354" y="447"/>
                    <a:pt x="2359" y="452"/>
                    <a:pt x="2366" y="452"/>
                  </a:cubicBezTo>
                  <a:cubicBezTo>
                    <a:pt x="2373" y="452"/>
                    <a:pt x="2379" y="447"/>
                    <a:pt x="2379" y="442"/>
                  </a:cubicBezTo>
                  <a:cubicBezTo>
                    <a:pt x="2379" y="436"/>
                    <a:pt x="2374" y="431"/>
                    <a:pt x="2367" y="431"/>
                  </a:cubicBezTo>
                  <a:cubicBezTo>
                    <a:pt x="2367" y="431"/>
                    <a:pt x="2367" y="431"/>
                    <a:pt x="2367" y="431"/>
                  </a:cubicBezTo>
                  <a:moveTo>
                    <a:pt x="2402" y="431"/>
                  </a:moveTo>
                  <a:cubicBezTo>
                    <a:pt x="2395" y="431"/>
                    <a:pt x="2390" y="436"/>
                    <a:pt x="2390" y="441"/>
                  </a:cubicBezTo>
                  <a:cubicBezTo>
                    <a:pt x="2389" y="447"/>
                    <a:pt x="2395" y="452"/>
                    <a:pt x="2401" y="452"/>
                  </a:cubicBezTo>
                  <a:cubicBezTo>
                    <a:pt x="2408" y="452"/>
                    <a:pt x="2414" y="447"/>
                    <a:pt x="2414" y="441"/>
                  </a:cubicBezTo>
                  <a:cubicBezTo>
                    <a:pt x="2414" y="436"/>
                    <a:pt x="2409" y="431"/>
                    <a:pt x="2402" y="431"/>
                  </a:cubicBezTo>
                  <a:cubicBezTo>
                    <a:pt x="2402" y="431"/>
                    <a:pt x="2402" y="431"/>
                    <a:pt x="2402" y="431"/>
                  </a:cubicBezTo>
                  <a:moveTo>
                    <a:pt x="2437" y="431"/>
                  </a:moveTo>
                  <a:cubicBezTo>
                    <a:pt x="2430" y="431"/>
                    <a:pt x="2424" y="436"/>
                    <a:pt x="2424" y="441"/>
                  </a:cubicBezTo>
                  <a:cubicBezTo>
                    <a:pt x="2424" y="447"/>
                    <a:pt x="2429" y="451"/>
                    <a:pt x="2436" y="451"/>
                  </a:cubicBezTo>
                  <a:cubicBezTo>
                    <a:pt x="2443" y="451"/>
                    <a:pt x="2448" y="447"/>
                    <a:pt x="2449" y="441"/>
                  </a:cubicBezTo>
                  <a:cubicBezTo>
                    <a:pt x="2449" y="435"/>
                    <a:pt x="2443" y="431"/>
                    <a:pt x="2437" y="431"/>
                  </a:cubicBezTo>
                  <a:cubicBezTo>
                    <a:pt x="2437" y="431"/>
                    <a:pt x="2437" y="431"/>
                    <a:pt x="2437" y="431"/>
                  </a:cubicBezTo>
                  <a:moveTo>
                    <a:pt x="2471" y="431"/>
                  </a:moveTo>
                  <a:cubicBezTo>
                    <a:pt x="2464" y="431"/>
                    <a:pt x="2459" y="435"/>
                    <a:pt x="2459" y="441"/>
                  </a:cubicBezTo>
                  <a:cubicBezTo>
                    <a:pt x="2459" y="447"/>
                    <a:pt x="2464" y="451"/>
                    <a:pt x="2471" y="451"/>
                  </a:cubicBezTo>
                  <a:cubicBezTo>
                    <a:pt x="2478" y="451"/>
                    <a:pt x="2483" y="446"/>
                    <a:pt x="2483" y="441"/>
                  </a:cubicBezTo>
                  <a:cubicBezTo>
                    <a:pt x="2483" y="435"/>
                    <a:pt x="2478" y="431"/>
                    <a:pt x="2471" y="431"/>
                  </a:cubicBezTo>
                  <a:cubicBezTo>
                    <a:pt x="2471" y="431"/>
                    <a:pt x="2471" y="431"/>
                    <a:pt x="2471" y="431"/>
                  </a:cubicBezTo>
                  <a:moveTo>
                    <a:pt x="2506" y="430"/>
                  </a:moveTo>
                  <a:cubicBezTo>
                    <a:pt x="2499" y="431"/>
                    <a:pt x="2494" y="435"/>
                    <a:pt x="2493" y="441"/>
                  </a:cubicBezTo>
                  <a:cubicBezTo>
                    <a:pt x="2493" y="446"/>
                    <a:pt x="2499" y="451"/>
                    <a:pt x="2506" y="451"/>
                  </a:cubicBezTo>
                  <a:cubicBezTo>
                    <a:pt x="2512" y="451"/>
                    <a:pt x="2518" y="446"/>
                    <a:pt x="2518" y="441"/>
                  </a:cubicBezTo>
                  <a:cubicBezTo>
                    <a:pt x="2518" y="435"/>
                    <a:pt x="2512" y="430"/>
                    <a:pt x="2506" y="430"/>
                  </a:cubicBezTo>
                  <a:cubicBezTo>
                    <a:pt x="2506" y="430"/>
                    <a:pt x="2506" y="430"/>
                    <a:pt x="2506" y="430"/>
                  </a:cubicBezTo>
                  <a:moveTo>
                    <a:pt x="2540" y="430"/>
                  </a:moveTo>
                  <a:cubicBezTo>
                    <a:pt x="2534" y="430"/>
                    <a:pt x="2528" y="435"/>
                    <a:pt x="2528" y="441"/>
                  </a:cubicBezTo>
                  <a:cubicBezTo>
                    <a:pt x="2528" y="446"/>
                    <a:pt x="2534" y="451"/>
                    <a:pt x="2541" y="451"/>
                  </a:cubicBezTo>
                  <a:cubicBezTo>
                    <a:pt x="2547" y="451"/>
                    <a:pt x="2553" y="446"/>
                    <a:pt x="2553" y="440"/>
                  </a:cubicBezTo>
                  <a:cubicBezTo>
                    <a:pt x="2553" y="435"/>
                    <a:pt x="2547" y="430"/>
                    <a:pt x="2540" y="430"/>
                  </a:cubicBezTo>
                  <a:cubicBezTo>
                    <a:pt x="2540" y="430"/>
                    <a:pt x="2540" y="430"/>
                    <a:pt x="2540" y="430"/>
                  </a:cubicBezTo>
                  <a:moveTo>
                    <a:pt x="2782" y="429"/>
                  </a:moveTo>
                  <a:cubicBezTo>
                    <a:pt x="2776" y="430"/>
                    <a:pt x="2771" y="434"/>
                    <a:pt x="2771" y="440"/>
                  </a:cubicBezTo>
                  <a:cubicBezTo>
                    <a:pt x="2772" y="445"/>
                    <a:pt x="2778" y="450"/>
                    <a:pt x="2784" y="450"/>
                  </a:cubicBezTo>
                  <a:cubicBezTo>
                    <a:pt x="2791" y="450"/>
                    <a:pt x="2796" y="445"/>
                    <a:pt x="2796" y="440"/>
                  </a:cubicBezTo>
                  <a:cubicBezTo>
                    <a:pt x="2795" y="434"/>
                    <a:pt x="2789" y="429"/>
                    <a:pt x="2782" y="429"/>
                  </a:cubicBezTo>
                  <a:cubicBezTo>
                    <a:pt x="2782" y="429"/>
                    <a:pt x="2782" y="429"/>
                    <a:pt x="2782" y="429"/>
                  </a:cubicBezTo>
                  <a:moveTo>
                    <a:pt x="2816" y="429"/>
                  </a:moveTo>
                  <a:cubicBezTo>
                    <a:pt x="2809" y="429"/>
                    <a:pt x="2804" y="434"/>
                    <a:pt x="2805" y="440"/>
                  </a:cubicBezTo>
                  <a:cubicBezTo>
                    <a:pt x="2805" y="445"/>
                    <a:pt x="2811" y="450"/>
                    <a:pt x="2818" y="450"/>
                  </a:cubicBezTo>
                  <a:cubicBezTo>
                    <a:pt x="2825" y="450"/>
                    <a:pt x="2830" y="445"/>
                    <a:pt x="2829" y="439"/>
                  </a:cubicBezTo>
                  <a:cubicBezTo>
                    <a:pt x="2828" y="434"/>
                    <a:pt x="2823" y="429"/>
                    <a:pt x="2816" y="429"/>
                  </a:cubicBezTo>
                  <a:cubicBezTo>
                    <a:pt x="2816" y="429"/>
                    <a:pt x="2816" y="429"/>
                    <a:pt x="2816" y="429"/>
                  </a:cubicBezTo>
                  <a:moveTo>
                    <a:pt x="2850" y="429"/>
                  </a:moveTo>
                  <a:cubicBezTo>
                    <a:pt x="2843" y="429"/>
                    <a:pt x="2839" y="434"/>
                    <a:pt x="2839" y="439"/>
                  </a:cubicBezTo>
                  <a:cubicBezTo>
                    <a:pt x="2840" y="445"/>
                    <a:pt x="2846" y="450"/>
                    <a:pt x="2853" y="449"/>
                  </a:cubicBezTo>
                  <a:cubicBezTo>
                    <a:pt x="2860" y="449"/>
                    <a:pt x="2864" y="445"/>
                    <a:pt x="2864" y="439"/>
                  </a:cubicBezTo>
                  <a:cubicBezTo>
                    <a:pt x="2863" y="434"/>
                    <a:pt x="2857" y="429"/>
                    <a:pt x="2850" y="429"/>
                  </a:cubicBezTo>
                  <a:cubicBezTo>
                    <a:pt x="2850" y="429"/>
                    <a:pt x="2850" y="429"/>
                    <a:pt x="2850" y="429"/>
                  </a:cubicBezTo>
                  <a:moveTo>
                    <a:pt x="2885" y="429"/>
                  </a:moveTo>
                  <a:cubicBezTo>
                    <a:pt x="2878" y="429"/>
                    <a:pt x="2873" y="433"/>
                    <a:pt x="2874" y="439"/>
                  </a:cubicBezTo>
                  <a:cubicBezTo>
                    <a:pt x="2875" y="445"/>
                    <a:pt x="2881" y="449"/>
                    <a:pt x="2888" y="449"/>
                  </a:cubicBezTo>
                  <a:cubicBezTo>
                    <a:pt x="2894" y="449"/>
                    <a:pt x="2899" y="445"/>
                    <a:pt x="2898" y="439"/>
                  </a:cubicBezTo>
                  <a:cubicBezTo>
                    <a:pt x="2898" y="433"/>
                    <a:pt x="2892" y="429"/>
                    <a:pt x="2885" y="429"/>
                  </a:cubicBezTo>
                  <a:cubicBezTo>
                    <a:pt x="2885" y="429"/>
                    <a:pt x="2885" y="429"/>
                    <a:pt x="2885" y="429"/>
                  </a:cubicBezTo>
                  <a:moveTo>
                    <a:pt x="2920" y="429"/>
                  </a:moveTo>
                  <a:cubicBezTo>
                    <a:pt x="2913" y="429"/>
                    <a:pt x="2908" y="433"/>
                    <a:pt x="2909" y="439"/>
                  </a:cubicBezTo>
                  <a:cubicBezTo>
                    <a:pt x="2910" y="444"/>
                    <a:pt x="2916" y="449"/>
                    <a:pt x="2923" y="449"/>
                  </a:cubicBezTo>
                  <a:cubicBezTo>
                    <a:pt x="2930" y="449"/>
                    <a:pt x="2935" y="444"/>
                    <a:pt x="2934" y="439"/>
                  </a:cubicBezTo>
                  <a:cubicBezTo>
                    <a:pt x="2933" y="433"/>
                    <a:pt x="2927" y="429"/>
                    <a:pt x="2920" y="429"/>
                  </a:cubicBezTo>
                  <a:cubicBezTo>
                    <a:pt x="2920" y="429"/>
                    <a:pt x="2920" y="429"/>
                    <a:pt x="2920" y="429"/>
                  </a:cubicBezTo>
                  <a:moveTo>
                    <a:pt x="2954" y="428"/>
                  </a:moveTo>
                  <a:cubicBezTo>
                    <a:pt x="2948" y="428"/>
                    <a:pt x="2943" y="433"/>
                    <a:pt x="2944" y="439"/>
                  </a:cubicBezTo>
                  <a:cubicBezTo>
                    <a:pt x="2945" y="444"/>
                    <a:pt x="2951" y="449"/>
                    <a:pt x="2958" y="449"/>
                  </a:cubicBezTo>
                  <a:cubicBezTo>
                    <a:pt x="2964" y="449"/>
                    <a:pt x="2969" y="444"/>
                    <a:pt x="2968" y="438"/>
                  </a:cubicBezTo>
                  <a:cubicBezTo>
                    <a:pt x="2967" y="433"/>
                    <a:pt x="2961" y="428"/>
                    <a:pt x="2954" y="428"/>
                  </a:cubicBezTo>
                  <a:cubicBezTo>
                    <a:pt x="2954" y="428"/>
                    <a:pt x="2954" y="428"/>
                    <a:pt x="2954" y="428"/>
                  </a:cubicBezTo>
                  <a:moveTo>
                    <a:pt x="2989" y="428"/>
                  </a:moveTo>
                  <a:cubicBezTo>
                    <a:pt x="2982" y="428"/>
                    <a:pt x="2978" y="433"/>
                    <a:pt x="2979" y="438"/>
                  </a:cubicBezTo>
                  <a:cubicBezTo>
                    <a:pt x="2980" y="444"/>
                    <a:pt x="2986" y="449"/>
                    <a:pt x="2993" y="449"/>
                  </a:cubicBezTo>
                  <a:cubicBezTo>
                    <a:pt x="2999" y="448"/>
                    <a:pt x="3004" y="444"/>
                    <a:pt x="3003" y="438"/>
                  </a:cubicBezTo>
                  <a:cubicBezTo>
                    <a:pt x="3002" y="433"/>
                    <a:pt x="2996" y="428"/>
                    <a:pt x="2989" y="428"/>
                  </a:cubicBezTo>
                  <a:cubicBezTo>
                    <a:pt x="2989" y="428"/>
                    <a:pt x="2989" y="428"/>
                    <a:pt x="2989" y="428"/>
                  </a:cubicBezTo>
                  <a:moveTo>
                    <a:pt x="3023" y="428"/>
                  </a:moveTo>
                  <a:cubicBezTo>
                    <a:pt x="3017" y="428"/>
                    <a:pt x="3012" y="432"/>
                    <a:pt x="3013" y="438"/>
                  </a:cubicBezTo>
                  <a:cubicBezTo>
                    <a:pt x="3014" y="444"/>
                    <a:pt x="3020" y="448"/>
                    <a:pt x="3027" y="448"/>
                  </a:cubicBezTo>
                  <a:cubicBezTo>
                    <a:pt x="3034" y="448"/>
                    <a:pt x="3038" y="444"/>
                    <a:pt x="3037" y="438"/>
                  </a:cubicBezTo>
                  <a:cubicBezTo>
                    <a:pt x="3036" y="432"/>
                    <a:pt x="3030" y="428"/>
                    <a:pt x="3023" y="428"/>
                  </a:cubicBezTo>
                  <a:cubicBezTo>
                    <a:pt x="3023" y="428"/>
                    <a:pt x="3023" y="428"/>
                    <a:pt x="3023" y="428"/>
                  </a:cubicBezTo>
                  <a:moveTo>
                    <a:pt x="3058" y="428"/>
                  </a:moveTo>
                  <a:cubicBezTo>
                    <a:pt x="3051" y="428"/>
                    <a:pt x="3047" y="432"/>
                    <a:pt x="3048" y="438"/>
                  </a:cubicBezTo>
                  <a:cubicBezTo>
                    <a:pt x="3049" y="444"/>
                    <a:pt x="3055" y="448"/>
                    <a:pt x="3062" y="448"/>
                  </a:cubicBezTo>
                  <a:cubicBezTo>
                    <a:pt x="3069" y="448"/>
                    <a:pt x="3073" y="443"/>
                    <a:pt x="3072" y="438"/>
                  </a:cubicBezTo>
                  <a:cubicBezTo>
                    <a:pt x="3071" y="432"/>
                    <a:pt x="3065" y="428"/>
                    <a:pt x="3058" y="428"/>
                  </a:cubicBezTo>
                  <a:cubicBezTo>
                    <a:pt x="3058" y="428"/>
                    <a:pt x="3058" y="428"/>
                    <a:pt x="3058" y="428"/>
                  </a:cubicBezTo>
                  <a:moveTo>
                    <a:pt x="3094" y="427"/>
                  </a:moveTo>
                  <a:cubicBezTo>
                    <a:pt x="3087" y="427"/>
                    <a:pt x="3083" y="432"/>
                    <a:pt x="3084" y="438"/>
                  </a:cubicBezTo>
                  <a:cubicBezTo>
                    <a:pt x="3085" y="443"/>
                    <a:pt x="3091" y="448"/>
                    <a:pt x="3098" y="448"/>
                  </a:cubicBezTo>
                  <a:cubicBezTo>
                    <a:pt x="3105" y="448"/>
                    <a:pt x="3109" y="443"/>
                    <a:pt x="3108" y="437"/>
                  </a:cubicBezTo>
                  <a:cubicBezTo>
                    <a:pt x="3107" y="432"/>
                    <a:pt x="3100" y="427"/>
                    <a:pt x="3094" y="427"/>
                  </a:cubicBezTo>
                  <a:cubicBezTo>
                    <a:pt x="3094" y="427"/>
                    <a:pt x="3094" y="427"/>
                    <a:pt x="3094" y="427"/>
                  </a:cubicBezTo>
                  <a:moveTo>
                    <a:pt x="3128" y="427"/>
                  </a:moveTo>
                  <a:cubicBezTo>
                    <a:pt x="3121" y="427"/>
                    <a:pt x="3117" y="432"/>
                    <a:pt x="3118" y="437"/>
                  </a:cubicBezTo>
                  <a:cubicBezTo>
                    <a:pt x="3120" y="443"/>
                    <a:pt x="3126" y="448"/>
                    <a:pt x="3133" y="448"/>
                  </a:cubicBezTo>
                  <a:cubicBezTo>
                    <a:pt x="3139" y="447"/>
                    <a:pt x="3144" y="443"/>
                    <a:pt x="3143" y="437"/>
                  </a:cubicBezTo>
                  <a:cubicBezTo>
                    <a:pt x="3141" y="432"/>
                    <a:pt x="3135" y="427"/>
                    <a:pt x="3128" y="427"/>
                  </a:cubicBezTo>
                  <a:cubicBezTo>
                    <a:pt x="3128" y="427"/>
                    <a:pt x="3128" y="427"/>
                    <a:pt x="3128" y="427"/>
                  </a:cubicBezTo>
                  <a:moveTo>
                    <a:pt x="3163" y="427"/>
                  </a:moveTo>
                  <a:cubicBezTo>
                    <a:pt x="3156" y="427"/>
                    <a:pt x="3152" y="431"/>
                    <a:pt x="3153" y="437"/>
                  </a:cubicBezTo>
                  <a:cubicBezTo>
                    <a:pt x="3154" y="443"/>
                    <a:pt x="3161" y="447"/>
                    <a:pt x="3168" y="447"/>
                  </a:cubicBezTo>
                  <a:cubicBezTo>
                    <a:pt x="3174" y="447"/>
                    <a:pt x="3179" y="443"/>
                    <a:pt x="3177" y="437"/>
                  </a:cubicBezTo>
                  <a:cubicBezTo>
                    <a:pt x="3176" y="431"/>
                    <a:pt x="3169" y="427"/>
                    <a:pt x="3163" y="427"/>
                  </a:cubicBezTo>
                  <a:cubicBezTo>
                    <a:pt x="3163" y="427"/>
                    <a:pt x="3163" y="427"/>
                    <a:pt x="3163" y="427"/>
                  </a:cubicBezTo>
                  <a:moveTo>
                    <a:pt x="3198" y="427"/>
                  </a:moveTo>
                  <a:cubicBezTo>
                    <a:pt x="3191" y="427"/>
                    <a:pt x="3187" y="431"/>
                    <a:pt x="3188" y="437"/>
                  </a:cubicBezTo>
                  <a:cubicBezTo>
                    <a:pt x="3190" y="443"/>
                    <a:pt x="3196" y="447"/>
                    <a:pt x="3203" y="447"/>
                  </a:cubicBezTo>
                  <a:cubicBezTo>
                    <a:pt x="3210" y="447"/>
                    <a:pt x="3214" y="442"/>
                    <a:pt x="3212" y="437"/>
                  </a:cubicBezTo>
                  <a:cubicBezTo>
                    <a:pt x="3211" y="431"/>
                    <a:pt x="3204" y="427"/>
                    <a:pt x="3198" y="427"/>
                  </a:cubicBezTo>
                  <a:cubicBezTo>
                    <a:pt x="3198" y="427"/>
                    <a:pt x="3198" y="427"/>
                    <a:pt x="3198" y="427"/>
                  </a:cubicBezTo>
                  <a:moveTo>
                    <a:pt x="3232" y="426"/>
                  </a:moveTo>
                  <a:cubicBezTo>
                    <a:pt x="3225" y="426"/>
                    <a:pt x="3221" y="431"/>
                    <a:pt x="3223" y="437"/>
                  </a:cubicBezTo>
                  <a:cubicBezTo>
                    <a:pt x="3224" y="442"/>
                    <a:pt x="3231" y="447"/>
                    <a:pt x="3238" y="447"/>
                  </a:cubicBezTo>
                  <a:cubicBezTo>
                    <a:pt x="3244" y="447"/>
                    <a:pt x="3249" y="442"/>
                    <a:pt x="3247" y="436"/>
                  </a:cubicBezTo>
                  <a:cubicBezTo>
                    <a:pt x="3245" y="431"/>
                    <a:pt x="3239" y="426"/>
                    <a:pt x="3232" y="426"/>
                  </a:cubicBezTo>
                  <a:cubicBezTo>
                    <a:pt x="3232" y="426"/>
                    <a:pt x="3232" y="426"/>
                    <a:pt x="3232" y="426"/>
                  </a:cubicBezTo>
                  <a:moveTo>
                    <a:pt x="3267" y="426"/>
                  </a:moveTo>
                  <a:cubicBezTo>
                    <a:pt x="3260" y="426"/>
                    <a:pt x="3256" y="431"/>
                    <a:pt x="3257" y="436"/>
                  </a:cubicBezTo>
                  <a:cubicBezTo>
                    <a:pt x="3259" y="442"/>
                    <a:pt x="3266" y="447"/>
                    <a:pt x="3272" y="447"/>
                  </a:cubicBezTo>
                  <a:cubicBezTo>
                    <a:pt x="3279" y="447"/>
                    <a:pt x="3283" y="442"/>
                    <a:pt x="3282" y="436"/>
                  </a:cubicBezTo>
                  <a:cubicBezTo>
                    <a:pt x="3280" y="431"/>
                    <a:pt x="3273" y="426"/>
                    <a:pt x="3267" y="426"/>
                  </a:cubicBezTo>
                  <a:cubicBezTo>
                    <a:pt x="3267" y="426"/>
                    <a:pt x="3267" y="426"/>
                    <a:pt x="3267" y="426"/>
                  </a:cubicBezTo>
                  <a:moveTo>
                    <a:pt x="3301" y="426"/>
                  </a:moveTo>
                  <a:cubicBezTo>
                    <a:pt x="3294" y="426"/>
                    <a:pt x="3290" y="430"/>
                    <a:pt x="3292" y="436"/>
                  </a:cubicBezTo>
                  <a:cubicBezTo>
                    <a:pt x="3294" y="442"/>
                    <a:pt x="3300" y="446"/>
                    <a:pt x="3307" y="446"/>
                  </a:cubicBezTo>
                  <a:cubicBezTo>
                    <a:pt x="3314" y="446"/>
                    <a:pt x="3318" y="442"/>
                    <a:pt x="3316" y="436"/>
                  </a:cubicBezTo>
                  <a:cubicBezTo>
                    <a:pt x="3315" y="430"/>
                    <a:pt x="3308" y="426"/>
                    <a:pt x="3301" y="426"/>
                  </a:cubicBezTo>
                  <a:cubicBezTo>
                    <a:pt x="3301" y="426"/>
                    <a:pt x="3301" y="426"/>
                    <a:pt x="3301" y="426"/>
                  </a:cubicBezTo>
                  <a:moveTo>
                    <a:pt x="3336" y="426"/>
                  </a:moveTo>
                  <a:cubicBezTo>
                    <a:pt x="3329" y="426"/>
                    <a:pt x="3325" y="430"/>
                    <a:pt x="3327" y="436"/>
                  </a:cubicBezTo>
                  <a:cubicBezTo>
                    <a:pt x="3328" y="442"/>
                    <a:pt x="3335" y="446"/>
                    <a:pt x="3342" y="446"/>
                  </a:cubicBezTo>
                  <a:cubicBezTo>
                    <a:pt x="3349" y="446"/>
                    <a:pt x="3353" y="441"/>
                    <a:pt x="3351" y="436"/>
                  </a:cubicBezTo>
                  <a:cubicBezTo>
                    <a:pt x="3349" y="430"/>
                    <a:pt x="3342" y="426"/>
                    <a:pt x="3336" y="426"/>
                  </a:cubicBezTo>
                  <a:cubicBezTo>
                    <a:pt x="3336" y="426"/>
                    <a:pt x="3336" y="426"/>
                    <a:pt x="3336" y="426"/>
                  </a:cubicBezTo>
                  <a:moveTo>
                    <a:pt x="3371" y="425"/>
                  </a:moveTo>
                  <a:cubicBezTo>
                    <a:pt x="3364" y="425"/>
                    <a:pt x="3360" y="430"/>
                    <a:pt x="3362" y="436"/>
                  </a:cubicBezTo>
                  <a:cubicBezTo>
                    <a:pt x="3364" y="441"/>
                    <a:pt x="3370" y="446"/>
                    <a:pt x="3377" y="446"/>
                  </a:cubicBezTo>
                  <a:cubicBezTo>
                    <a:pt x="3384" y="446"/>
                    <a:pt x="3388" y="441"/>
                    <a:pt x="3386" y="436"/>
                  </a:cubicBezTo>
                  <a:cubicBezTo>
                    <a:pt x="3384" y="430"/>
                    <a:pt x="3377" y="425"/>
                    <a:pt x="3371" y="425"/>
                  </a:cubicBezTo>
                  <a:cubicBezTo>
                    <a:pt x="3371" y="425"/>
                    <a:pt x="3371" y="425"/>
                    <a:pt x="3371" y="425"/>
                  </a:cubicBezTo>
                  <a:moveTo>
                    <a:pt x="3405" y="425"/>
                  </a:moveTo>
                  <a:cubicBezTo>
                    <a:pt x="3398" y="425"/>
                    <a:pt x="3394" y="430"/>
                    <a:pt x="3396" y="435"/>
                  </a:cubicBezTo>
                  <a:cubicBezTo>
                    <a:pt x="3398" y="441"/>
                    <a:pt x="3405" y="446"/>
                    <a:pt x="3412" y="446"/>
                  </a:cubicBezTo>
                  <a:cubicBezTo>
                    <a:pt x="3419" y="446"/>
                    <a:pt x="3422" y="441"/>
                    <a:pt x="3421" y="435"/>
                  </a:cubicBezTo>
                  <a:cubicBezTo>
                    <a:pt x="3419" y="430"/>
                    <a:pt x="3412" y="425"/>
                    <a:pt x="3405" y="425"/>
                  </a:cubicBezTo>
                  <a:cubicBezTo>
                    <a:pt x="3405" y="425"/>
                    <a:pt x="3405" y="425"/>
                    <a:pt x="3405" y="425"/>
                  </a:cubicBezTo>
                  <a:moveTo>
                    <a:pt x="3440" y="425"/>
                  </a:moveTo>
                  <a:cubicBezTo>
                    <a:pt x="3433" y="425"/>
                    <a:pt x="3429" y="430"/>
                    <a:pt x="3431" y="435"/>
                  </a:cubicBezTo>
                  <a:cubicBezTo>
                    <a:pt x="3433" y="441"/>
                    <a:pt x="3440" y="445"/>
                    <a:pt x="3447" y="445"/>
                  </a:cubicBezTo>
                  <a:cubicBezTo>
                    <a:pt x="3453" y="445"/>
                    <a:pt x="3457" y="441"/>
                    <a:pt x="3455" y="435"/>
                  </a:cubicBezTo>
                  <a:cubicBezTo>
                    <a:pt x="3453" y="429"/>
                    <a:pt x="3446" y="425"/>
                    <a:pt x="3440" y="425"/>
                  </a:cubicBezTo>
                  <a:cubicBezTo>
                    <a:pt x="3440" y="425"/>
                    <a:pt x="3440" y="425"/>
                    <a:pt x="3440" y="425"/>
                  </a:cubicBezTo>
                  <a:moveTo>
                    <a:pt x="3474" y="425"/>
                  </a:moveTo>
                  <a:cubicBezTo>
                    <a:pt x="3467" y="425"/>
                    <a:pt x="3463" y="429"/>
                    <a:pt x="3465" y="435"/>
                  </a:cubicBezTo>
                  <a:cubicBezTo>
                    <a:pt x="3467" y="441"/>
                    <a:pt x="3475" y="445"/>
                    <a:pt x="3481" y="445"/>
                  </a:cubicBezTo>
                  <a:cubicBezTo>
                    <a:pt x="3488" y="445"/>
                    <a:pt x="3492" y="440"/>
                    <a:pt x="3490" y="435"/>
                  </a:cubicBezTo>
                  <a:cubicBezTo>
                    <a:pt x="3488" y="429"/>
                    <a:pt x="3481" y="425"/>
                    <a:pt x="3474" y="425"/>
                  </a:cubicBezTo>
                  <a:cubicBezTo>
                    <a:pt x="3474" y="425"/>
                    <a:pt x="3474" y="425"/>
                    <a:pt x="3474" y="425"/>
                  </a:cubicBezTo>
                  <a:moveTo>
                    <a:pt x="3509" y="424"/>
                  </a:moveTo>
                  <a:cubicBezTo>
                    <a:pt x="3502" y="424"/>
                    <a:pt x="3498" y="429"/>
                    <a:pt x="3500" y="435"/>
                  </a:cubicBezTo>
                  <a:cubicBezTo>
                    <a:pt x="3502" y="440"/>
                    <a:pt x="3509" y="445"/>
                    <a:pt x="3516" y="445"/>
                  </a:cubicBezTo>
                  <a:cubicBezTo>
                    <a:pt x="3523" y="445"/>
                    <a:pt x="3527" y="440"/>
                    <a:pt x="3525" y="435"/>
                  </a:cubicBezTo>
                  <a:cubicBezTo>
                    <a:pt x="3522" y="429"/>
                    <a:pt x="3515" y="424"/>
                    <a:pt x="3509" y="424"/>
                  </a:cubicBezTo>
                  <a:cubicBezTo>
                    <a:pt x="3509" y="424"/>
                    <a:pt x="3509" y="424"/>
                    <a:pt x="3509" y="424"/>
                  </a:cubicBezTo>
                  <a:moveTo>
                    <a:pt x="3544" y="424"/>
                  </a:moveTo>
                  <a:cubicBezTo>
                    <a:pt x="3537" y="424"/>
                    <a:pt x="3533" y="429"/>
                    <a:pt x="3535" y="434"/>
                  </a:cubicBezTo>
                  <a:cubicBezTo>
                    <a:pt x="3537" y="440"/>
                    <a:pt x="3545" y="445"/>
                    <a:pt x="3551" y="445"/>
                  </a:cubicBezTo>
                  <a:cubicBezTo>
                    <a:pt x="3558" y="445"/>
                    <a:pt x="3562" y="440"/>
                    <a:pt x="3560" y="434"/>
                  </a:cubicBezTo>
                  <a:cubicBezTo>
                    <a:pt x="3557" y="429"/>
                    <a:pt x="3550" y="424"/>
                    <a:pt x="3544" y="424"/>
                  </a:cubicBezTo>
                  <a:cubicBezTo>
                    <a:pt x="3544" y="424"/>
                    <a:pt x="3544" y="424"/>
                    <a:pt x="3544" y="424"/>
                  </a:cubicBezTo>
                  <a:moveTo>
                    <a:pt x="3578" y="424"/>
                  </a:moveTo>
                  <a:cubicBezTo>
                    <a:pt x="3571" y="424"/>
                    <a:pt x="3568" y="428"/>
                    <a:pt x="3570" y="434"/>
                  </a:cubicBezTo>
                  <a:cubicBezTo>
                    <a:pt x="3572" y="440"/>
                    <a:pt x="3579" y="444"/>
                    <a:pt x="3586" y="444"/>
                  </a:cubicBezTo>
                  <a:cubicBezTo>
                    <a:pt x="3593" y="444"/>
                    <a:pt x="3596" y="440"/>
                    <a:pt x="3594" y="434"/>
                  </a:cubicBezTo>
                  <a:cubicBezTo>
                    <a:pt x="3592" y="428"/>
                    <a:pt x="3585" y="424"/>
                    <a:pt x="3578" y="424"/>
                  </a:cubicBezTo>
                  <a:cubicBezTo>
                    <a:pt x="3578" y="424"/>
                    <a:pt x="3578" y="424"/>
                    <a:pt x="3578" y="424"/>
                  </a:cubicBezTo>
                  <a:moveTo>
                    <a:pt x="3612" y="423"/>
                  </a:moveTo>
                  <a:cubicBezTo>
                    <a:pt x="3606" y="423"/>
                    <a:pt x="3602" y="428"/>
                    <a:pt x="3604" y="434"/>
                  </a:cubicBezTo>
                  <a:cubicBezTo>
                    <a:pt x="3607" y="439"/>
                    <a:pt x="3614" y="444"/>
                    <a:pt x="3621" y="444"/>
                  </a:cubicBezTo>
                  <a:cubicBezTo>
                    <a:pt x="3627" y="444"/>
                    <a:pt x="3631" y="439"/>
                    <a:pt x="3629" y="434"/>
                  </a:cubicBezTo>
                  <a:cubicBezTo>
                    <a:pt x="3626" y="428"/>
                    <a:pt x="3619" y="423"/>
                    <a:pt x="3612" y="423"/>
                  </a:cubicBezTo>
                  <a:cubicBezTo>
                    <a:pt x="3612" y="423"/>
                    <a:pt x="3612" y="423"/>
                    <a:pt x="3612" y="423"/>
                  </a:cubicBezTo>
                  <a:moveTo>
                    <a:pt x="3647" y="423"/>
                  </a:moveTo>
                  <a:cubicBezTo>
                    <a:pt x="3640" y="423"/>
                    <a:pt x="3637" y="428"/>
                    <a:pt x="3639" y="434"/>
                  </a:cubicBezTo>
                  <a:cubicBezTo>
                    <a:pt x="3641" y="439"/>
                    <a:pt x="3649" y="444"/>
                    <a:pt x="3656" y="444"/>
                  </a:cubicBezTo>
                  <a:cubicBezTo>
                    <a:pt x="3662" y="444"/>
                    <a:pt x="3666" y="439"/>
                    <a:pt x="3663" y="433"/>
                  </a:cubicBezTo>
                  <a:cubicBezTo>
                    <a:pt x="3661" y="428"/>
                    <a:pt x="3654" y="423"/>
                    <a:pt x="3647" y="423"/>
                  </a:cubicBezTo>
                  <a:cubicBezTo>
                    <a:pt x="3647" y="423"/>
                    <a:pt x="3647" y="423"/>
                    <a:pt x="3647" y="423"/>
                  </a:cubicBezTo>
                  <a:moveTo>
                    <a:pt x="3684" y="423"/>
                  </a:moveTo>
                  <a:cubicBezTo>
                    <a:pt x="3677" y="423"/>
                    <a:pt x="3674" y="428"/>
                    <a:pt x="3676" y="433"/>
                  </a:cubicBezTo>
                  <a:cubicBezTo>
                    <a:pt x="3678" y="439"/>
                    <a:pt x="3686" y="444"/>
                    <a:pt x="3693" y="443"/>
                  </a:cubicBezTo>
                  <a:cubicBezTo>
                    <a:pt x="3699" y="443"/>
                    <a:pt x="3703" y="439"/>
                    <a:pt x="3700" y="433"/>
                  </a:cubicBezTo>
                  <a:cubicBezTo>
                    <a:pt x="3698" y="427"/>
                    <a:pt x="3690" y="423"/>
                    <a:pt x="3684" y="423"/>
                  </a:cubicBezTo>
                  <a:cubicBezTo>
                    <a:pt x="3684" y="423"/>
                    <a:pt x="3684" y="423"/>
                    <a:pt x="3684" y="423"/>
                  </a:cubicBezTo>
                  <a:moveTo>
                    <a:pt x="3718" y="423"/>
                  </a:moveTo>
                  <a:cubicBezTo>
                    <a:pt x="3711" y="423"/>
                    <a:pt x="3708" y="427"/>
                    <a:pt x="3710" y="433"/>
                  </a:cubicBezTo>
                  <a:cubicBezTo>
                    <a:pt x="3713" y="439"/>
                    <a:pt x="3720" y="443"/>
                    <a:pt x="3727" y="443"/>
                  </a:cubicBezTo>
                  <a:cubicBezTo>
                    <a:pt x="3734" y="443"/>
                    <a:pt x="3737" y="439"/>
                    <a:pt x="3734" y="433"/>
                  </a:cubicBezTo>
                  <a:cubicBezTo>
                    <a:pt x="3732" y="427"/>
                    <a:pt x="3725" y="423"/>
                    <a:pt x="3718" y="423"/>
                  </a:cubicBezTo>
                  <a:cubicBezTo>
                    <a:pt x="3718" y="423"/>
                    <a:pt x="3718" y="423"/>
                    <a:pt x="3718" y="423"/>
                  </a:cubicBezTo>
                  <a:moveTo>
                    <a:pt x="3752" y="422"/>
                  </a:moveTo>
                  <a:cubicBezTo>
                    <a:pt x="3745" y="422"/>
                    <a:pt x="3742" y="427"/>
                    <a:pt x="3745" y="433"/>
                  </a:cubicBezTo>
                  <a:cubicBezTo>
                    <a:pt x="3747" y="438"/>
                    <a:pt x="3755" y="443"/>
                    <a:pt x="3761" y="443"/>
                  </a:cubicBezTo>
                  <a:cubicBezTo>
                    <a:pt x="3768" y="443"/>
                    <a:pt x="3772" y="438"/>
                    <a:pt x="3769" y="433"/>
                  </a:cubicBezTo>
                  <a:cubicBezTo>
                    <a:pt x="3766" y="427"/>
                    <a:pt x="3759" y="422"/>
                    <a:pt x="3752" y="422"/>
                  </a:cubicBezTo>
                  <a:cubicBezTo>
                    <a:pt x="3752" y="422"/>
                    <a:pt x="3752" y="422"/>
                    <a:pt x="3752" y="422"/>
                  </a:cubicBezTo>
                  <a:moveTo>
                    <a:pt x="3787" y="422"/>
                  </a:moveTo>
                  <a:cubicBezTo>
                    <a:pt x="3780" y="422"/>
                    <a:pt x="3777" y="427"/>
                    <a:pt x="3779" y="433"/>
                  </a:cubicBezTo>
                  <a:cubicBezTo>
                    <a:pt x="3782" y="438"/>
                    <a:pt x="3790" y="443"/>
                    <a:pt x="3796" y="443"/>
                  </a:cubicBezTo>
                  <a:cubicBezTo>
                    <a:pt x="3803" y="443"/>
                    <a:pt x="3806" y="438"/>
                    <a:pt x="3804" y="432"/>
                  </a:cubicBezTo>
                  <a:cubicBezTo>
                    <a:pt x="3801" y="427"/>
                    <a:pt x="3793" y="422"/>
                    <a:pt x="3787" y="422"/>
                  </a:cubicBezTo>
                  <a:cubicBezTo>
                    <a:pt x="3787" y="422"/>
                    <a:pt x="3787" y="422"/>
                    <a:pt x="3787" y="422"/>
                  </a:cubicBezTo>
                  <a:moveTo>
                    <a:pt x="3822" y="422"/>
                  </a:moveTo>
                  <a:cubicBezTo>
                    <a:pt x="3815" y="422"/>
                    <a:pt x="3812" y="427"/>
                    <a:pt x="3814" y="432"/>
                  </a:cubicBezTo>
                  <a:cubicBezTo>
                    <a:pt x="3817" y="438"/>
                    <a:pt x="3825" y="443"/>
                    <a:pt x="3832" y="443"/>
                  </a:cubicBezTo>
                  <a:cubicBezTo>
                    <a:pt x="3838" y="442"/>
                    <a:pt x="3841" y="438"/>
                    <a:pt x="3839" y="432"/>
                  </a:cubicBezTo>
                  <a:cubicBezTo>
                    <a:pt x="3836" y="426"/>
                    <a:pt x="3828" y="422"/>
                    <a:pt x="3822" y="422"/>
                  </a:cubicBezTo>
                  <a:cubicBezTo>
                    <a:pt x="3822" y="422"/>
                    <a:pt x="3822" y="422"/>
                    <a:pt x="3822" y="422"/>
                  </a:cubicBezTo>
                  <a:moveTo>
                    <a:pt x="3856" y="422"/>
                  </a:moveTo>
                  <a:cubicBezTo>
                    <a:pt x="3849" y="422"/>
                    <a:pt x="3846" y="426"/>
                    <a:pt x="3849" y="432"/>
                  </a:cubicBezTo>
                  <a:cubicBezTo>
                    <a:pt x="3852" y="438"/>
                    <a:pt x="3859" y="442"/>
                    <a:pt x="3866" y="442"/>
                  </a:cubicBezTo>
                  <a:cubicBezTo>
                    <a:pt x="3873" y="442"/>
                    <a:pt x="3876" y="438"/>
                    <a:pt x="3873" y="432"/>
                  </a:cubicBezTo>
                  <a:cubicBezTo>
                    <a:pt x="3870" y="426"/>
                    <a:pt x="3863" y="422"/>
                    <a:pt x="3856" y="422"/>
                  </a:cubicBezTo>
                  <a:cubicBezTo>
                    <a:pt x="3856" y="422"/>
                    <a:pt x="3856" y="422"/>
                    <a:pt x="3856" y="422"/>
                  </a:cubicBezTo>
                  <a:moveTo>
                    <a:pt x="3890" y="421"/>
                  </a:moveTo>
                  <a:cubicBezTo>
                    <a:pt x="3884" y="422"/>
                    <a:pt x="3881" y="426"/>
                    <a:pt x="3884" y="432"/>
                  </a:cubicBezTo>
                  <a:cubicBezTo>
                    <a:pt x="3886" y="438"/>
                    <a:pt x="3894" y="442"/>
                    <a:pt x="3901" y="442"/>
                  </a:cubicBezTo>
                  <a:cubicBezTo>
                    <a:pt x="3908" y="442"/>
                    <a:pt x="3911" y="437"/>
                    <a:pt x="3908" y="432"/>
                  </a:cubicBezTo>
                  <a:cubicBezTo>
                    <a:pt x="3905" y="426"/>
                    <a:pt x="3897" y="421"/>
                    <a:pt x="3891" y="421"/>
                  </a:cubicBezTo>
                  <a:cubicBezTo>
                    <a:pt x="3891" y="421"/>
                    <a:pt x="3891" y="421"/>
                    <a:pt x="3890" y="421"/>
                  </a:cubicBezTo>
                  <a:moveTo>
                    <a:pt x="3925" y="421"/>
                  </a:moveTo>
                  <a:cubicBezTo>
                    <a:pt x="3918" y="421"/>
                    <a:pt x="3915" y="426"/>
                    <a:pt x="3918" y="432"/>
                  </a:cubicBezTo>
                  <a:cubicBezTo>
                    <a:pt x="3921" y="437"/>
                    <a:pt x="3929" y="442"/>
                    <a:pt x="3935" y="442"/>
                  </a:cubicBezTo>
                  <a:cubicBezTo>
                    <a:pt x="3942" y="442"/>
                    <a:pt x="3945" y="437"/>
                    <a:pt x="3942" y="431"/>
                  </a:cubicBezTo>
                  <a:cubicBezTo>
                    <a:pt x="3939" y="426"/>
                    <a:pt x="3932" y="421"/>
                    <a:pt x="3925" y="421"/>
                  </a:cubicBezTo>
                  <a:cubicBezTo>
                    <a:pt x="3925" y="421"/>
                    <a:pt x="3925" y="421"/>
                    <a:pt x="3925" y="421"/>
                  </a:cubicBezTo>
                  <a:moveTo>
                    <a:pt x="3959" y="421"/>
                  </a:moveTo>
                  <a:cubicBezTo>
                    <a:pt x="3953" y="421"/>
                    <a:pt x="3950" y="426"/>
                    <a:pt x="3953" y="431"/>
                  </a:cubicBezTo>
                  <a:cubicBezTo>
                    <a:pt x="3956" y="437"/>
                    <a:pt x="3964" y="442"/>
                    <a:pt x="3970" y="442"/>
                  </a:cubicBezTo>
                  <a:cubicBezTo>
                    <a:pt x="3977" y="442"/>
                    <a:pt x="3980" y="437"/>
                    <a:pt x="3977" y="431"/>
                  </a:cubicBezTo>
                  <a:cubicBezTo>
                    <a:pt x="3974" y="426"/>
                    <a:pt x="3966" y="421"/>
                    <a:pt x="3959" y="421"/>
                  </a:cubicBezTo>
                  <a:cubicBezTo>
                    <a:pt x="3959" y="421"/>
                    <a:pt x="3959" y="421"/>
                    <a:pt x="3959" y="421"/>
                  </a:cubicBezTo>
                  <a:moveTo>
                    <a:pt x="3993" y="421"/>
                  </a:moveTo>
                  <a:cubicBezTo>
                    <a:pt x="3986" y="421"/>
                    <a:pt x="3983" y="425"/>
                    <a:pt x="3986" y="431"/>
                  </a:cubicBezTo>
                  <a:cubicBezTo>
                    <a:pt x="3989" y="437"/>
                    <a:pt x="3997" y="441"/>
                    <a:pt x="4004" y="441"/>
                  </a:cubicBezTo>
                  <a:cubicBezTo>
                    <a:pt x="4011" y="441"/>
                    <a:pt x="4014" y="437"/>
                    <a:pt x="4011" y="431"/>
                  </a:cubicBezTo>
                  <a:cubicBezTo>
                    <a:pt x="4008" y="425"/>
                    <a:pt x="4000" y="421"/>
                    <a:pt x="3993" y="421"/>
                  </a:cubicBezTo>
                  <a:cubicBezTo>
                    <a:pt x="3993" y="421"/>
                    <a:pt x="3993" y="421"/>
                    <a:pt x="3993" y="421"/>
                  </a:cubicBezTo>
                  <a:moveTo>
                    <a:pt x="4028" y="420"/>
                  </a:moveTo>
                  <a:cubicBezTo>
                    <a:pt x="4021" y="421"/>
                    <a:pt x="4018" y="425"/>
                    <a:pt x="4021" y="431"/>
                  </a:cubicBezTo>
                  <a:cubicBezTo>
                    <a:pt x="4025" y="437"/>
                    <a:pt x="4033" y="441"/>
                    <a:pt x="4039" y="441"/>
                  </a:cubicBezTo>
                  <a:cubicBezTo>
                    <a:pt x="4046" y="441"/>
                    <a:pt x="4049" y="436"/>
                    <a:pt x="4046" y="431"/>
                  </a:cubicBezTo>
                  <a:cubicBezTo>
                    <a:pt x="4042" y="425"/>
                    <a:pt x="4035" y="420"/>
                    <a:pt x="4028" y="420"/>
                  </a:cubicBezTo>
                  <a:cubicBezTo>
                    <a:pt x="4028" y="420"/>
                    <a:pt x="4028" y="420"/>
                    <a:pt x="4028" y="420"/>
                  </a:cubicBezTo>
                  <a:moveTo>
                    <a:pt x="4063" y="420"/>
                  </a:moveTo>
                  <a:cubicBezTo>
                    <a:pt x="4056" y="420"/>
                    <a:pt x="4053" y="425"/>
                    <a:pt x="4056" y="431"/>
                  </a:cubicBezTo>
                  <a:cubicBezTo>
                    <a:pt x="4060" y="436"/>
                    <a:pt x="4068" y="441"/>
                    <a:pt x="4074" y="441"/>
                  </a:cubicBezTo>
                  <a:cubicBezTo>
                    <a:pt x="4081" y="441"/>
                    <a:pt x="4084" y="436"/>
                    <a:pt x="4081" y="430"/>
                  </a:cubicBezTo>
                  <a:cubicBezTo>
                    <a:pt x="4077" y="425"/>
                    <a:pt x="4069" y="420"/>
                    <a:pt x="4063" y="420"/>
                  </a:cubicBezTo>
                  <a:cubicBezTo>
                    <a:pt x="4063" y="420"/>
                    <a:pt x="4063" y="420"/>
                    <a:pt x="4063" y="420"/>
                  </a:cubicBezTo>
                  <a:moveTo>
                    <a:pt x="339" y="419"/>
                  </a:moveTo>
                  <a:cubicBezTo>
                    <a:pt x="332" y="420"/>
                    <a:pt x="323" y="424"/>
                    <a:pt x="319" y="430"/>
                  </a:cubicBezTo>
                  <a:cubicBezTo>
                    <a:pt x="314" y="435"/>
                    <a:pt x="316" y="440"/>
                    <a:pt x="323" y="440"/>
                  </a:cubicBezTo>
                  <a:cubicBezTo>
                    <a:pt x="330" y="440"/>
                    <a:pt x="339" y="435"/>
                    <a:pt x="343" y="430"/>
                  </a:cubicBezTo>
                  <a:cubicBezTo>
                    <a:pt x="347" y="424"/>
                    <a:pt x="346" y="419"/>
                    <a:pt x="339" y="419"/>
                  </a:cubicBezTo>
                  <a:cubicBezTo>
                    <a:pt x="339" y="419"/>
                    <a:pt x="339" y="419"/>
                    <a:pt x="339" y="419"/>
                  </a:cubicBezTo>
                  <a:moveTo>
                    <a:pt x="373" y="419"/>
                  </a:moveTo>
                  <a:cubicBezTo>
                    <a:pt x="367" y="419"/>
                    <a:pt x="358" y="424"/>
                    <a:pt x="353" y="429"/>
                  </a:cubicBezTo>
                  <a:cubicBezTo>
                    <a:pt x="349" y="435"/>
                    <a:pt x="351" y="440"/>
                    <a:pt x="357" y="439"/>
                  </a:cubicBezTo>
                  <a:cubicBezTo>
                    <a:pt x="364" y="439"/>
                    <a:pt x="373" y="435"/>
                    <a:pt x="377" y="429"/>
                  </a:cubicBezTo>
                  <a:cubicBezTo>
                    <a:pt x="382" y="424"/>
                    <a:pt x="380" y="419"/>
                    <a:pt x="373" y="419"/>
                  </a:cubicBezTo>
                  <a:cubicBezTo>
                    <a:pt x="373" y="419"/>
                    <a:pt x="373" y="419"/>
                    <a:pt x="373" y="419"/>
                  </a:cubicBezTo>
                  <a:moveTo>
                    <a:pt x="408" y="419"/>
                  </a:moveTo>
                  <a:cubicBezTo>
                    <a:pt x="401" y="419"/>
                    <a:pt x="392" y="424"/>
                    <a:pt x="388" y="429"/>
                  </a:cubicBezTo>
                  <a:cubicBezTo>
                    <a:pt x="384" y="435"/>
                    <a:pt x="385" y="439"/>
                    <a:pt x="392" y="439"/>
                  </a:cubicBezTo>
                  <a:cubicBezTo>
                    <a:pt x="399" y="439"/>
                    <a:pt x="408" y="435"/>
                    <a:pt x="412" y="429"/>
                  </a:cubicBezTo>
                  <a:cubicBezTo>
                    <a:pt x="416" y="423"/>
                    <a:pt x="414" y="419"/>
                    <a:pt x="408" y="419"/>
                  </a:cubicBezTo>
                  <a:cubicBezTo>
                    <a:pt x="408" y="419"/>
                    <a:pt x="408" y="419"/>
                    <a:pt x="408" y="419"/>
                  </a:cubicBezTo>
                  <a:moveTo>
                    <a:pt x="442" y="419"/>
                  </a:moveTo>
                  <a:cubicBezTo>
                    <a:pt x="435" y="419"/>
                    <a:pt x="427" y="423"/>
                    <a:pt x="422" y="429"/>
                  </a:cubicBezTo>
                  <a:cubicBezTo>
                    <a:pt x="418" y="435"/>
                    <a:pt x="420" y="439"/>
                    <a:pt x="427" y="439"/>
                  </a:cubicBezTo>
                  <a:cubicBezTo>
                    <a:pt x="433" y="439"/>
                    <a:pt x="442" y="434"/>
                    <a:pt x="447" y="429"/>
                  </a:cubicBezTo>
                  <a:cubicBezTo>
                    <a:pt x="451" y="423"/>
                    <a:pt x="449" y="419"/>
                    <a:pt x="442" y="419"/>
                  </a:cubicBezTo>
                  <a:cubicBezTo>
                    <a:pt x="442" y="419"/>
                    <a:pt x="442" y="419"/>
                    <a:pt x="442" y="419"/>
                  </a:cubicBezTo>
                  <a:moveTo>
                    <a:pt x="477" y="418"/>
                  </a:moveTo>
                  <a:cubicBezTo>
                    <a:pt x="470" y="419"/>
                    <a:pt x="461" y="423"/>
                    <a:pt x="457" y="429"/>
                  </a:cubicBezTo>
                  <a:cubicBezTo>
                    <a:pt x="453" y="434"/>
                    <a:pt x="455" y="439"/>
                    <a:pt x="462" y="439"/>
                  </a:cubicBezTo>
                  <a:cubicBezTo>
                    <a:pt x="468" y="439"/>
                    <a:pt x="477" y="434"/>
                    <a:pt x="481" y="429"/>
                  </a:cubicBezTo>
                  <a:cubicBezTo>
                    <a:pt x="485" y="423"/>
                    <a:pt x="483" y="418"/>
                    <a:pt x="477" y="418"/>
                  </a:cubicBezTo>
                  <a:cubicBezTo>
                    <a:pt x="477" y="418"/>
                    <a:pt x="477" y="418"/>
                    <a:pt x="477" y="418"/>
                  </a:cubicBezTo>
                  <a:moveTo>
                    <a:pt x="512" y="418"/>
                  </a:moveTo>
                  <a:cubicBezTo>
                    <a:pt x="506" y="418"/>
                    <a:pt x="497" y="423"/>
                    <a:pt x="493" y="428"/>
                  </a:cubicBezTo>
                  <a:cubicBezTo>
                    <a:pt x="489" y="434"/>
                    <a:pt x="491" y="439"/>
                    <a:pt x="497" y="438"/>
                  </a:cubicBezTo>
                  <a:cubicBezTo>
                    <a:pt x="504" y="438"/>
                    <a:pt x="513" y="434"/>
                    <a:pt x="517" y="428"/>
                  </a:cubicBezTo>
                  <a:cubicBezTo>
                    <a:pt x="521" y="423"/>
                    <a:pt x="519" y="418"/>
                    <a:pt x="512" y="418"/>
                  </a:cubicBezTo>
                  <a:cubicBezTo>
                    <a:pt x="512" y="418"/>
                    <a:pt x="512" y="418"/>
                    <a:pt x="512" y="418"/>
                  </a:cubicBezTo>
                  <a:moveTo>
                    <a:pt x="546" y="418"/>
                  </a:moveTo>
                  <a:cubicBezTo>
                    <a:pt x="540" y="418"/>
                    <a:pt x="531" y="423"/>
                    <a:pt x="527" y="428"/>
                  </a:cubicBezTo>
                  <a:cubicBezTo>
                    <a:pt x="523" y="434"/>
                    <a:pt x="525" y="438"/>
                    <a:pt x="532" y="438"/>
                  </a:cubicBezTo>
                  <a:cubicBezTo>
                    <a:pt x="539" y="438"/>
                    <a:pt x="547" y="434"/>
                    <a:pt x="551" y="428"/>
                  </a:cubicBezTo>
                  <a:cubicBezTo>
                    <a:pt x="555" y="422"/>
                    <a:pt x="553" y="418"/>
                    <a:pt x="547" y="418"/>
                  </a:cubicBezTo>
                  <a:cubicBezTo>
                    <a:pt x="547" y="418"/>
                    <a:pt x="547" y="418"/>
                    <a:pt x="546" y="418"/>
                  </a:cubicBezTo>
                  <a:moveTo>
                    <a:pt x="581" y="418"/>
                  </a:moveTo>
                  <a:cubicBezTo>
                    <a:pt x="574" y="418"/>
                    <a:pt x="566" y="422"/>
                    <a:pt x="562" y="428"/>
                  </a:cubicBezTo>
                  <a:cubicBezTo>
                    <a:pt x="558" y="434"/>
                    <a:pt x="560" y="438"/>
                    <a:pt x="567" y="438"/>
                  </a:cubicBezTo>
                  <a:cubicBezTo>
                    <a:pt x="573" y="438"/>
                    <a:pt x="582" y="433"/>
                    <a:pt x="586" y="428"/>
                  </a:cubicBezTo>
                  <a:cubicBezTo>
                    <a:pt x="590" y="422"/>
                    <a:pt x="588" y="418"/>
                    <a:pt x="581" y="418"/>
                  </a:cubicBezTo>
                  <a:cubicBezTo>
                    <a:pt x="581" y="418"/>
                    <a:pt x="581" y="418"/>
                    <a:pt x="581" y="418"/>
                  </a:cubicBezTo>
                  <a:moveTo>
                    <a:pt x="616" y="417"/>
                  </a:moveTo>
                  <a:cubicBezTo>
                    <a:pt x="609" y="418"/>
                    <a:pt x="601" y="422"/>
                    <a:pt x="597" y="428"/>
                  </a:cubicBezTo>
                  <a:cubicBezTo>
                    <a:pt x="593" y="433"/>
                    <a:pt x="595" y="438"/>
                    <a:pt x="602" y="438"/>
                  </a:cubicBezTo>
                  <a:cubicBezTo>
                    <a:pt x="609" y="438"/>
                    <a:pt x="617" y="433"/>
                    <a:pt x="621" y="428"/>
                  </a:cubicBezTo>
                  <a:cubicBezTo>
                    <a:pt x="625" y="422"/>
                    <a:pt x="623" y="417"/>
                    <a:pt x="616" y="417"/>
                  </a:cubicBezTo>
                  <a:cubicBezTo>
                    <a:pt x="616" y="417"/>
                    <a:pt x="616" y="417"/>
                    <a:pt x="616" y="417"/>
                  </a:cubicBezTo>
                  <a:moveTo>
                    <a:pt x="650" y="417"/>
                  </a:moveTo>
                  <a:cubicBezTo>
                    <a:pt x="643" y="417"/>
                    <a:pt x="635" y="422"/>
                    <a:pt x="631" y="427"/>
                  </a:cubicBezTo>
                  <a:cubicBezTo>
                    <a:pt x="627" y="433"/>
                    <a:pt x="630" y="438"/>
                    <a:pt x="636" y="437"/>
                  </a:cubicBezTo>
                  <a:cubicBezTo>
                    <a:pt x="643" y="437"/>
                    <a:pt x="652" y="433"/>
                    <a:pt x="655" y="427"/>
                  </a:cubicBezTo>
                  <a:cubicBezTo>
                    <a:pt x="659" y="422"/>
                    <a:pt x="657" y="417"/>
                    <a:pt x="650" y="417"/>
                  </a:cubicBezTo>
                  <a:cubicBezTo>
                    <a:pt x="650" y="417"/>
                    <a:pt x="650" y="417"/>
                    <a:pt x="650" y="417"/>
                  </a:cubicBezTo>
                  <a:moveTo>
                    <a:pt x="685" y="417"/>
                  </a:moveTo>
                  <a:cubicBezTo>
                    <a:pt x="678" y="417"/>
                    <a:pt x="669" y="422"/>
                    <a:pt x="666" y="427"/>
                  </a:cubicBezTo>
                  <a:cubicBezTo>
                    <a:pt x="662" y="433"/>
                    <a:pt x="664" y="437"/>
                    <a:pt x="671" y="437"/>
                  </a:cubicBezTo>
                  <a:cubicBezTo>
                    <a:pt x="678" y="437"/>
                    <a:pt x="686" y="433"/>
                    <a:pt x="690" y="427"/>
                  </a:cubicBezTo>
                  <a:cubicBezTo>
                    <a:pt x="694" y="421"/>
                    <a:pt x="691" y="417"/>
                    <a:pt x="685" y="417"/>
                  </a:cubicBezTo>
                  <a:cubicBezTo>
                    <a:pt x="685" y="417"/>
                    <a:pt x="685" y="417"/>
                    <a:pt x="685" y="417"/>
                  </a:cubicBezTo>
                  <a:moveTo>
                    <a:pt x="719" y="417"/>
                  </a:moveTo>
                  <a:cubicBezTo>
                    <a:pt x="712" y="417"/>
                    <a:pt x="704" y="421"/>
                    <a:pt x="700" y="427"/>
                  </a:cubicBezTo>
                  <a:cubicBezTo>
                    <a:pt x="696" y="433"/>
                    <a:pt x="699" y="437"/>
                    <a:pt x="706" y="437"/>
                  </a:cubicBezTo>
                  <a:cubicBezTo>
                    <a:pt x="712" y="437"/>
                    <a:pt x="721" y="432"/>
                    <a:pt x="724" y="427"/>
                  </a:cubicBezTo>
                  <a:cubicBezTo>
                    <a:pt x="728" y="421"/>
                    <a:pt x="726" y="417"/>
                    <a:pt x="719" y="417"/>
                  </a:cubicBezTo>
                  <a:cubicBezTo>
                    <a:pt x="719" y="417"/>
                    <a:pt x="719" y="417"/>
                    <a:pt x="719" y="417"/>
                  </a:cubicBezTo>
                  <a:moveTo>
                    <a:pt x="753" y="416"/>
                  </a:moveTo>
                  <a:cubicBezTo>
                    <a:pt x="747" y="417"/>
                    <a:pt x="738" y="421"/>
                    <a:pt x="735" y="427"/>
                  </a:cubicBezTo>
                  <a:cubicBezTo>
                    <a:pt x="731" y="432"/>
                    <a:pt x="734" y="437"/>
                    <a:pt x="740" y="437"/>
                  </a:cubicBezTo>
                  <a:cubicBezTo>
                    <a:pt x="747" y="437"/>
                    <a:pt x="755" y="432"/>
                    <a:pt x="759" y="427"/>
                  </a:cubicBezTo>
                  <a:cubicBezTo>
                    <a:pt x="763" y="421"/>
                    <a:pt x="760" y="416"/>
                    <a:pt x="753" y="416"/>
                  </a:cubicBezTo>
                  <a:cubicBezTo>
                    <a:pt x="753" y="416"/>
                    <a:pt x="753" y="416"/>
                    <a:pt x="753" y="416"/>
                  </a:cubicBezTo>
                  <a:moveTo>
                    <a:pt x="788" y="416"/>
                  </a:moveTo>
                  <a:cubicBezTo>
                    <a:pt x="782" y="416"/>
                    <a:pt x="773" y="421"/>
                    <a:pt x="770" y="426"/>
                  </a:cubicBezTo>
                  <a:cubicBezTo>
                    <a:pt x="766" y="432"/>
                    <a:pt x="769" y="437"/>
                    <a:pt x="775" y="437"/>
                  </a:cubicBezTo>
                  <a:cubicBezTo>
                    <a:pt x="782" y="436"/>
                    <a:pt x="790" y="432"/>
                    <a:pt x="794" y="426"/>
                  </a:cubicBezTo>
                  <a:cubicBezTo>
                    <a:pt x="797" y="421"/>
                    <a:pt x="795" y="416"/>
                    <a:pt x="788" y="416"/>
                  </a:cubicBezTo>
                  <a:cubicBezTo>
                    <a:pt x="788" y="416"/>
                    <a:pt x="788" y="416"/>
                    <a:pt x="788" y="416"/>
                  </a:cubicBezTo>
                  <a:moveTo>
                    <a:pt x="822" y="416"/>
                  </a:moveTo>
                  <a:cubicBezTo>
                    <a:pt x="816" y="416"/>
                    <a:pt x="808" y="421"/>
                    <a:pt x="804" y="426"/>
                  </a:cubicBezTo>
                  <a:cubicBezTo>
                    <a:pt x="801" y="432"/>
                    <a:pt x="803" y="436"/>
                    <a:pt x="810" y="436"/>
                  </a:cubicBezTo>
                  <a:cubicBezTo>
                    <a:pt x="817" y="436"/>
                    <a:pt x="825" y="432"/>
                    <a:pt x="828" y="426"/>
                  </a:cubicBezTo>
                  <a:cubicBezTo>
                    <a:pt x="832" y="420"/>
                    <a:pt x="829" y="416"/>
                    <a:pt x="823" y="416"/>
                  </a:cubicBezTo>
                  <a:cubicBezTo>
                    <a:pt x="823" y="416"/>
                    <a:pt x="822" y="416"/>
                    <a:pt x="822" y="416"/>
                  </a:cubicBezTo>
                  <a:moveTo>
                    <a:pt x="855" y="416"/>
                  </a:moveTo>
                  <a:cubicBezTo>
                    <a:pt x="848" y="416"/>
                    <a:pt x="840" y="420"/>
                    <a:pt x="837" y="426"/>
                  </a:cubicBezTo>
                  <a:cubicBezTo>
                    <a:pt x="833" y="432"/>
                    <a:pt x="836" y="436"/>
                    <a:pt x="843" y="436"/>
                  </a:cubicBezTo>
                  <a:cubicBezTo>
                    <a:pt x="850" y="436"/>
                    <a:pt x="858" y="431"/>
                    <a:pt x="861" y="426"/>
                  </a:cubicBezTo>
                  <a:cubicBezTo>
                    <a:pt x="864" y="420"/>
                    <a:pt x="862" y="416"/>
                    <a:pt x="855" y="416"/>
                  </a:cubicBezTo>
                  <a:cubicBezTo>
                    <a:pt x="855" y="416"/>
                    <a:pt x="855" y="416"/>
                    <a:pt x="855" y="416"/>
                  </a:cubicBezTo>
                  <a:moveTo>
                    <a:pt x="890" y="415"/>
                  </a:moveTo>
                  <a:cubicBezTo>
                    <a:pt x="883" y="416"/>
                    <a:pt x="875" y="420"/>
                    <a:pt x="872" y="426"/>
                  </a:cubicBezTo>
                  <a:cubicBezTo>
                    <a:pt x="868" y="431"/>
                    <a:pt x="871" y="436"/>
                    <a:pt x="878" y="436"/>
                  </a:cubicBezTo>
                  <a:cubicBezTo>
                    <a:pt x="885" y="436"/>
                    <a:pt x="893" y="431"/>
                    <a:pt x="896" y="426"/>
                  </a:cubicBezTo>
                  <a:cubicBezTo>
                    <a:pt x="899" y="420"/>
                    <a:pt x="897" y="415"/>
                    <a:pt x="890" y="415"/>
                  </a:cubicBezTo>
                  <a:cubicBezTo>
                    <a:pt x="890" y="415"/>
                    <a:pt x="890" y="415"/>
                    <a:pt x="890" y="415"/>
                  </a:cubicBezTo>
                  <a:moveTo>
                    <a:pt x="924" y="415"/>
                  </a:moveTo>
                  <a:cubicBezTo>
                    <a:pt x="917" y="415"/>
                    <a:pt x="909" y="420"/>
                    <a:pt x="906" y="425"/>
                  </a:cubicBezTo>
                  <a:cubicBezTo>
                    <a:pt x="903" y="431"/>
                    <a:pt x="906" y="436"/>
                    <a:pt x="912" y="436"/>
                  </a:cubicBezTo>
                  <a:cubicBezTo>
                    <a:pt x="919" y="435"/>
                    <a:pt x="927" y="431"/>
                    <a:pt x="930" y="425"/>
                  </a:cubicBezTo>
                  <a:cubicBezTo>
                    <a:pt x="934" y="420"/>
                    <a:pt x="931" y="415"/>
                    <a:pt x="924" y="415"/>
                  </a:cubicBezTo>
                  <a:cubicBezTo>
                    <a:pt x="924" y="415"/>
                    <a:pt x="924" y="415"/>
                    <a:pt x="924" y="415"/>
                  </a:cubicBezTo>
                  <a:moveTo>
                    <a:pt x="959" y="415"/>
                  </a:moveTo>
                  <a:cubicBezTo>
                    <a:pt x="952" y="415"/>
                    <a:pt x="944" y="420"/>
                    <a:pt x="941" y="425"/>
                  </a:cubicBezTo>
                  <a:cubicBezTo>
                    <a:pt x="938" y="431"/>
                    <a:pt x="940" y="435"/>
                    <a:pt x="947" y="435"/>
                  </a:cubicBezTo>
                  <a:cubicBezTo>
                    <a:pt x="954" y="435"/>
                    <a:pt x="962" y="431"/>
                    <a:pt x="965" y="425"/>
                  </a:cubicBezTo>
                  <a:cubicBezTo>
                    <a:pt x="968" y="419"/>
                    <a:pt x="965" y="415"/>
                    <a:pt x="959" y="415"/>
                  </a:cubicBezTo>
                  <a:cubicBezTo>
                    <a:pt x="959" y="415"/>
                    <a:pt x="959" y="415"/>
                    <a:pt x="959" y="415"/>
                  </a:cubicBezTo>
                  <a:moveTo>
                    <a:pt x="993" y="415"/>
                  </a:moveTo>
                  <a:cubicBezTo>
                    <a:pt x="986" y="415"/>
                    <a:pt x="978" y="419"/>
                    <a:pt x="975" y="425"/>
                  </a:cubicBezTo>
                  <a:cubicBezTo>
                    <a:pt x="972" y="431"/>
                    <a:pt x="975" y="435"/>
                    <a:pt x="982" y="435"/>
                  </a:cubicBezTo>
                  <a:cubicBezTo>
                    <a:pt x="988" y="435"/>
                    <a:pt x="996" y="430"/>
                    <a:pt x="999" y="425"/>
                  </a:cubicBezTo>
                  <a:cubicBezTo>
                    <a:pt x="1002" y="419"/>
                    <a:pt x="999" y="415"/>
                    <a:pt x="993" y="415"/>
                  </a:cubicBezTo>
                  <a:cubicBezTo>
                    <a:pt x="993" y="415"/>
                    <a:pt x="993" y="415"/>
                    <a:pt x="993" y="415"/>
                  </a:cubicBezTo>
                  <a:moveTo>
                    <a:pt x="1027" y="415"/>
                  </a:moveTo>
                  <a:cubicBezTo>
                    <a:pt x="1021" y="415"/>
                    <a:pt x="1013" y="419"/>
                    <a:pt x="1010" y="425"/>
                  </a:cubicBezTo>
                  <a:cubicBezTo>
                    <a:pt x="1007" y="430"/>
                    <a:pt x="1010" y="435"/>
                    <a:pt x="1016" y="435"/>
                  </a:cubicBezTo>
                  <a:cubicBezTo>
                    <a:pt x="1023" y="435"/>
                    <a:pt x="1031" y="430"/>
                    <a:pt x="1034" y="425"/>
                  </a:cubicBezTo>
                  <a:cubicBezTo>
                    <a:pt x="1037" y="419"/>
                    <a:pt x="1034" y="415"/>
                    <a:pt x="1027" y="415"/>
                  </a:cubicBezTo>
                  <a:cubicBezTo>
                    <a:pt x="1027" y="415"/>
                    <a:pt x="1027" y="415"/>
                    <a:pt x="1027" y="415"/>
                  </a:cubicBezTo>
                  <a:moveTo>
                    <a:pt x="1062" y="414"/>
                  </a:moveTo>
                  <a:cubicBezTo>
                    <a:pt x="1055" y="414"/>
                    <a:pt x="1048" y="419"/>
                    <a:pt x="1045" y="424"/>
                  </a:cubicBezTo>
                  <a:cubicBezTo>
                    <a:pt x="1042" y="430"/>
                    <a:pt x="1045" y="435"/>
                    <a:pt x="1051" y="435"/>
                  </a:cubicBezTo>
                  <a:cubicBezTo>
                    <a:pt x="1058" y="435"/>
                    <a:pt x="1066" y="430"/>
                    <a:pt x="1069" y="424"/>
                  </a:cubicBezTo>
                  <a:cubicBezTo>
                    <a:pt x="1072" y="419"/>
                    <a:pt x="1069" y="414"/>
                    <a:pt x="1062" y="414"/>
                  </a:cubicBezTo>
                  <a:cubicBezTo>
                    <a:pt x="1062" y="414"/>
                    <a:pt x="1062" y="414"/>
                    <a:pt x="1062" y="414"/>
                  </a:cubicBezTo>
                  <a:moveTo>
                    <a:pt x="1096" y="414"/>
                  </a:moveTo>
                  <a:cubicBezTo>
                    <a:pt x="1090" y="414"/>
                    <a:pt x="1082" y="419"/>
                    <a:pt x="1079" y="424"/>
                  </a:cubicBezTo>
                  <a:cubicBezTo>
                    <a:pt x="1076" y="430"/>
                    <a:pt x="1079" y="434"/>
                    <a:pt x="1086" y="434"/>
                  </a:cubicBezTo>
                  <a:cubicBezTo>
                    <a:pt x="1093" y="434"/>
                    <a:pt x="1100" y="430"/>
                    <a:pt x="1103" y="424"/>
                  </a:cubicBezTo>
                  <a:cubicBezTo>
                    <a:pt x="1106" y="419"/>
                    <a:pt x="1103" y="414"/>
                    <a:pt x="1096" y="414"/>
                  </a:cubicBezTo>
                  <a:cubicBezTo>
                    <a:pt x="1096" y="414"/>
                    <a:pt x="1096" y="414"/>
                    <a:pt x="1096" y="414"/>
                  </a:cubicBezTo>
                  <a:moveTo>
                    <a:pt x="1130" y="414"/>
                  </a:moveTo>
                  <a:cubicBezTo>
                    <a:pt x="1123" y="414"/>
                    <a:pt x="1116" y="418"/>
                    <a:pt x="1113" y="424"/>
                  </a:cubicBezTo>
                  <a:cubicBezTo>
                    <a:pt x="1110" y="430"/>
                    <a:pt x="1113" y="434"/>
                    <a:pt x="1120" y="434"/>
                  </a:cubicBezTo>
                  <a:cubicBezTo>
                    <a:pt x="1127" y="434"/>
                    <a:pt x="1134" y="429"/>
                    <a:pt x="1137" y="424"/>
                  </a:cubicBezTo>
                  <a:cubicBezTo>
                    <a:pt x="1140" y="418"/>
                    <a:pt x="1137" y="414"/>
                    <a:pt x="1130" y="414"/>
                  </a:cubicBezTo>
                  <a:cubicBezTo>
                    <a:pt x="1130" y="414"/>
                    <a:pt x="1130" y="414"/>
                    <a:pt x="1130" y="414"/>
                  </a:cubicBezTo>
                  <a:moveTo>
                    <a:pt x="1269" y="413"/>
                  </a:moveTo>
                  <a:cubicBezTo>
                    <a:pt x="1263" y="413"/>
                    <a:pt x="1255" y="417"/>
                    <a:pt x="1253" y="423"/>
                  </a:cubicBezTo>
                  <a:cubicBezTo>
                    <a:pt x="1250" y="429"/>
                    <a:pt x="1253" y="433"/>
                    <a:pt x="1260" y="433"/>
                  </a:cubicBezTo>
                  <a:cubicBezTo>
                    <a:pt x="1267" y="433"/>
                    <a:pt x="1274" y="428"/>
                    <a:pt x="1277" y="423"/>
                  </a:cubicBezTo>
                  <a:cubicBezTo>
                    <a:pt x="1279" y="417"/>
                    <a:pt x="1276" y="413"/>
                    <a:pt x="1269" y="413"/>
                  </a:cubicBezTo>
                  <a:cubicBezTo>
                    <a:pt x="1269" y="413"/>
                    <a:pt x="1269" y="413"/>
                    <a:pt x="1269" y="413"/>
                  </a:cubicBezTo>
                  <a:moveTo>
                    <a:pt x="2093" y="407"/>
                  </a:moveTo>
                  <a:cubicBezTo>
                    <a:pt x="2086" y="408"/>
                    <a:pt x="2080" y="412"/>
                    <a:pt x="2079" y="418"/>
                  </a:cubicBezTo>
                  <a:cubicBezTo>
                    <a:pt x="2078" y="423"/>
                    <a:pt x="2083" y="428"/>
                    <a:pt x="2090" y="428"/>
                  </a:cubicBezTo>
                  <a:cubicBezTo>
                    <a:pt x="2097" y="428"/>
                    <a:pt x="2103" y="423"/>
                    <a:pt x="2103" y="418"/>
                  </a:cubicBezTo>
                  <a:cubicBezTo>
                    <a:pt x="2104" y="412"/>
                    <a:pt x="2100" y="407"/>
                    <a:pt x="2093" y="407"/>
                  </a:cubicBezTo>
                  <a:cubicBezTo>
                    <a:pt x="2093" y="407"/>
                    <a:pt x="2093" y="407"/>
                    <a:pt x="2093" y="407"/>
                  </a:cubicBezTo>
                  <a:moveTo>
                    <a:pt x="2126" y="407"/>
                  </a:moveTo>
                  <a:cubicBezTo>
                    <a:pt x="2119" y="407"/>
                    <a:pt x="2113" y="412"/>
                    <a:pt x="2112" y="418"/>
                  </a:cubicBezTo>
                  <a:cubicBezTo>
                    <a:pt x="2111" y="423"/>
                    <a:pt x="2116" y="428"/>
                    <a:pt x="2123" y="428"/>
                  </a:cubicBezTo>
                  <a:cubicBezTo>
                    <a:pt x="2130" y="428"/>
                    <a:pt x="2136" y="423"/>
                    <a:pt x="2136" y="417"/>
                  </a:cubicBezTo>
                  <a:cubicBezTo>
                    <a:pt x="2137" y="412"/>
                    <a:pt x="2132" y="407"/>
                    <a:pt x="2126" y="407"/>
                  </a:cubicBezTo>
                  <a:cubicBezTo>
                    <a:pt x="2126" y="407"/>
                    <a:pt x="2126" y="407"/>
                    <a:pt x="2126" y="407"/>
                  </a:cubicBezTo>
                  <a:moveTo>
                    <a:pt x="2160" y="407"/>
                  </a:moveTo>
                  <a:cubicBezTo>
                    <a:pt x="2154" y="407"/>
                    <a:pt x="2148" y="412"/>
                    <a:pt x="2147" y="417"/>
                  </a:cubicBezTo>
                  <a:cubicBezTo>
                    <a:pt x="2146" y="423"/>
                    <a:pt x="2151" y="427"/>
                    <a:pt x="2158" y="427"/>
                  </a:cubicBezTo>
                  <a:cubicBezTo>
                    <a:pt x="2165" y="427"/>
                    <a:pt x="2171" y="423"/>
                    <a:pt x="2171" y="417"/>
                  </a:cubicBezTo>
                  <a:cubicBezTo>
                    <a:pt x="2172" y="412"/>
                    <a:pt x="2167" y="407"/>
                    <a:pt x="2160" y="407"/>
                  </a:cubicBezTo>
                  <a:cubicBezTo>
                    <a:pt x="2160" y="407"/>
                    <a:pt x="2160" y="407"/>
                    <a:pt x="2160" y="407"/>
                  </a:cubicBezTo>
                  <a:moveTo>
                    <a:pt x="2197" y="403"/>
                  </a:moveTo>
                  <a:cubicBezTo>
                    <a:pt x="2190" y="403"/>
                    <a:pt x="2184" y="408"/>
                    <a:pt x="2184" y="413"/>
                  </a:cubicBezTo>
                  <a:cubicBezTo>
                    <a:pt x="2183" y="419"/>
                    <a:pt x="2188" y="424"/>
                    <a:pt x="2195" y="424"/>
                  </a:cubicBezTo>
                  <a:cubicBezTo>
                    <a:pt x="2201" y="424"/>
                    <a:pt x="2207" y="419"/>
                    <a:pt x="2208" y="413"/>
                  </a:cubicBezTo>
                  <a:cubicBezTo>
                    <a:pt x="2209" y="408"/>
                    <a:pt x="2204" y="403"/>
                    <a:pt x="2197" y="403"/>
                  </a:cubicBezTo>
                  <a:cubicBezTo>
                    <a:pt x="2197" y="403"/>
                    <a:pt x="2197" y="403"/>
                    <a:pt x="2197" y="403"/>
                  </a:cubicBezTo>
                  <a:moveTo>
                    <a:pt x="2232" y="403"/>
                  </a:moveTo>
                  <a:cubicBezTo>
                    <a:pt x="2226" y="403"/>
                    <a:pt x="2220" y="408"/>
                    <a:pt x="2219" y="413"/>
                  </a:cubicBezTo>
                  <a:cubicBezTo>
                    <a:pt x="2219" y="419"/>
                    <a:pt x="2223" y="423"/>
                    <a:pt x="2230" y="423"/>
                  </a:cubicBezTo>
                  <a:cubicBezTo>
                    <a:pt x="2237" y="423"/>
                    <a:pt x="2243" y="419"/>
                    <a:pt x="2243" y="413"/>
                  </a:cubicBezTo>
                  <a:cubicBezTo>
                    <a:pt x="2244" y="407"/>
                    <a:pt x="2239" y="403"/>
                    <a:pt x="2232" y="403"/>
                  </a:cubicBezTo>
                  <a:cubicBezTo>
                    <a:pt x="2232" y="403"/>
                    <a:pt x="2232" y="403"/>
                    <a:pt x="2232" y="403"/>
                  </a:cubicBezTo>
                  <a:moveTo>
                    <a:pt x="2266" y="403"/>
                  </a:moveTo>
                  <a:cubicBezTo>
                    <a:pt x="2260" y="403"/>
                    <a:pt x="2254" y="407"/>
                    <a:pt x="2253" y="413"/>
                  </a:cubicBezTo>
                  <a:cubicBezTo>
                    <a:pt x="2253" y="419"/>
                    <a:pt x="2258" y="423"/>
                    <a:pt x="2264" y="423"/>
                  </a:cubicBezTo>
                  <a:cubicBezTo>
                    <a:pt x="2271" y="423"/>
                    <a:pt x="2277" y="418"/>
                    <a:pt x="2277" y="413"/>
                  </a:cubicBezTo>
                  <a:cubicBezTo>
                    <a:pt x="2278" y="407"/>
                    <a:pt x="2273" y="403"/>
                    <a:pt x="2266" y="403"/>
                  </a:cubicBezTo>
                  <a:cubicBezTo>
                    <a:pt x="2266" y="403"/>
                    <a:pt x="2266" y="403"/>
                    <a:pt x="2266" y="403"/>
                  </a:cubicBezTo>
                  <a:moveTo>
                    <a:pt x="2300" y="402"/>
                  </a:moveTo>
                  <a:cubicBezTo>
                    <a:pt x="2293" y="402"/>
                    <a:pt x="2288" y="407"/>
                    <a:pt x="2287" y="413"/>
                  </a:cubicBezTo>
                  <a:cubicBezTo>
                    <a:pt x="2287" y="418"/>
                    <a:pt x="2292" y="423"/>
                    <a:pt x="2299" y="423"/>
                  </a:cubicBezTo>
                  <a:cubicBezTo>
                    <a:pt x="2305" y="423"/>
                    <a:pt x="2311" y="418"/>
                    <a:pt x="2311" y="413"/>
                  </a:cubicBezTo>
                  <a:cubicBezTo>
                    <a:pt x="2312" y="407"/>
                    <a:pt x="2307" y="402"/>
                    <a:pt x="2300" y="402"/>
                  </a:cubicBezTo>
                  <a:cubicBezTo>
                    <a:pt x="2300" y="402"/>
                    <a:pt x="2300" y="402"/>
                    <a:pt x="2300" y="402"/>
                  </a:cubicBezTo>
                  <a:moveTo>
                    <a:pt x="2334" y="402"/>
                  </a:moveTo>
                  <a:cubicBezTo>
                    <a:pt x="2327" y="402"/>
                    <a:pt x="2322" y="407"/>
                    <a:pt x="2321" y="412"/>
                  </a:cubicBezTo>
                  <a:cubicBezTo>
                    <a:pt x="2321" y="418"/>
                    <a:pt x="2326" y="423"/>
                    <a:pt x="2333" y="423"/>
                  </a:cubicBezTo>
                  <a:cubicBezTo>
                    <a:pt x="2340" y="423"/>
                    <a:pt x="2345" y="418"/>
                    <a:pt x="2346" y="412"/>
                  </a:cubicBezTo>
                  <a:cubicBezTo>
                    <a:pt x="2346" y="407"/>
                    <a:pt x="2341" y="402"/>
                    <a:pt x="2334" y="402"/>
                  </a:cubicBezTo>
                  <a:cubicBezTo>
                    <a:pt x="2334" y="402"/>
                    <a:pt x="2334" y="402"/>
                    <a:pt x="2334" y="402"/>
                  </a:cubicBezTo>
                  <a:moveTo>
                    <a:pt x="2369" y="402"/>
                  </a:moveTo>
                  <a:cubicBezTo>
                    <a:pt x="2362" y="402"/>
                    <a:pt x="2356" y="407"/>
                    <a:pt x="2356" y="412"/>
                  </a:cubicBezTo>
                  <a:cubicBezTo>
                    <a:pt x="2356" y="418"/>
                    <a:pt x="2361" y="422"/>
                    <a:pt x="2368" y="422"/>
                  </a:cubicBezTo>
                  <a:cubicBezTo>
                    <a:pt x="2374" y="422"/>
                    <a:pt x="2380" y="418"/>
                    <a:pt x="2380" y="412"/>
                  </a:cubicBezTo>
                  <a:cubicBezTo>
                    <a:pt x="2380" y="406"/>
                    <a:pt x="2375" y="402"/>
                    <a:pt x="2369" y="402"/>
                  </a:cubicBezTo>
                  <a:cubicBezTo>
                    <a:pt x="2369" y="402"/>
                    <a:pt x="2369" y="402"/>
                    <a:pt x="2369" y="402"/>
                  </a:cubicBezTo>
                  <a:moveTo>
                    <a:pt x="2575" y="402"/>
                  </a:moveTo>
                  <a:cubicBezTo>
                    <a:pt x="2568" y="402"/>
                    <a:pt x="2563" y="406"/>
                    <a:pt x="2563" y="412"/>
                  </a:cubicBezTo>
                  <a:cubicBezTo>
                    <a:pt x="2563" y="418"/>
                    <a:pt x="2569" y="422"/>
                    <a:pt x="2575" y="422"/>
                  </a:cubicBezTo>
                  <a:cubicBezTo>
                    <a:pt x="2582" y="422"/>
                    <a:pt x="2587" y="418"/>
                    <a:pt x="2587" y="412"/>
                  </a:cubicBezTo>
                  <a:cubicBezTo>
                    <a:pt x="2587" y="406"/>
                    <a:pt x="2581" y="402"/>
                    <a:pt x="2575" y="402"/>
                  </a:cubicBezTo>
                  <a:cubicBezTo>
                    <a:pt x="2575" y="402"/>
                    <a:pt x="2575" y="402"/>
                    <a:pt x="2575" y="402"/>
                  </a:cubicBezTo>
                  <a:moveTo>
                    <a:pt x="2403" y="402"/>
                  </a:moveTo>
                  <a:cubicBezTo>
                    <a:pt x="2397" y="402"/>
                    <a:pt x="2391" y="406"/>
                    <a:pt x="2391" y="412"/>
                  </a:cubicBezTo>
                  <a:cubicBezTo>
                    <a:pt x="2391" y="418"/>
                    <a:pt x="2396" y="422"/>
                    <a:pt x="2402" y="422"/>
                  </a:cubicBezTo>
                  <a:cubicBezTo>
                    <a:pt x="2409" y="422"/>
                    <a:pt x="2415" y="417"/>
                    <a:pt x="2415" y="412"/>
                  </a:cubicBezTo>
                  <a:cubicBezTo>
                    <a:pt x="2415" y="406"/>
                    <a:pt x="2410" y="402"/>
                    <a:pt x="2403" y="402"/>
                  </a:cubicBezTo>
                  <a:cubicBezTo>
                    <a:pt x="2403" y="402"/>
                    <a:pt x="2403" y="402"/>
                    <a:pt x="2403" y="402"/>
                  </a:cubicBezTo>
                  <a:moveTo>
                    <a:pt x="2610" y="402"/>
                  </a:moveTo>
                  <a:cubicBezTo>
                    <a:pt x="2603" y="402"/>
                    <a:pt x="2598" y="406"/>
                    <a:pt x="2598" y="412"/>
                  </a:cubicBezTo>
                  <a:cubicBezTo>
                    <a:pt x="2598" y="417"/>
                    <a:pt x="2604" y="422"/>
                    <a:pt x="2610" y="422"/>
                  </a:cubicBezTo>
                  <a:cubicBezTo>
                    <a:pt x="2617" y="422"/>
                    <a:pt x="2622" y="417"/>
                    <a:pt x="2622" y="412"/>
                  </a:cubicBezTo>
                  <a:cubicBezTo>
                    <a:pt x="2622" y="406"/>
                    <a:pt x="2616" y="402"/>
                    <a:pt x="2610" y="402"/>
                  </a:cubicBezTo>
                  <a:cubicBezTo>
                    <a:pt x="2610" y="402"/>
                    <a:pt x="2610" y="402"/>
                    <a:pt x="2610" y="402"/>
                  </a:cubicBezTo>
                  <a:moveTo>
                    <a:pt x="2437" y="401"/>
                  </a:moveTo>
                  <a:cubicBezTo>
                    <a:pt x="2431" y="401"/>
                    <a:pt x="2425" y="406"/>
                    <a:pt x="2425" y="412"/>
                  </a:cubicBezTo>
                  <a:cubicBezTo>
                    <a:pt x="2425" y="417"/>
                    <a:pt x="2430" y="422"/>
                    <a:pt x="2437" y="422"/>
                  </a:cubicBezTo>
                  <a:cubicBezTo>
                    <a:pt x="2443" y="422"/>
                    <a:pt x="2449" y="417"/>
                    <a:pt x="2449" y="412"/>
                  </a:cubicBezTo>
                  <a:cubicBezTo>
                    <a:pt x="2449" y="406"/>
                    <a:pt x="2444" y="401"/>
                    <a:pt x="2437" y="401"/>
                  </a:cubicBezTo>
                  <a:cubicBezTo>
                    <a:pt x="2437" y="401"/>
                    <a:pt x="2437" y="401"/>
                    <a:pt x="2437" y="401"/>
                  </a:cubicBezTo>
                  <a:moveTo>
                    <a:pt x="2644" y="401"/>
                  </a:moveTo>
                  <a:cubicBezTo>
                    <a:pt x="2637" y="401"/>
                    <a:pt x="2632" y="406"/>
                    <a:pt x="2632" y="412"/>
                  </a:cubicBezTo>
                  <a:cubicBezTo>
                    <a:pt x="2632" y="417"/>
                    <a:pt x="2638" y="422"/>
                    <a:pt x="2645" y="422"/>
                  </a:cubicBezTo>
                  <a:cubicBezTo>
                    <a:pt x="2651" y="422"/>
                    <a:pt x="2657" y="417"/>
                    <a:pt x="2656" y="411"/>
                  </a:cubicBezTo>
                  <a:cubicBezTo>
                    <a:pt x="2656" y="406"/>
                    <a:pt x="2650" y="401"/>
                    <a:pt x="2644" y="401"/>
                  </a:cubicBezTo>
                  <a:cubicBezTo>
                    <a:pt x="2644" y="401"/>
                    <a:pt x="2644" y="401"/>
                    <a:pt x="2644" y="401"/>
                  </a:cubicBezTo>
                  <a:moveTo>
                    <a:pt x="2471" y="401"/>
                  </a:moveTo>
                  <a:cubicBezTo>
                    <a:pt x="2465" y="401"/>
                    <a:pt x="2459" y="406"/>
                    <a:pt x="2459" y="411"/>
                  </a:cubicBezTo>
                  <a:cubicBezTo>
                    <a:pt x="2459" y="417"/>
                    <a:pt x="2465" y="422"/>
                    <a:pt x="2471" y="422"/>
                  </a:cubicBezTo>
                  <a:cubicBezTo>
                    <a:pt x="2478" y="422"/>
                    <a:pt x="2483" y="417"/>
                    <a:pt x="2483" y="411"/>
                  </a:cubicBezTo>
                  <a:cubicBezTo>
                    <a:pt x="2483" y="406"/>
                    <a:pt x="2478" y="401"/>
                    <a:pt x="2472" y="401"/>
                  </a:cubicBezTo>
                  <a:cubicBezTo>
                    <a:pt x="2472" y="401"/>
                    <a:pt x="2472" y="401"/>
                    <a:pt x="2471" y="401"/>
                  </a:cubicBezTo>
                  <a:moveTo>
                    <a:pt x="2677" y="401"/>
                  </a:moveTo>
                  <a:cubicBezTo>
                    <a:pt x="2671" y="401"/>
                    <a:pt x="2666" y="406"/>
                    <a:pt x="2666" y="411"/>
                  </a:cubicBezTo>
                  <a:cubicBezTo>
                    <a:pt x="2666" y="417"/>
                    <a:pt x="2672" y="422"/>
                    <a:pt x="2679" y="421"/>
                  </a:cubicBezTo>
                  <a:cubicBezTo>
                    <a:pt x="2686" y="421"/>
                    <a:pt x="2691" y="417"/>
                    <a:pt x="2690" y="411"/>
                  </a:cubicBezTo>
                  <a:cubicBezTo>
                    <a:pt x="2690" y="406"/>
                    <a:pt x="2684" y="401"/>
                    <a:pt x="2678" y="401"/>
                  </a:cubicBezTo>
                  <a:cubicBezTo>
                    <a:pt x="2678" y="401"/>
                    <a:pt x="2678" y="401"/>
                    <a:pt x="2677" y="401"/>
                  </a:cubicBezTo>
                  <a:moveTo>
                    <a:pt x="2506" y="401"/>
                  </a:moveTo>
                  <a:cubicBezTo>
                    <a:pt x="2499" y="401"/>
                    <a:pt x="2494" y="406"/>
                    <a:pt x="2494" y="411"/>
                  </a:cubicBezTo>
                  <a:cubicBezTo>
                    <a:pt x="2494" y="417"/>
                    <a:pt x="2499" y="421"/>
                    <a:pt x="2506" y="421"/>
                  </a:cubicBezTo>
                  <a:cubicBezTo>
                    <a:pt x="2512" y="421"/>
                    <a:pt x="2518" y="417"/>
                    <a:pt x="2518" y="411"/>
                  </a:cubicBezTo>
                  <a:cubicBezTo>
                    <a:pt x="2518" y="405"/>
                    <a:pt x="2512" y="401"/>
                    <a:pt x="2506" y="401"/>
                  </a:cubicBezTo>
                  <a:cubicBezTo>
                    <a:pt x="2506" y="401"/>
                    <a:pt x="2506" y="401"/>
                    <a:pt x="2506" y="401"/>
                  </a:cubicBezTo>
                  <a:moveTo>
                    <a:pt x="2712" y="401"/>
                  </a:moveTo>
                  <a:cubicBezTo>
                    <a:pt x="2705" y="401"/>
                    <a:pt x="2700" y="405"/>
                    <a:pt x="2700" y="411"/>
                  </a:cubicBezTo>
                  <a:cubicBezTo>
                    <a:pt x="2701" y="417"/>
                    <a:pt x="2706" y="421"/>
                    <a:pt x="2713" y="421"/>
                  </a:cubicBezTo>
                  <a:cubicBezTo>
                    <a:pt x="2720" y="421"/>
                    <a:pt x="2725" y="417"/>
                    <a:pt x="2724" y="411"/>
                  </a:cubicBezTo>
                  <a:cubicBezTo>
                    <a:pt x="2724" y="405"/>
                    <a:pt x="2718" y="401"/>
                    <a:pt x="2712" y="401"/>
                  </a:cubicBezTo>
                  <a:cubicBezTo>
                    <a:pt x="2712" y="401"/>
                    <a:pt x="2712" y="401"/>
                    <a:pt x="2712" y="401"/>
                  </a:cubicBezTo>
                  <a:moveTo>
                    <a:pt x="2540" y="401"/>
                  </a:moveTo>
                  <a:cubicBezTo>
                    <a:pt x="2533" y="401"/>
                    <a:pt x="2528" y="405"/>
                    <a:pt x="2528" y="411"/>
                  </a:cubicBezTo>
                  <a:cubicBezTo>
                    <a:pt x="2528" y="417"/>
                    <a:pt x="2534" y="421"/>
                    <a:pt x="2540" y="421"/>
                  </a:cubicBezTo>
                  <a:cubicBezTo>
                    <a:pt x="2547" y="421"/>
                    <a:pt x="2552" y="416"/>
                    <a:pt x="2552" y="411"/>
                  </a:cubicBezTo>
                  <a:cubicBezTo>
                    <a:pt x="2552" y="405"/>
                    <a:pt x="2547" y="401"/>
                    <a:pt x="2540" y="401"/>
                  </a:cubicBezTo>
                  <a:cubicBezTo>
                    <a:pt x="2540" y="401"/>
                    <a:pt x="2540" y="401"/>
                    <a:pt x="2540" y="401"/>
                  </a:cubicBezTo>
                  <a:moveTo>
                    <a:pt x="2746" y="401"/>
                  </a:moveTo>
                  <a:cubicBezTo>
                    <a:pt x="2739" y="401"/>
                    <a:pt x="2734" y="405"/>
                    <a:pt x="2735" y="411"/>
                  </a:cubicBezTo>
                  <a:cubicBezTo>
                    <a:pt x="2735" y="416"/>
                    <a:pt x="2741" y="421"/>
                    <a:pt x="2748" y="421"/>
                  </a:cubicBezTo>
                  <a:cubicBezTo>
                    <a:pt x="2754" y="421"/>
                    <a:pt x="2759" y="416"/>
                    <a:pt x="2759" y="411"/>
                  </a:cubicBezTo>
                  <a:cubicBezTo>
                    <a:pt x="2758" y="405"/>
                    <a:pt x="2753" y="401"/>
                    <a:pt x="2746" y="401"/>
                  </a:cubicBezTo>
                  <a:cubicBezTo>
                    <a:pt x="2746" y="401"/>
                    <a:pt x="2746" y="401"/>
                    <a:pt x="2746" y="401"/>
                  </a:cubicBezTo>
                  <a:moveTo>
                    <a:pt x="2781" y="400"/>
                  </a:moveTo>
                  <a:cubicBezTo>
                    <a:pt x="2774" y="400"/>
                    <a:pt x="2769" y="405"/>
                    <a:pt x="2770" y="411"/>
                  </a:cubicBezTo>
                  <a:cubicBezTo>
                    <a:pt x="2770" y="416"/>
                    <a:pt x="2776" y="421"/>
                    <a:pt x="2783" y="421"/>
                  </a:cubicBezTo>
                  <a:cubicBezTo>
                    <a:pt x="2789" y="421"/>
                    <a:pt x="2794" y="416"/>
                    <a:pt x="2794" y="410"/>
                  </a:cubicBezTo>
                  <a:cubicBezTo>
                    <a:pt x="2793" y="405"/>
                    <a:pt x="2787" y="400"/>
                    <a:pt x="2781" y="400"/>
                  </a:cubicBezTo>
                  <a:cubicBezTo>
                    <a:pt x="2781" y="400"/>
                    <a:pt x="2781" y="400"/>
                    <a:pt x="2781" y="400"/>
                  </a:cubicBezTo>
                  <a:moveTo>
                    <a:pt x="2815" y="400"/>
                  </a:moveTo>
                  <a:cubicBezTo>
                    <a:pt x="2808" y="400"/>
                    <a:pt x="2803" y="405"/>
                    <a:pt x="2804" y="410"/>
                  </a:cubicBezTo>
                  <a:cubicBezTo>
                    <a:pt x="2804" y="416"/>
                    <a:pt x="2810" y="421"/>
                    <a:pt x="2817" y="421"/>
                  </a:cubicBezTo>
                  <a:cubicBezTo>
                    <a:pt x="2824" y="420"/>
                    <a:pt x="2828" y="416"/>
                    <a:pt x="2828" y="410"/>
                  </a:cubicBezTo>
                  <a:cubicBezTo>
                    <a:pt x="2827" y="405"/>
                    <a:pt x="2821" y="400"/>
                    <a:pt x="2815" y="400"/>
                  </a:cubicBezTo>
                  <a:cubicBezTo>
                    <a:pt x="2815" y="400"/>
                    <a:pt x="2815" y="400"/>
                    <a:pt x="2815" y="400"/>
                  </a:cubicBezTo>
                  <a:moveTo>
                    <a:pt x="2849" y="400"/>
                  </a:moveTo>
                  <a:cubicBezTo>
                    <a:pt x="2842" y="400"/>
                    <a:pt x="2837" y="404"/>
                    <a:pt x="2838" y="410"/>
                  </a:cubicBezTo>
                  <a:cubicBezTo>
                    <a:pt x="2839" y="416"/>
                    <a:pt x="2845" y="420"/>
                    <a:pt x="2851" y="420"/>
                  </a:cubicBezTo>
                  <a:cubicBezTo>
                    <a:pt x="2858" y="420"/>
                    <a:pt x="2863" y="416"/>
                    <a:pt x="2862" y="410"/>
                  </a:cubicBezTo>
                  <a:cubicBezTo>
                    <a:pt x="2861" y="404"/>
                    <a:pt x="2856" y="400"/>
                    <a:pt x="2849" y="400"/>
                  </a:cubicBezTo>
                  <a:cubicBezTo>
                    <a:pt x="2849" y="400"/>
                    <a:pt x="2849" y="400"/>
                    <a:pt x="2849" y="400"/>
                  </a:cubicBezTo>
                  <a:moveTo>
                    <a:pt x="2883" y="400"/>
                  </a:moveTo>
                  <a:cubicBezTo>
                    <a:pt x="2876" y="400"/>
                    <a:pt x="2872" y="404"/>
                    <a:pt x="2872" y="410"/>
                  </a:cubicBezTo>
                  <a:cubicBezTo>
                    <a:pt x="2873" y="416"/>
                    <a:pt x="2879" y="420"/>
                    <a:pt x="2886" y="420"/>
                  </a:cubicBezTo>
                  <a:cubicBezTo>
                    <a:pt x="2892" y="420"/>
                    <a:pt x="2897" y="415"/>
                    <a:pt x="2896" y="410"/>
                  </a:cubicBezTo>
                  <a:cubicBezTo>
                    <a:pt x="2896" y="404"/>
                    <a:pt x="2890" y="400"/>
                    <a:pt x="2883" y="400"/>
                  </a:cubicBezTo>
                  <a:cubicBezTo>
                    <a:pt x="2883" y="400"/>
                    <a:pt x="2883" y="400"/>
                    <a:pt x="2883" y="400"/>
                  </a:cubicBezTo>
                  <a:moveTo>
                    <a:pt x="2917" y="399"/>
                  </a:moveTo>
                  <a:cubicBezTo>
                    <a:pt x="2911" y="399"/>
                    <a:pt x="2906" y="404"/>
                    <a:pt x="2907" y="410"/>
                  </a:cubicBezTo>
                  <a:cubicBezTo>
                    <a:pt x="2908" y="415"/>
                    <a:pt x="2914" y="420"/>
                    <a:pt x="2920" y="420"/>
                  </a:cubicBezTo>
                  <a:cubicBezTo>
                    <a:pt x="2927" y="420"/>
                    <a:pt x="2932" y="415"/>
                    <a:pt x="2931" y="409"/>
                  </a:cubicBezTo>
                  <a:cubicBezTo>
                    <a:pt x="2930" y="404"/>
                    <a:pt x="2924" y="399"/>
                    <a:pt x="2917" y="399"/>
                  </a:cubicBezTo>
                  <a:cubicBezTo>
                    <a:pt x="2917" y="399"/>
                    <a:pt x="2917" y="399"/>
                    <a:pt x="2917" y="399"/>
                  </a:cubicBezTo>
                  <a:moveTo>
                    <a:pt x="2952" y="399"/>
                  </a:moveTo>
                  <a:cubicBezTo>
                    <a:pt x="2945" y="399"/>
                    <a:pt x="2941" y="404"/>
                    <a:pt x="2942" y="409"/>
                  </a:cubicBezTo>
                  <a:cubicBezTo>
                    <a:pt x="2942" y="415"/>
                    <a:pt x="2949" y="420"/>
                    <a:pt x="2955" y="420"/>
                  </a:cubicBezTo>
                  <a:cubicBezTo>
                    <a:pt x="2962" y="419"/>
                    <a:pt x="2967" y="415"/>
                    <a:pt x="2966" y="409"/>
                  </a:cubicBezTo>
                  <a:cubicBezTo>
                    <a:pt x="2965" y="404"/>
                    <a:pt x="2959" y="399"/>
                    <a:pt x="2952" y="399"/>
                  </a:cubicBezTo>
                  <a:cubicBezTo>
                    <a:pt x="2952" y="399"/>
                    <a:pt x="2952" y="399"/>
                    <a:pt x="2952" y="399"/>
                  </a:cubicBezTo>
                  <a:moveTo>
                    <a:pt x="2985" y="399"/>
                  </a:moveTo>
                  <a:cubicBezTo>
                    <a:pt x="2978" y="399"/>
                    <a:pt x="2974" y="403"/>
                    <a:pt x="2975" y="409"/>
                  </a:cubicBezTo>
                  <a:cubicBezTo>
                    <a:pt x="2976" y="415"/>
                    <a:pt x="2982" y="419"/>
                    <a:pt x="2989" y="419"/>
                  </a:cubicBezTo>
                  <a:cubicBezTo>
                    <a:pt x="2995" y="419"/>
                    <a:pt x="3000" y="415"/>
                    <a:pt x="2999" y="409"/>
                  </a:cubicBezTo>
                  <a:cubicBezTo>
                    <a:pt x="2998" y="403"/>
                    <a:pt x="2992" y="399"/>
                    <a:pt x="2985" y="399"/>
                  </a:cubicBezTo>
                  <a:cubicBezTo>
                    <a:pt x="2985" y="399"/>
                    <a:pt x="2985" y="399"/>
                    <a:pt x="2985" y="399"/>
                  </a:cubicBezTo>
                  <a:moveTo>
                    <a:pt x="3019" y="399"/>
                  </a:moveTo>
                  <a:cubicBezTo>
                    <a:pt x="3012" y="399"/>
                    <a:pt x="3008" y="403"/>
                    <a:pt x="3009" y="409"/>
                  </a:cubicBezTo>
                  <a:cubicBezTo>
                    <a:pt x="3010" y="415"/>
                    <a:pt x="3016" y="419"/>
                    <a:pt x="3023" y="419"/>
                  </a:cubicBezTo>
                  <a:cubicBezTo>
                    <a:pt x="3030" y="419"/>
                    <a:pt x="3034" y="414"/>
                    <a:pt x="3033" y="409"/>
                  </a:cubicBezTo>
                  <a:cubicBezTo>
                    <a:pt x="3032" y="403"/>
                    <a:pt x="3026" y="399"/>
                    <a:pt x="3019" y="399"/>
                  </a:cubicBezTo>
                  <a:cubicBezTo>
                    <a:pt x="3019" y="399"/>
                    <a:pt x="3019" y="399"/>
                    <a:pt x="3019" y="399"/>
                  </a:cubicBezTo>
                  <a:moveTo>
                    <a:pt x="3053" y="398"/>
                  </a:moveTo>
                  <a:cubicBezTo>
                    <a:pt x="3046" y="398"/>
                    <a:pt x="3042" y="403"/>
                    <a:pt x="3043" y="409"/>
                  </a:cubicBezTo>
                  <a:cubicBezTo>
                    <a:pt x="3044" y="414"/>
                    <a:pt x="3050" y="419"/>
                    <a:pt x="3057" y="419"/>
                  </a:cubicBezTo>
                  <a:cubicBezTo>
                    <a:pt x="3064" y="419"/>
                    <a:pt x="3068" y="414"/>
                    <a:pt x="3067" y="408"/>
                  </a:cubicBezTo>
                  <a:cubicBezTo>
                    <a:pt x="3066" y="403"/>
                    <a:pt x="3059" y="398"/>
                    <a:pt x="3053" y="398"/>
                  </a:cubicBezTo>
                  <a:cubicBezTo>
                    <a:pt x="3053" y="398"/>
                    <a:pt x="3053" y="398"/>
                    <a:pt x="3053" y="398"/>
                  </a:cubicBezTo>
                  <a:moveTo>
                    <a:pt x="3087" y="398"/>
                  </a:moveTo>
                  <a:cubicBezTo>
                    <a:pt x="3080" y="398"/>
                    <a:pt x="3076" y="403"/>
                    <a:pt x="3077" y="408"/>
                  </a:cubicBezTo>
                  <a:cubicBezTo>
                    <a:pt x="3078" y="414"/>
                    <a:pt x="3085" y="419"/>
                    <a:pt x="3091" y="419"/>
                  </a:cubicBezTo>
                  <a:cubicBezTo>
                    <a:pt x="3098" y="419"/>
                    <a:pt x="3102" y="414"/>
                    <a:pt x="3101" y="408"/>
                  </a:cubicBezTo>
                  <a:cubicBezTo>
                    <a:pt x="3100" y="403"/>
                    <a:pt x="3093" y="398"/>
                    <a:pt x="3087" y="398"/>
                  </a:cubicBezTo>
                  <a:cubicBezTo>
                    <a:pt x="3087" y="398"/>
                    <a:pt x="3087" y="398"/>
                    <a:pt x="3087" y="398"/>
                  </a:cubicBezTo>
                  <a:moveTo>
                    <a:pt x="3121" y="398"/>
                  </a:moveTo>
                  <a:cubicBezTo>
                    <a:pt x="3114" y="398"/>
                    <a:pt x="3110" y="402"/>
                    <a:pt x="3111" y="408"/>
                  </a:cubicBezTo>
                  <a:cubicBezTo>
                    <a:pt x="3113" y="414"/>
                    <a:pt x="3119" y="418"/>
                    <a:pt x="3126" y="418"/>
                  </a:cubicBezTo>
                  <a:cubicBezTo>
                    <a:pt x="3132" y="418"/>
                    <a:pt x="3137" y="414"/>
                    <a:pt x="3135" y="408"/>
                  </a:cubicBezTo>
                  <a:cubicBezTo>
                    <a:pt x="3134" y="402"/>
                    <a:pt x="3128" y="398"/>
                    <a:pt x="3121" y="398"/>
                  </a:cubicBezTo>
                  <a:cubicBezTo>
                    <a:pt x="3121" y="398"/>
                    <a:pt x="3121" y="398"/>
                    <a:pt x="3121" y="398"/>
                  </a:cubicBezTo>
                  <a:moveTo>
                    <a:pt x="3362" y="398"/>
                  </a:moveTo>
                  <a:cubicBezTo>
                    <a:pt x="3356" y="398"/>
                    <a:pt x="3352" y="402"/>
                    <a:pt x="3354" y="408"/>
                  </a:cubicBezTo>
                  <a:cubicBezTo>
                    <a:pt x="3355" y="414"/>
                    <a:pt x="3362" y="418"/>
                    <a:pt x="3369" y="418"/>
                  </a:cubicBezTo>
                  <a:cubicBezTo>
                    <a:pt x="3376" y="418"/>
                    <a:pt x="3379" y="414"/>
                    <a:pt x="3378" y="408"/>
                  </a:cubicBezTo>
                  <a:cubicBezTo>
                    <a:pt x="3376" y="402"/>
                    <a:pt x="3369" y="398"/>
                    <a:pt x="3362" y="398"/>
                  </a:cubicBezTo>
                  <a:cubicBezTo>
                    <a:pt x="3362" y="398"/>
                    <a:pt x="3362" y="398"/>
                    <a:pt x="3362" y="398"/>
                  </a:cubicBezTo>
                  <a:moveTo>
                    <a:pt x="3156" y="398"/>
                  </a:moveTo>
                  <a:cubicBezTo>
                    <a:pt x="3149" y="398"/>
                    <a:pt x="3145" y="402"/>
                    <a:pt x="3146" y="408"/>
                  </a:cubicBezTo>
                  <a:cubicBezTo>
                    <a:pt x="3147" y="414"/>
                    <a:pt x="3154" y="418"/>
                    <a:pt x="3161" y="418"/>
                  </a:cubicBezTo>
                  <a:cubicBezTo>
                    <a:pt x="3167" y="418"/>
                    <a:pt x="3172" y="413"/>
                    <a:pt x="3170" y="408"/>
                  </a:cubicBezTo>
                  <a:cubicBezTo>
                    <a:pt x="3169" y="402"/>
                    <a:pt x="3162" y="398"/>
                    <a:pt x="3156" y="398"/>
                  </a:cubicBezTo>
                  <a:cubicBezTo>
                    <a:pt x="3156" y="398"/>
                    <a:pt x="3156" y="398"/>
                    <a:pt x="3156" y="398"/>
                  </a:cubicBezTo>
                  <a:moveTo>
                    <a:pt x="3396" y="397"/>
                  </a:moveTo>
                  <a:cubicBezTo>
                    <a:pt x="3390" y="398"/>
                    <a:pt x="3386" y="402"/>
                    <a:pt x="3387" y="408"/>
                  </a:cubicBezTo>
                  <a:cubicBezTo>
                    <a:pt x="3389" y="413"/>
                    <a:pt x="3396" y="418"/>
                    <a:pt x="3403" y="418"/>
                  </a:cubicBezTo>
                  <a:cubicBezTo>
                    <a:pt x="3410" y="418"/>
                    <a:pt x="3413" y="413"/>
                    <a:pt x="3412" y="408"/>
                  </a:cubicBezTo>
                  <a:cubicBezTo>
                    <a:pt x="3410" y="402"/>
                    <a:pt x="3403" y="397"/>
                    <a:pt x="3396" y="397"/>
                  </a:cubicBezTo>
                  <a:cubicBezTo>
                    <a:pt x="3396" y="397"/>
                    <a:pt x="3396" y="397"/>
                    <a:pt x="3396" y="397"/>
                  </a:cubicBezTo>
                  <a:moveTo>
                    <a:pt x="3190" y="397"/>
                  </a:moveTo>
                  <a:cubicBezTo>
                    <a:pt x="3183" y="397"/>
                    <a:pt x="3179" y="402"/>
                    <a:pt x="3180" y="408"/>
                  </a:cubicBezTo>
                  <a:cubicBezTo>
                    <a:pt x="3182" y="413"/>
                    <a:pt x="3188" y="418"/>
                    <a:pt x="3195" y="418"/>
                  </a:cubicBezTo>
                  <a:cubicBezTo>
                    <a:pt x="3202" y="418"/>
                    <a:pt x="3206" y="413"/>
                    <a:pt x="3204" y="407"/>
                  </a:cubicBezTo>
                  <a:cubicBezTo>
                    <a:pt x="3203" y="402"/>
                    <a:pt x="3196" y="397"/>
                    <a:pt x="3190" y="397"/>
                  </a:cubicBezTo>
                  <a:cubicBezTo>
                    <a:pt x="3190" y="397"/>
                    <a:pt x="3190" y="397"/>
                    <a:pt x="3190" y="397"/>
                  </a:cubicBezTo>
                  <a:moveTo>
                    <a:pt x="3430" y="397"/>
                  </a:moveTo>
                  <a:cubicBezTo>
                    <a:pt x="3424" y="397"/>
                    <a:pt x="3420" y="402"/>
                    <a:pt x="3422" y="408"/>
                  </a:cubicBezTo>
                  <a:cubicBezTo>
                    <a:pt x="3424" y="413"/>
                    <a:pt x="3430" y="418"/>
                    <a:pt x="3437" y="418"/>
                  </a:cubicBezTo>
                  <a:cubicBezTo>
                    <a:pt x="3444" y="418"/>
                    <a:pt x="3448" y="413"/>
                    <a:pt x="3446" y="407"/>
                  </a:cubicBezTo>
                  <a:cubicBezTo>
                    <a:pt x="3444" y="402"/>
                    <a:pt x="3437" y="397"/>
                    <a:pt x="3430" y="397"/>
                  </a:cubicBezTo>
                  <a:cubicBezTo>
                    <a:pt x="3430" y="397"/>
                    <a:pt x="3430" y="397"/>
                    <a:pt x="3430" y="397"/>
                  </a:cubicBezTo>
                  <a:moveTo>
                    <a:pt x="3224" y="397"/>
                  </a:moveTo>
                  <a:cubicBezTo>
                    <a:pt x="3217" y="397"/>
                    <a:pt x="3213" y="402"/>
                    <a:pt x="3215" y="407"/>
                  </a:cubicBezTo>
                  <a:cubicBezTo>
                    <a:pt x="3216" y="413"/>
                    <a:pt x="3223" y="418"/>
                    <a:pt x="3229" y="418"/>
                  </a:cubicBezTo>
                  <a:cubicBezTo>
                    <a:pt x="3236" y="418"/>
                    <a:pt x="3240" y="413"/>
                    <a:pt x="3239" y="407"/>
                  </a:cubicBezTo>
                  <a:cubicBezTo>
                    <a:pt x="3237" y="402"/>
                    <a:pt x="3231" y="397"/>
                    <a:pt x="3224" y="397"/>
                  </a:cubicBezTo>
                  <a:cubicBezTo>
                    <a:pt x="3224" y="397"/>
                    <a:pt x="3224" y="397"/>
                    <a:pt x="3224" y="397"/>
                  </a:cubicBezTo>
                  <a:moveTo>
                    <a:pt x="3464" y="397"/>
                  </a:moveTo>
                  <a:cubicBezTo>
                    <a:pt x="3458" y="397"/>
                    <a:pt x="3454" y="402"/>
                    <a:pt x="3456" y="407"/>
                  </a:cubicBezTo>
                  <a:cubicBezTo>
                    <a:pt x="3458" y="413"/>
                    <a:pt x="3465" y="418"/>
                    <a:pt x="3472" y="418"/>
                  </a:cubicBezTo>
                  <a:cubicBezTo>
                    <a:pt x="3478" y="417"/>
                    <a:pt x="3482" y="413"/>
                    <a:pt x="3480" y="407"/>
                  </a:cubicBezTo>
                  <a:cubicBezTo>
                    <a:pt x="3478" y="402"/>
                    <a:pt x="3471" y="397"/>
                    <a:pt x="3465" y="397"/>
                  </a:cubicBezTo>
                  <a:cubicBezTo>
                    <a:pt x="3464" y="397"/>
                    <a:pt x="3464" y="397"/>
                    <a:pt x="3464" y="397"/>
                  </a:cubicBezTo>
                  <a:moveTo>
                    <a:pt x="3258" y="397"/>
                  </a:moveTo>
                  <a:cubicBezTo>
                    <a:pt x="3251" y="397"/>
                    <a:pt x="3247" y="401"/>
                    <a:pt x="3249" y="407"/>
                  </a:cubicBezTo>
                  <a:cubicBezTo>
                    <a:pt x="3250" y="413"/>
                    <a:pt x="3257" y="417"/>
                    <a:pt x="3264" y="417"/>
                  </a:cubicBezTo>
                  <a:cubicBezTo>
                    <a:pt x="3270" y="417"/>
                    <a:pt x="3274" y="413"/>
                    <a:pt x="3273" y="407"/>
                  </a:cubicBezTo>
                  <a:cubicBezTo>
                    <a:pt x="3271" y="401"/>
                    <a:pt x="3265" y="397"/>
                    <a:pt x="3258" y="397"/>
                  </a:cubicBezTo>
                  <a:cubicBezTo>
                    <a:pt x="3258" y="397"/>
                    <a:pt x="3258" y="397"/>
                    <a:pt x="3258" y="397"/>
                  </a:cubicBezTo>
                  <a:moveTo>
                    <a:pt x="3499" y="397"/>
                  </a:moveTo>
                  <a:cubicBezTo>
                    <a:pt x="3492" y="397"/>
                    <a:pt x="3489" y="401"/>
                    <a:pt x="3491" y="407"/>
                  </a:cubicBezTo>
                  <a:cubicBezTo>
                    <a:pt x="3493" y="413"/>
                    <a:pt x="3500" y="417"/>
                    <a:pt x="3507" y="417"/>
                  </a:cubicBezTo>
                  <a:cubicBezTo>
                    <a:pt x="3513" y="417"/>
                    <a:pt x="3517" y="413"/>
                    <a:pt x="3515" y="407"/>
                  </a:cubicBezTo>
                  <a:cubicBezTo>
                    <a:pt x="3513" y="401"/>
                    <a:pt x="3506" y="397"/>
                    <a:pt x="3499" y="397"/>
                  </a:cubicBezTo>
                  <a:cubicBezTo>
                    <a:pt x="3499" y="397"/>
                    <a:pt x="3499" y="397"/>
                    <a:pt x="3499" y="397"/>
                  </a:cubicBezTo>
                  <a:moveTo>
                    <a:pt x="3292" y="397"/>
                  </a:moveTo>
                  <a:cubicBezTo>
                    <a:pt x="3286" y="397"/>
                    <a:pt x="3282" y="401"/>
                    <a:pt x="3283" y="407"/>
                  </a:cubicBezTo>
                  <a:cubicBezTo>
                    <a:pt x="3285" y="413"/>
                    <a:pt x="3292" y="417"/>
                    <a:pt x="3298" y="417"/>
                  </a:cubicBezTo>
                  <a:cubicBezTo>
                    <a:pt x="3305" y="417"/>
                    <a:pt x="3309" y="412"/>
                    <a:pt x="3307" y="407"/>
                  </a:cubicBezTo>
                  <a:cubicBezTo>
                    <a:pt x="3306" y="401"/>
                    <a:pt x="3299" y="397"/>
                    <a:pt x="3292" y="397"/>
                  </a:cubicBezTo>
                  <a:cubicBezTo>
                    <a:pt x="3292" y="397"/>
                    <a:pt x="3292" y="397"/>
                    <a:pt x="3292" y="397"/>
                  </a:cubicBezTo>
                  <a:moveTo>
                    <a:pt x="3533" y="396"/>
                  </a:moveTo>
                  <a:cubicBezTo>
                    <a:pt x="3526" y="397"/>
                    <a:pt x="3523" y="401"/>
                    <a:pt x="3525" y="407"/>
                  </a:cubicBezTo>
                  <a:cubicBezTo>
                    <a:pt x="3527" y="413"/>
                    <a:pt x="3534" y="417"/>
                    <a:pt x="3541" y="417"/>
                  </a:cubicBezTo>
                  <a:cubicBezTo>
                    <a:pt x="3547" y="417"/>
                    <a:pt x="3551" y="412"/>
                    <a:pt x="3549" y="407"/>
                  </a:cubicBezTo>
                  <a:cubicBezTo>
                    <a:pt x="3547" y="401"/>
                    <a:pt x="3540" y="396"/>
                    <a:pt x="3533" y="396"/>
                  </a:cubicBezTo>
                  <a:cubicBezTo>
                    <a:pt x="3533" y="396"/>
                    <a:pt x="3533" y="396"/>
                    <a:pt x="3533" y="396"/>
                  </a:cubicBezTo>
                  <a:moveTo>
                    <a:pt x="3327" y="396"/>
                  </a:moveTo>
                  <a:cubicBezTo>
                    <a:pt x="3320" y="396"/>
                    <a:pt x="3316" y="401"/>
                    <a:pt x="3318" y="407"/>
                  </a:cubicBezTo>
                  <a:cubicBezTo>
                    <a:pt x="3320" y="412"/>
                    <a:pt x="3326" y="417"/>
                    <a:pt x="3333" y="417"/>
                  </a:cubicBezTo>
                  <a:cubicBezTo>
                    <a:pt x="3340" y="417"/>
                    <a:pt x="3344" y="412"/>
                    <a:pt x="3342" y="406"/>
                  </a:cubicBezTo>
                  <a:cubicBezTo>
                    <a:pt x="3340" y="401"/>
                    <a:pt x="3333" y="396"/>
                    <a:pt x="3327" y="396"/>
                  </a:cubicBezTo>
                  <a:cubicBezTo>
                    <a:pt x="3327" y="396"/>
                    <a:pt x="3327" y="396"/>
                    <a:pt x="3327" y="396"/>
                  </a:cubicBezTo>
                  <a:moveTo>
                    <a:pt x="3567" y="395"/>
                  </a:moveTo>
                  <a:cubicBezTo>
                    <a:pt x="3561" y="395"/>
                    <a:pt x="3557" y="400"/>
                    <a:pt x="3559" y="406"/>
                  </a:cubicBezTo>
                  <a:cubicBezTo>
                    <a:pt x="3561" y="411"/>
                    <a:pt x="3569" y="416"/>
                    <a:pt x="3575" y="416"/>
                  </a:cubicBezTo>
                  <a:cubicBezTo>
                    <a:pt x="3582" y="416"/>
                    <a:pt x="3586" y="411"/>
                    <a:pt x="3583" y="406"/>
                  </a:cubicBezTo>
                  <a:cubicBezTo>
                    <a:pt x="3581" y="400"/>
                    <a:pt x="3574" y="395"/>
                    <a:pt x="3567" y="395"/>
                  </a:cubicBezTo>
                  <a:cubicBezTo>
                    <a:pt x="3567" y="395"/>
                    <a:pt x="3567" y="395"/>
                    <a:pt x="3567" y="395"/>
                  </a:cubicBezTo>
                  <a:moveTo>
                    <a:pt x="3601" y="395"/>
                  </a:moveTo>
                  <a:cubicBezTo>
                    <a:pt x="3595" y="395"/>
                    <a:pt x="3591" y="400"/>
                    <a:pt x="3594" y="406"/>
                  </a:cubicBezTo>
                  <a:cubicBezTo>
                    <a:pt x="3596" y="411"/>
                    <a:pt x="3603" y="416"/>
                    <a:pt x="3610" y="416"/>
                  </a:cubicBezTo>
                  <a:cubicBezTo>
                    <a:pt x="3616" y="416"/>
                    <a:pt x="3620" y="411"/>
                    <a:pt x="3618" y="405"/>
                  </a:cubicBezTo>
                  <a:cubicBezTo>
                    <a:pt x="3615" y="400"/>
                    <a:pt x="3608" y="395"/>
                    <a:pt x="3602" y="395"/>
                  </a:cubicBezTo>
                  <a:cubicBezTo>
                    <a:pt x="3602" y="395"/>
                    <a:pt x="3601" y="395"/>
                    <a:pt x="3601" y="395"/>
                  </a:cubicBezTo>
                  <a:moveTo>
                    <a:pt x="3635" y="395"/>
                  </a:moveTo>
                  <a:cubicBezTo>
                    <a:pt x="3629" y="395"/>
                    <a:pt x="3625" y="400"/>
                    <a:pt x="3628" y="405"/>
                  </a:cubicBezTo>
                  <a:cubicBezTo>
                    <a:pt x="3630" y="411"/>
                    <a:pt x="3637" y="416"/>
                    <a:pt x="3644" y="415"/>
                  </a:cubicBezTo>
                  <a:cubicBezTo>
                    <a:pt x="3651" y="415"/>
                    <a:pt x="3654" y="411"/>
                    <a:pt x="3652" y="405"/>
                  </a:cubicBezTo>
                  <a:cubicBezTo>
                    <a:pt x="3649" y="399"/>
                    <a:pt x="3642" y="395"/>
                    <a:pt x="3636" y="395"/>
                  </a:cubicBezTo>
                  <a:cubicBezTo>
                    <a:pt x="3636" y="395"/>
                    <a:pt x="3635" y="395"/>
                    <a:pt x="3635" y="395"/>
                  </a:cubicBezTo>
                  <a:moveTo>
                    <a:pt x="3670" y="395"/>
                  </a:moveTo>
                  <a:cubicBezTo>
                    <a:pt x="3664" y="395"/>
                    <a:pt x="3660" y="399"/>
                    <a:pt x="3663" y="405"/>
                  </a:cubicBezTo>
                  <a:cubicBezTo>
                    <a:pt x="3665" y="411"/>
                    <a:pt x="3672" y="415"/>
                    <a:pt x="3679" y="415"/>
                  </a:cubicBezTo>
                  <a:cubicBezTo>
                    <a:pt x="3686" y="415"/>
                    <a:pt x="3689" y="411"/>
                    <a:pt x="3687" y="405"/>
                  </a:cubicBezTo>
                  <a:cubicBezTo>
                    <a:pt x="3684" y="399"/>
                    <a:pt x="3677" y="395"/>
                    <a:pt x="3670" y="395"/>
                  </a:cubicBezTo>
                  <a:cubicBezTo>
                    <a:pt x="3670" y="395"/>
                    <a:pt x="3670" y="395"/>
                    <a:pt x="3670" y="395"/>
                  </a:cubicBezTo>
                  <a:moveTo>
                    <a:pt x="3704" y="394"/>
                  </a:moveTo>
                  <a:cubicBezTo>
                    <a:pt x="3698" y="394"/>
                    <a:pt x="3695" y="399"/>
                    <a:pt x="3697" y="405"/>
                  </a:cubicBezTo>
                  <a:cubicBezTo>
                    <a:pt x="3700" y="410"/>
                    <a:pt x="3707" y="415"/>
                    <a:pt x="3714" y="415"/>
                  </a:cubicBezTo>
                  <a:cubicBezTo>
                    <a:pt x="3720" y="415"/>
                    <a:pt x="3724" y="410"/>
                    <a:pt x="3721" y="405"/>
                  </a:cubicBezTo>
                  <a:cubicBezTo>
                    <a:pt x="3719" y="399"/>
                    <a:pt x="3711" y="394"/>
                    <a:pt x="3705" y="394"/>
                  </a:cubicBezTo>
                  <a:cubicBezTo>
                    <a:pt x="3705" y="394"/>
                    <a:pt x="3705" y="394"/>
                    <a:pt x="3704" y="394"/>
                  </a:cubicBezTo>
                  <a:moveTo>
                    <a:pt x="3740" y="394"/>
                  </a:moveTo>
                  <a:cubicBezTo>
                    <a:pt x="3733" y="394"/>
                    <a:pt x="3730" y="399"/>
                    <a:pt x="3732" y="405"/>
                  </a:cubicBezTo>
                  <a:cubicBezTo>
                    <a:pt x="3735" y="410"/>
                    <a:pt x="3742" y="415"/>
                    <a:pt x="3749" y="415"/>
                  </a:cubicBezTo>
                  <a:cubicBezTo>
                    <a:pt x="3756" y="415"/>
                    <a:pt x="3759" y="410"/>
                    <a:pt x="3756" y="404"/>
                  </a:cubicBezTo>
                  <a:cubicBezTo>
                    <a:pt x="3754" y="399"/>
                    <a:pt x="3746" y="394"/>
                    <a:pt x="3740" y="394"/>
                  </a:cubicBezTo>
                  <a:cubicBezTo>
                    <a:pt x="3740" y="394"/>
                    <a:pt x="3740" y="394"/>
                    <a:pt x="3740" y="394"/>
                  </a:cubicBezTo>
                  <a:moveTo>
                    <a:pt x="3774" y="394"/>
                  </a:moveTo>
                  <a:cubicBezTo>
                    <a:pt x="3767" y="394"/>
                    <a:pt x="3764" y="399"/>
                    <a:pt x="3767" y="404"/>
                  </a:cubicBezTo>
                  <a:cubicBezTo>
                    <a:pt x="3769" y="410"/>
                    <a:pt x="3777" y="415"/>
                    <a:pt x="3783" y="414"/>
                  </a:cubicBezTo>
                  <a:cubicBezTo>
                    <a:pt x="3790" y="414"/>
                    <a:pt x="3793" y="410"/>
                    <a:pt x="3791" y="404"/>
                  </a:cubicBezTo>
                  <a:cubicBezTo>
                    <a:pt x="3788" y="398"/>
                    <a:pt x="3780" y="394"/>
                    <a:pt x="3774" y="394"/>
                  </a:cubicBezTo>
                  <a:cubicBezTo>
                    <a:pt x="3774" y="394"/>
                    <a:pt x="3774" y="394"/>
                    <a:pt x="3774" y="394"/>
                  </a:cubicBezTo>
                  <a:moveTo>
                    <a:pt x="3808" y="394"/>
                  </a:moveTo>
                  <a:cubicBezTo>
                    <a:pt x="3801" y="394"/>
                    <a:pt x="3798" y="398"/>
                    <a:pt x="3801" y="404"/>
                  </a:cubicBezTo>
                  <a:cubicBezTo>
                    <a:pt x="3804" y="410"/>
                    <a:pt x="3811" y="414"/>
                    <a:pt x="3818" y="414"/>
                  </a:cubicBezTo>
                  <a:cubicBezTo>
                    <a:pt x="3825" y="414"/>
                    <a:pt x="3828" y="410"/>
                    <a:pt x="3825" y="404"/>
                  </a:cubicBezTo>
                  <a:cubicBezTo>
                    <a:pt x="3822" y="398"/>
                    <a:pt x="3815" y="394"/>
                    <a:pt x="3808" y="394"/>
                  </a:cubicBezTo>
                  <a:cubicBezTo>
                    <a:pt x="3808" y="394"/>
                    <a:pt x="3808" y="394"/>
                    <a:pt x="3808" y="394"/>
                  </a:cubicBezTo>
                  <a:moveTo>
                    <a:pt x="3843" y="393"/>
                  </a:moveTo>
                  <a:cubicBezTo>
                    <a:pt x="3836" y="393"/>
                    <a:pt x="3833" y="398"/>
                    <a:pt x="3836" y="404"/>
                  </a:cubicBezTo>
                  <a:cubicBezTo>
                    <a:pt x="3838" y="409"/>
                    <a:pt x="3846" y="414"/>
                    <a:pt x="3853" y="414"/>
                  </a:cubicBezTo>
                  <a:cubicBezTo>
                    <a:pt x="3859" y="414"/>
                    <a:pt x="3862" y="409"/>
                    <a:pt x="3860" y="404"/>
                  </a:cubicBezTo>
                  <a:cubicBezTo>
                    <a:pt x="3857" y="398"/>
                    <a:pt x="3849" y="393"/>
                    <a:pt x="3843" y="393"/>
                  </a:cubicBezTo>
                  <a:cubicBezTo>
                    <a:pt x="3843" y="393"/>
                    <a:pt x="3843" y="393"/>
                    <a:pt x="3843" y="393"/>
                  </a:cubicBezTo>
                  <a:moveTo>
                    <a:pt x="3877" y="393"/>
                  </a:moveTo>
                  <a:cubicBezTo>
                    <a:pt x="3870" y="393"/>
                    <a:pt x="3867" y="398"/>
                    <a:pt x="3870" y="404"/>
                  </a:cubicBezTo>
                  <a:cubicBezTo>
                    <a:pt x="3873" y="409"/>
                    <a:pt x="3880" y="414"/>
                    <a:pt x="3887" y="414"/>
                  </a:cubicBezTo>
                  <a:cubicBezTo>
                    <a:pt x="3894" y="414"/>
                    <a:pt x="3897" y="409"/>
                    <a:pt x="3894" y="403"/>
                  </a:cubicBezTo>
                  <a:cubicBezTo>
                    <a:pt x="3891" y="398"/>
                    <a:pt x="3883" y="393"/>
                    <a:pt x="3877" y="393"/>
                  </a:cubicBezTo>
                  <a:cubicBezTo>
                    <a:pt x="3877" y="393"/>
                    <a:pt x="3877" y="393"/>
                    <a:pt x="3877" y="393"/>
                  </a:cubicBezTo>
                  <a:moveTo>
                    <a:pt x="3909" y="392"/>
                  </a:moveTo>
                  <a:cubicBezTo>
                    <a:pt x="3903" y="392"/>
                    <a:pt x="3900" y="396"/>
                    <a:pt x="3903" y="402"/>
                  </a:cubicBezTo>
                  <a:cubicBezTo>
                    <a:pt x="3906" y="408"/>
                    <a:pt x="3913" y="412"/>
                    <a:pt x="3920" y="412"/>
                  </a:cubicBezTo>
                  <a:cubicBezTo>
                    <a:pt x="3927" y="412"/>
                    <a:pt x="3930" y="407"/>
                    <a:pt x="3927" y="402"/>
                  </a:cubicBezTo>
                  <a:cubicBezTo>
                    <a:pt x="3924" y="396"/>
                    <a:pt x="3916" y="392"/>
                    <a:pt x="3910" y="392"/>
                  </a:cubicBezTo>
                  <a:cubicBezTo>
                    <a:pt x="3910" y="392"/>
                    <a:pt x="3909" y="392"/>
                    <a:pt x="3909" y="392"/>
                  </a:cubicBezTo>
                  <a:moveTo>
                    <a:pt x="3944" y="391"/>
                  </a:moveTo>
                  <a:cubicBezTo>
                    <a:pt x="3937" y="391"/>
                    <a:pt x="3934" y="396"/>
                    <a:pt x="3937" y="402"/>
                  </a:cubicBezTo>
                  <a:cubicBezTo>
                    <a:pt x="3940" y="407"/>
                    <a:pt x="3948" y="412"/>
                    <a:pt x="3955" y="412"/>
                  </a:cubicBezTo>
                  <a:cubicBezTo>
                    <a:pt x="3961" y="412"/>
                    <a:pt x="3964" y="407"/>
                    <a:pt x="3961" y="401"/>
                  </a:cubicBezTo>
                  <a:cubicBezTo>
                    <a:pt x="3958" y="396"/>
                    <a:pt x="3950" y="391"/>
                    <a:pt x="3944" y="391"/>
                  </a:cubicBezTo>
                  <a:cubicBezTo>
                    <a:pt x="3944" y="391"/>
                    <a:pt x="3944" y="391"/>
                    <a:pt x="3944" y="391"/>
                  </a:cubicBezTo>
                  <a:moveTo>
                    <a:pt x="3977" y="391"/>
                  </a:moveTo>
                  <a:cubicBezTo>
                    <a:pt x="3970" y="391"/>
                    <a:pt x="3967" y="396"/>
                    <a:pt x="3970" y="401"/>
                  </a:cubicBezTo>
                  <a:cubicBezTo>
                    <a:pt x="3973" y="407"/>
                    <a:pt x="3981" y="412"/>
                    <a:pt x="3988" y="412"/>
                  </a:cubicBezTo>
                  <a:cubicBezTo>
                    <a:pt x="3995" y="412"/>
                    <a:pt x="3998" y="407"/>
                    <a:pt x="3994" y="401"/>
                  </a:cubicBezTo>
                  <a:cubicBezTo>
                    <a:pt x="3991" y="396"/>
                    <a:pt x="3984" y="391"/>
                    <a:pt x="3977" y="391"/>
                  </a:cubicBezTo>
                  <a:cubicBezTo>
                    <a:pt x="3977" y="391"/>
                    <a:pt x="3977" y="391"/>
                    <a:pt x="3977" y="391"/>
                  </a:cubicBezTo>
                  <a:moveTo>
                    <a:pt x="4046" y="391"/>
                  </a:moveTo>
                  <a:cubicBezTo>
                    <a:pt x="4039" y="391"/>
                    <a:pt x="4036" y="395"/>
                    <a:pt x="4040" y="401"/>
                  </a:cubicBezTo>
                  <a:cubicBezTo>
                    <a:pt x="4043" y="407"/>
                    <a:pt x="4051" y="411"/>
                    <a:pt x="4057" y="411"/>
                  </a:cubicBezTo>
                  <a:cubicBezTo>
                    <a:pt x="4064" y="411"/>
                    <a:pt x="4067" y="406"/>
                    <a:pt x="4064" y="401"/>
                  </a:cubicBezTo>
                  <a:cubicBezTo>
                    <a:pt x="4060" y="395"/>
                    <a:pt x="4052" y="391"/>
                    <a:pt x="4046" y="391"/>
                  </a:cubicBezTo>
                  <a:cubicBezTo>
                    <a:pt x="4046" y="391"/>
                    <a:pt x="4046" y="391"/>
                    <a:pt x="4046" y="391"/>
                  </a:cubicBezTo>
                  <a:moveTo>
                    <a:pt x="363" y="389"/>
                  </a:moveTo>
                  <a:cubicBezTo>
                    <a:pt x="357" y="389"/>
                    <a:pt x="348" y="394"/>
                    <a:pt x="343" y="399"/>
                  </a:cubicBezTo>
                  <a:cubicBezTo>
                    <a:pt x="339" y="405"/>
                    <a:pt x="340" y="409"/>
                    <a:pt x="347" y="409"/>
                  </a:cubicBezTo>
                  <a:cubicBezTo>
                    <a:pt x="354" y="409"/>
                    <a:pt x="363" y="405"/>
                    <a:pt x="367" y="399"/>
                  </a:cubicBezTo>
                  <a:cubicBezTo>
                    <a:pt x="371" y="393"/>
                    <a:pt x="370" y="389"/>
                    <a:pt x="363" y="389"/>
                  </a:cubicBezTo>
                  <a:cubicBezTo>
                    <a:pt x="363" y="389"/>
                    <a:pt x="363" y="389"/>
                    <a:pt x="363" y="389"/>
                  </a:cubicBezTo>
                  <a:moveTo>
                    <a:pt x="397" y="389"/>
                  </a:moveTo>
                  <a:cubicBezTo>
                    <a:pt x="390" y="389"/>
                    <a:pt x="382" y="393"/>
                    <a:pt x="377" y="399"/>
                  </a:cubicBezTo>
                  <a:cubicBezTo>
                    <a:pt x="373" y="405"/>
                    <a:pt x="375" y="409"/>
                    <a:pt x="381" y="409"/>
                  </a:cubicBezTo>
                  <a:cubicBezTo>
                    <a:pt x="388" y="409"/>
                    <a:pt x="397" y="404"/>
                    <a:pt x="401" y="399"/>
                  </a:cubicBezTo>
                  <a:cubicBezTo>
                    <a:pt x="405" y="393"/>
                    <a:pt x="404" y="389"/>
                    <a:pt x="397" y="389"/>
                  </a:cubicBezTo>
                  <a:cubicBezTo>
                    <a:pt x="397" y="389"/>
                    <a:pt x="397" y="389"/>
                    <a:pt x="397" y="389"/>
                  </a:cubicBezTo>
                  <a:moveTo>
                    <a:pt x="431" y="389"/>
                  </a:moveTo>
                  <a:cubicBezTo>
                    <a:pt x="425" y="389"/>
                    <a:pt x="416" y="393"/>
                    <a:pt x="411" y="399"/>
                  </a:cubicBezTo>
                  <a:cubicBezTo>
                    <a:pt x="407" y="404"/>
                    <a:pt x="409" y="409"/>
                    <a:pt x="416" y="409"/>
                  </a:cubicBezTo>
                  <a:cubicBezTo>
                    <a:pt x="422" y="409"/>
                    <a:pt x="431" y="404"/>
                    <a:pt x="435" y="399"/>
                  </a:cubicBezTo>
                  <a:cubicBezTo>
                    <a:pt x="440" y="393"/>
                    <a:pt x="438" y="389"/>
                    <a:pt x="431" y="389"/>
                  </a:cubicBezTo>
                  <a:cubicBezTo>
                    <a:pt x="431" y="389"/>
                    <a:pt x="431" y="389"/>
                    <a:pt x="431" y="389"/>
                  </a:cubicBezTo>
                  <a:moveTo>
                    <a:pt x="465" y="388"/>
                  </a:moveTo>
                  <a:cubicBezTo>
                    <a:pt x="458" y="388"/>
                    <a:pt x="450" y="393"/>
                    <a:pt x="445" y="398"/>
                  </a:cubicBezTo>
                  <a:cubicBezTo>
                    <a:pt x="441" y="404"/>
                    <a:pt x="443" y="409"/>
                    <a:pt x="450" y="409"/>
                  </a:cubicBezTo>
                  <a:cubicBezTo>
                    <a:pt x="456" y="408"/>
                    <a:pt x="465" y="404"/>
                    <a:pt x="469" y="398"/>
                  </a:cubicBezTo>
                  <a:cubicBezTo>
                    <a:pt x="474" y="393"/>
                    <a:pt x="472" y="388"/>
                    <a:pt x="465" y="388"/>
                  </a:cubicBezTo>
                  <a:cubicBezTo>
                    <a:pt x="465" y="388"/>
                    <a:pt x="465" y="388"/>
                    <a:pt x="465" y="388"/>
                  </a:cubicBezTo>
                  <a:moveTo>
                    <a:pt x="499" y="388"/>
                  </a:moveTo>
                  <a:cubicBezTo>
                    <a:pt x="493" y="388"/>
                    <a:pt x="484" y="393"/>
                    <a:pt x="480" y="398"/>
                  </a:cubicBezTo>
                  <a:cubicBezTo>
                    <a:pt x="476" y="404"/>
                    <a:pt x="478" y="408"/>
                    <a:pt x="484" y="408"/>
                  </a:cubicBezTo>
                  <a:cubicBezTo>
                    <a:pt x="491" y="408"/>
                    <a:pt x="500" y="404"/>
                    <a:pt x="504" y="398"/>
                  </a:cubicBezTo>
                  <a:cubicBezTo>
                    <a:pt x="508" y="392"/>
                    <a:pt x="506" y="388"/>
                    <a:pt x="499" y="388"/>
                  </a:cubicBezTo>
                  <a:cubicBezTo>
                    <a:pt x="499" y="388"/>
                    <a:pt x="499" y="388"/>
                    <a:pt x="499" y="388"/>
                  </a:cubicBezTo>
                  <a:moveTo>
                    <a:pt x="534" y="388"/>
                  </a:moveTo>
                  <a:cubicBezTo>
                    <a:pt x="528" y="388"/>
                    <a:pt x="519" y="392"/>
                    <a:pt x="515" y="398"/>
                  </a:cubicBezTo>
                  <a:cubicBezTo>
                    <a:pt x="511" y="404"/>
                    <a:pt x="513" y="408"/>
                    <a:pt x="520" y="408"/>
                  </a:cubicBezTo>
                  <a:cubicBezTo>
                    <a:pt x="526" y="408"/>
                    <a:pt x="535" y="403"/>
                    <a:pt x="539" y="398"/>
                  </a:cubicBezTo>
                  <a:cubicBezTo>
                    <a:pt x="543" y="392"/>
                    <a:pt x="541" y="388"/>
                    <a:pt x="535" y="388"/>
                  </a:cubicBezTo>
                  <a:cubicBezTo>
                    <a:pt x="534" y="388"/>
                    <a:pt x="534" y="388"/>
                    <a:pt x="534" y="388"/>
                  </a:cubicBezTo>
                  <a:moveTo>
                    <a:pt x="568" y="387"/>
                  </a:moveTo>
                  <a:cubicBezTo>
                    <a:pt x="562" y="388"/>
                    <a:pt x="553" y="392"/>
                    <a:pt x="549" y="398"/>
                  </a:cubicBezTo>
                  <a:cubicBezTo>
                    <a:pt x="545" y="403"/>
                    <a:pt x="547" y="408"/>
                    <a:pt x="554" y="408"/>
                  </a:cubicBezTo>
                  <a:cubicBezTo>
                    <a:pt x="560" y="408"/>
                    <a:pt x="569" y="403"/>
                    <a:pt x="573" y="398"/>
                  </a:cubicBezTo>
                  <a:cubicBezTo>
                    <a:pt x="577" y="392"/>
                    <a:pt x="575" y="387"/>
                    <a:pt x="568" y="387"/>
                  </a:cubicBezTo>
                  <a:cubicBezTo>
                    <a:pt x="568" y="387"/>
                    <a:pt x="568" y="387"/>
                    <a:pt x="568" y="387"/>
                  </a:cubicBezTo>
                  <a:moveTo>
                    <a:pt x="602" y="387"/>
                  </a:moveTo>
                  <a:cubicBezTo>
                    <a:pt x="596" y="387"/>
                    <a:pt x="587" y="392"/>
                    <a:pt x="583" y="397"/>
                  </a:cubicBezTo>
                  <a:cubicBezTo>
                    <a:pt x="579" y="403"/>
                    <a:pt x="582" y="408"/>
                    <a:pt x="588" y="407"/>
                  </a:cubicBezTo>
                  <a:cubicBezTo>
                    <a:pt x="595" y="407"/>
                    <a:pt x="603" y="403"/>
                    <a:pt x="607" y="397"/>
                  </a:cubicBezTo>
                  <a:cubicBezTo>
                    <a:pt x="611" y="392"/>
                    <a:pt x="609" y="387"/>
                    <a:pt x="603" y="387"/>
                  </a:cubicBezTo>
                  <a:cubicBezTo>
                    <a:pt x="603" y="387"/>
                    <a:pt x="602" y="387"/>
                    <a:pt x="602" y="387"/>
                  </a:cubicBezTo>
                  <a:moveTo>
                    <a:pt x="637" y="387"/>
                  </a:moveTo>
                  <a:cubicBezTo>
                    <a:pt x="630" y="387"/>
                    <a:pt x="622" y="392"/>
                    <a:pt x="618" y="397"/>
                  </a:cubicBezTo>
                  <a:cubicBezTo>
                    <a:pt x="614" y="403"/>
                    <a:pt x="616" y="407"/>
                    <a:pt x="623" y="407"/>
                  </a:cubicBezTo>
                  <a:cubicBezTo>
                    <a:pt x="630" y="407"/>
                    <a:pt x="638" y="403"/>
                    <a:pt x="642" y="397"/>
                  </a:cubicBezTo>
                  <a:cubicBezTo>
                    <a:pt x="646" y="391"/>
                    <a:pt x="644" y="387"/>
                    <a:pt x="637" y="387"/>
                  </a:cubicBezTo>
                  <a:cubicBezTo>
                    <a:pt x="637" y="387"/>
                    <a:pt x="637" y="387"/>
                    <a:pt x="637" y="387"/>
                  </a:cubicBezTo>
                  <a:moveTo>
                    <a:pt x="671" y="387"/>
                  </a:moveTo>
                  <a:cubicBezTo>
                    <a:pt x="664" y="387"/>
                    <a:pt x="656" y="391"/>
                    <a:pt x="652" y="397"/>
                  </a:cubicBezTo>
                  <a:cubicBezTo>
                    <a:pt x="648" y="403"/>
                    <a:pt x="650" y="407"/>
                    <a:pt x="657" y="407"/>
                  </a:cubicBezTo>
                  <a:cubicBezTo>
                    <a:pt x="664" y="407"/>
                    <a:pt x="672" y="402"/>
                    <a:pt x="676" y="397"/>
                  </a:cubicBezTo>
                  <a:cubicBezTo>
                    <a:pt x="680" y="391"/>
                    <a:pt x="677" y="387"/>
                    <a:pt x="671" y="387"/>
                  </a:cubicBezTo>
                  <a:cubicBezTo>
                    <a:pt x="671" y="387"/>
                    <a:pt x="671" y="387"/>
                    <a:pt x="671" y="387"/>
                  </a:cubicBezTo>
                  <a:moveTo>
                    <a:pt x="705" y="386"/>
                  </a:moveTo>
                  <a:cubicBezTo>
                    <a:pt x="698" y="387"/>
                    <a:pt x="690" y="391"/>
                    <a:pt x="686" y="397"/>
                  </a:cubicBezTo>
                  <a:cubicBezTo>
                    <a:pt x="682" y="402"/>
                    <a:pt x="685" y="407"/>
                    <a:pt x="691" y="407"/>
                  </a:cubicBezTo>
                  <a:cubicBezTo>
                    <a:pt x="698" y="407"/>
                    <a:pt x="706" y="402"/>
                    <a:pt x="710" y="397"/>
                  </a:cubicBezTo>
                  <a:cubicBezTo>
                    <a:pt x="714" y="391"/>
                    <a:pt x="711" y="386"/>
                    <a:pt x="705" y="386"/>
                  </a:cubicBezTo>
                  <a:cubicBezTo>
                    <a:pt x="705" y="386"/>
                    <a:pt x="705" y="386"/>
                    <a:pt x="705" y="386"/>
                  </a:cubicBezTo>
                  <a:moveTo>
                    <a:pt x="739" y="386"/>
                  </a:moveTo>
                  <a:cubicBezTo>
                    <a:pt x="732" y="386"/>
                    <a:pt x="724" y="391"/>
                    <a:pt x="720" y="396"/>
                  </a:cubicBezTo>
                  <a:cubicBezTo>
                    <a:pt x="716" y="402"/>
                    <a:pt x="719" y="407"/>
                    <a:pt x="726" y="406"/>
                  </a:cubicBezTo>
                  <a:cubicBezTo>
                    <a:pt x="732" y="406"/>
                    <a:pt x="740" y="402"/>
                    <a:pt x="744" y="396"/>
                  </a:cubicBezTo>
                  <a:cubicBezTo>
                    <a:pt x="748" y="391"/>
                    <a:pt x="745" y="386"/>
                    <a:pt x="739" y="386"/>
                  </a:cubicBezTo>
                  <a:cubicBezTo>
                    <a:pt x="739" y="386"/>
                    <a:pt x="739" y="386"/>
                    <a:pt x="739" y="386"/>
                  </a:cubicBezTo>
                  <a:moveTo>
                    <a:pt x="773" y="386"/>
                  </a:moveTo>
                  <a:cubicBezTo>
                    <a:pt x="766" y="386"/>
                    <a:pt x="758" y="391"/>
                    <a:pt x="754" y="396"/>
                  </a:cubicBezTo>
                  <a:cubicBezTo>
                    <a:pt x="751" y="402"/>
                    <a:pt x="753" y="406"/>
                    <a:pt x="760" y="406"/>
                  </a:cubicBezTo>
                  <a:cubicBezTo>
                    <a:pt x="767" y="406"/>
                    <a:pt x="775" y="402"/>
                    <a:pt x="778" y="396"/>
                  </a:cubicBezTo>
                  <a:cubicBezTo>
                    <a:pt x="782" y="390"/>
                    <a:pt x="780" y="386"/>
                    <a:pt x="773" y="386"/>
                  </a:cubicBezTo>
                  <a:cubicBezTo>
                    <a:pt x="773" y="386"/>
                    <a:pt x="773" y="386"/>
                    <a:pt x="773" y="386"/>
                  </a:cubicBezTo>
                  <a:moveTo>
                    <a:pt x="807" y="386"/>
                  </a:moveTo>
                  <a:cubicBezTo>
                    <a:pt x="801" y="386"/>
                    <a:pt x="793" y="390"/>
                    <a:pt x="789" y="396"/>
                  </a:cubicBezTo>
                  <a:cubicBezTo>
                    <a:pt x="786" y="402"/>
                    <a:pt x="788" y="406"/>
                    <a:pt x="795" y="406"/>
                  </a:cubicBezTo>
                  <a:cubicBezTo>
                    <a:pt x="801" y="406"/>
                    <a:pt x="809" y="401"/>
                    <a:pt x="813" y="396"/>
                  </a:cubicBezTo>
                  <a:cubicBezTo>
                    <a:pt x="816" y="390"/>
                    <a:pt x="814" y="386"/>
                    <a:pt x="807" y="386"/>
                  </a:cubicBezTo>
                  <a:cubicBezTo>
                    <a:pt x="807" y="386"/>
                    <a:pt x="807" y="386"/>
                    <a:pt x="807" y="386"/>
                  </a:cubicBezTo>
                  <a:moveTo>
                    <a:pt x="841" y="385"/>
                  </a:moveTo>
                  <a:cubicBezTo>
                    <a:pt x="835" y="386"/>
                    <a:pt x="826" y="390"/>
                    <a:pt x="823" y="396"/>
                  </a:cubicBezTo>
                  <a:cubicBezTo>
                    <a:pt x="820" y="401"/>
                    <a:pt x="822" y="406"/>
                    <a:pt x="829" y="406"/>
                  </a:cubicBezTo>
                  <a:cubicBezTo>
                    <a:pt x="835" y="406"/>
                    <a:pt x="844" y="401"/>
                    <a:pt x="847" y="396"/>
                  </a:cubicBezTo>
                  <a:cubicBezTo>
                    <a:pt x="850" y="390"/>
                    <a:pt x="848" y="385"/>
                    <a:pt x="841" y="385"/>
                  </a:cubicBezTo>
                  <a:cubicBezTo>
                    <a:pt x="841" y="385"/>
                    <a:pt x="841" y="385"/>
                    <a:pt x="841" y="385"/>
                  </a:cubicBezTo>
                  <a:moveTo>
                    <a:pt x="873" y="385"/>
                  </a:moveTo>
                  <a:cubicBezTo>
                    <a:pt x="867" y="385"/>
                    <a:pt x="859" y="390"/>
                    <a:pt x="855" y="395"/>
                  </a:cubicBezTo>
                  <a:cubicBezTo>
                    <a:pt x="852" y="401"/>
                    <a:pt x="855" y="406"/>
                    <a:pt x="861" y="406"/>
                  </a:cubicBezTo>
                  <a:cubicBezTo>
                    <a:pt x="868" y="405"/>
                    <a:pt x="876" y="401"/>
                    <a:pt x="879" y="395"/>
                  </a:cubicBezTo>
                  <a:cubicBezTo>
                    <a:pt x="883" y="390"/>
                    <a:pt x="880" y="385"/>
                    <a:pt x="874" y="385"/>
                  </a:cubicBezTo>
                  <a:cubicBezTo>
                    <a:pt x="874" y="385"/>
                    <a:pt x="874" y="385"/>
                    <a:pt x="873" y="385"/>
                  </a:cubicBezTo>
                  <a:moveTo>
                    <a:pt x="908" y="385"/>
                  </a:moveTo>
                  <a:cubicBezTo>
                    <a:pt x="901" y="385"/>
                    <a:pt x="893" y="390"/>
                    <a:pt x="890" y="395"/>
                  </a:cubicBezTo>
                  <a:cubicBezTo>
                    <a:pt x="887" y="401"/>
                    <a:pt x="889" y="405"/>
                    <a:pt x="896" y="405"/>
                  </a:cubicBezTo>
                  <a:cubicBezTo>
                    <a:pt x="903" y="405"/>
                    <a:pt x="911" y="401"/>
                    <a:pt x="914" y="395"/>
                  </a:cubicBezTo>
                  <a:cubicBezTo>
                    <a:pt x="917" y="389"/>
                    <a:pt x="915" y="385"/>
                    <a:pt x="908" y="385"/>
                  </a:cubicBezTo>
                  <a:cubicBezTo>
                    <a:pt x="908" y="385"/>
                    <a:pt x="908" y="385"/>
                    <a:pt x="908" y="385"/>
                  </a:cubicBezTo>
                  <a:moveTo>
                    <a:pt x="942" y="385"/>
                  </a:moveTo>
                  <a:cubicBezTo>
                    <a:pt x="935" y="385"/>
                    <a:pt x="927" y="389"/>
                    <a:pt x="924" y="395"/>
                  </a:cubicBezTo>
                  <a:cubicBezTo>
                    <a:pt x="921" y="401"/>
                    <a:pt x="923" y="405"/>
                    <a:pt x="930" y="405"/>
                  </a:cubicBezTo>
                  <a:cubicBezTo>
                    <a:pt x="937" y="405"/>
                    <a:pt x="945" y="400"/>
                    <a:pt x="948" y="395"/>
                  </a:cubicBezTo>
                  <a:cubicBezTo>
                    <a:pt x="951" y="389"/>
                    <a:pt x="948" y="385"/>
                    <a:pt x="942" y="385"/>
                  </a:cubicBezTo>
                  <a:cubicBezTo>
                    <a:pt x="942" y="385"/>
                    <a:pt x="942" y="385"/>
                    <a:pt x="942" y="385"/>
                  </a:cubicBezTo>
                  <a:moveTo>
                    <a:pt x="1044" y="384"/>
                  </a:moveTo>
                  <a:cubicBezTo>
                    <a:pt x="1037" y="384"/>
                    <a:pt x="1029" y="389"/>
                    <a:pt x="1026" y="394"/>
                  </a:cubicBezTo>
                  <a:cubicBezTo>
                    <a:pt x="1023" y="400"/>
                    <a:pt x="1026" y="404"/>
                    <a:pt x="1033" y="404"/>
                  </a:cubicBezTo>
                  <a:cubicBezTo>
                    <a:pt x="1039" y="404"/>
                    <a:pt x="1047" y="400"/>
                    <a:pt x="1050" y="394"/>
                  </a:cubicBezTo>
                  <a:cubicBezTo>
                    <a:pt x="1053" y="388"/>
                    <a:pt x="1050" y="384"/>
                    <a:pt x="1044" y="384"/>
                  </a:cubicBezTo>
                  <a:cubicBezTo>
                    <a:pt x="1044" y="384"/>
                    <a:pt x="1044" y="384"/>
                    <a:pt x="1044" y="384"/>
                  </a:cubicBezTo>
                  <a:moveTo>
                    <a:pt x="1078" y="384"/>
                  </a:moveTo>
                  <a:cubicBezTo>
                    <a:pt x="1072" y="384"/>
                    <a:pt x="1064" y="388"/>
                    <a:pt x="1061" y="394"/>
                  </a:cubicBezTo>
                  <a:cubicBezTo>
                    <a:pt x="1058" y="400"/>
                    <a:pt x="1061" y="404"/>
                    <a:pt x="1068" y="404"/>
                  </a:cubicBezTo>
                  <a:cubicBezTo>
                    <a:pt x="1074" y="404"/>
                    <a:pt x="1082" y="399"/>
                    <a:pt x="1085" y="394"/>
                  </a:cubicBezTo>
                  <a:cubicBezTo>
                    <a:pt x="1088" y="388"/>
                    <a:pt x="1085" y="384"/>
                    <a:pt x="1078" y="384"/>
                  </a:cubicBezTo>
                  <a:cubicBezTo>
                    <a:pt x="1078" y="384"/>
                    <a:pt x="1078" y="384"/>
                    <a:pt x="1078" y="384"/>
                  </a:cubicBezTo>
                  <a:moveTo>
                    <a:pt x="1112" y="383"/>
                  </a:moveTo>
                  <a:cubicBezTo>
                    <a:pt x="1105" y="383"/>
                    <a:pt x="1098" y="388"/>
                    <a:pt x="1095" y="394"/>
                  </a:cubicBezTo>
                  <a:cubicBezTo>
                    <a:pt x="1092" y="399"/>
                    <a:pt x="1095" y="404"/>
                    <a:pt x="1102" y="404"/>
                  </a:cubicBezTo>
                  <a:cubicBezTo>
                    <a:pt x="1108" y="404"/>
                    <a:pt x="1116" y="399"/>
                    <a:pt x="1119" y="394"/>
                  </a:cubicBezTo>
                  <a:cubicBezTo>
                    <a:pt x="1122" y="388"/>
                    <a:pt x="1119" y="383"/>
                    <a:pt x="1112" y="383"/>
                  </a:cubicBezTo>
                  <a:cubicBezTo>
                    <a:pt x="1112" y="383"/>
                    <a:pt x="1112" y="383"/>
                    <a:pt x="1112" y="383"/>
                  </a:cubicBezTo>
                  <a:moveTo>
                    <a:pt x="1145" y="383"/>
                  </a:moveTo>
                  <a:cubicBezTo>
                    <a:pt x="1139" y="383"/>
                    <a:pt x="1131" y="388"/>
                    <a:pt x="1128" y="393"/>
                  </a:cubicBezTo>
                  <a:cubicBezTo>
                    <a:pt x="1126" y="399"/>
                    <a:pt x="1129" y="404"/>
                    <a:pt x="1135" y="404"/>
                  </a:cubicBezTo>
                  <a:cubicBezTo>
                    <a:pt x="1142" y="403"/>
                    <a:pt x="1150" y="399"/>
                    <a:pt x="1152" y="393"/>
                  </a:cubicBezTo>
                  <a:cubicBezTo>
                    <a:pt x="1155" y="388"/>
                    <a:pt x="1152" y="383"/>
                    <a:pt x="1146" y="383"/>
                  </a:cubicBezTo>
                  <a:cubicBezTo>
                    <a:pt x="1146" y="383"/>
                    <a:pt x="1145" y="383"/>
                    <a:pt x="1145" y="383"/>
                  </a:cubicBezTo>
                  <a:moveTo>
                    <a:pt x="1180" y="383"/>
                  </a:moveTo>
                  <a:cubicBezTo>
                    <a:pt x="1173" y="383"/>
                    <a:pt x="1166" y="388"/>
                    <a:pt x="1163" y="393"/>
                  </a:cubicBezTo>
                  <a:cubicBezTo>
                    <a:pt x="1160" y="399"/>
                    <a:pt x="1163" y="403"/>
                    <a:pt x="1170" y="403"/>
                  </a:cubicBezTo>
                  <a:cubicBezTo>
                    <a:pt x="1177" y="403"/>
                    <a:pt x="1184" y="399"/>
                    <a:pt x="1187" y="393"/>
                  </a:cubicBezTo>
                  <a:cubicBezTo>
                    <a:pt x="1190" y="387"/>
                    <a:pt x="1186" y="383"/>
                    <a:pt x="1180" y="383"/>
                  </a:cubicBezTo>
                  <a:cubicBezTo>
                    <a:pt x="1180" y="383"/>
                    <a:pt x="1180" y="383"/>
                    <a:pt x="1180" y="383"/>
                  </a:cubicBezTo>
                  <a:moveTo>
                    <a:pt x="1214" y="383"/>
                  </a:moveTo>
                  <a:cubicBezTo>
                    <a:pt x="1207" y="383"/>
                    <a:pt x="1200" y="387"/>
                    <a:pt x="1197" y="393"/>
                  </a:cubicBezTo>
                  <a:cubicBezTo>
                    <a:pt x="1194" y="399"/>
                    <a:pt x="1197" y="403"/>
                    <a:pt x="1204" y="403"/>
                  </a:cubicBezTo>
                  <a:cubicBezTo>
                    <a:pt x="1211" y="403"/>
                    <a:pt x="1218" y="398"/>
                    <a:pt x="1221" y="393"/>
                  </a:cubicBezTo>
                  <a:cubicBezTo>
                    <a:pt x="1223" y="387"/>
                    <a:pt x="1220" y="383"/>
                    <a:pt x="1214" y="383"/>
                  </a:cubicBezTo>
                  <a:cubicBezTo>
                    <a:pt x="1214" y="383"/>
                    <a:pt x="1214" y="383"/>
                    <a:pt x="1214" y="383"/>
                  </a:cubicBezTo>
                  <a:moveTo>
                    <a:pt x="1249" y="382"/>
                  </a:moveTo>
                  <a:cubicBezTo>
                    <a:pt x="1242" y="382"/>
                    <a:pt x="1235" y="387"/>
                    <a:pt x="1232" y="393"/>
                  </a:cubicBezTo>
                  <a:cubicBezTo>
                    <a:pt x="1229" y="398"/>
                    <a:pt x="1233" y="403"/>
                    <a:pt x="1239" y="403"/>
                  </a:cubicBezTo>
                  <a:cubicBezTo>
                    <a:pt x="1246" y="403"/>
                    <a:pt x="1253" y="398"/>
                    <a:pt x="1256" y="392"/>
                  </a:cubicBezTo>
                  <a:cubicBezTo>
                    <a:pt x="1258" y="387"/>
                    <a:pt x="1255" y="382"/>
                    <a:pt x="1249" y="382"/>
                  </a:cubicBezTo>
                  <a:cubicBezTo>
                    <a:pt x="1249" y="382"/>
                    <a:pt x="1249" y="382"/>
                    <a:pt x="1249" y="382"/>
                  </a:cubicBezTo>
                  <a:moveTo>
                    <a:pt x="1283" y="382"/>
                  </a:moveTo>
                  <a:cubicBezTo>
                    <a:pt x="1276" y="382"/>
                    <a:pt x="1269" y="387"/>
                    <a:pt x="1266" y="392"/>
                  </a:cubicBezTo>
                  <a:cubicBezTo>
                    <a:pt x="1264" y="398"/>
                    <a:pt x="1267" y="403"/>
                    <a:pt x="1274" y="402"/>
                  </a:cubicBezTo>
                  <a:cubicBezTo>
                    <a:pt x="1280" y="402"/>
                    <a:pt x="1288" y="398"/>
                    <a:pt x="1290" y="392"/>
                  </a:cubicBezTo>
                  <a:cubicBezTo>
                    <a:pt x="1293" y="387"/>
                    <a:pt x="1290" y="382"/>
                    <a:pt x="1283" y="382"/>
                  </a:cubicBezTo>
                  <a:cubicBezTo>
                    <a:pt x="1283" y="382"/>
                    <a:pt x="1283" y="382"/>
                    <a:pt x="1283" y="382"/>
                  </a:cubicBezTo>
                  <a:moveTo>
                    <a:pt x="1317" y="382"/>
                  </a:moveTo>
                  <a:cubicBezTo>
                    <a:pt x="1310" y="382"/>
                    <a:pt x="1303" y="387"/>
                    <a:pt x="1300" y="392"/>
                  </a:cubicBezTo>
                  <a:cubicBezTo>
                    <a:pt x="1298" y="398"/>
                    <a:pt x="1301" y="402"/>
                    <a:pt x="1308" y="402"/>
                  </a:cubicBezTo>
                  <a:cubicBezTo>
                    <a:pt x="1315" y="402"/>
                    <a:pt x="1322" y="398"/>
                    <a:pt x="1324" y="392"/>
                  </a:cubicBezTo>
                  <a:cubicBezTo>
                    <a:pt x="1327" y="386"/>
                    <a:pt x="1323" y="382"/>
                    <a:pt x="1317" y="382"/>
                  </a:cubicBezTo>
                  <a:cubicBezTo>
                    <a:pt x="1317" y="382"/>
                    <a:pt x="1317" y="382"/>
                    <a:pt x="1317" y="382"/>
                  </a:cubicBezTo>
                  <a:moveTo>
                    <a:pt x="1960" y="378"/>
                  </a:moveTo>
                  <a:cubicBezTo>
                    <a:pt x="1954" y="378"/>
                    <a:pt x="1947" y="382"/>
                    <a:pt x="1946" y="388"/>
                  </a:cubicBezTo>
                  <a:cubicBezTo>
                    <a:pt x="1945" y="394"/>
                    <a:pt x="1950" y="398"/>
                    <a:pt x="1956" y="398"/>
                  </a:cubicBezTo>
                  <a:cubicBezTo>
                    <a:pt x="1963" y="398"/>
                    <a:pt x="1969" y="393"/>
                    <a:pt x="1970" y="388"/>
                  </a:cubicBezTo>
                  <a:cubicBezTo>
                    <a:pt x="1971" y="382"/>
                    <a:pt x="1967" y="378"/>
                    <a:pt x="1960" y="378"/>
                  </a:cubicBezTo>
                  <a:cubicBezTo>
                    <a:pt x="1960" y="378"/>
                    <a:pt x="1960" y="378"/>
                    <a:pt x="1960" y="378"/>
                  </a:cubicBezTo>
                  <a:moveTo>
                    <a:pt x="2029" y="377"/>
                  </a:moveTo>
                  <a:cubicBezTo>
                    <a:pt x="2022" y="377"/>
                    <a:pt x="2016" y="382"/>
                    <a:pt x="2015" y="388"/>
                  </a:cubicBezTo>
                  <a:cubicBezTo>
                    <a:pt x="2014" y="393"/>
                    <a:pt x="2019" y="398"/>
                    <a:pt x="2025" y="398"/>
                  </a:cubicBezTo>
                  <a:cubicBezTo>
                    <a:pt x="2032" y="398"/>
                    <a:pt x="2038" y="393"/>
                    <a:pt x="2039" y="387"/>
                  </a:cubicBezTo>
                  <a:cubicBezTo>
                    <a:pt x="2040" y="382"/>
                    <a:pt x="2035" y="377"/>
                    <a:pt x="2029" y="377"/>
                  </a:cubicBezTo>
                  <a:cubicBezTo>
                    <a:pt x="2029" y="377"/>
                    <a:pt x="2029" y="377"/>
                    <a:pt x="2029" y="377"/>
                  </a:cubicBezTo>
                  <a:moveTo>
                    <a:pt x="2063" y="377"/>
                  </a:moveTo>
                  <a:cubicBezTo>
                    <a:pt x="2057" y="377"/>
                    <a:pt x="2051" y="382"/>
                    <a:pt x="2050" y="387"/>
                  </a:cubicBezTo>
                  <a:cubicBezTo>
                    <a:pt x="2049" y="393"/>
                    <a:pt x="2053" y="397"/>
                    <a:pt x="2060" y="397"/>
                  </a:cubicBezTo>
                  <a:cubicBezTo>
                    <a:pt x="2066" y="397"/>
                    <a:pt x="2073" y="393"/>
                    <a:pt x="2073" y="387"/>
                  </a:cubicBezTo>
                  <a:cubicBezTo>
                    <a:pt x="2074" y="381"/>
                    <a:pt x="2070" y="377"/>
                    <a:pt x="2063" y="377"/>
                  </a:cubicBezTo>
                  <a:cubicBezTo>
                    <a:pt x="2063" y="377"/>
                    <a:pt x="2063" y="377"/>
                    <a:pt x="2063" y="377"/>
                  </a:cubicBezTo>
                  <a:moveTo>
                    <a:pt x="2132" y="376"/>
                  </a:moveTo>
                  <a:cubicBezTo>
                    <a:pt x="2125" y="376"/>
                    <a:pt x="2119" y="381"/>
                    <a:pt x="2118" y="386"/>
                  </a:cubicBezTo>
                  <a:cubicBezTo>
                    <a:pt x="2117" y="392"/>
                    <a:pt x="2122" y="396"/>
                    <a:pt x="2129" y="396"/>
                  </a:cubicBezTo>
                  <a:cubicBezTo>
                    <a:pt x="2135" y="396"/>
                    <a:pt x="2141" y="392"/>
                    <a:pt x="2142" y="386"/>
                  </a:cubicBezTo>
                  <a:cubicBezTo>
                    <a:pt x="2143" y="380"/>
                    <a:pt x="2138" y="376"/>
                    <a:pt x="2132" y="376"/>
                  </a:cubicBezTo>
                  <a:cubicBezTo>
                    <a:pt x="2132" y="376"/>
                    <a:pt x="2132" y="376"/>
                    <a:pt x="2132" y="376"/>
                  </a:cubicBezTo>
                  <a:moveTo>
                    <a:pt x="2166" y="376"/>
                  </a:moveTo>
                  <a:cubicBezTo>
                    <a:pt x="2160" y="376"/>
                    <a:pt x="2154" y="380"/>
                    <a:pt x="2153" y="386"/>
                  </a:cubicBezTo>
                  <a:cubicBezTo>
                    <a:pt x="2152" y="392"/>
                    <a:pt x="2157" y="396"/>
                    <a:pt x="2164" y="396"/>
                  </a:cubicBezTo>
                  <a:cubicBezTo>
                    <a:pt x="2170" y="396"/>
                    <a:pt x="2176" y="391"/>
                    <a:pt x="2177" y="386"/>
                  </a:cubicBezTo>
                  <a:cubicBezTo>
                    <a:pt x="2178" y="380"/>
                    <a:pt x="2173" y="376"/>
                    <a:pt x="2166" y="376"/>
                  </a:cubicBezTo>
                  <a:cubicBezTo>
                    <a:pt x="2166" y="376"/>
                    <a:pt x="2166" y="376"/>
                    <a:pt x="2166" y="376"/>
                  </a:cubicBezTo>
                  <a:moveTo>
                    <a:pt x="2200" y="375"/>
                  </a:moveTo>
                  <a:cubicBezTo>
                    <a:pt x="2194" y="375"/>
                    <a:pt x="2188" y="380"/>
                    <a:pt x="2187" y="386"/>
                  </a:cubicBezTo>
                  <a:cubicBezTo>
                    <a:pt x="2186" y="391"/>
                    <a:pt x="2191" y="396"/>
                    <a:pt x="2198" y="396"/>
                  </a:cubicBezTo>
                  <a:cubicBezTo>
                    <a:pt x="2204" y="396"/>
                    <a:pt x="2210" y="391"/>
                    <a:pt x="2211" y="386"/>
                  </a:cubicBezTo>
                  <a:cubicBezTo>
                    <a:pt x="2211" y="380"/>
                    <a:pt x="2207" y="375"/>
                    <a:pt x="2200" y="375"/>
                  </a:cubicBezTo>
                  <a:cubicBezTo>
                    <a:pt x="2200" y="375"/>
                    <a:pt x="2200" y="375"/>
                    <a:pt x="2200" y="375"/>
                  </a:cubicBezTo>
                  <a:moveTo>
                    <a:pt x="2235" y="375"/>
                  </a:moveTo>
                  <a:cubicBezTo>
                    <a:pt x="2228" y="375"/>
                    <a:pt x="2223" y="380"/>
                    <a:pt x="2222" y="385"/>
                  </a:cubicBezTo>
                  <a:cubicBezTo>
                    <a:pt x="2221" y="391"/>
                    <a:pt x="2226" y="396"/>
                    <a:pt x="2233" y="396"/>
                  </a:cubicBezTo>
                  <a:cubicBezTo>
                    <a:pt x="2239" y="396"/>
                    <a:pt x="2245" y="391"/>
                    <a:pt x="2246" y="385"/>
                  </a:cubicBezTo>
                  <a:cubicBezTo>
                    <a:pt x="2246" y="380"/>
                    <a:pt x="2241" y="375"/>
                    <a:pt x="2235" y="375"/>
                  </a:cubicBezTo>
                  <a:cubicBezTo>
                    <a:pt x="2235" y="375"/>
                    <a:pt x="2235" y="375"/>
                    <a:pt x="2235" y="375"/>
                  </a:cubicBezTo>
                  <a:moveTo>
                    <a:pt x="2269" y="375"/>
                  </a:moveTo>
                  <a:cubicBezTo>
                    <a:pt x="2262" y="375"/>
                    <a:pt x="2256" y="380"/>
                    <a:pt x="2256" y="385"/>
                  </a:cubicBezTo>
                  <a:cubicBezTo>
                    <a:pt x="2255" y="391"/>
                    <a:pt x="2260" y="395"/>
                    <a:pt x="2267" y="395"/>
                  </a:cubicBezTo>
                  <a:cubicBezTo>
                    <a:pt x="2273" y="395"/>
                    <a:pt x="2279" y="391"/>
                    <a:pt x="2280" y="385"/>
                  </a:cubicBezTo>
                  <a:cubicBezTo>
                    <a:pt x="2280" y="379"/>
                    <a:pt x="2275" y="375"/>
                    <a:pt x="2269" y="375"/>
                  </a:cubicBezTo>
                  <a:cubicBezTo>
                    <a:pt x="2269" y="375"/>
                    <a:pt x="2269" y="375"/>
                    <a:pt x="2269" y="375"/>
                  </a:cubicBezTo>
                  <a:moveTo>
                    <a:pt x="2574" y="375"/>
                  </a:moveTo>
                  <a:cubicBezTo>
                    <a:pt x="2567" y="375"/>
                    <a:pt x="2562" y="379"/>
                    <a:pt x="2562" y="385"/>
                  </a:cubicBezTo>
                  <a:cubicBezTo>
                    <a:pt x="2562" y="391"/>
                    <a:pt x="2568" y="395"/>
                    <a:pt x="2574" y="395"/>
                  </a:cubicBezTo>
                  <a:cubicBezTo>
                    <a:pt x="2581" y="395"/>
                    <a:pt x="2586" y="391"/>
                    <a:pt x="2586" y="385"/>
                  </a:cubicBezTo>
                  <a:cubicBezTo>
                    <a:pt x="2586" y="379"/>
                    <a:pt x="2580" y="375"/>
                    <a:pt x="2574" y="375"/>
                  </a:cubicBezTo>
                  <a:cubicBezTo>
                    <a:pt x="2574" y="375"/>
                    <a:pt x="2574" y="375"/>
                    <a:pt x="2574" y="375"/>
                  </a:cubicBezTo>
                  <a:moveTo>
                    <a:pt x="2302" y="375"/>
                  </a:moveTo>
                  <a:cubicBezTo>
                    <a:pt x="2296" y="375"/>
                    <a:pt x="2290" y="379"/>
                    <a:pt x="2289" y="385"/>
                  </a:cubicBezTo>
                  <a:cubicBezTo>
                    <a:pt x="2289" y="391"/>
                    <a:pt x="2294" y="395"/>
                    <a:pt x="2301" y="395"/>
                  </a:cubicBezTo>
                  <a:cubicBezTo>
                    <a:pt x="2307" y="395"/>
                    <a:pt x="2313" y="390"/>
                    <a:pt x="2313" y="385"/>
                  </a:cubicBezTo>
                  <a:cubicBezTo>
                    <a:pt x="2314" y="379"/>
                    <a:pt x="2309" y="375"/>
                    <a:pt x="2302" y="375"/>
                  </a:cubicBezTo>
                  <a:cubicBezTo>
                    <a:pt x="2302" y="375"/>
                    <a:pt x="2302" y="375"/>
                    <a:pt x="2302" y="375"/>
                  </a:cubicBezTo>
                  <a:moveTo>
                    <a:pt x="2336" y="374"/>
                  </a:moveTo>
                  <a:cubicBezTo>
                    <a:pt x="2329" y="374"/>
                    <a:pt x="2324" y="379"/>
                    <a:pt x="2323" y="385"/>
                  </a:cubicBezTo>
                  <a:cubicBezTo>
                    <a:pt x="2323" y="390"/>
                    <a:pt x="2328" y="395"/>
                    <a:pt x="2335" y="395"/>
                  </a:cubicBezTo>
                  <a:cubicBezTo>
                    <a:pt x="2341" y="395"/>
                    <a:pt x="2347" y="390"/>
                    <a:pt x="2347" y="385"/>
                  </a:cubicBezTo>
                  <a:cubicBezTo>
                    <a:pt x="2347" y="379"/>
                    <a:pt x="2342" y="374"/>
                    <a:pt x="2336" y="374"/>
                  </a:cubicBezTo>
                  <a:cubicBezTo>
                    <a:pt x="2336" y="374"/>
                    <a:pt x="2336" y="374"/>
                    <a:pt x="2336" y="374"/>
                  </a:cubicBezTo>
                  <a:moveTo>
                    <a:pt x="2370" y="374"/>
                  </a:moveTo>
                  <a:cubicBezTo>
                    <a:pt x="2363" y="374"/>
                    <a:pt x="2358" y="379"/>
                    <a:pt x="2357" y="384"/>
                  </a:cubicBezTo>
                  <a:cubicBezTo>
                    <a:pt x="2357" y="390"/>
                    <a:pt x="2362" y="395"/>
                    <a:pt x="2369" y="395"/>
                  </a:cubicBezTo>
                  <a:cubicBezTo>
                    <a:pt x="2375" y="395"/>
                    <a:pt x="2381" y="390"/>
                    <a:pt x="2381" y="384"/>
                  </a:cubicBezTo>
                  <a:cubicBezTo>
                    <a:pt x="2381" y="379"/>
                    <a:pt x="2376" y="374"/>
                    <a:pt x="2370" y="374"/>
                  </a:cubicBezTo>
                  <a:cubicBezTo>
                    <a:pt x="2370" y="374"/>
                    <a:pt x="2370" y="374"/>
                    <a:pt x="2370" y="374"/>
                  </a:cubicBezTo>
                  <a:moveTo>
                    <a:pt x="2404" y="374"/>
                  </a:moveTo>
                  <a:cubicBezTo>
                    <a:pt x="2398" y="374"/>
                    <a:pt x="2392" y="379"/>
                    <a:pt x="2392" y="384"/>
                  </a:cubicBezTo>
                  <a:cubicBezTo>
                    <a:pt x="2392" y="390"/>
                    <a:pt x="2397" y="394"/>
                    <a:pt x="2403" y="394"/>
                  </a:cubicBezTo>
                  <a:cubicBezTo>
                    <a:pt x="2410" y="394"/>
                    <a:pt x="2416" y="390"/>
                    <a:pt x="2416" y="384"/>
                  </a:cubicBezTo>
                  <a:cubicBezTo>
                    <a:pt x="2416" y="378"/>
                    <a:pt x="2411" y="374"/>
                    <a:pt x="2404" y="374"/>
                  </a:cubicBezTo>
                  <a:cubicBezTo>
                    <a:pt x="2404" y="374"/>
                    <a:pt x="2404" y="374"/>
                    <a:pt x="2404" y="374"/>
                  </a:cubicBezTo>
                  <a:moveTo>
                    <a:pt x="2608" y="374"/>
                  </a:moveTo>
                  <a:cubicBezTo>
                    <a:pt x="2602" y="374"/>
                    <a:pt x="2597" y="378"/>
                    <a:pt x="2597" y="384"/>
                  </a:cubicBezTo>
                  <a:cubicBezTo>
                    <a:pt x="2597" y="390"/>
                    <a:pt x="2603" y="394"/>
                    <a:pt x="2609" y="394"/>
                  </a:cubicBezTo>
                  <a:cubicBezTo>
                    <a:pt x="2616" y="394"/>
                    <a:pt x="2621" y="389"/>
                    <a:pt x="2621" y="384"/>
                  </a:cubicBezTo>
                  <a:cubicBezTo>
                    <a:pt x="2621" y="378"/>
                    <a:pt x="2615" y="374"/>
                    <a:pt x="2609" y="374"/>
                  </a:cubicBezTo>
                  <a:cubicBezTo>
                    <a:pt x="2609" y="374"/>
                    <a:pt x="2609" y="374"/>
                    <a:pt x="2608" y="374"/>
                  </a:cubicBezTo>
                  <a:moveTo>
                    <a:pt x="2438" y="374"/>
                  </a:moveTo>
                  <a:cubicBezTo>
                    <a:pt x="2431" y="374"/>
                    <a:pt x="2426" y="378"/>
                    <a:pt x="2426" y="384"/>
                  </a:cubicBezTo>
                  <a:cubicBezTo>
                    <a:pt x="2426" y="390"/>
                    <a:pt x="2431" y="394"/>
                    <a:pt x="2437" y="394"/>
                  </a:cubicBezTo>
                  <a:cubicBezTo>
                    <a:pt x="2444" y="394"/>
                    <a:pt x="2449" y="389"/>
                    <a:pt x="2450" y="384"/>
                  </a:cubicBezTo>
                  <a:cubicBezTo>
                    <a:pt x="2450" y="378"/>
                    <a:pt x="2444" y="374"/>
                    <a:pt x="2438" y="374"/>
                  </a:cubicBezTo>
                  <a:cubicBezTo>
                    <a:pt x="2438" y="374"/>
                    <a:pt x="2438" y="374"/>
                    <a:pt x="2438" y="374"/>
                  </a:cubicBezTo>
                  <a:moveTo>
                    <a:pt x="2642" y="373"/>
                  </a:moveTo>
                  <a:cubicBezTo>
                    <a:pt x="2636" y="373"/>
                    <a:pt x="2631" y="378"/>
                    <a:pt x="2631" y="384"/>
                  </a:cubicBezTo>
                  <a:cubicBezTo>
                    <a:pt x="2631" y="389"/>
                    <a:pt x="2637" y="394"/>
                    <a:pt x="2643" y="394"/>
                  </a:cubicBezTo>
                  <a:cubicBezTo>
                    <a:pt x="2650" y="394"/>
                    <a:pt x="2655" y="389"/>
                    <a:pt x="2655" y="384"/>
                  </a:cubicBezTo>
                  <a:cubicBezTo>
                    <a:pt x="2654" y="378"/>
                    <a:pt x="2649" y="373"/>
                    <a:pt x="2642" y="373"/>
                  </a:cubicBezTo>
                  <a:cubicBezTo>
                    <a:pt x="2642" y="373"/>
                    <a:pt x="2642" y="373"/>
                    <a:pt x="2642" y="373"/>
                  </a:cubicBezTo>
                  <a:moveTo>
                    <a:pt x="2472" y="373"/>
                  </a:moveTo>
                  <a:cubicBezTo>
                    <a:pt x="2465" y="373"/>
                    <a:pt x="2460" y="378"/>
                    <a:pt x="2460" y="384"/>
                  </a:cubicBezTo>
                  <a:cubicBezTo>
                    <a:pt x="2460" y="389"/>
                    <a:pt x="2465" y="394"/>
                    <a:pt x="2472" y="394"/>
                  </a:cubicBezTo>
                  <a:cubicBezTo>
                    <a:pt x="2478" y="394"/>
                    <a:pt x="2484" y="389"/>
                    <a:pt x="2484" y="384"/>
                  </a:cubicBezTo>
                  <a:cubicBezTo>
                    <a:pt x="2484" y="378"/>
                    <a:pt x="2478" y="373"/>
                    <a:pt x="2472" y="373"/>
                  </a:cubicBezTo>
                  <a:cubicBezTo>
                    <a:pt x="2472" y="373"/>
                    <a:pt x="2472" y="373"/>
                    <a:pt x="2472" y="373"/>
                  </a:cubicBezTo>
                  <a:moveTo>
                    <a:pt x="2676" y="373"/>
                  </a:moveTo>
                  <a:cubicBezTo>
                    <a:pt x="2669" y="373"/>
                    <a:pt x="2664" y="378"/>
                    <a:pt x="2664" y="384"/>
                  </a:cubicBezTo>
                  <a:cubicBezTo>
                    <a:pt x="2665" y="389"/>
                    <a:pt x="2670" y="394"/>
                    <a:pt x="2677" y="394"/>
                  </a:cubicBezTo>
                  <a:cubicBezTo>
                    <a:pt x="2684" y="394"/>
                    <a:pt x="2689" y="389"/>
                    <a:pt x="2688" y="383"/>
                  </a:cubicBezTo>
                  <a:cubicBezTo>
                    <a:pt x="2688" y="378"/>
                    <a:pt x="2682" y="373"/>
                    <a:pt x="2676" y="373"/>
                  </a:cubicBezTo>
                  <a:cubicBezTo>
                    <a:pt x="2676" y="373"/>
                    <a:pt x="2676" y="373"/>
                    <a:pt x="2676" y="373"/>
                  </a:cubicBezTo>
                  <a:moveTo>
                    <a:pt x="2505" y="373"/>
                  </a:moveTo>
                  <a:cubicBezTo>
                    <a:pt x="2499" y="373"/>
                    <a:pt x="2494" y="378"/>
                    <a:pt x="2494" y="383"/>
                  </a:cubicBezTo>
                  <a:cubicBezTo>
                    <a:pt x="2494" y="389"/>
                    <a:pt x="2499" y="394"/>
                    <a:pt x="2506" y="394"/>
                  </a:cubicBezTo>
                  <a:cubicBezTo>
                    <a:pt x="2512" y="394"/>
                    <a:pt x="2517" y="389"/>
                    <a:pt x="2517" y="383"/>
                  </a:cubicBezTo>
                  <a:cubicBezTo>
                    <a:pt x="2517" y="378"/>
                    <a:pt x="2512" y="373"/>
                    <a:pt x="2506" y="373"/>
                  </a:cubicBezTo>
                  <a:cubicBezTo>
                    <a:pt x="2506" y="373"/>
                    <a:pt x="2506" y="373"/>
                    <a:pt x="2505" y="373"/>
                  </a:cubicBezTo>
                  <a:moveTo>
                    <a:pt x="2709" y="373"/>
                  </a:moveTo>
                  <a:cubicBezTo>
                    <a:pt x="2703" y="373"/>
                    <a:pt x="2698" y="378"/>
                    <a:pt x="2698" y="383"/>
                  </a:cubicBezTo>
                  <a:cubicBezTo>
                    <a:pt x="2699" y="389"/>
                    <a:pt x="2704" y="393"/>
                    <a:pt x="2711" y="393"/>
                  </a:cubicBezTo>
                  <a:cubicBezTo>
                    <a:pt x="2718" y="393"/>
                    <a:pt x="2723" y="389"/>
                    <a:pt x="2722" y="383"/>
                  </a:cubicBezTo>
                  <a:cubicBezTo>
                    <a:pt x="2722" y="377"/>
                    <a:pt x="2716" y="373"/>
                    <a:pt x="2709" y="373"/>
                  </a:cubicBezTo>
                  <a:cubicBezTo>
                    <a:pt x="2709" y="373"/>
                    <a:pt x="2709" y="373"/>
                    <a:pt x="2709" y="373"/>
                  </a:cubicBezTo>
                  <a:moveTo>
                    <a:pt x="2539" y="373"/>
                  </a:moveTo>
                  <a:cubicBezTo>
                    <a:pt x="2533" y="373"/>
                    <a:pt x="2528" y="378"/>
                    <a:pt x="2528" y="383"/>
                  </a:cubicBezTo>
                  <a:cubicBezTo>
                    <a:pt x="2528" y="389"/>
                    <a:pt x="2533" y="393"/>
                    <a:pt x="2540" y="393"/>
                  </a:cubicBezTo>
                  <a:cubicBezTo>
                    <a:pt x="2546" y="393"/>
                    <a:pt x="2552" y="389"/>
                    <a:pt x="2552" y="383"/>
                  </a:cubicBezTo>
                  <a:cubicBezTo>
                    <a:pt x="2551" y="377"/>
                    <a:pt x="2546" y="373"/>
                    <a:pt x="2540" y="373"/>
                  </a:cubicBezTo>
                  <a:cubicBezTo>
                    <a:pt x="2540" y="373"/>
                    <a:pt x="2539" y="373"/>
                    <a:pt x="2539" y="373"/>
                  </a:cubicBezTo>
                  <a:moveTo>
                    <a:pt x="2743" y="373"/>
                  </a:moveTo>
                  <a:cubicBezTo>
                    <a:pt x="2737" y="373"/>
                    <a:pt x="2732" y="377"/>
                    <a:pt x="2732" y="383"/>
                  </a:cubicBezTo>
                  <a:cubicBezTo>
                    <a:pt x="2733" y="389"/>
                    <a:pt x="2739" y="393"/>
                    <a:pt x="2745" y="393"/>
                  </a:cubicBezTo>
                  <a:cubicBezTo>
                    <a:pt x="2752" y="393"/>
                    <a:pt x="2757" y="388"/>
                    <a:pt x="2756" y="383"/>
                  </a:cubicBezTo>
                  <a:cubicBezTo>
                    <a:pt x="2756" y="377"/>
                    <a:pt x="2750" y="373"/>
                    <a:pt x="2743" y="373"/>
                  </a:cubicBezTo>
                  <a:cubicBezTo>
                    <a:pt x="2743" y="373"/>
                    <a:pt x="2743" y="373"/>
                    <a:pt x="2743" y="373"/>
                  </a:cubicBezTo>
                  <a:moveTo>
                    <a:pt x="2778" y="372"/>
                  </a:moveTo>
                  <a:cubicBezTo>
                    <a:pt x="2771" y="372"/>
                    <a:pt x="2766" y="377"/>
                    <a:pt x="2767" y="383"/>
                  </a:cubicBezTo>
                  <a:cubicBezTo>
                    <a:pt x="2767" y="388"/>
                    <a:pt x="2773" y="393"/>
                    <a:pt x="2780" y="393"/>
                  </a:cubicBezTo>
                  <a:cubicBezTo>
                    <a:pt x="2786" y="393"/>
                    <a:pt x="2791" y="388"/>
                    <a:pt x="2791" y="383"/>
                  </a:cubicBezTo>
                  <a:cubicBezTo>
                    <a:pt x="2790" y="377"/>
                    <a:pt x="2784" y="372"/>
                    <a:pt x="2778" y="372"/>
                  </a:cubicBezTo>
                  <a:cubicBezTo>
                    <a:pt x="2778" y="372"/>
                    <a:pt x="2778" y="372"/>
                    <a:pt x="2778" y="372"/>
                  </a:cubicBezTo>
                  <a:moveTo>
                    <a:pt x="2811" y="372"/>
                  </a:moveTo>
                  <a:cubicBezTo>
                    <a:pt x="2805" y="372"/>
                    <a:pt x="2800" y="377"/>
                    <a:pt x="2801" y="382"/>
                  </a:cubicBezTo>
                  <a:cubicBezTo>
                    <a:pt x="2801" y="388"/>
                    <a:pt x="2807" y="393"/>
                    <a:pt x="2814" y="393"/>
                  </a:cubicBezTo>
                  <a:cubicBezTo>
                    <a:pt x="2820" y="393"/>
                    <a:pt x="2825" y="388"/>
                    <a:pt x="2824" y="382"/>
                  </a:cubicBezTo>
                  <a:cubicBezTo>
                    <a:pt x="2824" y="377"/>
                    <a:pt x="2818" y="372"/>
                    <a:pt x="2811" y="372"/>
                  </a:cubicBezTo>
                  <a:cubicBezTo>
                    <a:pt x="2811" y="372"/>
                    <a:pt x="2811" y="372"/>
                    <a:pt x="2811" y="372"/>
                  </a:cubicBezTo>
                  <a:moveTo>
                    <a:pt x="2845" y="372"/>
                  </a:moveTo>
                  <a:cubicBezTo>
                    <a:pt x="2839" y="372"/>
                    <a:pt x="2834" y="377"/>
                    <a:pt x="2835" y="382"/>
                  </a:cubicBezTo>
                  <a:cubicBezTo>
                    <a:pt x="2835" y="388"/>
                    <a:pt x="2841" y="392"/>
                    <a:pt x="2848" y="392"/>
                  </a:cubicBezTo>
                  <a:cubicBezTo>
                    <a:pt x="2854" y="392"/>
                    <a:pt x="2859" y="388"/>
                    <a:pt x="2858" y="382"/>
                  </a:cubicBezTo>
                  <a:cubicBezTo>
                    <a:pt x="2858" y="376"/>
                    <a:pt x="2852" y="372"/>
                    <a:pt x="2845" y="372"/>
                  </a:cubicBezTo>
                  <a:cubicBezTo>
                    <a:pt x="2845" y="372"/>
                    <a:pt x="2845" y="372"/>
                    <a:pt x="2845" y="372"/>
                  </a:cubicBezTo>
                  <a:moveTo>
                    <a:pt x="2879" y="372"/>
                  </a:moveTo>
                  <a:cubicBezTo>
                    <a:pt x="2872" y="372"/>
                    <a:pt x="2868" y="376"/>
                    <a:pt x="2868" y="382"/>
                  </a:cubicBezTo>
                  <a:cubicBezTo>
                    <a:pt x="2869" y="388"/>
                    <a:pt x="2875" y="392"/>
                    <a:pt x="2882" y="392"/>
                  </a:cubicBezTo>
                  <a:cubicBezTo>
                    <a:pt x="2888" y="392"/>
                    <a:pt x="2893" y="387"/>
                    <a:pt x="2892" y="382"/>
                  </a:cubicBezTo>
                  <a:cubicBezTo>
                    <a:pt x="2891" y="376"/>
                    <a:pt x="2886" y="372"/>
                    <a:pt x="2879" y="372"/>
                  </a:cubicBezTo>
                  <a:cubicBezTo>
                    <a:pt x="2879" y="372"/>
                    <a:pt x="2879" y="372"/>
                    <a:pt x="2879" y="372"/>
                  </a:cubicBezTo>
                  <a:moveTo>
                    <a:pt x="2913" y="371"/>
                  </a:moveTo>
                  <a:cubicBezTo>
                    <a:pt x="2906" y="371"/>
                    <a:pt x="2902" y="376"/>
                    <a:pt x="2903" y="382"/>
                  </a:cubicBezTo>
                  <a:cubicBezTo>
                    <a:pt x="2903" y="387"/>
                    <a:pt x="2909" y="392"/>
                    <a:pt x="2916" y="392"/>
                  </a:cubicBezTo>
                  <a:cubicBezTo>
                    <a:pt x="2923" y="392"/>
                    <a:pt x="2927" y="387"/>
                    <a:pt x="2926" y="382"/>
                  </a:cubicBezTo>
                  <a:cubicBezTo>
                    <a:pt x="2926" y="376"/>
                    <a:pt x="2920" y="371"/>
                    <a:pt x="2913" y="371"/>
                  </a:cubicBezTo>
                  <a:cubicBezTo>
                    <a:pt x="2913" y="371"/>
                    <a:pt x="2913" y="371"/>
                    <a:pt x="2913" y="371"/>
                  </a:cubicBezTo>
                  <a:moveTo>
                    <a:pt x="2945" y="371"/>
                  </a:moveTo>
                  <a:cubicBezTo>
                    <a:pt x="2939" y="371"/>
                    <a:pt x="2935" y="375"/>
                    <a:pt x="2935" y="381"/>
                  </a:cubicBezTo>
                  <a:cubicBezTo>
                    <a:pt x="2936" y="386"/>
                    <a:pt x="2942" y="390"/>
                    <a:pt x="2948" y="390"/>
                  </a:cubicBezTo>
                  <a:cubicBezTo>
                    <a:pt x="2955" y="390"/>
                    <a:pt x="2959" y="386"/>
                    <a:pt x="2958" y="381"/>
                  </a:cubicBezTo>
                  <a:cubicBezTo>
                    <a:pt x="2957" y="375"/>
                    <a:pt x="2951" y="371"/>
                    <a:pt x="2945" y="371"/>
                  </a:cubicBezTo>
                  <a:cubicBezTo>
                    <a:pt x="2945" y="371"/>
                    <a:pt x="2945" y="371"/>
                    <a:pt x="2945" y="371"/>
                  </a:cubicBezTo>
                  <a:moveTo>
                    <a:pt x="2980" y="371"/>
                  </a:moveTo>
                  <a:cubicBezTo>
                    <a:pt x="2974" y="371"/>
                    <a:pt x="2969" y="375"/>
                    <a:pt x="2970" y="380"/>
                  </a:cubicBezTo>
                  <a:cubicBezTo>
                    <a:pt x="2971" y="386"/>
                    <a:pt x="2977" y="390"/>
                    <a:pt x="2983" y="390"/>
                  </a:cubicBezTo>
                  <a:cubicBezTo>
                    <a:pt x="2990" y="390"/>
                    <a:pt x="2994" y="386"/>
                    <a:pt x="2993" y="380"/>
                  </a:cubicBezTo>
                  <a:cubicBezTo>
                    <a:pt x="2992" y="375"/>
                    <a:pt x="2986" y="371"/>
                    <a:pt x="2980" y="371"/>
                  </a:cubicBezTo>
                  <a:cubicBezTo>
                    <a:pt x="2980" y="371"/>
                    <a:pt x="2980" y="371"/>
                    <a:pt x="2980" y="371"/>
                  </a:cubicBezTo>
                  <a:moveTo>
                    <a:pt x="3014" y="371"/>
                  </a:moveTo>
                  <a:cubicBezTo>
                    <a:pt x="3007" y="371"/>
                    <a:pt x="3003" y="375"/>
                    <a:pt x="3004" y="381"/>
                  </a:cubicBezTo>
                  <a:cubicBezTo>
                    <a:pt x="3005" y="387"/>
                    <a:pt x="3011" y="391"/>
                    <a:pt x="3018" y="391"/>
                  </a:cubicBezTo>
                  <a:cubicBezTo>
                    <a:pt x="3024" y="391"/>
                    <a:pt x="3029" y="386"/>
                    <a:pt x="3028" y="381"/>
                  </a:cubicBezTo>
                  <a:cubicBezTo>
                    <a:pt x="3026" y="375"/>
                    <a:pt x="3020" y="371"/>
                    <a:pt x="3014" y="371"/>
                  </a:cubicBezTo>
                  <a:cubicBezTo>
                    <a:pt x="3014" y="371"/>
                    <a:pt x="3014" y="371"/>
                    <a:pt x="3014" y="371"/>
                  </a:cubicBezTo>
                  <a:moveTo>
                    <a:pt x="3047" y="370"/>
                  </a:moveTo>
                  <a:cubicBezTo>
                    <a:pt x="3041" y="370"/>
                    <a:pt x="3036" y="375"/>
                    <a:pt x="3037" y="381"/>
                  </a:cubicBezTo>
                  <a:cubicBezTo>
                    <a:pt x="3038" y="386"/>
                    <a:pt x="3045" y="391"/>
                    <a:pt x="3051" y="391"/>
                  </a:cubicBezTo>
                  <a:cubicBezTo>
                    <a:pt x="3058" y="391"/>
                    <a:pt x="3062" y="386"/>
                    <a:pt x="3061" y="381"/>
                  </a:cubicBezTo>
                  <a:cubicBezTo>
                    <a:pt x="3060" y="375"/>
                    <a:pt x="3054" y="370"/>
                    <a:pt x="3047" y="370"/>
                  </a:cubicBezTo>
                  <a:cubicBezTo>
                    <a:pt x="3047" y="370"/>
                    <a:pt x="3047" y="370"/>
                    <a:pt x="3047" y="370"/>
                  </a:cubicBezTo>
                  <a:moveTo>
                    <a:pt x="3081" y="370"/>
                  </a:moveTo>
                  <a:cubicBezTo>
                    <a:pt x="3074" y="370"/>
                    <a:pt x="3070" y="375"/>
                    <a:pt x="3071" y="380"/>
                  </a:cubicBezTo>
                  <a:cubicBezTo>
                    <a:pt x="3072" y="386"/>
                    <a:pt x="3079" y="391"/>
                    <a:pt x="3085" y="391"/>
                  </a:cubicBezTo>
                  <a:cubicBezTo>
                    <a:pt x="3092" y="391"/>
                    <a:pt x="3096" y="386"/>
                    <a:pt x="3095" y="380"/>
                  </a:cubicBezTo>
                  <a:cubicBezTo>
                    <a:pt x="3094" y="375"/>
                    <a:pt x="3087" y="370"/>
                    <a:pt x="3081" y="370"/>
                  </a:cubicBezTo>
                  <a:cubicBezTo>
                    <a:pt x="3081" y="370"/>
                    <a:pt x="3081" y="370"/>
                    <a:pt x="3081" y="370"/>
                  </a:cubicBezTo>
                  <a:moveTo>
                    <a:pt x="3115" y="370"/>
                  </a:moveTo>
                  <a:cubicBezTo>
                    <a:pt x="3108" y="370"/>
                    <a:pt x="3104" y="375"/>
                    <a:pt x="3105" y="380"/>
                  </a:cubicBezTo>
                  <a:cubicBezTo>
                    <a:pt x="3106" y="386"/>
                    <a:pt x="3113" y="390"/>
                    <a:pt x="3119" y="390"/>
                  </a:cubicBezTo>
                  <a:cubicBezTo>
                    <a:pt x="3126" y="390"/>
                    <a:pt x="3130" y="386"/>
                    <a:pt x="3129" y="380"/>
                  </a:cubicBezTo>
                  <a:cubicBezTo>
                    <a:pt x="3128" y="374"/>
                    <a:pt x="3121" y="370"/>
                    <a:pt x="3115" y="370"/>
                  </a:cubicBezTo>
                  <a:cubicBezTo>
                    <a:pt x="3115" y="370"/>
                    <a:pt x="3115" y="370"/>
                    <a:pt x="3115" y="370"/>
                  </a:cubicBezTo>
                  <a:moveTo>
                    <a:pt x="3149" y="370"/>
                  </a:moveTo>
                  <a:cubicBezTo>
                    <a:pt x="3142" y="370"/>
                    <a:pt x="3138" y="374"/>
                    <a:pt x="3140" y="380"/>
                  </a:cubicBezTo>
                  <a:cubicBezTo>
                    <a:pt x="3141" y="386"/>
                    <a:pt x="3147" y="390"/>
                    <a:pt x="3154" y="390"/>
                  </a:cubicBezTo>
                  <a:cubicBezTo>
                    <a:pt x="3161" y="390"/>
                    <a:pt x="3165" y="385"/>
                    <a:pt x="3163" y="380"/>
                  </a:cubicBezTo>
                  <a:cubicBezTo>
                    <a:pt x="3162" y="374"/>
                    <a:pt x="3156" y="370"/>
                    <a:pt x="3149" y="370"/>
                  </a:cubicBezTo>
                  <a:cubicBezTo>
                    <a:pt x="3149" y="370"/>
                    <a:pt x="3149" y="370"/>
                    <a:pt x="3149" y="370"/>
                  </a:cubicBezTo>
                  <a:moveTo>
                    <a:pt x="3183" y="369"/>
                  </a:moveTo>
                  <a:cubicBezTo>
                    <a:pt x="3176" y="369"/>
                    <a:pt x="3172" y="374"/>
                    <a:pt x="3173" y="380"/>
                  </a:cubicBezTo>
                  <a:cubicBezTo>
                    <a:pt x="3175" y="385"/>
                    <a:pt x="3181" y="390"/>
                    <a:pt x="3188" y="390"/>
                  </a:cubicBezTo>
                  <a:cubicBezTo>
                    <a:pt x="3194" y="390"/>
                    <a:pt x="3199" y="385"/>
                    <a:pt x="3197" y="380"/>
                  </a:cubicBezTo>
                  <a:cubicBezTo>
                    <a:pt x="3196" y="374"/>
                    <a:pt x="3189" y="369"/>
                    <a:pt x="3183" y="369"/>
                  </a:cubicBezTo>
                  <a:cubicBezTo>
                    <a:pt x="3183" y="369"/>
                    <a:pt x="3183" y="369"/>
                    <a:pt x="3183" y="369"/>
                  </a:cubicBezTo>
                  <a:moveTo>
                    <a:pt x="3217" y="369"/>
                  </a:moveTo>
                  <a:cubicBezTo>
                    <a:pt x="3210" y="369"/>
                    <a:pt x="3206" y="374"/>
                    <a:pt x="3207" y="379"/>
                  </a:cubicBezTo>
                  <a:cubicBezTo>
                    <a:pt x="3209" y="385"/>
                    <a:pt x="3215" y="390"/>
                    <a:pt x="3222" y="390"/>
                  </a:cubicBezTo>
                  <a:cubicBezTo>
                    <a:pt x="3229" y="390"/>
                    <a:pt x="3233" y="385"/>
                    <a:pt x="3231" y="379"/>
                  </a:cubicBezTo>
                  <a:cubicBezTo>
                    <a:pt x="3230" y="374"/>
                    <a:pt x="3223" y="369"/>
                    <a:pt x="3217" y="369"/>
                  </a:cubicBezTo>
                  <a:cubicBezTo>
                    <a:pt x="3217" y="369"/>
                    <a:pt x="3217" y="369"/>
                    <a:pt x="3217" y="369"/>
                  </a:cubicBezTo>
                  <a:moveTo>
                    <a:pt x="3250" y="369"/>
                  </a:moveTo>
                  <a:cubicBezTo>
                    <a:pt x="3244" y="369"/>
                    <a:pt x="3240" y="374"/>
                    <a:pt x="3241" y="379"/>
                  </a:cubicBezTo>
                  <a:cubicBezTo>
                    <a:pt x="3243" y="385"/>
                    <a:pt x="3249" y="389"/>
                    <a:pt x="3256" y="389"/>
                  </a:cubicBezTo>
                  <a:cubicBezTo>
                    <a:pt x="3262" y="389"/>
                    <a:pt x="3267" y="385"/>
                    <a:pt x="3265" y="379"/>
                  </a:cubicBezTo>
                  <a:cubicBezTo>
                    <a:pt x="3263" y="373"/>
                    <a:pt x="3257" y="369"/>
                    <a:pt x="3250" y="369"/>
                  </a:cubicBezTo>
                  <a:cubicBezTo>
                    <a:pt x="3250" y="369"/>
                    <a:pt x="3250" y="369"/>
                    <a:pt x="3250" y="369"/>
                  </a:cubicBezTo>
                  <a:moveTo>
                    <a:pt x="3284" y="369"/>
                  </a:moveTo>
                  <a:cubicBezTo>
                    <a:pt x="3278" y="369"/>
                    <a:pt x="3274" y="373"/>
                    <a:pt x="3275" y="379"/>
                  </a:cubicBezTo>
                  <a:cubicBezTo>
                    <a:pt x="3277" y="385"/>
                    <a:pt x="3283" y="389"/>
                    <a:pt x="3290" y="389"/>
                  </a:cubicBezTo>
                  <a:cubicBezTo>
                    <a:pt x="3297" y="389"/>
                    <a:pt x="3301" y="384"/>
                    <a:pt x="3299" y="379"/>
                  </a:cubicBezTo>
                  <a:cubicBezTo>
                    <a:pt x="3297" y="373"/>
                    <a:pt x="3291" y="369"/>
                    <a:pt x="3284" y="369"/>
                  </a:cubicBezTo>
                  <a:cubicBezTo>
                    <a:pt x="3284" y="369"/>
                    <a:pt x="3284" y="369"/>
                    <a:pt x="3284" y="369"/>
                  </a:cubicBezTo>
                  <a:moveTo>
                    <a:pt x="3319" y="368"/>
                  </a:moveTo>
                  <a:cubicBezTo>
                    <a:pt x="3313" y="368"/>
                    <a:pt x="3309" y="373"/>
                    <a:pt x="3311" y="379"/>
                  </a:cubicBezTo>
                  <a:cubicBezTo>
                    <a:pt x="3312" y="384"/>
                    <a:pt x="3319" y="389"/>
                    <a:pt x="3326" y="389"/>
                  </a:cubicBezTo>
                  <a:cubicBezTo>
                    <a:pt x="3332" y="389"/>
                    <a:pt x="3336" y="384"/>
                    <a:pt x="3334" y="379"/>
                  </a:cubicBezTo>
                  <a:cubicBezTo>
                    <a:pt x="3333" y="373"/>
                    <a:pt x="3326" y="368"/>
                    <a:pt x="3319" y="368"/>
                  </a:cubicBezTo>
                  <a:cubicBezTo>
                    <a:pt x="3319" y="368"/>
                    <a:pt x="3319" y="368"/>
                    <a:pt x="3319" y="368"/>
                  </a:cubicBezTo>
                  <a:moveTo>
                    <a:pt x="3353" y="368"/>
                  </a:moveTo>
                  <a:cubicBezTo>
                    <a:pt x="3346" y="368"/>
                    <a:pt x="3343" y="373"/>
                    <a:pt x="3344" y="378"/>
                  </a:cubicBezTo>
                  <a:cubicBezTo>
                    <a:pt x="3346" y="384"/>
                    <a:pt x="3353" y="389"/>
                    <a:pt x="3359" y="389"/>
                  </a:cubicBezTo>
                  <a:cubicBezTo>
                    <a:pt x="3366" y="389"/>
                    <a:pt x="3370" y="384"/>
                    <a:pt x="3368" y="378"/>
                  </a:cubicBezTo>
                  <a:cubicBezTo>
                    <a:pt x="3366" y="373"/>
                    <a:pt x="3360" y="368"/>
                    <a:pt x="3353" y="368"/>
                  </a:cubicBezTo>
                  <a:cubicBezTo>
                    <a:pt x="3353" y="368"/>
                    <a:pt x="3353" y="368"/>
                    <a:pt x="3353" y="368"/>
                  </a:cubicBezTo>
                  <a:moveTo>
                    <a:pt x="3386" y="368"/>
                  </a:moveTo>
                  <a:cubicBezTo>
                    <a:pt x="3380" y="368"/>
                    <a:pt x="3376" y="373"/>
                    <a:pt x="3378" y="378"/>
                  </a:cubicBezTo>
                  <a:cubicBezTo>
                    <a:pt x="3380" y="384"/>
                    <a:pt x="3387" y="388"/>
                    <a:pt x="3393" y="388"/>
                  </a:cubicBezTo>
                  <a:cubicBezTo>
                    <a:pt x="3400" y="388"/>
                    <a:pt x="3404" y="384"/>
                    <a:pt x="3402" y="378"/>
                  </a:cubicBezTo>
                  <a:cubicBezTo>
                    <a:pt x="3400" y="372"/>
                    <a:pt x="3393" y="368"/>
                    <a:pt x="3387" y="368"/>
                  </a:cubicBezTo>
                  <a:cubicBezTo>
                    <a:pt x="3386" y="368"/>
                    <a:pt x="3386" y="368"/>
                    <a:pt x="3386" y="368"/>
                  </a:cubicBezTo>
                  <a:moveTo>
                    <a:pt x="3420" y="368"/>
                  </a:moveTo>
                  <a:cubicBezTo>
                    <a:pt x="3414" y="368"/>
                    <a:pt x="3410" y="372"/>
                    <a:pt x="3412" y="378"/>
                  </a:cubicBezTo>
                  <a:cubicBezTo>
                    <a:pt x="3414" y="384"/>
                    <a:pt x="3420" y="388"/>
                    <a:pt x="3427" y="388"/>
                  </a:cubicBezTo>
                  <a:cubicBezTo>
                    <a:pt x="3434" y="388"/>
                    <a:pt x="3437" y="383"/>
                    <a:pt x="3435" y="378"/>
                  </a:cubicBezTo>
                  <a:cubicBezTo>
                    <a:pt x="3433" y="372"/>
                    <a:pt x="3427" y="368"/>
                    <a:pt x="3420" y="368"/>
                  </a:cubicBezTo>
                  <a:cubicBezTo>
                    <a:pt x="3420" y="368"/>
                    <a:pt x="3420" y="368"/>
                    <a:pt x="3420" y="368"/>
                  </a:cubicBezTo>
                  <a:moveTo>
                    <a:pt x="3454" y="367"/>
                  </a:moveTo>
                  <a:cubicBezTo>
                    <a:pt x="3447" y="367"/>
                    <a:pt x="3444" y="372"/>
                    <a:pt x="3446" y="378"/>
                  </a:cubicBezTo>
                  <a:cubicBezTo>
                    <a:pt x="3448" y="383"/>
                    <a:pt x="3455" y="388"/>
                    <a:pt x="3461" y="388"/>
                  </a:cubicBezTo>
                  <a:cubicBezTo>
                    <a:pt x="3468" y="388"/>
                    <a:pt x="3472" y="383"/>
                    <a:pt x="3470" y="378"/>
                  </a:cubicBezTo>
                  <a:cubicBezTo>
                    <a:pt x="3468" y="372"/>
                    <a:pt x="3461" y="367"/>
                    <a:pt x="3454" y="367"/>
                  </a:cubicBezTo>
                  <a:cubicBezTo>
                    <a:pt x="3454" y="367"/>
                    <a:pt x="3454" y="367"/>
                    <a:pt x="3454" y="367"/>
                  </a:cubicBezTo>
                  <a:moveTo>
                    <a:pt x="3488" y="367"/>
                  </a:moveTo>
                  <a:cubicBezTo>
                    <a:pt x="3482" y="367"/>
                    <a:pt x="3478" y="372"/>
                    <a:pt x="3480" y="377"/>
                  </a:cubicBezTo>
                  <a:cubicBezTo>
                    <a:pt x="3482" y="383"/>
                    <a:pt x="3489" y="388"/>
                    <a:pt x="3496" y="388"/>
                  </a:cubicBezTo>
                  <a:cubicBezTo>
                    <a:pt x="3502" y="388"/>
                    <a:pt x="3506" y="383"/>
                    <a:pt x="3504" y="377"/>
                  </a:cubicBezTo>
                  <a:cubicBezTo>
                    <a:pt x="3502" y="372"/>
                    <a:pt x="3495" y="367"/>
                    <a:pt x="3488" y="367"/>
                  </a:cubicBezTo>
                  <a:cubicBezTo>
                    <a:pt x="3488" y="367"/>
                    <a:pt x="3488" y="367"/>
                    <a:pt x="3488" y="367"/>
                  </a:cubicBezTo>
                  <a:moveTo>
                    <a:pt x="3522" y="367"/>
                  </a:moveTo>
                  <a:cubicBezTo>
                    <a:pt x="3515" y="367"/>
                    <a:pt x="3512" y="372"/>
                    <a:pt x="3514" y="377"/>
                  </a:cubicBezTo>
                  <a:cubicBezTo>
                    <a:pt x="3516" y="383"/>
                    <a:pt x="3523" y="387"/>
                    <a:pt x="3530" y="387"/>
                  </a:cubicBezTo>
                  <a:cubicBezTo>
                    <a:pt x="3536" y="387"/>
                    <a:pt x="3540" y="383"/>
                    <a:pt x="3538" y="377"/>
                  </a:cubicBezTo>
                  <a:cubicBezTo>
                    <a:pt x="3535" y="371"/>
                    <a:pt x="3528" y="367"/>
                    <a:pt x="3522" y="367"/>
                  </a:cubicBezTo>
                  <a:cubicBezTo>
                    <a:pt x="3522" y="367"/>
                    <a:pt x="3522" y="367"/>
                    <a:pt x="3522" y="367"/>
                  </a:cubicBezTo>
                  <a:moveTo>
                    <a:pt x="3556" y="367"/>
                  </a:moveTo>
                  <a:cubicBezTo>
                    <a:pt x="3549" y="367"/>
                    <a:pt x="3546" y="371"/>
                    <a:pt x="3548" y="377"/>
                  </a:cubicBezTo>
                  <a:cubicBezTo>
                    <a:pt x="3550" y="383"/>
                    <a:pt x="3557" y="387"/>
                    <a:pt x="3564" y="387"/>
                  </a:cubicBezTo>
                  <a:cubicBezTo>
                    <a:pt x="3570" y="387"/>
                    <a:pt x="3574" y="382"/>
                    <a:pt x="3572" y="377"/>
                  </a:cubicBezTo>
                  <a:cubicBezTo>
                    <a:pt x="3569" y="371"/>
                    <a:pt x="3562" y="367"/>
                    <a:pt x="3556" y="367"/>
                  </a:cubicBezTo>
                  <a:cubicBezTo>
                    <a:pt x="3556" y="367"/>
                    <a:pt x="3556" y="367"/>
                    <a:pt x="3556" y="367"/>
                  </a:cubicBezTo>
                  <a:moveTo>
                    <a:pt x="3589" y="366"/>
                  </a:moveTo>
                  <a:cubicBezTo>
                    <a:pt x="3583" y="366"/>
                    <a:pt x="3579" y="371"/>
                    <a:pt x="3582" y="377"/>
                  </a:cubicBezTo>
                  <a:cubicBezTo>
                    <a:pt x="3584" y="382"/>
                    <a:pt x="3591" y="387"/>
                    <a:pt x="3598" y="387"/>
                  </a:cubicBezTo>
                  <a:cubicBezTo>
                    <a:pt x="3604" y="387"/>
                    <a:pt x="3608" y="382"/>
                    <a:pt x="3605" y="377"/>
                  </a:cubicBezTo>
                  <a:cubicBezTo>
                    <a:pt x="3603" y="371"/>
                    <a:pt x="3596" y="366"/>
                    <a:pt x="3589" y="366"/>
                  </a:cubicBezTo>
                  <a:cubicBezTo>
                    <a:pt x="3589" y="366"/>
                    <a:pt x="3589" y="366"/>
                    <a:pt x="3589" y="366"/>
                  </a:cubicBezTo>
                  <a:moveTo>
                    <a:pt x="3623" y="366"/>
                  </a:moveTo>
                  <a:cubicBezTo>
                    <a:pt x="3617" y="366"/>
                    <a:pt x="3613" y="371"/>
                    <a:pt x="3616" y="376"/>
                  </a:cubicBezTo>
                  <a:cubicBezTo>
                    <a:pt x="3618" y="382"/>
                    <a:pt x="3625" y="387"/>
                    <a:pt x="3632" y="387"/>
                  </a:cubicBezTo>
                  <a:cubicBezTo>
                    <a:pt x="3638" y="387"/>
                    <a:pt x="3642" y="382"/>
                    <a:pt x="3639" y="376"/>
                  </a:cubicBezTo>
                  <a:cubicBezTo>
                    <a:pt x="3637" y="371"/>
                    <a:pt x="3630" y="366"/>
                    <a:pt x="3623" y="366"/>
                  </a:cubicBezTo>
                  <a:cubicBezTo>
                    <a:pt x="3623" y="366"/>
                    <a:pt x="3623" y="366"/>
                    <a:pt x="3623" y="366"/>
                  </a:cubicBezTo>
                  <a:moveTo>
                    <a:pt x="3659" y="366"/>
                  </a:moveTo>
                  <a:cubicBezTo>
                    <a:pt x="3653" y="366"/>
                    <a:pt x="3649" y="371"/>
                    <a:pt x="3652" y="376"/>
                  </a:cubicBezTo>
                  <a:cubicBezTo>
                    <a:pt x="3654" y="382"/>
                    <a:pt x="3661" y="386"/>
                    <a:pt x="3668" y="386"/>
                  </a:cubicBezTo>
                  <a:cubicBezTo>
                    <a:pt x="3675" y="386"/>
                    <a:pt x="3678" y="382"/>
                    <a:pt x="3675" y="376"/>
                  </a:cubicBezTo>
                  <a:cubicBezTo>
                    <a:pt x="3673" y="370"/>
                    <a:pt x="3666" y="366"/>
                    <a:pt x="3659" y="366"/>
                  </a:cubicBezTo>
                  <a:cubicBezTo>
                    <a:pt x="3659" y="366"/>
                    <a:pt x="3659" y="366"/>
                    <a:pt x="3659" y="366"/>
                  </a:cubicBezTo>
                  <a:moveTo>
                    <a:pt x="3693" y="366"/>
                  </a:moveTo>
                  <a:cubicBezTo>
                    <a:pt x="3686" y="366"/>
                    <a:pt x="3683" y="370"/>
                    <a:pt x="3685" y="376"/>
                  </a:cubicBezTo>
                  <a:cubicBezTo>
                    <a:pt x="3688" y="382"/>
                    <a:pt x="3695" y="386"/>
                    <a:pt x="3702" y="386"/>
                  </a:cubicBezTo>
                  <a:cubicBezTo>
                    <a:pt x="3708" y="386"/>
                    <a:pt x="3711" y="381"/>
                    <a:pt x="3709" y="376"/>
                  </a:cubicBezTo>
                  <a:cubicBezTo>
                    <a:pt x="3706" y="370"/>
                    <a:pt x="3699" y="366"/>
                    <a:pt x="3693" y="366"/>
                  </a:cubicBezTo>
                  <a:cubicBezTo>
                    <a:pt x="3693" y="366"/>
                    <a:pt x="3693" y="366"/>
                    <a:pt x="3693" y="366"/>
                  </a:cubicBezTo>
                  <a:moveTo>
                    <a:pt x="3726" y="365"/>
                  </a:moveTo>
                  <a:cubicBezTo>
                    <a:pt x="3720" y="365"/>
                    <a:pt x="3716" y="370"/>
                    <a:pt x="3719" y="376"/>
                  </a:cubicBezTo>
                  <a:cubicBezTo>
                    <a:pt x="3721" y="381"/>
                    <a:pt x="3729" y="386"/>
                    <a:pt x="3735" y="386"/>
                  </a:cubicBezTo>
                  <a:cubicBezTo>
                    <a:pt x="3742" y="386"/>
                    <a:pt x="3745" y="381"/>
                    <a:pt x="3743" y="376"/>
                  </a:cubicBezTo>
                  <a:cubicBezTo>
                    <a:pt x="3740" y="370"/>
                    <a:pt x="3733" y="365"/>
                    <a:pt x="3726" y="365"/>
                  </a:cubicBezTo>
                  <a:cubicBezTo>
                    <a:pt x="3726" y="365"/>
                    <a:pt x="3726" y="365"/>
                    <a:pt x="3726" y="365"/>
                  </a:cubicBezTo>
                  <a:moveTo>
                    <a:pt x="3760" y="365"/>
                  </a:moveTo>
                  <a:cubicBezTo>
                    <a:pt x="3754" y="365"/>
                    <a:pt x="3750" y="370"/>
                    <a:pt x="3753" y="375"/>
                  </a:cubicBezTo>
                  <a:cubicBezTo>
                    <a:pt x="3756" y="381"/>
                    <a:pt x="3763" y="386"/>
                    <a:pt x="3770" y="386"/>
                  </a:cubicBezTo>
                  <a:cubicBezTo>
                    <a:pt x="3776" y="386"/>
                    <a:pt x="3779" y="381"/>
                    <a:pt x="3777" y="375"/>
                  </a:cubicBezTo>
                  <a:cubicBezTo>
                    <a:pt x="3774" y="370"/>
                    <a:pt x="3767" y="365"/>
                    <a:pt x="3760" y="365"/>
                  </a:cubicBezTo>
                  <a:cubicBezTo>
                    <a:pt x="3760" y="365"/>
                    <a:pt x="3760" y="365"/>
                    <a:pt x="3760" y="365"/>
                  </a:cubicBezTo>
                  <a:moveTo>
                    <a:pt x="3794" y="365"/>
                  </a:moveTo>
                  <a:cubicBezTo>
                    <a:pt x="3788" y="365"/>
                    <a:pt x="3785" y="370"/>
                    <a:pt x="3787" y="375"/>
                  </a:cubicBezTo>
                  <a:cubicBezTo>
                    <a:pt x="3790" y="381"/>
                    <a:pt x="3798" y="385"/>
                    <a:pt x="3804" y="385"/>
                  </a:cubicBezTo>
                  <a:cubicBezTo>
                    <a:pt x="3811" y="385"/>
                    <a:pt x="3814" y="381"/>
                    <a:pt x="3811" y="375"/>
                  </a:cubicBezTo>
                  <a:cubicBezTo>
                    <a:pt x="3808" y="369"/>
                    <a:pt x="3801" y="365"/>
                    <a:pt x="3794" y="365"/>
                  </a:cubicBezTo>
                  <a:cubicBezTo>
                    <a:pt x="3794" y="365"/>
                    <a:pt x="3794" y="365"/>
                    <a:pt x="3794" y="365"/>
                  </a:cubicBezTo>
                  <a:moveTo>
                    <a:pt x="3828" y="365"/>
                  </a:moveTo>
                  <a:cubicBezTo>
                    <a:pt x="3821" y="365"/>
                    <a:pt x="3818" y="369"/>
                    <a:pt x="3821" y="375"/>
                  </a:cubicBezTo>
                  <a:cubicBezTo>
                    <a:pt x="3824" y="381"/>
                    <a:pt x="3831" y="385"/>
                    <a:pt x="3838" y="385"/>
                  </a:cubicBezTo>
                  <a:cubicBezTo>
                    <a:pt x="3845" y="385"/>
                    <a:pt x="3848" y="380"/>
                    <a:pt x="3845" y="375"/>
                  </a:cubicBezTo>
                  <a:cubicBezTo>
                    <a:pt x="3842" y="369"/>
                    <a:pt x="3834" y="365"/>
                    <a:pt x="3828" y="365"/>
                  </a:cubicBezTo>
                  <a:cubicBezTo>
                    <a:pt x="3828" y="365"/>
                    <a:pt x="3828" y="365"/>
                    <a:pt x="3828" y="365"/>
                  </a:cubicBezTo>
                  <a:moveTo>
                    <a:pt x="3862" y="364"/>
                  </a:moveTo>
                  <a:cubicBezTo>
                    <a:pt x="3855" y="364"/>
                    <a:pt x="3852" y="369"/>
                    <a:pt x="3855" y="375"/>
                  </a:cubicBezTo>
                  <a:cubicBezTo>
                    <a:pt x="3858" y="380"/>
                    <a:pt x="3865" y="385"/>
                    <a:pt x="3872" y="385"/>
                  </a:cubicBezTo>
                  <a:cubicBezTo>
                    <a:pt x="3879" y="385"/>
                    <a:pt x="3882" y="380"/>
                    <a:pt x="3879" y="375"/>
                  </a:cubicBezTo>
                  <a:cubicBezTo>
                    <a:pt x="3876" y="369"/>
                    <a:pt x="3868" y="364"/>
                    <a:pt x="3862" y="364"/>
                  </a:cubicBezTo>
                  <a:cubicBezTo>
                    <a:pt x="3862" y="364"/>
                    <a:pt x="3862" y="364"/>
                    <a:pt x="3862" y="364"/>
                  </a:cubicBezTo>
                  <a:moveTo>
                    <a:pt x="3895" y="364"/>
                  </a:moveTo>
                  <a:cubicBezTo>
                    <a:pt x="3889" y="364"/>
                    <a:pt x="3886" y="369"/>
                    <a:pt x="3889" y="374"/>
                  </a:cubicBezTo>
                  <a:cubicBezTo>
                    <a:pt x="3892" y="380"/>
                    <a:pt x="3899" y="385"/>
                    <a:pt x="3906" y="385"/>
                  </a:cubicBezTo>
                  <a:cubicBezTo>
                    <a:pt x="3912" y="385"/>
                    <a:pt x="3915" y="380"/>
                    <a:pt x="3912" y="374"/>
                  </a:cubicBezTo>
                  <a:cubicBezTo>
                    <a:pt x="3910" y="369"/>
                    <a:pt x="3902" y="364"/>
                    <a:pt x="3895" y="364"/>
                  </a:cubicBezTo>
                  <a:cubicBezTo>
                    <a:pt x="3895" y="364"/>
                    <a:pt x="3895" y="364"/>
                    <a:pt x="3895" y="364"/>
                  </a:cubicBezTo>
                  <a:moveTo>
                    <a:pt x="3995" y="364"/>
                  </a:moveTo>
                  <a:cubicBezTo>
                    <a:pt x="3988" y="364"/>
                    <a:pt x="3986" y="369"/>
                    <a:pt x="3989" y="374"/>
                  </a:cubicBezTo>
                  <a:cubicBezTo>
                    <a:pt x="3992" y="380"/>
                    <a:pt x="4000" y="385"/>
                    <a:pt x="4006" y="385"/>
                  </a:cubicBezTo>
                  <a:cubicBezTo>
                    <a:pt x="4013" y="385"/>
                    <a:pt x="4016" y="380"/>
                    <a:pt x="4013" y="374"/>
                  </a:cubicBezTo>
                  <a:cubicBezTo>
                    <a:pt x="4009" y="369"/>
                    <a:pt x="4002" y="364"/>
                    <a:pt x="3995" y="364"/>
                  </a:cubicBezTo>
                  <a:cubicBezTo>
                    <a:pt x="3995" y="364"/>
                    <a:pt x="3995" y="364"/>
                    <a:pt x="3995" y="364"/>
                  </a:cubicBezTo>
                  <a:moveTo>
                    <a:pt x="3929" y="364"/>
                  </a:moveTo>
                  <a:cubicBezTo>
                    <a:pt x="3923" y="364"/>
                    <a:pt x="3920" y="369"/>
                    <a:pt x="3923" y="374"/>
                  </a:cubicBezTo>
                  <a:cubicBezTo>
                    <a:pt x="3926" y="380"/>
                    <a:pt x="3933" y="384"/>
                    <a:pt x="3940" y="384"/>
                  </a:cubicBezTo>
                  <a:cubicBezTo>
                    <a:pt x="3947" y="384"/>
                    <a:pt x="3949" y="380"/>
                    <a:pt x="3946" y="374"/>
                  </a:cubicBezTo>
                  <a:cubicBezTo>
                    <a:pt x="3943" y="368"/>
                    <a:pt x="3936" y="364"/>
                    <a:pt x="3929" y="364"/>
                  </a:cubicBezTo>
                  <a:cubicBezTo>
                    <a:pt x="3929" y="364"/>
                    <a:pt x="3929" y="364"/>
                    <a:pt x="3929" y="364"/>
                  </a:cubicBezTo>
                  <a:moveTo>
                    <a:pt x="3962" y="364"/>
                  </a:moveTo>
                  <a:cubicBezTo>
                    <a:pt x="3956" y="364"/>
                    <a:pt x="3953" y="368"/>
                    <a:pt x="3956" y="374"/>
                  </a:cubicBezTo>
                  <a:cubicBezTo>
                    <a:pt x="3959" y="380"/>
                    <a:pt x="3967" y="384"/>
                    <a:pt x="3973" y="384"/>
                  </a:cubicBezTo>
                  <a:cubicBezTo>
                    <a:pt x="3980" y="384"/>
                    <a:pt x="3983" y="379"/>
                    <a:pt x="3979" y="374"/>
                  </a:cubicBezTo>
                  <a:cubicBezTo>
                    <a:pt x="3976" y="368"/>
                    <a:pt x="3969" y="364"/>
                    <a:pt x="3962" y="364"/>
                  </a:cubicBezTo>
                  <a:cubicBezTo>
                    <a:pt x="3962" y="364"/>
                    <a:pt x="3962" y="364"/>
                    <a:pt x="3962" y="364"/>
                  </a:cubicBezTo>
                  <a:moveTo>
                    <a:pt x="386" y="360"/>
                  </a:moveTo>
                  <a:cubicBezTo>
                    <a:pt x="380" y="360"/>
                    <a:pt x="371" y="364"/>
                    <a:pt x="366" y="370"/>
                  </a:cubicBezTo>
                  <a:cubicBezTo>
                    <a:pt x="362" y="376"/>
                    <a:pt x="364" y="380"/>
                    <a:pt x="370" y="380"/>
                  </a:cubicBezTo>
                  <a:cubicBezTo>
                    <a:pt x="377" y="380"/>
                    <a:pt x="386" y="375"/>
                    <a:pt x="390" y="370"/>
                  </a:cubicBezTo>
                  <a:cubicBezTo>
                    <a:pt x="394" y="364"/>
                    <a:pt x="393" y="360"/>
                    <a:pt x="386" y="360"/>
                  </a:cubicBezTo>
                  <a:cubicBezTo>
                    <a:pt x="386" y="360"/>
                    <a:pt x="386" y="360"/>
                    <a:pt x="386" y="360"/>
                  </a:cubicBezTo>
                  <a:moveTo>
                    <a:pt x="420" y="360"/>
                  </a:moveTo>
                  <a:cubicBezTo>
                    <a:pt x="413" y="360"/>
                    <a:pt x="404" y="364"/>
                    <a:pt x="400" y="370"/>
                  </a:cubicBezTo>
                  <a:cubicBezTo>
                    <a:pt x="396" y="375"/>
                    <a:pt x="397" y="380"/>
                    <a:pt x="404" y="380"/>
                  </a:cubicBezTo>
                  <a:cubicBezTo>
                    <a:pt x="411" y="380"/>
                    <a:pt x="419" y="375"/>
                    <a:pt x="424" y="370"/>
                  </a:cubicBezTo>
                  <a:cubicBezTo>
                    <a:pt x="428" y="364"/>
                    <a:pt x="426" y="360"/>
                    <a:pt x="420" y="360"/>
                  </a:cubicBezTo>
                  <a:cubicBezTo>
                    <a:pt x="420" y="360"/>
                    <a:pt x="420" y="360"/>
                    <a:pt x="420" y="360"/>
                  </a:cubicBezTo>
                  <a:moveTo>
                    <a:pt x="453" y="359"/>
                  </a:moveTo>
                  <a:cubicBezTo>
                    <a:pt x="447" y="359"/>
                    <a:pt x="438" y="364"/>
                    <a:pt x="434" y="369"/>
                  </a:cubicBezTo>
                  <a:cubicBezTo>
                    <a:pt x="430" y="375"/>
                    <a:pt x="431" y="380"/>
                    <a:pt x="438" y="380"/>
                  </a:cubicBezTo>
                  <a:cubicBezTo>
                    <a:pt x="445" y="379"/>
                    <a:pt x="453" y="375"/>
                    <a:pt x="458" y="369"/>
                  </a:cubicBezTo>
                  <a:cubicBezTo>
                    <a:pt x="462" y="364"/>
                    <a:pt x="460" y="359"/>
                    <a:pt x="454" y="359"/>
                  </a:cubicBezTo>
                  <a:cubicBezTo>
                    <a:pt x="454" y="359"/>
                    <a:pt x="453" y="359"/>
                    <a:pt x="453" y="359"/>
                  </a:cubicBezTo>
                  <a:moveTo>
                    <a:pt x="487" y="359"/>
                  </a:moveTo>
                  <a:cubicBezTo>
                    <a:pt x="480" y="359"/>
                    <a:pt x="472" y="364"/>
                    <a:pt x="468" y="369"/>
                  </a:cubicBezTo>
                  <a:cubicBezTo>
                    <a:pt x="463" y="375"/>
                    <a:pt x="465" y="379"/>
                    <a:pt x="472" y="379"/>
                  </a:cubicBezTo>
                  <a:cubicBezTo>
                    <a:pt x="478" y="379"/>
                    <a:pt x="487" y="375"/>
                    <a:pt x="491" y="369"/>
                  </a:cubicBezTo>
                  <a:cubicBezTo>
                    <a:pt x="495" y="363"/>
                    <a:pt x="494" y="359"/>
                    <a:pt x="487" y="359"/>
                  </a:cubicBezTo>
                  <a:cubicBezTo>
                    <a:pt x="487" y="359"/>
                    <a:pt x="487" y="359"/>
                    <a:pt x="487" y="359"/>
                  </a:cubicBezTo>
                  <a:moveTo>
                    <a:pt x="521" y="359"/>
                  </a:moveTo>
                  <a:cubicBezTo>
                    <a:pt x="514" y="359"/>
                    <a:pt x="506" y="363"/>
                    <a:pt x="501" y="369"/>
                  </a:cubicBezTo>
                  <a:cubicBezTo>
                    <a:pt x="497" y="375"/>
                    <a:pt x="499" y="379"/>
                    <a:pt x="506" y="379"/>
                  </a:cubicBezTo>
                  <a:cubicBezTo>
                    <a:pt x="512" y="379"/>
                    <a:pt x="521" y="374"/>
                    <a:pt x="525" y="369"/>
                  </a:cubicBezTo>
                  <a:cubicBezTo>
                    <a:pt x="529" y="363"/>
                    <a:pt x="527" y="359"/>
                    <a:pt x="521" y="359"/>
                  </a:cubicBezTo>
                  <a:cubicBezTo>
                    <a:pt x="521" y="359"/>
                    <a:pt x="521" y="359"/>
                    <a:pt x="521" y="359"/>
                  </a:cubicBezTo>
                  <a:moveTo>
                    <a:pt x="556" y="358"/>
                  </a:moveTo>
                  <a:cubicBezTo>
                    <a:pt x="549" y="359"/>
                    <a:pt x="541" y="363"/>
                    <a:pt x="536" y="369"/>
                  </a:cubicBezTo>
                  <a:cubicBezTo>
                    <a:pt x="532" y="374"/>
                    <a:pt x="534" y="379"/>
                    <a:pt x="541" y="379"/>
                  </a:cubicBezTo>
                  <a:cubicBezTo>
                    <a:pt x="548" y="379"/>
                    <a:pt x="556" y="374"/>
                    <a:pt x="560" y="369"/>
                  </a:cubicBezTo>
                  <a:cubicBezTo>
                    <a:pt x="564" y="363"/>
                    <a:pt x="562" y="358"/>
                    <a:pt x="556" y="358"/>
                  </a:cubicBezTo>
                  <a:cubicBezTo>
                    <a:pt x="556" y="358"/>
                    <a:pt x="556" y="358"/>
                    <a:pt x="556" y="358"/>
                  </a:cubicBezTo>
                  <a:moveTo>
                    <a:pt x="589" y="358"/>
                  </a:moveTo>
                  <a:cubicBezTo>
                    <a:pt x="583" y="358"/>
                    <a:pt x="574" y="363"/>
                    <a:pt x="570" y="368"/>
                  </a:cubicBezTo>
                  <a:cubicBezTo>
                    <a:pt x="566" y="374"/>
                    <a:pt x="568" y="379"/>
                    <a:pt x="575" y="378"/>
                  </a:cubicBezTo>
                  <a:cubicBezTo>
                    <a:pt x="581" y="378"/>
                    <a:pt x="590" y="374"/>
                    <a:pt x="594" y="368"/>
                  </a:cubicBezTo>
                  <a:cubicBezTo>
                    <a:pt x="598" y="363"/>
                    <a:pt x="596" y="358"/>
                    <a:pt x="589" y="358"/>
                  </a:cubicBezTo>
                  <a:cubicBezTo>
                    <a:pt x="589" y="358"/>
                    <a:pt x="589" y="358"/>
                    <a:pt x="589" y="358"/>
                  </a:cubicBezTo>
                  <a:moveTo>
                    <a:pt x="623" y="358"/>
                  </a:moveTo>
                  <a:cubicBezTo>
                    <a:pt x="616" y="358"/>
                    <a:pt x="608" y="363"/>
                    <a:pt x="604" y="368"/>
                  </a:cubicBezTo>
                  <a:cubicBezTo>
                    <a:pt x="600" y="374"/>
                    <a:pt x="602" y="378"/>
                    <a:pt x="609" y="378"/>
                  </a:cubicBezTo>
                  <a:cubicBezTo>
                    <a:pt x="615" y="378"/>
                    <a:pt x="624" y="374"/>
                    <a:pt x="628" y="368"/>
                  </a:cubicBezTo>
                  <a:cubicBezTo>
                    <a:pt x="632" y="362"/>
                    <a:pt x="629" y="358"/>
                    <a:pt x="623" y="358"/>
                  </a:cubicBezTo>
                  <a:cubicBezTo>
                    <a:pt x="623" y="358"/>
                    <a:pt x="623" y="358"/>
                    <a:pt x="623" y="358"/>
                  </a:cubicBezTo>
                  <a:moveTo>
                    <a:pt x="657" y="358"/>
                  </a:moveTo>
                  <a:cubicBezTo>
                    <a:pt x="651" y="358"/>
                    <a:pt x="642" y="362"/>
                    <a:pt x="638" y="368"/>
                  </a:cubicBezTo>
                  <a:cubicBezTo>
                    <a:pt x="634" y="374"/>
                    <a:pt x="637" y="378"/>
                    <a:pt x="643" y="378"/>
                  </a:cubicBezTo>
                  <a:cubicBezTo>
                    <a:pt x="650" y="378"/>
                    <a:pt x="658" y="373"/>
                    <a:pt x="662" y="368"/>
                  </a:cubicBezTo>
                  <a:cubicBezTo>
                    <a:pt x="666" y="362"/>
                    <a:pt x="664" y="358"/>
                    <a:pt x="657" y="358"/>
                  </a:cubicBezTo>
                  <a:cubicBezTo>
                    <a:pt x="657" y="358"/>
                    <a:pt x="657" y="358"/>
                    <a:pt x="657" y="358"/>
                  </a:cubicBezTo>
                  <a:moveTo>
                    <a:pt x="691" y="357"/>
                  </a:moveTo>
                  <a:cubicBezTo>
                    <a:pt x="684" y="357"/>
                    <a:pt x="676" y="362"/>
                    <a:pt x="672" y="368"/>
                  </a:cubicBezTo>
                  <a:cubicBezTo>
                    <a:pt x="668" y="373"/>
                    <a:pt x="670" y="378"/>
                    <a:pt x="677" y="378"/>
                  </a:cubicBezTo>
                  <a:cubicBezTo>
                    <a:pt x="683" y="378"/>
                    <a:pt x="692" y="373"/>
                    <a:pt x="696" y="367"/>
                  </a:cubicBezTo>
                  <a:cubicBezTo>
                    <a:pt x="699" y="362"/>
                    <a:pt x="697" y="357"/>
                    <a:pt x="691" y="357"/>
                  </a:cubicBezTo>
                  <a:cubicBezTo>
                    <a:pt x="691" y="357"/>
                    <a:pt x="691" y="357"/>
                    <a:pt x="691" y="357"/>
                  </a:cubicBezTo>
                  <a:moveTo>
                    <a:pt x="724" y="357"/>
                  </a:moveTo>
                  <a:cubicBezTo>
                    <a:pt x="718" y="357"/>
                    <a:pt x="709" y="362"/>
                    <a:pt x="706" y="367"/>
                  </a:cubicBezTo>
                  <a:cubicBezTo>
                    <a:pt x="702" y="373"/>
                    <a:pt x="704" y="378"/>
                    <a:pt x="711" y="377"/>
                  </a:cubicBezTo>
                  <a:cubicBezTo>
                    <a:pt x="717" y="377"/>
                    <a:pt x="726" y="373"/>
                    <a:pt x="729" y="367"/>
                  </a:cubicBezTo>
                  <a:cubicBezTo>
                    <a:pt x="733" y="362"/>
                    <a:pt x="731" y="357"/>
                    <a:pt x="724" y="357"/>
                  </a:cubicBezTo>
                  <a:cubicBezTo>
                    <a:pt x="724" y="357"/>
                    <a:pt x="724" y="357"/>
                    <a:pt x="724" y="357"/>
                  </a:cubicBezTo>
                  <a:moveTo>
                    <a:pt x="758" y="357"/>
                  </a:moveTo>
                  <a:cubicBezTo>
                    <a:pt x="751" y="357"/>
                    <a:pt x="743" y="362"/>
                    <a:pt x="739" y="367"/>
                  </a:cubicBezTo>
                  <a:cubicBezTo>
                    <a:pt x="736" y="373"/>
                    <a:pt x="738" y="377"/>
                    <a:pt x="745" y="377"/>
                  </a:cubicBezTo>
                  <a:cubicBezTo>
                    <a:pt x="751" y="377"/>
                    <a:pt x="759" y="373"/>
                    <a:pt x="763" y="367"/>
                  </a:cubicBezTo>
                  <a:cubicBezTo>
                    <a:pt x="767" y="361"/>
                    <a:pt x="764" y="357"/>
                    <a:pt x="758" y="357"/>
                  </a:cubicBezTo>
                  <a:cubicBezTo>
                    <a:pt x="758" y="357"/>
                    <a:pt x="758" y="357"/>
                    <a:pt x="758" y="357"/>
                  </a:cubicBezTo>
                  <a:moveTo>
                    <a:pt x="792" y="357"/>
                  </a:moveTo>
                  <a:cubicBezTo>
                    <a:pt x="785" y="357"/>
                    <a:pt x="777" y="361"/>
                    <a:pt x="773" y="367"/>
                  </a:cubicBezTo>
                  <a:cubicBezTo>
                    <a:pt x="770" y="372"/>
                    <a:pt x="772" y="377"/>
                    <a:pt x="779" y="377"/>
                  </a:cubicBezTo>
                  <a:cubicBezTo>
                    <a:pt x="785" y="377"/>
                    <a:pt x="793" y="372"/>
                    <a:pt x="797" y="367"/>
                  </a:cubicBezTo>
                  <a:cubicBezTo>
                    <a:pt x="800" y="361"/>
                    <a:pt x="798" y="357"/>
                    <a:pt x="792" y="357"/>
                  </a:cubicBezTo>
                  <a:cubicBezTo>
                    <a:pt x="792" y="357"/>
                    <a:pt x="792" y="357"/>
                    <a:pt x="792" y="357"/>
                  </a:cubicBezTo>
                  <a:moveTo>
                    <a:pt x="826" y="356"/>
                  </a:moveTo>
                  <a:cubicBezTo>
                    <a:pt x="819" y="356"/>
                    <a:pt x="811" y="361"/>
                    <a:pt x="807" y="367"/>
                  </a:cubicBezTo>
                  <a:cubicBezTo>
                    <a:pt x="804" y="372"/>
                    <a:pt x="806" y="377"/>
                    <a:pt x="813" y="377"/>
                  </a:cubicBezTo>
                  <a:cubicBezTo>
                    <a:pt x="820" y="377"/>
                    <a:pt x="828" y="372"/>
                    <a:pt x="831" y="366"/>
                  </a:cubicBezTo>
                  <a:cubicBezTo>
                    <a:pt x="835" y="361"/>
                    <a:pt x="832" y="356"/>
                    <a:pt x="826" y="356"/>
                  </a:cubicBezTo>
                  <a:cubicBezTo>
                    <a:pt x="826" y="356"/>
                    <a:pt x="826" y="356"/>
                    <a:pt x="826" y="356"/>
                  </a:cubicBezTo>
                  <a:moveTo>
                    <a:pt x="859" y="356"/>
                  </a:moveTo>
                  <a:cubicBezTo>
                    <a:pt x="853" y="356"/>
                    <a:pt x="845" y="361"/>
                    <a:pt x="841" y="366"/>
                  </a:cubicBezTo>
                  <a:cubicBezTo>
                    <a:pt x="838" y="372"/>
                    <a:pt x="840" y="376"/>
                    <a:pt x="847" y="376"/>
                  </a:cubicBezTo>
                  <a:cubicBezTo>
                    <a:pt x="853" y="376"/>
                    <a:pt x="861" y="372"/>
                    <a:pt x="865" y="366"/>
                  </a:cubicBezTo>
                  <a:cubicBezTo>
                    <a:pt x="868" y="361"/>
                    <a:pt x="866" y="356"/>
                    <a:pt x="859" y="356"/>
                  </a:cubicBezTo>
                  <a:cubicBezTo>
                    <a:pt x="859" y="356"/>
                    <a:pt x="859" y="356"/>
                    <a:pt x="859" y="356"/>
                  </a:cubicBezTo>
                  <a:moveTo>
                    <a:pt x="891" y="356"/>
                  </a:moveTo>
                  <a:cubicBezTo>
                    <a:pt x="885" y="356"/>
                    <a:pt x="877" y="361"/>
                    <a:pt x="873" y="366"/>
                  </a:cubicBezTo>
                  <a:cubicBezTo>
                    <a:pt x="870" y="372"/>
                    <a:pt x="872" y="376"/>
                    <a:pt x="879" y="376"/>
                  </a:cubicBezTo>
                  <a:cubicBezTo>
                    <a:pt x="885" y="376"/>
                    <a:pt x="893" y="372"/>
                    <a:pt x="897" y="366"/>
                  </a:cubicBezTo>
                  <a:cubicBezTo>
                    <a:pt x="900" y="360"/>
                    <a:pt x="898" y="356"/>
                    <a:pt x="891" y="356"/>
                  </a:cubicBezTo>
                  <a:cubicBezTo>
                    <a:pt x="891" y="356"/>
                    <a:pt x="891" y="356"/>
                    <a:pt x="891" y="356"/>
                  </a:cubicBezTo>
                  <a:moveTo>
                    <a:pt x="925" y="356"/>
                  </a:moveTo>
                  <a:cubicBezTo>
                    <a:pt x="919" y="356"/>
                    <a:pt x="911" y="360"/>
                    <a:pt x="907" y="366"/>
                  </a:cubicBezTo>
                  <a:cubicBezTo>
                    <a:pt x="904" y="371"/>
                    <a:pt x="907" y="376"/>
                    <a:pt x="913" y="376"/>
                  </a:cubicBezTo>
                  <a:cubicBezTo>
                    <a:pt x="920" y="376"/>
                    <a:pt x="928" y="371"/>
                    <a:pt x="931" y="366"/>
                  </a:cubicBezTo>
                  <a:cubicBezTo>
                    <a:pt x="934" y="360"/>
                    <a:pt x="932" y="356"/>
                    <a:pt x="925" y="356"/>
                  </a:cubicBezTo>
                  <a:cubicBezTo>
                    <a:pt x="925" y="356"/>
                    <a:pt x="925" y="356"/>
                    <a:pt x="925" y="356"/>
                  </a:cubicBezTo>
                  <a:moveTo>
                    <a:pt x="959" y="355"/>
                  </a:moveTo>
                  <a:cubicBezTo>
                    <a:pt x="952" y="355"/>
                    <a:pt x="944" y="360"/>
                    <a:pt x="941" y="366"/>
                  </a:cubicBezTo>
                  <a:cubicBezTo>
                    <a:pt x="938" y="371"/>
                    <a:pt x="940" y="376"/>
                    <a:pt x="947" y="376"/>
                  </a:cubicBezTo>
                  <a:cubicBezTo>
                    <a:pt x="954" y="376"/>
                    <a:pt x="961" y="371"/>
                    <a:pt x="965" y="365"/>
                  </a:cubicBezTo>
                  <a:cubicBezTo>
                    <a:pt x="968" y="360"/>
                    <a:pt x="965" y="355"/>
                    <a:pt x="959" y="355"/>
                  </a:cubicBezTo>
                  <a:cubicBezTo>
                    <a:pt x="959" y="355"/>
                    <a:pt x="959" y="355"/>
                    <a:pt x="959" y="355"/>
                  </a:cubicBezTo>
                  <a:moveTo>
                    <a:pt x="1060" y="355"/>
                  </a:moveTo>
                  <a:cubicBezTo>
                    <a:pt x="1053" y="355"/>
                    <a:pt x="1045" y="359"/>
                    <a:pt x="1042" y="365"/>
                  </a:cubicBezTo>
                  <a:cubicBezTo>
                    <a:pt x="1039" y="370"/>
                    <a:pt x="1042" y="375"/>
                    <a:pt x="1049" y="375"/>
                  </a:cubicBezTo>
                  <a:cubicBezTo>
                    <a:pt x="1055" y="375"/>
                    <a:pt x="1063" y="370"/>
                    <a:pt x="1066" y="365"/>
                  </a:cubicBezTo>
                  <a:cubicBezTo>
                    <a:pt x="1069" y="359"/>
                    <a:pt x="1066" y="355"/>
                    <a:pt x="1060" y="355"/>
                  </a:cubicBezTo>
                  <a:cubicBezTo>
                    <a:pt x="1060" y="355"/>
                    <a:pt x="1060" y="355"/>
                    <a:pt x="1060" y="355"/>
                  </a:cubicBezTo>
                  <a:moveTo>
                    <a:pt x="1094" y="354"/>
                  </a:moveTo>
                  <a:cubicBezTo>
                    <a:pt x="1087" y="354"/>
                    <a:pt x="1079" y="359"/>
                    <a:pt x="1076" y="365"/>
                  </a:cubicBezTo>
                  <a:cubicBezTo>
                    <a:pt x="1073" y="370"/>
                    <a:pt x="1076" y="375"/>
                    <a:pt x="1083" y="375"/>
                  </a:cubicBezTo>
                  <a:cubicBezTo>
                    <a:pt x="1090" y="375"/>
                    <a:pt x="1097" y="370"/>
                    <a:pt x="1100" y="364"/>
                  </a:cubicBezTo>
                  <a:cubicBezTo>
                    <a:pt x="1103" y="359"/>
                    <a:pt x="1100" y="354"/>
                    <a:pt x="1094" y="354"/>
                  </a:cubicBezTo>
                  <a:cubicBezTo>
                    <a:pt x="1094" y="354"/>
                    <a:pt x="1094" y="354"/>
                    <a:pt x="1094" y="354"/>
                  </a:cubicBezTo>
                  <a:moveTo>
                    <a:pt x="1127" y="354"/>
                  </a:moveTo>
                  <a:cubicBezTo>
                    <a:pt x="1121" y="354"/>
                    <a:pt x="1113" y="359"/>
                    <a:pt x="1110" y="364"/>
                  </a:cubicBezTo>
                  <a:cubicBezTo>
                    <a:pt x="1107" y="370"/>
                    <a:pt x="1110" y="374"/>
                    <a:pt x="1117" y="374"/>
                  </a:cubicBezTo>
                  <a:cubicBezTo>
                    <a:pt x="1123" y="374"/>
                    <a:pt x="1131" y="370"/>
                    <a:pt x="1134" y="364"/>
                  </a:cubicBezTo>
                  <a:cubicBezTo>
                    <a:pt x="1137" y="359"/>
                    <a:pt x="1134" y="354"/>
                    <a:pt x="1127" y="354"/>
                  </a:cubicBezTo>
                  <a:cubicBezTo>
                    <a:pt x="1127" y="354"/>
                    <a:pt x="1127" y="354"/>
                    <a:pt x="1127" y="354"/>
                  </a:cubicBezTo>
                  <a:moveTo>
                    <a:pt x="1160" y="354"/>
                  </a:moveTo>
                  <a:cubicBezTo>
                    <a:pt x="1154" y="354"/>
                    <a:pt x="1146" y="358"/>
                    <a:pt x="1143" y="364"/>
                  </a:cubicBezTo>
                  <a:cubicBezTo>
                    <a:pt x="1140" y="370"/>
                    <a:pt x="1143" y="374"/>
                    <a:pt x="1150" y="374"/>
                  </a:cubicBezTo>
                  <a:cubicBezTo>
                    <a:pt x="1157" y="374"/>
                    <a:pt x="1164" y="370"/>
                    <a:pt x="1167" y="364"/>
                  </a:cubicBezTo>
                  <a:cubicBezTo>
                    <a:pt x="1170" y="358"/>
                    <a:pt x="1167" y="354"/>
                    <a:pt x="1160" y="354"/>
                  </a:cubicBezTo>
                  <a:cubicBezTo>
                    <a:pt x="1160" y="354"/>
                    <a:pt x="1160" y="354"/>
                    <a:pt x="1160" y="354"/>
                  </a:cubicBezTo>
                  <a:moveTo>
                    <a:pt x="1194" y="354"/>
                  </a:moveTo>
                  <a:cubicBezTo>
                    <a:pt x="1188" y="354"/>
                    <a:pt x="1180" y="358"/>
                    <a:pt x="1177" y="364"/>
                  </a:cubicBezTo>
                  <a:cubicBezTo>
                    <a:pt x="1175" y="369"/>
                    <a:pt x="1178" y="374"/>
                    <a:pt x="1184" y="374"/>
                  </a:cubicBezTo>
                  <a:cubicBezTo>
                    <a:pt x="1191" y="374"/>
                    <a:pt x="1198" y="369"/>
                    <a:pt x="1201" y="364"/>
                  </a:cubicBezTo>
                  <a:cubicBezTo>
                    <a:pt x="1204" y="358"/>
                    <a:pt x="1201" y="354"/>
                    <a:pt x="1194" y="354"/>
                  </a:cubicBezTo>
                  <a:cubicBezTo>
                    <a:pt x="1194" y="354"/>
                    <a:pt x="1194" y="354"/>
                    <a:pt x="1194" y="354"/>
                  </a:cubicBezTo>
                  <a:moveTo>
                    <a:pt x="1228" y="353"/>
                  </a:moveTo>
                  <a:cubicBezTo>
                    <a:pt x="1221" y="353"/>
                    <a:pt x="1214" y="358"/>
                    <a:pt x="1211" y="364"/>
                  </a:cubicBezTo>
                  <a:cubicBezTo>
                    <a:pt x="1208" y="369"/>
                    <a:pt x="1211" y="374"/>
                    <a:pt x="1218" y="374"/>
                  </a:cubicBezTo>
                  <a:cubicBezTo>
                    <a:pt x="1225" y="374"/>
                    <a:pt x="1232" y="369"/>
                    <a:pt x="1235" y="363"/>
                  </a:cubicBezTo>
                  <a:cubicBezTo>
                    <a:pt x="1237" y="358"/>
                    <a:pt x="1234" y="353"/>
                    <a:pt x="1228" y="353"/>
                  </a:cubicBezTo>
                  <a:cubicBezTo>
                    <a:pt x="1228" y="353"/>
                    <a:pt x="1228" y="353"/>
                    <a:pt x="1228" y="353"/>
                  </a:cubicBezTo>
                  <a:moveTo>
                    <a:pt x="1262" y="353"/>
                  </a:moveTo>
                  <a:cubicBezTo>
                    <a:pt x="1256" y="353"/>
                    <a:pt x="1248" y="358"/>
                    <a:pt x="1246" y="363"/>
                  </a:cubicBezTo>
                  <a:cubicBezTo>
                    <a:pt x="1243" y="369"/>
                    <a:pt x="1246" y="373"/>
                    <a:pt x="1253" y="373"/>
                  </a:cubicBezTo>
                  <a:cubicBezTo>
                    <a:pt x="1259" y="373"/>
                    <a:pt x="1267" y="369"/>
                    <a:pt x="1269" y="363"/>
                  </a:cubicBezTo>
                  <a:cubicBezTo>
                    <a:pt x="1272" y="358"/>
                    <a:pt x="1269" y="353"/>
                    <a:pt x="1262" y="353"/>
                  </a:cubicBezTo>
                  <a:cubicBezTo>
                    <a:pt x="1262" y="353"/>
                    <a:pt x="1262" y="353"/>
                    <a:pt x="1262" y="353"/>
                  </a:cubicBezTo>
                  <a:moveTo>
                    <a:pt x="1296" y="353"/>
                  </a:moveTo>
                  <a:cubicBezTo>
                    <a:pt x="1290" y="353"/>
                    <a:pt x="1282" y="357"/>
                    <a:pt x="1280" y="363"/>
                  </a:cubicBezTo>
                  <a:cubicBezTo>
                    <a:pt x="1277" y="369"/>
                    <a:pt x="1281" y="373"/>
                    <a:pt x="1287" y="373"/>
                  </a:cubicBezTo>
                  <a:cubicBezTo>
                    <a:pt x="1294" y="373"/>
                    <a:pt x="1301" y="368"/>
                    <a:pt x="1303" y="363"/>
                  </a:cubicBezTo>
                  <a:cubicBezTo>
                    <a:pt x="1306" y="357"/>
                    <a:pt x="1303" y="353"/>
                    <a:pt x="1296" y="353"/>
                  </a:cubicBezTo>
                  <a:cubicBezTo>
                    <a:pt x="1296" y="353"/>
                    <a:pt x="1296" y="353"/>
                    <a:pt x="1296" y="353"/>
                  </a:cubicBezTo>
                  <a:moveTo>
                    <a:pt x="1330" y="353"/>
                  </a:moveTo>
                  <a:cubicBezTo>
                    <a:pt x="1323" y="353"/>
                    <a:pt x="1316" y="357"/>
                    <a:pt x="1313" y="363"/>
                  </a:cubicBezTo>
                  <a:cubicBezTo>
                    <a:pt x="1311" y="368"/>
                    <a:pt x="1314" y="373"/>
                    <a:pt x="1321" y="373"/>
                  </a:cubicBezTo>
                  <a:cubicBezTo>
                    <a:pt x="1327" y="373"/>
                    <a:pt x="1335" y="368"/>
                    <a:pt x="1337" y="363"/>
                  </a:cubicBezTo>
                  <a:cubicBezTo>
                    <a:pt x="1339" y="357"/>
                    <a:pt x="1336" y="353"/>
                    <a:pt x="1330" y="353"/>
                  </a:cubicBezTo>
                  <a:cubicBezTo>
                    <a:pt x="1330" y="353"/>
                    <a:pt x="1330" y="353"/>
                    <a:pt x="1330" y="353"/>
                  </a:cubicBezTo>
                  <a:moveTo>
                    <a:pt x="1967" y="350"/>
                  </a:moveTo>
                  <a:cubicBezTo>
                    <a:pt x="1961" y="350"/>
                    <a:pt x="1954" y="354"/>
                    <a:pt x="1953" y="360"/>
                  </a:cubicBezTo>
                  <a:cubicBezTo>
                    <a:pt x="1952" y="366"/>
                    <a:pt x="1957" y="370"/>
                    <a:pt x="1963" y="370"/>
                  </a:cubicBezTo>
                  <a:cubicBezTo>
                    <a:pt x="1970" y="370"/>
                    <a:pt x="1976" y="365"/>
                    <a:pt x="1977" y="360"/>
                  </a:cubicBezTo>
                  <a:cubicBezTo>
                    <a:pt x="1978" y="354"/>
                    <a:pt x="1974" y="350"/>
                    <a:pt x="1967" y="350"/>
                  </a:cubicBezTo>
                  <a:cubicBezTo>
                    <a:pt x="1967" y="350"/>
                    <a:pt x="1967" y="350"/>
                    <a:pt x="1967" y="350"/>
                  </a:cubicBezTo>
                  <a:moveTo>
                    <a:pt x="2001" y="349"/>
                  </a:moveTo>
                  <a:cubicBezTo>
                    <a:pt x="1995" y="349"/>
                    <a:pt x="1988" y="354"/>
                    <a:pt x="1987" y="360"/>
                  </a:cubicBezTo>
                  <a:cubicBezTo>
                    <a:pt x="1986" y="365"/>
                    <a:pt x="1991" y="370"/>
                    <a:pt x="1997" y="370"/>
                  </a:cubicBezTo>
                  <a:cubicBezTo>
                    <a:pt x="2004" y="370"/>
                    <a:pt x="2010" y="365"/>
                    <a:pt x="2011" y="360"/>
                  </a:cubicBezTo>
                  <a:cubicBezTo>
                    <a:pt x="2012" y="354"/>
                    <a:pt x="2008" y="349"/>
                    <a:pt x="2001" y="349"/>
                  </a:cubicBezTo>
                  <a:cubicBezTo>
                    <a:pt x="2001" y="349"/>
                    <a:pt x="2001" y="349"/>
                    <a:pt x="2001" y="349"/>
                  </a:cubicBezTo>
                  <a:moveTo>
                    <a:pt x="2067" y="349"/>
                  </a:moveTo>
                  <a:cubicBezTo>
                    <a:pt x="2061" y="349"/>
                    <a:pt x="2055" y="354"/>
                    <a:pt x="2054" y="359"/>
                  </a:cubicBezTo>
                  <a:cubicBezTo>
                    <a:pt x="2053" y="365"/>
                    <a:pt x="2058" y="369"/>
                    <a:pt x="2064" y="369"/>
                  </a:cubicBezTo>
                  <a:cubicBezTo>
                    <a:pt x="2071" y="369"/>
                    <a:pt x="2077" y="365"/>
                    <a:pt x="2078" y="359"/>
                  </a:cubicBezTo>
                  <a:cubicBezTo>
                    <a:pt x="2078" y="353"/>
                    <a:pt x="2074" y="349"/>
                    <a:pt x="2068" y="349"/>
                  </a:cubicBezTo>
                  <a:cubicBezTo>
                    <a:pt x="2067" y="349"/>
                    <a:pt x="2067" y="349"/>
                    <a:pt x="2067" y="349"/>
                  </a:cubicBezTo>
                  <a:moveTo>
                    <a:pt x="2203" y="346"/>
                  </a:moveTo>
                  <a:cubicBezTo>
                    <a:pt x="2197" y="346"/>
                    <a:pt x="2191" y="351"/>
                    <a:pt x="2190" y="356"/>
                  </a:cubicBezTo>
                  <a:cubicBezTo>
                    <a:pt x="2190" y="362"/>
                    <a:pt x="2195" y="366"/>
                    <a:pt x="2201" y="366"/>
                  </a:cubicBezTo>
                  <a:cubicBezTo>
                    <a:pt x="2208" y="366"/>
                    <a:pt x="2213" y="362"/>
                    <a:pt x="2214" y="356"/>
                  </a:cubicBezTo>
                  <a:cubicBezTo>
                    <a:pt x="2215" y="350"/>
                    <a:pt x="2210" y="346"/>
                    <a:pt x="2203" y="346"/>
                  </a:cubicBezTo>
                  <a:cubicBezTo>
                    <a:pt x="2203" y="346"/>
                    <a:pt x="2203" y="346"/>
                    <a:pt x="2203" y="346"/>
                  </a:cubicBezTo>
                  <a:moveTo>
                    <a:pt x="2238" y="346"/>
                  </a:moveTo>
                  <a:cubicBezTo>
                    <a:pt x="2231" y="346"/>
                    <a:pt x="2226" y="350"/>
                    <a:pt x="2225" y="356"/>
                  </a:cubicBezTo>
                  <a:cubicBezTo>
                    <a:pt x="2224" y="362"/>
                    <a:pt x="2229" y="366"/>
                    <a:pt x="2236" y="366"/>
                  </a:cubicBezTo>
                  <a:cubicBezTo>
                    <a:pt x="2242" y="366"/>
                    <a:pt x="2248" y="361"/>
                    <a:pt x="2249" y="356"/>
                  </a:cubicBezTo>
                  <a:cubicBezTo>
                    <a:pt x="2249" y="350"/>
                    <a:pt x="2244" y="346"/>
                    <a:pt x="2238" y="346"/>
                  </a:cubicBezTo>
                  <a:cubicBezTo>
                    <a:pt x="2238" y="346"/>
                    <a:pt x="2238" y="346"/>
                    <a:pt x="2238" y="346"/>
                  </a:cubicBezTo>
                  <a:moveTo>
                    <a:pt x="2271" y="345"/>
                  </a:moveTo>
                  <a:cubicBezTo>
                    <a:pt x="2265" y="345"/>
                    <a:pt x="2259" y="350"/>
                    <a:pt x="2258" y="356"/>
                  </a:cubicBezTo>
                  <a:cubicBezTo>
                    <a:pt x="2258" y="361"/>
                    <a:pt x="2263" y="366"/>
                    <a:pt x="2269" y="366"/>
                  </a:cubicBezTo>
                  <a:cubicBezTo>
                    <a:pt x="2276" y="366"/>
                    <a:pt x="2282" y="361"/>
                    <a:pt x="2282" y="356"/>
                  </a:cubicBezTo>
                  <a:cubicBezTo>
                    <a:pt x="2282" y="350"/>
                    <a:pt x="2278" y="345"/>
                    <a:pt x="2271" y="345"/>
                  </a:cubicBezTo>
                  <a:cubicBezTo>
                    <a:pt x="2271" y="345"/>
                    <a:pt x="2271" y="345"/>
                    <a:pt x="2271" y="345"/>
                  </a:cubicBezTo>
                  <a:moveTo>
                    <a:pt x="2573" y="345"/>
                  </a:moveTo>
                  <a:cubicBezTo>
                    <a:pt x="2567" y="345"/>
                    <a:pt x="2561" y="350"/>
                    <a:pt x="2561" y="356"/>
                  </a:cubicBezTo>
                  <a:cubicBezTo>
                    <a:pt x="2562" y="361"/>
                    <a:pt x="2567" y="366"/>
                    <a:pt x="2574" y="366"/>
                  </a:cubicBezTo>
                  <a:cubicBezTo>
                    <a:pt x="2580" y="366"/>
                    <a:pt x="2585" y="361"/>
                    <a:pt x="2585" y="355"/>
                  </a:cubicBezTo>
                  <a:cubicBezTo>
                    <a:pt x="2585" y="350"/>
                    <a:pt x="2580" y="345"/>
                    <a:pt x="2573" y="345"/>
                  </a:cubicBezTo>
                  <a:cubicBezTo>
                    <a:pt x="2573" y="345"/>
                    <a:pt x="2573" y="345"/>
                    <a:pt x="2573" y="345"/>
                  </a:cubicBezTo>
                  <a:moveTo>
                    <a:pt x="2304" y="345"/>
                  </a:moveTo>
                  <a:cubicBezTo>
                    <a:pt x="2298" y="345"/>
                    <a:pt x="2292" y="350"/>
                    <a:pt x="2292" y="355"/>
                  </a:cubicBezTo>
                  <a:cubicBezTo>
                    <a:pt x="2291" y="361"/>
                    <a:pt x="2296" y="366"/>
                    <a:pt x="2303" y="366"/>
                  </a:cubicBezTo>
                  <a:cubicBezTo>
                    <a:pt x="2309" y="366"/>
                    <a:pt x="2315" y="361"/>
                    <a:pt x="2315" y="355"/>
                  </a:cubicBezTo>
                  <a:cubicBezTo>
                    <a:pt x="2316" y="350"/>
                    <a:pt x="2311" y="345"/>
                    <a:pt x="2304" y="345"/>
                  </a:cubicBezTo>
                  <a:cubicBezTo>
                    <a:pt x="2304" y="345"/>
                    <a:pt x="2304" y="345"/>
                    <a:pt x="2304" y="345"/>
                  </a:cubicBezTo>
                  <a:moveTo>
                    <a:pt x="2338" y="345"/>
                  </a:moveTo>
                  <a:cubicBezTo>
                    <a:pt x="2331" y="345"/>
                    <a:pt x="2326" y="350"/>
                    <a:pt x="2325" y="355"/>
                  </a:cubicBezTo>
                  <a:cubicBezTo>
                    <a:pt x="2325" y="361"/>
                    <a:pt x="2330" y="365"/>
                    <a:pt x="2336" y="365"/>
                  </a:cubicBezTo>
                  <a:cubicBezTo>
                    <a:pt x="2343" y="365"/>
                    <a:pt x="2348" y="361"/>
                    <a:pt x="2349" y="355"/>
                  </a:cubicBezTo>
                  <a:cubicBezTo>
                    <a:pt x="2349" y="349"/>
                    <a:pt x="2344" y="345"/>
                    <a:pt x="2338" y="345"/>
                  </a:cubicBezTo>
                  <a:cubicBezTo>
                    <a:pt x="2338" y="345"/>
                    <a:pt x="2338" y="345"/>
                    <a:pt x="2338" y="345"/>
                  </a:cubicBezTo>
                  <a:moveTo>
                    <a:pt x="2371" y="345"/>
                  </a:moveTo>
                  <a:cubicBezTo>
                    <a:pt x="2365" y="345"/>
                    <a:pt x="2359" y="349"/>
                    <a:pt x="2359" y="355"/>
                  </a:cubicBezTo>
                  <a:cubicBezTo>
                    <a:pt x="2359" y="361"/>
                    <a:pt x="2364" y="365"/>
                    <a:pt x="2370" y="365"/>
                  </a:cubicBezTo>
                  <a:cubicBezTo>
                    <a:pt x="2377" y="365"/>
                    <a:pt x="2382" y="360"/>
                    <a:pt x="2383" y="355"/>
                  </a:cubicBezTo>
                  <a:cubicBezTo>
                    <a:pt x="2383" y="349"/>
                    <a:pt x="2378" y="345"/>
                    <a:pt x="2371" y="345"/>
                  </a:cubicBezTo>
                  <a:cubicBezTo>
                    <a:pt x="2371" y="345"/>
                    <a:pt x="2371" y="345"/>
                    <a:pt x="2371" y="345"/>
                  </a:cubicBezTo>
                  <a:moveTo>
                    <a:pt x="2405" y="344"/>
                  </a:moveTo>
                  <a:cubicBezTo>
                    <a:pt x="2399" y="344"/>
                    <a:pt x="2393" y="349"/>
                    <a:pt x="2393" y="355"/>
                  </a:cubicBezTo>
                  <a:cubicBezTo>
                    <a:pt x="2393" y="360"/>
                    <a:pt x="2398" y="365"/>
                    <a:pt x="2404" y="365"/>
                  </a:cubicBezTo>
                  <a:cubicBezTo>
                    <a:pt x="2411" y="365"/>
                    <a:pt x="2416" y="360"/>
                    <a:pt x="2417" y="355"/>
                  </a:cubicBezTo>
                  <a:cubicBezTo>
                    <a:pt x="2417" y="349"/>
                    <a:pt x="2412" y="344"/>
                    <a:pt x="2405" y="344"/>
                  </a:cubicBezTo>
                  <a:cubicBezTo>
                    <a:pt x="2405" y="344"/>
                    <a:pt x="2405" y="344"/>
                    <a:pt x="2405" y="344"/>
                  </a:cubicBezTo>
                  <a:moveTo>
                    <a:pt x="2607" y="344"/>
                  </a:moveTo>
                  <a:cubicBezTo>
                    <a:pt x="2601" y="344"/>
                    <a:pt x="2596" y="349"/>
                    <a:pt x="2596" y="355"/>
                  </a:cubicBezTo>
                  <a:cubicBezTo>
                    <a:pt x="2596" y="360"/>
                    <a:pt x="2602" y="365"/>
                    <a:pt x="2608" y="365"/>
                  </a:cubicBezTo>
                  <a:cubicBezTo>
                    <a:pt x="2615" y="365"/>
                    <a:pt x="2620" y="360"/>
                    <a:pt x="2620" y="354"/>
                  </a:cubicBezTo>
                  <a:cubicBezTo>
                    <a:pt x="2619" y="349"/>
                    <a:pt x="2614" y="344"/>
                    <a:pt x="2607" y="344"/>
                  </a:cubicBezTo>
                  <a:cubicBezTo>
                    <a:pt x="2607" y="344"/>
                    <a:pt x="2607" y="344"/>
                    <a:pt x="2607" y="344"/>
                  </a:cubicBezTo>
                  <a:moveTo>
                    <a:pt x="2439" y="344"/>
                  </a:moveTo>
                  <a:cubicBezTo>
                    <a:pt x="2432" y="344"/>
                    <a:pt x="2427" y="349"/>
                    <a:pt x="2427" y="354"/>
                  </a:cubicBezTo>
                  <a:cubicBezTo>
                    <a:pt x="2426" y="360"/>
                    <a:pt x="2432" y="365"/>
                    <a:pt x="2438" y="365"/>
                  </a:cubicBezTo>
                  <a:cubicBezTo>
                    <a:pt x="2445" y="365"/>
                    <a:pt x="2450" y="360"/>
                    <a:pt x="2450" y="354"/>
                  </a:cubicBezTo>
                  <a:cubicBezTo>
                    <a:pt x="2450" y="349"/>
                    <a:pt x="2445" y="344"/>
                    <a:pt x="2439" y="344"/>
                  </a:cubicBezTo>
                  <a:cubicBezTo>
                    <a:pt x="2439" y="344"/>
                    <a:pt x="2439" y="344"/>
                    <a:pt x="2439" y="344"/>
                  </a:cubicBezTo>
                  <a:moveTo>
                    <a:pt x="2641" y="344"/>
                  </a:moveTo>
                  <a:cubicBezTo>
                    <a:pt x="2634" y="344"/>
                    <a:pt x="2629" y="349"/>
                    <a:pt x="2629" y="354"/>
                  </a:cubicBezTo>
                  <a:cubicBezTo>
                    <a:pt x="2630" y="360"/>
                    <a:pt x="2635" y="364"/>
                    <a:pt x="2642" y="364"/>
                  </a:cubicBezTo>
                  <a:cubicBezTo>
                    <a:pt x="2648" y="364"/>
                    <a:pt x="2653" y="360"/>
                    <a:pt x="2653" y="354"/>
                  </a:cubicBezTo>
                  <a:cubicBezTo>
                    <a:pt x="2653" y="348"/>
                    <a:pt x="2647" y="344"/>
                    <a:pt x="2641" y="344"/>
                  </a:cubicBezTo>
                  <a:cubicBezTo>
                    <a:pt x="2641" y="344"/>
                    <a:pt x="2641" y="344"/>
                    <a:pt x="2641" y="344"/>
                  </a:cubicBezTo>
                  <a:moveTo>
                    <a:pt x="2472" y="344"/>
                  </a:moveTo>
                  <a:cubicBezTo>
                    <a:pt x="2466" y="344"/>
                    <a:pt x="2460" y="349"/>
                    <a:pt x="2460" y="354"/>
                  </a:cubicBezTo>
                  <a:cubicBezTo>
                    <a:pt x="2460" y="360"/>
                    <a:pt x="2465" y="364"/>
                    <a:pt x="2472" y="364"/>
                  </a:cubicBezTo>
                  <a:cubicBezTo>
                    <a:pt x="2478" y="364"/>
                    <a:pt x="2484" y="360"/>
                    <a:pt x="2484" y="354"/>
                  </a:cubicBezTo>
                  <a:cubicBezTo>
                    <a:pt x="2484" y="348"/>
                    <a:pt x="2479" y="344"/>
                    <a:pt x="2472" y="344"/>
                  </a:cubicBezTo>
                  <a:cubicBezTo>
                    <a:pt x="2472" y="344"/>
                    <a:pt x="2472" y="344"/>
                    <a:pt x="2472" y="344"/>
                  </a:cubicBezTo>
                  <a:moveTo>
                    <a:pt x="2674" y="344"/>
                  </a:moveTo>
                  <a:cubicBezTo>
                    <a:pt x="2667" y="344"/>
                    <a:pt x="2662" y="348"/>
                    <a:pt x="2663" y="354"/>
                  </a:cubicBezTo>
                  <a:cubicBezTo>
                    <a:pt x="2663" y="360"/>
                    <a:pt x="2669" y="364"/>
                    <a:pt x="2675" y="364"/>
                  </a:cubicBezTo>
                  <a:cubicBezTo>
                    <a:pt x="2682" y="364"/>
                    <a:pt x="2687" y="359"/>
                    <a:pt x="2686" y="354"/>
                  </a:cubicBezTo>
                  <a:cubicBezTo>
                    <a:pt x="2686" y="348"/>
                    <a:pt x="2680" y="344"/>
                    <a:pt x="2674" y="344"/>
                  </a:cubicBezTo>
                  <a:cubicBezTo>
                    <a:pt x="2674" y="344"/>
                    <a:pt x="2674" y="344"/>
                    <a:pt x="2674" y="344"/>
                  </a:cubicBezTo>
                  <a:moveTo>
                    <a:pt x="2505" y="344"/>
                  </a:moveTo>
                  <a:cubicBezTo>
                    <a:pt x="2499" y="344"/>
                    <a:pt x="2494" y="348"/>
                    <a:pt x="2494" y="354"/>
                  </a:cubicBezTo>
                  <a:cubicBezTo>
                    <a:pt x="2494" y="360"/>
                    <a:pt x="2499" y="364"/>
                    <a:pt x="2505" y="364"/>
                  </a:cubicBezTo>
                  <a:cubicBezTo>
                    <a:pt x="2512" y="364"/>
                    <a:pt x="2517" y="359"/>
                    <a:pt x="2517" y="354"/>
                  </a:cubicBezTo>
                  <a:cubicBezTo>
                    <a:pt x="2517" y="348"/>
                    <a:pt x="2512" y="344"/>
                    <a:pt x="2506" y="344"/>
                  </a:cubicBezTo>
                  <a:cubicBezTo>
                    <a:pt x="2505" y="344"/>
                    <a:pt x="2505" y="344"/>
                    <a:pt x="2505" y="344"/>
                  </a:cubicBezTo>
                  <a:moveTo>
                    <a:pt x="2707" y="343"/>
                  </a:moveTo>
                  <a:cubicBezTo>
                    <a:pt x="2701" y="343"/>
                    <a:pt x="2696" y="348"/>
                    <a:pt x="2696" y="354"/>
                  </a:cubicBezTo>
                  <a:cubicBezTo>
                    <a:pt x="2697" y="359"/>
                    <a:pt x="2702" y="364"/>
                    <a:pt x="2709" y="364"/>
                  </a:cubicBezTo>
                  <a:cubicBezTo>
                    <a:pt x="2715" y="364"/>
                    <a:pt x="2720" y="359"/>
                    <a:pt x="2720" y="354"/>
                  </a:cubicBezTo>
                  <a:cubicBezTo>
                    <a:pt x="2719" y="348"/>
                    <a:pt x="2714" y="343"/>
                    <a:pt x="2707" y="343"/>
                  </a:cubicBezTo>
                  <a:cubicBezTo>
                    <a:pt x="2707" y="343"/>
                    <a:pt x="2707" y="343"/>
                    <a:pt x="2707" y="343"/>
                  </a:cubicBezTo>
                  <a:moveTo>
                    <a:pt x="2539" y="343"/>
                  </a:moveTo>
                  <a:cubicBezTo>
                    <a:pt x="2533" y="343"/>
                    <a:pt x="2527" y="348"/>
                    <a:pt x="2527" y="354"/>
                  </a:cubicBezTo>
                  <a:cubicBezTo>
                    <a:pt x="2527" y="359"/>
                    <a:pt x="2533" y="364"/>
                    <a:pt x="2539" y="364"/>
                  </a:cubicBezTo>
                  <a:cubicBezTo>
                    <a:pt x="2546" y="364"/>
                    <a:pt x="2551" y="359"/>
                    <a:pt x="2551" y="354"/>
                  </a:cubicBezTo>
                  <a:cubicBezTo>
                    <a:pt x="2551" y="348"/>
                    <a:pt x="2546" y="343"/>
                    <a:pt x="2539" y="343"/>
                  </a:cubicBezTo>
                  <a:cubicBezTo>
                    <a:pt x="2539" y="343"/>
                    <a:pt x="2539" y="343"/>
                    <a:pt x="2539" y="343"/>
                  </a:cubicBezTo>
                  <a:moveTo>
                    <a:pt x="2741" y="343"/>
                  </a:moveTo>
                  <a:cubicBezTo>
                    <a:pt x="2734" y="343"/>
                    <a:pt x="2729" y="348"/>
                    <a:pt x="2730" y="353"/>
                  </a:cubicBezTo>
                  <a:cubicBezTo>
                    <a:pt x="2730" y="359"/>
                    <a:pt x="2736" y="364"/>
                    <a:pt x="2743" y="364"/>
                  </a:cubicBezTo>
                  <a:cubicBezTo>
                    <a:pt x="2749" y="364"/>
                    <a:pt x="2754" y="359"/>
                    <a:pt x="2753" y="353"/>
                  </a:cubicBezTo>
                  <a:cubicBezTo>
                    <a:pt x="2753" y="348"/>
                    <a:pt x="2747" y="343"/>
                    <a:pt x="2741" y="343"/>
                  </a:cubicBezTo>
                  <a:cubicBezTo>
                    <a:pt x="2741" y="343"/>
                    <a:pt x="2741" y="343"/>
                    <a:pt x="2741" y="343"/>
                  </a:cubicBezTo>
                  <a:moveTo>
                    <a:pt x="2941" y="343"/>
                  </a:moveTo>
                  <a:cubicBezTo>
                    <a:pt x="2934" y="343"/>
                    <a:pt x="2930" y="347"/>
                    <a:pt x="2931" y="353"/>
                  </a:cubicBezTo>
                  <a:cubicBezTo>
                    <a:pt x="2932" y="358"/>
                    <a:pt x="2938" y="362"/>
                    <a:pt x="2944" y="362"/>
                  </a:cubicBezTo>
                  <a:cubicBezTo>
                    <a:pt x="2950" y="362"/>
                    <a:pt x="2954" y="358"/>
                    <a:pt x="2953" y="353"/>
                  </a:cubicBezTo>
                  <a:cubicBezTo>
                    <a:pt x="2952" y="347"/>
                    <a:pt x="2947" y="343"/>
                    <a:pt x="2941" y="343"/>
                  </a:cubicBezTo>
                  <a:cubicBezTo>
                    <a:pt x="2941" y="343"/>
                    <a:pt x="2941" y="343"/>
                    <a:pt x="2941" y="343"/>
                  </a:cubicBezTo>
                  <a:moveTo>
                    <a:pt x="2775" y="343"/>
                  </a:moveTo>
                  <a:cubicBezTo>
                    <a:pt x="2768" y="343"/>
                    <a:pt x="2763" y="348"/>
                    <a:pt x="2764" y="353"/>
                  </a:cubicBezTo>
                  <a:cubicBezTo>
                    <a:pt x="2764" y="359"/>
                    <a:pt x="2770" y="363"/>
                    <a:pt x="2777" y="363"/>
                  </a:cubicBezTo>
                  <a:cubicBezTo>
                    <a:pt x="2783" y="363"/>
                    <a:pt x="2788" y="359"/>
                    <a:pt x="2787" y="353"/>
                  </a:cubicBezTo>
                  <a:cubicBezTo>
                    <a:pt x="2787" y="347"/>
                    <a:pt x="2781" y="343"/>
                    <a:pt x="2775" y="343"/>
                  </a:cubicBezTo>
                  <a:cubicBezTo>
                    <a:pt x="2775" y="343"/>
                    <a:pt x="2775" y="343"/>
                    <a:pt x="2775" y="343"/>
                  </a:cubicBezTo>
                  <a:moveTo>
                    <a:pt x="2975" y="343"/>
                  </a:moveTo>
                  <a:cubicBezTo>
                    <a:pt x="2969" y="343"/>
                    <a:pt x="2965" y="347"/>
                    <a:pt x="2966" y="352"/>
                  </a:cubicBezTo>
                  <a:cubicBezTo>
                    <a:pt x="2966" y="358"/>
                    <a:pt x="2972" y="362"/>
                    <a:pt x="2978" y="362"/>
                  </a:cubicBezTo>
                  <a:cubicBezTo>
                    <a:pt x="2985" y="362"/>
                    <a:pt x="2989" y="358"/>
                    <a:pt x="2988" y="352"/>
                  </a:cubicBezTo>
                  <a:cubicBezTo>
                    <a:pt x="2987" y="347"/>
                    <a:pt x="2981" y="343"/>
                    <a:pt x="2975" y="343"/>
                  </a:cubicBezTo>
                  <a:cubicBezTo>
                    <a:pt x="2975" y="343"/>
                    <a:pt x="2975" y="343"/>
                    <a:pt x="2975" y="343"/>
                  </a:cubicBezTo>
                  <a:moveTo>
                    <a:pt x="2808" y="343"/>
                  </a:moveTo>
                  <a:cubicBezTo>
                    <a:pt x="2802" y="343"/>
                    <a:pt x="2797" y="347"/>
                    <a:pt x="2797" y="353"/>
                  </a:cubicBezTo>
                  <a:cubicBezTo>
                    <a:pt x="2798" y="359"/>
                    <a:pt x="2804" y="363"/>
                    <a:pt x="2810" y="363"/>
                  </a:cubicBezTo>
                  <a:cubicBezTo>
                    <a:pt x="2817" y="363"/>
                    <a:pt x="2822" y="358"/>
                    <a:pt x="2821" y="353"/>
                  </a:cubicBezTo>
                  <a:cubicBezTo>
                    <a:pt x="2820" y="347"/>
                    <a:pt x="2815" y="343"/>
                    <a:pt x="2808" y="343"/>
                  </a:cubicBezTo>
                  <a:cubicBezTo>
                    <a:pt x="2808" y="343"/>
                    <a:pt x="2808" y="343"/>
                    <a:pt x="2808" y="343"/>
                  </a:cubicBezTo>
                  <a:moveTo>
                    <a:pt x="2842" y="342"/>
                  </a:moveTo>
                  <a:cubicBezTo>
                    <a:pt x="2835" y="342"/>
                    <a:pt x="2830" y="347"/>
                    <a:pt x="2831" y="353"/>
                  </a:cubicBezTo>
                  <a:cubicBezTo>
                    <a:pt x="2832" y="358"/>
                    <a:pt x="2838" y="363"/>
                    <a:pt x="2844" y="363"/>
                  </a:cubicBezTo>
                  <a:cubicBezTo>
                    <a:pt x="2851" y="363"/>
                    <a:pt x="2855" y="358"/>
                    <a:pt x="2855" y="353"/>
                  </a:cubicBezTo>
                  <a:cubicBezTo>
                    <a:pt x="2854" y="347"/>
                    <a:pt x="2848" y="342"/>
                    <a:pt x="2842" y="342"/>
                  </a:cubicBezTo>
                  <a:cubicBezTo>
                    <a:pt x="2842" y="342"/>
                    <a:pt x="2842" y="342"/>
                    <a:pt x="2842" y="342"/>
                  </a:cubicBezTo>
                  <a:moveTo>
                    <a:pt x="2875" y="342"/>
                  </a:moveTo>
                  <a:cubicBezTo>
                    <a:pt x="2868" y="342"/>
                    <a:pt x="2864" y="347"/>
                    <a:pt x="2865" y="352"/>
                  </a:cubicBezTo>
                  <a:cubicBezTo>
                    <a:pt x="2865" y="358"/>
                    <a:pt x="2871" y="363"/>
                    <a:pt x="2878" y="363"/>
                  </a:cubicBezTo>
                  <a:cubicBezTo>
                    <a:pt x="2884" y="363"/>
                    <a:pt x="2889" y="358"/>
                    <a:pt x="2888" y="352"/>
                  </a:cubicBezTo>
                  <a:cubicBezTo>
                    <a:pt x="2887" y="347"/>
                    <a:pt x="2881" y="342"/>
                    <a:pt x="2875" y="342"/>
                  </a:cubicBezTo>
                  <a:cubicBezTo>
                    <a:pt x="2875" y="342"/>
                    <a:pt x="2875" y="342"/>
                    <a:pt x="2875" y="342"/>
                  </a:cubicBezTo>
                  <a:moveTo>
                    <a:pt x="2908" y="342"/>
                  </a:moveTo>
                  <a:cubicBezTo>
                    <a:pt x="2902" y="342"/>
                    <a:pt x="2897" y="347"/>
                    <a:pt x="2898" y="352"/>
                  </a:cubicBezTo>
                  <a:cubicBezTo>
                    <a:pt x="2899" y="358"/>
                    <a:pt x="2905" y="362"/>
                    <a:pt x="2912" y="362"/>
                  </a:cubicBezTo>
                  <a:cubicBezTo>
                    <a:pt x="2918" y="362"/>
                    <a:pt x="2923" y="358"/>
                    <a:pt x="2922" y="352"/>
                  </a:cubicBezTo>
                  <a:cubicBezTo>
                    <a:pt x="2921" y="346"/>
                    <a:pt x="2915" y="342"/>
                    <a:pt x="2909" y="342"/>
                  </a:cubicBezTo>
                  <a:cubicBezTo>
                    <a:pt x="2909" y="342"/>
                    <a:pt x="2908" y="342"/>
                    <a:pt x="2908" y="342"/>
                  </a:cubicBezTo>
                  <a:moveTo>
                    <a:pt x="3008" y="341"/>
                  </a:moveTo>
                  <a:cubicBezTo>
                    <a:pt x="3002" y="341"/>
                    <a:pt x="2997" y="346"/>
                    <a:pt x="2998" y="351"/>
                  </a:cubicBezTo>
                  <a:cubicBezTo>
                    <a:pt x="2999" y="357"/>
                    <a:pt x="3005" y="362"/>
                    <a:pt x="3012" y="362"/>
                  </a:cubicBezTo>
                  <a:cubicBezTo>
                    <a:pt x="3018" y="362"/>
                    <a:pt x="3023" y="357"/>
                    <a:pt x="3022" y="351"/>
                  </a:cubicBezTo>
                  <a:cubicBezTo>
                    <a:pt x="3021" y="346"/>
                    <a:pt x="3015" y="341"/>
                    <a:pt x="3008" y="341"/>
                  </a:cubicBezTo>
                  <a:cubicBezTo>
                    <a:pt x="3008" y="341"/>
                    <a:pt x="3008" y="341"/>
                    <a:pt x="3008" y="341"/>
                  </a:cubicBezTo>
                  <a:moveTo>
                    <a:pt x="3041" y="341"/>
                  </a:moveTo>
                  <a:cubicBezTo>
                    <a:pt x="3035" y="341"/>
                    <a:pt x="3030" y="346"/>
                    <a:pt x="3031" y="351"/>
                  </a:cubicBezTo>
                  <a:cubicBezTo>
                    <a:pt x="3033" y="357"/>
                    <a:pt x="3039" y="361"/>
                    <a:pt x="3045" y="361"/>
                  </a:cubicBezTo>
                  <a:cubicBezTo>
                    <a:pt x="3052" y="361"/>
                    <a:pt x="3056" y="357"/>
                    <a:pt x="3055" y="351"/>
                  </a:cubicBezTo>
                  <a:cubicBezTo>
                    <a:pt x="3054" y="345"/>
                    <a:pt x="3048" y="341"/>
                    <a:pt x="3041" y="341"/>
                  </a:cubicBezTo>
                  <a:cubicBezTo>
                    <a:pt x="3041" y="341"/>
                    <a:pt x="3041" y="341"/>
                    <a:pt x="3041" y="341"/>
                  </a:cubicBezTo>
                  <a:moveTo>
                    <a:pt x="3074" y="341"/>
                  </a:moveTo>
                  <a:cubicBezTo>
                    <a:pt x="3068" y="341"/>
                    <a:pt x="3064" y="345"/>
                    <a:pt x="3065" y="351"/>
                  </a:cubicBezTo>
                  <a:cubicBezTo>
                    <a:pt x="3066" y="357"/>
                    <a:pt x="3072" y="361"/>
                    <a:pt x="3079" y="361"/>
                  </a:cubicBezTo>
                  <a:cubicBezTo>
                    <a:pt x="3085" y="361"/>
                    <a:pt x="3090" y="356"/>
                    <a:pt x="3088" y="351"/>
                  </a:cubicBezTo>
                  <a:cubicBezTo>
                    <a:pt x="3087" y="345"/>
                    <a:pt x="3081" y="341"/>
                    <a:pt x="3075" y="341"/>
                  </a:cubicBezTo>
                  <a:cubicBezTo>
                    <a:pt x="3075" y="341"/>
                    <a:pt x="3075" y="341"/>
                    <a:pt x="3074" y="341"/>
                  </a:cubicBezTo>
                  <a:moveTo>
                    <a:pt x="3108" y="340"/>
                  </a:moveTo>
                  <a:cubicBezTo>
                    <a:pt x="3102" y="340"/>
                    <a:pt x="3097" y="345"/>
                    <a:pt x="3099" y="351"/>
                  </a:cubicBezTo>
                  <a:cubicBezTo>
                    <a:pt x="3100" y="356"/>
                    <a:pt x="3106" y="361"/>
                    <a:pt x="3113" y="361"/>
                  </a:cubicBezTo>
                  <a:cubicBezTo>
                    <a:pt x="3119" y="361"/>
                    <a:pt x="3123" y="356"/>
                    <a:pt x="3122" y="351"/>
                  </a:cubicBezTo>
                  <a:cubicBezTo>
                    <a:pt x="3121" y="345"/>
                    <a:pt x="3115" y="340"/>
                    <a:pt x="3108" y="340"/>
                  </a:cubicBezTo>
                  <a:cubicBezTo>
                    <a:pt x="3108" y="340"/>
                    <a:pt x="3108" y="340"/>
                    <a:pt x="3108" y="340"/>
                  </a:cubicBezTo>
                  <a:moveTo>
                    <a:pt x="3142" y="340"/>
                  </a:moveTo>
                  <a:cubicBezTo>
                    <a:pt x="3135" y="340"/>
                    <a:pt x="3131" y="345"/>
                    <a:pt x="3133" y="350"/>
                  </a:cubicBezTo>
                  <a:cubicBezTo>
                    <a:pt x="3134" y="356"/>
                    <a:pt x="3140" y="361"/>
                    <a:pt x="3147" y="361"/>
                  </a:cubicBezTo>
                  <a:cubicBezTo>
                    <a:pt x="3153" y="361"/>
                    <a:pt x="3158" y="356"/>
                    <a:pt x="3156" y="350"/>
                  </a:cubicBezTo>
                  <a:cubicBezTo>
                    <a:pt x="3155" y="345"/>
                    <a:pt x="3148" y="340"/>
                    <a:pt x="3142" y="340"/>
                  </a:cubicBezTo>
                  <a:cubicBezTo>
                    <a:pt x="3142" y="340"/>
                    <a:pt x="3142" y="340"/>
                    <a:pt x="3142" y="340"/>
                  </a:cubicBezTo>
                  <a:moveTo>
                    <a:pt x="3175" y="340"/>
                  </a:moveTo>
                  <a:cubicBezTo>
                    <a:pt x="3169" y="340"/>
                    <a:pt x="3165" y="344"/>
                    <a:pt x="3166" y="350"/>
                  </a:cubicBezTo>
                  <a:cubicBezTo>
                    <a:pt x="3167" y="356"/>
                    <a:pt x="3174" y="360"/>
                    <a:pt x="3180" y="360"/>
                  </a:cubicBezTo>
                  <a:cubicBezTo>
                    <a:pt x="3187" y="360"/>
                    <a:pt x="3191" y="356"/>
                    <a:pt x="3190" y="350"/>
                  </a:cubicBezTo>
                  <a:cubicBezTo>
                    <a:pt x="3188" y="344"/>
                    <a:pt x="3182" y="340"/>
                    <a:pt x="3175" y="340"/>
                  </a:cubicBezTo>
                  <a:cubicBezTo>
                    <a:pt x="3175" y="340"/>
                    <a:pt x="3175" y="340"/>
                    <a:pt x="3175" y="340"/>
                  </a:cubicBezTo>
                  <a:moveTo>
                    <a:pt x="3209" y="340"/>
                  </a:moveTo>
                  <a:cubicBezTo>
                    <a:pt x="3202" y="340"/>
                    <a:pt x="3198" y="344"/>
                    <a:pt x="3200" y="350"/>
                  </a:cubicBezTo>
                  <a:cubicBezTo>
                    <a:pt x="3201" y="356"/>
                    <a:pt x="3208" y="360"/>
                    <a:pt x="3214" y="360"/>
                  </a:cubicBezTo>
                  <a:cubicBezTo>
                    <a:pt x="3221" y="360"/>
                    <a:pt x="3225" y="355"/>
                    <a:pt x="3223" y="350"/>
                  </a:cubicBezTo>
                  <a:cubicBezTo>
                    <a:pt x="3222" y="344"/>
                    <a:pt x="3215" y="340"/>
                    <a:pt x="3209" y="340"/>
                  </a:cubicBezTo>
                  <a:cubicBezTo>
                    <a:pt x="3209" y="340"/>
                    <a:pt x="3209" y="340"/>
                    <a:pt x="3209" y="340"/>
                  </a:cubicBezTo>
                  <a:moveTo>
                    <a:pt x="3242" y="339"/>
                  </a:moveTo>
                  <a:cubicBezTo>
                    <a:pt x="3236" y="339"/>
                    <a:pt x="3232" y="344"/>
                    <a:pt x="3233" y="350"/>
                  </a:cubicBezTo>
                  <a:cubicBezTo>
                    <a:pt x="3235" y="355"/>
                    <a:pt x="3241" y="360"/>
                    <a:pt x="3248" y="360"/>
                  </a:cubicBezTo>
                  <a:cubicBezTo>
                    <a:pt x="3254" y="360"/>
                    <a:pt x="3258" y="355"/>
                    <a:pt x="3257" y="349"/>
                  </a:cubicBezTo>
                  <a:cubicBezTo>
                    <a:pt x="3255" y="344"/>
                    <a:pt x="3249" y="339"/>
                    <a:pt x="3242" y="339"/>
                  </a:cubicBezTo>
                  <a:cubicBezTo>
                    <a:pt x="3242" y="339"/>
                    <a:pt x="3242" y="339"/>
                    <a:pt x="3242" y="339"/>
                  </a:cubicBezTo>
                  <a:moveTo>
                    <a:pt x="3276" y="339"/>
                  </a:moveTo>
                  <a:cubicBezTo>
                    <a:pt x="3269" y="339"/>
                    <a:pt x="3265" y="344"/>
                    <a:pt x="3267" y="349"/>
                  </a:cubicBezTo>
                  <a:cubicBezTo>
                    <a:pt x="3268" y="355"/>
                    <a:pt x="3275" y="360"/>
                    <a:pt x="3282" y="360"/>
                  </a:cubicBezTo>
                  <a:cubicBezTo>
                    <a:pt x="3288" y="360"/>
                    <a:pt x="3292" y="355"/>
                    <a:pt x="3290" y="349"/>
                  </a:cubicBezTo>
                  <a:cubicBezTo>
                    <a:pt x="3289" y="344"/>
                    <a:pt x="3282" y="339"/>
                    <a:pt x="3276" y="339"/>
                  </a:cubicBezTo>
                  <a:cubicBezTo>
                    <a:pt x="3276" y="339"/>
                    <a:pt x="3276" y="339"/>
                    <a:pt x="3276" y="339"/>
                  </a:cubicBezTo>
                  <a:moveTo>
                    <a:pt x="3310" y="339"/>
                  </a:moveTo>
                  <a:cubicBezTo>
                    <a:pt x="3304" y="339"/>
                    <a:pt x="3300" y="343"/>
                    <a:pt x="3302" y="349"/>
                  </a:cubicBezTo>
                  <a:cubicBezTo>
                    <a:pt x="3303" y="355"/>
                    <a:pt x="3310" y="359"/>
                    <a:pt x="3317" y="359"/>
                  </a:cubicBezTo>
                  <a:cubicBezTo>
                    <a:pt x="3323" y="359"/>
                    <a:pt x="3327" y="355"/>
                    <a:pt x="3325" y="349"/>
                  </a:cubicBezTo>
                  <a:cubicBezTo>
                    <a:pt x="3324" y="343"/>
                    <a:pt x="3317" y="339"/>
                    <a:pt x="3311" y="339"/>
                  </a:cubicBezTo>
                  <a:cubicBezTo>
                    <a:pt x="3311" y="339"/>
                    <a:pt x="3310" y="339"/>
                    <a:pt x="3310" y="339"/>
                  </a:cubicBezTo>
                  <a:moveTo>
                    <a:pt x="3344" y="339"/>
                  </a:moveTo>
                  <a:cubicBezTo>
                    <a:pt x="3337" y="339"/>
                    <a:pt x="3333" y="343"/>
                    <a:pt x="3335" y="349"/>
                  </a:cubicBezTo>
                  <a:cubicBezTo>
                    <a:pt x="3337" y="355"/>
                    <a:pt x="3344" y="359"/>
                    <a:pt x="3350" y="359"/>
                  </a:cubicBezTo>
                  <a:cubicBezTo>
                    <a:pt x="3357" y="359"/>
                    <a:pt x="3361" y="354"/>
                    <a:pt x="3359" y="349"/>
                  </a:cubicBezTo>
                  <a:cubicBezTo>
                    <a:pt x="3357" y="343"/>
                    <a:pt x="3350" y="339"/>
                    <a:pt x="3344" y="339"/>
                  </a:cubicBezTo>
                  <a:cubicBezTo>
                    <a:pt x="3344" y="339"/>
                    <a:pt x="3344" y="339"/>
                    <a:pt x="3344" y="339"/>
                  </a:cubicBezTo>
                  <a:moveTo>
                    <a:pt x="3377" y="338"/>
                  </a:moveTo>
                  <a:cubicBezTo>
                    <a:pt x="3370" y="338"/>
                    <a:pt x="3367" y="343"/>
                    <a:pt x="3368" y="349"/>
                  </a:cubicBezTo>
                  <a:cubicBezTo>
                    <a:pt x="3370" y="354"/>
                    <a:pt x="3377" y="359"/>
                    <a:pt x="3383" y="359"/>
                  </a:cubicBezTo>
                  <a:cubicBezTo>
                    <a:pt x="3390" y="359"/>
                    <a:pt x="3394" y="354"/>
                    <a:pt x="3392" y="348"/>
                  </a:cubicBezTo>
                  <a:cubicBezTo>
                    <a:pt x="3390" y="343"/>
                    <a:pt x="3383" y="338"/>
                    <a:pt x="3377" y="338"/>
                  </a:cubicBezTo>
                  <a:cubicBezTo>
                    <a:pt x="3377" y="338"/>
                    <a:pt x="3377" y="338"/>
                    <a:pt x="3377" y="338"/>
                  </a:cubicBezTo>
                  <a:moveTo>
                    <a:pt x="3410" y="338"/>
                  </a:moveTo>
                  <a:cubicBezTo>
                    <a:pt x="3404" y="338"/>
                    <a:pt x="3400" y="343"/>
                    <a:pt x="3402" y="348"/>
                  </a:cubicBezTo>
                  <a:cubicBezTo>
                    <a:pt x="3404" y="354"/>
                    <a:pt x="3410" y="359"/>
                    <a:pt x="3417" y="359"/>
                  </a:cubicBezTo>
                  <a:cubicBezTo>
                    <a:pt x="3424" y="358"/>
                    <a:pt x="3427" y="354"/>
                    <a:pt x="3425" y="348"/>
                  </a:cubicBezTo>
                  <a:cubicBezTo>
                    <a:pt x="3423" y="343"/>
                    <a:pt x="3417" y="338"/>
                    <a:pt x="3410" y="338"/>
                  </a:cubicBezTo>
                  <a:cubicBezTo>
                    <a:pt x="3410" y="338"/>
                    <a:pt x="3410" y="338"/>
                    <a:pt x="3410" y="338"/>
                  </a:cubicBezTo>
                  <a:moveTo>
                    <a:pt x="3444" y="338"/>
                  </a:moveTo>
                  <a:cubicBezTo>
                    <a:pt x="3437" y="338"/>
                    <a:pt x="3433" y="342"/>
                    <a:pt x="3435" y="348"/>
                  </a:cubicBezTo>
                  <a:cubicBezTo>
                    <a:pt x="3437" y="354"/>
                    <a:pt x="3444" y="358"/>
                    <a:pt x="3451" y="358"/>
                  </a:cubicBezTo>
                  <a:cubicBezTo>
                    <a:pt x="3457" y="358"/>
                    <a:pt x="3461" y="354"/>
                    <a:pt x="3459" y="348"/>
                  </a:cubicBezTo>
                  <a:cubicBezTo>
                    <a:pt x="3457" y="342"/>
                    <a:pt x="3450" y="338"/>
                    <a:pt x="3444" y="338"/>
                  </a:cubicBezTo>
                  <a:cubicBezTo>
                    <a:pt x="3444" y="338"/>
                    <a:pt x="3444" y="338"/>
                    <a:pt x="3444" y="338"/>
                  </a:cubicBezTo>
                  <a:moveTo>
                    <a:pt x="3477" y="337"/>
                  </a:moveTo>
                  <a:cubicBezTo>
                    <a:pt x="3471" y="338"/>
                    <a:pt x="3467" y="342"/>
                    <a:pt x="3469" y="348"/>
                  </a:cubicBezTo>
                  <a:cubicBezTo>
                    <a:pt x="3471" y="354"/>
                    <a:pt x="3478" y="358"/>
                    <a:pt x="3485" y="358"/>
                  </a:cubicBezTo>
                  <a:cubicBezTo>
                    <a:pt x="3491" y="358"/>
                    <a:pt x="3495" y="353"/>
                    <a:pt x="3493" y="348"/>
                  </a:cubicBezTo>
                  <a:cubicBezTo>
                    <a:pt x="3491" y="342"/>
                    <a:pt x="3484" y="337"/>
                    <a:pt x="3478" y="337"/>
                  </a:cubicBezTo>
                  <a:cubicBezTo>
                    <a:pt x="3478" y="337"/>
                    <a:pt x="3478" y="337"/>
                    <a:pt x="3477" y="337"/>
                  </a:cubicBezTo>
                  <a:moveTo>
                    <a:pt x="3511" y="337"/>
                  </a:moveTo>
                  <a:cubicBezTo>
                    <a:pt x="3504" y="337"/>
                    <a:pt x="3501" y="342"/>
                    <a:pt x="3503" y="348"/>
                  </a:cubicBezTo>
                  <a:cubicBezTo>
                    <a:pt x="3505" y="353"/>
                    <a:pt x="3512" y="358"/>
                    <a:pt x="3518" y="358"/>
                  </a:cubicBezTo>
                  <a:cubicBezTo>
                    <a:pt x="3525" y="358"/>
                    <a:pt x="3528" y="353"/>
                    <a:pt x="3526" y="347"/>
                  </a:cubicBezTo>
                  <a:cubicBezTo>
                    <a:pt x="3524" y="342"/>
                    <a:pt x="3517" y="337"/>
                    <a:pt x="3511" y="337"/>
                  </a:cubicBezTo>
                  <a:cubicBezTo>
                    <a:pt x="3511" y="337"/>
                    <a:pt x="3511" y="337"/>
                    <a:pt x="3511" y="337"/>
                  </a:cubicBezTo>
                  <a:moveTo>
                    <a:pt x="3544" y="337"/>
                  </a:moveTo>
                  <a:cubicBezTo>
                    <a:pt x="3538" y="337"/>
                    <a:pt x="3534" y="342"/>
                    <a:pt x="3536" y="347"/>
                  </a:cubicBezTo>
                  <a:cubicBezTo>
                    <a:pt x="3539" y="353"/>
                    <a:pt x="3546" y="358"/>
                    <a:pt x="3552" y="358"/>
                  </a:cubicBezTo>
                  <a:cubicBezTo>
                    <a:pt x="3559" y="357"/>
                    <a:pt x="3562" y="353"/>
                    <a:pt x="3560" y="347"/>
                  </a:cubicBezTo>
                  <a:cubicBezTo>
                    <a:pt x="3558" y="342"/>
                    <a:pt x="3551" y="337"/>
                    <a:pt x="3544" y="337"/>
                  </a:cubicBezTo>
                  <a:cubicBezTo>
                    <a:pt x="3544" y="337"/>
                    <a:pt x="3544" y="337"/>
                    <a:pt x="3544" y="337"/>
                  </a:cubicBezTo>
                  <a:moveTo>
                    <a:pt x="3577" y="337"/>
                  </a:moveTo>
                  <a:cubicBezTo>
                    <a:pt x="3571" y="337"/>
                    <a:pt x="3568" y="341"/>
                    <a:pt x="3570" y="347"/>
                  </a:cubicBezTo>
                  <a:cubicBezTo>
                    <a:pt x="3572" y="353"/>
                    <a:pt x="3579" y="357"/>
                    <a:pt x="3586" y="357"/>
                  </a:cubicBezTo>
                  <a:cubicBezTo>
                    <a:pt x="3592" y="357"/>
                    <a:pt x="3596" y="353"/>
                    <a:pt x="3593" y="347"/>
                  </a:cubicBezTo>
                  <a:cubicBezTo>
                    <a:pt x="3591" y="341"/>
                    <a:pt x="3584" y="337"/>
                    <a:pt x="3578" y="337"/>
                  </a:cubicBezTo>
                  <a:cubicBezTo>
                    <a:pt x="3578" y="337"/>
                    <a:pt x="3578" y="337"/>
                    <a:pt x="3577" y="337"/>
                  </a:cubicBezTo>
                  <a:moveTo>
                    <a:pt x="3611" y="336"/>
                  </a:moveTo>
                  <a:cubicBezTo>
                    <a:pt x="3605" y="337"/>
                    <a:pt x="3601" y="341"/>
                    <a:pt x="3604" y="347"/>
                  </a:cubicBezTo>
                  <a:cubicBezTo>
                    <a:pt x="3606" y="352"/>
                    <a:pt x="3613" y="357"/>
                    <a:pt x="3619" y="357"/>
                  </a:cubicBezTo>
                  <a:cubicBezTo>
                    <a:pt x="3626" y="357"/>
                    <a:pt x="3629" y="352"/>
                    <a:pt x="3627" y="347"/>
                  </a:cubicBezTo>
                  <a:cubicBezTo>
                    <a:pt x="3625" y="341"/>
                    <a:pt x="3618" y="336"/>
                    <a:pt x="3611" y="336"/>
                  </a:cubicBezTo>
                  <a:cubicBezTo>
                    <a:pt x="3611" y="336"/>
                    <a:pt x="3611" y="336"/>
                    <a:pt x="3611" y="336"/>
                  </a:cubicBezTo>
                  <a:moveTo>
                    <a:pt x="3647" y="336"/>
                  </a:moveTo>
                  <a:cubicBezTo>
                    <a:pt x="3640" y="336"/>
                    <a:pt x="3637" y="341"/>
                    <a:pt x="3639" y="347"/>
                  </a:cubicBezTo>
                  <a:cubicBezTo>
                    <a:pt x="3642" y="352"/>
                    <a:pt x="3649" y="357"/>
                    <a:pt x="3655" y="357"/>
                  </a:cubicBezTo>
                  <a:cubicBezTo>
                    <a:pt x="3662" y="357"/>
                    <a:pt x="3665" y="352"/>
                    <a:pt x="3663" y="346"/>
                  </a:cubicBezTo>
                  <a:cubicBezTo>
                    <a:pt x="3660" y="341"/>
                    <a:pt x="3653" y="336"/>
                    <a:pt x="3647" y="336"/>
                  </a:cubicBezTo>
                  <a:cubicBezTo>
                    <a:pt x="3647" y="336"/>
                    <a:pt x="3647" y="336"/>
                    <a:pt x="3647" y="336"/>
                  </a:cubicBezTo>
                  <a:moveTo>
                    <a:pt x="3680" y="336"/>
                  </a:moveTo>
                  <a:cubicBezTo>
                    <a:pt x="3673" y="336"/>
                    <a:pt x="3670" y="341"/>
                    <a:pt x="3672" y="346"/>
                  </a:cubicBezTo>
                  <a:cubicBezTo>
                    <a:pt x="3675" y="352"/>
                    <a:pt x="3682" y="357"/>
                    <a:pt x="3689" y="356"/>
                  </a:cubicBezTo>
                  <a:cubicBezTo>
                    <a:pt x="3695" y="356"/>
                    <a:pt x="3698" y="352"/>
                    <a:pt x="3696" y="346"/>
                  </a:cubicBezTo>
                  <a:cubicBezTo>
                    <a:pt x="3693" y="340"/>
                    <a:pt x="3686" y="336"/>
                    <a:pt x="3680" y="336"/>
                  </a:cubicBezTo>
                  <a:cubicBezTo>
                    <a:pt x="3680" y="336"/>
                    <a:pt x="3680" y="336"/>
                    <a:pt x="3680" y="336"/>
                  </a:cubicBezTo>
                  <a:moveTo>
                    <a:pt x="3713" y="336"/>
                  </a:moveTo>
                  <a:cubicBezTo>
                    <a:pt x="3706" y="336"/>
                    <a:pt x="3703" y="340"/>
                    <a:pt x="3706" y="346"/>
                  </a:cubicBezTo>
                  <a:cubicBezTo>
                    <a:pt x="3708" y="352"/>
                    <a:pt x="3716" y="356"/>
                    <a:pt x="3722" y="356"/>
                  </a:cubicBezTo>
                  <a:cubicBezTo>
                    <a:pt x="3729" y="356"/>
                    <a:pt x="3732" y="352"/>
                    <a:pt x="3729" y="346"/>
                  </a:cubicBezTo>
                  <a:cubicBezTo>
                    <a:pt x="3727" y="340"/>
                    <a:pt x="3719" y="336"/>
                    <a:pt x="3713" y="336"/>
                  </a:cubicBezTo>
                  <a:cubicBezTo>
                    <a:pt x="3713" y="336"/>
                    <a:pt x="3713" y="336"/>
                    <a:pt x="3713" y="336"/>
                  </a:cubicBezTo>
                  <a:moveTo>
                    <a:pt x="3746" y="335"/>
                  </a:moveTo>
                  <a:cubicBezTo>
                    <a:pt x="3740" y="335"/>
                    <a:pt x="3737" y="340"/>
                    <a:pt x="3739" y="346"/>
                  </a:cubicBezTo>
                  <a:cubicBezTo>
                    <a:pt x="3742" y="351"/>
                    <a:pt x="3749" y="356"/>
                    <a:pt x="3756" y="356"/>
                  </a:cubicBezTo>
                  <a:cubicBezTo>
                    <a:pt x="3762" y="356"/>
                    <a:pt x="3766" y="351"/>
                    <a:pt x="3763" y="346"/>
                  </a:cubicBezTo>
                  <a:cubicBezTo>
                    <a:pt x="3760" y="340"/>
                    <a:pt x="3753" y="335"/>
                    <a:pt x="3746" y="335"/>
                  </a:cubicBezTo>
                  <a:cubicBezTo>
                    <a:pt x="3746" y="335"/>
                    <a:pt x="3746" y="335"/>
                    <a:pt x="3746" y="335"/>
                  </a:cubicBezTo>
                  <a:moveTo>
                    <a:pt x="3780" y="335"/>
                  </a:moveTo>
                  <a:cubicBezTo>
                    <a:pt x="3774" y="335"/>
                    <a:pt x="3771" y="340"/>
                    <a:pt x="3773" y="346"/>
                  </a:cubicBezTo>
                  <a:cubicBezTo>
                    <a:pt x="3776" y="351"/>
                    <a:pt x="3783" y="356"/>
                    <a:pt x="3790" y="356"/>
                  </a:cubicBezTo>
                  <a:cubicBezTo>
                    <a:pt x="3796" y="356"/>
                    <a:pt x="3800" y="351"/>
                    <a:pt x="3797" y="345"/>
                  </a:cubicBezTo>
                  <a:cubicBezTo>
                    <a:pt x="3794" y="340"/>
                    <a:pt x="3787" y="335"/>
                    <a:pt x="3780" y="335"/>
                  </a:cubicBezTo>
                  <a:cubicBezTo>
                    <a:pt x="3780" y="335"/>
                    <a:pt x="3780" y="335"/>
                    <a:pt x="3780" y="335"/>
                  </a:cubicBezTo>
                  <a:moveTo>
                    <a:pt x="4149" y="335"/>
                  </a:moveTo>
                  <a:cubicBezTo>
                    <a:pt x="4143" y="335"/>
                    <a:pt x="4140" y="340"/>
                    <a:pt x="4144" y="345"/>
                  </a:cubicBezTo>
                  <a:cubicBezTo>
                    <a:pt x="4147" y="351"/>
                    <a:pt x="4155" y="356"/>
                    <a:pt x="4162" y="356"/>
                  </a:cubicBezTo>
                  <a:cubicBezTo>
                    <a:pt x="4168" y="356"/>
                    <a:pt x="4171" y="351"/>
                    <a:pt x="4167" y="345"/>
                  </a:cubicBezTo>
                  <a:cubicBezTo>
                    <a:pt x="4164" y="340"/>
                    <a:pt x="4156" y="335"/>
                    <a:pt x="4149" y="335"/>
                  </a:cubicBezTo>
                  <a:cubicBezTo>
                    <a:pt x="4149" y="335"/>
                    <a:pt x="4149" y="335"/>
                    <a:pt x="4149" y="335"/>
                  </a:cubicBezTo>
                  <a:moveTo>
                    <a:pt x="3813" y="335"/>
                  </a:moveTo>
                  <a:cubicBezTo>
                    <a:pt x="3807" y="335"/>
                    <a:pt x="3804" y="340"/>
                    <a:pt x="3807" y="345"/>
                  </a:cubicBezTo>
                  <a:cubicBezTo>
                    <a:pt x="3809" y="351"/>
                    <a:pt x="3817" y="356"/>
                    <a:pt x="3823" y="355"/>
                  </a:cubicBezTo>
                  <a:cubicBezTo>
                    <a:pt x="3830" y="355"/>
                    <a:pt x="3833" y="351"/>
                    <a:pt x="3830" y="345"/>
                  </a:cubicBezTo>
                  <a:cubicBezTo>
                    <a:pt x="3827" y="339"/>
                    <a:pt x="3820" y="335"/>
                    <a:pt x="3814" y="335"/>
                  </a:cubicBezTo>
                  <a:cubicBezTo>
                    <a:pt x="3814" y="335"/>
                    <a:pt x="3813" y="335"/>
                    <a:pt x="3813" y="335"/>
                  </a:cubicBezTo>
                  <a:moveTo>
                    <a:pt x="3847" y="335"/>
                  </a:moveTo>
                  <a:cubicBezTo>
                    <a:pt x="3840" y="335"/>
                    <a:pt x="3837" y="339"/>
                    <a:pt x="3840" y="345"/>
                  </a:cubicBezTo>
                  <a:cubicBezTo>
                    <a:pt x="3843" y="351"/>
                    <a:pt x="3851" y="355"/>
                    <a:pt x="3857" y="355"/>
                  </a:cubicBezTo>
                  <a:cubicBezTo>
                    <a:pt x="3864" y="355"/>
                    <a:pt x="3867" y="351"/>
                    <a:pt x="3864" y="345"/>
                  </a:cubicBezTo>
                  <a:cubicBezTo>
                    <a:pt x="3861" y="339"/>
                    <a:pt x="3853" y="335"/>
                    <a:pt x="3847" y="335"/>
                  </a:cubicBezTo>
                  <a:cubicBezTo>
                    <a:pt x="3847" y="335"/>
                    <a:pt x="3847" y="335"/>
                    <a:pt x="3847" y="335"/>
                  </a:cubicBezTo>
                  <a:moveTo>
                    <a:pt x="3880" y="334"/>
                  </a:moveTo>
                  <a:cubicBezTo>
                    <a:pt x="3874" y="334"/>
                    <a:pt x="3871" y="339"/>
                    <a:pt x="3874" y="345"/>
                  </a:cubicBezTo>
                  <a:cubicBezTo>
                    <a:pt x="3877" y="350"/>
                    <a:pt x="3884" y="355"/>
                    <a:pt x="3891" y="355"/>
                  </a:cubicBezTo>
                  <a:cubicBezTo>
                    <a:pt x="3897" y="355"/>
                    <a:pt x="3900" y="350"/>
                    <a:pt x="3897" y="345"/>
                  </a:cubicBezTo>
                  <a:cubicBezTo>
                    <a:pt x="3894" y="339"/>
                    <a:pt x="3887" y="334"/>
                    <a:pt x="3880" y="334"/>
                  </a:cubicBezTo>
                  <a:cubicBezTo>
                    <a:pt x="3880" y="334"/>
                    <a:pt x="3880" y="334"/>
                    <a:pt x="3880" y="334"/>
                  </a:cubicBezTo>
                  <a:moveTo>
                    <a:pt x="3914" y="334"/>
                  </a:moveTo>
                  <a:cubicBezTo>
                    <a:pt x="3907" y="334"/>
                    <a:pt x="3904" y="339"/>
                    <a:pt x="3907" y="345"/>
                  </a:cubicBezTo>
                  <a:cubicBezTo>
                    <a:pt x="3910" y="350"/>
                    <a:pt x="3918" y="355"/>
                    <a:pt x="3924" y="355"/>
                  </a:cubicBezTo>
                  <a:cubicBezTo>
                    <a:pt x="3931" y="355"/>
                    <a:pt x="3934" y="350"/>
                    <a:pt x="3931" y="344"/>
                  </a:cubicBezTo>
                  <a:cubicBezTo>
                    <a:pt x="3928" y="339"/>
                    <a:pt x="3920" y="334"/>
                    <a:pt x="3914" y="334"/>
                  </a:cubicBezTo>
                  <a:cubicBezTo>
                    <a:pt x="3914" y="334"/>
                    <a:pt x="3914" y="334"/>
                    <a:pt x="3914" y="334"/>
                  </a:cubicBezTo>
                  <a:moveTo>
                    <a:pt x="407" y="333"/>
                  </a:moveTo>
                  <a:cubicBezTo>
                    <a:pt x="401" y="333"/>
                    <a:pt x="392" y="338"/>
                    <a:pt x="388" y="343"/>
                  </a:cubicBezTo>
                  <a:cubicBezTo>
                    <a:pt x="383" y="349"/>
                    <a:pt x="385" y="353"/>
                    <a:pt x="391" y="353"/>
                  </a:cubicBezTo>
                  <a:cubicBezTo>
                    <a:pt x="398" y="353"/>
                    <a:pt x="407" y="349"/>
                    <a:pt x="411" y="343"/>
                  </a:cubicBezTo>
                  <a:cubicBezTo>
                    <a:pt x="415" y="338"/>
                    <a:pt x="414" y="333"/>
                    <a:pt x="407" y="333"/>
                  </a:cubicBezTo>
                  <a:cubicBezTo>
                    <a:pt x="407" y="333"/>
                    <a:pt x="407" y="333"/>
                    <a:pt x="407" y="333"/>
                  </a:cubicBezTo>
                  <a:moveTo>
                    <a:pt x="4115" y="333"/>
                  </a:moveTo>
                  <a:cubicBezTo>
                    <a:pt x="4109" y="333"/>
                    <a:pt x="4106" y="338"/>
                    <a:pt x="4110" y="343"/>
                  </a:cubicBezTo>
                  <a:cubicBezTo>
                    <a:pt x="4113" y="349"/>
                    <a:pt x="4121" y="354"/>
                    <a:pt x="4128" y="354"/>
                  </a:cubicBezTo>
                  <a:cubicBezTo>
                    <a:pt x="4134" y="354"/>
                    <a:pt x="4137" y="349"/>
                    <a:pt x="4133" y="343"/>
                  </a:cubicBezTo>
                  <a:cubicBezTo>
                    <a:pt x="4130" y="338"/>
                    <a:pt x="4122" y="333"/>
                    <a:pt x="4115" y="333"/>
                  </a:cubicBezTo>
                  <a:cubicBezTo>
                    <a:pt x="4115" y="333"/>
                    <a:pt x="4115" y="333"/>
                    <a:pt x="4115" y="333"/>
                  </a:cubicBezTo>
                  <a:moveTo>
                    <a:pt x="440" y="333"/>
                  </a:moveTo>
                  <a:cubicBezTo>
                    <a:pt x="434" y="333"/>
                    <a:pt x="425" y="337"/>
                    <a:pt x="421" y="343"/>
                  </a:cubicBezTo>
                  <a:cubicBezTo>
                    <a:pt x="416" y="349"/>
                    <a:pt x="418" y="353"/>
                    <a:pt x="425" y="353"/>
                  </a:cubicBezTo>
                  <a:cubicBezTo>
                    <a:pt x="431" y="353"/>
                    <a:pt x="440" y="348"/>
                    <a:pt x="444" y="343"/>
                  </a:cubicBezTo>
                  <a:cubicBezTo>
                    <a:pt x="449" y="337"/>
                    <a:pt x="447" y="333"/>
                    <a:pt x="440" y="333"/>
                  </a:cubicBezTo>
                  <a:cubicBezTo>
                    <a:pt x="440" y="333"/>
                    <a:pt x="440" y="333"/>
                    <a:pt x="440" y="333"/>
                  </a:cubicBezTo>
                  <a:moveTo>
                    <a:pt x="474" y="333"/>
                  </a:moveTo>
                  <a:cubicBezTo>
                    <a:pt x="467" y="333"/>
                    <a:pt x="459" y="337"/>
                    <a:pt x="454" y="343"/>
                  </a:cubicBezTo>
                  <a:cubicBezTo>
                    <a:pt x="450" y="348"/>
                    <a:pt x="452" y="353"/>
                    <a:pt x="458" y="353"/>
                  </a:cubicBezTo>
                  <a:cubicBezTo>
                    <a:pt x="465" y="353"/>
                    <a:pt x="474" y="348"/>
                    <a:pt x="478" y="343"/>
                  </a:cubicBezTo>
                  <a:cubicBezTo>
                    <a:pt x="482" y="337"/>
                    <a:pt x="480" y="333"/>
                    <a:pt x="474" y="333"/>
                  </a:cubicBezTo>
                  <a:cubicBezTo>
                    <a:pt x="474" y="333"/>
                    <a:pt x="474" y="333"/>
                    <a:pt x="474" y="333"/>
                  </a:cubicBezTo>
                  <a:moveTo>
                    <a:pt x="507" y="332"/>
                  </a:moveTo>
                  <a:cubicBezTo>
                    <a:pt x="500" y="332"/>
                    <a:pt x="492" y="337"/>
                    <a:pt x="488" y="343"/>
                  </a:cubicBezTo>
                  <a:cubicBezTo>
                    <a:pt x="483" y="348"/>
                    <a:pt x="485" y="353"/>
                    <a:pt x="492" y="353"/>
                  </a:cubicBezTo>
                  <a:cubicBezTo>
                    <a:pt x="498" y="353"/>
                    <a:pt x="507" y="348"/>
                    <a:pt x="511" y="342"/>
                  </a:cubicBezTo>
                  <a:cubicBezTo>
                    <a:pt x="515" y="337"/>
                    <a:pt x="513" y="332"/>
                    <a:pt x="507" y="332"/>
                  </a:cubicBezTo>
                  <a:cubicBezTo>
                    <a:pt x="507" y="332"/>
                    <a:pt x="507" y="332"/>
                    <a:pt x="507" y="332"/>
                  </a:cubicBezTo>
                  <a:moveTo>
                    <a:pt x="540" y="332"/>
                  </a:moveTo>
                  <a:cubicBezTo>
                    <a:pt x="534" y="332"/>
                    <a:pt x="525" y="337"/>
                    <a:pt x="521" y="342"/>
                  </a:cubicBezTo>
                  <a:cubicBezTo>
                    <a:pt x="517" y="348"/>
                    <a:pt x="519" y="352"/>
                    <a:pt x="526" y="352"/>
                  </a:cubicBezTo>
                  <a:cubicBezTo>
                    <a:pt x="532" y="352"/>
                    <a:pt x="541" y="348"/>
                    <a:pt x="545" y="342"/>
                  </a:cubicBezTo>
                  <a:cubicBezTo>
                    <a:pt x="549" y="337"/>
                    <a:pt x="547" y="332"/>
                    <a:pt x="541" y="332"/>
                  </a:cubicBezTo>
                  <a:cubicBezTo>
                    <a:pt x="540" y="332"/>
                    <a:pt x="540" y="332"/>
                    <a:pt x="540" y="332"/>
                  </a:cubicBezTo>
                  <a:moveTo>
                    <a:pt x="575" y="332"/>
                  </a:moveTo>
                  <a:cubicBezTo>
                    <a:pt x="568" y="332"/>
                    <a:pt x="560" y="336"/>
                    <a:pt x="556" y="342"/>
                  </a:cubicBezTo>
                  <a:cubicBezTo>
                    <a:pt x="552" y="348"/>
                    <a:pt x="554" y="352"/>
                    <a:pt x="560" y="352"/>
                  </a:cubicBezTo>
                  <a:cubicBezTo>
                    <a:pt x="567" y="352"/>
                    <a:pt x="575" y="347"/>
                    <a:pt x="579" y="342"/>
                  </a:cubicBezTo>
                  <a:cubicBezTo>
                    <a:pt x="583" y="336"/>
                    <a:pt x="581" y="332"/>
                    <a:pt x="575" y="332"/>
                  </a:cubicBezTo>
                  <a:cubicBezTo>
                    <a:pt x="575" y="332"/>
                    <a:pt x="575" y="332"/>
                    <a:pt x="575" y="332"/>
                  </a:cubicBezTo>
                  <a:moveTo>
                    <a:pt x="608" y="332"/>
                  </a:moveTo>
                  <a:cubicBezTo>
                    <a:pt x="602" y="332"/>
                    <a:pt x="593" y="336"/>
                    <a:pt x="589" y="342"/>
                  </a:cubicBezTo>
                  <a:cubicBezTo>
                    <a:pt x="585" y="347"/>
                    <a:pt x="587" y="352"/>
                    <a:pt x="594" y="352"/>
                  </a:cubicBezTo>
                  <a:cubicBezTo>
                    <a:pt x="600" y="352"/>
                    <a:pt x="609" y="347"/>
                    <a:pt x="613" y="342"/>
                  </a:cubicBezTo>
                  <a:cubicBezTo>
                    <a:pt x="617" y="336"/>
                    <a:pt x="615" y="332"/>
                    <a:pt x="608" y="332"/>
                  </a:cubicBezTo>
                  <a:cubicBezTo>
                    <a:pt x="608" y="332"/>
                    <a:pt x="608" y="332"/>
                    <a:pt x="608" y="332"/>
                  </a:cubicBezTo>
                  <a:moveTo>
                    <a:pt x="642" y="331"/>
                  </a:moveTo>
                  <a:cubicBezTo>
                    <a:pt x="635" y="331"/>
                    <a:pt x="627" y="336"/>
                    <a:pt x="623" y="341"/>
                  </a:cubicBezTo>
                  <a:cubicBezTo>
                    <a:pt x="619" y="347"/>
                    <a:pt x="621" y="352"/>
                    <a:pt x="627" y="352"/>
                  </a:cubicBezTo>
                  <a:cubicBezTo>
                    <a:pt x="634" y="351"/>
                    <a:pt x="642" y="347"/>
                    <a:pt x="646" y="341"/>
                  </a:cubicBezTo>
                  <a:cubicBezTo>
                    <a:pt x="650" y="336"/>
                    <a:pt x="648" y="331"/>
                    <a:pt x="642" y="331"/>
                  </a:cubicBezTo>
                  <a:cubicBezTo>
                    <a:pt x="642" y="331"/>
                    <a:pt x="642" y="331"/>
                    <a:pt x="642" y="331"/>
                  </a:cubicBezTo>
                  <a:moveTo>
                    <a:pt x="675" y="331"/>
                  </a:moveTo>
                  <a:cubicBezTo>
                    <a:pt x="669" y="331"/>
                    <a:pt x="660" y="336"/>
                    <a:pt x="657" y="341"/>
                  </a:cubicBezTo>
                  <a:cubicBezTo>
                    <a:pt x="653" y="347"/>
                    <a:pt x="655" y="351"/>
                    <a:pt x="661" y="351"/>
                  </a:cubicBezTo>
                  <a:cubicBezTo>
                    <a:pt x="668" y="351"/>
                    <a:pt x="676" y="347"/>
                    <a:pt x="680" y="341"/>
                  </a:cubicBezTo>
                  <a:cubicBezTo>
                    <a:pt x="684" y="335"/>
                    <a:pt x="682" y="331"/>
                    <a:pt x="675" y="331"/>
                  </a:cubicBezTo>
                  <a:cubicBezTo>
                    <a:pt x="675" y="331"/>
                    <a:pt x="675" y="331"/>
                    <a:pt x="675" y="331"/>
                  </a:cubicBezTo>
                  <a:moveTo>
                    <a:pt x="708" y="331"/>
                  </a:moveTo>
                  <a:cubicBezTo>
                    <a:pt x="702" y="331"/>
                    <a:pt x="694" y="335"/>
                    <a:pt x="690" y="341"/>
                  </a:cubicBezTo>
                  <a:cubicBezTo>
                    <a:pt x="686" y="347"/>
                    <a:pt x="688" y="351"/>
                    <a:pt x="695" y="351"/>
                  </a:cubicBezTo>
                  <a:cubicBezTo>
                    <a:pt x="701" y="351"/>
                    <a:pt x="710" y="346"/>
                    <a:pt x="713" y="341"/>
                  </a:cubicBezTo>
                  <a:cubicBezTo>
                    <a:pt x="717" y="335"/>
                    <a:pt x="715" y="331"/>
                    <a:pt x="709" y="331"/>
                  </a:cubicBezTo>
                  <a:cubicBezTo>
                    <a:pt x="709" y="331"/>
                    <a:pt x="709" y="331"/>
                    <a:pt x="708" y="331"/>
                  </a:cubicBezTo>
                  <a:moveTo>
                    <a:pt x="742" y="330"/>
                  </a:moveTo>
                  <a:cubicBezTo>
                    <a:pt x="735" y="331"/>
                    <a:pt x="727" y="335"/>
                    <a:pt x="723" y="341"/>
                  </a:cubicBezTo>
                  <a:cubicBezTo>
                    <a:pt x="720" y="346"/>
                    <a:pt x="722" y="351"/>
                    <a:pt x="729" y="351"/>
                  </a:cubicBezTo>
                  <a:cubicBezTo>
                    <a:pt x="735" y="351"/>
                    <a:pt x="743" y="346"/>
                    <a:pt x="747" y="341"/>
                  </a:cubicBezTo>
                  <a:cubicBezTo>
                    <a:pt x="751" y="335"/>
                    <a:pt x="748" y="330"/>
                    <a:pt x="742" y="330"/>
                  </a:cubicBezTo>
                  <a:cubicBezTo>
                    <a:pt x="742" y="330"/>
                    <a:pt x="742" y="330"/>
                    <a:pt x="742" y="330"/>
                  </a:cubicBezTo>
                  <a:moveTo>
                    <a:pt x="775" y="330"/>
                  </a:moveTo>
                  <a:cubicBezTo>
                    <a:pt x="769" y="330"/>
                    <a:pt x="760" y="335"/>
                    <a:pt x="757" y="340"/>
                  </a:cubicBezTo>
                  <a:cubicBezTo>
                    <a:pt x="753" y="346"/>
                    <a:pt x="755" y="351"/>
                    <a:pt x="762" y="350"/>
                  </a:cubicBezTo>
                  <a:cubicBezTo>
                    <a:pt x="768" y="350"/>
                    <a:pt x="777" y="346"/>
                    <a:pt x="780" y="340"/>
                  </a:cubicBezTo>
                  <a:cubicBezTo>
                    <a:pt x="784" y="335"/>
                    <a:pt x="782" y="330"/>
                    <a:pt x="775" y="330"/>
                  </a:cubicBezTo>
                  <a:cubicBezTo>
                    <a:pt x="775" y="330"/>
                    <a:pt x="775" y="330"/>
                    <a:pt x="775" y="330"/>
                  </a:cubicBezTo>
                  <a:moveTo>
                    <a:pt x="808" y="330"/>
                  </a:moveTo>
                  <a:cubicBezTo>
                    <a:pt x="802" y="330"/>
                    <a:pt x="794" y="335"/>
                    <a:pt x="790" y="340"/>
                  </a:cubicBezTo>
                  <a:cubicBezTo>
                    <a:pt x="787" y="346"/>
                    <a:pt x="789" y="350"/>
                    <a:pt x="796" y="350"/>
                  </a:cubicBezTo>
                  <a:cubicBezTo>
                    <a:pt x="802" y="350"/>
                    <a:pt x="810" y="346"/>
                    <a:pt x="814" y="340"/>
                  </a:cubicBezTo>
                  <a:cubicBezTo>
                    <a:pt x="817" y="334"/>
                    <a:pt x="815" y="330"/>
                    <a:pt x="809" y="330"/>
                  </a:cubicBezTo>
                  <a:cubicBezTo>
                    <a:pt x="809" y="330"/>
                    <a:pt x="809" y="330"/>
                    <a:pt x="808" y="330"/>
                  </a:cubicBezTo>
                  <a:moveTo>
                    <a:pt x="842" y="330"/>
                  </a:moveTo>
                  <a:cubicBezTo>
                    <a:pt x="836" y="330"/>
                    <a:pt x="828" y="334"/>
                    <a:pt x="824" y="340"/>
                  </a:cubicBezTo>
                  <a:cubicBezTo>
                    <a:pt x="821" y="346"/>
                    <a:pt x="823" y="350"/>
                    <a:pt x="830" y="350"/>
                  </a:cubicBezTo>
                  <a:cubicBezTo>
                    <a:pt x="836" y="350"/>
                    <a:pt x="844" y="345"/>
                    <a:pt x="848" y="340"/>
                  </a:cubicBezTo>
                  <a:cubicBezTo>
                    <a:pt x="851" y="334"/>
                    <a:pt x="849" y="330"/>
                    <a:pt x="842" y="330"/>
                  </a:cubicBezTo>
                  <a:cubicBezTo>
                    <a:pt x="842" y="330"/>
                    <a:pt x="842" y="330"/>
                    <a:pt x="842" y="330"/>
                  </a:cubicBezTo>
                  <a:moveTo>
                    <a:pt x="875" y="329"/>
                  </a:moveTo>
                  <a:cubicBezTo>
                    <a:pt x="869" y="329"/>
                    <a:pt x="861" y="334"/>
                    <a:pt x="858" y="340"/>
                  </a:cubicBezTo>
                  <a:cubicBezTo>
                    <a:pt x="854" y="345"/>
                    <a:pt x="857" y="350"/>
                    <a:pt x="863" y="350"/>
                  </a:cubicBezTo>
                  <a:cubicBezTo>
                    <a:pt x="870" y="350"/>
                    <a:pt x="878" y="345"/>
                    <a:pt x="881" y="339"/>
                  </a:cubicBezTo>
                  <a:cubicBezTo>
                    <a:pt x="884" y="334"/>
                    <a:pt x="882" y="329"/>
                    <a:pt x="876" y="329"/>
                  </a:cubicBezTo>
                  <a:cubicBezTo>
                    <a:pt x="875" y="329"/>
                    <a:pt x="875" y="329"/>
                    <a:pt x="875" y="329"/>
                  </a:cubicBezTo>
                  <a:moveTo>
                    <a:pt x="907" y="329"/>
                  </a:moveTo>
                  <a:cubicBezTo>
                    <a:pt x="901" y="329"/>
                    <a:pt x="893" y="334"/>
                    <a:pt x="889" y="339"/>
                  </a:cubicBezTo>
                  <a:cubicBezTo>
                    <a:pt x="886" y="345"/>
                    <a:pt x="888" y="350"/>
                    <a:pt x="895" y="349"/>
                  </a:cubicBezTo>
                  <a:cubicBezTo>
                    <a:pt x="901" y="349"/>
                    <a:pt x="909" y="345"/>
                    <a:pt x="913" y="339"/>
                  </a:cubicBezTo>
                  <a:cubicBezTo>
                    <a:pt x="916" y="334"/>
                    <a:pt x="913" y="329"/>
                    <a:pt x="907" y="329"/>
                  </a:cubicBezTo>
                  <a:cubicBezTo>
                    <a:pt x="907" y="329"/>
                    <a:pt x="907" y="329"/>
                    <a:pt x="907" y="329"/>
                  </a:cubicBezTo>
                  <a:moveTo>
                    <a:pt x="941" y="329"/>
                  </a:moveTo>
                  <a:cubicBezTo>
                    <a:pt x="934" y="329"/>
                    <a:pt x="926" y="334"/>
                    <a:pt x="923" y="339"/>
                  </a:cubicBezTo>
                  <a:cubicBezTo>
                    <a:pt x="920" y="345"/>
                    <a:pt x="922" y="349"/>
                    <a:pt x="929" y="349"/>
                  </a:cubicBezTo>
                  <a:cubicBezTo>
                    <a:pt x="935" y="349"/>
                    <a:pt x="943" y="345"/>
                    <a:pt x="947" y="339"/>
                  </a:cubicBezTo>
                  <a:cubicBezTo>
                    <a:pt x="950" y="333"/>
                    <a:pt x="947" y="329"/>
                    <a:pt x="941" y="329"/>
                  </a:cubicBezTo>
                  <a:cubicBezTo>
                    <a:pt x="941" y="329"/>
                    <a:pt x="941" y="329"/>
                    <a:pt x="941" y="329"/>
                  </a:cubicBezTo>
                  <a:moveTo>
                    <a:pt x="1141" y="327"/>
                  </a:moveTo>
                  <a:cubicBezTo>
                    <a:pt x="1134" y="327"/>
                    <a:pt x="1127" y="332"/>
                    <a:pt x="1124" y="338"/>
                  </a:cubicBezTo>
                  <a:cubicBezTo>
                    <a:pt x="1121" y="343"/>
                    <a:pt x="1124" y="348"/>
                    <a:pt x="1130" y="348"/>
                  </a:cubicBezTo>
                  <a:cubicBezTo>
                    <a:pt x="1137" y="348"/>
                    <a:pt x="1144" y="343"/>
                    <a:pt x="1147" y="337"/>
                  </a:cubicBezTo>
                  <a:cubicBezTo>
                    <a:pt x="1150" y="332"/>
                    <a:pt x="1147" y="327"/>
                    <a:pt x="1141" y="327"/>
                  </a:cubicBezTo>
                  <a:cubicBezTo>
                    <a:pt x="1141" y="327"/>
                    <a:pt x="1141" y="327"/>
                    <a:pt x="1141" y="327"/>
                  </a:cubicBezTo>
                  <a:moveTo>
                    <a:pt x="1174" y="326"/>
                  </a:moveTo>
                  <a:cubicBezTo>
                    <a:pt x="1168" y="326"/>
                    <a:pt x="1160" y="331"/>
                    <a:pt x="1157" y="336"/>
                  </a:cubicBezTo>
                  <a:cubicBezTo>
                    <a:pt x="1154" y="342"/>
                    <a:pt x="1157" y="346"/>
                    <a:pt x="1164" y="346"/>
                  </a:cubicBezTo>
                  <a:cubicBezTo>
                    <a:pt x="1170" y="346"/>
                    <a:pt x="1178" y="342"/>
                    <a:pt x="1181" y="336"/>
                  </a:cubicBezTo>
                  <a:cubicBezTo>
                    <a:pt x="1183" y="330"/>
                    <a:pt x="1180" y="326"/>
                    <a:pt x="1174" y="326"/>
                  </a:cubicBezTo>
                  <a:cubicBezTo>
                    <a:pt x="1174" y="326"/>
                    <a:pt x="1174" y="326"/>
                    <a:pt x="1174" y="326"/>
                  </a:cubicBezTo>
                  <a:moveTo>
                    <a:pt x="1208" y="326"/>
                  </a:moveTo>
                  <a:cubicBezTo>
                    <a:pt x="1201" y="326"/>
                    <a:pt x="1194" y="330"/>
                    <a:pt x="1191" y="336"/>
                  </a:cubicBezTo>
                  <a:cubicBezTo>
                    <a:pt x="1188" y="342"/>
                    <a:pt x="1191" y="346"/>
                    <a:pt x="1198" y="346"/>
                  </a:cubicBezTo>
                  <a:cubicBezTo>
                    <a:pt x="1204" y="346"/>
                    <a:pt x="1212" y="341"/>
                    <a:pt x="1214" y="336"/>
                  </a:cubicBezTo>
                  <a:cubicBezTo>
                    <a:pt x="1217" y="330"/>
                    <a:pt x="1214" y="326"/>
                    <a:pt x="1208" y="326"/>
                  </a:cubicBezTo>
                  <a:cubicBezTo>
                    <a:pt x="1208" y="326"/>
                    <a:pt x="1208" y="326"/>
                    <a:pt x="1208" y="326"/>
                  </a:cubicBezTo>
                  <a:moveTo>
                    <a:pt x="1241" y="325"/>
                  </a:moveTo>
                  <a:cubicBezTo>
                    <a:pt x="1234" y="325"/>
                    <a:pt x="1227" y="330"/>
                    <a:pt x="1224" y="336"/>
                  </a:cubicBezTo>
                  <a:cubicBezTo>
                    <a:pt x="1222" y="341"/>
                    <a:pt x="1225" y="346"/>
                    <a:pt x="1231" y="346"/>
                  </a:cubicBezTo>
                  <a:cubicBezTo>
                    <a:pt x="1238" y="346"/>
                    <a:pt x="1245" y="341"/>
                    <a:pt x="1248" y="335"/>
                  </a:cubicBezTo>
                  <a:cubicBezTo>
                    <a:pt x="1250" y="330"/>
                    <a:pt x="1247" y="325"/>
                    <a:pt x="1241" y="325"/>
                  </a:cubicBezTo>
                  <a:cubicBezTo>
                    <a:pt x="1241" y="325"/>
                    <a:pt x="1241" y="325"/>
                    <a:pt x="1241" y="325"/>
                  </a:cubicBezTo>
                  <a:moveTo>
                    <a:pt x="1275" y="325"/>
                  </a:moveTo>
                  <a:cubicBezTo>
                    <a:pt x="1269" y="325"/>
                    <a:pt x="1261" y="330"/>
                    <a:pt x="1259" y="335"/>
                  </a:cubicBezTo>
                  <a:cubicBezTo>
                    <a:pt x="1256" y="341"/>
                    <a:pt x="1259" y="346"/>
                    <a:pt x="1266" y="345"/>
                  </a:cubicBezTo>
                  <a:cubicBezTo>
                    <a:pt x="1272" y="345"/>
                    <a:pt x="1279" y="341"/>
                    <a:pt x="1282" y="335"/>
                  </a:cubicBezTo>
                  <a:cubicBezTo>
                    <a:pt x="1285" y="330"/>
                    <a:pt x="1281" y="325"/>
                    <a:pt x="1275" y="325"/>
                  </a:cubicBezTo>
                  <a:cubicBezTo>
                    <a:pt x="1275" y="325"/>
                    <a:pt x="1275" y="325"/>
                    <a:pt x="1275" y="325"/>
                  </a:cubicBezTo>
                  <a:moveTo>
                    <a:pt x="2042" y="320"/>
                  </a:moveTo>
                  <a:cubicBezTo>
                    <a:pt x="2035" y="320"/>
                    <a:pt x="2029" y="324"/>
                    <a:pt x="2028" y="330"/>
                  </a:cubicBezTo>
                  <a:cubicBezTo>
                    <a:pt x="2027" y="336"/>
                    <a:pt x="2032" y="340"/>
                    <a:pt x="2038" y="340"/>
                  </a:cubicBezTo>
                  <a:cubicBezTo>
                    <a:pt x="2045" y="340"/>
                    <a:pt x="2051" y="335"/>
                    <a:pt x="2052" y="330"/>
                  </a:cubicBezTo>
                  <a:cubicBezTo>
                    <a:pt x="2052" y="324"/>
                    <a:pt x="2048" y="320"/>
                    <a:pt x="2042" y="320"/>
                  </a:cubicBezTo>
                  <a:cubicBezTo>
                    <a:pt x="2042" y="320"/>
                    <a:pt x="2042" y="320"/>
                    <a:pt x="2042" y="320"/>
                  </a:cubicBezTo>
                  <a:moveTo>
                    <a:pt x="2207" y="318"/>
                  </a:moveTo>
                  <a:cubicBezTo>
                    <a:pt x="2201" y="318"/>
                    <a:pt x="2195" y="323"/>
                    <a:pt x="2194" y="328"/>
                  </a:cubicBezTo>
                  <a:cubicBezTo>
                    <a:pt x="2193" y="334"/>
                    <a:pt x="2198" y="338"/>
                    <a:pt x="2205" y="338"/>
                  </a:cubicBezTo>
                  <a:cubicBezTo>
                    <a:pt x="2211" y="338"/>
                    <a:pt x="2217" y="334"/>
                    <a:pt x="2217" y="328"/>
                  </a:cubicBezTo>
                  <a:cubicBezTo>
                    <a:pt x="2218" y="322"/>
                    <a:pt x="2213" y="318"/>
                    <a:pt x="2207" y="318"/>
                  </a:cubicBezTo>
                  <a:cubicBezTo>
                    <a:pt x="2207" y="318"/>
                    <a:pt x="2207" y="318"/>
                    <a:pt x="2207" y="318"/>
                  </a:cubicBezTo>
                  <a:moveTo>
                    <a:pt x="2240" y="317"/>
                  </a:moveTo>
                  <a:cubicBezTo>
                    <a:pt x="2234" y="318"/>
                    <a:pt x="2228" y="322"/>
                    <a:pt x="2228" y="328"/>
                  </a:cubicBezTo>
                  <a:cubicBezTo>
                    <a:pt x="2227" y="333"/>
                    <a:pt x="2232" y="338"/>
                    <a:pt x="2238" y="338"/>
                  </a:cubicBezTo>
                  <a:cubicBezTo>
                    <a:pt x="2245" y="338"/>
                    <a:pt x="2251" y="333"/>
                    <a:pt x="2251" y="328"/>
                  </a:cubicBezTo>
                  <a:cubicBezTo>
                    <a:pt x="2252" y="322"/>
                    <a:pt x="2247" y="317"/>
                    <a:pt x="2241" y="317"/>
                  </a:cubicBezTo>
                  <a:cubicBezTo>
                    <a:pt x="2241" y="317"/>
                    <a:pt x="2241" y="317"/>
                    <a:pt x="2240" y="317"/>
                  </a:cubicBezTo>
                  <a:moveTo>
                    <a:pt x="2274" y="317"/>
                  </a:moveTo>
                  <a:cubicBezTo>
                    <a:pt x="2267" y="317"/>
                    <a:pt x="2261" y="322"/>
                    <a:pt x="2261" y="328"/>
                  </a:cubicBezTo>
                  <a:cubicBezTo>
                    <a:pt x="2260" y="333"/>
                    <a:pt x="2265" y="338"/>
                    <a:pt x="2272" y="338"/>
                  </a:cubicBezTo>
                  <a:cubicBezTo>
                    <a:pt x="2278" y="338"/>
                    <a:pt x="2284" y="333"/>
                    <a:pt x="2284" y="327"/>
                  </a:cubicBezTo>
                  <a:cubicBezTo>
                    <a:pt x="2285" y="322"/>
                    <a:pt x="2280" y="317"/>
                    <a:pt x="2274" y="317"/>
                  </a:cubicBezTo>
                  <a:cubicBezTo>
                    <a:pt x="2274" y="317"/>
                    <a:pt x="2274" y="317"/>
                    <a:pt x="2274" y="317"/>
                  </a:cubicBezTo>
                  <a:moveTo>
                    <a:pt x="2373" y="316"/>
                  </a:moveTo>
                  <a:cubicBezTo>
                    <a:pt x="2366" y="316"/>
                    <a:pt x="2361" y="321"/>
                    <a:pt x="2360" y="327"/>
                  </a:cubicBezTo>
                  <a:cubicBezTo>
                    <a:pt x="2360" y="332"/>
                    <a:pt x="2365" y="337"/>
                    <a:pt x="2372" y="337"/>
                  </a:cubicBezTo>
                  <a:cubicBezTo>
                    <a:pt x="2378" y="337"/>
                    <a:pt x="2384" y="332"/>
                    <a:pt x="2384" y="327"/>
                  </a:cubicBezTo>
                  <a:cubicBezTo>
                    <a:pt x="2384" y="321"/>
                    <a:pt x="2379" y="316"/>
                    <a:pt x="2373" y="316"/>
                  </a:cubicBezTo>
                  <a:cubicBezTo>
                    <a:pt x="2373" y="316"/>
                    <a:pt x="2373" y="316"/>
                    <a:pt x="2373" y="316"/>
                  </a:cubicBezTo>
                  <a:moveTo>
                    <a:pt x="2406" y="316"/>
                  </a:moveTo>
                  <a:cubicBezTo>
                    <a:pt x="2400" y="316"/>
                    <a:pt x="2394" y="321"/>
                    <a:pt x="2394" y="326"/>
                  </a:cubicBezTo>
                  <a:cubicBezTo>
                    <a:pt x="2394" y="332"/>
                    <a:pt x="2399" y="337"/>
                    <a:pt x="2405" y="337"/>
                  </a:cubicBezTo>
                  <a:cubicBezTo>
                    <a:pt x="2412" y="337"/>
                    <a:pt x="2417" y="332"/>
                    <a:pt x="2417" y="326"/>
                  </a:cubicBezTo>
                  <a:cubicBezTo>
                    <a:pt x="2418" y="321"/>
                    <a:pt x="2413" y="316"/>
                    <a:pt x="2406" y="316"/>
                  </a:cubicBezTo>
                  <a:cubicBezTo>
                    <a:pt x="2406" y="316"/>
                    <a:pt x="2406" y="316"/>
                    <a:pt x="2406" y="316"/>
                  </a:cubicBezTo>
                  <a:moveTo>
                    <a:pt x="2606" y="316"/>
                  </a:moveTo>
                  <a:cubicBezTo>
                    <a:pt x="2600" y="316"/>
                    <a:pt x="2595" y="321"/>
                    <a:pt x="2595" y="326"/>
                  </a:cubicBezTo>
                  <a:cubicBezTo>
                    <a:pt x="2595" y="332"/>
                    <a:pt x="2601" y="336"/>
                    <a:pt x="2607" y="336"/>
                  </a:cubicBezTo>
                  <a:cubicBezTo>
                    <a:pt x="2613" y="336"/>
                    <a:pt x="2619" y="332"/>
                    <a:pt x="2618" y="326"/>
                  </a:cubicBezTo>
                  <a:cubicBezTo>
                    <a:pt x="2618" y="320"/>
                    <a:pt x="2613" y="316"/>
                    <a:pt x="2606" y="316"/>
                  </a:cubicBezTo>
                  <a:cubicBezTo>
                    <a:pt x="2606" y="316"/>
                    <a:pt x="2606" y="316"/>
                    <a:pt x="2606" y="316"/>
                  </a:cubicBezTo>
                  <a:moveTo>
                    <a:pt x="2439" y="316"/>
                  </a:moveTo>
                  <a:cubicBezTo>
                    <a:pt x="2433" y="316"/>
                    <a:pt x="2427" y="321"/>
                    <a:pt x="2427" y="326"/>
                  </a:cubicBezTo>
                  <a:cubicBezTo>
                    <a:pt x="2427" y="332"/>
                    <a:pt x="2432" y="336"/>
                    <a:pt x="2439" y="336"/>
                  </a:cubicBezTo>
                  <a:cubicBezTo>
                    <a:pt x="2445" y="336"/>
                    <a:pt x="2451" y="332"/>
                    <a:pt x="2451" y="326"/>
                  </a:cubicBezTo>
                  <a:cubicBezTo>
                    <a:pt x="2451" y="320"/>
                    <a:pt x="2446" y="316"/>
                    <a:pt x="2439" y="316"/>
                  </a:cubicBezTo>
                  <a:cubicBezTo>
                    <a:pt x="2439" y="316"/>
                    <a:pt x="2439" y="316"/>
                    <a:pt x="2439" y="316"/>
                  </a:cubicBezTo>
                  <a:moveTo>
                    <a:pt x="2639" y="316"/>
                  </a:moveTo>
                  <a:cubicBezTo>
                    <a:pt x="2633" y="316"/>
                    <a:pt x="2628" y="320"/>
                    <a:pt x="2628" y="326"/>
                  </a:cubicBezTo>
                  <a:cubicBezTo>
                    <a:pt x="2628" y="332"/>
                    <a:pt x="2634" y="336"/>
                    <a:pt x="2640" y="336"/>
                  </a:cubicBezTo>
                  <a:cubicBezTo>
                    <a:pt x="2647" y="336"/>
                    <a:pt x="2652" y="331"/>
                    <a:pt x="2651" y="326"/>
                  </a:cubicBezTo>
                  <a:cubicBezTo>
                    <a:pt x="2651" y="320"/>
                    <a:pt x="2646" y="316"/>
                    <a:pt x="2639" y="316"/>
                  </a:cubicBezTo>
                  <a:cubicBezTo>
                    <a:pt x="2639" y="316"/>
                    <a:pt x="2639" y="316"/>
                    <a:pt x="2639" y="316"/>
                  </a:cubicBezTo>
                  <a:moveTo>
                    <a:pt x="2472" y="316"/>
                  </a:moveTo>
                  <a:cubicBezTo>
                    <a:pt x="2466" y="316"/>
                    <a:pt x="2461" y="320"/>
                    <a:pt x="2461" y="326"/>
                  </a:cubicBezTo>
                  <a:cubicBezTo>
                    <a:pt x="2461" y="332"/>
                    <a:pt x="2466" y="336"/>
                    <a:pt x="2472" y="336"/>
                  </a:cubicBezTo>
                  <a:cubicBezTo>
                    <a:pt x="2479" y="336"/>
                    <a:pt x="2484" y="331"/>
                    <a:pt x="2484" y="326"/>
                  </a:cubicBezTo>
                  <a:cubicBezTo>
                    <a:pt x="2484" y="320"/>
                    <a:pt x="2479" y="316"/>
                    <a:pt x="2472" y="316"/>
                  </a:cubicBezTo>
                  <a:cubicBezTo>
                    <a:pt x="2472" y="316"/>
                    <a:pt x="2472" y="316"/>
                    <a:pt x="2472" y="316"/>
                  </a:cubicBezTo>
                  <a:moveTo>
                    <a:pt x="2672" y="315"/>
                  </a:moveTo>
                  <a:cubicBezTo>
                    <a:pt x="2666" y="315"/>
                    <a:pt x="2661" y="320"/>
                    <a:pt x="2661" y="326"/>
                  </a:cubicBezTo>
                  <a:cubicBezTo>
                    <a:pt x="2661" y="331"/>
                    <a:pt x="2667" y="336"/>
                    <a:pt x="2673" y="336"/>
                  </a:cubicBezTo>
                  <a:cubicBezTo>
                    <a:pt x="2680" y="336"/>
                    <a:pt x="2685" y="331"/>
                    <a:pt x="2684" y="326"/>
                  </a:cubicBezTo>
                  <a:cubicBezTo>
                    <a:pt x="2684" y="320"/>
                    <a:pt x="2678" y="315"/>
                    <a:pt x="2672" y="315"/>
                  </a:cubicBezTo>
                  <a:cubicBezTo>
                    <a:pt x="2672" y="315"/>
                    <a:pt x="2672" y="315"/>
                    <a:pt x="2672" y="315"/>
                  </a:cubicBezTo>
                  <a:moveTo>
                    <a:pt x="2505" y="315"/>
                  </a:moveTo>
                  <a:cubicBezTo>
                    <a:pt x="2499" y="315"/>
                    <a:pt x="2494" y="320"/>
                    <a:pt x="2494" y="326"/>
                  </a:cubicBezTo>
                  <a:cubicBezTo>
                    <a:pt x="2494" y="331"/>
                    <a:pt x="2499" y="336"/>
                    <a:pt x="2505" y="336"/>
                  </a:cubicBezTo>
                  <a:cubicBezTo>
                    <a:pt x="2512" y="336"/>
                    <a:pt x="2517" y="331"/>
                    <a:pt x="2517" y="326"/>
                  </a:cubicBezTo>
                  <a:cubicBezTo>
                    <a:pt x="2517" y="320"/>
                    <a:pt x="2512" y="315"/>
                    <a:pt x="2505" y="315"/>
                  </a:cubicBezTo>
                  <a:cubicBezTo>
                    <a:pt x="2505" y="315"/>
                    <a:pt x="2505" y="315"/>
                    <a:pt x="2505" y="315"/>
                  </a:cubicBezTo>
                  <a:moveTo>
                    <a:pt x="2705" y="315"/>
                  </a:moveTo>
                  <a:cubicBezTo>
                    <a:pt x="2699" y="315"/>
                    <a:pt x="2694" y="320"/>
                    <a:pt x="2694" y="325"/>
                  </a:cubicBezTo>
                  <a:cubicBezTo>
                    <a:pt x="2694" y="331"/>
                    <a:pt x="2700" y="336"/>
                    <a:pt x="2707" y="336"/>
                  </a:cubicBezTo>
                  <a:cubicBezTo>
                    <a:pt x="2713" y="336"/>
                    <a:pt x="2718" y="331"/>
                    <a:pt x="2717" y="325"/>
                  </a:cubicBezTo>
                  <a:cubicBezTo>
                    <a:pt x="2717" y="320"/>
                    <a:pt x="2711" y="315"/>
                    <a:pt x="2705" y="315"/>
                  </a:cubicBezTo>
                  <a:cubicBezTo>
                    <a:pt x="2705" y="315"/>
                    <a:pt x="2705" y="315"/>
                    <a:pt x="2705" y="315"/>
                  </a:cubicBezTo>
                  <a:moveTo>
                    <a:pt x="2539" y="315"/>
                  </a:moveTo>
                  <a:cubicBezTo>
                    <a:pt x="2532" y="315"/>
                    <a:pt x="2527" y="320"/>
                    <a:pt x="2527" y="325"/>
                  </a:cubicBezTo>
                  <a:cubicBezTo>
                    <a:pt x="2527" y="331"/>
                    <a:pt x="2532" y="336"/>
                    <a:pt x="2539" y="336"/>
                  </a:cubicBezTo>
                  <a:cubicBezTo>
                    <a:pt x="2545" y="336"/>
                    <a:pt x="2551" y="331"/>
                    <a:pt x="2550" y="325"/>
                  </a:cubicBezTo>
                  <a:cubicBezTo>
                    <a:pt x="2550" y="320"/>
                    <a:pt x="2545" y="315"/>
                    <a:pt x="2539" y="315"/>
                  </a:cubicBezTo>
                  <a:cubicBezTo>
                    <a:pt x="2539" y="315"/>
                    <a:pt x="2539" y="315"/>
                    <a:pt x="2539" y="315"/>
                  </a:cubicBezTo>
                  <a:moveTo>
                    <a:pt x="2738" y="315"/>
                  </a:moveTo>
                  <a:cubicBezTo>
                    <a:pt x="2732" y="315"/>
                    <a:pt x="2727" y="320"/>
                    <a:pt x="2727" y="325"/>
                  </a:cubicBezTo>
                  <a:cubicBezTo>
                    <a:pt x="2728" y="331"/>
                    <a:pt x="2734" y="335"/>
                    <a:pt x="2740" y="335"/>
                  </a:cubicBezTo>
                  <a:cubicBezTo>
                    <a:pt x="2747" y="335"/>
                    <a:pt x="2751" y="331"/>
                    <a:pt x="2751" y="325"/>
                  </a:cubicBezTo>
                  <a:cubicBezTo>
                    <a:pt x="2750" y="319"/>
                    <a:pt x="2745" y="315"/>
                    <a:pt x="2738" y="315"/>
                  </a:cubicBezTo>
                  <a:cubicBezTo>
                    <a:pt x="2738" y="315"/>
                    <a:pt x="2738" y="315"/>
                    <a:pt x="2738" y="315"/>
                  </a:cubicBezTo>
                  <a:moveTo>
                    <a:pt x="2572" y="315"/>
                  </a:moveTo>
                  <a:cubicBezTo>
                    <a:pt x="2566" y="315"/>
                    <a:pt x="2561" y="320"/>
                    <a:pt x="2561" y="325"/>
                  </a:cubicBezTo>
                  <a:cubicBezTo>
                    <a:pt x="2561" y="331"/>
                    <a:pt x="2566" y="335"/>
                    <a:pt x="2573" y="335"/>
                  </a:cubicBezTo>
                  <a:cubicBezTo>
                    <a:pt x="2579" y="335"/>
                    <a:pt x="2584" y="331"/>
                    <a:pt x="2584" y="325"/>
                  </a:cubicBezTo>
                  <a:cubicBezTo>
                    <a:pt x="2584" y="319"/>
                    <a:pt x="2579" y="315"/>
                    <a:pt x="2572" y="315"/>
                  </a:cubicBezTo>
                  <a:cubicBezTo>
                    <a:pt x="2572" y="315"/>
                    <a:pt x="2572" y="315"/>
                    <a:pt x="2572" y="315"/>
                  </a:cubicBezTo>
                  <a:moveTo>
                    <a:pt x="2772" y="315"/>
                  </a:moveTo>
                  <a:cubicBezTo>
                    <a:pt x="2765" y="315"/>
                    <a:pt x="2761" y="319"/>
                    <a:pt x="2761" y="325"/>
                  </a:cubicBezTo>
                  <a:cubicBezTo>
                    <a:pt x="2762" y="331"/>
                    <a:pt x="2767" y="335"/>
                    <a:pt x="2774" y="335"/>
                  </a:cubicBezTo>
                  <a:cubicBezTo>
                    <a:pt x="2780" y="335"/>
                    <a:pt x="2785" y="330"/>
                    <a:pt x="2785" y="325"/>
                  </a:cubicBezTo>
                  <a:cubicBezTo>
                    <a:pt x="2784" y="319"/>
                    <a:pt x="2778" y="315"/>
                    <a:pt x="2772" y="315"/>
                  </a:cubicBezTo>
                  <a:cubicBezTo>
                    <a:pt x="2772" y="315"/>
                    <a:pt x="2772" y="315"/>
                    <a:pt x="2772" y="315"/>
                  </a:cubicBezTo>
                  <a:moveTo>
                    <a:pt x="2805" y="314"/>
                  </a:moveTo>
                  <a:cubicBezTo>
                    <a:pt x="2798" y="314"/>
                    <a:pt x="2794" y="319"/>
                    <a:pt x="2794" y="325"/>
                  </a:cubicBezTo>
                  <a:cubicBezTo>
                    <a:pt x="2795" y="330"/>
                    <a:pt x="2801" y="335"/>
                    <a:pt x="2807" y="335"/>
                  </a:cubicBezTo>
                  <a:cubicBezTo>
                    <a:pt x="2814" y="335"/>
                    <a:pt x="2818" y="330"/>
                    <a:pt x="2818" y="325"/>
                  </a:cubicBezTo>
                  <a:cubicBezTo>
                    <a:pt x="2817" y="319"/>
                    <a:pt x="2811" y="314"/>
                    <a:pt x="2805" y="314"/>
                  </a:cubicBezTo>
                  <a:cubicBezTo>
                    <a:pt x="2805" y="314"/>
                    <a:pt x="2805" y="314"/>
                    <a:pt x="2805" y="314"/>
                  </a:cubicBezTo>
                  <a:moveTo>
                    <a:pt x="2838" y="314"/>
                  </a:moveTo>
                  <a:cubicBezTo>
                    <a:pt x="2832" y="314"/>
                    <a:pt x="2827" y="319"/>
                    <a:pt x="2828" y="324"/>
                  </a:cubicBezTo>
                  <a:cubicBezTo>
                    <a:pt x="2828" y="330"/>
                    <a:pt x="2834" y="335"/>
                    <a:pt x="2841" y="335"/>
                  </a:cubicBezTo>
                  <a:cubicBezTo>
                    <a:pt x="2847" y="335"/>
                    <a:pt x="2852" y="330"/>
                    <a:pt x="2851" y="324"/>
                  </a:cubicBezTo>
                  <a:cubicBezTo>
                    <a:pt x="2850" y="319"/>
                    <a:pt x="2844" y="314"/>
                    <a:pt x="2838" y="314"/>
                  </a:cubicBezTo>
                  <a:cubicBezTo>
                    <a:pt x="2838" y="314"/>
                    <a:pt x="2838" y="314"/>
                    <a:pt x="2838" y="314"/>
                  </a:cubicBezTo>
                  <a:moveTo>
                    <a:pt x="2871" y="314"/>
                  </a:moveTo>
                  <a:cubicBezTo>
                    <a:pt x="2865" y="314"/>
                    <a:pt x="2860" y="319"/>
                    <a:pt x="2861" y="324"/>
                  </a:cubicBezTo>
                  <a:cubicBezTo>
                    <a:pt x="2861" y="330"/>
                    <a:pt x="2867" y="334"/>
                    <a:pt x="2874" y="334"/>
                  </a:cubicBezTo>
                  <a:cubicBezTo>
                    <a:pt x="2880" y="334"/>
                    <a:pt x="2885" y="330"/>
                    <a:pt x="2884" y="324"/>
                  </a:cubicBezTo>
                  <a:cubicBezTo>
                    <a:pt x="2883" y="318"/>
                    <a:pt x="2877" y="314"/>
                    <a:pt x="2871" y="314"/>
                  </a:cubicBezTo>
                  <a:cubicBezTo>
                    <a:pt x="2871" y="314"/>
                    <a:pt x="2871" y="314"/>
                    <a:pt x="2871" y="314"/>
                  </a:cubicBezTo>
                  <a:moveTo>
                    <a:pt x="2904" y="314"/>
                  </a:moveTo>
                  <a:cubicBezTo>
                    <a:pt x="2898" y="314"/>
                    <a:pt x="2893" y="318"/>
                    <a:pt x="2894" y="324"/>
                  </a:cubicBezTo>
                  <a:cubicBezTo>
                    <a:pt x="2895" y="330"/>
                    <a:pt x="2901" y="334"/>
                    <a:pt x="2907" y="334"/>
                  </a:cubicBezTo>
                  <a:cubicBezTo>
                    <a:pt x="2914" y="334"/>
                    <a:pt x="2918" y="329"/>
                    <a:pt x="2917" y="324"/>
                  </a:cubicBezTo>
                  <a:cubicBezTo>
                    <a:pt x="2917" y="318"/>
                    <a:pt x="2911" y="314"/>
                    <a:pt x="2904" y="314"/>
                  </a:cubicBezTo>
                  <a:cubicBezTo>
                    <a:pt x="2904" y="314"/>
                    <a:pt x="2904" y="314"/>
                    <a:pt x="2904" y="314"/>
                  </a:cubicBezTo>
                  <a:moveTo>
                    <a:pt x="2938" y="313"/>
                  </a:moveTo>
                  <a:cubicBezTo>
                    <a:pt x="2931" y="313"/>
                    <a:pt x="2927" y="318"/>
                    <a:pt x="2928" y="324"/>
                  </a:cubicBezTo>
                  <a:cubicBezTo>
                    <a:pt x="2929" y="329"/>
                    <a:pt x="2935" y="334"/>
                    <a:pt x="2941" y="334"/>
                  </a:cubicBezTo>
                  <a:cubicBezTo>
                    <a:pt x="2948" y="334"/>
                    <a:pt x="2952" y="329"/>
                    <a:pt x="2951" y="323"/>
                  </a:cubicBezTo>
                  <a:cubicBezTo>
                    <a:pt x="2950" y="318"/>
                    <a:pt x="2944" y="313"/>
                    <a:pt x="2938" y="313"/>
                  </a:cubicBezTo>
                  <a:cubicBezTo>
                    <a:pt x="2938" y="313"/>
                    <a:pt x="2938" y="313"/>
                    <a:pt x="2938" y="313"/>
                  </a:cubicBezTo>
                  <a:moveTo>
                    <a:pt x="2969" y="313"/>
                  </a:moveTo>
                  <a:cubicBezTo>
                    <a:pt x="2962" y="313"/>
                    <a:pt x="2958" y="318"/>
                    <a:pt x="2959" y="324"/>
                  </a:cubicBezTo>
                  <a:cubicBezTo>
                    <a:pt x="2960" y="329"/>
                    <a:pt x="2966" y="334"/>
                    <a:pt x="2972" y="334"/>
                  </a:cubicBezTo>
                  <a:cubicBezTo>
                    <a:pt x="2979" y="334"/>
                    <a:pt x="2983" y="329"/>
                    <a:pt x="2982" y="323"/>
                  </a:cubicBezTo>
                  <a:cubicBezTo>
                    <a:pt x="2981" y="318"/>
                    <a:pt x="2975" y="313"/>
                    <a:pt x="2969" y="313"/>
                  </a:cubicBezTo>
                  <a:cubicBezTo>
                    <a:pt x="2969" y="313"/>
                    <a:pt x="2969" y="313"/>
                    <a:pt x="2969" y="313"/>
                  </a:cubicBezTo>
                  <a:moveTo>
                    <a:pt x="3002" y="313"/>
                  </a:moveTo>
                  <a:cubicBezTo>
                    <a:pt x="2995" y="313"/>
                    <a:pt x="2991" y="318"/>
                    <a:pt x="2992" y="323"/>
                  </a:cubicBezTo>
                  <a:cubicBezTo>
                    <a:pt x="2993" y="329"/>
                    <a:pt x="2999" y="333"/>
                    <a:pt x="3005" y="333"/>
                  </a:cubicBezTo>
                  <a:cubicBezTo>
                    <a:pt x="3012" y="333"/>
                    <a:pt x="3016" y="329"/>
                    <a:pt x="3015" y="323"/>
                  </a:cubicBezTo>
                  <a:cubicBezTo>
                    <a:pt x="3014" y="317"/>
                    <a:pt x="3008" y="313"/>
                    <a:pt x="3002" y="313"/>
                  </a:cubicBezTo>
                  <a:cubicBezTo>
                    <a:pt x="3002" y="313"/>
                    <a:pt x="3002" y="313"/>
                    <a:pt x="3002" y="313"/>
                  </a:cubicBezTo>
                  <a:moveTo>
                    <a:pt x="3035" y="313"/>
                  </a:moveTo>
                  <a:cubicBezTo>
                    <a:pt x="3028" y="313"/>
                    <a:pt x="3024" y="317"/>
                    <a:pt x="3025" y="323"/>
                  </a:cubicBezTo>
                  <a:cubicBezTo>
                    <a:pt x="3026" y="329"/>
                    <a:pt x="3032" y="333"/>
                    <a:pt x="3039" y="333"/>
                  </a:cubicBezTo>
                  <a:cubicBezTo>
                    <a:pt x="3045" y="333"/>
                    <a:pt x="3050" y="328"/>
                    <a:pt x="3049" y="323"/>
                  </a:cubicBezTo>
                  <a:cubicBezTo>
                    <a:pt x="3047" y="317"/>
                    <a:pt x="3041" y="313"/>
                    <a:pt x="3035" y="313"/>
                  </a:cubicBezTo>
                  <a:cubicBezTo>
                    <a:pt x="3035" y="313"/>
                    <a:pt x="3035" y="313"/>
                    <a:pt x="3035" y="313"/>
                  </a:cubicBezTo>
                  <a:moveTo>
                    <a:pt x="3069" y="312"/>
                  </a:moveTo>
                  <a:cubicBezTo>
                    <a:pt x="3063" y="312"/>
                    <a:pt x="3058" y="317"/>
                    <a:pt x="3060" y="323"/>
                  </a:cubicBezTo>
                  <a:cubicBezTo>
                    <a:pt x="3061" y="328"/>
                    <a:pt x="3067" y="333"/>
                    <a:pt x="3073" y="333"/>
                  </a:cubicBezTo>
                  <a:cubicBezTo>
                    <a:pt x="3080" y="333"/>
                    <a:pt x="3084" y="328"/>
                    <a:pt x="3083" y="323"/>
                  </a:cubicBezTo>
                  <a:cubicBezTo>
                    <a:pt x="3082" y="317"/>
                    <a:pt x="3076" y="312"/>
                    <a:pt x="3069" y="312"/>
                  </a:cubicBezTo>
                  <a:cubicBezTo>
                    <a:pt x="3069" y="312"/>
                    <a:pt x="3069" y="312"/>
                    <a:pt x="3069" y="312"/>
                  </a:cubicBezTo>
                  <a:moveTo>
                    <a:pt x="3102" y="312"/>
                  </a:moveTo>
                  <a:cubicBezTo>
                    <a:pt x="3096" y="312"/>
                    <a:pt x="3091" y="317"/>
                    <a:pt x="3093" y="322"/>
                  </a:cubicBezTo>
                  <a:cubicBezTo>
                    <a:pt x="3094" y="328"/>
                    <a:pt x="3100" y="333"/>
                    <a:pt x="3107" y="333"/>
                  </a:cubicBezTo>
                  <a:cubicBezTo>
                    <a:pt x="3113" y="333"/>
                    <a:pt x="3117" y="328"/>
                    <a:pt x="3116" y="322"/>
                  </a:cubicBezTo>
                  <a:cubicBezTo>
                    <a:pt x="3115" y="317"/>
                    <a:pt x="3108" y="312"/>
                    <a:pt x="3102" y="312"/>
                  </a:cubicBezTo>
                  <a:cubicBezTo>
                    <a:pt x="3102" y="312"/>
                    <a:pt x="3102" y="312"/>
                    <a:pt x="3102" y="312"/>
                  </a:cubicBezTo>
                  <a:moveTo>
                    <a:pt x="3135" y="312"/>
                  </a:moveTo>
                  <a:cubicBezTo>
                    <a:pt x="3129" y="312"/>
                    <a:pt x="3125" y="317"/>
                    <a:pt x="3126" y="322"/>
                  </a:cubicBezTo>
                  <a:cubicBezTo>
                    <a:pt x="3127" y="328"/>
                    <a:pt x="3134" y="332"/>
                    <a:pt x="3140" y="332"/>
                  </a:cubicBezTo>
                  <a:cubicBezTo>
                    <a:pt x="3147" y="332"/>
                    <a:pt x="3151" y="328"/>
                    <a:pt x="3149" y="322"/>
                  </a:cubicBezTo>
                  <a:cubicBezTo>
                    <a:pt x="3148" y="316"/>
                    <a:pt x="3142" y="312"/>
                    <a:pt x="3135" y="312"/>
                  </a:cubicBezTo>
                  <a:cubicBezTo>
                    <a:pt x="3135" y="312"/>
                    <a:pt x="3135" y="312"/>
                    <a:pt x="3135" y="312"/>
                  </a:cubicBezTo>
                  <a:moveTo>
                    <a:pt x="3169" y="312"/>
                  </a:moveTo>
                  <a:cubicBezTo>
                    <a:pt x="3162" y="312"/>
                    <a:pt x="3158" y="316"/>
                    <a:pt x="3160" y="322"/>
                  </a:cubicBezTo>
                  <a:cubicBezTo>
                    <a:pt x="3161" y="328"/>
                    <a:pt x="3167" y="332"/>
                    <a:pt x="3174" y="332"/>
                  </a:cubicBezTo>
                  <a:cubicBezTo>
                    <a:pt x="3180" y="332"/>
                    <a:pt x="3184" y="327"/>
                    <a:pt x="3183" y="322"/>
                  </a:cubicBezTo>
                  <a:cubicBezTo>
                    <a:pt x="3182" y="316"/>
                    <a:pt x="3175" y="312"/>
                    <a:pt x="3169" y="312"/>
                  </a:cubicBezTo>
                  <a:cubicBezTo>
                    <a:pt x="3169" y="312"/>
                    <a:pt x="3169" y="312"/>
                    <a:pt x="3169" y="312"/>
                  </a:cubicBezTo>
                  <a:moveTo>
                    <a:pt x="3202" y="311"/>
                  </a:moveTo>
                  <a:cubicBezTo>
                    <a:pt x="3195" y="311"/>
                    <a:pt x="3191" y="316"/>
                    <a:pt x="3193" y="322"/>
                  </a:cubicBezTo>
                  <a:cubicBezTo>
                    <a:pt x="3194" y="327"/>
                    <a:pt x="3201" y="332"/>
                    <a:pt x="3207" y="332"/>
                  </a:cubicBezTo>
                  <a:cubicBezTo>
                    <a:pt x="3214" y="332"/>
                    <a:pt x="3218" y="327"/>
                    <a:pt x="3216" y="321"/>
                  </a:cubicBezTo>
                  <a:cubicBezTo>
                    <a:pt x="3215" y="316"/>
                    <a:pt x="3208" y="311"/>
                    <a:pt x="3202" y="311"/>
                  </a:cubicBezTo>
                  <a:cubicBezTo>
                    <a:pt x="3202" y="311"/>
                    <a:pt x="3202" y="311"/>
                    <a:pt x="3202" y="311"/>
                  </a:cubicBezTo>
                  <a:moveTo>
                    <a:pt x="3235" y="311"/>
                  </a:moveTo>
                  <a:cubicBezTo>
                    <a:pt x="3228" y="311"/>
                    <a:pt x="3224" y="316"/>
                    <a:pt x="3226" y="321"/>
                  </a:cubicBezTo>
                  <a:cubicBezTo>
                    <a:pt x="3228" y="327"/>
                    <a:pt x="3234" y="332"/>
                    <a:pt x="3240" y="332"/>
                  </a:cubicBezTo>
                  <a:cubicBezTo>
                    <a:pt x="3247" y="332"/>
                    <a:pt x="3251" y="327"/>
                    <a:pt x="3249" y="321"/>
                  </a:cubicBezTo>
                  <a:cubicBezTo>
                    <a:pt x="3248" y="316"/>
                    <a:pt x="3241" y="311"/>
                    <a:pt x="3235" y="311"/>
                  </a:cubicBezTo>
                  <a:cubicBezTo>
                    <a:pt x="3235" y="311"/>
                    <a:pt x="3235" y="311"/>
                    <a:pt x="3235" y="311"/>
                  </a:cubicBezTo>
                  <a:moveTo>
                    <a:pt x="3268" y="311"/>
                  </a:moveTo>
                  <a:cubicBezTo>
                    <a:pt x="3261" y="311"/>
                    <a:pt x="3258" y="315"/>
                    <a:pt x="3259" y="321"/>
                  </a:cubicBezTo>
                  <a:cubicBezTo>
                    <a:pt x="3261" y="327"/>
                    <a:pt x="3267" y="331"/>
                    <a:pt x="3274" y="331"/>
                  </a:cubicBezTo>
                  <a:cubicBezTo>
                    <a:pt x="3280" y="331"/>
                    <a:pt x="3284" y="327"/>
                    <a:pt x="3282" y="321"/>
                  </a:cubicBezTo>
                  <a:cubicBezTo>
                    <a:pt x="3281" y="315"/>
                    <a:pt x="3274" y="311"/>
                    <a:pt x="3268" y="311"/>
                  </a:cubicBezTo>
                  <a:cubicBezTo>
                    <a:pt x="3268" y="311"/>
                    <a:pt x="3268" y="311"/>
                    <a:pt x="3268" y="311"/>
                  </a:cubicBezTo>
                  <a:moveTo>
                    <a:pt x="3301" y="311"/>
                  </a:moveTo>
                  <a:cubicBezTo>
                    <a:pt x="3294" y="311"/>
                    <a:pt x="3291" y="315"/>
                    <a:pt x="3292" y="321"/>
                  </a:cubicBezTo>
                  <a:cubicBezTo>
                    <a:pt x="3294" y="327"/>
                    <a:pt x="3300" y="331"/>
                    <a:pt x="3307" y="331"/>
                  </a:cubicBezTo>
                  <a:cubicBezTo>
                    <a:pt x="3313" y="331"/>
                    <a:pt x="3317" y="326"/>
                    <a:pt x="3315" y="321"/>
                  </a:cubicBezTo>
                  <a:cubicBezTo>
                    <a:pt x="3314" y="315"/>
                    <a:pt x="3307" y="311"/>
                    <a:pt x="3301" y="311"/>
                  </a:cubicBezTo>
                  <a:cubicBezTo>
                    <a:pt x="3301" y="311"/>
                    <a:pt x="3301" y="311"/>
                    <a:pt x="3301" y="311"/>
                  </a:cubicBezTo>
                  <a:moveTo>
                    <a:pt x="3334" y="310"/>
                  </a:moveTo>
                  <a:cubicBezTo>
                    <a:pt x="3327" y="310"/>
                    <a:pt x="3324" y="315"/>
                    <a:pt x="3325" y="321"/>
                  </a:cubicBezTo>
                  <a:cubicBezTo>
                    <a:pt x="3327" y="326"/>
                    <a:pt x="3334" y="331"/>
                    <a:pt x="3340" y="331"/>
                  </a:cubicBezTo>
                  <a:cubicBezTo>
                    <a:pt x="3347" y="331"/>
                    <a:pt x="3350" y="326"/>
                    <a:pt x="3349" y="320"/>
                  </a:cubicBezTo>
                  <a:cubicBezTo>
                    <a:pt x="3347" y="315"/>
                    <a:pt x="3340" y="310"/>
                    <a:pt x="3334" y="310"/>
                  </a:cubicBezTo>
                  <a:cubicBezTo>
                    <a:pt x="3334" y="310"/>
                    <a:pt x="3334" y="310"/>
                    <a:pt x="3334" y="310"/>
                  </a:cubicBezTo>
                  <a:moveTo>
                    <a:pt x="3367" y="310"/>
                  </a:moveTo>
                  <a:cubicBezTo>
                    <a:pt x="3361" y="310"/>
                    <a:pt x="3357" y="315"/>
                    <a:pt x="3359" y="320"/>
                  </a:cubicBezTo>
                  <a:cubicBezTo>
                    <a:pt x="3360" y="326"/>
                    <a:pt x="3367" y="331"/>
                    <a:pt x="3374" y="331"/>
                  </a:cubicBezTo>
                  <a:cubicBezTo>
                    <a:pt x="3380" y="331"/>
                    <a:pt x="3384" y="326"/>
                    <a:pt x="3382" y="320"/>
                  </a:cubicBezTo>
                  <a:cubicBezTo>
                    <a:pt x="3380" y="315"/>
                    <a:pt x="3373" y="310"/>
                    <a:pt x="3367" y="310"/>
                  </a:cubicBezTo>
                  <a:cubicBezTo>
                    <a:pt x="3367" y="310"/>
                    <a:pt x="3367" y="310"/>
                    <a:pt x="3367" y="310"/>
                  </a:cubicBezTo>
                  <a:moveTo>
                    <a:pt x="3401" y="310"/>
                  </a:moveTo>
                  <a:cubicBezTo>
                    <a:pt x="3395" y="310"/>
                    <a:pt x="3391" y="314"/>
                    <a:pt x="3393" y="320"/>
                  </a:cubicBezTo>
                  <a:cubicBezTo>
                    <a:pt x="3395" y="326"/>
                    <a:pt x="3402" y="330"/>
                    <a:pt x="3408" y="330"/>
                  </a:cubicBezTo>
                  <a:cubicBezTo>
                    <a:pt x="3414" y="330"/>
                    <a:pt x="3418" y="326"/>
                    <a:pt x="3416" y="320"/>
                  </a:cubicBezTo>
                  <a:cubicBezTo>
                    <a:pt x="3414" y="314"/>
                    <a:pt x="3408" y="310"/>
                    <a:pt x="3401" y="310"/>
                  </a:cubicBezTo>
                  <a:cubicBezTo>
                    <a:pt x="3401" y="310"/>
                    <a:pt x="3401" y="310"/>
                    <a:pt x="3401" y="310"/>
                  </a:cubicBezTo>
                  <a:moveTo>
                    <a:pt x="3434" y="309"/>
                  </a:moveTo>
                  <a:cubicBezTo>
                    <a:pt x="3428" y="310"/>
                    <a:pt x="3424" y="314"/>
                    <a:pt x="3426" y="320"/>
                  </a:cubicBezTo>
                  <a:cubicBezTo>
                    <a:pt x="3428" y="326"/>
                    <a:pt x="3435" y="330"/>
                    <a:pt x="3441" y="330"/>
                  </a:cubicBezTo>
                  <a:cubicBezTo>
                    <a:pt x="3448" y="330"/>
                    <a:pt x="3451" y="325"/>
                    <a:pt x="3449" y="320"/>
                  </a:cubicBezTo>
                  <a:cubicBezTo>
                    <a:pt x="3447" y="314"/>
                    <a:pt x="3441" y="309"/>
                    <a:pt x="3434" y="309"/>
                  </a:cubicBezTo>
                  <a:cubicBezTo>
                    <a:pt x="3434" y="309"/>
                    <a:pt x="3434" y="309"/>
                    <a:pt x="3434" y="309"/>
                  </a:cubicBezTo>
                  <a:moveTo>
                    <a:pt x="3467" y="309"/>
                  </a:moveTo>
                  <a:cubicBezTo>
                    <a:pt x="3461" y="309"/>
                    <a:pt x="3457" y="314"/>
                    <a:pt x="3459" y="320"/>
                  </a:cubicBezTo>
                  <a:cubicBezTo>
                    <a:pt x="3461" y="325"/>
                    <a:pt x="3468" y="330"/>
                    <a:pt x="3475" y="330"/>
                  </a:cubicBezTo>
                  <a:cubicBezTo>
                    <a:pt x="3481" y="330"/>
                    <a:pt x="3485" y="325"/>
                    <a:pt x="3483" y="319"/>
                  </a:cubicBezTo>
                  <a:cubicBezTo>
                    <a:pt x="3481" y="314"/>
                    <a:pt x="3474" y="309"/>
                    <a:pt x="3467" y="309"/>
                  </a:cubicBezTo>
                  <a:cubicBezTo>
                    <a:pt x="3467" y="309"/>
                    <a:pt x="3467" y="309"/>
                    <a:pt x="3467" y="309"/>
                  </a:cubicBezTo>
                  <a:moveTo>
                    <a:pt x="3501" y="309"/>
                  </a:moveTo>
                  <a:cubicBezTo>
                    <a:pt x="3494" y="309"/>
                    <a:pt x="3491" y="314"/>
                    <a:pt x="3493" y="319"/>
                  </a:cubicBezTo>
                  <a:cubicBezTo>
                    <a:pt x="3495" y="325"/>
                    <a:pt x="3502" y="330"/>
                    <a:pt x="3508" y="330"/>
                  </a:cubicBezTo>
                  <a:cubicBezTo>
                    <a:pt x="3515" y="329"/>
                    <a:pt x="3518" y="325"/>
                    <a:pt x="3516" y="319"/>
                  </a:cubicBezTo>
                  <a:cubicBezTo>
                    <a:pt x="3514" y="313"/>
                    <a:pt x="3507" y="309"/>
                    <a:pt x="3501" y="309"/>
                  </a:cubicBezTo>
                  <a:cubicBezTo>
                    <a:pt x="3501" y="309"/>
                    <a:pt x="3501" y="309"/>
                    <a:pt x="3501" y="309"/>
                  </a:cubicBezTo>
                  <a:moveTo>
                    <a:pt x="3534" y="309"/>
                  </a:moveTo>
                  <a:cubicBezTo>
                    <a:pt x="3527" y="309"/>
                    <a:pt x="3524" y="313"/>
                    <a:pt x="3526" y="319"/>
                  </a:cubicBezTo>
                  <a:cubicBezTo>
                    <a:pt x="3528" y="325"/>
                    <a:pt x="3535" y="329"/>
                    <a:pt x="3542" y="329"/>
                  </a:cubicBezTo>
                  <a:cubicBezTo>
                    <a:pt x="3548" y="329"/>
                    <a:pt x="3551" y="325"/>
                    <a:pt x="3549" y="319"/>
                  </a:cubicBezTo>
                  <a:cubicBezTo>
                    <a:pt x="3547" y="313"/>
                    <a:pt x="3540" y="309"/>
                    <a:pt x="3534" y="309"/>
                  </a:cubicBezTo>
                  <a:cubicBezTo>
                    <a:pt x="3534" y="309"/>
                    <a:pt x="3534" y="309"/>
                    <a:pt x="3534" y="309"/>
                  </a:cubicBezTo>
                  <a:moveTo>
                    <a:pt x="3567" y="308"/>
                  </a:moveTo>
                  <a:cubicBezTo>
                    <a:pt x="3560" y="308"/>
                    <a:pt x="3557" y="313"/>
                    <a:pt x="3559" y="319"/>
                  </a:cubicBezTo>
                  <a:cubicBezTo>
                    <a:pt x="3561" y="324"/>
                    <a:pt x="3569" y="329"/>
                    <a:pt x="3575" y="329"/>
                  </a:cubicBezTo>
                  <a:cubicBezTo>
                    <a:pt x="3581" y="329"/>
                    <a:pt x="3585" y="324"/>
                    <a:pt x="3583" y="319"/>
                  </a:cubicBezTo>
                  <a:cubicBezTo>
                    <a:pt x="3580" y="313"/>
                    <a:pt x="3573" y="308"/>
                    <a:pt x="3567" y="308"/>
                  </a:cubicBezTo>
                  <a:cubicBezTo>
                    <a:pt x="3567" y="308"/>
                    <a:pt x="3567" y="308"/>
                    <a:pt x="3567" y="308"/>
                  </a:cubicBezTo>
                  <a:moveTo>
                    <a:pt x="3600" y="308"/>
                  </a:moveTo>
                  <a:cubicBezTo>
                    <a:pt x="3593" y="308"/>
                    <a:pt x="3590" y="313"/>
                    <a:pt x="3592" y="319"/>
                  </a:cubicBezTo>
                  <a:cubicBezTo>
                    <a:pt x="3595" y="324"/>
                    <a:pt x="3602" y="329"/>
                    <a:pt x="3608" y="329"/>
                  </a:cubicBezTo>
                  <a:cubicBezTo>
                    <a:pt x="3615" y="329"/>
                    <a:pt x="3618" y="324"/>
                    <a:pt x="3616" y="318"/>
                  </a:cubicBezTo>
                  <a:cubicBezTo>
                    <a:pt x="3613" y="313"/>
                    <a:pt x="3606" y="308"/>
                    <a:pt x="3600" y="308"/>
                  </a:cubicBezTo>
                  <a:cubicBezTo>
                    <a:pt x="3600" y="308"/>
                    <a:pt x="3600" y="308"/>
                    <a:pt x="3600" y="308"/>
                  </a:cubicBezTo>
                  <a:moveTo>
                    <a:pt x="129" y="308"/>
                  </a:moveTo>
                  <a:cubicBezTo>
                    <a:pt x="123" y="308"/>
                    <a:pt x="113" y="313"/>
                    <a:pt x="108" y="318"/>
                  </a:cubicBezTo>
                  <a:cubicBezTo>
                    <a:pt x="103" y="324"/>
                    <a:pt x="105" y="328"/>
                    <a:pt x="111" y="328"/>
                  </a:cubicBezTo>
                  <a:cubicBezTo>
                    <a:pt x="117" y="328"/>
                    <a:pt x="127" y="324"/>
                    <a:pt x="132" y="318"/>
                  </a:cubicBezTo>
                  <a:cubicBezTo>
                    <a:pt x="137" y="313"/>
                    <a:pt x="135" y="308"/>
                    <a:pt x="129" y="308"/>
                  </a:cubicBezTo>
                  <a:cubicBezTo>
                    <a:pt x="129" y="308"/>
                    <a:pt x="129" y="308"/>
                    <a:pt x="129" y="308"/>
                  </a:cubicBezTo>
                  <a:moveTo>
                    <a:pt x="3633" y="308"/>
                  </a:moveTo>
                  <a:cubicBezTo>
                    <a:pt x="3627" y="308"/>
                    <a:pt x="3624" y="313"/>
                    <a:pt x="3626" y="318"/>
                  </a:cubicBezTo>
                  <a:cubicBezTo>
                    <a:pt x="3628" y="324"/>
                    <a:pt x="3636" y="329"/>
                    <a:pt x="3642" y="328"/>
                  </a:cubicBezTo>
                  <a:cubicBezTo>
                    <a:pt x="3649" y="328"/>
                    <a:pt x="3652" y="324"/>
                    <a:pt x="3649" y="318"/>
                  </a:cubicBezTo>
                  <a:cubicBezTo>
                    <a:pt x="3647" y="312"/>
                    <a:pt x="3640" y="308"/>
                    <a:pt x="3633" y="308"/>
                  </a:cubicBezTo>
                  <a:cubicBezTo>
                    <a:pt x="3633" y="308"/>
                    <a:pt x="3633" y="308"/>
                    <a:pt x="3633" y="308"/>
                  </a:cubicBezTo>
                  <a:moveTo>
                    <a:pt x="162" y="308"/>
                  </a:moveTo>
                  <a:cubicBezTo>
                    <a:pt x="156" y="308"/>
                    <a:pt x="146" y="312"/>
                    <a:pt x="141" y="318"/>
                  </a:cubicBezTo>
                  <a:cubicBezTo>
                    <a:pt x="136" y="324"/>
                    <a:pt x="138" y="328"/>
                    <a:pt x="144" y="328"/>
                  </a:cubicBezTo>
                  <a:cubicBezTo>
                    <a:pt x="151" y="328"/>
                    <a:pt x="160" y="323"/>
                    <a:pt x="165" y="318"/>
                  </a:cubicBezTo>
                  <a:cubicBezTo>
                    <a:pt x="170" y="312"/>
                    <a:pt x="168" y="308"/>
                    <a:pt x="162" y="308"/>
                  </a:cubicBezTo>
                  <a:cubicBezTo>
                    <a:pt x="162" y="308"/>
                    <a:pt x="162" y="308"/>
                    <a:pt x="162" y="308"/>
                  </a:cubicBezTo>
                  <a:moveTo>
                    <a:pt x="3667" y="308"/>
                  </a:moveTo>
                  <a:cubicBezTo>
                    <a:pt x="3660" y="308"/>
                    <a:pt x="3657" y="312"/>
                    <a:pt x="3659" y="318"/>
                  </a:cubicBezTo>
                  <a:cubicBezTo>
                    <a:pt x="3662" y="324"/>
                    <a:pt x="3669" y="328"/>
                    <a:pt x="3675" y="328"/>
                  </a:cubicBezTo>
                  <a:cubicBezTo>
                    <a:pt x="3682" y="328"/>
                    <a:pt x="3685" y="324"/>
                    <a:pt x="3683" y="318"/>
                  </a:cubicBezTo>
                  <a:cubicBezTo>
                    <a:pt x="3680" y="312"/>
                    <a:pt x="3673" y="308"/>
                    <a:pt x="3667" y="308"/>
                  </a:cubicBezTo>
                  <a:cubicBezTo>
                    <a:pt x="3667" y="308"/>
                    <a:pt x="3667" y="308"/>
                    <a:pt x="3667" y="308"/>
                  </a:cubicBezTo>
                  <a:moveTo>
                    <a:pt x="3701" y="307"/>
                  </a:moveTo>
                  <a:cubicBezTo>
                    <a:pt x="3694" y="307"/>
                    <a:pt x="3691" y="312"/>
                    <a:pt x="3694" y="318"/>
                  </a:cubicBezTo>
                  <a:cubicBezTo>
                    <a:pt x="3696" y="323"/>
                    <a:pt x="3704" y="328"/>
                    <a:pt x="3710" y="328"/>
                  </a:cubicBezTo>
                  <a:cubicBezTo>
                    <a:pt x="3716" y="328"/>
                    <a:pt x="3720" y="323"/>
                    <a:pt x="3717" y="318"/>
                  </a:cubicBezTo>
                  <a:cubicBezTo>
                    <a:pt x="3714" y="312"/>
                    <a:pt x="3707" y="307"/>
                    <a:pt x="3701" y="307"/>
                  </a:cubicBezTo>
                  <a:cubicBezTo>
                    <a:pt x="3701" y="307"/>
                    <a:pt x="3701" y="307"/>
                    <a:pt x="3701" y="307"/>
                  </a:cubicBezTo>
                  <a:moveTo>
                    <a:pt x="3734" y="307"/>
                  </a:moveTo>
                  <a:cubicBezTo>
                    <a:pt x="3727" y="307"/>
                    <a:pt x="3724" y="312"/>
                    <a:pt x="3727" y="317"/>
                  </a:cubicBezTo>
                  <a:cubicBezTo>
                    <a:pt x="3729" y="323"/>
                    <a:pt x="3737" y="328"/>
                    <a:pt x="3743" y="328"/>
                  </a:cubicBezTo>
                  <a:cubicBezTo>
                    <a:pt x="3750" y="328"/>
                    <a:pt x="3753" y="323"/>
                    <a:pt x="3750" y="317"/>
                  </a:cubicBezTo>
                  <a:cubicBezTo>
                    <a:pt x="3747" y="312"/>
                    <a:pt x="3740" y="307"/>
                    <a:pt x="3734" y="307"/>
                  </a:cubicBezTo>
                  <a:cubicBezTo>
                    <a:pt x="3734" y="307"/>
                    <a:pt x="3734" y="307"/>
                    <a:pt x="3734" y="307"/>
                  </a:cubicBezTo>
                  <a:moveTo>
                    <a:pt x="3767" y="307"/>
                  </a:moveTo>
                  <a:cubicBezTo>
                    <a:pt x="3760" y="307"/>
                    <a:pt x="3757" y="312"/>
                    <a:pt x="3760" y="317"/>
                  </a:cubicBezTo>
                  <a:cubicBezTo>
                    <a:pt x="3763" y="323"/>
                    <a:pt x="3770" y="327"/>
                    <a:pt x="3777" y="327"/>
                  </a:cubicBezTo>
                  <a:cubicBezTo>
                    <a:pt x="3783" y="327"/>
                    <a:pt x="3786" y="323"/>
                    <a:pt x="3783" y="317"/>
                  </a:cubicBezTo>
                  <a:cubicBezTo>
                    <a:pt x="3781" y="311"/>
                    <a:pt x="3773" y="307"/>
                    <a:pt x="3767" y="307"/>
                  </a:cubicBezTo>
                  <a:cubicBezTo>
                    <a:pt x="3767" y="307"/>
                    <a:pt x="3767" y="307"/>
                    <a:pt x="3767" y="307"/>
                  </a:cubicBezTo>
                  <a:moveTo>
                    <a:pt x="3800" y="307"/>
                  </a:moveTo>
                  <a:cubicBezTo>
                    <a:pt x="3794" y="307"/>
                    <a:pt x="3791" y="311"/>
                    <a:pt x="3794" y="317"/>
                  </a:cubicBezTo>
                  <a:cubicBezTo>
                    <a:pt x="3796" y="323"/>
                    <a:pt x="3804" y="327"/>
                    <a:pt x="3810" y="327"/>
                  </a:cubicBezTo>
                  <a:cubicBezTo>
                    <a:pt x="3817" y="327"/>
                    <a:pt x="3820" y="322"/>
                    <a:pt x="3817" y="317"/>
                  </a:cubicBezTo>
                  <a:cubicBezTo>
                    <a:pt x="3814" y="311"/>
                    <a:pt x="3807" y="307"/>
                    <a:pt x="3800" y="307"/>
                  </a:cubicBezTo>
                  <a:cubicBezTo>
                    <a:pt x="3800" y="307"/>
                    <a:pt x="3800" y="307"/>
                    <a:pt x="3800" y="307"/>
                  </a:cubicBezTo>
                  <a:moveTo>
                    <a:pt x="3833" y="306"/>
                  </a:moveTo>
                  <a:cubicBezTo>
                    <a:pt x="3827" y="306"/>
                    <a:pt x="3824" y="311"/>
                    <a:pt x="3827" y="317"/>
                  </a:cubicBezTo>
                  <a:cubicBezTo>
                    <a:pt x="3829" y="322"/>
                    <a:pt x="3837" y="327"/>
                    <a:pt x="3843" y="327"/>
                  </a:cubicBezTo>
                  <a:cubicBezTo>
                    <a:pt x="3850" y="327"/>
                    <a:pt x="3853" y="322"/>
                    <a:pt x="3850" y="317"/>
                  </a:cubicBezTo>
                  <a:cubicBezTo>
                    <a:pt x="3847" y="311"/>
                    <a:pt x="3840" y="306"/>
                    <a:pt x="3833" y="306"/>
                  </a:cubicBezTo>
                  <a:cubicBezTo>
                    <a:pt x="3833" y="306"/>
                    <a:pt x="3833" y="306"/>
                    <a:pt x="3833" y="306"/>
                  </a:cubicBezTo>
                  <a:moveTo>
                    <a:pt x="4131" y="305"/>
                  </a:moveTo>
                  <a:cubicBezTo>
                    <a:pt x="4125" y="305"/>
                    <a:pt x="4122" y="310"/>
                    <a:pt x="4126" y="316"/>
                  </a:cubicBezTo>
                  <a:cubicBezTo>
                    <a:pt x="4129" y="321"/>
                    <a:pt x="4137" y="326"/>
                    <a:pt x="4144" y="326"/>
                  </a:cubicBezTo>
                  <a:cubicBezTo>
                    <a:pt x="4150" y="326"/>
                    <a:pt x="4152" y="321"/>
                    <a:pt x="4149" y="315"/>
                  </a:cubicBezTo>
                  <a:cubicBezTo>
                    <a:pt x="4146" y="310"/>
                    <a:pt x="4138" y="305"/>
                    <a:pt x="4131" y="305"/>
                  </a:cubicBezTo>
                  <a:cubicBezTo>
                    <a:pt x="4131" y="305"/>
                    <a:pt x="4131" y="305"/>
                    <a:pt x="4131" y="305"/>
                  </a:cubicBezTo>
                  <a:moveTo>
                    <a:pt x="4098" y="304"/>
                  </a:moveTo>
                  <a:cubicBezTo>
                    <a:pt x="4091" y="305"/>
                    <a:pt x="4089" y="309"/>
                    <a:pt x="4092" y="315"/>
                  </a:cubicBezTo>
                  <a:cubicBezTo>
                    <a:pt x="4095" y="321"/>
                    <a:pt x="4103" y="325"/>
                    <a:pt x="4110" y="325"/>
                  </a:cubicBezTo>
                  <a:cubicBezTo>
                    <a:pt x="4116" y="325"/>
                    <a:pt x="4119" y="320"/>
                    <a:pt x="4115" y="315"/>
                  </a:cubicBezTo>
                  <a:cubicBezTo>
                    <a:pt x="4112" y="309"/>
                    <a:pt x="4104" y="304"/>
                    <a:pt x="4098" y="304"/>
                  </a:cubicBezTo>
                  <a:cubicBezTo>
                    <a:pt x="4098" y="304"/>
                    <a:pt x="4098" y="304"/>
                    <a:pt x="4098" y="304"/>
                  </a:cubicBezTo>
                  <a:moveTo>
                    <a:pt x="430" y="304"/>
                  </a:moveTo>
                  <a:cubicBezTo>
                    <a:pt x="424" y="304"/>
                    <a:pt x="415" y="308"/>
                    <a:pt x="411" y="314"/>
                  </a:cubicBezTo>
                  <a:cubicBezTo>
                    <a:pt x="406" y="320"/>
                    <a:pt x="408" y="324"/>
                    <a:pt x="414" y="324"/>
                  </a:cubicBezTo>
                  <a:cubicBezTo>
                    <a:pt x="421" y="324"/>
                    <a:pt x="429" y="319"/>
                    <a:pt x="434" y="314"/>
                  </a:cubicBezTo>
                  <a:cubicBezTo>
                    <a:pt x="438" y="308"/>
                    <a:pt x="436" y="304"/>
                    <a:pt x="430" y="304"/>
                  </a:cubicBezTo>
                  <a:cubicBezTo>
                    <a:pt x="430" y="304"/>
                    <a:pt x="430" y="304"/>
                    <a:pt x="430" y="304"/>
                  </a:cubicBezTo>
                  <a:moveTo>
                    <a:pt x="463" y="304"/>
                  </a:moveTo>
                  <a:cubicBezTo>
                    <a:pt x="456" y="304"/>
                    <a:pt x="448" y="308"/>
                    <a:pt x="443" y="314"/>
                  </a:cubicBezTo>
                  <a:cubicBezTo>
                    <a:pt x="439" y="319"/>
                    <a:pt x="441" y="324"/>
                    <a:pt x="447" y="324"/>
                  </a:cubicBezTo>
                  <a:cubicBezTo>
                    <a:pt x="454" y="324"/>
                    <a:pt x="462" y="319"/>
                    <a:pt x="467" y="314"/>
                  </a:cubicBezTo>
                  <a:cubicBezTo>
                    <a:pt x="471" y="308"/>
                    <a:pt x="469" y="304"/>
                    <a:pt x="463" y="304"/>
                  </a:cubicBezTo>
                  <a:cubicBezTo>
                    <a:pt x="463" y="304"/>
                    <a:pt x="463" y="304"/>
                    <a:pt x="463" y="304"/>
                  </a:cubicBezTo>
                  <a:moveTo>
                    <a:pt x="496" y="303"/>
                  </a:moveTo>
                  <a:cubicBezTo>
                    <a:pt x="489" y="303"/>
                    <a:pt x="481" y="308"/>
                    <a:pt x="477" y="314"/>
                  </a:cubicBezTo>
                  <a:cubicBezTo>
                    <a:pt x="472" y="319"/>
                    <a:pt x="474" y="324"/>
                    <a:pt x="481" y="324"/>
                  </a:cubicBezTo>
                  <a:cubicBezTo>
                    <a:pt x="487" y="324"/>
                    <a:pt x="496" y="319"/>
                    <a:pt x="500" y="313"/>
                  </a:cubicBezTo>
                  <a:cubicBezTo>
                    <a:pt x="504" y="308"/>
                    <a:pt x="502" y="303"/>
                    <a:pt x="496" y="303"/>
                  </a:cubicBezTo>
                  <a:cubicBezTo>
                    <a:pt x="496" y="303"/>
                    <a:pt x="496" y="303"/>
                    <a:pt x="496" y="303"/>
                  </a:cubicBezTo>
                  <a:moveTo>
                    <a:pt x="529" y="303"/>
                  </a:moveTo>
                  <a:cubicBezTo>
                    <a:pt x="522" y="303"/>
                    <a:pt x="514" y="308"/>
                    <a:pt x="510" y="313"/>
                  </a:cubicBezTo>
                  <a:cubicBezTo>
                    <a:pt x="505" y="319"/>
                    <a:pt x="507" y="323"/>
                    <a:pt x="514" y="323"/>
                  </a:cubicBezTo>
                  <a:cubicBezTo>
                    <a:pt x="520" y="323"/>
                    <a:pt x="529" y="319"/>
                    <a:pt x="533" y="313"/>
                  </a:cubicBezTo>
                  <a:cubicBezTo>
                    <a:pt x="537" y="308"/>
                    <a:pt x="535" y="303"/>
                    <a:pt x="529" y="303"/>
                  </a:cubicBezTo>
                  <a:cubicBezTo>
                    <a:pt x="529" y="303"/>
                    <a:pt x="529" y="303"/>
                    <a:pt x="529" y="303"/>
                  </a:cubicBezTo>
                  <a:moveTo>
                    <a:pt x="562" y="303"/>
                  </a:moveTo>
                  <a:cubicBezTo>
                    <a:pt x="555" y="303"/>
                    <a:pt x="547" y="307"/>
                    <a:pt x="543" y="313"/>
                  </a:cubicBezTo>
                  <a:cubicBezTo>
                    <a:pt x="539" y="319"/>
                    <a:pt x="541" y="323"/>
                    <a:pt x="547" y="323"/>
                  </a:cubicBezTo>
                  <a:cubicBezTo>
                    <a:pt x="553" y="323"/>
                    <a:pt x="562" y="318"/>
                    <a:pt x="566" y="313"/>
                  </a:cubicBezTo>
                  <a:cubicBezTo>
                    <a:pt x="570" y="307"/>
                    <a:pt x="568" y="303"/>
                    <a:pt x="562" y="303"/>
                  </a:cubicBezTo>
                  <a:cubicBezTo>
                    <a:pt x="562" y="303"/>
                    <a:pt x="562" y="303"/>
                    <a:pt x="562" y="303"/>
                  </a:cubicBezTo>
                  <a:moveTo>
                    <a:pt x="596" y="303"/>
                  </a:moveTo>
                  <a:cubicBezTo>
                    <a:pt x="590" y="303"/>
                    <a:pt x="581" y="307"/>
                    <a:pt x="577" y="313"/>
                  </a:cubicBezTo>
                  <a:cubicBezTo>
                    <a:pt x="573" y="318"/>
                    <a:pt x="575" y="323"/>
                    <a:pt x="581" y="323"/>
                  </a:cubicBezTo>
                  <a:cubicBezTo>
                    <a:pt x="588" y="323"/>
                    <a:pt x="596" y="318"/>
                    <a:pt x="600" y="313"/>
                  </a:cubicBezTo>
                  <a:cubicBezTo>
                    <a:pt x="604" y="307"/>
                    <a:pt x="602" y="303"/>
                    <a:pt x="596" y="303"/>
                  </a:cubicBezTo>
                  <a:cubicBezTo>
                    <a:pt x="596" y="303"/>
                    <a:pt x="596" y="303"/>
                    <a:pt x="596" y="303"/>
                  </a:cubicBezTo>
                  <a:moveTo>
                    <a:pt x="629" y="302"/>
                  </a:moveTo>
                  <a:cubicBezTo>
                    <a:pt x="622" y="302"/>
                    <a:pt x="614" y="307"/>
                    <a:pt x="610" y="312"/>
                  </a:cubicBezTo>
                  <a:cubicBezTo>
                    <a:pt x="606" y="318"/>
                    <a:pt x="608" y="323"/>
                    <a:pt x="614" y="323"/>
                  </a:cubicBezTo>
                  <a:cubicBezTo>
                    <a:pt x="621" y="322"/>
                    <a:pt x="629" y="318"/>
                    <a:pt x="633" y="312"/>
                  </a:cubicBezTo>
                  <a:cubicBezTo>
                    <a:pt x="637" y="307"/>
                    <a:pt x="635" y="302"/>
                    <a:pt x="629" y="302"/>
                  </a:cubicBezTo>
                  <a:cubicBezTo>
                    <a:pt x="629" y="302"/>
                    <a:pt x="629" y="302"/>
                    <a:pt x="629" y="302"/>
                  </a:cubicBezTo>
                  <a:moveTo>
                    <a:pt x="662" y="302"/>
                  </a:moveTo>
                  <a:cubicBezTo>
                    <a:pt x="655" y="302"/>
                    <a:pt x="647" y="307"/>
                    <a:pt x="643" y="312"/>
                  </a:cubicBezTo>
                  <a:cubicBezTo>
                    <a:pt x="639" y="318"/>
                    <a:pt x="641" y="322"/>
                    <a:pt x="648" y="322"/>
                  </a:cubicBezTo>
                  <a:cubicBezTo>
                    <a:pt x="654" y="322"/>
                    <a:pt x="663" y="318"/>
                    <a:pt x="666" y="312"/>
                  </a:cubicBezTo>
                  <a:cubicBezTo>
                    <a:pt x="670" y="306"/>
                    <a:pt x="668" y="302"/>
                    <a:pt x="662" y="302"/>
                  </a:cubicBezTo>
                  <a:cubicBezTo>
                    <a:pt x="662" y="302"/>
                    <a:pt x="662" y="302"/>
                    <a:pt x="662" y="302"/>
                  </a:cubicBezTo>
                  <a:moveTo>
                    <a:pt x="695" y="302"/>
                  </a:moveTo>
                  <a:cubicBezTo>
                    <a:pt x="689" y="302"/>
                    <a:pt x="681" y="306"/>
                    <a:pt x="677" y="312"/>
                  </a:cubicBezTo>
                  <a:cubicBezTo>
                    <a:pt x="673" y="318"/>
                    <a:pt x="675" y="322"/>
                    <a:pt x="681" y="322"/>
                  </a:cubicBezTo>
                  <a:cubicBezTo>
                    <a:pt x="688" y="322"/>
                    <a:pt x="696" y="317"/>
                    <a:pt x="700" y="312"/>
                  </a:cubicBezTo>
                  <a:cubicBezTo>
                    <a:pt x="704" y="306"/>
                    <a:pt x="702" y="302"/>
                    <a:pt x="695" y="302"/>
                  </a:cubicBezTo>
                  <a:cubicBezTo>
                    <a:pt x="695" y="302"/>
                    <a:pt x="695" y="302"/>
                    <a:pt x="695" y="302"/>
                  </a:cubicBezTo>
                  <a:moveTo>
                    <a:pt x="728" y="301"/>
                  </a:moveTo>
                  <a:cubicBezTo>
                    <a:pt x="722" y="302"/>
                    <a:pt x="713" y="306"/>
                    <a:pt x="710" y="312"/>
                  </a:cubicBezTo>
                  <a:cubicBezTo>
                    <a:pt x="706" y="317"/>
                    <a:pt x="708" y="322"/>
                    <a:pt x="715" y="322"/>
                  </a:cubicBezTo>
                  <a:cubicBezTo>
                    <a:pt x="721" y="322"/>
                    <a:pt x="729" y="317"/>
                    <a:pt x="733" y="311"/>
                  </a:cubicBezTo>
                  <a:cubicBezTo>
                    <a:pt x="737" y="306"/>
                    <a:pt x="734" y="301"/>
                    <a:pt x="728" y="301"/>
                  </a:cubicBezTo>
                  <a:cubicBezTo>
                    <a:pt x="728" y="301"/>
                    <a:pt x="728" y="301"/>
                    <a:pt x="728" y="301"/>
                  </a:cubicBezTo>
                  <a:moveTo>
                    <a:pt x="761" y="301"/>
                  </a:moveTo>
                  <a:cubicBezTo>
                    <a:pt x="755" y="301"/>
                    <a:pt x="747" y="306"/>
                    <a:pt x="743" y="311"/>
                  </a:cubicBezTo>
                  <a:cubicBezTo>
                    <a:pt x="739" y="317"/>
                    <a:pt x="741" y="322"/>
                    <a:pt x="748" y="321"/>
                  </a:cubicBezTo>
                  <a:cubicBezTo>
                    <a:pt x="754" y="321"/>
                    <a:pt x="762" y="317"/>
                    <a:pt x="766" y="311"/>
                  </a:cubicBezTo>
                  <a:cubicBezTo>
                    <a:pt x="770" y="306"/>
                    <a:pt x="767" y="301"/>
                    <a:pt x="761" y="301"/>
                  </a:cubicBezTo>
                  <a:cubicBezTo>
                    <a:pt x="761" y="301"/>
                    <a:pt x="761" y="301"/>
                    <a:pt x="761" y="301"/>
                  </a:cubicBezTo>
                  <a:moveTo>
                    <a:pt x="794" y="301"/>
                  </a:moveTo>
                  <a:cubicBezTo>
                    <a:pt x="787" y="301"/>
                    <a:pt x="779" y="306"/>
                    <a:pt x="776" y="311"/>
                  </a:cubicBezTo>
                  <a:cubicBezTo>
                    <a:pt x="772" y="317"/>
                    <a:pt x="774" y="321"/>
                    <a:pt x="781" y="321"/>
                  </a:cubicBezTo>
                  <a:cubicBezTo>
                    <a:pt x="787" y="321"/>
                    <a:pt x="795" y="317"/>
                    <a:pt x="799" y="311"/>
                  </a:cubicBezTo>
                  <a:cubicBezTo>
                    <a:pt x="803" y="305"/>
                    <a:pt x="800" y="301"/>
                    <a:pt x="794" y="301"/>
                  </a:cubicBezTo>
                  <a:cubicBezTo>
                    <a:pt x="794" y="301"/>
                    <a:pt x="794" y="301"/>
                    <a:pt x="794" y="301"/>
                  </a:cubicBezTo>
                  <a:moveTo>
                    <a:pt x="827" y="301"/>
                  </a:moveTo>
                  <a:cubicBezTo>
                    <a:pt x="821" y="301"/>
                    <a:pt x="813" y="305"/>
                    <a:pt x="809" y="311"/>
                  </a:cubicBezTo>
                  <a:cubicBezTo>
                    <a:pt x="805" y="316"/>
                    <a:pt x="808" y="321"/>
                    <a:pt x="814" y="321"/>
                  </a:cubicBezTo>
                  <a:cubicBezTo>
                    <a:pt x="821" y="321"/>
                    <a:pt x="829" y="316"/>
                    <a:pt x="832" y="311"/>
                  </a:cubicBezTo>
                  <a:cubicBezTo>
                    <a:pt x="836" y="305"/>
                    <a:pt x="833" y="301"/>
                    <a:pt x="827" y="301"/>
                  </a:cubicBezTo>
                  <a:cubicBezTo>
                    <a:pt x="827" y="301"/>
                    <a:pt x="827" y="301"/>
                    <a:pt x="827" y="301"/>
                  </a:cubicBezTo>
                  <a:moveTo>
                    <a:pt x="860" y="300"/>
                  </a:moveTo>
                  <a:cubicBezTo>
                    <a:pt x="854" y="300"/>
                    <a:pt x="846" y="305"/>
                    <a:pt x="842" y="311"/>
                  </a:cubicBezTo>
                  <a:cubicBezTo>
                    <a:pt x="839" y="316"/>
                    <a:pt x="841" y="321"/>
                    <a:pt x="848" y="321"/>
                  </a:cubicBezTo>
                  <a:cubicBezTo>
                    <a:pt x="854" y="321"/>
                    <a:pt x="862" y="316"/>
                    <a:pt x="866" y="310"/>
                  </a:cubicBezTo>
                  <a:cubicBezTo>
                    <a:pt x="869" y="305"/>
                    <a:pt x="867" y="300"/>
                    <a:pt x="860" y="300"/>
                  </a:cubicBezTo>
                  <a:cubicBezTo>
                    <a:pt x="860" y="300"/>
                    <a:pt x="860" y="300"/>
                    <a:pt x="860" y="300"/>
                  </a:cubicBezTo>
                  <a:moveTo>
                    <a:pt x="893" y="300"/>
                  </a:moveTo>
                  <a:cubicBezTo>
                    <a:pt x="887" y="300"/>
                    <a:pt x="879" y="305"/>
                    <a:pt x="875" y="310"/>
                  </a:cubicBezTo>
                  <a:cubicBezTo>
                    <a:pt x="872" y="316"/>
                    <a:pt x="874" y="320"/>
                    <a:pt x="881" y="320"/>
                  </a:cubicBezTo>
                  <a:cubicBezTo>
                    <a:pt x="887" y="320"/>
                    <a:pt x="895" y="316"/>
                    <a:pt x="899" y="310"/>
                  </a:cubicBezTo>
                  <a:cubicBezTo>
                    <a:pt x="902" y="305"/>
                    <a:pt x="900" y="300"/>
                    <a:pt x="893" y="300"/>
                  </a:cubicBezTo>
                  <a:cubicBezTo>
                    <a:pt x="893" y="300"/>
                    <a:pt x="893" y="300"/>
                    <a:pt x="893" y="300"/>
                  </a:cubicBezTo>
                  <a:moveTo>
                    <a:pt x="924" y="300"/>
                  </a:moveTo>
                  <a:cubicBezTo>
                    <a:pt x="918" y="300"/>
                    <a:pt x="910" y="304"/>
                    <a:pt x="907" y="310"/>
                  </a:cubicBezTo>
                  <a:cubicBezTo>
                    <a:pt x="903" y="316"/>
                    <a:pt x="906" y="320"/>
                    <a:pt x="912" y="320"/>
                  </a:cubicBezTo>
                  <a:cubicBezTo>
                    <a:pt x="919" y="320"/>
                    <a:pt x="927" y="316"/>
                    <a:pt x="930" y="310"/>
                  </a:cubicBezTo>
                  <a:cubicBezTo>
                    <a:pt x="933" y="304"/>
                    <a:pt x="931" y="300"/>
                    <a:pt x="925" y="300"/>
                  </a:cubicBezTo>
                  <a:cubicBezTo>
                    <a:pt x="924" y="300"/>
                    <a:pt x="924" y="300"/>
                    <a:pt x="924" y="300"/>
                  </a:cubicBezTo>
                  <a:moveTo>
                    <a:pt x="1156" y="298"/>
                  </a:moveTo>
                  <a:cubicBezTo>
                    <a:pt x="1149" y="298"/>
                    <a:pt x="1142" y="303"/>
                    <a:pt x="1139" y="308"/>
                  </a:cubicBezTo>
                  <a:cubicBezTo>
                    <a:pt x="1136" y="314"/>
                    <a:pt x="1139" y="318"/>
                    <a:pt x="1145" y="318"/>
                  </a:cubicBezTo>
                  <a:cubicBezTo>
                    <a:pt x="1152" y="318"/>
                    <a:pt x="1159" y="314"/>
                    <a:pt x="1162" y="308"/>
                  </a:cubicBezTo>
                  <a:cubicBezTo>
                    <a:pt x="1165" y="302"/>
                    <a:pt x="1162" y="298"/>
                    <a:pt x="1156" y="298"/>
                  </a:cubicBezTo>
                  <a:cubicBezTo>
                    <a:pt x="1156" y="298"/>
                    <a:pt x="1156" y="298"/>
                    <a:pt x="1156" y="298"/>
                  </a:cubicBezTo>
                  <a:moveTo>
                    <a:pt x="1188" y="297"/>
                  </a:moveTo>
                  <a:cubicBezTo>
                    <a:pt x="1182" y="297"/>
                    <a:pt x="1174" y="302"/>
                    <a:pt x="1172" y="307"/>
                  </a:cubicBezTo>
                  <a:cubicBezTo>
                    <a:pt x="1169" y="313"/>
                    <a:pt x="1172" y="317"/>
                    <a:pt x="1178" y="317"/>
                  </a:cubicBezTo>
                  <a:cubicBezTo>
                    <a:pt x="1185" y="317"/>
                    <a:pt x="1192" y="313"/>
                    <a:pt x="1195" y="307"/>
                  </a:cubicBezTo>
                  <a:cubicBezTo>
                    <a:pt x="1198" y="302"/>
                    <a:pt x="1195" y="297"/>
                    <a:pt x="1188" y="297"/>
                  </a:cubicBezTo>
                  <a:cubicBezTo>
                    <a:pt x="1188" y="297"/>
                    <a:pt x="1188" y="297"/>
                    <a:pt x="1188" y="297"/>
                  </a:cubicBezTo>
                  <a:moveTo>
                    <a:pt x="1222" y="297"/>
                  </a:moveTo>
                  <a:cubicBezTo>
                    <a:pt x="1215" y="297"/>
                    <a:pt x="1208" y="301"/>
                    <a:pt x="1205" y="307"/>
                  </a:cubicBezTo>
                  <a:cubicBezTo>
                    <a:pt x="1202" y="313"/>
                    <a:pt x="1205" y="317"/>
                    <a:pt x="1212" y="317"/>
                  </a:cubicBezTo>
                  <a:cubicBezTo>
                    <a:pt x="1218" y="317"/>
                    <a:pt x="1226" y="312"/>
                    <a:pt x="1228" y="307"/>
                  </a:cubicBezTo>
                  <a:cubicBezTo>
                    <a:pt x="1231" y="301"/>
                    <a:pt x="1228" y="297"/>
                    <a:pt x="1222" y="297"/>
                  </a:cubicBezTo>
                  <a:cubicBezTo>
                    <a:pt x="1222" y="297"/>
                    <a:pt x="1222" y="297"/>
                    <a:pt x="1222" y="297"/>
                  </a:cubicBezTo>
                  <a:moveTo>
                    <a:pt x="1254" y="297"/>
                  </a:moveTo>
                  <a:cubicBezTo>
                    <a:pt x="1248" y="297"/>
                    <a:pt x="1241" y="301"/>
                    <a:pt x="1238" y="307"/>
                  </a:cubicBezTo>
                  <a:cubicBezTo>
                    <a:pt x="1235" y="312"/>
                    <a:pt x="1238" y="317"/>
                    <a:pt x="1245" y="317"/>
                  </a:cubicBezTo>
                  <a:cubicBezTo>
                    <a:pt x="1251" y="317"/>
                    <a:pt x="1259" y="312"/>
                    <a:pt x="1261" y="307"/>
                  </a:cubicBezTo>
                  <a:cubicBezTo>
                    <a:pt x="1264" y="301"/>
                    <a:pt x="1261" y="297"/>
                    <a:pt x="1254" y="297"/>
                  </a:cubicBezTo>
                  <a:cubicBezTo>
                    <a:pt x="1254" y="297"/>
                    <a:pt x="1254" y="297"/>
                    <a:pt x="1254" y="297"/>
                  </a:cubicBezTo>
                  <a:moveTo>
                    <a:pt x="1288" y="296"/>
                  </a:moveTo>
                  <a:cubicBezTo>
                    <a:pt x="1282" y="296"/>
                    <a:pt x="1275" y="301"/>
                    <a:pt x="1272" y="306"/>
                  </a:cubicBezTo>
                  <a:cubicBezTo>
                    <a:pt x="1269" y="312"/>
                    <a:pt x="1272" y="317"/>
                    <a:pt x="1279" y="317"/>
                  </a:cubicBezTo>
                  <a:cubicBezTo>
                    <a:pt x="1285" y="317"/>
                    <a:pt x="1293" y="312"/>
                    <a:pt x="1295" y="306"/>
                  </a:cubicBezTo>
                  <a:cubicBezTo>
                    <a:pt x="1298" y="301"/>
                    <a:pt x="1295" y="296"/>
                    <a:pt x="1288" y="296"/>
                  </a:cubicBezTo>
                  <a:cubicBezTo>
                    <a:pt x="1288" y="296"/>
                    <a:pt x="1288" y="296"/>
                    <a:pt x="1288" y="296"/>
                  </a:cubicBezTo>
                  <a:moveTo>
                    <a:pt x="2243" y="290"/>
                  </a:moveTo>
                  <a:cubicBezTo>
                    <a:pt x="2237" y="290"/>
                    <a:pt x="2231" y="294"/>
                    <a:pt x="2231" y="300"/>
                  </a:cubicBezTo>
                  <a:cubicBezTo>
                    <a:pt x="2230" y="306"/>
                    <a:pt x="2235" y="310"/>
                    <a:pt x="2241" y="310"/>
                  </a:cubicBezTo>
                  <a:cubicBezTo>
                    <a:pt x="2248" y="310"/>
                    <a:pt x="2253" y="305"/>
                    <a:pt x="2254" y="300"/>
                  </a:cubicBezTo>
                  <a:cubicBezTo>
                    <a:pt x="2254" y="294"/>
                    <a:pt x="2250" y="290"/>
                    <a:pt x="2243" y="290"/>
                  </a:cubicBezTo>
                  <a:cubicBezTo>
                    <a:pt x="2243" y="290"/>
                    <a:pt x="2243" y="290"/>
                    <a:pt x="2243" y="290"/>
                  </a:cubicBezTo>
                  <a:moveTo>
                    <a:pt x="2276" y="289"/>
                  </a:moveTo>
                  <a:cubicBezTo>
                    <a:pt x="2270" y="289"/>
                    <a:pt x="2264" y="294"/>
                    <a:pt x="2263" y="300"/>
                  </a:cubicBezTo>
                  <a:cubicBezTo>
                    <a:pt x="2263" y="305"/>
                    <a:pt x="2268" y="310"/>
                    <a:pt x="2274" y="310"/>
                  </a:cubicBezTo>
                  <a:cubicBezTo>
                    <a:pt x="2281" y="310"/>
                    <a:pt x="2286" y="305"/>
                    <a:pt x="2287" y="300"/>
                  </a:cubicBezTo>
                  <a:cubicBezTo>
                    <a:pt x="2287" y="294"/>
                    <a:pt x="2282" y="289"/>
                    <a:pt x="2276" y="289"/>
                  </a:cubicBezTo>
                  <a:cubicBezTo>
                    <a:pt x="2276" y="289"/>
                    <a:pt x="2276" y="289"/>
                    <a:pt x="2276" y="289"/>
                  </a:cubicBezTo>
                  <a:moveTo>
                    <a:pt x="2407" y="288"/>
                  </a:moveTo>
                  <a:cubicBezTo>
                    <a:pt x="2401" y="288"/>
                    <a:pt x="2395" y="293"/>
                    <a:pt x="2395" y="299"/>
                  </a:cubicBezTo>
                  <a:cubicBezTo>
                    <a:pt x="2395" y="304"/>
                    <a:pt x="2400" y="309"/>
                    <a:pt x="2406" y="309"/>
                  </a:cubicBezTo>
                  <a:cubicBezTo>
                    <a:pt x="2413" y="309"/>
                    <a:pt x="2418" y="304"/>
                    <a:pt x="2418" y="299"/>
                  </a:cubicBezTo>
                  <a:cubicBezTo>
                    <a:pt x="2419" y="293"/>
                    <a:pt x="2414" y="288"/>
                    <a:pt x="2407" y="288"/>
                  </a:cubicBezTo>
                  <a:cubicBezTo>
                    <a:pt x="2407" y="288"/>
                    <a:pt x="2407" y="288"/>
                    <a:pt x="2407" y="288"/>
                  </a:cubicBezTo>
                  <a:moveTo>
                    <a:pt x="2572" y="288"/>
                  </a:moveTo>
                  <a:cubicBezTo>
                    <a:pt x="2566" y="288"/>
                    <a:pt x="2561" y="293"/>
                    <a:pt x="2561" y="299"/>
                  </a:cubicBezTo>
                  <a:cubicBezTo>
                    <a:pt x="2561" y="304"/>
                    <a:pt x="2567" y="309"/>
                    <a:pt x="2573" y="309"/>
                  </a:cubicBezTo>
                  <a:cubicBezTo>
                    <a:pt x="2579" y="309"/>
                    <a:pt x="2584" y="304"/>
                    <a:pt x="2584" y="299"/>
                  </a:cubicBezTo>
                  <a:cubicBezTo>
                    <a:pt x="2584" y="293"/>
                    <a:pt x="2579" y="288"/>
                    <a:pt x="2573" y="288"/>
                  </a:cubicBezTo>
                  <a:cubicBezTo>
                    <a:pt x="2572" y="288"/>
                    <a:pt x="2572" y="288"/>
                    <a:pt x="2572" y="288"/>
                  </a:cubicBezTo>
                  <a:moveTo>
                    <a:pt x="2440" y="288"/>
                  </a:moveTo>
                  <a:cubicBezTo>
                    <a:pt x="2433" y="288"/>
                    <a:pt x="2428" y="293"/>
                    <a:pt x="2428" y="298"/>
                  </a:cubicBezTo>
                  <a:cubicBezTo>
                    <a:pt x="2428" y="304"/>
                    <a:pt x="2433" y="309"/>
                    <a:pt x="2439" y="309"/>
                  </a:cubicBezTo>
                  <a:cubicBezTo>
                    <a:pt x="2446" y="308"/>
                    <a:pt x="2451" y="304"/>
                    <a:pt x="2451" y="298"/>
                  </a:cubicBezTo>
                  <a:cubicBezTo>
                    <a:pt x="2451" y="293"/>
                    <a:pt x="2446" y="288"/>
                    <a:pt x="2440" y="288"/>
                  </a:cubicBezTo>
                  <a:cubicBezTo>
                    <a:pt x="2440" y="288"/>
                    <a:pt x="2440" y="288"/>
                    <a:pt x="2440" y="288"/>
                  </a:cubicBezTo>
                  <a:moveTo>
                    <a:pt x="2605" y="288"/>
                  </a:moveTo>
                  <a:cubicBezTo>
                    <a:pt x="2599" y="288"/>
                    <a:pt x="2594" y="293"/>
                    <a:pt x="2594" y="298"/>
                  </a:cubicBezTo>
                  <a:cubicBezTo>
                    <a:pt x="2594" y="304"/>
                    <a:pt x="2600" y="309"/>
                    <a:pt x="2606" y="309"/>
                  </a:cubicBezTo>
                  <a:cubicBezTo>
                    <a:pt x="2612" y="309"/>
                    <a:pt x="2617" y="304"/>
                    <a:pt x="2617" y="298"/>
                  </a:cubicBezTo>
                  <a:cubicBezTo>
                    <a:pt x="2617" y="293"/>
                    <a:pt x="2612" y="288"/>
                    <a:pt x="2605" y="288"/>
                  </a:cubicBezTo>
                  <a:cubicBezTo>
                    <a:pt x="2605" y="288"/>
                    <a:pt x="2605" y="288"/>
                    <a:pt x="2605" y="288"/>
                  </a:cubicBezTo>
                  <a:moveTo>
                    <a:pt x="2473" y="288"/>
                  </a:moveTo>
                  <a:cubicBezTo>
                    <a:pt x="2466" y="288"/>
                    <a:pt x="2461" y="293"/>
                    <a:pt x="2461" y="298"/>
                  </a:cubicBezTo>
                  <a:cubicBezTo>
                    <a:pt x="2461" y="304"/>
                    <a:pt x="2466" y="308"/>
                    <a:pt x="2472" y="308"/>
                  </a:cubicBezTo>
                  <a:cubicBezTo>
                    <a:pt x="2479" y="308"/>
                    <a:pt x="2484" y="304"/>
                    <a:pt x="2484" y="298"/>
                  </a:cubicBezTo>
                  <a:cubicBezTo>
                    <a:pt x="2484" y="292"/>
                    <a:pt x="2479" y="288"/>
                    <a:pt x="2473" y="288"/>
                  </a:cubicBezTo>
                  <a:cubicBezTo>
                    <a:pt x="2473" y="288"/>
                    <a:pt x="2473" y="288"/>
                    <a:pt x="2473" y="288"/>
                  </a:cubicBezTo>
                  <a:moveTo>
                    <a:pt x="2638" y="288"/>
                  </a:moveTo>
                  <a:cubicBezTo>
                    <a:pt x="2631" y="288"/>
                    <a:pt x="2627" y="293"/>
                    <a:pt x="2627" y="298"/>
                  </a:cubicBezTo>
                  <a:cubicBezTo>
                    <a:pt x="2627" y="304"/>
                    <a:pt x="2632" y="308"/>
                    <a:pt x="2639" y="308"/>
                  </a:cubicBezTo>
                  <a:cubicBezTo>
                    <a:pt x="2645" y="308"/>
                    <a:pt x="2650" y="304"/>
                    <a:pt x="2650" y="298"/>
                  </a:cubicBezTo>
                  <a:cubicBezTo>
                    <a:pt x="2650" y="292"/>
                    <a:pt x="2644" y="288"/>
                    <a:pt x="2638" y="288"/>
                  </a:cubicBezTo>
                  <a:cubicBezTo>
                    <a:pt x="2638" y="288"/>
                    <a:pt x="2638" y="288"/>
                    <a:pt x="2638" y="288"/>
                  </a:cubicBezTo>
                  <a:moveTo>
                    <a:pt x="2505" y="288"/>
                  </a:moveTo>
                  <a:cubicBezTo>
                    <a:pt x="2499" y="288"/>
                    <a:pt x="2494" y="292"/>
                    <a:pt x="2494" y="298"/>
                  </a:cubicBezTo>
                  <a:cubicBezTo>
                    <a:pt x="2494" y="304"/>
                    <a:pt x="2499" y="308"/>
                    <a:pt x="2505" y="308"/>
                  </a:cubicBezTo>
                  <a:cubicBezTo>
                    <a:pt x="2512" y="308"/>
                    <a:pt x="2517" y="303"/>
                    <a:pt x="2517" y="298"/>
                  </a:cubicBezTo>
                  <a:cubicBezTo>
                    <a:pt x="2517" y="292"/>
                    <a:pt x="2512" y="288"/>
                    <a:pt x="2505" y="288"/>
                  </a:cubicBezTo>
                  <a:cubicBezTo>
                    <a:pt x="2505" y="288"/>
                    <a:pt x="2505" y="288"/>
                    <a:pt x="2505" y="288"/>
                  </a:cubicBezTo>
                  <a:moveTo>
                    <a:pt x="2670" y="288"/>
                  </a:moveTo>
                  <a:cubicBezTo>
                    <a:pt x="2664" y="288"/>
                    <a:pt x="2659" y="292"/>
                    <a:pt x="2659" y="298"/>
                  </a:cubicBezTo>
                  <a:cubicBezTo>
                    <a:pt x="2660" y="304"/>
                    <a:pt x="2665" y="308"/>
                    <a:pt x="2672" y="308"/>
                  </a:cubicBezTo>
                  <a:cubicBezTo>
                    <a:pt x="2678" y="308"/>
                    <a:pt x="2683" y="303"/>
                    <a:pt x="2682" y="298"/>
                  </a:cubicBezTo>
                  <a:cubicBezTo>
                    <a:pt x="2682" y="292"/>
                    <a:pt x="2677" y="288"/>
                    <a:pt x="2670" y="288"/>
                  </a:cubicBezTo>
                  <a:cubicBezTo>
                    <a:pt x="2670" y="288"/>
                    <a:pt x="2670" y="288"/>
                    <a:pt x="2670" y="288"/>
                  </a:cubicBezTo>
                  <a:moveTo>
                    <a:pt x="2538" y="287"/>
                  </a:moveTo>
                  <a:cubicBezTo>
                    <a:pt x="2532" y="287"/>
                    <a:pt x="2527" y="292"/>
                    <a:pt x="2527" y="298"/>
                  </a:cubicBezTo>
                  <a:cubicBezTo>
                    <a:pt x="2527" y="303"/>
                    <a:pt x="2532" y="308"/>
                    <a:pt x="2539" y="308"/>
                  </a:cubicBezTo>
                  <a:cubicBezTo>
                    <a:pt x="2545" y="308"/>
                    <a:pt x="2550" y="303"/>
                    <a:pt x="2550" y="297"/>
                  </a:cubicBezTo>
                  <a:cubicBezTo>
                    <a:pt x="2550" y="292"/>
                    <a:pt x="2545" y="287"/>
                    <a:pt x="2538" y="287"/>
                  </a:cubicBezTo>
                  <a:cubicBezTo>
                    <a:pt x="2538" y="287"/>
                    <a:pt x="2538" y="287"/>
                    <a:pt x="2538" y="287"/>
                  </a:cubicBezTo>
                  <a:moveTo>
                    <a:pt x="2703" y="287"/>
                  </a:moveTo>
                  <a:cubicBezTo>
                    <a:pt x="2697" y="287"/>
                    <a:pt x="2692" y="292"/>
                    <a:pt x="2692" y="298"/>
                  </a:cubicBezTo>
                  <a:cubicBezTo>
                    <a:pt x="2692" y="303"/>
                    <a:pt x="2698" y="308"/>
                    <a:pt x="2704" y="308"/>
                  </a:cubicBezTo>
                  <a:cubicBezTo>
                    <a:pt x="2711" y="308"/>
                    <a:pt x="2716" y="303"/>
                    <a:pt x="2715" y="297"/>
                  </a:cubicBezTo>
                  <a:cubicBezTo>
                    <a:pt x="2715" y="292"/>
                    <a:pt x="2709" y="287"/>
                    <a:pt x="2703" y="287"/>
                  </a:cubicBezTo>
                  <a:cubicBezTo>
                    <a:pt x="2703" y="287"/>
                    <a:pt x="2703" y="287"/>
                    <a:pt x="2703" y="287"/>
                  </a:cubicBezTo>
                  <a:moveTo>
                    <a:pt x="2736" y="287"/>
                  </a:moveTo>
                  <a:cubicBezTo>
                    <a:pt x="2729" y="287"/>
                    <a:pt x="2725" y="292"/>
                    <a:pt x="2725" y="297"/>
                  </a:cubicBezTo>
                  <a:cubicBezTo>
                    <a:pt x="2726" y="303"/>
                    <a:pt x="2731" y="308"/>
                    <a:pt x="2738" y="308"/>
                  </a:cubicBezTo>
                  <a:cubicBezTo>
                    <a:pt x="2744" y="307"/>
                    <a:pt x="2749" y="303"/>
                    <a:pt x="2748" y="297"/>
                  </a:cubicBezTo>
                  <a:cubicBezTo>
                    <a:pt x="2748" y="292"/>
                    <a:pt x="2742" y="287"/>
                    <a:pt x="2736" y="287"/>
                  </a:cubicBezTo>
                  <a:cubicBezTo>
                    <a:pt x="2736" y="287"/>
                    <a:pt x="2736" y="287"/>
                    <a:pt x="2736" y="287"/>
                  </a:cubicBezTo>
                  <a:moveTo>
                    <a:pt x="2769" y="287"/>
                  </a:moveTo>
                  <a:cubicBezTo>
                    <a:pt x="2763" y="287"/>
                    <a:pt x="2758" y="291"/>
                    <a:pt x="2758" y="297"/>
                  </a:cubicBezTo>
                  <a:cubicBezTo>
                    <a:pt x="2759" y="303"/>
                    <a:pt x="2765" y="307"/>
                    <a:pt x="2771" y="307"/>
                  </a:cubicBezTo>
                  <a:cubicBezTo>
                    <a:pt x="2777" y="307"/>
                    <a:pt x="2782" y="303"/>
                    <a:pt x="2782" y="297"/>
                  </a:cubicBezTo>
                  <a:cubicBezTo>
                    <a:pt x="2781" y="291"/>
                    <a:pt x="2775" y="287"/>
                    <a:pt x="2769" y="287"/>
                  </a:cubicBezTo>
                  <a:cubicBezTo>
                    <a:pt x="2769" y="287"/>
                    <a:pt x="2769" y="287"/>
                    <a:pt x="2769" y="287"/>
                  </a:cubicBezTo>
                  <a:moveTo>
                    <a:pt x="2802" y="287"/>
                  </a:moveTo>
                  <a:cubicBezTo>
                    <a:pt x="2795" y="287"/>
                    <a:pt x="2791" y="291"/>
                    <a:pt x="2791" y="297"/>
                  </a:cubicBezTo>
                  <a:cubicBezTo>
                    <a:pt x="2792" y="302"/>
                    <a:pt x="2798" y="307"/>
                    <a:pt x="2804" y="307"/>
                  </a:cubicBezTo>
                  <a:cubicBezTo>
                    <a:pt x="2810" y="307"/>
                    <a:pt x="2815" y="302"/>
                    <a:pt x="2814" y="297"/>
                  </a:cubicBezTo>
                  <a:cubicBezTo>
                    <a:pt x="2814" y="291"/>
                    <a:pt x="2808" y="287"/>
                    <a:pt x="2802" y="287"/>
                  </a:cubicBezTo>
                  <a:cubicBezTo>
                    <a:pt x="2802" y="287"/>
                    <a:pt x="2802" y="287"/>
                    <a:pt x="2802" y="287"/>
                  </a:cubicBezTo>
                  <a:moveTo>
                    <a:pt x="2835" y="286"/>
                  </a:moveTo>
                  <a:cubicBezTo>
                    <a:pt x="2828" y="286"/>
                    <a:pt x="2824" y="291"/>
                    <a:pt x="2824" y="297"/>
                  </a:cubicBezTo>
                  <a:cubicBezTo>
                    <a:pt x="2825" y="302"/>
                    <a:pt x="2831" y="307"/>
                    <a:pt x="2837" y="307"/>
                  </a:cubicBezTo>
                  <a:cubicBezTo>
                    <a:pt x="2843" y="307"/>
                    <a:pt x="2848" y="302"/>
                    <a:pt x="2847" y="296"/>
                  </a:cubicBezTo>
                  <a:cubicBezTo>
                    <a:pt x="2847" y="291"/>
                    <a:pt x="2841" y="286"/>
                    <a:pt x="2835" y="286"/>
                  </a:cubicBezTo>
                  <a:cubicBezTo>
                    <a:pt x="2835" y="286"/>
                    <a:pt x="2835" y="286"/>
                    <a:pt x="2835" y="286"/>
                  </a:cubicBezTo>
                  <a:moveTo>
                    <a:pt x="2867" y="286"/>
                  </a:moveTo>
                  <a:cubicBezTo>
                    <a:pt x="2861" y="286"/>
                    <a:pt x="2856" y="291"/>
                    <a:pt x="2857" y="296"/>
                  </a:cubicBezTo>
                  <a:cubicBezTo>
                    <a:pt x="2858" y="302"/>
                    <a:pt x="2864" y="307"/>
                    <a:pt x="2870" y="306"/>
                  </a:cubicBezTo>
                  <a:cubicBezTo>
                    <a:pt x="2876" y="306"/>
                    <a:pt x="2881" y="302"/>
                    <a:pt x="2880" y="296"/>
                  </a:cubicBezTo>
                  <a:cubicBezTo>
                    <a:pt x="2879" y="290"/>
                    <a:pt x="2874" y="286"/>
                    <a:pt x="2867" y="286"/>
                  </a:cubicBezTo>
                  <a:cubicBezTo>
                    <a:pt x="2867" y="286"/>
                    <a:pt x="2867" y="286"/>
                    <a:pt x="2867" y="286"/>
                  </a:cubicBezTo>
                  <a:moveTo>
                    <a:pt x="2900" y="286"/>
                  </a:moveTo>
                  <a:cubicBezTo>
                    <a:pt x="2894" y="286"/>
                    <a:pt x="2889" y="290"/>
                    <a:pt x="2890" y="296"/>
                  </a:cubicBezTo>
                  <a:cubicBezTo>
                    <a:pt x="2891" y="302"/>
                    <a:pt x="2897" y="306"/>
                    <a:pt x="2903" y="306"/>
                  </a:cubicBezTo>
                  <a:cubicBezTo>
                    <a:pt x="2910" y="306"/>
                    <a:pt x="2914" y="302"/>
                    <a:pt x="2913" y="296"/>
                  </a:cubicBezTo>
                  <a:cubicBezTo>
                    <a:pt x="2912" y="290"/>
                    <a:pt x="2906" y="286"/>
                    <a:pt x="2900" y="286"/>
                  </a:cubicBezTo>
                  <a:cubicBezTo>
                    <a:pt x="2900" y="286"/>
                    <a:pt x="2900" y="286"/>
                    <a:pt x="2900" y="286"/>
                  </a:cubicBezTo>
                  <a:moveTo>
                    <a:pt x="2932" y="284"/>
                  </a:moveTo>
                  <a:cubicBezTo>
                    <a:pt x="2926" y="284"/>
                    <a:pt x="2922" y="288"/>
                    <a:pt x="2922" y="294"/>
                  </a:cubicBezTo>
                  <a:cubicBezTo>
                    <a:pt x="2923" y="300"/>
                    <a:pt x="2929" y="304"/>
                    <a:pt x="2936" y="304"/>
                  </a:cubicBezTo>
                  <a:cubicBezTo>
                    <a:pt x="2942" y="304"/>
                    <a:pt x="2946" y="300"/>
                    <a:pt x="2946" y="294"/>
                  </a:cubicBezTo>
                  <a:cubicBezTo>
                    <a:pt x="2945" y="288"/>
                    <a:pt x="2939" y="284"/>
                    <a:pt x="2932" y="284"/>
                  </a:cubicBezTo>
                  <a:cubicBezTo>
                    <a:pt x="2932" y="284"/>
                    <a:pt x="2932" y="284"/>
                    <a:pt x="2932" y="284"/>
                  </a:cubicBezTo>
                  <a:moveTo>
                    <a:pt x="2963" y="284"/>
                  </a:moveTo>
                  <a:cubicBezTo>
                    <a:pt x="2957" y="284"/>
                    <a:pt x="2953" y="288"/>
                    <a:pt x="2954" y="294"/>
                  </a:cubicBezTo>
                  <a:cubicBezTo>
                    <a:pt x="2955" y="300"/>
                    <a:pt x="2961" y="304"/>
                    <a:pt x="2967" y="304"/>
                  </a:cubicBezTo>
                  <a:cubicBezTo>
                    <a:pt x="2973" y="304"/>
                    <a:pt x="2978" y="299"/>
                    <a:pt x="2977" y="294"/>
                  </a:cubicBezTo>
                  <a:cubicBezTo>
                    <a:pt x="2976" y="288"/>
                    <a:pt x="2970" y="284"/>
                    <a:pt x="2964" y="284"/>
                  </a:cubicBezTo>
                  <a:cubicBezTo>
                    <a:pt x="2964" y="284"/>
                    <a:pt x="2964" y="284"/>
                    <a:pt x="2963" y="284"/>
                  </a:cubicBezTo>
                  <a:moveTo>
                    <a:pt x="2996" y="283"/>
                  </a:moveTo>
                  <a:cubicBezTo>
                    <a:pt x="2990" y="283"/>
                    <a:pt x="2985" y="288"/>
                    <a:pt x="2986" y="294"/>
                  </a:cubicBezTo>
                  <a:cubicBezTo>
                    <a:pt x="2987" y="299"/>
                    <a:pt x="2993" y="304"/>
                    <a:pt x="3000" y="304"/>
                  </a:cubicBezTo>
                  <a:cubicBezTo>
                    <a:pt x="3006" y="304"/>
                    <a:pt x="3011" y="299"/>
                    <a:pt x="3010" y="293"/>
                  </a:cubicBezTo>
                  <a:cubicBezTo>
                    <a:pt x="3008" y="288"/>
                    <a:pt x="3003" y="283"/>
                    <a:pt x="2996" y="283"/>
                  </a:cubicBezTo>
                  <a:cubicBezTo>
                    <a:pt x="2996" y="283"/>
                    <a:pt x="2996" y="283"/>
                    <a:pt x="2996" y="283"/>
                  </a:cubicBezTo>
                  <a:moveTo>
                    <a:pt x="3029" y="283"/>
                  </a:moveTo>
                  <a:cubicBezTo>
                    <a:pt x="3023" y="283"/>
                    <a:pt x="3018" y="288"/>
                    <a:pt x="3019" y="293"/>
                  </a:cubicBezTo>
                  <a:cubicBezTo>
                    <a:pt x="3021" y="299"/>
                    <a:pt x="3027" y="304"/>
                    <a:pt x="3033" y="304"/>
                  </a:cubicBezTo>
                  <a:cubicBezTo>
                    <a:pt x="3039" y="303"/>
                    <a:pt x="3044" y="299"/>
                    <a:pt x="3043" y="293"/>
                  </a:cubicBezTo>
                  <a:cubicBezTo>
                    <a:pt x="3041" y="288"/>
                    <a:pt x="3035" y="283"/>
                    <a:pt x="3029" y="283"/>
                  </a:cubicBezTo>
                  <a:cubicBezTo>
                    <a:pt x="3029" y="283"/>
                    <a:pt x="3029" y="283"/>
                    <a:pt x="3029" y="283"/>
                  </a:cubicBezTo>
                  <a:moveTo>
                    <a:pt x="3063" y="283"/>
                  </a:moveTo>
                  <a:cubicBezTo>
                    <a:pt x="3056" y="283"/>
                    <a:pt x="3052" y="287"/>
                    <a:pt x="3053" y="293"/>
                  </a:cubicBezTo>
                  <a:cubicBezTo>
                    <a:pt x="3055" y="299"/>
                    <a:pt x="3061" y="303"/>
                    <a:pt x="3067" y="303"/>
                  </a:cubicBezTo>
                  <a:cubicBezTo>
                    <a:pt x="3074" y="303"/>
                    <a:pt x="3078" y="299"/>
                    <a:pt x="3076" y="293"/>
                  </a:cubicBezTo>
                  <a:cubicBezTo>
                    <a:pt x="3075" y="287"/>
                    <a:pt x="3069" y="283"/>
                    <a:pt x="3063" y="283"/>
                  </a:cubicBezTo>
                  <a:cubicBezTo>
                    <a:pt x="3063" y="283"/>
                    <a:pt x="3063" y="283"/>
                    <a:pt x="3063" y="283"/>
                  </a:cubicBezTo>
                  <a:moveTo>
                    <a:pt x="3095" y="282"/>
                  </a:moveTo>
                  <a:cubicBezTo>
                    <a:pt x="3089" y="283"/>
                    <a:pt x="3085" y="287"/>
                    <a:pt x="3086" y="293"/>
                  </a:cubicBezTo>
                  <a:cubicBezTo>
                    <a:pt x="3087" y="298"/>
                    <a:pt x="3094" y="303"/>
                    <a:pt x="3100" y="303"/>
                  </a:cubicBezTo>
                  <a:cubicBezTo>
                    <a:pt x="3106" y="303"/>
                    <a:pt x="3110" y="298"/>
                    <a:pt x="3109" y="293"/>
                  </a:cubicBezTo>
                  <a:cubicBezTo>
                    <a:pt x="3108" y="287"/>
                    <a:pt x="3102" y="282"/>
                    <a:pt x="3096" y="282"/>
                  </a:cubicBezTo>
                  <a:cubicBezTo>
                    <a:pt x="3095" y="282"/>
                    <a:pt x="3095" y="282"/>
                    <a:pt x="3095" y="282"/>
                  </a:cubicBezTo>
                  <a:moveTo>
                    <a:pt x="3128" y="282"/>
                  </a:moveTo>
                  <a:cubicBezTo>
                    <a:pt x="3122" y="282"/>
                    <a:pt x="3118" y="287"/>
                    <a:pt x="3119" y="293"/>
                  </a:cubicBezTo>
                  <a:cubicBezTo>
                    <a:pt x="3120" y="298"/>
                    <a:pt x="3127" y="303"/>
                    <a:pt x="3133" y="303"/>
                  </a:cubicBezTo>
                  <a:cubicBezTo>
                    <a:pt x="3139" y="303"/>
                    <a:pt x="3144" y="298"/>
                    <a:pt x="3142" y="292"/>
                  </a:cubicBezTo>
                  <a:cubicBezTo>
                    <a:pt x="3141" y="287"/>
                    <a:pt x="3135" y="282"/>
                    <a:pt x="3128" y="282"/>
                  </a:cubicBezTo>
                  <a:cubicBezTo>
                    <a:pt x="3128" y="282"/>
                    <a:pt x="3128" y="282"/>
                    <a:pt x="3128" y="282"/>
                  </a:cubicBezTo>
                  <a:moveTo>
                    <a:pt x="3161" y="282"/>
                  </a:moveTo>
                  <a:cubicBezTo>
                    <a:pt x="3155" y="282"/>
                    <a:pt x="3151" y="287"/>
                    <a:pt x="3152" y="292"/>
                  </a:cubicBezTo>
                  <a:cubicBezTo>
                    <a:pt x="3154" y="298"/>
                    <a:pt x="3160" y="303"/>
                    <a:pt x="3167" y="302"/>
                  </a:cubicBezTo>
                  <a:cubicBezTo>
                    <a:pt x="3173" y="302"/>
                    <a:pt x="3177" y="298"/>
                    <a:pt x="3176" y="292"/>
                  </a:cubicBezTo>
                  <a:cubicBezTo>
                    <a:pt x="3174" y="286"/>
                    <a:pt x="3168" y="282"/>
                    <a:pt x="3162" y="282"/>
                  </a:cubicBezTo>
                  <a:cubicBezTo>
                    <a:pt x="3162" y="282"/>
                    <a:pt x="3161" y="282"/>
                    <a:pt x="3161" y="282"/>
                  </a:cubicBezTo>
                  <a:moveTo>
                    <a:pt x="3194" y="282"/>
                  </a:moveTo>
                  <a:cubicBezTo>
                    <a:pt x="3188" y="282"/>
                    <a:pt x="3184" y="286"/>
                    <a:pt x="3185" y="292"/>
                  </a:cubicBezTo>
                  <a:cubicBezTo>
                    <a:pt x="3187" y="298"/>
                    <a:pt x="3193" y="302"/>
                    <a:pt x="3199" y="302"/>
                  </a:cubicBezTo>
                  <a:cubicBezTo>
                    <a:pt x="3206" y="302"/>
                    <a:pt x="3210" y="298"/>
                    <a:pt x="3208" y="292"/>
                  </a:cubicBezTo>
                  <a:cubicBezTo>
                    <a:pt x="3207" y="286"/>
                    <a:pt x="3200" y="282"/>
                    <a:pt x="3194" y="282"/>
                  </a:cubicBezTo>
                  <a:cubicBezTo>
                    <a:pt x="3194" y="282"/>
                    <a:pt x="3194" y="282"/>
                    <a:pt x="3194" y="282"/>
                  </a:cubicBezTo>
                  <a:moveTo>
                    <a:pt x="3227" y="281"/>
                  </a:moveTo>
                  <a:cubicBezTo>
                    <a:pt x="3220" y="281"/>
                    <a:pt x="3217" y="286"/>
                    <a:pt x="3218" y="292"/>
                  </a:cubicBezTo>
                  <a:cubicBezTo>
                    <a:pt x="3220" y="297"/>
                    <a:pt x="3226" y="302"/>
                    <a:pt x="3232" y="302"/>
                  </a:cubicBezTo>
                  <a:cubicBezTo>
                    <a:pt x="3239" y="302"/>
                    <a:pt x="3243" y="297"/>
                    <a:pt x="3241" y="292"/>
                  </a:cubicBezTo>
                  <a:cubicBezTo>
                    <a:pt x="3240" y="286"/>
                    <a:pt x="3233" y="281"/>
                    <a:pt x="3227" y="281"/>
                  </a:cubicBezTo>
                  <a:cubicBezTo>
                    <a:pt x="3227" y="281"/>
                    <a:pt x="3227" y="281"/>
                    <a:pt x="3227" y="281"/>
                  </a:cubicBezTo>
                  <a:moveTo>
                    <a:pt x="3259" y="281"/>
                  </a:moveTo>
                  <a:cubicBezTo>
                    <a:pt x="3253" y="281"/>
                    <a:pt x="3249" y="286"/>
                    <a:pt x="3251" y="292"/>
                  </a:cubicBezTo>
                  <a:cubicBezTo>
                    <a:pt x="3252" y="297"/>
                    <a:pt x="3259" y="302"/>
                    <a:pt x="3265" y="302"/>
                  </a:cubicBezTo>
                  <a:cubicBezTo>
                    <a:pt x="3272" y="302"/>
                    <a:pt x="3275" y="297"/>
                    <a:pt x="3274" y="291"/>
                  </a:cubicBezTo>
                  <a:cubicBezTo>
                    <a:pt x="3272" y="286"/>
                    <a:pt x="3266" y="281"/>
                    <a:pt x="3260" y="281"/>
                  </a:cubicBezTo>
                  <a:cubicBezTo>
                    <a:pt x="3259" y="281"/>
                    <a:pt x="3259" y="281"/>
                    <a:pt x="3259" y="281"/>
                  </a:cubicBezTo>
                  <a:moveTo>
                    <a:pt x="3292" y="281"/>
                  </a:moveTo>
                  <a:cubicBezTo>
                    <a:pt x="3286" y="281"/>
                    <a:pt x="3282" y="286"/>
                    <a:pt x="3284" y="291"/>
                  </a:cubicBezTo>
                  <a:cubicBezTo>
                    <a:pt x="3285" y="297"/>
                    <a:pt x="3292" y="301"/>
                    <a:pt x="3298" y="301"/>
                  </a:cubicBezTo>
                  <a:cubicBezTo>
                    <a:pt x="3304" y="301"/>
                    <a:pt x="3308" y="297"/>
                    <a:pt x="3307" y="291"/>
                  </a:cubicBezTo>
                  <a:cubicBezTo>
                    <a:pt x="3305" y="285"/>
                    <a:pt x="3298" y="281"/>
                    <a:pt x="3292" y="281"/>
                  </a:cubicBezTo>
                  <a:cubicBezTo>
                    <a:pt x="3292" y="281"/>
                    <a:pt x="3292" y="281"/>
                    <a:pt x="3292" y="281"/>
                  </a:cubicBezTo>
                  <a:moveTo>
                    <a:pt x="3325" y="281"/>
                  </a:moveTo>
                  <a:cubicBezTo>
                    <a:pt x="3318" y="281"/>
                    <a:pt x="3315" y="285"/>
                    <a:pt x="3316" y="291"/>
                  </a:cubicBezTo>
                  <a:cubicBezTo>
                    <a:pt x="3318" y="297"/>
                    <a:pt x="3325" y="301"/>
                    <a:pt x="3331" y="301"/>
                  </a:cubicBezTo>
                  <a:cubicBezTo>
                    <a:pt x="3337" y="301"/>
                    <a:pt x="3341" y="296"/>
                    <a:pt x="3339" y="291"/>
                  </a:cubicBezTo>
                  <a:cubicBezTo>
                    <a:pt x="3338" y="285"/>
                    <a:pt x="3331" y="281"/>
                    <a:pt x="3325" y="281"/>
                  </a:cubicBezTo>
                  <a:cubicBezTo>
                    <a:pt x="3325" y="281"/>
                    <a:pt x="3325" y="281"/>
                    <a:pt x="3325" y="281"/>
                  </a:cubicBezTo>
                  <a:moveTo>
                    <a:pt x="3357" y="280"/>
                  </a:moveTo>
                  <a:cubicBezTo>
                    <a:pt x="3351" y="280"/>
                    <a:pt x="3347" y="285"/>
                    <a:pt x="3349" y="291"/>
                  </a:cubicBezTo>
                  <a:cubicBezTo>
                    <a:pt x="3351" y="296"/>
                    <a:pt x="3358" y="301"/>
                    <a:pt x="3364" y="301"/>
                  </a:cubicBezTo>
                  <a:cubicBezTo>
                    <a:pt x="3370" y="301"/>
                    <a:pt x="3374" y="296"/>
                    <a:pt x="3372" y="291"/>
                  </a:cubicBezTo>
                  <a:cubicBezTo>
                    <a:pt x="3370" y="285"/>
                    <a:pt x="3364" y="280"/>
                    <a:pt x="3358" y="280"/>
                  </a:cubicBezTo>
                  <a:cubicBezTo>
                    <a:pt x="3358" y="280"/>
                    <a:pt x="3357" y="280"/>
                    <a:pt x="3357" y="280"/>
                  </a:cubicBezTo>
                  <a:moveTo>
                    <a:pt x="3391" y="280"/>
                  </a:moveTo>
                  <a:cubicBezTo>
                    <a:pt x="3385" y="280"/>
                    <a:pt x="3381" y="285"/>
                    <a:pt x="3383" y="290"/>
                  </a:cubicBezTo>
                  <a:cubicBezTo>
                    <a:pt x="3385" y="296"/>
                    <a:pt x="3392" y="301"/>
                    <a:pt x="3398" y="301"/>
                  </a:cubicBezTo>
                  <a:cubicBezTo>
                    <a:pt x="3404" y="301"/>
                    <a:pt x="3408" y="296"/>
                    <a:pt x="3406" y="290"/>
                  </a:cubicBezTo>
                  <a:cubicBezTo>
                    <a:pt x="3404" y="285"/>
                    <a:pt x="3398" y="280"/>
                    <a:pt x="3391" y="280"/>
                  </a:cubicBezTo>
                  <a:cubicBezTo>
                    <a:pt x="3391" y="280"/>
                    <a:pt x="3391" y="280"/>
                    <a:pt x="3391" y="280"/>
                  </a:cubicBezTo>
                  <a:moveTo>
                    <a:pt x="3424" y="280"/>
                  </a:moveTo>
                  <a:cubicBezTo>
                    <a:pt x="3417" y="280"/>
                    <a:pt x="3414" y="284"/>
                    <a:pt x="3416" y="290"/>
                  </a:cubicBezTo>
                  <a:cubicBezTo>
                    <a:pt x="3418" y="296"/>
                    <a:pt x="3425" y="300"/>
                    <a:pt x="3431" y="300"/>
                  </a:cubicBezTo>
                  <a:cubicBezTo>
                    <a:pt x="3437" y="300"/>
                    <a:pt x="3441" y="296"/>
                    <a:pt x="3439" y="290"/>
                  </a:cubicBezTo>
                  <a:cubicBezTo>
                    <a:pt x="3437" y="284"/>
                    <a:pt x="3430" y="280"/>
                    <a:pt x="3424" y="280"/>
                  </a:cubicBezTo>
                  <a:cubicBezTo>
                    <a:pt x="3424" y="280"/>
                    <a:pt x="3424" y="280"/>
                    <a:pt x="3424" y="280"/>
                  </a:cubicBezTo>
                  <a:moveTo>
                    <a:pt x="3457" y="280"/>
                  </a:moveTo>
                  <a:cubicBezTo>
                    <a:pt x="3450" y="280"/>
                    <a:pt x="3447" y="284"/>
                    <a:pt x="3449" y="290"/>
                  </a:cubicBezTo>
                  <a:cubicBezTo>
                    <a:pt x="3451" y="296"/>
                    <a:pt x="3458" y="300"/>
                    <a:pt x="3464" y="300"/>
                  </a:cubicBezTo>
                  <a:cubicBezTo>
                    <a:pt x="3470" y="300"/>
                    <a:pt x="3474" y="295"/>
                    <a:pt x="3472" y="290"/>
                  </a:cubicBezTo>
                  <a:cubicBezTo>
                    <a:pt x="3470" y="284"/>
                    <a:pt x="3463" y="280"/>
                    <a:pt x="3457" y="280"/>
                  </a:cubicBezTo>
                  <a:cubicBezTo>
                    <a:pt x="3457" y="280"/>
                    <a:pt x="3457" y="280"/>
                    <a:pt x="3457" y="280"/>
                  </a:cubicBezTo>
                  <a:moveTo>
                    <a:pt x="3490" y="279"/>
                  </a:moveTo>
                  <a:cubicBezTo>
                    <a:pt x="3483" y="279"/>
                    <a:pt x="3480" y="284"/>
                    <a:pt x="3482" y="290"/>
                  </a:cubicBezTo>
                  <a:cubicBezTo>
                    <a:pt x="3484" y="295"/>
                    <a:pt x="3491" y="300"/>
                    <a:pt x="3497" y="300"/>
                  </a:cubicBezTo>
                  <a:cubicBezTo>
                    <a:pt x="3504" y="300"/>
                    <a:pt x="3507" y="295"/>
                    <a:pt x="3505" y="289"/>
                  </a:cubicBezTo>
                  <a:cubicBezTo>
                    <a:pt x="3503" y="284"/>
                    <a:pt x="3496" y="279"/>
                    <a:pt x="3490" y="279"/>
                  </a:cubicBezTo>
                  <a:cubicBezTo>
                    <a:pt x="3490" y="279"/>
                    <a:pt x="3490" y="279"/>
                    <a:pt x="3490" y="279"/>
                  </a:cubicBezTo>
                  <a:moveTo>
                    <a:pt x="3522" y="279"/>
                  </a:moveTo>
                  <a:cubicBezTo>
                    <a:pt x="3516" y="279"/>
                    <a:pt x="3513" y="284"/>
                    <a:pt x="3515" y="289"/>
                  </a:cubicBezTo>
                  <a:cubicBezTo>
                    <a:pt x="3517" y="295"/>
                    <a:pt x="3524" y="300"/>
                    <a:pt x="3530" y="300"/>
                  </a:cubicBezTo>
                  <a:cubicBezTo>
                    <a:pt x="3537" y="300"/>
                    <a:pt x="3540" y="295"/>
                    <a:pt x="3538" y="289"/>
                  </a:cubicBezTo>
                  <a:cubicBezTo>
                    <a:pt x="3536" y="284"/>
                    <a:pt x="3529" y="279"/>
                    <a:pt x="3522" y="279"/>
                  </a:cubicBezTo>
                  <a:cubicBezTo>
                    <a:pt x="3522" y="279"/>
                    <a:pt x="3522" y="279"/>
                    <a:pt x="3522" y="279"/>
                  </a:cubicBezTo>
                  <a:moveTo>
                    <a:pt x="3555" y="279"/>
                  </a:moveTo>
                  <a:cubicBezTo>
                    <a:pt x="3549" y="279"/>
                    <a:pt x="3545" y="283"/>
                    <a:pt x="3548" y="289"/>
                  </a:cubicBezTo>
                  <a:cubicBezTo>
                    <a:pt x="3550" y="295"/>
                    <a:pt x="3557" y="299"/>
                    <a:pt x="3563" y="299"/>
                  </a:cubicBezTo>
                  <a:cubicBezTo>
                    <a:pt x="3570" y="299"/>
                    <a:pt x="3573" y="295"/>
                    <a:pt x="3571" y="289"/>
                  </a:cubicBezTo>
                  <a:cubicBezTo>
                    <a:pt x="3568" y="283"/>
                    <a:pt x="3561" y="279"/>
                    <a:pt x="3555" y="279"/>
                  </a:cubicBezTo>
                  <a:cubicBezTo>
                    <a:pt x="3555" y="279"/>
                    <a:pt x="3555" y="279"/>
                    <a:pt x="3555" y="279"/>
                  </a:cubicBezTo>
                  <a:moveTo>
                    <a:pt x="3588" y="278"/>
                  </a:moveTo>
                  <a:cubicBezTo>
                    <a:pt x="3581" y="279"/>
                    <a:pt x="3578" y="283"/>
                    <a:pt x="3580" y="289"/>
                  </a:cubicBezTo>
                  <a:cubicBezTo>
                    <a:pt x="3583" y="295"/>
                    <a:pt x="3590" y="299"/>
                    <a:pt x="3596" y="299"/>
                  </a:cubicBezTo>
                  <a:cubicBezTo>
                    <a:pt x="3602" y="299"/>
                    <a:pt x="3606" y="294"/>
                    <a:pt x="3603" y="289"/>
                  </a:cubicBezTo>
                  <a:cubicBezTo>
                    <a:pt x="3601" y="283"/>
                    <a:pt x="3594" y="278"/>
                    <a:pt x="3588" y="278"/>
                  </a:cubicBezTo>
                  <a:cubicBezTo>
                    <a:pt x="3588" y="278"/>
                    <a:pt x="3588" y="278"/>
                    <a:pt x="3588" y="278"/>
                  </a:cubicBezTo>
                  <a:moveTo>
                    <a:pt x="3621" y="278"/>
                  </a:moveTo>
                  <a:cubicBezTo>
                    <a:pt x="3615" y="278"/>
                    <a:pt x="3611" y="283"/>
                    <a:pt x="3614" y="289"/>
                  </a:cubicBezTo>
                  <a:cubicBezTo>
                    <a:pt x="3616" y="294"/>
                    <a:pt x="3623" y="299"/>
                    <a:pt x="3630" y="299"/>
                  </a:cubicBezTo>
                  <a:cubicBezTo>
                    <a:pt x="3636" y="299"/>
                    <a:pt x="3639" y="294"/>
                    <a:pt x="3637" y="288"/>
                  </a:cubicBezTo>
                  <a:cubicBezTo>
                    <a:pt x="3634" y="283"/>
                    <a:pt x="3627" y="278"/>
                    <a:pt x="3621" y="278"/>
                  </a:cubicBezTo>
                  <a:cubicBezTo>
                    <a:pt x="3621" y="278"/>
                    <a:pt x="3621" y="278"/>
                    <a:pt x="3621" y="278"/>
                  </a:cubicBezTo>
                  <a:moveTo>
                    <a:pt x="3654" y="278"/>
                  </a:moveTo>
                  <a:cubicBezTo>
                    <a:pt x="3647" y="278"/>
                    <a:pt x="3644" y="283"/>
                    <a:pt x="3647" y="288"/>
                  </a:cubicBezTo>
                  <a:cubicBezTo>
                    <a:pt x="3649" y="294"/>
                    <a:pt x="3656" y="299"/>
                    <a:pt x="3663" y="298"/>
                  </a:cubicBezTo>
                  <a:cubicBezTo>
                    <a:pt x="3669" y="298"/>
                    <a:pt x="3672" y="294"/>
                    <a:pt x="3670" y="288"/>
                  </a:cubicBezTo>
                  <a:cubicBezTo>
                    <a:pt x="3667" y="282"/>
                    <a:pt x="3660" y="278"/>
                    <a:pt x="3654" y="278"/>
                  </a:cubicBezTo>
                  <a:cubicBezTo>
                    <a:pt x="3654" y="278"/>
                    <a:pt x="3654" y="278"/>
                    <a:pt x="3654" y="278"/>
                  </a:cubicBezTo>
                  <a:moveTo>
                    <a:pt x="156" y="278"/>
                  </a:moveTo>
                  <a:cubicBezTo>
                    <a:pt x="150" y="278"/>
                    <a:pt x="141" y="282"/>
                    <a:pt x="136" y="288"/>
                  </a:cubicBezTo>
                  <a:cubicBezTo>
                    <a:pt x="131" y="293"/>
                    <a:pt x="132" y="298"/>
                    <a:pt x="138" y="298"/>
                  </a:cubicBezTo>
                  <a:cubicBezTo>
                    <a:pt x="145" y="298"/>
                    <a:pt x="154" y="293"/>
                    <a:pt x="159" y="288"/>
                  </a:cubicBezTo>
                  <a:cubicBezTo>
                    <a:pt x="164" y="282"/>
                    <a:pt x="163" y="278"/>
                    <a:pt x="156" y="278"/>
                  </a:cubicBezTo>
                  <a:cubicBezTo>
                    <a:pt x="156" y="278"/>
                    <a:pt x="156" y="278"/>
                    <a:pt x="156" y="278"/>
                  </a:cubicBezTo>
                  <a:moveTo>
                    <a:pt x="3688" y="278"/>
                  </a:moveTo>
                  <a:cubicBezTo>
                    <a:pt x="3681" y="278"/>
                    <a:pt x="3678" y="282"/>
                    <a:pt x="3681" y="288"/>
                  </a:cubicBezTo>
                  <a:cubicBezTo>
                    <a:pt x="3683" y="294"/>
                    <a:pt x="3690" y="298"/>
                    <a:pt x="3697" y="298"/>
                  </a:cubicBezTo>
                  <a:cubicBezTo>
                    <a:pt x="3703" y="298"/>
                    <a:pt x="3706" y="294"/>
                    <a:pt x="3704" y="288"/>
                  </a:cubicBezTo>
                  <a:cubicBezTo>
                    <a:pt x="3701" y="282"/>
                    <a:pt x="3694" y="278"/>
                    <a:pt x="3688" y="278"/>
                  </a:cubicBezTo>
                  <a:cubicBezTo>
                    <a:pt x="3688" y="278"/>
                    <a:pt x="3688" y="278"/>
                    <a:pt x="3688" y="278"/>
                  </a:cubicBezTo>
                  <a:moveTo>
                    <a:pt x="189" y="277"/>
                  </a:moveTo>
                  <a:cubicBezTo>
                    <a:pt x="182" y="277"/>
                    <a:pt x="173" y="282"/>
                    <a:pt x="168" y="288"/>
                  </a:cubicBezTo>
                  <a:cubicBezTo>
                    <a:pt x="164" y="293"/>
                    <a:pt x="165" y="298"/>
                    <a:pt x="171" y="298"/>
                  </a:cubicBezTo>
                  <a:cubicBezTo>
                    <a:pt x="177" y="298"/>
                    <a:pt x="187" y="293"/>
                    <a:pt x="191" y="287"/>
                  </a:cubicBezTo>
                  <a:cubicBezTo>
                    <a:pt x="196" y="282"/>
                    <a:pt x="195" y="277"/>
                    <a:pt x="189" y="277"/>
                  </a:cubicBezTo>
                  <a:cubicBezTo>
                    <a:pt x="189" y="277"/>
                    <a:pt x="189" y="277"/>
                    <a:pt x="189" y="277"/>
                  </a:cubicBezTo>
                  <a:moveTo>
                    <a:pt x="3720" y="277"/>
                  </a:moveTo>
                  <a:cubicBezTo>
                    <a:pt x="3714" y="277"/>
                    <a:pt x="3711" y="282"/>
                    <a:pt x="3713" y="288"/>
                  </a:cubicBezTo>
                  <a:cubicBezTo>
                    <a:pt x="3716" y="293"/>
                    <a:pt x="3723" y="298"/>
                    <a:pt x="3729" y="298"/>
                  </a:cubicBezTo>
                  <a:cubicBezTo>
                    <a:pt x="3736" y="298"/>
                    <a:pt x="3739" y="293"/>
                    <a:pt x="3736" y="288"/>
                  </a:cubicBezTo>
                  <a:cubicBezTo>
                    <a:pt x="3734" y="282"/>
                    <a:pt x="3727" y="277"/>
                    <a:pt x="3720" y="277"/>
                  </a:cubicBezTo>
                  <a:cubicBezTo>
                    <a:pt x="3720" y="277"/>
                    <a:pt x="3720" y="277"/>
                    <a:pt x="3720" y="277"/>
                  </a:cubicBezTo>
                  <a:moveTo>
                    <a:pt x="221" y="277"/>
                  </a:moveTo>
                  <a:cubicBezTo>
                    <a:pt x="215" y="277"/>
                    <a:pt x="206" y="282"/>
                    <a:pt x="201" y="287"/>
                  </a:cubicBezTo>
                  <a:cubicBezTo>
                    <a:pt x="196" y="293"/>
                    <a:pt x="198" y="297"/>
                    <a:pt x="204" y="297"/>
                  </a:cubicBezTo>
                  <a:cubicBezTo>
                    <a:pt x="210" y="297"/>
                    <a:pt x="219" y="293"/>
                    <a:pt x="224" y="287"/>
                  </a:cubicBezTo>
                  <a:cubicBezTo>
                    <a:pt x="229" y="282"/>
                    <a:pt x="228" y="277"/>
                    <a:pt x="221" y="277"/>
                  </a:cubicBezTo>
                  <a:cubicBezTo>
                    <a:pt x="221" y="277"/>
                    <a:pt x="221" y="277"/>
                    <a:pt x="221" y="277"/>
                  </a:cubicBezTo>
                  <a:moveTo>
                    <a:pt x="3753" y="277"/>
                  </a:moveTo>
                  <a:cubicBezTo>
                    <a:pt x="3747" y="277"/>
                    <a:pt x="3744" y="282"/>
                    <a:pt x="3746" y="288"/>
                  </a:cubicBezTo>
                  <a:cubicBezTo>
                    <a:pt x="3749" y="293"/>
                    <a:pt x="3756" y="298"/>
                    <a:pt x="3763" y="298"/>
                  </a:cubicBezTo>
                  <a:cubicBezTo>
                    <a:pt x="3769" y="298"/>
                    <a:pt x="3772" y="293"/>
                    <a:pt x="3769" y="287"/>
                  </a:cubicBezTo>
                  <a:cubicBezTo>
                    <a:pt x="3767" y="282"/>
                    <a:pt x="3759" y="277"/>
                    <a:pt x="3753" y="277"/>
                  </a:cubicBezTo>
                  <a:cubicBezTo>
                    <a:pt x="3753" y="277"/>
                    <a:pt x="3753" y="277"/>
                    <a:pt x="3753" y="277"/>
                  </a:cubicBezTo>
                  <a:moveTo>
                    <a:pt x="254" y="277"/>
                  </a:moveTo>
                  <a:cubicBezTo>
                    <a:pt x="247" y="277"/>
                    <a:pt x="238" y="281"/>
                    <a:pt x="234" y="287"/>
                  </a:cubicBezTo>
                  <a:cubicBezTo>
                    <a:pt x="229" y="293"/>
                    <a:pt x="230" y="297"/>
                    <a:pt x="237" y="297"/>
                  </a:cubicBezTo>
                  <a:cubicBezTo>
                    <a:pt x="243" y="297"/>
                    <a:pt x="252" y="292"/>
                    <a:pt x="257" y="287"/>
                  </a:cubicBezTo>
                  <a:cubicBezTo>
                    <a:pt x="261" y="281"/>
                    <a:pt x="260" y="277"/>
                    <a:pt x="254" y="277"/>
                  </a:cubicBezTo>
                  <a:cubicBezTo>
                    <a:pt x="254" y="277"/>
                    <a:pt x="254" y="277"/>
                    <a:pt x="254" y="277"/>
                  </a:cubicBezTo>
                  <a:moveTo>
                    <a:pt x="3786" y="277"/>
                  </a:moveTo>
                  <a:cubicBezTo>
                    <a:pt x="3780" y="277"/>
                    <a:pt x="3777" y="282"/>
                    <a:pt x="3779" y="287"/>
                  </a:cubicBezTo>
                  <a:cubicBezTo>
                    <a:pt x="3782" y="293"/>
                    <a:pt x="3790" y="297"/>
                    <a:pt x="3796" y="297"/>
                  </a:cubicBezTo>
                  <a:cubicBezTo>
                    <a:pt x="3802" y="297"/>
                    <a:pt x="3805" y="293"/>
                    <a:pt x="3802" y="287"/>
                  </a:cubicBezTo>
                  <a:cubicBezTo>
                    <a:pt x="3800" y="281"/>
                    <a:pt x="3792" y="277"/>
                    <a:pt x="3786" y="277"/>
                  </a:cubicBezTo>
                  <a:cubicBezTo>
                    <a:pt x="3786" y="277"/>
                    <a:pt x="3786" y="277"/>
                    <a:pt x="3786" y="277"/>
                  </a:cubicBezTo>
                  <a:moveTo>
                    <a:pt x="385" y="277"/>
                  </a:moveTo>
                  <a:cubicBezTo>
                    <a:pt x="379" y="277"/>
                    <a:pt x="370" y="281"/>
                    <a:pt x="365" y="287"/>
                  </a:cubicBezTo>
                  <a:cubicBezTo>
                    <a:pt x="361" y="292"/>
                    <a:pt x="362" y="297"/>
                    <a:pt x="369" y="297"/>
                  </a:cubicBezTo>
                  <a:cubicBezTo>
                    <a:pt x="375" y="297"/>
                    <a:pt x="384" y="292"/>
                    <a:pt x="388" y="287"/>
                  </a:cubicBezTo>
                  <a:cubicBezTo>
                    <a:pt x="393" y="281"/>
                    <a:pt x="391" y="277"/>
                    <a:pt x="385" y="277"/>
                  </a:cubicBezTo>
                  <a:cubicBezTo>
                    <a:pt x="385" y="277"/>
                    <a:pt x="385" y="277"/>
                    <a:pt x="385" y="277"/>
                  </a:cubicBezTo>
                  <a:moveTo>
                    <a:pt x="3819" y="277"/>
                  </a:moveTo>
                  <a:cubicBezTo>
                    <a:pt x="3812" y="277"/>
                    <a:pt x="3809" y="281"/>
                    <a:pt x="3812" y="287"/>
                  </a:cubicBezTo>
                  <a:cubicBezTo>
                    <a:pt x="3815" y="293"/>
                    <a:pt x="3822" y="297"/>
                    <a:pt x="3829" y="297"/>
                  </a:cubicBezTo>
                  <a:cubicBezTo>
                    <a:pt x="3835" y="297"/>
                    <a:pt x="3838" y="292"/>
                    <a:pt x="3835" y="287"/>
                  </a:cubicBezTo>
                  <a:cubicBezTo>
                    <a:pt x="3832" y="281"/>
                    <a:pt x="3825" y="277"/>
                    <a:pt x="3819" y="277"/>
                  </a:cubicBezTo>
                  <a:cubicBezTo>
                    <a:pt x="3819" y="277"/>
                    <a:pt x="3819" y="277"/>
                    <a:pt x="3819" y="277"/>
                  </a:cubicBezTo>
                  <a:moveTo>
                    <a:pt x="286" y="277"/>
                  </a:moveTo>
                  <a:cubicBezTo>
                    <a:pt x="280" y="277"/>
                    <a:pt x="271" y="281"/>
                    <a:pt x="266" y="287"/>
                  </a:cubicBezTo>
                  <a:cubicBezTo>
                    <a:pt x="262" y="292"/>
                    <a:pt x="263" y="297"/>
                    <a:pt x="269" y="297"/>
                  </a:cubicBezTo>
                  <a:cubicBezTo>
                    <a:pt x="276" y="297"/>
                    <a:pt x="285" y="292"/>
                    <a:pt x="289" y="287"/>
                  </a:cubicBezTo>
                  <a:cubicBezTo>
                    <a:pt x="294" y="281"/>
                    <a:pt x="293" y="277"/>
                    <a:pt x="286" y="277"/>
                  </a:cubicBezTo>
                  <a:cubicBezTo>
                    <a:pt x="286" y="277"/>
                    <a:pt x="286" y="277"/>
                    <a:pt x="286" y="277"/>
                  </a:cubicBezTo>
                  <a:moveTo>
                    <a:pt x="418" y="276"/>
                  </a:moveTo>
                  <a:cubicBezTo>
                    <a:pt x="411" y="276"/>
                    <a:pt x="403" y="281"/>
                    <a:pt x="398" y="287"/>
                  </a:cubicBezTo>
                  <a:cubicBezTo>
                    <a:pt x="394" y="292"/>
                    <a:pt x="395" y="297"/>
                    <a:pt x="402" y="297"/>
                  </a:cubicBezTo>
                  <a:cubicBezTo>
                    <a:pt x="408" y="297"/>
                    <a:pt x="417" y="292"/>
                    <a:pt x="421" y="286"/>
                  </a:cubicBezTo>
                  <a:cubicBezTo>
                    <a:pt x="426" y="281"/>
                    <a:pt x="424" y="276"/>
                    <a:pt x="418" y="276"/>
                  </a:cubicBezTo>
                  <a:cubicBezTo>
                    <a:pt x="418" y="276"/>
                    <a:pt x="418" y="276"/>
                    <a:pt x="418" y="276"/>
                  </a:cubicBezTo>
                  <a:moveTo>
                    <a:pt x="452" y="276"/>
                  </a:moveTo>
                  <a:cubicBezTo>
                    <a:pt x="445" y="276"/>
                    <a:pt x="437" y="281"/>
                    <a:pt x="432" y="286"/>
                  </a:cubicBezTo>
                  <a:cubicBezTo>
                    <a:pt x="428" y="292"/>
                    <a:pt x="429" y="296"/>
                    <a:pt x="436" y="296"/>
                  </a:cubicBezTo>
                  <a:cubicBezTo>
                    <a:pt x="442" y="296"/>
                    <a:pt x="451" y="292"/>
                    <a:pt x="455" y="286"/>
                  </a:cubicBezTo>
                  <a:cubicBezTo>
                    <a:pt x="459" y="281"/>
                    <a:pt x="458" y="276"/>
                    <a:pt x="452" y="276"/>
                  </a:cubicBezTo>
                  <a:cubicBezTo>
                    <a:pt x="452" y="276"/>
                    <a:pt x="452" y="276"/>
                    <a:pt x="452" y="276"/>
                  </a:cubicBezTo>
                  <a:moveTo>
                    <a:pt x="484" y="276"/>
                  </a:moveTo>
                  <a:cubicBezTo>
                    <a:pt x="478" y="276"/>
                    <a:pt x="469" y="280"/>
                    <a:pt x="465" y="286"/>
                  </a:cubicBezTo>
                  <a:cubicBezTo>
                    <a:pt x="461" y="292"/>
                    <a:pt x="462" y="296"/>
                    <a:pt x="469" y="296"/>
                  </a:cubicBezTo>
                  <a:cubicBezTo>
                    <a:pt x="475" y="296"/>
                    <a:pt x="484" y="291"/>
                    <a:pt x="488" y="286"/>
                  </a:cubicBezTo>
                  <a:cubicBezTo>
                    <a:pt x="492" y="280"/>
                    <a:pt x="490" y="276"/>
                    <a:pt x="484" y="276"/>
                  </a:cubicBezTo>
                  <a:cubicBezTo>
                    <a:pt x="484" y="276"/>
                    <a:pt x="484" y="276"/>
                    <a:pt x="484" y="276"/>
                  </a:cubicBezTo>
                  <a:moveTo>
                    <a:pt x="517" y="276"/>
                  </a:moveTo>
                  <a:cubicBezTo>
                    <a:pt x="510" y="276"/>
                    <a:pt x="502" y="280"/>
                    <a:pt x="498" y="286"/>
                  </a:cubicBezTo>
                  <a:cubicBezTo>
                    <a:pt x="493" y="291"/>
                    <a:pt x="495" y="296"/>
                    <a:pt x="502" y="296"/>
                  </a:cubicBezTo>
                  <a:cubicBezTo>
                    <a:pt x="508" y="296"/>
                    <a:pt x="516" y="291"/>
                    <a:pt x="521" y="286"/>
                  </a:cubicBezTo>
                  <a:cubicBezTo>
                    <a:pt x="525" y="280"/>
                    <a:pt x="523" y="276"/>
                    <a:pt x="517" y="276"/>
                  </a:cubicBezTo>
                  <a:cubicBezTo>
                    <a:pt x="517" y="276"/>
                    <a:pt x="517" y="276"/>
                    <a:pt x="517" y="276"/>
                  </a:cubicBezTo>
                  <a:moveTo>
                    <a:pt x="549" y="275"/>
                  </a:moveTo>
                  <a:cubicBezTo>
                    <a:pt x="543" y="275"/>
                    <a:pt x="534" y="280"/>
                    <a:pt x="530" y="285"/>
                  </a:cubicBezTo>
                  <a:cubicBezTo>
                    <a:pt x="526" y="291"/>
                    <a:pt x="528" y="296"/>
                    <a:pt x="534" y="295"/>
                  </a:cubicBezTo>
                  <a:cubicBezTo>
                    <a:pt x="541" y="295"/>
                    <a:pt x="549" y="291"/>
                    <a:pt x="553" y="285"/>
                  </a:cubicBezTo>
                  <a:cubicBezTo>
                    <a:pt x="557" y="280"/>
                    <a:pt x="556" y="275"/>
                    <a:pt x="549" y="275"/>
                  </a:cubicBezTo>
                  <a:cubicBezTo>
                    <a:pt x="549" y="275"/>
                    <a:pt x="549" y="275"/>
                    <a:pt x="549" y="275"/>
                  </a:cubicBezTo>
                  <a:moveTo>
                    <a:pt x="4048" y="275"/>
                  </a:moveTo>
                  <a:cubicBezTo>
                    <a:pt x="4042" y="275"/>
                    <a:pt x="4039" y="280"/>
                    <a:pt x="4043" y="285"/>
                  </a:cubicBezTo>
                  <a:cubicBezTo>
                    <a:pt x="4046" y="291"/>
                    <a:pt x="4054" y="296"/>
                    <a:pt x="4060" y="296"/>
                  </a:cubicBezTo>
                  <a:cubicBezTo>
                    <a:pt x="4067" y="296"/>
                    <a:pt x="4069" y="291"/>
                    <a:pt x="4066" y="285"/>
                  </a:cubicBezTo>
                  <a:cubicBezTo>
                    <a:pt x="4062" y="280"/>
                    <a:pt x="4055" y="275"/>
                    <a:pt x="4048" y="275"/>
                  </a:cubicBezTo>
                  <a:cubicBezTo>
                    <a:pt x="4048" y="275"/>
                    <a:pt x="4048" y="275"/>
                    <a:pt x="4048" y="275"/>
                  </a:cubicBezTo>
                  <a:moveTo>
                    <a:pt x="582" y="275"/>
                  </a:moveTo>
                  <a:cubicBezTo>
                    <a:pt x="576" y="275"/>
                    <a:pt x="567" y="280"/>
                    <a:pt x="563" y="285"/>
                  </a:cubicBezTo>
                  <a:cubicBezTo>
                    <a:pt x="559" y="291"/>
                    <a:pt x="561" y="295"/>
                    <a:pt x="567" y="295"/>
                  </a:cubicBezTo>
                  <a:cubicBezTo>
                    <a:pt x="574" y="295"/>
                    <a:pt x="582" y="291"/>
                    <a:pt x="586" y="285"/>
                  </a:cubicBezTo>
                  <a:cubicBezTo>
                    <a:pt x="590" y="279"/>
                    <a:pt x="588" y="275"/>
                    <a:pt x="582" y="275"/>
                  </a:cubicBezTo>
                  <a:cubicBezTo>
                    <a:pt x="582" y="275"/>
                    <a:pt x="582" y="275"/>
                    <a:pt x="582" y="275"/>
                  </a:cubicBezTo>
                  <a:moveTo>
                    <a:pt x="4081" y="275"/>
                  </a:moveTo>
                  <a:cubicBezTo>
                    <a:pt x="4074" y="275"/>
                    <a:pt x="4072" y="279"/>
                    <a:pt x="4075" y="285"/>
                  </a:cubicBezTo>
                  <a:cubicBezTo>
                    <a:pt x="4079" y="291"/>
                    <a:pt x="4087" y="295"/>
                    <a:pt x="4093" y="295"/>
                  </a:cubicBezTo>
                  <a:cubicBezTo>
                    <a:pt x="4099" y="295"/>
                    <a:pt x="4102" y="291"/>
                    <a:pt x="4098" y="285"/>
                  </a:cubicBezTo>
                  <a:cubicBezTo>
                    <a:pt x="4095" y="279"/>
                    <a:pt x="4087" y="275"/>
                    <a:pt x="4081" y="275"/>
                  </a:cubicBezTo>
                  <a:cubicBezTo>
                    <a:pt x="4081" y="275"/>
                    <a:pt x="4081" y="275"/>
                    <a:pt x="4081" y="275"/>
                  </a:cubicBezTo>
                  <a:moveTo>
                    <a:pt x="616" y="275"/>
                  </a:moveTo>
                  <a:cubicBezTo>
                    <a:pt x="609" y="275"/>
                    <a:pt x="601" y="279"/>
                    <a:pt x="597" y="285"/>
                  </a:cubicBezTo>
                  <a:cubicBezTo>
                    <a:pt x="593" y="291"/>
                    <a:pt x="595" y="295"/>
                    <a:pt x="601" y="295"/>
                  </a:cubicBezTo>
                  <a:cubicBezTo>
                    <a:pt x="608" y="295"/>
                    <a:pt x="616" y="290"/>
                    <a:pt x="620" y="285"/>
                  </a:cubicBezTo>
                  <a:cubicBezTo>
                    <a:pt x="624" y="279"/>
                    <a:pt x="622" y="275"/>
                    <a:pt x="616" y="275"/>
                  </a:cubicBezTo>
                  <a:cubicBezTo>
                    <a:pt x="616" y="275"/>
                    <a:pt x="616" y="275"/>
                    <a:pt x="616" y="275"/>
                  </a:cubicBezTo>
                  <a:moveTo>
                    <a:pt x="648" y="274"/>
                  </a:moveTo>
                  <a:cubicBezTo>
                    <a:pt x="642" y="274"/>
                    <a:pt x="634" y="279"/>
                    <a:pt x="630" y="285"/>
                  </a:cubicBezTo>
                  <a:cubicBezTo>
                    <a:pt x="626" y="290"/>
                    <a:pt x="628" y="295"/>
                    <a:pt x="634" y="295"/>
                  </a:cubicBezTo>
                  <a:cubicBezTo>
                    <a:pt x="640" y="295"/>
                    <a:pt x="649" y="290"/>
                    <a:pt x="653" y="284"/>
                  </a:cubicBezTo>
                  <a:cubicBezTo>
                    <a:pt x="657" y="279"/>
                    <a:pt x="655" y="274"/>
                    <a:pt x="648" y="274"/>
                  </a:cubicBezTo>
                  <a:cubicBezTo>
                    <a:pt x="648" y="274"/>
                    <a:pt x="648" y="274"/>
                    <a:pt x="648" y="274"/>
                  </a:cubicBezTo>
                  <a:moveTo>
                    <a:pt x="681" y="274"/>
                  </a:moveTo>
                  <a:cubicBezTo>
                    <a:pt x="675" y="274"/>
                    <a:pt x="666" y="279"/>
                    <a:pt x="663" y="284"/>
                  </a:cubicBezTo>
                  <a:cubicBezTo>
                    <a:pt x="659" y="290"/>
                    <a:pt x="661" y="294"/>
                    <a:pt x="667" y="294"/>
                  </a:cubicBezTo>
                  <a:cubicBezTo>
                    <a:pt x="673" y="294"/>
                    <a:pt x="682" y="290"/>
                    <a:pt x="686" y="284"/>
                  </a:cubicBezTo>
                  <a:cubicBezTo>
                    <a:pt x="689" y="279"/>
                    <a:pt x="687" y="274"/>
                    <a:pt x="681" y="274"/>
                  </a:cubicBezTo>
                  <a:cubicBezTo>
                    <a:pt x="681" y="274"/>
                    <a:pt x="681" y="274"/>
                    <a:pt x="681" y="274"/>
                  </a:cubicBezTo>
                  <a:moveTo>
                    <a:pt x="714" y="274"/>
                  </a:moveTo>
                  <a:cubicBezTo>
                    <a:pt x="708" y="274"/>
                    <a:pt x="700" y="279"/>
                    <a:pt x="696" y="284"/>
                  </a:cubicBezTo>
                  <a:cubicBezTo>
                    <a:pt x="692" y="290"/>
                    <a:pt x="694" y="294"/>
                    <a:pt x="700" y="294"/>
                  </a:cubicBezTo>
                  <a:cubicBezTo>
                    <a:pt x="707" y="294"/>
                    <a:pt x="715" y="290"/>
                    <a:pt x="719" y="284"/>
                  </a:cubicBezTo>
                  <a:cubicBezTo>
                    <a:pt x="722" y="278"/>
                    <a:pt x="720" y="274"/>
                    <a:pt x="714" y="274"/>
                  </a:cubicBezTo>
                  <a:cubicBezTo>
                    <a:pt x="714" y="274"/>
                    <a:pt x="714" y="274"/>
                    <a:pt x="714" y="274"/>
                  </a:cubicBezTo>
                  <a:moveTo>
                    <a:pt x="747" y="274"/>
                  </a:moveTo>
                  <a:cubicBezTo>
                    <a:pt x="740" y="274"/>
                    <a:pt x="732" y="278"/>
                    <a:pt x="728" y="284"/>
                  </a:cubicBezTo>
                  <a:cubicBezTo>
                    <a:pt x="725" y="289"/>
                    <a:pt x="727" y="294"/>
                    <a:pt x="733" y="294"/>
                  </a:cubicBezTo>
                  <a:cubicBezTo>
                    <a:pt x="739" y="294"/>
                    <a:pt x="748" y="289"/>
                    <a:pt x="751" y="284"/>
                  </a:cubicBezTo>
                  <a:cubicBezTo>
                    <a:pt x="755" y="278"/>
                    <a:pt x="753" y="274"/>
                    <a:pt x="747" y="274"/>
                  </a:cubicBezTo>
                  <a:cubicBezTo>
                    <a:pt x="747" y="274"/>
                    <a:pt x="747" y="274"/>
                    <a:pt x="747" y="274"/>
                  </a:cubicBezTo>
                  <a:moveTo>
                    <a:pt x="779" y="273"/>
                  </a:moveTo>
                  <a:cubicBezTo>
                    <a:pt x="773" y="273"/>
                    <a:pt x="765" y="278"/>
                    <a:pt x="761" y="284"/>
                  </a:cubicBezTo>
                  <a:cubicBezTo>
                    <a:pt x="757" y="289"/>
                    <a:pt x="760" y="294"/>
                    <a:pt x="766" y="294"/>
                  </a:cubicBezTo>
                  <a:cubicBezTo>
                    <a:pt x="772" y="294"/>
                    <a:pt x="780" y="289"/>
                    <a:pt x="784" y="283"/>
                  </a:cubicBezTo>
                  <a:cubicBezTo>
                    <a:pt x="788" y="278"/>
                    <a:pt x="786" y="273"/>
                    <a:pt x="779" y="273"/>
                  </a:cubicBezTo>
                  <a:cubicBezTo>
                    <a:pt x="779" y="273"/>
                    <a:pt x="779" y="273"/>
                    <a:pt x="779" y="273"/>
                  </a:cubicBezTo>
                  <a:moveTo>
                    <a:pt x="812" y="273"/>
                  </a:moveTo>
                  <a:cubicBezTo>
                    <a:pt x="805" y="273"/>
                    <a:pt x="797" y="278"/>
                    <a:pt x="794" y="283"/>
                  </a:cubicBezTo>
                  <a:cubicBezTo>
                    <a:pt x="790" y="289"/>
                    <a:pt x="792" y="293"/>
                    <a:pt x="799" y="293"/>
                  </a:cubicBezTo>
                  <a:cubicBezTo>
                    <a:pt x="805" y="293"/>
                    <a:pt x="813" y="289"/>
                    <a:pt x="817" y="283"/>
                  </a:cubicBezTo>
                  <a:cubicBezTo>
                    <a:pt x="820" y="278"/>
                    <a:pt x="818" y="273"/>
                    <a:pt x="812" y="273"/>
                  </a:cubicBezTo>
                  <a:cubicBezTo>
                    <a:pt x="812" y="273"/>
                    <a:pt x="812" y="273"/>
                    <a:pt x="812" y="273"/>
                  </a:cubicBezTo>
                  <a:moveTo>
                    <a:pt x="844" y="273"/>
                  </a:moveTo>
                  <a:cubicBezTo>
                    <a:pt x="838" y="273"/>
                    <a:pt x="830" y="277"/>
                    <a:pt x="827" y="283"/>
                  </a:cubicBezTo>
                  <a:cubicBezTo>
                    <a:pt x="823" y="289"/>
                    <a:pt x="825" y="293"/>
                    <a:pt x="832" y="293"/>
                  </a:cubicBezTo>
                  <a:cubicBezTo>
                    <a:pt x="838" y="293"/>
                    <a:pt x="846" y="288"/>
                    <a:pt x="850" y="283"/>
                  </a:cubicBezTo>
                  <a:cubicBezTo>
                    <a:pt x="853" y="277"/>
                    <a:pt x="851" y="273"/>
                    <a:pt x="845" y="273"/>
                  </a:cubicBezTo>
                  <a:cubicBezTo>
                    <a:pt x="845" y="273"/>
                    <a:pt x="845" y="273"/>
                    <a:pt x="844" y="273"/>
                  </a:cubicBezTo>
                  <a:moveTo>
                    <a:pt x="877" y="273"/>
                  </a:moveTo>
                  <a:cubicBezTo>
                    <a:pt x="871" y="273"/>
                    <a:pt x="863" y="277"/>
                    <a:pt x="860" y="283"/>
                  </a:cubicBezTo>
                  <a:cubicBezTo>
                    <a:pt x="856" y="288"/>
                    <a:pt x="859" y="293"/>
                    <a:pt x="865" y="293"/>
                  </a:cubicBezTo>
                  <a:cubicBezTo>
                    <a:pt x="871" y="293"/>
                    <a:pt x="879" y="288"/>
                    <a:pt x="883" y="283"/>
                  </a:cubicBezTo>
                  <a:cubicBezTo>
                    <a:pt x="886" y="277"/>
                    <a:pt x="884" y="273"/>
                    <a:pt x="878" y="273"/>
                  </a:cubicBezTo>
                  <a:cubicBezTo>
                    <a:pt x="878" y="273"/>
                    <a:pt x="878" y="273"/>
                    <a:pt x="877" y="273"/>
                  </a:cubicBezTo>
                  <a:moveTo>
                    <a:pt x="910" y="272"/>
                  </a:moveTo>
                  <a:cubicBezTo>
                    <a:pt x="904" y="272"/>
                    <a:pt x="896" y="277"/>
                    <a:pt x="892" y="282"/>
                  </a:cubicBezTo>
                  <a:cubicBezTo>
                    <a:pt x="889" y="288"/>
                    <a:pt x="891" y="293"/>
                    <a:pt x="898" y="293"/>
                  </a:cubicBezTo>
                  <a:cubicBezTo>
                    <a:pt x="904" y="292"/>
                    <a:pt x="912" y="288"/>
                    <a:pt x="915" y="282"/>
                  </a:cubicBezTo>
                  <a:cubicBezTo>
                    <a:pt x="919" y="277"/>
                    <a:pt x="916" y="272"/>
                    <a:pt x="910" y="272"/>
                  </a:cubicBezTo>
                  <a:cubicBezTo>
                    <a:pt x="910" y="272"/>
                    <a:pt x="910" y="272"/>
                    <a:pt x="910" y="272"/>
                  </a:cubicBezTo>
                  <a:moveTo>
                    <a:pt x="941" y="272"/>
                  </a:moveTo>
                  <a:cubicBezTo>
                    <a:pt x="935" y="272"/>
                    <a:pt x="927" y="277"/>
                    <a:pt x="923" y="282"/>
                  </a:cubicBezTo>
                  <a:cubicBezTo>
                    <a:pt x="920" y="288"/>
                    <a:pt x="923" y="292"/>
                    <a:pt x="929" y="292"/>
                  </a:cubicBezTo>
                  <a:cubicBezTo>
                    <a:pt x="935" y="292"/>
                    <a:pt x="943" y="288"/>
                    <a:pt x="946" y="282"/>
                  </a:cubicBezTo>
                  <a:cubicBezTo>
                    <a:pt x="950" y="276"/>
                    <a:pt x="947" y="272"/>
                    <a:pt x="941" y="272"/>
                  </a:cubicBezTo>
                  <a:cubicBezTo>
                    <a:pt x="941" y="272"/>
                    <a:pt x="941" y="272"/>
                    <a:pt x="941" y="272"/>
                  </a:cubicBezTo>
                  <a:moveTo>
                    <a:pt x="1202" y="269"/>
                  </a:moveTo>
                  <a:cubicBezTo>
                    <a:pt x="1196" y="270"/>
                    <a:pt x="1188" y="274"/>
                    <a:pt x="1185" y="280"/>
                  </a:cubicBezTo>
                  <a:cubicBezTo>
                    <a:pt x="1183" y="285"/>
                    <a:pt x="1185" y="290"/>
                    <a:pt x="1192" y="290"/>
                  </a:cubicBezTo>
                  <a:cubicBezTo>
                    <a:pt x="1198" y="290"/>
                    <a:pt x="1206" y="285"/>
                    <a:pt x="1208" y="280"/>
                  </a:cubicBezTo>
                  <a:cubicBezTo>
                    <a:pt x="1211" y="274"/>
                    <a:pt x="1208" y="269"/>
                    <a:pt x="1202" y="269"/>
                  </a:cubicBezTo>
                  <a:cubicBezTo>
                    <a:pt x="1202" y="269"/>
                    <a:pt x="1202" y="269"/>
                    <a:pt x="1202" y="269"/>
                  </a:cubicBezTo>
                  <a:moveTo>
                    <a:pt x="1235" y="269"/>
                  </a:moveTo>
                  <a:cubicBezTo>
                    <a:pt x="1228" y="269"/>
                    <a:pt x="1221" y="274"/>
                    <a:pt x="1218" y="279"/>
                  </a:cubicBezTo>
                  <a:cubicBezTo>
                    <a:pt x="1216" y="285"/>
                    <a:pt x="1219" y="290"/>
                    <a:pt x="1225" y="290"/>
                  </a:cubicBezTo>
                  <a:cubicBezTo>
                    <a:pt x="1231" y="289"/>
                    <a:pt x="1239" y="285"/>
                    <a:pt x="1241" y="279"/>
                  </a:cubicBezTo>
                  <a:cubicBezTo>
                    <a:pt x="1244" y="274"/>
                    <a:pt x="1241" y="269"/>
                    <a:pt x="1235" y="269"/>
                  </a:cubicBezTo>
                  <a:cubicBezTo>
                    <a:pt x="1235" y="269"/>
                    <a:pt x="1235" y="269"/>
                    <a:pt x="1235" y="269"/>
                  </a:cubicBezTo>
                  <a:moveTo>
                    <a:pt x="1563" y="265"/>
                  </a:moveTo>
                  <a:cubicBezTo>
                    <a:pt x="1556" y="265"/>
                    <a:pt x="1550" y="270"/>
                    <a:pt x="1548" y="275"/>
                  </a:cubicBezTo>
                  <a:cubicBezTo>
                    <a:pt x="1546" y="281"/>
                    <a:pt x="1549" y="286"/>
                    <a:pt x="1555" y="286"/>
                  </a:cubicBezTo>
                  <a:cubicBezTo>
                    <a:pt x="1562" y="285"/>
                    <a:pt x="1568" y="281"/>
                    <a:pt x="1570" y="275"/>
                  </a:cubicBezTo>
                  <a:cubicBezTo>
                    <a:pt x="1572" y="270"/>
                    <a:pt x="1569" y="265"/>
                    <a:pt x="1563" y="265"/>
                  </a:cubicBezTo>
                  <a:cubicBezTo>
                    <a:pt x="1563" y="265"/>
                    <a:pt x="1563" y="265"/>
                    <a:pt x="1563" y="265"/>
                  </a:cubicBezTo>
                  <a:moveTo>
                    <a:pt x="2180" y="261"/>
                  </a:moveTo>
                  <a:cubicBezTo>
                    <a:pt x="2173" y="261"/>
                    <a:pt x="2168" y="265"/>
                    <a:pt x="2167" y="271"/>
                  </a:cubicBezTo>
                  <a:cubicBezTo>
                    <a:pt x="2166" y="277"/>
                    <a:pt x="2171" y="281"/>
                    <a:pt x="2177" y="281"/>
                  </a:cubicBezTo>
                  <a:cubicBezTo>
                    <a:pt x="2184" y="281"/>
                    <a:pt x="2189" y="277"/>
                    <a:pt x="2190" y="271"/>
                  </a:cubicBezTo>
                  <a:cubicBezTo>
                    <a:pt x="2191" y="265"/>
                    <a:pt x="2186" y="261"/>
                    <a:pt x="2180" y="261"/>
                  </a:cubicBezTo>
                  <a:cubicBezTo>
                    <a:pt x="2180" y="261"/>
                    <a:pt x="2180" y="261"/>
                    <a:pt x="2180" y="261"/>
                  </a:cubicBezTo>
                  <a:moveTo>
                    <a:pt x="2213" y="261"/>
                  </a:moveTo>
                  <a:cubicBezTo>
                    <a:pt x="2206" y="261"/>
                    <a:pt x="2201" y="265"/>
                    <a:pt x="2200" y="271"/>
                  </a:cubicBezTo>
                  <a:cubicBezTo>
                    <a:pt x="2200" y="276"/>
                    <a:pt x="2204" y="281"/>
                    <a:pt x="2210" y="281"/>
                  </a:cubicBezTo>
                  <a:cubicBezTo>
                    <a:pt x="2217" y="281"/>
                    <a:pt x="2222" y="276"/>
                    <a:pt x="2223" y="271"/>
                  </a:cubicBezTo>
                  <a:cubicBezTo>
                    <a:pt x="2224" y="265"/>
                    <a:pt x="2219" y="261"/>
                    <a:pt x="2213" y="261"/>
                  </a:cubicBezTo>
                  <a:cubicBezTo>
                    <a:pt x="2213" y="261"/>
                    <a:pt x="2213" y="261"/>
                    <a:pt x="2213" y="261"/>
                  </a:cubicBezTo>
                  <a:moveTo>
                    <a:pt x="2246" y="260"/>
                  </a:moveTo>
                  <a:cubicBezTo>
                    <a:pt x="2240" y="260"/>
                    <a:pt x="2234" y="265"/>
                    <a:pt x="2234" y="271"/>
                  </a:cubicBezTo>
                  <a:cubicBezTo>
                    <a:pt x="2233" y="276"/>
                    <a:pt x="2238" y="281"/>
                    <a:pt x="2244" y="281"/>
                  </a:cubicBezTo>
                  <a:cubicBezTo>
                    <a:pt x="2250" y="281"/>
                    <a:pt x="2256" y="276"/>
                    <a:pt x="2256" y="270"/>
                  </a:cubicBezTo>
                  <a:cubicBezTo>
                    <a:pt x="2257" y="265"/>
                    <a:pt x="2252" y="260"/>
                    <a:pt x="2246" y="260"/>
                  </a:cubicBezTo>
                  <a:cubicBezTo>
                    <a:pt x="2246" y="260"/>
                    <a:pt x="2246" y="260"/>
                    <a:pt x="2246" y="260"/>
                  </a:cubicBezTo>
                  <a:moveTo>
                    <a:pt x="2278" y="260"/>
                  </a:moveTo>
                  <a:cubicBezTo>
                    <a:pt x="2272" y="260"/>
                    <a:pt x="2267" y="265"/>
                    <a:pt x="2266" y="270"/>
                  </a:cubicBezTo>
                  <a:cubicBezTo>
                    <a:pt x="2266" y="276"/>
                    <a:pt x="2270" y="280"/>
                    <a:pt x="2277" y="280"/>
                  </a:cubicBezTo>
                  <a:cubicBezTo>
                    <a:pt x="2283" y="280"/>
                    <a:pt x="2288" y="276"/>
                    <a:pt x="2289" y="270"/>
                  </a:cubicBezTo>
                  <a:cubicBezTo>
                    <a:pt x="2289" y="264"/>
                    <a:pt x="2285" y="260"/>
                    <a:pt x="2278" y="260"/>
                  </a:cubicBezTo>
                  <a:cubicBezTo>
                    <a:pt x="2278" y="260"/>
                    <a:pt x="2278" y="260"/>
                    <a:pt x="2278" y="260"/>
                  </a:cubicBezTo>
                  <a:moveTo>
                    <a:pt x="2310" y="260"/>
                  </a:moveTo>
                  <a:cubicBezTo>
                    <a:pt x="2304" y="260"/>
                    <a:pt x="2299" y="264"/>
                    <a:pt x="2298" y="270"/>
                  </a:cubicBezTo>
                  <a:cubicBezTo>
                    <a:pt x="2298" y="276"/>
                    <a:pt x="2303" y="280"/>
                    <a:pt x="2309" y="280"/>
                  </a:cubicBezTo>
                  <a:cubicBezTo>
                    <a:pt x="2315" y="280"/>
                    <a:pt x="2321" y="275"/>
                    <a:pt x="2321" y="270"/>
                  </a:cubicBezTo>
                  <a:cubicBezTo>
                    <a:pt x="2321" y="264"/>
                    <a:pt x="2317" y="260"/>
                    <a:pt x="2311" y="260"/>
                  </a:cubicBezTo>
                  <a:cubicBezTo>
                    <a:pt x="2311" y="260"/>
                    <a:pt x="2310" y="260"/>
                    <a:pt x="2310" y="260"/>
                  </a:cubicBezTo>
                  <a:moveTo>
                    <a:pt x="2375" y="259"/>
                  </a:moveTo>
                  <a:cubicBezTo>
                    <a:pt x="2369" y="259"/>
                    <a:pt x="2364" y="264"/>
                    <a:pt x="2363" y="269"/>
                  </a:cubicBezTo>
                  <a:cubicBezTo>
                    <a:pt x="2363" y="275"/>
                    <a:pt x="2368" y="280"/>
                    <a:pt x="2374" y="280"/>
                  </a:cubicBezTo>
                  <a:cubicBezTo>
                    <a:pt x="2381" y="280"/>
                    <a:pt x="2386" y="275"/>
                    <a:pt x="2386" y="269"/>
                  </a:cubicBezTo>
                  <a:cubicBezTo>
                    <a:pt x="2387" y="264"/>
                    <a:pt x="2382" y="259"/>
                    <a:pt x="2375" y="259"/>
                  </a:cubicBezTo>
                  <a:cubicBezTo>
                    <a:pt x="2375" y="259"/>
                    <a:pt x="2375" y="259"/>
                    <a:pt x="2375" y="259"/>
                  </a:cubicBezTo>
                  <a:moveTo>
                    <a:pt x="2408" y="259"/>
                  </a:moveTo>
                  <a:cubicBezTo>
                    <a:pt x="2402" y="259"/>
                    <a:pt x="2397" y="264"/>
                    <a:pt x="2396" y="269"/>
                  </a:cubicBezTo>
                  <a:cubicBezTo>
                    <a:pt x="2396" y="275"/>
                    <a:pt x="2401" y="279"/>
                    <a:pt x="2407" y="279"/>
                  </a:cubicBezTo>
                  <a:cubicBezTo>
                    <a:pt x="2414" y="279"/>
                    <a:pt x="2419" y="275"/>
                    <a:pt x="2419" y="269"/>
                  </a:cubicBezTo>
                  <a:cubicBezTo>
                    <a:pt x="2419" y="263"/>
                    <a:pt x="2415" y="259"/>
                    <a:pt x="2408" y="259"/>
                  </a:cubicBezTo>
                  <a:cubicBezTo>
                    <a:pt x="2408" y="259"/>
                    <a:pt x="2408" y="259"/>
                    <a:pt x="2408" y="259"/>
                  </a:cubicBezTo>
                  <a:moveTo>
                    <a:pt x="2572" y="259"/>
                  </a:moveTo>
                  <a:cubicBezTo>
                    <a:pt x="2565" y="259"/>
                    <a:pt x="2560" y="264"/>
                    <a:pt x="2560" y="269"/>
                  </a:cubicBezTo>
                  <a:cubicBezTo>
                    <a:pt x="2561" y="275"/>
                    <a:pt x="2566" y="279"/>
                    <a:pt x="2572" y="279"/>
                  </a:cubicBezTo>
                  <a:cubicBezTo>
                    <a:pt x="2579" y="279"/>
                    <a:pt x="2584" y="275"/>
                    <a:pt x="2583" y="269"/>
                  </a:cubicBezTo>
                  <a:cubicBezTo>
                    <a:pt x="2583" y="263"/>
                    <a:pt x="2578" y="259"/>
                    <a:pt x="2572" y="259"/>
                  </a:cubicBezTo>
                  <a:cubicBezTo>
                    <a:pt x="2572" y="259"/>
                    <a:pt x="2572" y="259"/>
                    <a:pt x="2572" y="259"/>
                  </a:cubicBezTo>
                  <a:moveTo>
                    <a:pt x="2441" y="259"/>
                  </a:moveTo>
                  <a:cubicBezTo>
                    <a:pt x="2434" y="259"/>
                    <a:pt x="2429" y="263"/>
                    <a:pt x="2429" y="269"/>
                  </a:cubicBezTo>
                  <a:cubicBezTo>
                    <a:pt x="2429" y="275"/>
                    <a:pt x="2434" y="279"/>
                    <a:pt x="2440" y="279"/>
                  </a:cubicBezTo>
                  <a:cubicBezTo>
                    <a:pt x="2446" y="279"/>
                    <a:pt x="2452" y="274"/>
                    <a:pt x="2452" y="269"/>
                  </a:cubicBezTo>
                  <a:cubicBezTo>
                    <a:pt x="2452" y="263"/>
                    <a:pt x="2447" y="259"/>
                    <a:pt x="2441" y="259"/>
                  </a:cubicBezTo>
                  <a:cubicBezTo>
                    <a:pt x="2441" y="259"/>
                    <a:pt x="2441" y="259"/>
                    <a:pt x="2441" y="259"/>
                  </a:cubicBezTo>
                  <a:moveTo>
                    <a:pt x="2604" y="259"/>
                  </a:moveTo>
                  <a:cubicBezTo>
                    <a:pt x="2598" y="259"/>
                    <a:pt x="2593" y="263"/>
                    <a:pt x="2593" y="269"/>
                  </a:cubicBezTo>
                  <a:cubicBezTo>
                    <a:pt x="2593" y="275"/>
                    <a:pt x="2598" y="279"/>
                    <a:pt x="2605" y="279"/>
                  </a:cubicBezTo>
                  <a:cubicBezTo>
                    <a:pt x="2611" y="279"/>
                    <a:pt x="2616" y="274"/>
                    <a:pt x="2616" y="269"/>
                  </a:cubicBezTo>
                  <a:cubicBezTo>
                    <a:pt x="2616" y="263"/>
                    <a:pt x="2610" y="259"/>
                    <a:pt x="2604" y="259"/>
                  </a:cubicBezTo>
                  <a:cubicBezTo>
                    <a:pt x="2604" y="259"/>
                    <a:pt x="2604" y="259"/>
                    <a:pt x="2604" y="259"/>
                  </a:cubicBezTo>
                  <a:moveTo>
                    <a:pt x="2473" y="258"/>
                  </a:moveTo>
                  <a:cubicBezTo>
                    <a:pt x="2467" y="258"/>
                    <a:pt x="2462" y="263"/>
                    <a:pt x="2461" y="269"/>
                  </a:cubicBezTo>
                  <a:cubicBezTo>
                    <a:pt x="2461" y="274"/>
                    <a:pt x="2466" y="279"/>
                    <a:pt x="2473" y="279"/>
                  </a:cubicBezTo>
                  <a:cubicBezTo>
                    <a:pt x="2479" y="279"/>
                    <a:pt x="2484" y="274"/>
                    <a:pt x="2484" y="268"/>
                  </a:cubicBezTo>
                  <a:cubicBezTo>
                    <a:pt x="2484" y="263"/>
                    <a:pt x="2479" y="258"/>
                    <a:pt x="2473" y="258"/>
                  </a:cubicBezTo>
                  <a:cubicBezTo>
                    <a:pt x="2473" y="258"/>
                    <a:pt x="2473" y="258"/>
                    <a:pt x="2473" y="258"/>
                  </a:cubicBezTo>
                  <a:moveTo>
                    <a:pt x="2636" y="258"/>
                  </a:moveTo>
                  <a:cubicBezTo>
                    <a:pt x="2630" y="258"/>
                    <a:pt x="2625" y="263"/>
                    <a:pt x="2625" y="269"/>
                  </a:cubicBezTo>
                  <a:cubicBezTo>
                    <a:pt x="2626" y="274"/>
                    <a:pt x="2631" y="279"/>
                    <a:pt x="2637" y="279"/>
                  </a:cubicBezTo>
                  <a:cubicBezTo>
                    <a:pt x="2644" y="279"/>
                    <a:pt x="2649" y="274"/>
                    <a:pt x="2648" y="268"/>
                  </a:cubicBezTo>
                  <a:cubicBezTo>
                    <a:pt x="2648" y="263"/>
                    <a:pt x="2643" y="258"/>
                    <a:pt x="2636" y="258"/>
                  </a:cubicBezTo>
                  <a:cubicBezTo>
                    <a:pt x="2636" y="258"/>
                    <a:pt x="2636" y="258"/>
                    <a:pt x="2636" y="258"/>
                  </a:cubicBezTo>
                  <a:moveTo>
                    <a:pt x="2505" y="258"/>
                  </a:moveTo>
                  <a:cubicBezTo>
                    <a:pt x="2499" y="258"/>
                    <a:pt x="2494" y="263"/>
                    <a:pt x="2494" y="268"/>
                  </a:cubicBezTo>
                  <a:cubicBezTo>
                    <a:pt x="2494" y="274"/>
                    <a:pt x="2499" y="279"/>
                    <a:pt x="2505" y="279"/>
                  </a:cubicBezTo>
                  <a:cubicBezTo>
                    <a:pt x="2512" y="278"/>
                    <a:pt x="2517" y="274"/>
                    <a:pt x="2517" y="268"/>
                  </a:cubicBezTo>
                  <a:cubicBezTo>
                    <a:pt x="2517" y="263"/>
                    <a:pt x="2512" y="258"/>
                    <a:pt x="2505" y="258"/>
                  </a:cubicBezTo>
                  <a:cubicBezTo>
                    <a:pt x="2505" y="258"/>
                    <a:pt x="2505" y="258"/>
                    <a:pt x="2505" y="258"/>
                  </a:cubicBezTo>
                  <a:moveTo>
                    <a:pt x="2668" y="258"/>
                  </a:moveTo>
                  <a:cubicBezTo>
                    <a:pt x="2662" y="258"/>
                    <a:pt x="2657" y="263"/>
                    <a:pt x="2658" y="268"/>
                  </a:cubicBezTo>
                  <a:cubicBezTo>
                    <a:pt x="2658" y="274"/>
                    <a:pt x="2663" y="279"/>
                    <a:pt x="2670" y="279"/>
                  </a:cubicBezTo>
                  <a:cubicBezTo>
                    <a:pt x="2676" y="278"/>
                    <a:pt x="2681" y="274"/>
                    <a:pt x="2680" y="268"/>
                  </a:cubicBezTo>
                  <a:cubicBezTo>
                    <a:pt x="2680" y="263"/>
                    <a:pt x="2675" y="258"/>
                    <a:pt x="2668" y="258"/>
                  </a:cubicBezTo>
                  <a:cubicBezTo>
                    <a:pt x="2668" y="258"/>
                    <a:pt x="2668" y="258"/>
                    <a:pt x="2668" y="258"/>
                  </a:cubicBezTo>
                  <a:moveTo>
                    <a:pt x="2538" y="258"/>
                  </a:moveTo>
                  <a:cubicBezTo>
                    <a:pt x="2532" y="258"/>
                    <a:pt x="2527" y="262"/>
                    <a:pt x="2527" y="268"/>
                  </a:cubicBezTo>
                  <a:cubicBezTo>
                    <a:pt x="2527" y="274"/>
                    <a:pt x="2532" y="278"/>
                    <a:pt x="2538" y="278"/>
                  </a:cubicBezTo>
                  <a:cubicBezTo>
                    <a:pt x="2544" y="278"/>
                    <a:pt x="2550" y="274"/>
                    <a:pt x="2549" y="268"/>
                  </a:cubicBezTo>
                  <a:cubicBezTo>
                    <a:pt x="2549" y="262"/>
                    <a:pt x="2544" y="258"/>
                    <a:pt x="2538" y="258"/>
                  </a:cubicBezTo>
                  <a:cubicBezTo>
                    <a:pt x="2538" y="258"/>
                    <a:pt x="2538" y="258"/>
                    <a:pt x="2538" y="258"/>
                  </a:cubicBezTo>
                  <a:moveTo>
                    <a:pt x="2701" y="258"/>
                  </a:moveTo>
                  <a:cubicBezTo>
                    <a:pt x="2694" y="258"/>
                    <a:pt x="2690" y="262"/>
                    <a:pt x="2690" y="268"/>
                  </a:cubicBezTo>
                  <a:cubicBezTo>
                    <a:pt x="2690" y="274"/>
                    <a:pt x="2696" y="278"/>
                    <a:pt x="2702" y="278"/>
                  </a:cubicBezTo>
                  <a:cubicBezTo>
                    <a:pt x="2709" y="278"/>
                    <a:pt x="2713" y="274"/>
                    <a:pt x="2713" y="268"/>
                  </a:cubicBezTo>
                  <a:cubicBezTo>
                    <a:pt x="2712" y="262"/>
                    <a:pt x="2707" y="258"/>
                    <a:pt x="2701" y="258"/>
                  </a:cubicBezTo>
                  <a:cubicBezTo>
                    <a:pt x="2701" y="258"/>
                    <a:pt x="2701" y="258"/>
                    <a:pt x="2701" y="258"/>
                  </a:cubicBezTo>
                  <a:moveTo>
                    <a:pt x="2733" y="258"/>
                  </a:moveTo>
                  <a:cubicBezTo>
                    <a:pt x="2727" y="258"/>
                    <a:pt x="2722" y="262"/>
                    <a:pt x="2723" y="268"/>
                  </a:cubicBezTo>
                  <a:cubicBezTo>
                    <a:pt x="2723" y="274"/>
                    <a:pt x="2729" y="278"/>
                    <a:pt x="2735" y="278"/>
                  </a:cubicBezTo>
                  <a:cubicBezTo>
                    <a:pt x="2741" y="278"/>
                    <a:pt x="2746" y="273"/>
                    <a:pt x="2746" y="268"/>
                  </a:cubicBezTo>
                  <a:cubicBezTo>
                    <a:pt x="2745" y="262"/>
                    <a:pt x="2740" y="258"/>
                    <a:pt x="2733" y="258"/>
                  </a:cubicBezTo>
                  <a:cubicBezTo>
                    <a:pt x="2733" y="258"/>
                    <a:pt x="2733" y="258"/>
                    <a:pt x="2733" y="258"/>
                  </a:cubicBezTo>
                  <a:moveTo>
                    <a:pt x="2766" y="257"/>
                  </a:moveTo>
                  <a:cubicBezTo>
                    <a:pt x="2760" y="257"/>
                    <a:pt x="2755" y="262"/>
                    <a:pt x="2756" y="268"/>
                  </a:cubicBezTo>
                  <a:cubicBezTo>
                    <a:pt x="2756" y="273"/>
                    <a:pt x="2762" y="278"/>
                    <a:pt x="2768" y="278"/>
                  </a:cubicBezTo>
                  <a:cubicBezTo>
                    <a:pt x="2774" y="278"/>
                    <a:pt x="2779" y="273"/>
                    <a:pt x="2779" y="267"/>
                  </a:cubicBezTo>
                  <a:cubicBezTo>
                    <a:pt x="2778" y="262"/>
                    <a:pt x="2772" y="257"/>
                    <a:pt x="2766" y="257"/>
                  </a:cubicBezTo>
                  <a:cubicBezTo>
                    <a:pt x="2766" y="257"/>
                    <a:pt x="2766" y="257"/>
                    <a:pt x="2766" y="257"/>
                  </a:cubicBezTo>
                  <a:moveTo>
                    <a:pt x="2798" y="257"/>
                  </a:moveTo>
                  <a:cubicBezTo>
                    <a:pt x="2792" y="257"/>
                    <a:pt x="2787" y="262"/>
                    <a:pt x="2788" y="267"/>
                  </a:cubicBezTo>
                  <a:cubicBezTo>
                    <a:pt x="2789" y="273"/>
                    <a:pt x="2794" y="278"/>
                    <a:pt x="2801" y="277"/>
                  </a:cubicBezTo>
                  <a:cubicBezTo>
                    <a:pt x="2807" y="277"/>
                    <a:pt x="2812" y="273"/>
                    <a:pt x="2811" y="267"/>
                  </a:cubicBezTo>
                  <a:cubicBezTo>
                    <a:pt x="2810" y="262"/>
                    <a:pt x="2805" y="257"/>
                    <a:pt x="2798" y="257"/>
                  </a:cubicBezTo>
                  <a:cubicBezTo>
                    <a:pt x="2798" y="257"/>
                    <a:pt x="2798" y="257"/>
                    <a:pt x="2798" y="257"/>
                  </a:cubicBezTo>
                  <a:moveTo>
                    <a:pt x="2831" y="257"/>
                  </a:moveTo>
                  <a:cubicBezTo>
                    <a:pt x="2825" y="257"/>
                    <a:pt x="2820" y="261"/>
                    <a:pt x="2821" y="267"/>
                  </a:cubicBezTo>
                  <a:cubicBezTo>
                    <a:pt x="2821" y="273"/>
                    <a:pt x="2827" y="277"/>
                    <a:pt x="2833" y="277"/>
                  </a:cubicBezTo>
                  <a:cubicBezTo>
                    <a:pt x="2840" y="277"/>
                    <a:pt x="2844" y="273"/>
                    <a:pt x="2844" y="267"/>
                  </a:cubicBezTo>
                  <a:cubicBezTo>
                    <a:pt x="2843" y="261"/>
                    <a:pt x="2837" y="257"/>
                    <a:pt x="2831" y="257"/>
                  </a:cubicBezTo>
                  <a:cubicBezTo>
                    <a:pt x="2831" y="257"/>
                    <a:pt x="2831" y="257"/>
                    <a:pt x="2831" y="257"/>
                  </a:cubicBezTo>
                  <a:moveTo>
                    <a:pt x="2863" y="256"/>
                  </a:moveTo>
                  <a:cubicBezTo>
                    <a:pt x="2857" y="256"/>
                    <a:pt x="2852" y="261"/>
                    <a:pt x="2853" y="267"/>
                  </a:cubicBezTo>
                  <a:cubicBezTo>
                    <a:pt x="2854" y="272"/>
                    <a:pt x="2860" y="277"/>
                    <a:pt x="2866" y="277"/>
                  </a:cubicBezTo>
                  <a:cubicBezTo>
                    <a:pt x="2872" y="277"/>
                    <a:pt x="2877" y="272"/>
                    <a:pt x="2876" y="267"/>
                  </a:cubicBezTo>
                  <a:cubicBezTo>
                    <a:pt x="2875" y="261"/>
                    <a:pt x="2869" y="256"/>
                    <a:pt x="2863" y="256"/>
                  </a:cubicBezTo>
                  <a:cubicBezTo>
                    <a:pt x="2863" y="256"/>
                    <a:pt x="2863" y="256"/>
                    <a:pt x="2863" y="256"/>
                  </a:cubicBezTo>
                  <a:moveTo>
                    <a:pt x="2896" y="256"/>
                  </a:moveTo>
                  <a:cubicBezTo>
                    <a:pt x="2889" y="256"/>
                    <a:pt x="2885" y="261"/>
                    <a:pt x="2886" y="266"/>
                  </a:cubicBezTo>
                  <a:cubicBezTo>
                    <a:pt x="2887" y="272"/>
                    <a:pt x="2892" y="277"/>
                    <a:pt x="2899" y="277"/>
                  </a:cubicBezTo>
                  <a:cubicBezTo>
                    <a:pt x="2905" y="277"/>
                    <a:pt x="2909" y="272"/>
                    <a:pt x="2909" y="266"/>
                  </a:cubicBezTo>
                  <a:cubicBezTo>
                    <a:pt x="2908" y="261"/>
                    <a:pt x="2902" y="256"/>
                    <a:pt x="2896" y="256"/>
                  </a:cubicBezTo>
                  <a:cubicBezTo>
                    <a:pt x="2896" y="256"/>
                    <a:pt x="2896" y="256"/>
                    <a:pt x="2896" y="256"/>
                  </a:cubicBezTo>
                  <a:moveTo>
                    <a:pt x="2928" y="256"/>
                  </a:moveTo>
                  <a:cubicBezTo>
                    <a:pt x="2922" y="256"/>
                    <a:pt x="2917" y="260"/>
                    <a:pt x="2918" y="266"/>
                  </a:cubicBezTo>
                  <a:cubicBezTo>
                    <a:pt x="2919" y="272"/>
                    <a:pt x="2925" y="276"/>
                    <a:pt x="2931" y="276"/>
                  </a:cubicBezTo>
                  <a:cubicBezTo>
                    <a:pt x="2937" y="276"/>
                    <a:pt x="2942" y="271"/>
                    <a:pt x="2941" y="266"/>
                  </a:cubicBezTo>
                  <a:cubicBezTo>
                    <a:pt x="2940" y="260"/>
                    <a:pt x="2934" y="256"/>
                    <a:pt x="2928" y="256"/>
                  </a:cubicBezTo>
                  <a:cubicBezTo>
                    <a:pt x="2928" y="256"/>
                    <a:pt x="2928" y="256"/>
                    <a:pt x="2928" y="256"/>
                  </a:cubicBezTo>
                  <a:moveTo>
                    <a:pt x="2959" y="255"/>
                  </a:moveTo>
                  <a:cubicBezTo>
                    <a:pt x="2952" y="255"/>
                    <a:pt x="2948" y="260"/>
                    <a:pt x="2949" y="266"/>
                  </a:cubicBezTo>
                  <a:cubicBezTo>
                    <a:pt x="2950" y="271"/>
                    <a:pt x="2956" y="276"/>
                    <a:pt x="2962" y="276"/>
                  </a:cubicBezTo>
                  <a:cubicBezTo>
                    <a:pt x="2968" y="276"/>
                    <a:pt x="2973" y="271"/>
                    <a:pt x="2972" y="266"/>
                  </a:cubicBezTo>
                  <a:cubicBezTo>
                    <a:pt x="2971" y="260"/>
                    <a:pt x="2965" y="255"/>
                    <a:pt x="2959" y="255"/>
                  </a:cubicBezTo>
                  <a:cubicBezTo>
                    <a:pt x="2959" y="255"/>
                    <a:pt x="2959" y="255"/>
                    <a:pt x="2959" y="255"/>
                  </a:cubicBezTo>
                  <a:moveTo>
                    <a:pt x="2991" y="255"/>
                  </a:moveTo>
                  <a:cubicBezTo>
                    <a:pt x="2985" y="255"/>
                    <a:pt x="2980" y="260"/>
                    <a:pt x="2981" y="265"/>
                  </a:cubicBezTo>
                  <a:cubicBezTo>
                    <a:pt x="2982" y="271"/>
                    <a:pt x="2988" y="276"/>
                    <a:pt x="2995" y="276"/>
                  </a:cubicBezTo>
                  <a:cubicBezTo>
                    <a:pt x="3001" y="276"/>
                    <a:pt x="3005" y="271"/>
                    <a:pt x="3004" y="265"/>
                  </a:cubicBezTo>
                  <a:cubicBezTo>
                    <a:pt x="3003" y="260"/>
                    <a:pt x="2997" y="255"/>
                    <a:pt x="2991" y="255"/>
                  </a:cubicBezTo>
                  <a:cubicBezTo>
                    <a:pt x="2991" y="255"/>
                    <a:pt x="2991" y="255"/>
                    <a:pt x="2991" y="255"/>
                  </a:cubicBezTo>
                  <a:moveTo>
                    <a:pt x="3023" y="255"/>
                  </a:moveTo>
                  <a:cubicBezTo>
                    <a:pt x="3017" y="255"/>
                    <a:pt x="3013" y="260"/>
                    <a:pt x="3014" y="265"/>
                  </a:cubicBezTo>
                  <a:cubicBezTo>
                    <a:pt x="3015" y="271"/>
                    <a:pt x="3021" y="275"/>
                    <a:pt x="3027" y="275"/>
                  </a:cubicBezTo>
                  <a:cubicBezTo>
                    <a:pt x="3034" y="275"/>
                    <a:pt x="3038" y="271"/>
                    <a:pt x="3037" y="265"/>
                  </a:cubicBezTo>
                  <a:cubicBezTo>
                    <a:pt x="3036" y="259"/>
                    <a:pt x="3030" y="255"/>
                    <a:pt x="3024" y="255"/>
                  </a:cubicBezTo>
                  <a:cubicBezTo>
                    <a:pt x="3024" y="255"/>
                    <a:pt x="3023" y="255"/>
                    <a:pt x="3023" y="255"/>
                  </a:cubicBezTo>
                  <a:moveTo>
                    <a:pt x="3057" y="255"/>
                  </a:moveTo>
                  <a:cubicBezTo>
                    <a:pt x="3051" y="255"/>
                    <a:pt x="3047" y="259"/>
                    <a:pt x="3048" y="265"/>
                  </a:cubicBezTo>
                  <a:cubicBezTo>
                    <a:pt x="3049" y="271"/>
                    <a:pt x="3055" y="275"/>
                    <a:pt x="3061" y="275"/>
                  </a:cubicBezTo>
                  <a:cubicBezTo>
                    <a:pt x="3068" y="275"/>
                    <a:pt x="3072" y="270"/>
                    <a:pt x="3070" y="265"/>
                  </a:cubicBezTo>
                  <a:cubicBezTo>
                    <a:pt x="3069" y="259"/>
                    <a:pt x="3063" y="255"/>
                    <a:pt x="3057" y="255"/>
                  </a:cubicBezTo>
                  <a:cubicBezTo>
                    <a:pt x="3057" y="255"/>
                    <a:pt x="3057" y="255"/>
                    <a:pt x="3057" y="255"/>
                  </a:cubicBezTo>
                  <a:moveTo>
                    <a:pt x="3089" y="254"/>
                  </a:moveTo>
                  <a:cubicBezTo>
                    <a:pt x="3083" y="254"/>
                    <a:pt x="3079" y="259"/>
                    <a:pt x="3080" y="265"/>
                  </a:cubicBezTo>
                  <a:cubicBezTo>
                    <a:pt x="3081" y="270"/>
                    <a:pt x="3087" y="275"/>
                    <a:pt x="3094" y="275"/>
                  </a:cubicBezTo>
                  <a:cubicBezTo>
                    <a:pt x="3100" y="275"/>
                    <a:pt x="3104" y="270"/>
                    <a:pt x="3103" y="264"/>
                  </a:cubicBezTo>
                  <a:cubicBezTo>
                    <a:pt x="3102" y="259"/>
                    <a:pt x="3096" y="254"/>
                    <a:pt x="3089" y="254"/>
                  </a:cubicBezTo>
                  <a:cubicBezTo>
                    <a:pt x="3089" y="254"/>
                    <a:pt x="3089" y="254"/>
                    <a:pt x="3089" y="254"/>
                  </a:cubicBezTo>
                  <a:moveTo>
                    <a:pt x="3122" y="254"/>
                  </a:moveTo>
                  <a:cubicBezTo>
                    <a:pt x="3115" y="254"/>
                    <a:pt x="3111" y="259"/>
                    <a:pt x="3113" y="264"/>
                  </a:cubicBezTo>
                  <a:cubicBezTo>
                    <a:pt x="3114" y="270"/>
                    <a:pt x="3120" y="275"/>
                    <a:pt x="3126" y="275"/>
                  </a:cubicBezTo>
                  <a:cubicBezTo>
                    <a:pt x="3133" y="275"/>
                    <a:pt x="3137" y="270"/>
                    <a:pt x="3136" y="264"/>
                  </a:cubicBezTo>
                  <a:cubicBezTo>
                    <a:pt x="3134" y="259"/>
                    <a:pt x="3128" y="254"/>
                    <a:pt x="3122" y="254"/>
                  </a:cubicBezTo>
                  <a:cubicBezTo>
                    <a:pt x="3122" y="254"/>
                    <a:pt x="3122" y="254"/>
                    <a:pt x="3122" y="254"/>
                  </a:cubicBezTo>
                  <a:moveTo>
                    <a:pt x="3155" y="254"/>
                  </a:moveTo>
                  <a:cubicBezTo>
                    <a:pt x="3148" y="254"/>
                    <a:pt x="3144" y="258"/>
                    <a:pt x="3146" y="264"/>
                  </a:cubicBezTo>
                  <a:cubicBezTo>
                    <a:pt x="3147" y="270"/>
                    <a:pt x="3153" y="274"/>
                    <a:pt x="3160" y="274"/>
                  </a:cubicBezTo>
                  <a:cubicBezTo>
                    <a:pt x="3166" y="274"/>
                    <a:pt x="3170" y="270"/>
                    <a:pt x="3168" y="264"/>
                  </a:cubicBezTo>
                  <a:cubicBezTo>
                    <a:pt x="3167" y="258"/>
                    <a:pt x="3161" y="254"/>
                    <a:pt x="3155" y="254"/>
                  </a:cubicBezTo>
                  <a:cubicBezTo>
                    <a:pt x="3155" y="254"/>
                    <a:pt x="3155" y="254"/>
                    <a:pt x="3155" y="254"/>
                  </a:cubicBezTo>
                  <a:moveTo>
                    <a:pt x="3187" y="254"/>
                  </a:moveTo>
                  <a:cubicBezTo>
                    <a:pt x="3181" y="254"/>
                    <a:pt x="3177" y="258"/>
                    <a:pt x="3178" y="264"/>
                  </a:cubicBezTo>
                  <a:cubicBezTo>
                    <a:pt x="3179" y="270"/>
                    <a:pt x="3186" y="274"/>
                    <a:pt x="3192" y="274"/>
                  </a:cubicBezTo>
                  <a:cubicBezTo>
                    <a:pt x="3198" y="274"/>
                    <a:pt x="3202" y="269"/>
                    <a:pt x="3201" y="264"/>
                  </a:cubicBezTo>
                  <a:cubicBezTo>
                    <a:pt x="3199" y="258"/>
                    <a:pt x="3193" y="254"/>
                    <a:pt x="3187" y="254"/>
                  </a:cubicBezTo>
                  <a:cubicBezTo>
                    <a:pt x="3187" y="254"/>
                    <a:pt x="3187" y="254"/>
                    <a:pt x="3187" y="254"/>
                  </a:cubicBezTo>
                  <a:moveTo>
                    <a:pt x="3219" y="253"/>
                  </a:moveTo>
                  <a:cubicBezTo>
                    <a:pt x="3213" y="253"/>
                    <a:pt x="3209" y="258"/>
                    <a:pt x="3211" y="264"/>
                  </a:cubicBezTo>
                  <a:cubicBezTo>
                    <a:pt x="3212" y="269"/>
                    <a:pt x="3218" y="274"/>
                    <a:pt x="3225" y="274"/>
                  </a:cubicBezTo>
                  <a:cubicBezTo>
                    <a:pt x="3231" y="274"/>
                    <a:pt x="3235" y="269"/>
                    <a:pt x="3233" y="263"/>
                  </a:cubicBezTo>
                  <a:cubicBezTo>
                    <a:pt x="3232" y="258"/>
                    <a:pt x="3226" y="253"/>
                    <a:pt x="3219" y="253"/>
                  </a:cubicBezTo>
                  <a:cubicBezTo>
                    <a:pt x="3219" y="253"/>
                    <a:pt x="3219" y="253"/>
                    <a:pt x="3219" y="253"/>
                  </a:cubicBezTo>
                  <a:moveTo>
                    <a:pt x="3251" y="253"/>
                  </a:moveTo>
                  <a:cubicBezTo>
                    <a:pt x="3245" y="253"/>
                    <a:pt x="3241" y="258"/>
                    <a:pt x="3243" y="263"/>
                  </a:cubicBezTo>
                  <a:cubicBezTo>
                    <a:pt x="3245" y="269"/>
                    <a:pt x="3251" y="274"/>
                    <a:pt x="3257" y="273"/>
                  </a:cubicBezTo>
                  <a:cubicBezTo>
                    <a:pt x="3264" y="273"/>
                    <a:pt x="3267" y="269"/>
                    <a:pt x="3266" y="263"/>
                  </a:cubicBezTo>
                  <a:cubicBezTo>
                    <a:pt x="3264" y="257"/>
                    <a:pt x="3258" y="253"/>
                    <a:pt x="3252" y="253"/>
                  </a:cubicBezTo>
                  <a:cubicBezTo>
                    <a:pt x="3252" y="253"/>
                    <a:pt x="3251" y="253"/>
                    <a:pt x="3251" y="253"/>
                  </a:cubicBezTo>
                  <a:moveTo>
                    <a:pt x="3284" y="253"/>
                  </a:moveTo>
                  <a:cubicBezTo>
                    <a:pt x="3277" y="253"/>
                    <a:pt x="3274" y="257"/>
                    <a:pt x="3275" y="263"/>
                  </a:cubicBezTo>
                  <a:cubicBezTo>
                    <a:pt x="3277" y="269"/>
                    <a:pt x="3283" y="273"/>
                    <a:pt x="3290" y="273"/>
                  </a:cubicBezTo>
                  <a:cubicBezTo>
                    <a:pt x="3296" y="273"/>
                    <a:pt x="3300" y="269"/>
                    <a:pt x="3298" y="263"/>
                  </a:cubicBezTo>
                  <a:cubicBezTo>
                    <a:pt x="3296" y="257"/>
                    <a:pt x="3290" y="253"/>
                    <a:pt x="3284" y="253"/>
                  </a:cubicBezTo>
                  <a:cubicBezTo>
                    <a:pt x="3284" y="253"/>
                    <a:pt x="3284" y="253"/>
                    <a:pt x="3284" y="253"/>
                  </a:cubicBezTo>
                  <a:moveTo>
                    <a:pt x="3316" y="252"/>
                  </a:moveTo>
                  <a:cubicBezTo>
                    <a:pt x="3310" y="252"/>
                    <a:pt x="3306" y="257"/>
                    <a:pt x="3308" y="263"/>
                  </a:cubicBezTo>
                  <a:cubicBezTo>
                    <a:pt x="3309" y="268"/>
                    <a:pt x="3316" y="273"/>
                    <a:pt x="3322" y="273"/>
                  </a:cubicBezTo>
                  <a:cubicBezTo>
                    <a:pt x="3329" y="273"/>
                    <a:pt x="3332" y="268"/>
                    <a:pt x="3330" y="263"/>
                  </a:cubicBezTo>
                  <a:cubicBezTo>
                    <a:pt x="3329" y="257"/>
                    <a:pt x="3322" y="252"/>
                    <a:pt x="3316" y="252"/>
                  </a:cubicBezTo>
                  <a:cubicBezTo>
                    <a:pt x="3316" y="252"/>
                    <a:pt x="3316" y="252"/>
                    <a:pt x="3316" y="252"/>
                  </a:cubicBezTo>
                  <a:moveTo>
                    <a:pt x="3348" y="252"/>
                  </a:moveTo>
                  <a:cubicBezTo>
                    <a:pt x="3342" y="252"/>
                    <a:pt x="3339" y="257"/>
                    <a:pt x="3340" y="263"/>
                  </a:cubicBezTo>
                  <a:cubicBezTo>
                    <a:pt x="3342" y="268"/>
                    <a:pt x="3349" y="273"/>
                    <a:pt x="3355" y="273"/>
                  </a:cubicBezTo>
                  <a:cubicBezTo>
                    <a:pt x="3361" y="273"/>
                    <a:pt x="3365" y="268"/>
                    <a:pt x="3363" y="262"/>
                  </a:cubicBezTo>
                  <a:cubicBezTo>
                    <a:pt x="3361" y="257"/>
                    <a:pt x="3355" y="252"/>
                    <a:pt x="3349" y="252"/>
                  </a:cubicBezTo>
                  <a:cubicBezTo>
                    <a:pt x="3349" y="252"/>
                    <a:pt x="3348" y="252"/>
                    <a:pt x="3348" y="252"/>
                  </a:cubicBezTo>
                  <a:moveTo>
                    <a:pt x="3382" y="252"/>
                  </a:moveTo>
                  <a:cubicBezTo>
                    <a:pt x="3376" y="252"/>
                    <a:pt x="3372" y="257"/>
                    <a:pt x="3374" y="262"/>
                  </a:cubicBezTo>
                  <a:cubicBezTo>
                    <a:pt x="3376" y="268"/>
                    <a:pt x="3382" y="272"/>
                    <a:pt x="3389" y="272"/>
                  </a:cubicBezTo>
                  <a:cubicBezTo>
                    <a:pt x="3395" y="272"/>
                    <a:pt x="3399" y="268"/>
                    <a:pt x="3397" y="262"/>
                  </a:cubicBezTo>
                  <a:cubicBezTo>
                    <a:pt x="3395" y="256"/>
                    <a:pt x="3388" y="252"/>
                    <a:pt x="3382" y="252"/>
                  </a:cubicBezTo>
                  <a:cubicBezTo>
                    <a:pt x="3382" y="252"/>
                    <a:pt x="3382" y="252"/>
                    <a:pt x="3382" y="252"/>
                  </a:cubicBezTo>
                  <a:moveTo>
                    <a:pt x="3414" y="252"/>
                  </a:moveTo>
                  <a:cubicBezTo>
                    <a:pt x="3408" y="252"/>
                    <a:pt x="3404" y="256"/>
                    <a:pt x="3406" y="262"/>
                  </a:cubicBezTo>
                  <a:cubicBezTo>
                    <a:pt x="3408" y="268"/>
                    <a:pt x="3415" y="272"/>
                    <a:pt x="3421" y="272"/>
                  </a:cubicBezTo>
                  <a:cubicBezTo>
                    <a:pt x="3427" y="272"/>
                    <a:pt x="3431" y="267"/>
                    <a:pt x="3429" y="262"/>
                  </a:cubicBezTo>
                  <a:cubicBezTo>
                    <a:pt x="3427" y="256"/>
                    <a:pt x="3420" y="252"/>
                    <a:pt x="3414" y="252"/>
                  </a:cubicBezTo>
                  <a:cubicBezTo>
                    <a:pt x="3414" y="252"/>
                    <a:pt x="3414" y="252"/>
                    <a:pt x="3414" y="252"/>
                  </a:cubicBezTo>
                  <a:moveTo>
                    <a:pt x="3447" y="251"/>
                  </a:moveTo>
                  <a:cubicBezTo>
                    <a:pt x="3440" y="251"/>
                    <a:pt x="3437" y="256"/>
                    <a:pt x="3439" y="262"/>
                  </a:cubicBezTo>
                  <a:cubicBezTo>
                    <a:pt x="3441" y="267"/>
                    <a:pt x="3448" y="272"/>
                    <a:pt x="3454" y="272"/>
                  </a:cubicBezTo>
                  <a:cubicBezTo>
                    <a:pt x="3460" y="272"/>
                    <a:pt x="3464" y="267"/>
                    <a:pt x="3462" y="262"/>
                  </a:cubicBezTo>
                  <a:cubicBezTo>
                    <a:pt x="3460" y="256"/>
                    <a:pt x="3453" y="251"/>
                    <a:pt x="3447" y="251"/>
                  </a:cubicBezTo>
                  <a:cubicBezTo>
                    <a:pt x="3447" y="251"/>
                    <a:pt x="3447" y="251"/>
                    <a:pt x="3447" y="251"/>
                  </a:cubicBezTo>
                  <a:moveTo>
                    <a:pt x="3479" y="251"/>
                  </a:moveTo>
                  <a:cubicBezTo>
                    <a:pt x="3473" y="251"/>
                    <a:pt x="3470" y="256"/>
                    <a:pt x="3472" y="261"/>
                  </a:cubicBezTo>
                  <a:cubicBezTo>
                    <a:pt x="3474" y="267"/>
                    <a:pt x="3481" y="272"/>
                    <a:pt x="3487" y="272"/>
                  </a:cubicBezTo>
                  <a:cubicBezTo>
                    <a:pt x="3493" y="272"/>
                    <a:pt x="3497" y="267"/>
                    <a:pt x="3495" y="261"/>
                  </a:cubicBezTo>
                  <a:cubicBezTo>
                    <a:pt x="3492" y="256"/>
                    <a:pt x="3486" y="251"/>
                    <a:pt x="3480" y="251"/>
                  </a:cubicBezTo>
                  <a:cubicBezTo>
                    <a:pt x="3479" y="251"/>
                    <a:pt x="3479" y="251"/>
                    <a:pt x="3479" y="251"/>
                  </a:cubicBezTo>
                  <a:moveTo>
                    <a:pt x="3512" y="251"/>
                  </a:moveTo>
                  <a:cubicBezTo>
                    <a:pt x="3505" y="251"/>
                    <a:pt x="3502" y="255"/>
                    <a:pt x="3504" y="261"/>
                  </a:cubicBezTo>
                  <a:cubicBezTo>
                    <a:pt x="3506" y="267"/>
                    <a:pt x="3513" y="271"/>
                    <a:pt x="3519" y="271"/>
                  </a:cubicBezTo>
                  <a:cubicBezTo>
                    <a:pt x="3526" y="271"/>
                    <a:pt x="3529" y="267"/>
                    <a:pt x="3527" y="261"/>
                  </a:cubicBezTo>
                  <a:cubicBezTo>
                    <a:pt x="3525" y="255"/>
                    <a:pt x="3518" y="251"/>
                    <a:pt x="3512" y="251"/>
                  </a:cubicBezTo>
                  <a:cubicBezTo>
                    <a:pt x="3512" y="251"/>
                    <a:pt x="3512" y="251"/>
                    <a:pt x="3512" y="251"/>
                  </a:cubicBezTo>
                  <a:moveTo>
                    <a:pt x="3544" y="251"/>
                  </a:moveTo>
                  <a:cubicBezTo>
                    <a:pt x="3538" y="251"/>
                    <a:pt x="3534" y="255"/>
                    <a:pt x="3537" y="261"/>
                  </a:cubicBezTo>
                  <a:cubicBezTo>
                    <a:pt x="3539" y="267"/>
                    <a:pt x="3546" y="271"/>
                    <a:pt x="3552" y="271"/>
                  </a:cubicBezTo>
                  <a:cubicBezTo>
                    <a:pt x="3558" y="271"/>
                    <a:pt x="3562" y="266"/>
                    <a:pt x="3559" y="261"/>
                  </a:cubicBezTo>
                  <a:cubicBezTo>
                    <a:pt x="3557" y="255"/>
                    <a:pt x="3550" y="251"/>
                    <a:pt x="3544" y="251"/>
                  </a:cubicBezTo>
                  <a:cubicBezTo>
                    <a:pt x="3544" y="251"/>
                    <a:pt x="3544" y="251"/>
                    <a:pt x="3544" y="251"/>
                  </a:cubicBezTo>
                  <a:moveTo>
                    <a:pt x="3576" y="250"/>
                  </a:moveTo>
                  <a:cubicBezTo>
                    <a:pt x="3570" y="250"/>
                    <a:pt x="3567" y="255"/>
                    <a:pt x="3569" y="261"/>
                  </a:cubicBezTo>
                  <a:cubicBezTo>
                    <a:pt x="3571" y="266"/>
                    <a:pt x="3578" y="271"/>
                    <a:pt x="3585" y="271"/>
                  </a:cubicBezTo>
                  <a:cubicBezTo>
                    <a:pt x="3591" y="271"/>
                    <a:pt x="3594" y="266"/>
                    <a:pt x="3592" y="260"/>
                  </a:cubicBezTo>
                  <a:cubicBezTo>
                    <a:pt x="3589" y="255"/>
                    <a:pt x="3583" y="250"/>
                    <a:pt x="3576" y="250"/>
                  </a:cubicBezTo>
                  <a:cubicBezTo>
                    <a:pt x="3576" y="250"/>
                    <a:pt x="3576" y="250"/>
                    <a:pt x="3576" y="250"/>
                  </a:cubicBezTo>
                  <a:moveTo>
                    <a:pt x="3609" y="250"/>
                  </a:moveTo>
                  <a:cubicBezTo>
                    <a:pt x="3603" y="250"/>
                    <a:pt x="3600" y="255"/>
                    <a:pt x="3602" y="260"/>
                  </a:cubicBezTo>
                  <a:cubicBezTo>
                    <a:pt x="3604" y="266"/>
                    <a:pt x="3611" y="271"/>
                    <a:pt x="3618" y="271"/>
                  </a:cubicBezTo>
                  <a:cubicBezTo>
                    <a:pt x="3624" y="270"/>
                    <a:pt x="3627" y="266"/>
                    <a:pt x="3625" y="260"/>
                  </a:cubicBezTo>
                  <a:cubicBezTo>
                    <a:pt x="3622" y="254"/>
                    <a:pt x="3616" y="250"/>
                    <a:pt x="3609" y="250"/>
                  </a:cubicBezTo>
                  <a:cubicBezTo>
                    <a:pt x="3609" y="250"/>
                    <a:pt x="3609" y="250"/>
                    <a:pt x="3609" y="250"/>
                  </a:cubicBezTo>
                  <a:moveTo>
                    <a:pt x="3642" y="250"/>
                  </a:moveTo>
                  <a:cubicBezTo>
                    <a:pt x="3635" y="250"/>
                    <a:pt x="3632" y="254"/>
                    <a:pt x="3635" y="260"/>
                  </a:cubicBezTo>
                  <a:cubicBezTo>
                    <a:pt x="3637" y="266"/>
                    <a:pt x="3644" y="270"/>
                    <a:pt x="3650" y="270"/>
                  </a:cubicBezTo>
                  <a:cubicBezTo>
                    <a:pt x="3657" y="270"/>
                    <a:pt x="3660" y="266"/>
                    <a:pt x="3657" y="260"/>
                  </a:cubicBezTo>
                  <a:cubicBezTo>
                    <a:pt x="3655" y="254"/>
                    <a:pt x="3648" y="250"/>
                    <a:pt x="3642" y="250"/>
                  </a:cubicBezTo>
                  <a:cubicBezTo>
                    <a:pt x="3642" y="250"/>
                    <a:pt x="3642" y="250"/>
                    <a:pt x="3642" y="250"/>
                  </a:cubicBezTo>
                  <a:moveTo>
                    <a:pt x="3675" y="249"/>
                  </a:moveTo>
                  <a:cubicBezTo>
                    <a:pt x="3669" y="249"/>
                    <a:pt x="3666" y="254"/>
                    <a:pt x="3668" y="260"/>
                  </a:cubicBezTo>
                  <a:cubicBezTo>
                    <a:pt x="3671" y="265"/>
                    <a:pt x="3678" y="270"/>
                    <a:pt x="3684" y="270"/>
                  </a:cubicBezTo>
                  <a:cubicBezTo>
                    <a:pt x="3690" y="270"/>
                    <a:pt x="3694" y="265"/>
                    <a:pt x="3691" y="260"/>
                  </a:cubicBezTo>
                  <a:cubicBezTo>
                    <a:pt x="3688" y="254"/>
                    <a:pt x="3681" y="249"/>
                    <a:pt x="3675" y="249"/>
                  </a:cubicBezTo>
                  <a:cubicBezTo>
                    <a:pt x="3675" y="249"/>
                    <a:pt x="3675" y="249"/>
                    <a:pt x="3675" y="249"/>
                  </a:cubicBezTo>
                  <a:moveTo>
                    <a:pt x="181" y="249"/>
                  </a:moveTo>
                  <a:cubicBezTo>
                    <a:pt x="175" y="249"/>
                    <a:pt x="166" y="254"/>
                    <a:pt x="161" y="260"/>
                  </a:cubicBezTo>
                  <a:cubicBezTo>
                    <a:pt x="156" y="265"/>
                    <a:pt x="157" y="270"/>
                    <a:pt x="163" y="270"/>
                  </a:cubicBezTo>
                  <a:cubicBezTo>
                    <a:pt x="170" y="269"/>
                    <a:pt x="179" y="265"/>
                    <a:pt x="184" y="259"/>
                  </a:cubicBezTo>
                  <a:cubicBezTo>
                    <a:pt x="189" y="254"/>
                    <a:pt x="187" y="249"/>
                    <a:pt x="181" y="249"/>
                  </a:cubicBezTo>
                  <a:cubicBezTo>
                    <a:pt x="181" y="249"/>
                    <a:pt x="181" y="249"/>
                    <a:pt x="181" y="249"/>
                  </a:cubicBezTo>
                  <a:moveTo>
                    <a:pt x="3707" y="249"/>
                  </a:moveTo>
                  <a:cubicBezTo>
                    <a:pt x="3701" y="249"/>
                    <a:pt x="3698" y="254"/>
                    <a:pt x="3701" y="260"/>
                  </a:cubicBezTo>
                  <a:cubicBezTo>
                    <a:pt x="3703" y="265"/>
                    <a:pt x="3710" y="270"/>
                    <a:pt x="3717" y="270"/>
                  </a:cubicBezTo>
                  <a:cubicBezTo>
                    <a:pt x="3723" y="270"/>
                    <a:pt x="3726" y="265"/>
                    <a:pt x="3723" y="259"/>
                  </a:cubicBezTo>
                  <a:cubicBezTo>
                    <a:pt x="3721" y="254"/>
                    <a:pt x="3714" y="249"/>
                    <a:pt x="3707" y="249"/>
                  </a:cubicBezTo>
                  <a:cubicBezTo>
                    <a:pt x="3707" y="249"/>
                    <a:pt x="3707" y="249"/>
                    <a:pt x="3707" y="249"/>
                  </a:cubicBezTo>
                  <a:moveTo>
                    <a:pt x="213" y="249"/>
                  </a:moveTo>
                  <a:cubicBezTo>
                    <a:pt x="207" y="249"/>
                    <a:pt x="198" y="254"/>
                    <a:pt x="193" y="259"/>
                  </a:cubicBezTo>
                  <a:cubicBezTo>
                    <a:pt x="188" y="265"/>
                    <a:pt x="189" y="269"/>
                    <a:pt x="196" y="269"/>
                  </a:cubicBezTo>
                  <a:cubicBezTo>
                    <a:pt x="202" y="269"/>
                    <a:pt x="211" y="265"/>
                    <a:pt x="216" y="259"/>
                  </a:cubicBezTo>
                  <a:cubicBezTo>
                    <a:pt x="221" y="254"/>
                    <a:pt x="220" y="249"/>
                    <a:pt x="213" y="249"/>
                  </a:cubicBezTo>
                  <a:cubicBezTo>
                    <a:pt x="213" y="249"/>
                    <a:pt x="213" y="249"/>
                    <a:pt x="213" y="249"/>
                  </a:cubicBezTo>
                  <a:moveTo>
                    <a:pt x="3740" y="249"/>
                  </a:moveTo>
                  <a:cubicBezTo>
                    <a:pt x="3733" y="249"/>
                    <a:pt x="3731" y="254"/>
                    <a:pt x="3733" y="259"/>
                  </a:cubicBezTo>
                  <a:cubicBezTo>
                    <a:pt x="3736" y="265"/>
                    <a:pt x="3743" y="269"/>
                    <a:pt x="3749" y="269"/>
                  </a:cubicBezTo>
                  <a:cubicBezTo>
                    <a:pt x="3756" y="269"/>
                    <a:pt x="3759" y="265"/>
                    <a:pt x="3756" y="259"/>
                  </a:cubicBezTo>
                  <a:cubicBezTo>
                    <a:pt x="3753" y="253"/>
                    <a:pt x="3746" y="249"/>
                    <a:pt x="3740" y="249"/>
                  </a:cubicBezTo>
                  <a:cubicBezTo>
                    <a:pt x="3740" y="249"/>
                    <a:pt x="3740" y="249"/>
                    <a:pt x="3740" y="249"/>
                  </a:cubicBezTo>
                  <a:moveTo>
                    <a:pt x="246" y="249"/>
                  </a:moveTo>
                  <a:cubicBezTo>
                    <a:pt x="240" y="249"/>
                    <a:pt x="231" y="253"/>
                    <a:pt x="226" y="259"/>
                  </a:cubicBezTo>
                  <a:cubicBezTo>
                    <a:pt x="221" y="265"/>
                    <a:pt x="222" y="269"/>
                    <a:pt x="228" y="269"/>
                  </a:cubicBezTo>
                  <a:cubicBezTo>
                    <a:pt x="235" y="269"/>
                    <a:pt x="244" y="264"/>
                    <a:pt x="248" y="259"/>
                  </a:cubicBezTo>
                  <a:cubicBezTo>
                    <a:pt x="253" y="253"/>
                    <a:pt x="252" y="249"/>
                    <a:pt x="246" y="249"/>
                  </a:cubicBezTo>
                  <a:cubicBezTo>
                    <a:pt x="246" y="249"/>
                    <a:pt x="246" y="249"/>
                    <a:pt x="246" y="249"/>
                  </a:cubicBezTo>
                  <a:moveTo>
                    <a:pt x="3772" y="249"/>
                  </a:moveTo>
                  <a:cubicBezTo>
                    <a:pt x="3766" y="249"/>
                    <a:pt x="3763" y="253"/>
                    <a:pt x="3766" y="259"/>
                  </a:cubicBezTo>
                  <a:cubicBezTo>
                    <a:pt x="3769" y="265"/>
                    <a:pt x="3776" y="269"/>
                    <a:pt x="3782" y="269"/>
                  </a:cubicBezTo>
                  <a:cubicBezTo>
                    <a:pt x="3789" y="269"/>
                    <a:pt x="3792" y="264"/>
                    <a:pt x="3789" y="259"/>
                  </a:cubicBezTo>
                  <a:cubicBezTo>
                    <a:pt x="3786" y="253"/>
                    <a:pt x="3779" y="249"/>
                    <a:pt x="3773" y="249"/>
                  </a:cubicBezTo>
                  <a:cubicBezTo>
                    <a:pt x="3773" y="249"/>
                    <a:pt x="3773" y="249"/>
                    <a:pt x="3772" y="249"/>
                  </a:cubicBezTo>
                  <a:moveTo>
                    <a:pt x="278" y="248"/>
                  </a:moveTo>
                  <a:cubicBezTo>
                    <a:pt x="272" y="249"/>
                    <a:pt x="263" y="253"/>
                    <a:pt x="258" y="259"/>
                  </a:cubicBezTo>
                  <a:cubicBezTo>
                    <a:pt x="253" y="264"/>
                    <a:pt x="254" y="269"/>
                    <a:pt x="261" y="269"/>
                  </a:cubicBezTo>
                  <a:cubicBezTo>
                    <a:pt x="267" y="269"/>
                    <a:pt x="276" y="264"/>
                    <a:pt x="281" y="259"/>
                  </a:cubicBezTo>
                  <a:cubicBezTo>
                    <a:pt x="285" y="253"/>
                    <a:pt x="284" y="248"/>
                    <a:pt x="278" y="248"/>
                  </a:cubicBezTo>
                  <a:cubicBezTo>
                    <a:pt x="278" y="248"/>
                    <a:pt x="278" y="248"/>
                    <a:pt x="278" y="248"/>
                  </a:cubicBezTo>
                  <a:moveTo>
                    <a:pt x="3805" y="248"/>
                  </a:moveTo>
                  <a:cubicBezTo>
                    <a:pt x="3798" y="248"/>
                    <a:pt x="3796" y="253"/>
                    <a:pt x="3798" y="259"/>
                  </a:cubicBezTo>
                  <a:cubicBezTo>
                    <a:pt x="3801" y="264"/>
                    <a:pt x="3808" y="269"/>
                    <a:pt x="3815" y="269"/>
                  </a:cubicBezTo>
                  <a:cubicBezTo>
                    <a:pt x="3821" y="269"/>
                    <a:pt x="3824" y="264"/>
                    <a:pt x="3821" y="259"/>
                  </a:cubicBezTo>
                  <a:cubicBezTo>
                    <a:pt x="3818" y="253"/>
                    <a:pt x="3811" y="248"/>
                    <a:pt x="3805" y="248"/>
                  </a:cubicBezTo>
                  <a:cubicBezTo>
                    <a:pt x="3805" y="248"/>
                    <a:pt x="3805" y="248"/>
                    <a:pt x="3805" y="248"/>
                  </a:cubicBezTo>
                  <a:moveTo>
                    <a:pt x="310" y="248"/>
                  </a:moveTo>
                  <a:cubicBezTo>
                    <a:pt x="304" y="248"/>
                    <a:pt x="295" y="253"/>
                    <a:pt x="290" y="258"/>
                  </a:cubicBezTo>
                  <a:cubicBezTo>
                    <a:pt x="286" y="264"/>
                    <a:pt x="287" y="268"/>
                    <a:pt x="293" y="268"/>
                  </a:cubicBezTo>
                  <a:cubicBezTo>
                    <a:pt x="299" y="268"/>
                    <a:pt x="308" y="264"/>
                    <a:pt x="313" y="258"/>
                  </a:cubicBezTo>
                  <a:cubicBezTo>
                    <a:pt x="318" y="253"/>
                    <a:pt x="316" y="248"/>
                    <a:pt x="310" y="248"/>
                  </a:cubicBezTo>
                  <a:cubicBezTo>
                    <a:pt x="310" y="248"/>
                    <a:pt x="310" y="248"/>
                    <a:pt x="310" y="248"/>
                  </a:cubicBezTo>
                  <a:moveTo>
                    <a:pt x="3837" y="248"/>
                  </a:moveTo>
                  <a:cubicBezTo>
                    <a:pt x="3831" y="248"/>
                    <a:pt x="3828" y="253"/>
                    <a:pt x="3831" y="258"/>
                  </a:cubicBezTo>
                  <a:cubicBezTo>
                    <a:pt x="3834" y="264"/>
                    <a:pt x="3841" y="269"/>
                    <a:pt x="3847" y="269"/>
                  </a:cubicBezTo>
                  <a:cubicBezTo>
                    <a:pt x="3854" y="269"/>
                    <a:pt x="3856" y="264"/>
                    <a:pt x="3854" y="258"/>
                  </a:cubicBezTo>
                  <a:cubicBezTo>
                    <a:pt x="3851" y="253"/>
                    <a:pt x="3843" y="248"/>
                    <a:pt x="3837" y="248"/>
                  </a:cubicBezTo>
                  <a:cubicBezTo>
                    <a:pt x="3837" y="248"/>
                    <a:pt x="3837" y="248"/>
                    <a:pt x="3837" y="248"/>
                  </a:cubicBezTo>
                  <a:moveTo>
                    <a:pt x="342" y="248"/>
                  </a:moveTo>
                  <a:cubicBezTo>
                    <a:pt x="336" y="248"/>
                    <a:pt x="327" y="253"/>
                    <a:pt x="323" y="258"/>
                  </a:cubicBezTo>
                  <a:cubicBezTo>
                    <a:pt x="318" y="264"/>
                    <a:pt x="319" y="268"/>
                    <a:pt x="326" y="268"/>
                  </a:cubicBezTo>
                  <a:cubicBezTo>
                    <a:pt x="332" y="268"/>
                    <a:pt x="341" y="264"/>
                    <a:pt x="345" y="258"/>
                  </a:cubicBezTo>
                  <a:cubicBezTo>
                    <a:pt x="350" y="252"/>
                    <a:pt x="349" y="248"/>
                    <a:pt x="343" y="248"/>
                  </a:cubicBezTo>
                  <a:cubicBezTo>
                    <a:pt x="342" y="248"/>
                    <a:pt x="342" y="248"/>
                    <a:pt x="342" y="248"/>
                  </a:cubicBezTo>
                  <a:moveTo>
                    <a:pt x="3869" y="248"/>
                  </a:moveTo>
                  <a:cubicBezTo>
                    <a:pt x="3863" y="248"/>
                    <a:pt x="3860" y="252"/>
                    <a:pt x="3863" y="258"/>
                  </a:cubicBezTo>
                  <a:cubicBezTo>
                    <a:pt x="3866" y="264"/>
                    <a:pt x="3873" y="268"/>
                    <a:pt x="3880" y="268"/>
                  </a:cubicBezTo>
                  <a:cubicBezTo>
                    <a:pt x="3886" y="268"/>
                    <a:pt x="3889" y="264"/>
                    <a:pt x="3886" y="258"/>
                  </a:cubicBezTo>
                  <a:cubicBezTo>
                    <a:pt x="3883" y="252"/>
                    <a:pt x="3876" y="248"/>
                    <a:pt x="3869" y="248"/>
                  </a:cubicBezTo>
                  <a:cubicBezTo>
                    <a:pt x="3869" y="248"/>
                    <a:pt x="3869" y="248"/>
                    <a:pt x="3869" y="248"/>
                  </a:cubicBezTo>
                  <a:moveTo>
                    <a:pt x="376" y="248"/>
                  </a:moveTo>
                  <a:cubicBezTo>
                    <a:pt x="370" y="248"/>
                    <a:pt x="361" y="252"/>
                    <a:pt x="357" y="258"/>
                  </a:cubicBezTo>
                  <a:cubicBezTo>
                    <a:pt x="352" y="263"/>
                    <a:pt x="353" y="268"/>
                    <a:pt x="360" y="268"/>
                  </a:cubicBezTo>
                  <a:cubicBezTo>
                    <a:pt x="366" y="268"/>
                    <a:pt x="375" y="263"/>
                    <a:pt x="379" y="258"/>
                  </a:cubicBezTo>
                  <a:cubicBezTo>
                    <a:pt x="384" y="252"/>
                    <a:pt x="382" y="248"/>
                    <a:pt x="376" y="248"/>
                  </a:cubicBezTo>
                  <a:cubicBezTo>
                    <a:pt x="376" y="248"/>
                    <a:pt x="376" y="248"/>
                    <a:pt x="376" y="248"/>
                  </a:cubicBezTo>
                  <a:moveTo>
                    <a:pt x="3901" y="248"/>
                  </a:moveTo>
                  <a:cubicBezTo>
                    <a:pt x="3895" y="248"/>
                    <a:pt x="3893" y="252"/>
                    <a:pt x="3895" y="258"/>
                  </a:cubicBezTo>
                  <a:cubicBezTo>
                    <a:pt x="3898" y="264"/>
                    <a:pt x="3906" y="268"/>
                    <a:pt x="3912" y="268"/>
                  </a:cubicBezTo>
                  <a:cubicBezTo>
                    <a:pt x="3919" y="268"/>
                    <a:pt x="3921" y="263"/>
                    <a:pt x="3918" y="258"/>
                  </a:cubicBezTo>
                  <a:cubicBezTo>
                    <a:pt x="3915" y="252"/>
                    <a:pt x="3908" y="247"/>
                    <a:pt x="3902" y="247"/>
                  </a:cubicBezTo>
                  <a:cubicBezTo>
                    <a:pt x="3902" y="247"/>
                    <a:pt x="3901" y="248"/>
                    <a:pt x="3901" y="248"/>
                  </a:cubicBezTo>
                  <a:moveTo>
                    <a:pt x="408" y="247"/>
                  </a:moveTo>
                  <a:cubicBezTo>
                    <a:pt x="402" y="247"/>
                    <a:pt x="393" y="252"/>
                    <a:pt x="389" y="258"/>
                  </a:cubicBezTo>
                  <a:cubicBezTo>
                    <a:pt x="384" y="263"/>
                    <a:pt x="386" y="268"/>
                    <a:pt x="392" y="268"/>
                  </a:cubicBezTo>
                  <a:cubicBezTo>
                    <a:pt x="398" y="268"/>
                    <a:pt x="407" y="263"/>
                    <a:pt x="412" y="257"/>
                  </a:cubicBezTo>
                  <a:cubicBezTo>
                    <a:pt x="416" y="252"/>
                    <a:pt x="415" y="247"/>
                    <a:pt x="408" y="247"/>
                  </a:cubicBezTo>
                  <a:cubicBezTo>
                    <a:pt x="408" y="247"/>
                    <a:pt x="408" y="247"/>
                    <a:pt x="408" y="247"/>
                  </a:cubicBezTo>
                  <a:moveTo>
                    <a:pt x="3934" y="247"/>
                  </a:moveTo>
                  <a:cubicBezTo>
                    <a:pt x="3927" y="247"/>
                    <a:pt x="3925" y="252"/>
                    <a:pt x="3928" y="258"/>
                  </a:cubicBezTo>
                  <a:cubicBezTo>
                    <a:pt x="3931" y="263"/>
                    <a:pt x="3938" y="268"/>
                    <a:pt x="3945" y="268"/>
                  </a:cubicBezTo>
                  <a:cubicBezTo>
                    <a:pt x="3951" y="268"/>
                    <a:pt x="3954" y="263"/>
                    <a:pt x="3951" y="257"/>
                  </a:cubicBezTo>
                  <a:cubicBezTo>
                    <a:pt x="3947" y="252"/>
                    <a:pt x="3940" y="247"/>
                    <a:pt x="3934" y="247"/>
                  </a:cubicBezTo>
                  <a:cubicBezTo>
                    <a:pt x="3934" y="247"/>
                    <a:pt x="3934" y="247"/>
                    <a:pt x="3934" y="247"/>
                  </a:cubicBezTo>
                  <a:moveTo>
                    <a:pt x="441" y="247"/>
                  </a:moveTo>
                  <a:cubicBezTo>
                    <a:pt x="434" y="247"/>
                    <a:pt x="426" y="252"/>
                    <a:pt x="421" y="257"/>
                  </a:cubicBezTo>
                  <a:cubicBezTo>
                    <a:pt x="417" y="263"/>
                    <a:pt x="418" y="267"/>
                    <a:pt x="425" y="267"/>
                  </a:cubicBezTo>
                  <a:cubicBezTo>
                    <a:pt x="431" y="267"/>
                    <a:pt x="440" y="263"/>
                    <a:pt x="444" y="257"/>
                  </a:cubicBezTo>
                  <a:cubicBezTo>
                    <a:pt x="448" y="252"/>
                    <a:pt x="447" y="247"/>
                    <a:pt x="441" y="247"/>
                  </a:cubicBezTo>
                  <a:cubicBezTo>
                    <a:pt x="441" y="247"/>
                    <a:pt x="441" y="247"/>
                    <a:pt x="441" y="247"/>
                  </a:cubicBezTo>
                  <a:moveTo>
                    <a:pt x="474" y="247"/>
                  </a:moveTo>
                  <a:cubicBezTo>
                    <a:pt x="468" y="247"/>
                    <a:pt x="459" y="251"/>
                    <a:pt x="455" y="257"/>
                  </a:cubicBezTo>
                  <a:cubicBezTo>
                    <a:pt x="451" y="263"/>
                    <a:pt x="452" y="267"/>
                    <a:pt x="459" y="267"/>
                  </a:cubicBezTo>
                  <a:cubicBezTo>
                    <a:pt x="465" y="267"/>
                    <a:pt x="473" y="262"/>
                    <a:pt x="478" y="257"/>
                  </a:cubicBezTo>
                  <a:cubicBezTo>
                    <a:pt x="482" y="251"/>
                    <a:pt x="480" y="247"/>
                    <a:pt x="474" y="247"/>
                  </a:cubicBezTo>
                  <a:cubicBezTo>
                    <a:pt x="474" y="247"/>
                    <a:pt x="474" y="247"/>
                    <a:pt x="474" y="247"/>
                  </a:cubicBezTo>
                  <a:moveTo>
                    <a:pt x="506" y="247"/>
                  </a:moveTo>
                  <a:cubicBezTo>
                    <a:pt x="500" y="247"/>
                    <a:pt x="492" y="251"/>
                    <a:pt x="487" y="257"/>
                  </a:cubicBezTo>
                  <a:cubicBezTo>
                    <a:pt x="483" y="262"/>
                    <a:pt x="485" y="267"/>
                    <a:pt x="491" y="267"/>
                  </a:cubicBezTo>
                  <a:cubicBezTo>
                    <a:pt x="497" y="267"/>
                    <a:pt x="506" y="262"/>
                    <a:pt x="510" y="257"/>
                  </a:cubicBezTo>
                  <a:cubicBezTo>
                    <a:pt x="514" y="251"/>
                    <a:pt x="513" y="247"/>
                    <a:pt x="506" y="247"/>
                  </a:cubicBezTo>
                  <a:cubicBezTo>
                    <a:pt x="506" y="247"/>
                    <a:pt x="506" y="247"/>
                    <a:pt x="506" y="247"/>
                  </a:cubicBezTo>
                  <a:moveTo>
                    <a:pt x="539" y="246"/>
                  </a:moveTo>
                  <a:cubicBezTo>
                    <a:pt x="532" y="246"/>
                    <a:pt x="524" y="251"/>
                    <a:pt x="520" y="256"/>
                  </a:cubicBezTo>
                  <a:cubicBezTo>
                    <a:pt x="516" y="262"/>
                    <a:pt x="517" y="267"/>
                    <a:pt x="524" y="267"/>
                  </a:cubicBezTo>
                  <a:cubicBezTo>
                    <a:pt x="530" y="266"/>
                    <a:pt x="538" y="262"/>
                    <a:pt x="542" y="256"/>
                  </a:cubicBezTo>
                  <a:cubicBezTo>
                    <a:pt x="547" y="251"/>
                    <a:pt x="545" y="246"/>
                    <a:pt x="539" y="246"/>
                  </a:cubicBezTo>
                  <a:cubicBezTo>
                    <a:pt x="539" y="246"/>
                    <a:pt x="539" y="246"/>
                    <a:pt x="539" y="246"/>
                  </a:cubicBezTo>
                  <a:moveTo>
                    <a:pt x="4063" y="246"/>
                  </a:moveTo>
                  <a:cubicBezTo>
                    <a:pt x="4057" y="246"/>
                    <a:pt x="4055" y="251"/>
                    <a:pt x="4058" y="257"/>
                  </a:cubicBezTo>
                  <a:cubicBezTo>
                    <a:pt x="4061" y="262"/>
                    <a:pt x="4069" y="267"/>
                    <a:pt x="4075" y="267"/>
                  </a:cubicBezTo>
                  <a:cubicBezTo>
                    <a:pt x="4082" y="267"/>
                    <a:pt x="4084" y="262"/>
                    <a:pt x="4081" y="256"/>
                  </a:cubicBezTo>
                  <a:cubicBezTo>
                    <a:pt x="4077" y="251"/>
                    <a:pt x="4070" y="246"/>
                    <a:pt x="4063" y="246"/>
                  </a:cubicBezTo>
                  <a:cubicBezTo>
                    <a:pt x="4063" y="246"/>
                    <a:pt x="4063" y="246"/>
                    <a:pt x="4063" y="246"/>
                  </a:cubicBezTo>
                  <a:moveTo>
                    <a:pt x="571" y="246"/>
                  </a:moveTo>
                  <a:cubicBezTo>
                    <a:pt x="565" y="246"/>
                    <a:pt x="556" y="251"/>
                    <a:pt x="552" y="256"/>
                  </a:cubicBezTo>
                  <a:cubicBezTo>
                    <a:pt x="548" y="262"/>
                    <a:pt x="550" y="266"/>
                    <a:pt x="556" y="266"/>
                  </a:cubicBezTo>
                  <a:cubicBezTo>
                    <a:pt x="562" y="266"/>
                    <a:pt x="571" y="262"/>
                    <a:pt x="575" y="256"/>
                  </a:cubicBezTo>
                  <a:cubicBezTo>
                    <a:pt x="579" y="250"/>
                    <a:pt x="577" y="246"/>
                    <a:pt x="571" y="246"/>
                  </a:cubicBezTo>
                  <a:cubicBezTo>
                    <a:pt x="571" y="246"/>
                    <a:pt x="571" y="246"/>
                    <a:pt x="571" y="246"/>
                  </a:cubicBezTo>
                  <a:moveTo>
                    <a:pt x="4095" y="246"/>
                  </a:moveTo>
                  <a:cubicBezTo>
                    <a:pt x="4089" y="246"/>
                    <a:pt x="4087" y="251"/>
                    <a:pt x="4090" y="256"/>
                  </a:cubicBezTo>
                  <a:cubicBezTo>
                    <a:pt x="4094" y="262"/>
                    <a:pt x="4101" y="267"/>
                    <a:pt x="4108" y="266"/>
                  </a:cubicBezTo>
                  <a:cubicBezTo>
                    <a:pt x="4114" y="266"/>
                    <a:pt x="4116" y="262"/>
                    <a:pt x="4113" y="256"/>
                  </a:cubicBezTo>
                  <a:cubicBezTo>
                    <a:pt x="4110" y="250"/>
                    <a:pt x="4102" y="246"/>
                    <a:pt x="4096" y="246"/>
                  </a:cubicBezTo>
                  <a:cubicBezTo>
                    <a:pt x="4096" y="246"/>
                    <a:pt x="4095" y="246"/>
                    <a:pt x="4095" y="246"/>
                  </a:cubicBezTo>
                  <a:moveTo>
                    <a:pt x="603" y="246"/>
                  </a:moveTo>
                  <a:cubicBezTo>
                    <a:pt x="597" y="246"/>
                    <a:pt x="589" y="250"/>
                    <a:pt x="585" y="256"/>
                  </a:cubicBezTo>
                  <a:cubicBezTo>
                    <a:pt x="580" y="262"/>
                    <a:pt x="582" y="266"/>
                    <a:pt x="589" y="266"/>
                  </a:cubicBezTo>
                  <a:cubicBezTo>
                    <a:pt x="595" y="266"/>
                    <a:pt x="603" y="261"/>
                    <a:pt x="607" y="256"/>
                  </a:cubicBezTo>
                  <a:cubicBezTo>
                    <a:pt x="611" y="250"/>
                    <a:pt x="609" y="246"/>
                    <a:pt x="603" y="246"/>
                  </a:cubicBezTo>
                  <a:cubicBezTo>
                    <a:pt x="603" y="246"/>
                    <a:pt x="603" y="246"/>
                    <a:pt x="603" y="246"/>
                  </a:cubicBezTo>
                  <a:moveTo>
                    <a:pt x="4127" y="246"/>
                  </a:moveTo>
                  <a:cubicBezTo>
                    <a:pt x="4121" y="246"/>
                    <a:pt x="4118" y="250"/>
                    <a:pt x="4122" y="256"/>
                  </a:cubicBezTo>
                  <a:cubicBezTo>
                    <a:pt x="4125" y="262"/>
                    <a:pt x="4133" y="266"/>
                    <a:pt x="4139" y="266"/>
                  </a:cubicBezTo>
                  <a:cubicBezTo>
                    <a:pt x="4146" y="266"/>
                    <a:pt x="4148" y="262"/>
                    <a:pt x="4145" y="256"/>
                  </a:cubicBezTo>
                  <a:cubicBezTo>
                    <a:pt x="4141" y="250"/>
                    <a:pt x="4133" y="246"/>
                    <a:pt x="4127" y="246"/>
                  </a:cubicBezTo>
                  <a:cubicBezTo>
                    <a:pt x="4127" y="246"/>
                    <a:pt x="4127" y="246"/>
                    <a:pt x="4127" y="246"/>
                  </a:cubicBezTo>
                  <a:moveTo>
                    <a:pt x="637" y="245"/>
                  </a:moveTo>
                  <a:cubicBezTo>
                    <a:pt x="630" y="245"/>
                    <a:pt x="622" y="250"/>
                    <a:pt x="618" y="256"/>
                  </a:cubicBezTo>
                  <a:cubicBezTo>
                    <a:pt x="614" y="261"/>
                    <a:pt x="616" y="266"/>
                    <a:pt x="622" y="266"/>
                  </a:cubicBezTo>
                  <a:cubicBezTo>
                    <a:pt x="628" y="266"/>
                    <a:pt x="637" y="261"/>
                    <a:pt x="641" y="255"/>
                  </a:cubicBezTo>
                  <a:cubicBezTo>
                    <a:pt x="645" y="250"/>
                    <a:pt x="643" y="245"/>
                    <a:pt x="637" y="245"/>
                  </a:cubicBezTo>
                  <a:cubicBezTo>
                    <a:pt x="637" y="245"/>
                    <a:pt x="637" y="245"/>
                    <a:pt x="637" y="245"/>
                  </a:cubicBezTo>
                  <a:moveTo>
                    <a:pt x="669" y="245"/>
                  </a:moveTo>
                  <a:cubicBezTo>
                    <a:pt x="662" y="245"/>
                    <a:pt x="654" y="250"/>
                    <a:pt x="650" y="255"/>
                  </a:cubicBezTo>
                  <a:cubicBezTo>
                    <a:pt x="646" y="261"/>
                    <a:pt x="648" y="265"/>
                    <a:pt x="655" y="265"/>
                  </a:cubicBezTo>
                  <a:cubicBezTo>
                    <a:pt x="661" y="265"/>
                    <a:pt x="669" y="261"/>
                    <a:pt x="673" y="255"/>
                  </a:cubicBezTo>
                  <a:cubicBezTo>
                    <a:pt x="677" y="250"/>
                    <a:pt x="675" y="245"/>
                    <a:pt x="669" y="245"/>
                  </a:cubicBezTo>
                  <a:cubicBezTo>
                    <a:pt x="669" y="245"/>
                    <a:pt x="669" y="245"/>
                    <a:pt x="669" y="245"/>
                  </a:cubicBezTo>
                  <a:moveTo>
                    <a:pt x="701" y="245"/>
                  </a:moveTo>
                  <a:cubicBezTo>
                    <a:pt x="695" y="245"/>
                    <a:pt x="687" y="250"/>
                    <a:pt x="683" y="255"/>
                  </a:cubicBezTo>
                  <a:cubicBezTo>
                    <a:pt x="679" y="261"/>
                    <a:pt x="681" y="265"/>
                    <a:pt x="687" y="265"/>
                  </a:cubicBezTo>
                  <a:cubicBezTo>
                    <a:pt x="694" y="265"/>
                    <a:pt x="702" y="261"/>
                    <a:pt x="706" y="255"/>
                  </a:cubicBezTo>
                  <a:cubicBezTo>
                    <a:pt x="709" y="249"/>
                    <a:pt x="707" y="245"/>
                    <a:pt x="701" y="245"/>
                  </a:cubicBezTo>
                  <a:cubicBezTo>
                    <a:pt x="701" y="245"/>
                    <a:pt x="701" y="245"/>
                    <a:pt x="701" y="245"/>
                  </a:cubicBezTo>
                  <a:moveTo>
                    <a:pt x="734" y="245"/>
                  </a:moveTo>
                  <a:cubicBezTo>
                    <a:pt x="728" y="245"/>
                    <a:pt x="719" y="249"/>
                    <a:pt x="716" y="255"/>
                  </a:cubicBezTo>
                  <a:cubicBezTo>
                    <a:pt x="712" y="260"/>
                    <a:pt x="714" y="265"/>
                    <a:pt x="720" y="265"/>
                  </a:cubicBezTo>
                  <a:cubicBezTo>
                    <a:pt x="726" y="265"/>
                    <a:pt x="735" y="260"/>
                    <a:pt x="738" y="255"/>
                  </a:cubicBezTo>
                  <a:cubicBezTo>
                    <a:pt x="742" y="249"/>
                    <a:pt x="740" y="245"/>
                    <a:pt x="734" y="245"/>
                  </a:cubicBezTo>
                  <a:cubicBezTo>
                    <a:pt x="734" y="245"/>
                    <a:pt x="734" y="245"/>
                    <a:pt x="734" y="245"/>
                  </a:cubicBezTo>
                  <a:moveTo>
                    <a:pt x="766" y="244"/>
                  </a:moveTo>
                  <a:cubicBezTo>
                    <a:pt x="760" y="244"/>
                    <a:pt x="752" y="249"/>
                    <a:pt x="748" y="255"/>
                  </a:cubicBezTo>
                  <a:cubicBezTo>
                    <a:pt x="744" y="260"/>
                    <a:pt x="746" y="265"/>
                    <a:pt x="753" y="265"/>
                  </a:cubicBezTo>
                  <a:cubicBezTo>
                    <a:pt x="759" y="265"/>
                    <a:pt x="767" y="260"/>
                    <a:pt x="771" y="254"/>
                  </a:cubicBezTo>
                  <a:cubicBezTo>
                    <a:pt x="774" y="249"/>
                    <a:pt x="772" y="244"/>
                    <a:pt x="766" y="244"/>
                  </a:cubicBezTo>
                  <a:cubicBezTo>
                    <a:pt x="766" y="244"/>
                    <a:pt x="766" y="244"/>
                    <a:pt x="766" y="244"/>
                  </a:cubicBezTo>
                  <a:moveTo>
                    <a:pt x="798" y="244"/>
                  </a:moveTo>
                  <a:cubicBezTo>
                    <a:pt x="792" y="244"/>
                    <a:pt x="784" y="249"/>
                    <a:pt x="780" y="254"/>
                  </a:cubicBezTo>
                  <a:cubicBezTo>
                    <a:pt x="777" y="260"/>
                    <a:pt x="779" y="264"/>
                    <a:pt x="785" y="264"/>
                  </a:cubicBezTo>
                  <a:cubicBezTo>
                    <a:pt x="791" y="264"/>
                    <a:pt x="799" y="260"/>
                    <a:pt x="803" y="254"/>
                  </a:cubicBezTo>
                  <a:cubicBezTo>
                    <a:pt x="807" y="249"/>
                    <a:pt x="805" y="244"/>
                    <a:pt x="798" y="244"/>
                  </a:cubicBezTo>
                  <a:cubicBezTo>
                    <a:pt x="798" y="244"/>
                    <a:pt x="798" y="244"/>
                    <a:pt x="798" y="244"/>
                  </a:cubicBezTo>
                  <a:moveTo>
                    <a:pt x="830" y="244"/>
                  </a:moveTo>
                  <a:cubicBezTo>
                    <a:pt x="824" y="244"/>
                    <a:pt x="816" y="248"/>
                    <a:pt x="813" y="254"/>
                  </a:cubicBezTo>
                  <a:cubicBezTo>
                    <a:pt x="809" y="260"/>
                    <a:pt x="811" y="264"/>
                    <a:pt x="817" y="264"/>
                  </a:cubicBezTo>
                  <a:cubicBezTo>
                    <a:pt x="824" y="264"/>
                    <a:pt x="832" y="259"/>
                    <a:pt x="835" y="254"/>
                  </a:cubicBezTo>
                  <a:cubicBezTo>
                    <a:pt x="839" y="248"/>
                    <a:pt x="837" y="244"/>
                    <a:pt x="831" y="244"/>
                  </a:cubicBezTo>
                  <a:cubicBezTo>
                    <a:pt x="830" y="244"/>
                    <a:pt x="830" y="244"/>
                    <a:pt x="830" y="244"/>
                  </a:cubicBezTo>
                  <a:moveTo>
                    <a:pt x="863" y="243"/>
                  </a:moveTo>
                  <a:cubicBezTo>
                    <a:pt x="857" y="244"/>
                    <a:pt x="849" y="248"/>
                    <a:pt x="845" y="254"/>
                  </a:cubicBezTo>
                  <a:cubicBezTo>
                    <a:pt x="842" y="259"/>
                    <a:pt x="844" y="264"/>
                    <a:pt x="850" y="264"/>
                  </a:cubicBezTo>
                  <a:cubicBezTo>
                    <a:pt x="856" y="264"/>
                    <a:pt x="864" y="259"/>
                    <a:pt x="868" y="254"/>
                  </a:cubicBezTo>
                  <a:cubicBezTo>
                    <a:pt x="871" y="248"/>
                    <a:pt x="869" y="243"/>
                    <a:pt x="863" y="243"/>
                  </a:cubicBezTo>
                  <a:cubicBezTo>
                    <a:pt x="863" y="243"/>
                    <a:pt x="863" y="243"/>
                    <a:pt x="863" y="243"/>
                  </a:cubicBezTo>
                  <a:moveTo>
                    <a:pt x="895" y="243"/>
                  </a:moveTo>
                  <a:cubicBezTo>
                    <a:pt x="889" y="243"/>
                    <a:pt x="881" y="248"/>
                    <a:pt x="878" y="253"/>
                  </a:cubicBezTo>
                  <a:cubicBezTo>
                    <a:pt x="874" y="259"/>
                    <a:pt x="877" y="264"/>
                    <a:pt x="883" y="263"/>
                  </a:cubicBezTo>
                  <a:cubicBezTo>
                    <a:pt x="889" y="263"/>
                    <a:pt x="897" y="259"/>
                    <a:pt x="901" y="253"/>
                  </a:cubicBezTo>
                  <a:cubicBezTo>
                    <a:pt x="904" y="248"/>
                    <a:pt x="902" y="243"/>
                    <a:pt x="896" y="243"/>
                  </a:cubicBezTo>
                  <a:cubicBezTo>
                    <a:pt x="896" y="243"/>
                    <a:pt x="895" y="243"/>
                    <a:pt x="895" y="243"/>
                  </a:cubicBezTo>
                  <a:moveTo>
                    <a:pt x="928" y="243"/>
                  </a:moveTo>
                  <a:cubicBezTo>
                    <a:pt x="921" y="243"/>
                    <a:pt x="914" y="248"/>
                    <a:pt x="910" y="253"/>
                  </a:cubicBezTo>
                  <a:cubicBezTo>
                    <a:pt x="907" y="259"/>
                    <a:pt x="909" y="263"/>
                    <a:pt x="915" y="263"/>
                  </a:cubicBezTo>
                  <a:cubicBezTo>
                    <a:pt x="922" y="263"/>
                    <a:pt x="929" y="259"/>
                    <a:pt x="933" y="253"/>
                  </a:cubicBezTo>
                  <a:cubicBezTo>
                    <a:pt x="936" y="247"/>
                    <a:pt x="934" y="243"/>
                    <a:pt x="928" y="243"/>
                  </a:cubicBezTo>
                  <a:cubicBezTo>
                    <a:pt x="928" y="243"/>
                    <a:pt x="928" y="243"/>
                    <a:pt x="928" y="243"/>
                  </a:cubicBezTo>
                  <a:moveTo>
                    <a:pt x="958" y="243"/>
                  </a:moveTo>
                  <a:cubicBezTo>
                    <a:pt x="952" y="243"/>
                    <a:pt x="944" y="247"/>
                    <a:pt x="941" y="253"/>
                  </a:cubicBezTo>
                  <a:cubicBezTo>
                    <a:pt x="938" y="259"/>
                    <a:pt x="940" y="263"/>
                    <a:pt x="946" y="263"/>
                  </a:cubicBezTo>
                  <a:cubicBezTo>
                    <a:pt x="953" y="263"/>
                    <a:pt x="960" y="258"/>
                    <a:pt x="964" y="253"/>
                  </a:cubicBezTo>
                  <a:cubicBezTo>
                    <a:pt x="967" y="247"/>
                    <a:pt x="964" y="243"/>
                    <a:pt x="958" y="243"/>
                  </a:cubicBezTo>
                  <a:cubicBezTo>
                    <a:pt x="958" y="243"/>
                    <a:pt x="958" y="243"/>
                    <a:pt x="958" y="243"/>
                  </a:cubicBezTo>
                  <a:moveTo>
                    <a:pt x="991" y="242"/>
                  </a:moveTo>
                  <a:cubicBezTo>
                    <a:pt x="985" y="242"/>
                    <a:pt x="977" y="247"/>
                    <a:pt x="974" y="253"/>
                  </a:cubicBezTo>
                  <a:cubicBezTo>
                    <a:pt x="970" y="258"/>
                    <a:pt x="973" y="263"/>
                    <a:pt x="979" y="263"/>
                  </a:cubicBezTo>
                  <a:cubicBezTo>
                    <a:pt x="985" y="263"/>
                    <a:pt x="993" y="258"/>
                    <a:pt x="996" y="252"/>
                  </a:cubicBezTo>
                  <a:cubicBezTo>
                    <a:pt x="999" y="247"/>
                    <a:pt x="997" y="242"/>
                    <a:pt x="991" y="242"/>
                  </a:cubicBezTo>
                  <a:cubicBezTo>
                    <a:pt x="991" y="242"/>
                    <a:pt x="991" y="242"/>
                    <a:pt x="991" y="242"/>
                  </a:cubicBezTo>
                  <a:moveTo>
                    <a:pt x="1313" y="240"/>
                  </a:moveTo>
                  <a:cubicBezTo>
                    <a:pt x="1307" y="240"/>
                    <a:pt x="1300" y="244"/>
                    <a:pt x="1298" y="250"/>
                  </a:cubicBezTo>
                  <a:cubicBezTo>
                    <a:pt x="1295" y="256"/>
                    <a:pt x="1298" y="260"/>
                    <a:pt x="1304" y="260"/>
                  </a:cubicBezTo>
                  <a:cubicBezTo>
                    <a:pt x="1311" y="260"/>
                    <a:pt x="1318" y="255"/>
                    <a:pt x="1320" y="250"/>
                  </a:cubicBezTo>
                  <a:cubicBezTo>
                    <a:pt x="1323" y="244"/>
                    <a:pt x="1320" y="240"/>
                    <a:pt x="1314" y="240"/>
                  </a:cubicBezTo>
                  <a:cubicBezTo>
                    <a:pt x="1314" y="240"/>
                    <a:pt x="1314" y="240"/>
                    <a:pt x="1313" y="240"/>
                  </a:cubicBezTo>
                  <a:moveTo>
                    <a:pt x="1541" y="236"/>
                  </a:moveTo>
                  <a:cubicBezTo>
                    <a:pt x="1535" y="237"/>
                    <a:pt x="1528" y="241"/>
                    <a:pt x="1526" y="247"/>
                  </a:cubicBezTo>
                  <a:cubicBezTo>
                    <a:pt x="1524" y="252"/>
                    <a:pt x="1527" y="257"/>
                    <a:pt x="1533" y="257"/>
                  </a:cubicBezTo>
                  <a:cubicBezTo>
                    <a:pt x="1540" y="257"/>
                    <a:pt x="1546" y="252"/>
                    <a:pt x="1548" y="247"/>
                  </a:cubicBezTo>
                  <a:cubicBezTo>
                    <a:pt x="1550" y="241"/>
                    <a:pt x="1547" y="236"/>
                    <a:pt x="1541" y="236"/>
                  </a:cubicBezTo>
                  <a:cubicBezTo>
                    <a:pt x="1541" y="236"/>
                    <a:pt x="1541" y="236"/>
                    <a:pt x="1541" y="236"/>
                  </a:cubicBezTo>
                  <a:moveTo>
                    <a:pt x="1573" y="236"/>
                  </a:moveTo>
                  <a:cubicBezTo>
                    <a:pt x="1567" y="236"/>
                    <a:pt x="1560" y="241"/>
                    <a:pt x="1558" y="246"/>
                  </a:cubicBezTo>
                  <a:cubicBezTo>
                    <a:pt x="1556" y="252"/>
                    <a:pt x="1559" y="257"/>
                    <a:pt x="1566" y="257"/>
                  </a:cubicBezTo>
                  <a:cubicBezTo>
                    <a:pt x="1572" y="257"/>
                    <a:pt x="1579" y="252"/>
                    <a:pt x="1581" y="246"/>
                  </a:cubicBezTo>
                  <a:cubicBezTo>
                    <a:pt x="1583" y="241"/>
                    <a:pt x="1579" y="236"/>
                    <a:pt x="1573" y="236"/>
                  </a:cubicBezTo>
                  <a:cubicBezTo>
                    <a:pt x="1573" y="236"/>
                    <a:pt x="1573" y="236"/>
                    <a:pt x="1573" y="236"/>
                  </a:cubicBezTo>
                  <a:moveTo>
                    <a:pt x="1605" y="236"/>
                  </a:moveTo>
                  <a:cubicBezTo>
                    <a:pt x="1599" y="236"/>
                    <a:pt x="1592" y="241"/>
                    <a:pt x="1590" y="246"/>
                  </a:cubicBezTo>
                  <a:cubicBezTo>
                    <a:pt x="1588" y="252"/>
                    <a:pt x="1592" y="256"/>
                    <a:pt x="1598" y="256"/>
                  </a:cubicBezTo>
                  <a:cubicBezTo>
                    <a:pt x="1604" y="256"/>
                    <a:pt x="1611" y="252"/>
                    <a:pt x="1613" y="246"/>
                  </a:cubicBezTo>
                  <a:cubicBezTo>
                    <a:pt x="1615" y="240"/>
                    <a:pt x="1611" y="236"/>
                    <a:pt x="1605" y="236"/>
                  </a:cubicBezTo>
                  <a:cubicBezTo>
                    <a:pt x="1605" y="236"/>
                    <a:pt x="1605" y="236"/>
                    <a:pt x="1605" y="236"/>
                  </a:cubicBezTo>
                  <a:moveTo>
                    <a:pt x="2184" y="233"/>
                  </a:moveTo>
                  <a:cubicBezTo>
                    <a:pt x="2177" y="233"/>
                    <a:pt x="2172" y="237"/>
                    <a:pt x="2171" y="243"/>
                  </a:cubicBezTo>
                  <a:cubicBezTo>
                    <a:pt x="2170" y="249"/>
                    <a:pt x="2175" y="253"/>
                    <a:pt x="2181" y="253"/>
                  </a:cubicBezTo>
                  <a:cubicBezTo>
                    <a:pt x="2187" y="253"/>
                    <a:pt x="2193" y="248"/>
                    <a:pt x="2194" y="243"/>
                  </a:cubicBezTo>
                  <a:cubicBezTo>
                    <a:pt x="2194" y="237"/>
                    <a:pt x="2190" y="233"/>
                    <a:pt x="2184" y="233"/>
                  </a:cubicBezTo>
                  <a:cubicBezTo>
                    <a:pt x="2184" y="233"/>
                    <a:pt x="2184" y="233"/>
                    <a:pt x="2184" y="233"/>
                  </a:cubicBezTo>
                  <a:moveTo>
                    <a:pt x="2216" y="232"/>
                  </a:moveTo>
                  <a:cubicBezTo>
                    <a:pt x="2210" y="232"/>
                    <a:pt x="2204" y="237"/>
                    <a:pt x="2204" y="243"/>
                  </a:cubicBezTo>
                  <a:cubicBezTo>
                    <a:pt x="2203" y="248"/>
                    <a:pt x="2208" y="253"/>
                    <a:pt x="2214" y="253"/>
                  </a:cubicBezTo>
                  <a:cubicBezTo>
                    <a:pt x="2220" y="253"/>
                    <a:pt x="2226" y="248"/>
                    <a:pt x="2226" y="243"/>
                  </a:cubicBezTo>
                  <a:cubicBezTo>
                    <a:pt x="2227" y="237"/>
                    <a:pt x="2223" y="232"/>
                    <a:pt x="2216" y="232"/>
                  </a:cubicBezTo>
                  <a:cubicBezTo>
                    <a:pt x="2216" y="232"/>
                    <a:pt x="2216" y="232"/>
                    <a:pt x="2216" y="232"/>
                  </a:cubicBezTo>
                  <a:moveTo>
                    <a:pt x="2313" y="231"/>
                  </a:moveTo>
                  <a:cubicBezTo>
                    <a:pt x="2306" y="231"/>
                    <a:pt x="2301" y="235"/>
                    <a:pt x="2301" y="241"/>
                  </a:cubicBezTo>
                  <a:cubicBezTo>
                    <a:pt x="2300" y="247"/>
                    <a:pt x="2305" y="251"/>
                    <a:pt x="2311" y="251"/>
                  </a:cubicBezTo>
                  <a:cubicBezTo>
                    <a:pt x="2317" y="251"/>
                    <a:pt x="2323" y="246"/>
                    <a:pt x="2323" y="241"/>
                  </a:cubicBezTo>
                  <a:cubicBezTo>
                    <a:pt x="2323" y="235"/>
                    <a:pt x="2319" y="231"/>
                    <a:pt x="2313" y="231"/>
                  </a:cubicBezTo>
                  <a:cubicBezTo>
                    <a:pt x="2313" y="231"/>
                    <a:pt x="2313" y="231"/>
                    <a:pt x="2313" y="231"/>
                  </a:cubicBezTo>
                  <a:moveTo>
                    <a:pt x="2249" y="230"/>
                  </a:moveTo>
                  <a:cubicBezTo>
                    <a:pt x="2243" y="230"/>
                    <a:pt x="2237" y="235"/>
                    <a:pt x="2237" y="241"/>
                  </a:cubicBezTo>
                  <a:cubicBezTo>
                    <a:pt x="2236" y="246"/>
                    <a:pt x="2241" y="251"/>
                    <a:pt x="2247" y="251"/>
                  </a:cubicBezTo>
                  <a:cubicBezTo>
                    <a:pt x="2253" y="251"/>
                    <a:pt x="2259" y="246"/>
                    <a:pt x="2259" y="241"/>
                  </a:cubicBezTo>
                  <a:cubicBezTo>
                    <a:pt x="2260" y="235"/>
                    <a:pt x="2255" y="230"/>
                    <a:pt x="2249" y="230"/>
                  </a:cubicBezTo>
                  <a:cubicBezTo>
                    <a:pt x="2249" y="230"/>
                    <a:pt x="2249" y="230"/>
                    <a:pt x="2249" y="230"/>
                  </a:cubicBezTo>
                  <a:moveTo>
                    <a:pt x="2281" y="230"/>
                  </a:moveTo>
                  <a:cubicBezTo>
                    <a:pt x="2275" y="230"/>
                    <a:pt x="2269" y="235"/>
                    <a:pt x="2269" y="240"/>
                  </a:cubicBezTo>
                  <a:cubicBezTo>
                    <a:pt x="2268" y="246"/>
                    <a:pt x="2273" y="251"/>
                    <a:pt x="2279" y="251"/>
                  </a:cubicBezTo>
                  <a:cubicBezTo>
                    <a:pt x="2285" y="251"/>
                    <a:pt x="2291" y="246"/>
                    <a:pt x="2291" y="240"/>
                  </a:cubicBezTo>
                  <a:cubicBezTo>
                    <a:pt x="2292" y="235"/>
                    <a:pt x="2287" y="230"/>
                    <a:pt x="2281" y="230"/>
                  </a:cubicBezTo>
                  <a:cubicBezTo>
                    <a:pt x="2281" y="230"/>
                    <a:pt x="2281" y="230"/>
                    <a:pt x="2281" y="230"/>
                  </a:cubicBezTo>
                  <a:moveTo>
                    <a:pt x="2378" y="229"/>
                  </a:moveTo>
                  <a:cubicBezTo>
                    <a:pt x="2371" y="229"/>
                    <a:pt x="2366" y="234"/>
                    <a:pt x="2366" y="240"/>
                  </a:cubicBezTo>
                  <a:cubicBezTo>
                    <a:pt x="2365" y="245"/>
                    <a:pt x="2370" y="250"/>
                    <a:pt x="2377" y="250"/>
                  </a:cubicBezTo>
                  <a:cubicBezTo>
                    <a:pt x="2383" y="250"/>
                    <a:pt x="2388" y="245"/>
                    <a:pt x="2388" y="239"/>
                  </a:cubicBezTo>
                  <a:cubicBezTo>
                    <a:pt x="2389" y="234"/>
                    <a:pt x="2384" y="229"/>
                    <a:pt x="2378" y="229"/>
                  </a:cubicBezTo>
                  <a:cubicBezTo>
                    <a:pt x="2378" y="229"/>
                    <a:pt x="2378" y="229"/>
                    <a:pt x="2378" y="229"/>
                  </a:cubicBezTo>
                  <a:moveTo>
                    <a:pt x="2410" y="229"/>
                  </a:moveTo>
                  <a:cubicBezTo>
                    <a:pt x="2403" y="229"/>
                    <a:pt x="2398" y="234"/>
                    <a:pt x="2398" y="239"/>
                  </a:cubicBezTo>
                  <a:cubicBezTo>
                    <a:pt x="2398" y="245"/>
                    <a:pt x="2403" y="249"/>
                    <a:pt x="2409" y="249"/>
                  </a:cubicBezTo>
                  <a:cubicBezTo>
                    <a:pt x="2415" y="249"/>
                    <a:pt x="2420" y="245"/>
                    <a:pt x="2420" y="239"/>
                  </a:cubicBezTo>
                  <a:cubicBezTo>
                    <a:pt x="2421" y="233"/>
                    <a:pt x="2416" y="229"/>
                    <a:pt x="2410" y="229"/>
                  </a:cubicBezTo>
                  <a:cubicBezTo>
                    <a:pt x="2410" y="229"/>
                    <a:pt x="2410" y="229"/>
                    <a:pt x="2410" y="229"/>
                  </a:cubicBezTo>
                  <a:moveTo>
                    <a:pt x="2441" y="229"/>
                  </a:moveTo>
                  <a:cubicBezTo>
                    <a:pt x="2435" y="229"/>
                    <a:pt x="2430" y="233"/>
                    <a:pt x="2430" y="239"/>
                  </a:cubicBezTo>
                  <a:cubicBezTo>
                    <a:pt x="2430" y="245"/>
                    <a:pt x="2435" y="249"/>
                    <a:pt x="2441" y="249"/>
                  </a:cubicBezTo>
                  <a:cubicBezTo>
                    <a:pt x="2447" y="249"/>
                    <a:pt x="2452" y="244"/>
                    <a:pt x="2453" y="239"/>
                  </a:cubicBezTo>
                  <a:cubicBezTo>
                    <a:pt x="2453" y="233"/>
                    <a:pt x="2448" y="229"/>
                    <a:pt x="2442" y="229"/>
                  </a:cubicBezTo>
                  <a:cubicBezTo>
                    <a:pt x="2442" y="229"/>
                    <a:pt x="2442" y="229"/>
                    <a:pt x="2441" y="229"/>
                  </a:cubicBezTo>
                  <a:moveTo>
                    <a:pt x="2473" y="228"/>
                  </a:moveTo>
                  <a:cubicBezTo>
                    <a:pt x="2467" y="228"/>
                    <a:pt x="2462" y="233"/>
                    <a:pt x="2462" y="239"/>
                  </a:cubicBezTo>
                  <a:cubicBezTo>
                    <a:pt x="2462" y="244"/>
                    <a:pt x="2467" y="249"/>
                    <a:pt x="2473" y="249"/>
                  </a:cubicBezTo>
                  <a:cubicBezTo>
                    <a:pt x="2479" y="249"/>
                    <a:pt x="2484" y="244"/>
                    <a:pt x="2484" y="239"/>
                  </a:cubicBezTo>
                  <a:cubicBezTo>
                    <a:pt x="2484" y="233"/>
                    <a:pt x="2479" y="228"/>
                    <a:pt x="2473" y="228"/>
                  </a:cubicBezTo>
                  <a:cubicBezTo>
                    <a:pt x="2473" y="228"/>
                    <a:pt x="2473" y="228"/>
                    <a:pt x="2473" y="228"/>
                  </a:cubicBezTo>
                  <a:moveTo>
                    <a:pt x="2505" y="228"/>
                  </a:moveTo>
                  <a:cubicBezTo>
                    <a:pt x="2499" y="228"/>
                    <a:pt x="2494" y="233"/>
                    <a:pt x="2494" y="238"/>
                  </a:cubicBezTo>
                  <a:cubicBezTo>
                    <a:pt x="2494" y="244"/>
                    <a:pt x="2499" y="249"/>
                    <a:pt x="2505" y="249"/>
                  </a:cubicBezTo>
                  <a:cubicBezTo>
                    <a:pt x="2511" y="249"/>
                    <a:pt x="2516" y="244"/>
                    <a:pt x="2516" y="238"/>
                  </a:cubicBezTo>
                  <a:cubicBezTo>
                    <a:pt x="2516" y="233"/>
                    <a:pt x="2511" y="228"/>
                    <a:pt x="2505" y="228"/>
                  </a:cubicBezTo>
                  <a:cubicBezTo>
                    <a:pt x="2505" y="228"/>
                    <a:pt x="2505" y="228"/>
                    <a:pt x="2505" y="228"/>
                  </a:cubicBezTo>
                  <a:moveTo>
                    <a:pt x="2537" y="228"/>
                  </a:moveTo>
                  <a:cubicBezTo>
                    <a:pt x="2530" y="228"/>
                    <a:pt x="2525" y="233"/>
                    <a:pt x="2526" y="238"/>
                  </a:cubicBezTo>
                  <a:cubicBezTo>
                    <a:pt x="2526" y="244"/>
                    <a:pt x="2531" y="248"/>
                    <a:pt x="2537" y="248"/>
                  </a:cubicBezTo>
                  <a:cubicBezTo>
                    <a:pt x="2543" y="248"/>
                    <a:pt x="2548" y="244"/>
                    <a:pt x="2548" y="238"/>
                  </a:cubicBezTo>
                  <a:cubicBezTo>
                    <a:pt x="2548" y="232"/>
                    <a:pt x="2543" y="228"/>
                    <a:pt x="2537" y="228"/>
                  </a:cubicBezTo>
                  <a:cubicBezTo>
                    <a:pt x="2537" y="228"/>
                    <a:pt x="2537" y="228"/>
                    <a:pt x="2537" y="228"/>
                  </a:cubicBezTo>
                  <a:moveTo>
                    <a:pt x="2571" y="228"/>
                  </a:moveTo>
                  <a:cubicBezTo>
                    <a:pt x="2565" y="228"/>
                    <a:pt x="2560" y="232"/>
                    <a:pt x="2560" y="238"/>
                  </a:cubicBezTo>
                  <a:cubicBezTo>
                    <a:pt x="2560" y="244"/>
                    <a:pt x="2565" y="248"/>
                    <a:pt x="2571" y="248"/>
                  </a:cubicBezTo>
                  <a:cubicBezTo>
                    <a:pt x="2578" y="248"/>
                    <a:pt x="2583" y="243"/>
                    <a:pt x="2582" y="238"/>
                  </a:cubicBezTo>
                  <a:cubicBezTo>
                    <a:pt x="2582" y="232"/>
                    <a:pt x="2577" y="228"/>
                    <a:pt x="2571" y="228"/>
                  </a:cubicBezTo>
                  <a:cubicBezTo>
                    <a:pt x="2571" y="228"/>
                    <a:pt x="2571" y="228"/>
                    <a:pt x="2571" y="228"/>
                  </a:cubicBezTo>
                  <a:moveTo>
                    <a:pt x="2603" y="227"/>
                  </a:moveTo>
                  <a:cubicBezTo>
                    <a:pt x="2597" y="227"/>
                    <a:pt x="2592" y="232"/>
                    <a:pt x="2592" y="238"/>
                  </a:cubicBezTo>
                  <a:cubicBezTo>
                    <a:pt x="2592" y="243"/>
                    <a:pt x="2597" y="248"/>
                    <a:pt x="2604" y="248"/>
                  </a:cubicBezTo>
                  <a:cubicBezTo>
                    <a:pt x="2610" y="248"/>
                    <a:pt x="2615" y="243"/>
                    <a:pt x="2615" y="237"/>
                  </a:cubicBezTo>
                  <a:cubicBezTo>
                    <a:pt x="2614" y="232"/>
                    <a:pt x="2609" y="227"/>
                    <a:pt x="2603" y="227"/>
                  </a:cubicBezTo>
                  <a:cubicBezTo>
                    <a:pt x="2603" y="227"/>
                    <a:pt x="2603" y="227"/>
                    <a:pt x="2603" y="227"/>
                  </a:cubicBezTo>
                  <a:moveTo>
                    <a:pt x="2635" y="227"/>
                  </a:moveTo>
                  <a:cubicBezTo>
                    <a:pt x="2629" y="227"/>
                    <a:pt x="2624" y="232"/>
                    <a:pt x="2624" y="237"/>
                  </a:cubicBezTo>
                  <a:cubicBezTo>
                    <a:pt x="2624" y="243"/>
                    <a:pt x="2630" y="248"/>
                    <a:pt x="2636" y="247"/>
                  </a:cubicBezTo>
                  <a:cubicBezTo>
                    <a:pt x="2642" y="247"/>
                    <a:pt x="2647" y="243"/>
                    <a:pt x="2647" y="237"/>
                  </a:cubicBezTo>
                  <a:cubicBezTo>
                    <a:pt x="2646" y="232"/>
                    <a:pt x="2641" y="227"/>
                    <a:pt x="2635" y="227"/>
                  </a:cubicBezTo>
                  <a:cubicBezTo>
                    <a:pt x="2635" y="227"/>
                    <a:pt x="2635" y="227"/>
                    <a:pt x="2635" y="227"/>
                  </a:cubicBezTo>
                  <a:moveTo>
                    <a:pt x="2666" y="227"/>
                  </a:moveTo>
                  <a:cubicBezTo>
                    <a:pt x="2660" y="227"/>
                    <a:pt x="2655" y="231"/>
                    <a:pt x="2656" y="237"/>
                  </a:cubicBezTo>
                  <a:cubicBezTo>
                    <a:pt x="2656" y="243"/>
                    <a:pt x="2661" y="247"/>
                    <a:pt x="2668" y="247"/>
                  </a:cubicBezTo>
                  <a:cubicBezTo>
                    <a:pt x="2674" y="247"/>
                    <a:pt x="2679" y="243"/>
                    <a:pt x="2678" y="237"/>
                  </a:cubicBezTo>
                  <a:cubicBezTo>
                    <a:pt x="2678" y="231"/>
                    <a:pt x="2673" y="227"/>
                    <a:pt x="2667" y="227"/>
                  </a:cubicBezTo>
                  <a:cubicBezTo>
                    <a:pt x="2667" y="227"/>
                    <a:pt x="2666" y="227"/>
                    <a:pt x="2666" y="227"/>
                  </a:cubicBezTo>
                  <a:moveTo>
                    <a:pt x="2698" y="226"/>
                  </a:moveTo>
                  <a:cubicBezTo>
                    <a:pt x="2692" y="227"/>
                    <a:pt x="2687" y="231"/>
                    <a:pt x="2688" y="237"/>
                  </a:cubicBezTo>
                  <a:cubicBezTo>
                    <a:pt x="2688" y="242"/>
                    <a:pt x="2694" y="247"/>
                    <a:pt x="2700" y="247"/>
                  </a:cubicBezTo>
                  <a:cubicBezTo>
                    <a:pt x="2706" y="247"/>
                    <a:pt x="2711" y="242"/>
                    <a:pt x="2710" y="237"/>
                  </a:cubicBezTo>
                  <a:cubicBezTo>
                    <a:pt x="2710" y="231"/>
                    <a:pt x="2705" y="226"/>
                    <a:pt x="2698" y="226"/>
                  </a:cubicBezTo>
                  <a:cubicBezTo>
                    <a:pt x="2698" y="226"/>
                    <a:pt x="2698" y="226"/>
                    <a:pt x="2698" y="226"/>
                  </a:cubicBezTo>
                  <a:moveTo>
                    <a:pt x="2731" y="226"/>
                  </a:moveTo>
                  <a:cubicBezTo>
                    <a:pt x="2724" y="226"/>
                    <a:pt x="2720" y="231"/>
                    <a:pt x="2720" y="237"/>
                  </a:cubicBezTo>
                  <a:cubicBezTo>
                    <a:pt x="2721" y="242"/>
                    <a:pt x="2726" y="247"/>
                    <a:pt x="2732" y="247"/>
                  </a:cubicBezTo>
                  <a:cubicBezTo>
                    <a:pt x="2739" y="247"/>
                    <a:pt x="2743" y="242"/>
                    <a:pt x="2743" y="236"/>
                  </a:cubicBezTo>
                  <a:cubicBezTo>
                    <a:pt x="2742" y="231"/>
                    <a:pt x="2737" y="226"/>
                    <a:pt x="2731" y="226"/>
                  </a:cubicBezTo>
                  <a:cubicBezTo>
                    <a:pt x="2731" y="226"/>
                    <a:pt x="2731" y="226"/>
                    <a:pt x="2731" y="226"/>
                  </a:cubicBezTo>
                  <a:moveTo>
                    <a:pt x="2923" y="226"/>
                  </a:moveTo>
                  <a:cubicBezTo>
                    <a:pt x="2917" y="226"/>
                    <a:pt x="2913" y="231"/>
                    <a:pt x="2913" y="236"/>
                  </a:cubicBezTo>
                  <a:cubicBezTo>
                    <a:pt x="2914" y="242"/>
                    <a:pt x="2920" y="247"/>
                    <a:pt x="2926" y="247"/>
                  </a:cubicBezTo>
                  <a:cubicBezTo>
                    <a:pt x="2933" y="246"/>
                    <a:pt x="2937" y="242"/>
                    <a:pt x="2936" y="236"/>
                  </a:cubicBezTo>
                  <a:cubicBezTo>
                    <a:pt x="2935" y="231"/>
                    <a:pt x="2929" y="226"/>
                    <a:pt x="2923" y="226"/>
                  </a:cubicBezTo>
                  <a:cubicBezTo>
                    <a:pt x="2923" y="226"/>
                    <a:pt x="2923" y="226"/>
                    <a:pt x="2923" y="226"/>
                  </a:cubicBezTo>
                  <a:moveTo>
                    <a:pt x="2763" y="226"/>
                  </a:moveTo>
                  <a:cubicBezTo>
                    <a:pt x="2757" y="226"/>
                    <a:pt x="2752" y="231"/>
                    <a:pt x="2753" y="236"/>
                  </a:cubicBezTo>
                  <a:cubicBezTo>
                    <a:pt x="2753" y="242"/>
                    <a:pt x="2759" y="246"/>
                    <a:pt x="2765" y="246"/>
                  </a:cubicBezTo>
                  <a:cubicBezTo>
                    <a:pt x="2771" y="246"/>
                    <a:pt x="2776" y="242"/>
                    <a:pt x="2775" y="236"/>
                  </a:cubicBezTo>
                  <a:cubicBezTo>
                    <a:pt x="2775" y="230"/>
                    <a:pt x="2769" y="226"/>
                    <a:pt x="2763" y="226"/>
                  </a:cubicBezTo>
                  <a:cubicBezTo>
                    <a:pt x="2763" y="226"/>
                    <a:pt x="2763" y="226"/>
                    <a:pt x="2763" y="226"/>
                  </a:cubicBezTo>
                  <a:moveTo>
                    <a:pt x="2954" y="226"/>
                  </a:moveTo>
                  <a:cubicBezTo>
                    <a:pt x="2947" y="226"/>
                    <a:pt x="2943" y="230"/>
                    <a:pt x="2944" y="236"/>
                  </a:cubicBezTo>
                  <a:cubicBezTo>
                    <a:pt x="2945" y="242"/>
                    <a:pt x="2951" y="246"/>
                    <a:pt x="2957" y="246"/>
                  </a:cubicBezTo>
                  <a:cubicBezTo>
                    <a:pt x="2963" y="246"/>
                    <a:pt x="2968" y="242"/>
                    <a:pt x="2967" y="236"/>
                  </a:cubicBezTo>
                  <a:cubicBezTo>
                    <a:pt x="2966" y="230"/>
                    <a:pt x="2960" y="226"/>
                    <a:pt x="2954" y="226"/>
                  </a:cubicBezTo>
                  <a:cubicBezTo>
                    <a:pt x="2954" y="226"/>
                    <a:pt x="2954" y="226"/>
                    <a:pt x="2954" y="226"/>
                  </a:cubicBezTo>
                  <a:moveTo>
                    <a:pt x="2795" y="226"/>
                  </a:moveTo>
                  <a:cubicBezTo>
                    <a:pt x="2789" y="226"/>
                    <a:pt x="2784" y="230"/>
                    <a:pt x="2785" y="236"/>
                  </a:cubicBezTo>
                  <a:cubicBezTo>
                    <a:pt x="2785" y="242"/>
                    <a:pt x="2791" y="246"/>
                    <a:pt x="2797" y="246"/>
                  </a:cubicBezTo>
                  <a:cubicBezTo>
                    <a:pt x="2803" y="246"/>
                    <a:pt x="2808" y="241"/>
                    <a:pt x="2807" y="236"/>
                  </a:cubicBezTo>
                  <a:cubicBezTo>
                    <a:pt x="2807" y="230"/>
                    <a:pt x="2801" y="226"/>
                    <a:pt x="2795" y="226"/>
                  </a:cubicBezTo>
                  <a:cubicBezTo>
                    <a:pt x="2795" y="226"/>
                    <a:pt x="2795" y="226"/>
                    <a:pt x="2795" y="226"/>
                  </a:cubicBezTo>
                  <a:moveTo>
                    <a:pt x="2986" y="226"/>
                  </a:moveTo>
                  <a:cubicBezTo>
                    <a:pt x="2979" y="226"/>
                    <a:pt x="2975" y="230"/>
                    <a:pt x="2976" y="236"/>
                  </a:cubicBezTo>
                  <a:cubicBezTo>
                    <a:pt x="2977" y="242"/>
                    <a:pt x="2983" y="246"/>
                    <a:pt x="2989" y="246"/>
                  </a:cubicBezTo>
                  <a:cubicBezTo>
                    <a:pt x="2996" y="246"/>
                    <a:pt x="3000" y="241"/>
                    <a:pt x="2999" y="236"/>
                  </a:cubicBezTo>
                  <a:cubicBezTo>
                    <a:pt x="2998" y="230"/>
                    <a:pt x="2992" y="226"/>
                    <a:pt x="2986" y="226"/>
                  </a:cubicBezTo>
                  <a:cubicBezTo>
                    <a:pt x="2986" y="226"/>
                    <a:pt x="2986" y="226"/>
                    <a:pt x="2986" y="226"/>
                  </a:cubicBezTo>
                  <a:moveTo>
                    <a:pt x="2827" y="225"/>
                  </a:moveTo>
                  <a:cubicBezTo>
                    <a:pt x="2821" y="225"/>
                    <a:pt x="2816" y="230"/>
                    <a:pt x="2817" y="236"/>
                  </a:cubicBezTo>
                  <a:cubicBezTo>
                    <a:pt x="2818" y="241"/>
                    <a:pt x="2823" y="246"/>
                    <a:pt x="2830" y="246"/>
                  </a:cubicBezTo>
                  <a:cubicBezTo>
                    <a:pt x="2836" y="246"/>
                    <a:pt x="2840" y="241"/>
                    <a:pt x="2840" y="236"/>
                  </a:cubicBezTo>
                  <a:cubicBezTo>
                    <a:pt x="2839" y="230"/>
                    <a:pt x="2833" y="225"/>
                    <a:pt x="2827" y="225"/>
                  </a:cubicBezTo>
                  <a:cubicBezTo>
                    <a:pt x="2827" y="225"/>
                    <a:pt x="2827" y="225"/>
                    <a:pt x="2827" y="225"/>
                  </a:cubicBezTo>
                  <a:moveTo>
                    <a:pt x="3018" y="225"/>
                  </a:moveTo>
                  <a:cubicBezTo>
                    <a:pt x="3011" y="225"/>
                    <a:pt x="3007" y="230"/>
                    <a:pt x="3008" y="236"/>
                  </a:cubicBezTo>
                  <a:cubicBezTo>
                    <a:pt x="3009" y="241"/>
                    <a:pt x="3015" y="246"/>
                    <a:pt x="3022" y="246"/>
                  </a:cubicBezTo>
                  <a:cubicBezTo>
                    <a:pt x="3028" y="246"/>
                    <a:pt x="3032" y="241"/>
                    <a:pt x="3031" y="235"/>
                  </a:cubicBezTo>
                  <a:cubicBezTo>
                    <a:pt x="3030" y="230"/>
                    <a:pt x="3024" y="225"/>
                    <a:pt x="3018" y="225"/>
                  </a:cubicBezTo>
                  <a:cubicBezTo>
                    <a:pt x="3018" y="225"/>
                    <a:pt x="3018" y="225"/>
                    <a:pt x="3018" y="225"/>
                  </a:cubicBezTo>
                  <a:moveTo>
                    <a:pt x="2859" y="225"/>
                  </a:moveTo>
                  <a:cubicBezTo>
                    <a:pt x="2853" y="225"/>
                    <a:pt x="2848" y="230"/>
                    <a:pt x="2849" y="235"/>
                  </a:cubicBezTo>
                  <a:cubicBezTo>
                    <a:pt x="2850" y="241"/>
                    <a:pt x="2855" y="246"/>
                    <a:pt x="2862" y="246"/>
                  </a:cubicBezTo>
                  <a:cubicBezTo>
                    <a:pt x="2868" y="246"/>
                    <a:pt x="2872" y="241"/>
                    <a:pt x="2872" y="235"/>
                  </a:cubicBezTo>
                  <a:cubicBezTo>
                    <a:pt x="2871" y="230"/>
                    <a:pt x="2865" y="225"/>
                    <a:pt x="2859" y="225"/>
                  </a:cubicBezTo>
                  <a:cubicBezTo>
                    <a:pt x="2859" y="225"/>
                    <a:pt x="2859" y="225"/>
                    <a:pt x="2859" y="225"/>
                  </a:cubicBezTo>
                  <a:moveTo>
                    <a:pt x="3051" y="225"/>
                  </a:moveTo>
                  <a:cubicBezTo>
                    <a:pt x="3045" y="225"/>
                    <a:pt x="3040" y="230"/>
                    <a:pt x="3042" y="235"/>
                  </a:cubicBezTo>
                  <a:cubicBezTo>
                    <a:pt x="3043" y="241"/>
                    <a:pt x="3049" y="246"/>
                    <a:pt x="3055" y="245"/>
                  </a:cubicBezTo>
                  <a:cubicBezTo>
                    <a:pt x="3061" y="245"/>
                    <a:pt x="3065" y="241"/>
                    <a:pt x="3064" y="235"/>
                  </a:cubicBezTo>
                  <a:cubicBezTo>
                    <a:pt x="3063" y="229"/>
                    <a:pt x="3057" y="225"/>
                    <a:pt x="3051" y="225"/>
                  </a:cubicBezTo>
                  <a:cubicBezTo>
                    <a:pt x="3051" y="225"/>
                    <a:pt x="3051" y="225"/>
                    <a:pt x="3051" y="225"/>
                  </a:cubicBezTo>
                  <a:moveTo>
                    <a:pt x="2891" y="225"/>
                  </a:moveTo>
                  <a:cubicBezTo>
                    <a:pt x="2885" y="225"/>
                    <a:pt x="2880" y="229"/>
                    <a:pt x="2881" y="235"/>
                  </a:cubicBezTo>
                  <a:cubicBezTo>
                    <a:pt x="2882" y="241"/>
                    <a:pt x="2888" y="245"/>
                    <a:pt x="2894" y="245"/>
                  </a:cubicBezTo>
                  <a:cubicBezTo>
                    <a:pt x="2900" y="245"/>
                    <a:pt x="2905" y="241"/>
                    <a:pt x="2904" y="235"/>
                  </a:cubicBezTo>
                  <a:cubicBezTo>
                    <a:pt x="2903" y="229"/>
                    <a:pt x="2897" y="225"/>
                    <a:pt x="2891" y="225"/>
                  </a:cubicBezTo>
                  <a:cubicBezTo>
                    <a:pt x="2891" y="225"/>
                    <a:pt x="2891" y="225"/>
                    <a:pt x="2891" y="225"/>
                  </a:cubicBezTo>
                  <a:moveTo>
                    <a:pt x="3083" y="225"/>
                  </a:moveTo>
                  <a:cubicBezTo>
                    <a:pt x="3077" y="225"/>
                    <a:pt x="3072" y="229"/>
                    <a:pt x="3074" y="235"/>
                  </a:cubicBezTo>
                  <a:cubicBezTo>
                    <a:pt x="3075" y="241"/>
                    <a:pt x="3081" y="245"/>
                    <a:pt x="3087" y="245"/>
                  </a:cubicBezTo>
                  <a:cubicBezTo>
                    <a:pt x="3093" y="245"/>
                    <a:pt x="3097" y="241"/>
                    <a:pt x="3096" y="235"/>
                  </a:cubicBezTo>
                  <a:cubicBezTo>
                    <a:pt x="3095" y="229"/>
                    <a:pt x="3089" y="225"/>
                    <a:pt x="3083" y="225"/>
                  </a:cubicBezTo>
                  <a:cubicBezTo>
                    <a:pt x="3083" y="225"/>
                    <a:pt x="3083" y="225"/>
                    <a:pt x="3083" y="225"/>
                  </a:cubicBezTo>
                  <a:moveTo>
                    <a:pt x="3115" y="224"/>
                  </a:moveTo>
                  <a:cubicBezTo>
                    <a:pt x="3109" y="224"/>
                    <a:pt x="3105" y="229"/>
                    <a:pt x="3106" y="235"/>
                  </a:cubicBezTo>
                  <a:cubicBezTo>
                    <a:pt x="3107" y="240"/>
                    <a:pt x="3113" y="245"/>
                    <a:pt x="3120" y="245"/>
                  </a:cubicBezTo>
                  <a:cubicBezTo>
                    <a:pt x="3126" y="245"/>
                    <a:pt x="3130" y="240"/>
                    <a:pt x="3129" y="235"/>
                  </a:cubicBezTo>
                  <a:cubicBezTo>
                    <a:pt x="3127" y="229"/>
                    <a:pt x="3121" y="224"/>
                    <a:pt x="3115" y="224"/>
                  </a:cubicBezTo>
                  <a:cubicBezTo>
                    <a:pt x="3115" y="224"/>
                    <a:pt x="3115" y="224"/>
                    <a:pt x="3115" y="224"/>
                  </a:cubicBezTo>
                  <a:moveTo>
                    <a:pt x="3147" y="224"/>
                  </a:moveTo>
                  <a:cubicBezTo>
                    <a:pt x="3141" y="224"/>
                    <a:pt x="3137" y="229"/>
                    <a:pt x="3139" y="234"/>
                  </a:cubicBezTo>
                  <a:cubicBezTo>
                    <a:pt x="3140" y="240"/>
                    <a:pt x="3146" y="245"/>
                    <a:pt x="3152" y="245"/>
                  </a:cubicBezTo>
                  <a:cubicBezTo>
                    <a:pt x="3159" y="245"/>
                    <a:pt x="3162" y="240"/>
                    <a:pt x="3161" y="234"/>
                  </a:cubicBezTo>
                  <a:cubicBezTo>
                    <a:pt x="3160" y="229"/>
                    <a:pt x="3154" y="224"/>
                    <a:pt x="3147" y="224"/>
                  </a:cubicBezTo>
                  <a:cubicBezTo>
                    <a:pt x="3147" y="224"/>
                    <a:pt x="3147" y="224"/>
                    <a:pt x="3147" y="224"/>
                  </a:cubicBezTo>
                  <a:moveTo>
                    <a:pt x="3179" y="224"/>
                  </a:moveTo>
                  <a:cubicBezTo>
                    <a:pt x="3173" y="224"/>
                    <a:pt x="3169" y="229"/>
                    <a:pt x="3171" y="234"/>
                  </a:cubicBezTo>
                  <a:cubicBezTo>
                    <a:pt x="3172" y="240"/>
                    <a:pt x="3178" y="244"/>
                    <a:pt x="3184" y="244"/>
                  </a:cubicBezTo>
                  <a:cubicBezTo>
                    <a:pt x="3191" y="244"/>
                    <a:pt x="3195" y="240"/>
                    <a:pt x="3193" y="234"/>
                  </a:cubicBezTo>
                  <a:cubicBezTo>
                    <a:pt x="3192" y="228"/>
                    <a:pt x="3185" y="224"/>
                    <a:pt x="3179" y="224"/>
                  </a:cubicBezTo>
                  <a:cubicBezTo>
                    <a:pt x="3179" y="224"/>
                    <a:pt x="3179" y="224"/>
                    <a:pt x="3179" y="224"/>
                  </a:cubicBezTo>
                  <a:moveTo>
                    <a:pt x="3211" y="224"/>
                  </a:moveTo>
                  <a:cubicBezTo>
                    <a:pt x="3205" y="224"/>
                    <a:pt x="3201" y="228"/>
                    <a:pt x="3203" y="234"/>
                  </a:cubicBezTo>
                  <a:cubicBezTo>
                    <a:pt x="3204" y="240"/>
                    <a:pt x="3211" y="244"/>
                    <a:pt x="3217" y="244"/>
                  </a:cubicBezTo>
                  <a:cubicBezTo>
                    <a:pt x="3223" y="244"/>
                    <a:pt x="3227" y="239"/>
                    <a:pt x="3225" y="234"/>
                  </a:cubicBezTo>
                  <a:cubicBezTo>
                    <a:pt x="3224" y="228"/>
                    <a:pt x="3218" y="224"/>
                    <a:pt x="3211" y="224"/>
                  </a:cubicBezTo>
                  <a:cubicBezTo>
                    <a:pt x="3211" y="224"/>
                    <a:pt x="3211" y="224"/>
                    <a:pt x="3211" y="224"/>
                  </a:cubicBezTo>
                  <a:moveTo>
                    <a:pt x="3243" y="223"/>
                  </a:moveTo>
                  <a:cubicBezTo>
                    <a:pt x="3237" y="223"/>
                    <a:pt x="3233" y="228"/>
                    <a:pt x="3235" y="234"/>
                  </a:cubicBezTo>
                  <a:cubicBezTo>
                    <a:pt x="3236" y="239"/>
                    <a:pt x="3243" y="244"/>
                    <a:pt x="3249" y="244"/>
                  </a:cubicBezTo>
                  <a:cubicBezTo>
                    <a:pt x="3255" y="244"/>
                    <a:pt x="3259" y="239"/>
                    <a:pt x="3257" y="233"/>
                  </a:cubicBezTo>
                  <a:cubicBezTo>
                    <a:pt x="3256" y="228"/>
                    <a:pt x="3249" y="223"/>
                    <a:pt x="3243" y="223"/>
                  </a:cubicBezTo>
                  <a:cubicBezTo>
                    <a:pt x="3243" y="223"/>
                    <a:pt x="3243" y="223"/>
                    <a:pt x="3243" y="223"/>
                  </a:cubicBezTo>
                  <a:moveTo>
                    <a:pt x="3275" y="223"/>
                  </a:moveTo>
                  <a:cubicBezTo>
                    <a:pt x="3269" y="223"/>
                    <a:pt x="3265" y="228"/>
                    <a:pt x="3267" y="233"/>
                  </a:cubicBezTo>
                  <a:cubicBezTo>
                    <a:pt x="3268" y="239"/>
                    <a:pt x="3275" y="244"/>
                    <a:pt x="3281" y="244"/>
                  </a:cubicBezTo>
                  <a:cubicBezTo>
                    <a:pt x="3287" y="244"/>
                    <a:pt x="3291" y="239"/>
                    <a:pt x="3289" y="233"/>
                  </a:cubicBezTo>
                  <a:cubicBezTo>
                    <a:pt x="3288" y="228"/>
                    <a:pt x="3281" y="223"/>
                    <a:pt x="3275" y="223"/>
                  </a:cubicBezTo>
                  <a:cubicBezTo>
                    <a:pt x="3275" y="223"/>
                    <a:pt x="3275" y="223"/>
                    <a:pt x="3275" y="223"/>
                  </a:cubicBezTo>
                  <a:moveTo>
                    <a:pt x="3307" y="223"/>
                  </a:moveTo>
                  <a:cubicBezTo>
                    <a:pt x="3301" y="223"/>
                    <a:pt x="3297" y="227"/>
                    <a:pt x="3299" y="233"/>
                  </a:cubicBezTo>
                  <a:cubicBezTo>
                    <a:pt x="3300" y="239"/>
                    <a:pt x="3307" y="243"/>
                    <a:pt x="3313" y="243"/>
                  </a:cubicBezTo>
                  <a:cubicBezTo>
                    <a:pt x="3319" y="243"/>
                    <a:pt x="3323" y="239"/>
                    <a:pt x="3321" y="233"/>
                  </a:cubicBezTo>
                  <a:cubicBezTo>
                    <a:pt x="3320" y="227"/>
                    <a:pt x="3313" y="223"/>
                    <a:pt x="3307" y="223"/>
                  </a:cubicBezTo>
                  <a:cubicBezTo>
                    <a:pt x="3307" y="223"/>
                    <a:pt x="3307" y="223"/>
                    <a:pt x="3307" y="223"/>
                  </a:cubicBezTo>
                  <a:moveTo>
                    <a:pt x="3339" y="222"/>
                  </a:moveTo>
                  <a:cubicBezTo>
                    <a:pt x="3333" y="223"/>
                    <a:pt x="3329" y="227"/>
                    <a:pt x="3331" y="233"/>
                  </a:cubicBezTo>
                  <a:cubicBezTo>
                    <a:pt x="3333" y="239"/>
                    <a:pt x="3339" y="243"/>
                    <a:pt x="3346" y="243"/>
                  </a:cubicBezTo>
                  <a:cubicBezTo>
                    <a:pt x="3352" y="243"/>
                    <a:pt x="3355" y="238"/>
                    <a:pt x="3354" y="233"/>
                  </a:cubicBezTo>
                  <a:cubicBezTo>
                    <a:pt x="3352" y="227"/>
                    <a:pt x="3345" y="222"/>
                    <a:pt x="3339" y="222"/>
                  </a:cubicBezTo>
                  <a:cubicBezTo>
                    <a:pt x="3339" y="222"/>
                    <a:pt x="3339" y="222"/>
                    <a:pt x="3339" y="222"/>
                  </a:cubicBezTo>
                  <a:moveTo>
                    <a:pt x="3372" y="222"/>
                  </a:moveTo>
                  <a:cubicBezTo>
                    <a:pt x="3366" y="222"/>
                    <a:pt x="3362" y="227"/>
                    <a:pt x="3364" y="233"/>
                  </a:cubicBezTo>
                  <a:cubicBezTo>
                    <a:pt x="3366" y="238"/>
                    <a:pt x="3373" y="243"/>
                    <a:pt x="3379" y="243"/>
                  </a:cubicBezTo>
                  <a:cubicBezTo>
                    <a:pt x="3385" y="243"/>
                    <a:pt x="3389" y="238"/>
                    <a:pt x="3387" y="232"/>
                  </a:cubicBezTo>
                  <a:cubicBezTo>
                    <a:pt x="3385" y="227"/>
                    <a:pt x="3378" y="222"/>
                    <a:pt x="3372" y="222"/>
                  </a:cubicBezTo>
                  <a:cubicBezTo>
                    <a:pt x="3372" y="222"/>
                    <a:pt x="3372" y="222"/>
                    <a:pt x="3372" y="222"/>
                  </a:cubicBezTo>
                  <a:moveTo>
                    <a:pt x="3404" y="222"/>
                  </a:moveTo>
                  <a:cubicBezTo>
                    <a:pt x="3398" y="222"/>
                    <a:pt x="3394" y="227"/>
                    <a:pt x="3396" y="232"/>
                  </a:cubicBezTo>
                  <a:cubicBezTo>
                    <a:pt x="3398" y="238"/>
                    <a:pt x="3405" y="243"/>
                    <a:pt x="3411" y="242"/>
                  </a:cubicBezTo>
                  <a:cubicBezTo>
                    <a:pt x="3417" y="242"/>
                    <a:pt x="3421" y="238"/>
                    <a:pt x="3419" y="232"/>
                  </a:cubicBezTo>
                  <a:cubicBezTo>
                    <a:pt x="3417" y="226"/>
                    <a:pt x="3410" y="222"/>
                    <a:pt x="3404" y="222"/>
                  </a:cubicBezTo>
                  <a:cubicBezTo>
                    <a:pt x="3404" y="222"/>
                    <a:pt x="3404" y="222"/>
                    <a:pt x="3404" y="222"/>
                  </a:cubicBezTo>
                  <a:moveTo>
                    <a:pt x="3436" y="222"/>
                  </a:moveTo>
                  <a:cubicBezTo>
                    <a:pt x="3430" y="222"/>
                    <a:pt x="3427" y="226"/>
                    <a:pt x="3429" y="232"/>
                  </a:cubicBezTo>
                  <a:cubicBezTo>
                    <a:pt x="3430" y="238"/>
                    <a:pt x="3437" y="242"/>
                    <a:pt x="3443" y="242"/>
                  </a:cubicBezTo>
                  <a:cubicBezTo>
                    <a:pt x="3450" y="242"/>
                    <a:pt x="3453" y="237"/>
                    <a:pt x="3451" y="232"/>
                  </a:cubicBezTo>
                  <a:cubicBezTo>
                    <a:pt x="3449" y="226"/>
                    <a:pt x="3442" y="222"/>
                    <a:pt x="3436" y="222"/>
                  </a:cubicBezTo>
                  <a:cubicBezTo>
                    <a:pt x="3436" y="222"/>
                    <a:pt x="3436" y="222"/>
                    <a:pt x="3436" y="222"/>
                  </a:cubicBezTo>
                  <a:moveTo>
                    <a:pt x="3469" y="221"/>
                  </a:moveTo>
                  <a:cubicBezTo>
                    <a:pt x="3462" y="221"/>
                    <a:pt x="3459" y="226"/>
                    <a:pt x="3461" y="232"/>
                  </a:cubicBezTo>
                  <a:cubicBezTo>
                    <a:pt x="3463" y="237"/>
                    <a:pt x="3470" y="242"/>
                    <a:pt x="3476" y="242"/>
                  </a:cubicBezTo>
                  <a:cubicBezTo>
                    <a:pt x="3482" y="242"/>
                    <a:pt x="3486" y="237"/>
                    <a:pt x="3484" y="232"/>
                  </a:cubicBezTo>
                  <a:cubicBezTo>
                    <a:pt x="3481" y="226"/>
                    <a:pt x="3475" y="221"/>
                    <a:pt x="3469" y="221"/>
                  </a:cubicBezTo>
                  <a:cubicBezTo>
                    <a:pt x="3469" y="221"/>
                    <a:pt x="3469" y="221"/>
                    <a:pt x="3469" y="221"/>
                  </a:cubicBezTo>
                  <a:moveTo>
                    <a:pt x="3500" y="221"/>
                  </a:moveTo>
                  <a:cubicBezTo>
                    <a:pt x="3494" y="221"/>
                    <a:pt x="3491" y="226"/>
                    <a:pt x="3493" y="231"/>
                  </a:cubicBezTo>
                  <a:cubicBezTo>
                    <a:pt x="3495" y="237"/>
                    <a:pt x="3502" y="242"/>
                    <a:pt x="3508" y="242"/>
                  </a:cubicBezTo>
                  <a:cubicBezTo>
                    <a:pt x="3514" y="242"/>
                    <a:pt x="3518" y="237"/>
                    <a:pt x="3516" y="231"/>
                  </a:cubicBezTo>
                  <a:cubicBezTo>
                    <a:pt x="3513" y="226"/>
                    <a:pt x="3507" y="221"/>
                    <a:pt x="3501" y="221"/>
                  </a:cubicBezTo>
                  <a:cubicBezTo>
                    <a:pt x="3501" y="221"/>
                    <a:pt x="3500" y="221"/>
                    <a:pt x="3500" y="221"/>
                  </a:cubicBezTo>
                  <a:moveTo>
                    <a:pt x="3532" y="221"/>
                  </a:moveTo>
                  <a:cubicBezTo>
                    <a:pt x="3526" y="221"/>
                    <a:pt x="3523" y="226"/>
                    <a:pt x="3525" y="231"/>
                  </a:cubicBezTo>
                  <a:cubicBezTo>
                    <a:pt x="3527" y="237"/>
                    <a:pt x="3534" y="241"/>
                    <a:pt x="3540" y="241"/>
                  </a:cubicBezTo>
                  <a:cubicBezTo>
                    <a:pt x="3547" y="241"/>
                    <a:pt x="3550" y="237"/>
                    <a:pt x="3548" y="231"/>
                  </a:cubicBezTo>
                  <a:cubicBezTo>
                    <a:pt x="3545" y="225"/>
                    <a:pt x="3539" y="221"/>
                    <a:pt x="3533" y="221"/>
                  </a:cubicBezTo>
                  <a:cubicBezTo>
                    <a:pt x="3533" y="221"/>
                    <a:pt x="3532" y="221"/>
                    <a:pt x="3532" y="221"/>
                  </a:cubicBezTo>
                  <a:moveTo>
                    <a:pt x="3564" y="221"/>
                  </a:moveTo>
                  <a:cubicBezTo>
                    <a:pt x="3558" y="221"/>
                    <a:pt x="3555" y="225"/>
                    <a:pt x="3557" y="231"/>
                  </a:cubicBezTo>
                  <a:cubicBezTo>
                    <a:pt x="3559" y="237"/>
                    <a:pt x="3566" y="241"/>
                    <a:pt x="3573" y="241"/>
                  </a:cubicBezTo>
                  <a:cubicBezTo>
                    <a:pt x="3579" y="241"/>
                    <a:pt x="3582" y="236"/>
                    <a:pt x="3580" y="231"/>
                  </a:cubicBezTo>
                  <a:cubicBezTo>
                    <a:pt x="3577" y="225"/>
                    <a:pt x="3571" y="221"/>
                    <a:pt x="3564" y="221"/>
                  </a:cubicBezTo>
                  <a:cubicBezTo>
                    <a:pt x="3564" y="221"/>
                    <a:pt x="3564" y="221"/>
                    <a:pt x="3564" y="221"/>
                  </a:cubicBezTo>
                  <a:moveTo>
                    <a:pt x="3597" y="220"/>
                  </a:moveTo>
                  <a:cubicBezTo>
                    <a:pt x="3591" y="220"/>
                    <a:pt x="3588" y="225"/>
                    <a:pt x="3590" y="231"/>
                  </a:cubicBezTo>
                  <a:cubicBezTo>
                    <a:pt x="3592" y="236"/>
                    <a:pt x="3599" y="241"/>
                    <a:pt x="3605" y="241"/>
                  </a:cubicBezTo>
                  <a:cubicBezTo>
                    <a:pt x="3612" y="241"/>
                    <a:pt x="3615" y="236"/>
                    <a:pt x="3612" y="230"/>
                  </a:cubicBezTo>
                  <a:cubicBezTo>
                    <a:pt x="3610" y="225"/>
                    <a:pt x="3603" y="220"/>
                    <a:pt x="3597" y="220"/>
                  </a:cubicBezTo>
                  <a:cubicBezTo>
                    <a:pt x="3597" y="220"/>
                    <a:pt x="3597" y="220"/>
                    <a:pt x="3597" y="220"/>
                  </a:cubicBezTo>
                  <a:moveTo>
                    <a:pt x="3629" y="220"/>
                  </a:moveTo>
                  <a:cubicBezTo>
                    <a:pt x="3623" y="220"/>
                    <a:pt x="3620" y="225"/>
                    <a:pt x="3622" y="230"/>
                  </a:cubicBezTo>
                  <a:cubicBezTo>
                    <a:pt x="3625" y="236"/>
                    <a:pt x="3632" y="241"/>
                    <a:pt x="3638" y="241"/>
                  </a:cubicBezTo>
                  <a:cubicBezTo>
                    <a:pt x="3644" y="240"/>
                    <a:pt x="3647" y="236"/>
                    <a:pt x="3645" y="230"/>
                  </a:cubicBezTo>
                  <a:cubicBezTo>
                    <a:pt x="3642" y="225"/>
                    <a:pt x="3635" y="220"/>
                    <a:pt x="3629" y="220"/>
                  </a:cubicBezTo>
                  <a:cubicBezTo>
                    <a:pt x="3629" y="220"/>
                    <a:pt x="3629" y="220"/>
                    <a:pt x="3629" y="220"/>
                  </a:cubicBezTo>
                  <a:moveTo>
                    <a:pt x="3662" y="220"/>
                  </a:moveTo>
                  <a:cubicBezTo>
                    <a:pt x="3656" y="220"/>
                    <a:pt x="3653" y="224"/>
                    <a:pt x="3655" y="230"/>
                  </a:cubicBezTo>
                  <a:cubicBezTo>
                    <a:pt x="3658" y="236"/>
                    <a:pt x="3665" y="240"/>
                    <a:pt x="3671" y="240"/>
                  </a:cubicBezTo>
                  <a:cubicBezTo>
                    <a:pt x="3677" y="240"/>
                    <a:pt x="3680" y="236"/>
                    <a:pt x="3678" y="230"/>
                  </a:cubicBezTo>
                  <a:cubicBezTo>
                    <a:pt x="3675" y="224"/>
                    <a:pt x="3668" y="220"/>
                    <a:pt x="3662" y="220"/>
                  </a:cubicBezTo>
                  <a:cubicBezTo>
                    <a:pt x="3662" y="220"/>
                    <a:pt x="3662" y="220"/>
                    <a:pt x="3662" y="220"/>
                  </a:cubicBezTo>
                  <a:moveTo>
                    <a:pt x="3694" y="219"/>
                  </a:moveTo>
                  <a:cubicBezTo>
                    <a:pt x="3688" y="219"/>
                    <a:pt x="3685" y="224"/>
                    <a:pt x="3687" y="230"/>
                  </a:cubicBezTo>
                  <a:cubicBezTo>
                    <a:pt x="3690" y="235"/>
                    <a:pt x="3697" y="240"/>
                    <a:pt x="3703" y="240"/>
                  </a:cubicBezTo>
                  <a:cubicBezTo>
                    <a:pt x="3709" y="240"/>
                    <a:pt x="3712" y="235"/>
                    <a:pt x="3710" y="230"/>
                  </a:cubicBezTo>
                  <a:cubicBezTo>
                    <a:pt x="3707" y="224"/>
                    <a:pt x="3700" y="219"/>
                    <a:pt x="3694" y="219"/>
                  </a:cubicBezTo>
                  <a:cubicBezTo>
                    <a:pt x="3694" y="219"/>
                    <a:pt x="3694" y="219"/>
                    <a:pt x="3694" y="219"/>
                  </a:cubicBezTo>
                  <a:moveTo>
                    <a:pt x="3726" y="219"/>
                  </a:moveTo>
                  <a:cubicBezTo>
                    <a:pt x="3720" y="219"/>
                    <a:pt x="3717" y="224"/>
                    <a:pt x="3719" y="230"/>
                  </a:cubicBezTo>
                  <a:cubicBezTo>
                    <a:pt x="3722" y="235"/>
                    <a:pt x="3729" y="240"/>
                    <a:pt x="3735" y="240"/>
                  </a:cubicBezTo>
                  <a:cubicBezTo>
                    <a:pt x="3742" y="240"/>
                    <a:pt x="3745" y="235"/>
                    <a:pt x="3742" y="229"/>
                  </a:cubicBezTo>
                  <a:cubicBezTo>
                    <a:pt x="3739" y="224"/>
                    <a:pt x="3732" y="219"/>
                    <a:pt x="3726" y="219"/>
                  </a:cubicBezTo>
                  <a:cubicBezTo>
                    <a:pt x="3726" y="219"/>
                    <a:pt x="3726" y="219"/>
                    <a:pt x="3726" y="219"/>
                  </a:cubicBezTo>
                  <a:moveTo>
                    <a:pt x="3758" y="219"/>
                  </a:moveTo>
                  <a:cubicBezTo>
                    <a:pt x="3752" y="219"/>
                    <a:pt x="3749" y="224"/>
                    <a:pt x="3752" y="229"/>
                  </a:cubicBezTo>
                  <a:cubicBezTo>
                    <a:pt x="3755" y="235"/>
                    <a:pt x="3762" y="239"/>
                    <a:pt x="3768" y="239"/>
                  </a:cubicBezTo>
                  <a:cubicBezTo>
                    <a:pt x="3774" y="239"/>
                    <a:pt x="3777" y="235"/>
                    <a:pt x="3775" y="229"/>
                  </a:cubicBezTo>
                  <a:cubicBezTo>
                    <a:pt x="3772" y="223"/>
                    <a:pt x="3765" y="219"/>
                    <a:pt x="3758" y="219"/>
                  </a:cubicBezTo>
                  <a:cubicBezTo>
                    <a:pt x="3758" y="219"/>
                    <a:pt x="3758" y="219"/>
                    <a:pt x="3758" y="219"/>
                  </a:cubicBezTo>
                  <a:moveTo>
                    <a:pt x="3790" y="219"/>
                  </a:moveTo>
                  <a:cubicBezTo>
                    <a:pt x="3784" y="219"/>
                    <a:pt x="3781" y="223"/>
                    <a:pt x="3784" y="229"/>
                  </a:cubicBezTo>
                  <a:cubicBezTo>
                    <a:pt x="3787" y="235"/>
                    <a:pt x="3794" y="239"/>
                    <a:pt x="3800" y="239"/>
                  </a:cubicBezTo>
                  <a:cubicBezTo>
                    <a:pt x="3806" y="239"/>
                    <a:pt x="3809" y="234"/>
                    <a:pt x="3806" y="229"/>
                  </a:cubicBezTo>
                  <a:cubicBezTo>
                    <a:pt x="3804" y="223"/>
                    <a:pt x="3796" y="219"/>
                    <a:pt x="3790" y="219"/>
                  </a:cubicBezTo>
                  <a:cubicBezTo>
                    <a:pt x="3790" y="219"/>
                    <a:pt x="3790" y="219"/>
                    <a:pt x="3790" y="219"/>
                  </a:cubicBezTo>
                  <a:moveTo>
                    <a:pt x="272" y="218"/>
                  </a:moveTo>
                  <a:cubicBezTo>
                    <a:pt x="266" y="218"/>
                    <a:pt x="257" y="223"/>
                    <a:pt x="252" y="229"/>
                  </a:cubicBezTo>
                  <a:cubicBezTo>
                    <a:pt x="247" y="234"/>
                    <a:pt x="248" y="239"/>
                    <a:pt x="255" y="239"/>
                  </a:cubicBezTo>
                  <a:cubicBezTo>
                    <a:pt x="261" y="239"/>
                    <a:pt x="270" y="234"/>
                    <a:pt x="274" y="228"/>
                  </a:cubicBezTo>
                  <a:cubicBezTo>
                    <a:pt x="279" y="223"/>
                    <a:pt x="278" y="218"/>
                    <a:pt x="272" y="218"/>
                  </a:cubicBezTo>
                  <a:cubicBezTo>
                    <a:pt x="272" y="218"/>
                    <a:pt x="272" y="218"/>
                    <a:pt x="272" y="218"/>
                  </a:cubicBezTo>
                  <a:moveTo>
                    <a:pt x="3822" y="218"/>
                  </a:moveTo>
                  <a:cubicBezTo>
                    <a:pt x="3816" y="218"/>
                    <a:pt x="3813" y="223"/>
                    <a:pt x="3816" y="229"/>
                  </a:cubicBezTo>
                  <a:cubicBezTo>
                    <a:pt x="3819" y="234"/>
                    <a:pt x="3826" y="239"/>
                    <a:pt x="3832" y="239"/>
                  </a:cubicBezTo>
                  <a:cubicBezTo>
                    <a:pt x="3839" y="239"/>
                    <a:pt x="3841" y="234"/>
                    <a:pt x="3839" y="229"/>
                  </a:cubicBezTo>
                  <a:cubicBezTo>
                    <a:pt x="3836" y="223"/>
                    <a:pt x="3828" y="218"/>
                    <a:pt x="3822" y="218"/>
                  </a:cubicBezTo>
                  <a:cubicBezTo>
                    <a:pt x="3822" y="218"/>
                    <a:pt x="3822" y="218"/>
                    <a:pt x="3822" y="218"/>
                  </a:cubicBezTo>
                  <a:moveTo>
                    <a:pt x="304" y="218"/>
                  </a:moveTo>
                  <a:cubicBezTo>
                    <a:pt x="297" y="218"/>
                    <a:pt x="289" y="223"/>
                    <a:pt x="284" y="228"/>
                  </a:cubicBezTo>
                  <a:cubicBezTo>
                    <a:pt x="279" y="234"/>
                    <a:pt x="280" y="238"/>
                    <a:pt x="287" y="238"/>
                  </a:cubicBezTo>
                  <a:cubicBezTo>
                    <a:pt x="293" y="238"/>
                    <a:pt x="302" y="234"/>
                    <a:pt x="306" y="228"/>
                  </a:cubicBezTo>
                  <a:cubicBezTo>
                    <a:pt x="311" y="223"/>
                    <a:pt x="310" y="218"/>
                    <a:pt x="304" y="218"/>
                  </a:cubicBezTo>
                  <a:cubicBezTo>
                    <a:pt x="304" y="218"/>
                    <a:pt x="304" y="218"/>
                    <a:pt x="304" y="218"/>
                  </a:cubicBezTo>
                  <a:moveTo>
                    <a:pt x="3854" y="218"/>
                  </a:moveTo>
                  <a:cubicBezTo>
                    <a:pt x="3848" y="218"/>
                    <a:pt x="3845" y="223"/>
                    <a:pt x="3848" y="228"/>
                  </a:cubicBezTo>
                  <a:cubicBezTo>
                    <a:pt x="3851" y="234"/>
                    <a:pt x="3858" y="239"/>
                    <a:pt x="3865" y="239"/>
                  </a:cubicBezTo>
                  <a:cubicBezTo>
                    <a:pt x="3871" y="239"/>
                    <a:pt x="3873" y="234"/>
                    <a:pt x="3871" y="228"/>
                  </a:cubicBezTo>
                  <a:cubicBezTo>
                    <a:pt x="3868" y="223"/>
                    <a:pt x="3860" y="218"/>
                    <a:pt x="3854" y="218"/>
                  </a:cubicBezTo>
                  <a:cubicBezTo>
                    <a:pt x="3854" y="218"/>
                    <a:pt x="3854" y="218"/>
                    <a:pt x="3854" y="218"/>
                  </a:cubicBezTo>
                  <a:moveTo>
                    <a:pt x="335" y="218"/>
                  </a:moveTo>
                  <a:cubicBezTo>
                    <a:pt x="329" y="218"/>
                    <a:pt x="320" y="222"/>
                    <a:pt x="316" y="228"/>
                  </a:cubicBezTo>
                  <a:cubicBezTo>
                    <a:pt x="311" y="234"/>
                    <a:pt x="312" y="238"/>
                    <a:pt x="319" y="238"/>
                  </a:cubicBezTo>
                  <a:cubicBezTo>
                    <a:pt x="325" y="238"/>
                    <a:pt x="334" y="233"/>
                    <a:pt x="338" y="228"/>
                  </a:cubicBezTo>
                  <a:cubicBezTo>
                    <a:pt x="343" y="222"/>
                    <a:pt x="342" y="218"/>
                    <a:pt x="335" y="218"/>
                  </a:cubicBezTo>
                  <a:cubicBezTo>
                    <a:pt x="335" y="218"/>
                    <a:pt x="335" y="218"/>
                    <a:pt x="335" y="218"/>
                  </a:cubicBezTo>
                  <a:moveTo>
                    <a:pt x="3886" y="218"/>
                  </a:moveTo>
                  <a:cubicBezTo>
                    <a:pt x="3880" y="218"/>
                    <a:pt x="3877" y="222"/>
                    <a:pt x="3880" y="228"/>
                  </a:cubicBezTo>
                  <a:cubicBezTo>
                    <a:pt x="3883" y="234"/>
                    <a:pt x="3890" y="238"/>
                    <a:pt x="3897" y="238"/>
                  </a:cubicBezTo>
                  <a:cubicBezTo>
                    <a:pt x="3903" y="238"/>
                    <a:pt x="3906" y="234"/>
                    <a:pt x="3903" y="228"/>
                  </a:cubicBezTo>
                  <a:cubicBezTo>
                    <a:pt x="3900" y="222"/>
                    <a:pt x="3892" y="218"/>
                    <a:pt x="3886" y="218"/>
                  </a:cubicBezTo>
                  <a:cubicBezTo>
                    <a:pt x="3886" y="218"/>
                    <a:pt x="3886" y="218"/>
                    <a:pt x="3886" y="218"/>
                  </a:cubicBezTo>
                  <a:moveTo>
                    <a:pt x="367" y="217"/>
                  </a:moveTo>
                  <a:cubicBezTo>
                    <a:pt x="361" y="218"/>
                    <a:pt x="352" y="222"/>
                    <a:pt x="348" y="228"/>
                  </a:cubicBezTo>
                  <a:cubicBezTo>
                    <a:pt x="343" y="233"/>
                    <a:pt x="345" y="238"/>
                    <a:pt x="351" y="238"/>
                  </a:cubicBezTo>
                  <a:cubicBezTo>
                    <a:pt x="357" y="238"/>
                    <a:pt x="366" y="233"/>
                    <a:pt x="370" y="228"/>
                  </a:cubicBezTo>
                  <a:cubicBezTo>
                    <a:pt x="375" y="222"/>
                    <a:pt x="374" y="217"/>
                    <a:pt x="367" y="217"/>
                  </a:cubicBezTo>
                  <a:cubicBezTo>
                    <a:pt x="367" y="217"/>
                    <a:pt x="367" y="217"/>
                    <a:pt x="367" y="217"/>
                  </a:cubicBezTo>
                  <a:moveTo>
                    <a:pt x="3918" y="217"/>
                  </a:moveTo>
                  <a:cubicBezTo>
                    <a:pt x="3912" y="218"/>
                    <a:pt x="3909" y="222"/>
                    <a:pt x="3912" y="228"/>
                  </a:cubicBezTo>
                  <a:cubicBezTo>
                    <a:pt x="3915" y="234"/>
                    <a:pt x="3922" y="238"/>
                    <a:pt x="3929" y="238"/>
                  </a:cubicBezTo>
                  <a:cubicBezTo>
                    <a:pt x="3935" y="238"/>
                    <a:pt x="3938" y="233"/>
                    <a:pt x="3934" y="228"/>
                  </a:cubicBezTo>
                  <a:cubicBezTo>
                    <a:pt x="3931" y="222"/>
                    <a:pt x="3924" y="217"/>
                    <a:pt x="3918" y="217"/>
                  </a:cubicBezTo>
                  <a:cubicBezTo>
                    <a:pt x="3918" y="217"/>
                    <a:pt x="3918" y="217"/>
                    <a:pt x="3918" y="217"/>
                  </a:cubicBezTo>
                  <a:moveTo>
                    <a:pt x="3950" y="217"/>
                  </a:moveTo>
                  <a:cubicBezTo>
                    <a:pt x="3944" y="217"/>
                    <a:pt x="3941" y="222"/>
                    <a:pt x="3944" y="228"/>
                  </a:cubicBezTo>
                  <a:cubicBezTo>
                    <a:pt x="3947" y="233"/>
                    <a:pt x="3955" y="238"/>
                    <a:pt x="3961" y="238"/>
                  </a:cubicBezTo>
                  <a:cubicBezTo>
                    <a:pt x="3967" y="238"/>
                    <a:pt x="3970" y="233"/>
                    <a:pt x="3967" y="227"/>
                  </a:cubicBezTo>
                  <a:cubicBezTo>
                    <a:pt x="3964" y="222"/>
                    <a:pt x="3956" y="217"/>
                    <a:pt x="3950" y="217"/>
                  </a:cubicBezTo>
                  <a:cubicBezTo>
                    <a:pt x="3950" y="217"/>
                    <a:pt x="3950" y="217"/>
                    <a:pt x="3950" y="217"/>
                  </a:cubicBezTo>
                  <a:moveTo>
                    <a:pt x="401" y="217"/>
                  </a:moveTo>
                  <a:cubicBezTo>
                    <a:pt x="395" y="217"/>
                    <a:pt x="386" y="222"/>
                    <a:pt x="381" y="227"/>
                  </a:cubicBezTo>
                  <a:cubicBezTo>
                    <a:pt x="377" y="233"/>
                    <a:pt x="378" y="237"/>
                    <a:pt x="384" y="237"/>
                  </a:cubicBezTo>
                  <a:cubicBezTo>
                    <a:pt x="391" y="237"/>
                    <a:pt x="399" y="233"/>
                    <a:pt x="404" y="227"/>
                  </a:cubicBezTo>
                  <a:cubicBezTo>
                    <a:pt x="408" y="222"/>
                    <a:pt x="407" y="217"/>
                    <a:pt x="401" y="217"/>
                  </a:cubicBezTo>
                  <a:cubicBezTo>
                    <a:pt x="401" y="217"/>
                    <a:pt x="401" y="217"/>
                    <a:pt x="401" y="217"/>
                  </a:cubicBezTo>
                  <a:moveTo>
                    <a:pt x="3982" y="217"/>
                  </a:moveTo>
                  <a:cubicBezTo>
                    <a:pt x="3976" y="217"/>
                    <a:pt x="3973" y="222"/>
                    <a:pt x="3977" y="227"/>
                  </a:cubicBezTo>
                  <a:cubicBezTo>
                    <a:pt x="3980" y="233"/>
                    <a:pt x="3987" y="238"/>
                    <a:pt x="3994" y="238"/>
                  </a:cubicBezTo>
                  <a:cubicBezTo>
                    <a:pt x="4000" y="237"/>
                    <a:pt x="4002" y="233"/>
                    <a:pt x="3999" y="227"/>
                  </a:cubicBezTo>
                  <a:cubicBezTo>
                    <a:pt x="3996" y="221"/>
                    <a:pt x="3988" y="217"/>
                    <a:pt x="3982" y="217"/>
                  </a:cubicBezTo>
                  <a:cubicBezTo>
                    <a:pt x="3982" y="217"/>
                    <a:pt x="3982" y="217"/>
                    <a:pt x="3982" y="217"/>
                  </a:cubicBezTo>
                  <a:moveTo>
                    <a:pt x="432" y="217"/>
                  </a:moveTo>
                  <a:cubicBezTo>
                    <a:pt x="426" y="217"/>
                    <a:pt x="418" y="222"/>
                    <a:pt x="413" y="227"/>
                  </a:cubicBezTo>
                  <a:cubicBezTo>
                    <a:pt x="409" y="233"/>
                    <a:pt x="410" y="237"/>
                    <a:pt x="416" y="237"/>
                  </a:cubicBezTo>
                  <a:cubicBezTo>
                    <a:pt x="423" y="237"/>
                    <a:pt x="431" y="233"/>
                    <a:pt x="436" y="227"/>
                  </a:cubicBezTo>
                  <a:cubicBezTo>
                    <a:pt x="440" y="221"/>
                    <a:pt x="439" y="217"/>
                    <a:pt x="433" y="217"/>
                  </a:cubicBezTo>
                  <a:cubicBezTo>
                    <a:pt x="433" y="217"/>
                    <a:pt x="433" y="217"/>
                    <a:pt x="432" y="217"/>
                  </a:cubicBezTo>
                  <a:moveTo>
                    <a:pt x="4014" y="217"/>
                  </a:moveTo>
                  <a:cubicBezTo>
                    <a:pt x="4008" y="217"/>
                    <a:pt x="4005" y="221"/>
                    <a:pt x="4009" y="227"/>
                  </a:cubicBezTo>
                  <a:cubicBezTo>
                    <a:pt x="4012" y="233"/>
                    <a:pt x="4019" y="237"/>
                    <a:pt x="4026" y="237"/>
                  </a:cubicBezTo>
                  <a:cubicBezTo>
                    <a:pt x="4032" y="237"/>
                    <a:pt x="4034" y="233"/>
                    <a:pt x="4031" y="227"/>
                  </a:cubicBezTo>
                  <a:cubicBezTo>
                    <a:pt x="4028" y="221"/>
                    <a:pt x="4020" y="217"/>
                    <a:pt x="4014" y="217"/>
                  </a:cubicBezTo>
                  <a:cubicBezTo>
                    <a:pt x="4014" y="217"/>
                    <a:pt x="4014" y="217"/>
                    <a:pt x="4014" y="217"/>
                  </a:cubicBezTo>
                  <a:moveTo>
                    <a:pt x="464" y="217"/>
                  </a:moveTo>
                  <a:cubicBezTo>
                    <a:pt x="458" y="217"/>
                    <a:pt x="450" y="221"/>
                    <a:pt x="445" y="227"/>
                  </a:cubicBezTo>
                  <a:cubicBezTo>
                    <a:pt x="441" y="232"/>
                    <a:pt x="442" y="237"/>
                    <a:pt x="449" y="237"/>
                  </a:cubicBezTo>
                  <a:cubicBezTo>
                    <a:pt x="455" y="237"/>
                    <a:pt x="463" y="232"/>
                    <a:pt x="468" y="227"/>
                  </a:cubicBezTo>
                  <a:cubicBezTo>
                    <a:pt x="472" y="221"/>
                    <a:pt x="471" y="217"/>
                    <a:pt x="465" y="217"/>
                  </a:cubicBezTo>
                  <a:cubicBezTo>
                    <a:pt x="465" y="217"/>
                    <a:pt x="464" y="217"/>
                    <a:pt x="464" y="217"/>
                  </a:cubicBezTo>
                  <a:moveTo>
                    <a:pt x="4046" y="216"/>
                  </a:moveTo>
                  <a:cubicBezTo>
                    <a:pt x="4040" y="216"/>
                    <a:pt x="4037" y="221"/>
                    <a:pt x="4041" y="227"/>
                  </a:cubicBezTo>
                  <a:cubicBezTo>
                    <a:pt x="4044" y="232"/>
                    <a:pt x="4052" y="237"/>
                    <a:pt x="4058" y="237"/>
                  </a:cubicBezTo>
                  <a:cubicBezTo>
                    <a:pt x="4064" y="237"/>
                    <a:pt x="4066" y="232"/>
                    <a:pt x="4063" y="227"/>
                  </a:cubicBezTo>
                  <a:cubicBezTo>
                    <a:pt x="4060" y="221"/>
                    <a:pt x="4052" y="216"/>
                    <a:pt x="4046" y="216"/>
                  </a:cubicBezTo>
                  <a:cubicBezTo>
                    <a:pt x="4046" y="216"/>
                    <a:pt x="4046" y="216"/>
                    <a:pt x="4046" y="216"/>
                  </a:cubicBezTo>
                  <a:moveTo>
                    <a:pt x="498" y="216"/>
                  </a:moveTo>
                  <a:cubicBezTo>
                    <a:pt x="491" y="216"/>
                    <a:pt x="483" y="221"/>
                    <a:pt x="479" y="227"/>
                  </a:cubicBezTo>
                  <a:cubicBezTo>
                    <a:pt x="474" y="232"/>
                    <a:pt x="476" y="237"/>
                    <a:pt x="482" y="237"/>
                  </a:cubicBezTo>
                  <a:cubicBezTo>
                    <a:pt x="488" y="237"/>
                    <a:pt x="497" y="232"/>
                    <a:pt x="501" y="226"/>
                  </a:cubicBezTo>
                  <a:cubicBezTo>
                    <a:pt x="505" y="221"/>
                    <a:pt x="504" y="216"/>
                    <a:pt x="498" y="216"/>
                  </a:cubicBezTo>
                  <a:cubicBezTo>
                    <a:pt x="498" y="216"/>
                    <a:pt x="498" y="216"/>
                    <a:pt x="498" y="216"/>
                  </a:cubicBezTo>
                  <a:moveTo>
                    <a:pt x="4078" y="216"/>
                  </a:moveTo>
                  <a:cubicBezTo>
                    <a:pt x="4072" y="216"/>
                    <a:pt x="4069" y="221"/>
                    <a:pt x="4073" y="226"/>
                  </a:cubicBezTo>
                  <a:cubicBezTo>
                    <a:pt x="4076" y="232"/>
                    <a:pt x="4084" y="237"/>
                    <a:pt x="4090" y="237"/>
                  </a:cubicBezTo>
                  <a:cubicBezTo>
                    <a:pt x="4096" y="237"/>
                    <a:pt x="4098" y="232"/>
                    <a:pt x="4095" y="226"/>
                  </a:cubicBezTo>
                  <a:cubicBezTo>
                    <a:pt x="4092" y="221"/>
                    <a:pt x="4084" y="216"/>
                    <a:pt x="4078" y="216"/>
                  </a:cubicBezTo>
                  <a:cubicBezTo>
                    <a:pt x="4078" y="216"/>
                    <a:pt x="4078" y="216"/>
                    <a:pt x="4078" y="216"/>
                  </a:cubicBezTo>
                  <a:moveTo>
                    <a:pt x="529" y="216"/>
                  </a:moveTo>
                  <a:cubicBezTo>
                    <a:pt x="523" y="216"/>
                    <a:pt x="515" y="221"/>
                    <a:pt x="511" y="226"/>
                  </a:cubicBezTo>
                  <a:cubicBezTo>
                    <a:pt x="506" y="232"/>
                    <a:pt x="508" y="236"/>
                    <a:pt x="514" y="236"/>
                  </a:cubicBezTo>
                  <a:cubicBezTo>
                    <a:pt x="520" y="236"/>
                    <a:pt x="529" y="232"/>
                    <a:pt x="533" y="226"/>
                  </a:cubicBezTo>
                  <a:cubicBezTo>
                    <a:pt x="537" y="221"/>
                    <a:pt x="536" y="216"/>
                    <a:pt x="530" y="216"/>
                  </a:cubicBezTo>
                  <a:cubicBezTo>
                    <a:pt x="529" y="216"/>
                    <a:pt x="529" y="216"/>
                    <a:pt x="529" y="216"/>
                  </a:cubicBezTo>
                  <a:moveTo>
                    <a:pt x="4109" y="216"/>
                  </a:moveTo>
                  <a:cubicBezTo>
                    <a:pt x="4103" y="216"/>
                    <a:pt x="4100" y="221"/>
                    <a:pt x="4104" y="226"/>
                  </a:cubicBezTo>
                  <a:cubicBezTo>
                    <a:pt x="4107" y="232"/>
                    <a:pt x="4115" y="236"/>
                    <a:pt x="4121" y="236"/>
                  </a:cubicBezTo>
                  <a:cubicBezTo>
                    <a:pt x="4128" y="236"/>
                    <a:pt x="4130" y="232"/>
                    <a:pt x="4126" y="226"/>
                  </a:cubicBezTo>
                  <a:cubicBezTo>
                    <a:pt x="4123" y="220"/>
                    <a:pt x="4115" y="216"/>
                    <a:pt x="4109" y="216"/>
                  </a:cubicBezTo>
                  <a:cubicBezTo>
                    <a:pt x="4109" y="216"/>
                    <a:pt x="4109" y="216"/>
                    <a:pt x="4109" y="216"/>
                  </a:cubicBezTo>
                  <a:moveTo>
                    <a:pt x="561" y="216"/>
                  </a:moveTo>
                  <a:cubicBezTo>
                    <a:pt x="555" y="216"/>
                    <a:pt x="547" y="220"/>
                    <a:pt x="543" y="226"/>
                  </a:cubicBezTo>
                  <a:cubicBezTo>
                    <a:pt x="538" y="232"/>
                    <a:pt x="540" y="236"/>
                    <a:pt x="546" y="236"/>
                  </a:cubicBezTo>
                  <a:cubicBezTo>
                    <a:pt x="553" y="236"/>
                    <a:pt x="561" y="231"/>
                    <a:pt x="565" y="226"/>
                  </a:cubicBezTo>
                  <a:cubicBezTo>
                    <a:pt x="569" y="220"/>
                    <a:pt x="568" y="216"/>
                    <a:pt x="561" y="216"/>
                  </a:cubicBezTo>
                  <a:cubicBezTo>
                    <a:pt x="561" y="216"/>
                    <a:pt x="561" y="216"/>
                    <a:pt x="561" y="216"/>
                  </a:cubicBezTo>
                  <a:moveTo>
                    <a:pt x="4141" y="216"/>
                  </a:moveTo>
                  <a:cubicBezTo>
                    <a:pt x="4135" y="216"/>
                    <a:pt x="4133" y="220"/>
                    <a:pt x="4136" y="226"/>
                  </a:cubicBezTo>
                  <a:cubicBezTo>
                    <a:pt x="4140" y="232"/>
                    <a:pt x="4148" y="236"/>
                    <a:pt x="4154" y="236"/>
                  </a:cubicBezTo>
                  <a:cubicBezTo>
                    <a:pt x="4160" y="236"/>
                    <a:pt x="4162" y="231"/>
                    <a:pt x="4159" y="226"/>
                  </a:cubicBezTo>
                  <a:cubicBezTo>
                    <a:pt x="4155" y="220"/>
                    <a:pt x="4147" y="216"/>
                    <a:pt x="4141" y="216"/>
                  </a:cubicBezTo>
                  <a:cubicBezTo>
                    <a:pt x="4141" y="216"/>
                    <a:pt x="4141" y="216"/>
                    <a:pt x="4141" y="216"/>
                  </a:cubicBezTo>
                  <a:moveTo>
                    <a:pt x="593" y="216"/>
                  </a:moveTo>
                  <a:cubicBezTo>
                    <a:pt x="587" y="216"/>
                    <a:pt x="579" y="220"/>
                    <a:pt x="575" y="226"/>
                  </a:cubicBezTo>
                  <a:cubicBezTo>
                    <a:pt x="570" y="231"/>
                    <a:pt x="572" y="236"/>
                    <a:pt x="578" y="236"/>
                  </a:cubicBezTo>
                  <a:cubicBezTo>
                    <a:pt x="585" y="236"/>
                    <a:pt x="593" y="231"/>
                    <a:pt x="597" y="226"/>
                  </a:cubicBezTo>
                  <a:cubicBezTo>
                    <a:pt x="601" y="220"/>
                    <a:pt x="599" y="216"/>
                    <a:pt x="593" y="216"/>
                  </a:cubicBezTo>
                  <a:cubicBezTo>
                    <a:pt x="593" y="216"/>
                    <a:pt x="593" y="216"/>
                    <a:pt x="593" y="216"/>
                  </a:cubicBezTo>
                  <a:moveTo>
                    <a:pt x="4171" y="215"/>
                  </a:moveTo>
                  <a:cubicBezTo>
                    <a:pt x="4165" y="215"/>
                    <a:pt x="4163" y="220"/>
                    <a:pt x="4166" y="226"/>
                  </a:cubicBezTo>
                  <a:cubicBezTo>
                    <a:pt x="4170" y="231"/>
                    <a:pt x="4178" y="236"/>
                    <a:pt x="4184" y="236"/>
                  </a:cubicBezTo>
                  <a:cubicBezTo>
                    <a:pt x="4190" y="236"/>
                    <a:pt x="4192" y="231"/>
                    <a:pt x="4189" y="226"/>
                  </a:cubicBezTo>
                  <a:cubicBezTo>
                    <a:pt x="4185" y="220"/>
                    <a:pt x="4177" y="215"/>
                    <a:pt x="4171" y="215"/>
                  </a:cubicBezTo>
                  <a:cubicBezTo>
                    <a:pt x="4171" y="215"/>
                    <a:pt x="4171" y="215"/>
                    <a:pt x="4171" y="215"/>
                  </a:cubicBezTo>
                  <a:moveTo>
                    <a:pt x="625" y="215"/>
                  </a:moveTo>
                  <a:cubicBezTo>
                    <a:pt x="619" y="215"/>
                    <a:pt x="611" y="220"/>
                    <a:pt x="607" y="225"/>
                  </a:cubicBezTo>
                  <a:cubicBezTo>
                    <a:pt x="603" y="231"/>
                    <a:pt x="604" y="236"/>
                    <a:pt x="611" y="235"/>
                  </a:cubicBezTo>
                  <a:cubicBezTo>
                    <a:pt x="617" y="235"/>
                    <a:pt x="625" y="231"/>
                    <a:pt x="629" y="225"/>
                  </a:cubicBezTo>
                  <a:cubicBezTo>
                    <a:pt x="633" y="220"/>
                    <a:pt x="631" y="215"/>
                    <a:pt x="625" y="215"/>
                  </a:cubicBezTo>
                  <a:cubicBezTo>
                    <a:pt x="625" y="215"/>
                    <a:pt x="625" y="215"/>
                    <a:pt x="625" y="215"/>
                  </a:cubicBezTo>
                  <a:moveTo>
                    <a:pt x="658" y="215"/>
                  </a:moveTo>
                  <a:cubicBezTo>
                    <a:pt x="652" y="215"/>
                    <a:pt x="644" y="220"/>
                    <a:pt x="640" y="225"/>
                  </a:cubicBezTo>
                  <a:cubicBezTo>
                    <a:pt x="636" y="231"/>
                    <a:pt x="638" y="235"/>
                    <a:pt x="644" y="235"/>
                  </a:cubicBezTo>
                  <a:cubicBezTo>
                    <a:pt x="650" y="235"/>
                    <a:pt x="658" y="231"/>
                    <a:pt x="662" y="225"/>
                  </a:cubicBezTo>
                  <a:cubicBezTo>
                    <a:pt x="666" y="219"/>
                    <a:pt x="664" y="215"/>
                    <a:pt x="658" y="215"/>
                  </a:cubicBezTo>
                  <a:cubicBezTo>
                    <a:pt x="658" y="215"/>
                    <a:pt x="658" y="215"/>
                    <a:pt x="658" y="215"/>
                  </a:cubicBezTo>
                  <a:moveTo>
                    <a:pt x="690" y="215"/>
                  </a:moveTo>
                  <a:cubicBezTo>
                    <a:pt x="684" y="215"/>
                    <a:pt x="676" y="219"/>
                    <a:pt x="672" y="225"/>
                  </a:cubicBezTo>
                  <a:cubicBezTo>
                    <a:pt x="668" y="230"/>
                    <a:pt x="670" y="235"/>
                    <a:pt x="676" y="235"/>
                  </a:cubicBezTo>
                  <a:cubicBezTo>
                    <a:pt x="682" y="235"/>
                    <a:pt x="690" y="230"/>
                    <a:pt x="694" y="225"/>
                  </a:cubicBezTo>
                  <a:cubicBezTo>
                    <a:pt x="698" y="219"/>
                    <a:pt x="696" y="215"/>
                    <a:pt x="690" y="215"/>
                  </a:cubicBezTo>
                  <a:cubicBezTo>
                    <a:pt x="690" y="215"/>
                    <a:pt x="690" y="215"/>
                    <a:pt x="690" y="215"/>
                  </a:cubicBezTo>
                  <a:moveTo>
                    <a:pt x="722" y="214"/>
                  </a:moveTo>
                  <a:cubicBezTo>
                    <a:pt x="716" y="214"/>
                    <a:pt x="708" y="219"/>
                    <a:pt x="704" y="225"/>
                  </a:cubicBezTo>
                  <a:cubicBezTo>
                    <a:pt x="700" y="230"/>
                    <a:pt x="702" y="235"/>
                    <a:pt x="708" y="235"/>
                  </a:cubicBezTo>
                  <a:cubicBezTo>
                    <a:pt x="714" y="235"/>
                    <a:pt x="722" y="230"/>
                    <a:pt x="726" y="224"/>
                  </a:cubicBezTo>
                  <a:cubicBezTo>
                    <a:pt x="730" y="219"/>
                    <a:pt x="728" y="214"/>
                    <a:pt x="722" y="214"/>
                  </a:cubicBezTo>
                  <a:cubicBezTo>
                    <a:pt x="722" y="214"/>
                    <a:pt x="722" y="214"/>
                    <a:pt x="722" y="214"/>
                  </a:cubicBezTo>
                  <a:moveTo>
                    <a:pt x="754" y="214"/>
                  </a:moveTo>
                  <a:cubicBezTo>
                    <a:pt x="748" y="214"/>
                    <a:pt x="740" y="219"/>
                    <a:pt x="736" y="224"/>
                  </a:cubicBezTo>
                  <a:cubicBezTo>
                    <a:pt x="732" y="230"/>
                    <a:pt x="734" y="234"/>
                    <a:pt x="741" y="234"/>
                  </a:cubicBezTo>
                  <a:cubicBezTo>
                    <a:pt x="747" y="234"/>
                    <a:pt x="755" y="230"/>
                    <a:pt x="759" y="224"/>
                  </a:cubicBezTo>
                  <a:cubicBezTo>
                    <a:pt x="762" y="219"/>
                    <a:pt x="760" y="214"/>
                    <a:pt x="754" y="214"/>
                  </a:cubicBezTo>
                  <a:cubicBezTo>
                    <a:pt x="754" y="214"/>
                    <a:pt x="754" y="214"/>
                    <a:pt x="754" y="214"/>
                  </a:cubicBezTo>
                  <a:moveTo>
                    <a:pt x="786" y="214"/>
                  </a:moveTo>
                  <a:cubicBezTo>
                    <a:pt x="780" y="214"/>
                    <a:pt x="772" y="218"/>
                    <a:pt x="768" y="224"/>
                  </a:cubicBezTo>
                  <a:cubicBezTo>
                    <a:pt x="764" y="230"/>
                    <a:pt x="766" y="234"/>
                    <a:pt x="773" y="234"/>
                  </a:cubicBezTo>
                  <a:cubicBezTo>
                    <a:pt x="779" y="234"/>
                    <a:pt x="787" y="229"/>
                    <a:pt x="791" y="224"/>
                  </a:cubicBezTo>
                  <a:cubicBezTo>
                    <a:pt x="794" y="218"/>
                    <a:pt x="792" y="214"/>
                    <a:pt x="786" y="214"/>
                  </a:cubicBezTo>
                  <a:cubicBezTo>
                    <a:pt x="786" y="214"/>
                    <a:pt x="786" y="214"/>
                    <a:pt x="786" y="214"/>
                  </a:cubicBezTo>
                  <a:moveTo>
                    <a:pt x="818" y="214"/>
                  </a:moveTo>
                  <a:cubicBezTo>
                    <a:pt x="812" y="214"/>
                    <a:pt x="804" y="218"/>
                    <a:pt x="800" y="224"/>
                  </a:cubicBezTo>
                  <a:cubicBezTo>
                    <a:pt x="797" y="229"/>
                    <a:pt x="799" y="234"/>
                    <a:pt x="805" y="234"/>
                  </a:cubicBezTo>
                  <a:cubicBezTo>
                    <a:pt x="811" y="234"/>
                    <a:pt x="819" y="229"/>
                    <a:pt x="823" y="224"/>
                  </a:cubicBezTo>
                  <a:cubicBezTo>
                    <a:pt x="826" y="218"/>
                    <a:pt x="824" y="214"/>
                    <a:pt x="818" y="214"/>
                  </a:cubicBezTo>
                  <a:cubicBezTo>
                    <a:pt x="818" y="214"/>
                    <a:pt x="818" y="214"/>
                    <a:pt x="818" y="214"/>
                  </a:cubicBezTo>
                  <a:moveTo>
                    <a:pt x="850" y="213"/>
                  </a:moveTo>
                  <a:cubicBezTo>
                    <a:pt x="844" y="213"/>
                    <a:pt x="836" y="218"/>
                    <a:pt x="832" y="223"/>
                  </a:cubicBezTo>
                  <a:cubicBezTo>
                    <a:pt x="829" y="229"/>
                    <a:pt x="831" y="234"/>
                    <a:pt x="837" y="234"/>
                  </a:cubicBezTo>
                  <a:cubicBezTo>
                    <a:pt x="843" y="233"/>
                    <a:pt x="851" y="229"/>
                    <a:pt x="855" y="223"/>
                  </a:cubicBezTo>
                  <a:cubicBezTo>
                    <a:pt x="858" y="218"/>
                    <a:pt x="856" y="213"/>
                    <a:pt x="850" y="213"/>
                  </a:cubicBezTo>
                  <a:cubicBezTo>
                    <a:pt x="850" y="213"/>
                    <a:pt x="850" y="213"/>
                    <a:pt x="850" y="213"/>
                  </a:cubicBezTo>
                  <a:moveTo>
                    <a:pt x="882" y="213"/>
                  </a:moveTo>
                  <a:cubicBezTo>
                    <a:pt x="876" y="213"/>
                    <a:pt x="868" y="218"/>
                    <a:pt x="864" y="223"/>
                  </a:cubicBezTo>
                  <a:cubicBezTo>
                    <a:pt x="861" y="229"/>
                    <a:pt x="863" y="233"/>
                    <a:pt x="869" y="233"/>
                  </a:cubicBezTo>
                  <a:cubicBezTo>
                    <a:pt x="875" y="233"/>
                    <a:pt x="883" y="229"/>
                    <a:pt x="887" y="223"/>
                  </a:cubicBezTo>
                  <a:cubicBezTo>
                    <a:pt x="890" y="217"/>
                    <a:pt x="888" y="213"/>
                    <a:pt x="882" y="213"/>
                  </a:cubicBezTo>
                  <a:cubicBezTo>
                    <a:pt x="882" y="213"/>
                    <a:pt x="882" y="213"/>
                    <a:pt x="882" y="213"/>
                  </a:cubicBezTo>
                  <a:moveTo>
                    <a:pt x="914" y="213"/>
                  </a:moveTo>
                  <a:cubicBezTo>
                    <a:pt x="908" y="213"/>
                    <a:pt x="900" y="217"/>
                    <a:pt x="897" y="223"/>
                  </a:cubicBezTo>
                  <a:cubicBezTo>
                    <a:pt x="893" y="229"/>
                    <a:pt x="895" y="233"/>
                    <a:pt x="902" y="233"/>
                  </a:cubicBezTo>
                  <a:cubicBezTo>
                    <a:pt x="908" y="233"/>
                    <a:pt x="916" y="228"/>
                    <a:pt x="919" y="223"/>
                  </a:cubicBezTo>
                  <a:cubicBezTo>
                    <a:pt x="922" y="217"/>
                    <a:pt x="920" y="213"/>
                    <a:pt x="914" y="213"/>
                  </a:cubicBezTo>
                  <a:cubicBezTo>
                    <a:pt x="914" y="213"/>
                    <a:pt x="914" y="213"/>
                    <a:pt x="914" y="213"/>
                  </a:cubicBezTo>
                  <a:moveTo>
                    <a:pt x="946" y="212"/>
                  </a:moveTo>
                  <a:cubicBezTo>
                    <a:pt x="940" y="212"/>
                    <a:pt x="932" y="217"/>
                    <a:pt x="929" y="223"/>
                  </a:cubicBezTo>
                  <a:cubicBezTo>
                    <a:pt x="925" y="228"/>
                    <a:pt x="927" y="233"/>
                    <a:pt x="934" y="233"/>
                  </a:cubicBezTo>
                  <a:cubicBezTo>
                    <a:pt x="940" y="233"/>
                    <a:pt x="948" y="228"/>
                    <a:pt x="951" y="222"/>
                  </a:cubicBezTo>
                  <a:cubicBezTo>
                    <a:pt x="954" y="217"/>
                    <a:pt x="952" y="212"/>
                    <a:pt x="946" y="212"/>
                  </a:cubicBezTo>
                  <a:cubicBezTo>
                    <a:pt x="946" y="212"/>
                    <a:pt x="946" y="212"/>
                    <a:pt x="946" y="212"/>
                  </a:cubicBezTo>
                  <a:moveTo>
                    <a:pt x="1294" y="212"/>
                  </a:moveTo>
                  <a:cubicBezTo>
                    <a:pt x="1288" y="212"/>
                    <a:pt x="1280" y="217"/>
                    <a:pt x="1278" y="223"/>
                  </a:cubicBezTo>
                  <a:cubicBezTo>
                    <a:pt x="1275" y="228"/>
                    <a:pt x="1278" y="233"/>
                    <a:pt x="1284" y="233"/>
                  </a:cubicBezTo>
                  <a:cubicBezTo>
                    <a:pt x="1291" y="233"/>
                    <a:pt x="1298" y="228"/>
                    <a:pt x="1300" y="222"/>
                  </a:cubicBezTo>
                  <a:cubicBezTo>
                    <a:pt x="1303" y="217"/>
                    <a:pt x="1300" y="212"/>
                    <a:pt x="1294" y="212"/>
                  </a:cubicBezTo>
                  <a:cubicBezTo>
                    <a:pt x="1294" y="212"/>
                    <a:pt x="1294" y="212"/>
                    <a:pt x="1294" y="212"/>
                  </a:cubicBezTo>
                  <a:moveTo>
                    <a:pt x="976" y="212"/>
                  </a:moveTo>
                  <a:cubicBezTo>
                    <a:pt x="970" y="212"/>
                    <a:pt x="962" y="217"/>
                    <a:pt x="959" y="222"/>
                  </a:cubicBezTo>
                  <a:cubicBezTo>
                    <a:pt x="956" y="228"/>
                    <a:pt x="958" y="232"/>
                    <a:pt x="964" y="232"/>
                  </a:cubicBezTo>
                  <a:cubicBezTo>
                    <a:pt x="970" y="232"/>
                    <a:pt x="978" y="228"/>
                    <a:pt x="981" y="222"/>
                  </a:cubicBezTo>
                  <a:cubicBezTo>
                    <a:pt x="985" y="217"/>
                    <a:pt x="982" y="212"/>
                    <a:pt x="976" y="212"/>
                  </a:cubicBezTo>
                  <a:cubicBezTo>
                    <a:pt x="976" y="212"/>
                    <a:pt x="976" y="212"/>
                    <a:pt x="976" y="212"/>
                  </a:cubicBezTo>
                  <a:moveTo>
                    <a:pt x="1326" y="212"/>
                  </a:moveTo>
                  <a:cubicBezTo>
                    <a:pt x="1320" y="212"/>
                    <a:pt x="1313" y="217"/>
                    <a:pt x="1310" y="222"/>
                  </a:cubicBezTo>
                  <a:cubicBezTo>
                    <a:pt x="1308" y="228"/>
                    <a:pt x="1311" y="232"/>
                    <a:pt x="1317" y="232"/>
                  </a:cubicBezTo>
                  <a:cubicBezTo>
                    <a:pt x="1323" y="232"/>
                    <a:pt x="1330" y="228"/>
                    <a:pt x="1333" y="222"/>
                  </a:cubicBezTo>
                  <a:cubicBezTo>
                    <a:pt x="1335" y="216"/>
                    <a:pt x="1332" y="212"/>
                    <a:pt x="1326" y="212"/>
                  </a:cubicBezTo>
                  <a:cubicBezTo>
                    <a:pt x="1326" y="212"/>
                    <a:pt x="1326" y="212"/>
                    <a:pt x="1326" y="212"/>
                  </a:cubicBezTo>
                  <a:moveTo>
                    <a:pt x="1008" y="212"/>
                  </a:moveTo>
                  <a:cubicBezTo>
                    <a:pt x="1002" y="212"/>
                    <a:pt x="995" y="216"/>
                    <a:pt x="991" y="222"/>
                  </a:cubicBezTo>
                  <a:cubicBezTo>
                    <a:pt x="988" y="228"/>
                    <a:pt x="990" y="232"/>
                    <a:pt x="997" y="232"/>
                  </a:cubicBezTo>
                  <a:cubicBezTo>
                    <a:pt x="1003" y="232"/>
                    <a:pt x="1011" y="228"/>
                    <a:pt x="1014" y="222"/>
                  </a:cubicBezTo>
                  <a:cubicBezTo>
                    <a:pt x="1017" y="216"/>
                    <a:pt x="1015" y="212"/>
                    <a:pt x="1008" y="212"/>
                  </a:cubicBezTo>
                  <a:cubicBezTo>
                    <a:pt x="1008" y="212"/>
                    <a:pt x="1008" y="212"/>
                    <a:pt x="1008" y="212"/>
                  </a:cubicBezTo>
                  <a:moveTo>
                    <a:pt x="1358" y="212"/>
                  </a:moveTo>
                  <a:cubicBezTo>
                    <a:pt x="1352" y="212"/>
                    <a:pt x="1345" y="216"/>
                    <a:pt x="1342" y="222"/>
                  </a:cubicBezTo>
                  <a:cubicBezTo>
                    <a:pt x="1340" y="228"/>
                    <a:pt x="1343" y="232"/>
                    <a:pt x="1349" y="232"/>
                  </a:cubicBezTo>
                  <a:cubicBezTo>
                    <a:pt x="1355" y="232"/>
                    <a:pt x="1362" y="227"/>
                    <a:pt x="1364" y="222"/>
                  </a:cubicBezTo>
                  <a:cubicBezTo>
                    <a:pt x="1367" y="216"/>
                    <a:pt x="1364" y="212"/>
                    <a:pt x="1358" y="212"/>
                  </a:cubicBezTo>
                  <a:cubicBezTo>
                    <a:pt x="1358" y="212"/>
                    <a:pt x="1358" y="212"/>
                    <a:pt x="1358" y="212"/>
                  </a:cubicBezTo>
                  <a:moveTo>
                    <a:pt x="1040" y="212"/>
                  </a:moveTo>
                  <a:cubicBezTo>
                    <a:pt x="1034" y="212"/>
                    <a:pt x="1026" y="216"/>
                    <a:pt x="1023" y="222"/>
                  </a:cubicBezTo>
                  <a:cubicBezTo>
                    <a:pt x="1020" y="227"/>
                    <a:pt x="1022" y="232"/>
                    <a:pt x="1029" y="232"/>
                  </a:cubicBezTo>
                  <a:cubicBezTo>
                    <a:pt x="1035" y="232"/>
                    <a:pt x="1042" y="227"/>
                    <a:pt x="1046" y="222"/>
                  </a:cubicBezTo>
                  <a:cubicBezTo>
                    <a:pt x="1049" y="216"/>
                    <a:pt x="1046" y="212"/>
                    <a:pt x="1040" y="212"/>
                  </a:cubicBezTo>
                  <a:cubicBezTo>
                    <a:pt x="1040" y="212"/>
                    <a:pt x="1040" y="212"/>
                    <a:pt x="1040" y="212"/>
                  </a:cubicBezTo>
                  <a:moveTo>
                    <a:pt x="1072" y="211"/>
                  </a:moveTo>
                  <a:cubicBezTo>
                    <a:pt x="1066" y="211"/>
                    <a:pt x="1058" y="216"/>
                    <a:pt x="1055" y="222"/>
                  </a:cubicBezTo>
                  <a:cubicBezTo>
                    <a:pt x="1052" y="227"/>
                    <a:pt x="1055" y="232"/>
                    <a:pt x="1061" y="232"/>
                  </a:cubicBezTo>
                  <a:cubicBezTo>
                    <a:pt x="1067" y="232"/>
                    <a:pt x="1075" y="227"/>
                    <a:pt x="1078" y="221"/>
                  </a:cubicBezTo>
                  <a:cubicBezTo>
                    <a:pt x="1081" y="216"/>
                    <a:pt x="1078" y="211"/>
                    <a:pt x="1072" y="211"/>
                  </a:cubicBezTo>
                  <a:cubicBezTo>
                    <a:pt x="1072" y="211"/>
                    <a:pt x="1072" y="211"/>
                    <a:pt x="1072" y="211"/>
                  </a:cubicBezTo>
                  <a:moveTo>
                    <a:pt x="1104" y="211"/>
                  </a:moveTo>
                  <a:cubicBezTo>
                    <a:pt x="1098" y="211"/>
                    <a:pt x="1090" y="216"/>
                    <a:pt x="1087" y="221"/>
                  </a:cubicBezTo>
                  <a:cubicBezTo>
                    <a:pt x="1084" y="227"/>
                    <a:pt x="1087" y="231"/>
                    <a:pt x="1093" y="231"/>
                  </a:cubicBezTo>
                  <a:cubicBezTo>
                    <a:pt x="1099" y="231"/>
                    <a:pt x="1106" y="227"/>
                    <a:pt x="1109" y="221"/>
                  </a:cubicBezTo>
                  <a:cubicBezTo>
                    <a:pt x="1112" y="215"/>
                    <a:pt x="1110" y="211"/>
                    <a:pt x="1104" y="211"/>
                  </a:cubicBezTo>
                  <a:cubicBezTo>
                    <a:pt x="1104" y="211"/>
                    <a:pt x="1104" y="211"/>
                    <a:pt x="1104" y="211"/>
                  </a:cubicBezTo>
                  <a:moveTo>
                    <a:pt x="1551" y="209"/>
                  </a:moveTo>
                  <a:cubicBezTo>
                    <a:pt x="1545" y="209"/>
                    <a:pt x="1538" y="214"/>
                    <a:pt x="1536" y="219"/>
                  </a:cubicBezTo>
                  <a:cubicBezTo>
                    <a:pt x="1534" y="225"/>
                    <a:pt x="1537" y="229"/>
                    <a:pt x="1543" y="229"/>
                  </a:cubicBezTo>
                  <a:cubicBezTo>
                    <a:pt x="1550" y="229"/>
                    <a:pt x="1556" y="225"/>
                    <a:pt x="1558" y="219"/>
                  </a:cubicBezTo>
                  <a:cubicBezTo>
                    <a:pt x="1560" y="213"/>
                    <a:pt x="1557" y="209"/>
                    <a:pt x="1551" y="209"/>
                  </a:cubicBezTo>
                  <a:cubicBezTo>
                    <a:pt x="1551" y="209"/>
                    <a:pt x="1551" y="209"/>
                    <a:pt x="1551" y="209"/>
                  </a:cubicBezTo>
                  <a:moveTo>
                    <a:pt x="1583" y="209"/>
                  </a:moveTo>
                  <a:cubicBezTo>
                    <a:pt x="1576" y="209"/>
                    <a:pt x="1570" y="213"/>
                    <a:pt x="1568" y="219"/>
                  </a:cubicBezTo>
                  <a:cubicBezTo>
                    <a:pt x="1566" y="224"/>
                    <a:pt x="1569" y="229"/>
                    <a:pt x="1575" y="229"/>
                  </a:cubicBezTo>
                  <a:cubicBezTo>
                    <a:pt x="1582" y="229"/>
                    <a:pt x="1588" y="224"/>
                    <a:pt x="1590" y="219"/>
                  </a:cubicBezTo>
                  <a:cubicBezTo>
                    <a:pt x="1592" y="213"/>
                    <a:pt x="1589" y="209"/>
                    <a:pt x="1583" y="209"/>
                  </a:cubicBezTo>
                  <a:cubicBezTo>
                    <a:pt x="1583" y="209"/>
                    <a:pt x="1583" y="209"/>
                    <a:pt x="1583" y="209"/>
                  </a:cubicBezTo>
                  <a:moveTo>
                    <a:pt x="1614" y="208"/>
                  </a:moveTo>
                  <a:cubicBezTo>
                    <a:pt x="1608" y="208"/>
                    <a:pt x="1602" y="213"/>
                    <a:pt x="1600" y="219"/>
                  </a:cubicBezTo>
                  <a:cubicBezTo>
                    <a:pt x="1598" y="224"/>
                    <a:pt x="1601" y="229"/>
                    <a:pt x="1608" y="229"/>
                  </a:cubicBezTo>
                  <a:cubicBezTo>
                    <a:pt x="1614" y="229"/>
                    <a:pt x="1620" y="224"/>
                    <a:pt x="1622" y="218"/>
                  </a:cubicBezTo>
                  <a:cubicBezTo>
                    <a:pt x="1624" y="213"/>
                    <a:pt x="1621" y="208"/>
                    <a:pt x="1615" y="208"/>
                  </a:cubicBezTo>
                  <a:cubicBezTo>
                    <a:pt x="1615" y="208"/>
                    <a:pt x="1615" y="208"/>
                    <a:pt x="1614" y="208"/>
                  </a:cubicBezTo>
                  <a:moveTo>
                    <a:pt x="1646" y="208"/>
                  </a:moveTo>
                  <a:cubicBezTo>
                    <a:pt x="1640" y="208"/>
                    <a:pt x="1634" y="213"/>
                    <a:pt x="1632" y="218"/>
                  </a:cubicBezTo>
                  <a:cubicBezTo>
                    <a:pt x="1630" y="224"/>
                    <a:pt x="1633" y="228"/>
                    <a:pt x="1639" y="228"/>
                  </a:cubicBezTo>
                  <a:cubicBezTo>
                    <a:pt x="1646" y="228"/>
                    <a:pt x="1652" y="224"/>
                    <a:pt x="1654" y="218"/>
                  </a:cubicBezTo>
                  <a:cubicBezTo>
                    <a:pt x="1656" y="213"/>
                    <a:pt x="1652" y="208"/>
                    <a:pt x="1646" y="208"/>
                  </a:cubicBezTo>
                  <a:cubicBezTo>
                    <a:pt x="1646" y="208"/>
                    <a:pt x="1646" y="208"/>
                    <a:pt x="1646" y="208"/>
                  </a:cubicBezTo>
                  <a:moveTo>
                    <a:pt x="1872" y="205"/>
                  </a:moveTo>
                  <a:cubicBezTo>
                    <a:pt x="1865" y="205"/>
                    <a:pt x="1859" y="210"/>
                    <a:pt x="1858" y="215"/>
                  </a:cubicBezTo>
                  <a:cubicBezTo>
                    <a:pt x="1857" y="221"/>
                    <a:pt x="1860" y="225"/>
                    <a:pt x="1867" y="225"/>
                  </a:cubicBezTo>
                  <a:cubicBezTo>
                    <a:pt x="1873" y="225"/>
                    <a:pt x="1879" y="221"/>
                    <a:pt x="1880" y="215"/>
                  </a:cubicBezTo>
                  <a:cubicBezTo>
                    <a:pt x="1882" y="210"/>
                    <a:pt x="1878" y="205"/>
                    <a:pt x="1872" y="205"/>
                  </a:cubicBezTo>
                  <a:cubicBezTo>
                    <a:pt x="1872" y="205"/>
                    <a:pt x="1872" y="205"/>
                    <a:pt x="1872" y="205"/>
                  </a:cubicBezTo>
                  <a:moveTo>
                    <a:pt x="1901" y="205"/>
                  </a:moveTo>
                  <a:cubicBezTo>
                    <a:pt x="1895" y="205"/>
                    <a:pt x="1889" y="209"/>
                    <a:pt x="1887" y="215"/>
                  </a:cubicBezTo>
                  <a:cubicBezTo>
                    <a:pt x="1886" y="221"/>
                    <a:pt x="1890" y="225"/>
                    <a:pt x="1896" y="225"/>
                  </a:cubicBezTo>
                  <a:cubicBezTo>
                    <a:pt x="1902" y="225"/>
                    <a:pt x="1908" y="220"/>
                    <a:pt x="1910" y="215"/>
                  </a:cubicBezTo>
                  <a:cubicBezTo>
                    <a:pt x="1911" y="209"/>
                    <a:pt x="1907" y="205"/>
                    <a:pt x="1901" y="205"/>
                  </a:cubicBezTo>
                  <a:cubicBezTo>
                    <a:pt x="1901" y="205"/>
                    <a:pt x="1901" y="205"/>
                    <a:pt x="1901" y="205"/>
                  </a:cubicBezTo>
                  <a:moveTo>
                    <a:pt x="1933" y="204"/>
                  </a:moveTo>
                  <a:cubicBezTo>
                    <a:pt x="1927" y="205"/>
                    <a:pt x="1921" y="209"/>
                    <a:pt x="1919" y="215"/>
                  </a:cubicBezTo>
                  <a:cubicBezTo>
                    <a:pt x="1918" y="220"/>
                    <a:pt x="1922" y="225"/>
                    <a:pt x="1928" y="225"/>
                  </a:cubicBezTo>
                  <a:cubicBezTo>
                    <a:pt x="1935" y="225"/>
                    <a:pt x="1941" y="220"/>
                    <a:pt x="1942" y="215"/>
                  </a:cubicBezTo>
                  <a:cubicBezTo>
                    <a:pt x="1943" y="209"/>
                    <a:pt x="1939" y="204"/>
                    <a:pt x="1933" y="204"/>
                  </a:cubicBezTo>
                  <a:cubicBezTo>
                    <a:pt x="1933" y="204"/>
                    <a:pt x="1933" y="204"/>
                    <a:pt x="1933" y="204"/>
                  </a:cubicBezTo>
                  <a:moveTo>
                    <a:pt x="2252" y="201"/>
                  </a:moveTo>
                  <a:cubicBezTo>
                    <a:pt x="2246" y="201"/>
                    <a:pt x="2240" y="206"/>
                    <a:pt x="2240" y="211"/>
                  </a:cubicBezTo>
                  <a:cubicBezTo>
                    <a:pt x="2239" y="217"/>
                    <a:pt x="2244" y="221"/>
                    <a:pt x="2250" y="221"/>
                  </a:cubicBezTo>
                  <a:cubicBezTo>
                    <a:pt x="2256" y="221"/>
                    <a:pt x="2261" y="217"/>
                    <a:pt x="2262" y="211"/>
                  </a:cubicBezTo>
                  <a:cubicBezTo>
                    <a:pt x="2262" y="205"/>
                    <a:pt x="2258" y="201"/>
                    <a:pt x="2252" y="201"/>
                  </a:cubicBezTo>
                  <a:cubicBezTo>
                    <a:pt x="2252" y="201"/>
                    <a:pt x="2252" y="201"/>
                    <a:pt x="2252" y="201"/>
                  </a:cubicBezTo>
                  <a:moveTo>
                    <a:pt x="2283" y="201"/>
                  </a:moveTo>
                  <a:cubicBezTo>
                    <a:pt x="2277" y="201"/>
                    <a:pt x="2272" y="205"/>
                    <a:pt x="2271" y="211"/>
                  </a:cubicBezTo>
                  <a:cubicBezTo>
                    <a:pt x="2271" y="217"/>
                    <a:pt x="2275" y="221"/>
                    <a:pt x="2282" y="221"/>
                  </a:cubicBezTo>
                  <a:cubicBezTo>
                    <a:pt x="2288" y="221"/>
                    <a:pt x="2293" y="216"/>
                    <a:pt x="2294" y="211"/>
                  </a:cubicBezTo>
                  <a:cubicBezTo>
                    <a:pt x="2294" y="205"/>
                    <a:pt x="2290" y="201"/>
                    <a:pt x="2284" y="201"/>
                  </a:cubicBezTo>
                  <a:cubicBezTo>
                    <a:pt x="2283" y="201"/>
                    <a:pt x="2283" y="201"/>
                    <a:pt x="2283" y="201"/>
                  </a:cubicBezTo>
                  <a:moveTo>
                    <a:pt x="2315" y="200"/>
                  </a:moveTo>
                  <a:cubicBezTo>
                    <a:pt x="2309" y="200"/>
                    <a:pt x="2303" y="205"/>
                    <a:pt x="2303" y="211"/>
                  </a:cubicBezTo>
                  <a:cubicBezTo>
                    <a:pt x="2303" y="216"/>
                    <a:pt x="2307" y="221"/>
                    <a:pt x="2313" y="221"/>
                  </a:cubicBezTo>
                  <a:cubicBezTo>
                    <a:pt x="2320" y="221"/>
                    <a:pt x="2325" y="216"/>
                    <a:pt x="2325" y="210"/>
                  </a:cubicBezTo>
                  <a:cubicBezTo>
                    <a:pt x="2326" y="205"/>
                    <a:pt x="2321" y="200"/>
                    <a:pt x="2315" y="200"/>
                  </a:cubicBezTo>
                  <a:cubicBezTo>
                    <a:pt x="2315" y="200"/>
                    <a:pt x="2315" y="200"/>
                    <a:pt x="2315" y="200"/>
                  </a:cubicBezTo>
                  <a:moveTo>
                    <a:pt x="2347" y="200"/>
                  </a:moveTo>
                  <a:cubicBezTo>
                    <a:pt x="2340" y="200"/>
                    <a:pt x="2335" y="205"/>
                    <a:pt x="2335" y="210"/>
                  </a:cubicBezTo>
                  <a:cubicBezTo>
                    <a:pt x="2334" y="216"/>
                    <a:pt x="2339" y="221"/>
                    <a:pt x="2345" y="220"/>
                  </a:cubicBezTo>
                  <a:cubicBezTo>
                    <a:pt x="2352" y="220"/>
                    <a:pt x="2357" y="216"/>
                    <a:pt x="2357" y="210"/>
                  </a:cubicBezTo>
                  <a:cubicBezTo>
                    <a:pt x="2357" y="205"/>
                    <a:pt x="2353" y="200"/>
                    <a:pt x="2347" y="200"/>
                  </a:cubicBezTo>
                  <a:cubicBezTo>
                    <a:pt x="2347" y="200"/>
                    <a:pt x="2347" y="200"/>
                    <a:pt x="2347" y="200"/>
                  </a:cubicBezTo>
                  <a:moveTo>
                    <a:pt x="2379" y="200"/>
                  </a:moveTo>
                  <a:cubicBezTo>
                    <a:pt x="2373" y="200"/>
                    <a:pt x="2368" y="204"/>
                    <a:pt x="2367" y="210"/>
                  </a:cubicBezTo>
                  <a:cubicBezTo>
                    <a:pt x="2367" y="216"/>
                    <a:pt x="2372" y="220"/>
                    <a:pt x="2378" y="220"/>
                  </a:cubicBezTo>
                  <a:cubicBezTo>
                    <a:pt x="2384" y="220"/>
                    <a:pt x="2389" y="216"/>
                    <a:pt x="2390" y="210"/>
                  </a:cubicBezTo>
                  <a:cubicBezTo>
                    <a:pt x="2390" y="204"/>
                    <a:pt x="2385" y="200"/>
                    <a:pt x="2379" y="200"/>
                  </a:cubicBezTo>
                  <a:cubicBezTo>
                    <a:pt x="2379" y="200"/>
                    <a:pt x="2379" y="200"/>
                    <a:pt x="2379" y="200"/>
                  </a:cubicBezTo>
                  <a:moveTo>
                    <a:pt x="2411" y="199"/>
                  </a:moveTo>
                  <a:cubicBezTo>
                    <a:pt x="2404" y="200"/>
                    <a:pt x="2399" y="204"/>
                    <a:pt x="2399" y="210"/>
                  </a:cubicBezTo>
                  <a:cubicBezTo>
                    <a:pt x="2399" y="215"/>
                    <a:pt x="2404" y="220"/>
                    <a:pt x="2410" y="220"/>
                  </a:cubicBezTo>
                  <a:cubicBezTo>
                    <a:pt x="2416" y="220"/>
                    <a:pt x="2421" y="215"/>
                    <a:pt x="2421" y="210"/>
                  </a:cubicBezTo>
                  <a:cubicBezTo>
                    <a:pt x="2422" y="204"/>
                    <a:pt x="2417" y="199"/>
                    <a:pt x="2411" y="199"/>
                  </a:cubicBezTo>
                  <a:cubicBezTo>
                    <a:pt x="2411" y="199"/>
                    <a:pt x="2411" y="199"/>
                    <a:pt x="2411" y="199"/>
                  </a:cubicBezTo>
                  <a:moveTo>
                    <a:pt x="2442" y="199"/>
                  </a:moveTo>
                  <a:cubicBezTo>
                    <a:pt x="2436" y="199"/>
                    <a:pt x="2431" y="204"/>
                    <a:pt x="2431" y="210"/>
                  </a:cubicBezTo>
                  <a:cubicBezTo>
                    <a:pt x="2431" y="215"/>
                    <a:pt x="2435" y="220"/>
                    <a:pt x="2442" y="220"/>
                  </a:cubicBezTo>
                  <a:cubicBezTo>
                    <a:pt x="2448" y="220"/>
                    <a:pt x="2453" y="215"/>
                    <a:pt x="2453" y="209"/>
                  </a:cubicBezTo>
                  <a:cubicBezTo>
                    <a:pt x="2453" y="204"/>
                    <a:pt x="2448" y="199"/>
                    <a:pt x="2442" y="199"/>
                  </a:cubicBezTo>
                  <a:cubicBezTo>
                    <a:pt x="2442" y="199"/>
                    <a:pt x="2442" y="199"/>
                    <a:pt x="2442" y="199"/>
                  </a:cubicBezTo>
                  <a:moveTo>
                    <a:pt x="2474" y="199"/>
                  </a:moveTo>
                  <a:cubicBezTo>
                    <a:pt x="2467" y="199"/>
                    <a:pt x="2462" y="204"/>
                    <a:pt x="2462" y="209"/>
                  </a:cubicBezTo>
                  <a:cubicBezTo>
                    <a:pt x="2462" y="215"/>
                    <a:pt x="2467" y="219"/>
                    <a:pt x="2473" y="219"/>
                  </a:cubicBezTo>
                  <a:cubicBezTo>
                    <a:pt x="2479" y="219"/>
                    <a:pt x="2485" y="215"/>
                    <a:pt x="2485" y="209"/>
                  </a:cubicBezTo>
                  <a:cubicBezTo>
                    <a:pt x="2485" y="203"/>
                    <a:pt x="2480" y="199"/>
                    <a:pt x="2474" y="199"/>
                  </a:cubicBezTo>
                  <a:cubicBezTo>
                    <a:pt x="2474" y="199"/>
                    <a:pt x="2474" y="199"/>
                    <a:pt x="2474" y="199"/>
                  </a:cubicBezTo>
                  <a:moveTo>
                    <a:pt x="2505" y="199"/>
                  </a:moveTo>
                  <a:cubicBezTo>
                    <a:pt x="2499" y="199"/>
                    <a:pt x="2494" y="203"/>
                    <a:pt x="2494" y="209"/>
                  </a:cubicBezTo>
                  <a:cubicBezTo>
                    <a:pt x="2494" y="215"/>
                    <a:pt x="2499" y="219"/>
                    <a:pt x="2505" y="219"/>
                  </a:cubicBezTo>
                  <a:cubicBezTo>
                    <a:pt x="2511" y="219"/>
                    <a:pt x="2516" y="214"/>
                    <a:pt x="2516" y="209"/>
                  </a:cubicBezTo>
                  <a:cubicBezTo>
                    <a:pt x="2516" y="203"/>
                    <a:pt x="2511" y="199"/>
                    <a:pt x="2505" y="199"/>
                  </a:cubicBezTo>
                  <a:cubicBezTo>
                    <a:pt x="2505" y="199"/>
                    <a:pt x="2505" y="199"/>
                    <a:pt x="2505" y="199"/>
                  </a:cubicBezTo>
                  <a:moveTo>
                    <a:pt x="2570" y="198"/>
                  </a:moveTo>
                  <a:cubicBezTo>
                    <a:pt x="2564" y="198"/>
                    <a:pt x="2559" y="203"/>
                    <a:pt x="2559" y="208"/>
                  </a:cubicBezTo>
                  <a:cubicBezTo>
                    <a:pt x="2559" y="214"/>
                    <a:pt x="2564" y="219"/>
                    <a:pt x="2571" y="219"/>
                  </a:cubicBezTo>
                  <a:cubicBezTo>
                    <a:pt x="2577" y="218"/>
                    <a:pt x="2582" y="214"/>
                    <a:pt x="2582" y="208"/>
                  </a:cubicBezTo>
                  <a:cubicBezTo>
                    <a:pt x="2581" y="203"/>
                    <a:pt x="2576" y="198"/>
                    <a:pt x="2570" y="198"/>
                  </a:cubicBezTo>
                  <a:cubicBezTo>
                    <a:pt x="2570" y="198"/>
                    <a:pt x="2570" y="198"/>
                    <a:pt x="2570" y="198"/>
                  </a:cubicBezTo>
                  <a:moveTo>
                    <a:pt x="2602" y="198"/>
                  </a:moveTo>
                  <a:cubicBezTo>
                    <a:pt x="2596" y="198"/>
                    <a:pt x="2591" y="202"/>
                    <a:pt x="2591" y="208"/>
                  </a:cubicBezTo>
                  <a:cubicBezTo>
                    <a:pt x="2591" y="214"/>
                    <a:pt x="2596" y="218"/>
                    <a:pt x="2603" y="218"/>
                  </a:cubicBezTo>
                  <a:cubicBezTo>
                    <a:pt x="2609" y="218"/>
                    <a:pt x="2614" y="214"/>
                    <a:pt x="2613" y="208"/>
                  </a:cubicBezTo>
                  <a:cubicBezTo>
                    <a:pt x="2613" y="202"/>
                    <a:pt x="2608" y="198"/>
                    <a:pt x="2602" y="198"/>
                  </a:cubicBezTo>
                  <a:cubicBezTo>
                    <a:pt x="2602" y="198"/>
                    <a:pt x="2602" y="198"/>
                    <a:pt x="2602" y="198"/>
                  </a:cubicBezTo>
                  <a:moveTo>
                    <a:pt x="2633" y="198"/>
                  </a:moveTo>
                  <a:cubicBezTo>
                    <a:pt x="2627" y="198"/>
                    <a:pt x="2622" y="202"/>
                    <a:pt x="2623" y="208"/>
                  </a:cubicBezTo>
                  <a:cubicBezTo>
                    <a:pt x="2623" y="213"/>
                    <a:pt x="2628" y="218"/>
                    <a:pt x="2634" y="218"/>
                  </a:cubicBezTo>
                  <a:cubicBezTo>
                    <a:pt x="2641" y="218"/>
                    <a:pt x="2645" y="213"/>
                    <a:pt x="2645" y="208"/>
                  </a:cubicBezTo>
                  <a:cubicBezTo>
                    <a:pt x="2645" y="202"/>
                    <a:pt x="2640" y="198"/>
                    <a:pt x="2633" y="198"/>
                  </a:cubicBezTo>
                  <a:cubicBezTo>
                    <a:pt x="2633" y="198"/>
                    <a:pt x="2633" y="198"/>
                    <a:pt x="2633" y="198"/>
                  </a:cubicBezTo>
                  <a:moveTo>
                    <a:pt x="2665" y="197"/>
                  </a:moveTo>
                  <a:cubicBezTo>
                    <a:pt x="2659" y="197"/>
                    <a:pt x="2654" y="202"/>
                    <a:pt x="2654" y="208"/>
                  </a:cubicBezTo>
                  <a:cubicBezTo>
                    <a:pt x="2654" y="213"/>
                    <a:pt x="2660" y="218"/>
                    <a:pt x="2666" y="218"/>
                  </a:cubicBezTo>
                  <a:cubicBezTo>
                    <a:pt x="2672" y="218"/>
                    <a:pt x="2677" y="213"/>
                    <a:pt x="2676" y="207"/>
                  </a:cubicBezTo>
                  <a:cubicBezTo>
                    <a:pt x="2676" y="202"/>
                    <a:pt x="2671" y="197"/>
                    <a:pt x="2665" y="197"/>
                  </a:cubicBezTo>
                  <a:cubicBezTo>
                    <a:pt x="2665" y="197"/>
                    <a:pt x="2665" y="197"/>
                    <a:pt x="2665" y="197"/>
                  </a:cubicBezTo>
                  <a:moveTo>
                    <a:pt x="2696" y="197"/>
                  </a:moveTo>
                  <a:cubicBezTo>
                    <a:pt x="2690" y="197"/>
                    <a:pt x="2685" y="202"/>
                    <a:pt x="2686" y="207"/>
                  </a:cubicBezTo>
                  <a:cubicBezTo>
                    <a:pt x="2686" y="213"/>
                    <a:pt x="2692" y="217"/>
                    <a:pt x="2698" y="217"/>
                  </a:cubicBezTo>
                  <a:cubicBezTo>
                    <a:pt x="2704" y="217"/>
                    <a:pt x="2709" y="213"/>
                    <a:pt x="2708" y="207"/>
                  </a:cubicBezTo>
                  <a:cubicBezTo>
                    <a:pt x="2708" y="201"/>
                    <a:pt x="2702" y="197"/>
                    <a:pt x="2696" y="197"/>
                  </a:cubicBezTo>
                  <a:cubicBezTo>
                    <a:pt x="2696" y="197"/>
                    <a:pt x="2696" y="197"/>
                    <a:pt x="2696" y="197"/>
                  </a:cubicBezTo>
                  <a:moveTo>
                    <a:pt x="2728" y="197"/>
                  </a:moveTo>
                  <a:cubicBezTo>
                    <a:pt x="2722" y="197"/>
                    <a:pt x="2717" y="201"/>
                    <a:pt x="2718" y="207"/>
                  </a:cubicBezTo>
                  <a:cubicBezTo>
                    <a:pt x="2718" y="213"/>
                    <a:pt x="2724" y="217"/>
                    <a:pt x="2730" y="217"/>
                  </a:cubicBezTo>
                  <a:cubicBezTo>
                    <a:pt x="2736" y="217"/>
                    <a:pt x="2741" y="212"/>
                    <a:pt x="2740" y="207"/>
                  </a:cubicBezTo>
                  <a:cubicBezTo>
                    <a:pt x="2740" y="201"/>
                    <a:pt x="2734" y="197"/>
                    <a:pt x="2728" y="197"/>
                  </a:cubicBezTo>
                  <a:cubicBezTo>
                    <a:pt x="2728" y="197"/>
                    <a:pt x="2728" y="197"/>
                    <a:pt x="2728" y="197"/>
                  </a:cubicBezTo>
                  <a:moveTo>
                    <a:pt x="2760" y="196"/>
                  </a:moveTo>
                  <a:cubicBezTo>
                    <a:pt x="2754" y="196"/>
                    <a:pt x="2749" y="201"/>
                    <a:pt x="2750" y="207"/>
                  </a:cubicBezTo>
                  <a:cubicBezTo>
                    <a:pt x="2751" y="212"/>
                    <a:pt x="2756" y="217"/>
                    <a:pt x="2762" y="217"/>
                  </a:cubicBezTo>
                  <a:cubicBezTo>
                    <a:pt x="2768" y="217"/>
                    <a:pt x="2773" y="212"/>
                    <a:pt x="2772" y="207"/>
                  </a:cubicBezTo>
                  <a:cubicBezTo>
                    <a:pt x="2772" y="201"/>
                    <a:pt x="2766" y="196"/>
                    <a:pt x="2760" y="196"/>
                  </a:cubicBezTo>
                  <a:cubicBezTo>
                    <a:pt x="2760" y="196"/>
                    <a:pt x="2760" y="196"/>
                    <a:pt x="2760" y="196"/>
                  </a:cubicBezTo>
                  <a:moveTo>
                    <a:pt x="2792" y="196"/>
                  </a:moveTo>
                  <a:cubicBezTo>
                    <a:pt x="2786" y="196"/>
                    <a:pt x="2781" y="201"/>
                    <a:pt x="2782" y="206"/>
                  </a:cubicBezTo>
                  <a:cubicBezTo>
                    <a:pt x="2782" y="212"/>
                    <a:pt x="2788" y="217"/>
                    <a:pt x="2794" y="217"/>
                  </a:cubicBezTo>
                  <a:cubicBezTo>
                    <a:pt x="2800" y="217"/>
                    <a:pt x="2805" y="212"/>
                    <a:pt x="2804" y="206"/>
                  </a:cubicBezTo>
                  <a:cubicBezTo>
                    <a:pt x="2803" y="201"/>
                    <a:pt x="2798" y="196"/>
                    <a:pt x="2792" y="196"/>
                  </a:cubicBezTo>
                  <a:cubicBezTo>
                    <a:pt x="2792" y="196"/>
                    <a:pt x="2792" y="196"/>
                    <a:pt x="2792" y="196"/>
                  </a:cubicBezTo>
                  <a:moveTo>
                    <a:pt x="2823" y="196"/>
                  </a:moveTo>
                  <a:cubicBezTo>
                    <a:pt x="2817" y="196"/>
                    <a:pt x="2813" y="201"/>
                    <a:pt x="2814" y="206"/>
                  </a:cubicBezTo>
                  <a:cubicBezTo>
                    <a:pt x="2814" y="212"/>
                    <a:pt x="2820" y="216"/>
                    <a:pt x="2826" y="216"/>
                  </a:cubicBezTo>
                  <a:cubicBezTo>
                    <a:pt x="2832" y="216"/>
                    <a:pt x="2837" y="212"/>
                    <a:pt x="2836" y="206"/>
                  </a:cubicBezTo>
                  <a:cubicBezTo>
                    <a:pt x="2835" y="200"/>
                    <a:pt x="2830" y="196"/>
                    <a:pt x="2824" y="196"/>
                  </a:cubicBezTo>
                  <a:cubicBezTo>
                    <a:pt x="2824" y="196"/>
                    <a:pt x="2823" y="196"/>
                    <a:pt x="2823" y="196"/>
                  </a:cubicBezTo>
                  <a:moveTo>
                    <a:pt x="2855" y="196"/>
                  </a:moveTo>
                  <a:cubicBezTo>
                    <a:pt x="2849" y="196"/>
                    <a:pt x="2844" y="200"/>
                    <a:pt x="2845" y="206"/>
                  </a:cubicBezTo>
                  <a:cubicBezTo>
                    <a:pt x="2846" y="212"/>
                    <a:pt x="2852" y="216"/>
                    <a:pt x="2858" y="216"/>
                  </a:cubicBezTo>
                  <a:cubicBezTo>
                    <a:pt x="2864" y="216"/>
                    <a:pt x="2868" y="211"/>
                    <a:pt x="2867" y="206"/>
                  </a:cubicBezTo>
                  <a:cubicBezTo>
                    <a:pt x="2867" y="200"/>
                    <a:pt x="2861" y="196"/>
                    <a:pt x="2855" y="196"/>
                  </a:cubicBezTo>
                  <a:cubicBezTo>
                    <a:pt x="2855" y="196"/>
                    <a:pt x="2855" y="196"/>
                    <a:pt x="2855" y="196"/>
                  </a:cubicBezTo>
                  <a:moveTo>
                    <a:pt x="2887" y="195"/>
                  </a:moveTo>
                  <a:cubicBezTo>
                    <a:pt x="2881" y="195"/>
                    <a:pt x="2876" y="200"/>
                    <a:pt x="2877" y="206"/>
                  </a:cubicBezTo>
                  <a:cubicBezTo>
                    <a:pt x="2878" y="211"/>
                    <a:pt x="2884" y="216"/>
                    <a:pt x="2890" y="216"/>
                  </a:cubicBezTo>
                  <a:cubicBezTo>
                    <a:pt x="2896" y="216"/>
                    <a:pt x="2900" y="211"/>
                    <a:pt x="2899" y="205"/>
                  </a:cubicBezTo>
                  <a:cubicBezTo>
                    <a:pt x="2899" y="200"/>
                    <a:pt x="2893" y="195"/>
                    <a:pt x="2887" y="195"/>
                  </a:cubicBezTo>
                  <a:cubicBezTo>
                    <a:pt x="2887" y="195"/>
                    <a:pt x="2887" y="195"/>
                    <a:pt x="2887" y="195"/>
                  </a:cubicBezTo>
                  <a:moveTo>
                    <a:pt x="2918" y="195"/>
                  </a:moveTo>
                  <a:cubicBezTo>
                    <a:pt x="2912" y="195"/>
                    <a:pt x="2908" y="200"/>
                    <a:pt x="2909" y="206"/>
                  </a:cubicBezTo>
                  <a:cubicBezTo>
                    <a:pt x="2910" y="211"/>
                    <a:pt x="2915" y="216"/>
                    <a:pt x="2921" y="216"/>
                  </a:cubicBezTo>
                  <a:cubicBezTo>
                    <a:pt x="2928" y="216"/>
                    <a:pt x="2932" y="211"/>
                    <a:pt x="2931" y="205"/>
                  </a:cubicBezTo>
                  <a:cubicBezTo>
                    <a:pt x="2930" y="200"/>
                    <a:pt x="2924" y="195"/>
                    <a:pt x="2918" y="195"/>
                  </a:cubicBezTo>
                  <a:cubicBezTo>
                    <a:pt x="2918" y="195"/>
                    <a:pt x="2918" y="195"/>
                    <a:pt x="2918" y="195"/>
                  </a:cubicBezTo>
                  <a:moveTo>
                    <a:pt x="2948" y="195"/>
                  </a:moveTo>
                  <a:cubicBezTo>
                    <a:pt x="2942" y="195"/>
                    <a:pt x="2938" y="200"/>
                    <a:pt x="2939" y="205"/>
                  </a:cubicBezTo>
                  <a:cubicBezTo>
                    <a:pt x="2940" y="211"/>
                    <a:pt x="2946" y="215"/>
                    <a:pt x="2952" y="215"/>
                  </a:cubicBezTo>
                  <a:cubicBezTo>
                    <a:pt x="2958" y="215"/>
                    <a:pt x="2962" y="211"/>
                    <a:pt x="2961" y="205"/>
                  </a:cubicBezTo>
                  <a:cubicBezTo>
                    <a:pt x="2960" y="199"/>
                    <a:pt x="2955" y="195"/>
                    <a:pt x="2948" y="195"/>
                  </a:cubicBezTo>
                  <a:cubicBezTo>
                    <a:pt x="2948" y="195"/>
                    <a:pt x="2948" y="195"/>
                    <a:pt x="2948" y="195"/>
                  </a:cubicBezTo>
                  <a:moveTo>
                    <a:pt x="2980" y="195"/>
                  </a:moveTo>
                  <a:cubicBezTo>
                    <a:pt x="2974" y="195"/>
                    <a:pt x="2970" y="199"/>
                    <a:pt x="2971" y="205"/>
                  </a:cubicBezTo>
                  <a:cubicBezTo>
                    <a:pt x="2972" y="211"/>
                    <a:pt x="2977" y="215"/>
                    <a:pt x="2984" y="215"/>
                  </a:cubicBezTo>
                  <a:cubicBezTo>
                    <a:pt x="2990" y="215"/>
                    <a:pt x="2994" y="210"/>
                    <a:pt x="2993" y="205"/>
                  </a:cubicBezTo>
                  <a:cubicBezTo>
                    <a:pt x="2992" y="199"/>
                    <a:pt x="2986" y="195"/>
                    <a:pt x="2980" y="195"/>
                  </a:cubicBezTo>
                  <a:cubicBezTo>
                    <a:pt x="2980" y="195"/>
                    <a:pt x="2980" y="195"/>
                    <a:pt x="2980" y="195"/>
                  </a:cubicBezTo>
                  <a:moveTo>
                    <a:pt x="3012" y="194"/>
                  </a:moveTo>
                  <a:cubicBezTo>
                    <a:pt x="3006" y="194"/>
                    <a:pt x="3001" y="199"/>
                    <a:pt x="3003" y="205"/>
                  </a:cubicBezTo>
                  <a:cubicBezTo>
                    <a:pt x="3004" y="210"/>
                    <a:pt x="3010" y="215"/>
                    <a:pt x="3016" y="215"/>
                  </a:cubicBezTo>
                  <a:cubicBezTo>
                    <a:pt x="3022" y="215"/>
                    <a:pt x="3026" y="210"/>
                    <a:pt x="3025" y="205"/>
                  </a:cubicBezTo>
                  <a:cubicBezTo>
                    <a:pt x="3024" y="199"/>
                    <a:pt x="3018" y="194"/>
                    <a:pt x="3012" y="194"/>
                  </a:cubicBezTo>
                  <a:cubicBezTo>
                    <a:pt x="3012" y="194"/>
                    <a:pt x="3012" y="194"/>
                    <a:pt x="3012" y="194"/>
                  </a:cubicBezTo>
                  <a:moveTo>
                    <a:pt x="3044" y="194"/>
                  </a:moveTo>
                  <a:cubicBezTo>
                    <a:pt x="3038" y="194"/>
                    <a:pt x="3034" y="199"/>
                    <a:pt x="3035" y="204"/>
                  </a:cubicBezTo>
                  <a:cubicBezTo>
                    <a:pt x="3037" y="210"/>
                    <a:pt x="3043" y="215"/>
                    <a:pt x="3049" y="215"/>
                  </a:cubicBezTo>
                  <a:cubicBezTo>
                    <a:pt x="3055" y="215"/>
                    <a:pt x="3059" y="210"/>
                    <a:pt x="3058" y="204"/>
                  </a:cubicBezTo>
                  <a:cubicBezTo>
                    <a:pt x="3057" y="199"/>
                    <a:pt x="3051" y="194"/>
                    <a:pt x="3045" y="194"/>
                  </a:cubicBezTo>
                  <a:cubicBezTo>
                    <a:pt x="3045" y="194"/>
                    <a:pt x="3045" y="194"/>
                    <a:pt x="3044" y="194"/>
                  </a:cubicBezTo>
                  <a:moveTo>
                    <a:pt x="3076" y="194"/>
                  </a:moveTo>
                  <a:cubicBezTo>
                    <a:pt x="3070" y="194"/>
                    <a:pt x="3066" y="199"/>
                    <a:pt x="3067" y="204"/>
                  </a:cubicBezTo>
                  <a:cubicBezTo>
                    <a:pt x="3068" y="210"/>
                    <a:pt x="3074" y="214"/>
                    <a:pt x="3080" y="214"/>
                  </a:cubicBezTo>
                  <a:cubicBezTo>
                    <a:pt x="3087" y="214"/>
                    <a:pt x="3091" y="210"/>
                    <a:pt x="3089" y="204"/>
                  </a:cubicBezTo>
                  <a:cubicBezTo>
                    <a:pt x="3088" y="198"/>
                    <a:pt x="3082" y="194"/>
                    <a:pt x="3076" y="194"/>
                  </a:cubicBezTo>
                  <a:cubicBezTo>
                    <a:pt x="3076" y="194"/>
                    <a:pt x="3076" y="194"/>
                    <a:pt x="3076" y="194"/>
                  </a:cubicBezTo>
                  <a:moveTo>
                    <a:pt x="3108" y="194"/>
                  </a:moveTo>
                  <a:cubicBezTo>
                    <a:pt x="3102" y="194"/>
                    <a:pt x="3098" y="198"/>
                    <a:pt x="3099" y="204"/>
                  </a:cubicBezTo>
                  <a:cubicBezTo>
                    <a:pt x="3100" y="210"/>
                    <a:pt x="3106" y="214"/>
                    <a:pt x="3112" y="214"/>
                  </a:cubicBezTo>
                  <a:cubicBezTo>
                    <a:pt x="3119" y="214"/>
                    <a:pt x="3123" y="209"/>
                    <a:pt x="3121" y="204"/>
                  </a:cubicBezTo>
                  <a:cubicBezTo>
                    <a:pt x="3120" y="198"/>
                    <a:pt x="3114" y="194"/>
                    <a:pt x="3108" y="194"/>
                  </a:cubicBezTo>
                  <a:cubicBezTo>
                    <a:pt x="3108" y="194"/>
                    <a:pt x="3108" y="194"/>
                    <a:pt x="3108" y="194"/>
                  </a:cubicBezTo>
                  <a:moveTo>
                    <a:pt x="3140" y="193"/>
                  </a:moveTo>
                  <a:cubicBezTo>
                    <a:pt x="3134" y="193"/>
                    <a:pt x="3130" y="198"/>
                    <a:pt x="3131" y="204"/>
                  </a:cubicBezTo>
                  <a:cubicBezTo>
                    <a:pt x="3133" y="209"/>
                    <a:pt x="3139" y="214"/>
                    <a:pt x="3145" y="214"/>
                  </a:cubicBezTo>
                  <a:cubicBezTo>
                    <a:pt x="3151" y="214"/>
                    <a:pt x="3155" y="209"/>
                    <a:pt x="3153" y="203"/>
                  </a:cubicBezTo>
                  <a:cubicBezTo>
                    <a:pt x="3152" y="198"/>
                    <a:pt x="3146" y="193"/>
                    <a:pt x="3140" y="193"/>
                  </a:cubicBezTo>
                  <a:cubicBezTo>
                    <a:pt x="3140" y="193"/>
                    <a:pt x="3140" y="193"/>
                    <a:pt x="3140" y="193"/>
                  </a:cubicBezTo>
                  <a:moveTo>
                    <a:pt x="3171" y="193"/>
                  </a:moveTo>
                  <a:cubicBezTo>
                    <a:pt x="3165" y="193"/>
                    <a:pt x="3161" y="198"/>
                    <a:pt x="3163" y="203"/>
                  </a:cubicBezTo>
                  <a:cubicBezTo>
                    <a:pt x="3164" y="209"/>
                    <a:pt x="3170" y="214"/>
                    <a:pt x="3177" y="213"/>
                  </a:cubicBezTo>
                  <a:cubicBezTo>
                    <a:pt x="3183" y="213"/>
                    <a:pt x="3187" y="209"/>
                    <a:pt x="3185" y="203"/>
                  </a:cubicBezTo>
                  <a:cubicBezTo>
                    <a:pt x="3184" y="198"/>
                    <a:pt x="3178" y="193"/>
                    <a:pt x="3171" y="193"/>
                  </a:cubicBezTo>
                  <a:cubicBezTo>
                    <a:pt x="3171" y="193"/>
                    <a:pt x="3171" y="193"/>
                    <a:pt x="3171" y="193"/>
                  </a:cubicBezTo>
                  <a:moveTo>
                    <a:pt x="3203" y="193"/>
                  </a:moveTo>
                  <a:cubicBezTo>
                    <a:pt x="3197" y="193"/>
                    <a:pt x="3193" y="197"/>
                    <a:pt x="3195" y="203"/>
                  </a:cubicBezTo>
                  <a:cubicBezTo>
                    <a:pt x="3196" y="209"/>
                    <a:pt x="3202" y="213"/>
                    <a:pt x="3209" y="213"/>
                  </a:cubicBezTo>
                  <a:cubicBezTo>
                    <a:pt x="3215" y="213"/>
                    <a:pt x="3218" y="209"/>
                    <a:pt x="3217" y="203"/>
                  </a:cubicBezTo>
                  <a:cubicBezTo>
                    <a:pt x="3215" y="197"/>
                    <a:pt x="3209" y="193"/>
                    <a:pt x="3203" y="193"/>
                  </a:cubicBezTo>
                  <a:cubicBezTo>
                    <a:pt x="3203" y="193"/>
                    <a:pt x="3203" y="193"/>
                    <a:pt x="3203" y="193"/>
                  </a:cubicBezTo>
                  <a:moveTo>
                    <a:pt x="3235" y="192"/>
                  </a:moveTo>
                  <a:cubicBezTo>
                    <a:pt x="3228" y="192"/>
                    <a:pt x="3225" y="197"/>
                    <a:pt x="3226" y="203"/>
                  </a:cubicBezTo>
                  <a:cubicBezTo>
                    <a:pt x="3228" y="208"/>
                    <a:pt x="3234" y="213"/>
                    <a:pt x="3240" y="213"/>
                  </a:cubicBezTo>
                  <a:cubicBezTo>
                    <a:pt x="3246" y="213"/>
                    <a:pt x="3250" y="208"/>
                    <a:pt x="3249" y="203"/>
                  </a:cubicBezTo>
                  <a:cubicBezTo>
                    <a:pt x="3247" y="197"/>
                    <a:pt x="3241" y="192"/>
                    <a:pt x="3235" y="192"/>
                  </a:cubicBezTo>
                  <a:cubicBezTo>
                    <a:pt x="3235" y="192"/>
                    <a:pt x="3235" y="192"/>
                    <a:pt x="3235" y="192"/>
                  </a:cubicBezTo>
                  <a:moveTo>
                    <a:pt x="3266" y="192"/>
                  </a:moveTo>
                  <a:cubicBezTo>
                    <a:pt x="3260" y="192"/>
                    <a:pt x="3256" y="197"/>
                    <a:pt x="3258" y="202"/>
                  </a:cubicBezTo>
                  <a:cubicBezTo>
                    <a:pt x="3260" y="208"/>
                    <a:pt x="3266" y="213"/>
                    <a:pt x="3272" y="213"/>
                  </a:cubicBezTo>
                  <a:cubicBezTo>
                    <a:pt x="3278" y="213"/>
                    <a:pt x="3282" y="208"/>
                    <a:pt x="3280" y="202"/>
                  </a:cubicBezTo>
                  <a:cubicBezTo>
                    <a:pt x="3279" y="197"/>
                    <a:pt x="3272" y="192"/>
                    <a:pt x="3266" y="192"/>
                  </a:cubicBezTo>
                  <a:cubicBezTo>
                    <a:pt x="3266" y="192"/>
                    <a:pt x="3266" y="192"/>
                    <a:pt x="3266" y="192"/>
                  </a:cubicBezTo>
                  <a:moveTo>
                    <a:pt x="3298" y="192"/>
                  </a:moveTo>
                  <a:cubicBezTo>
                    <a:pt x="3291" y="192"/>
                    <a:pt x="3288" y="197"/>
                    <a:pt x="3290" y="202"/>
                  </a:cubicBezTo>
                  <a:cubicBezTo>
                    <a:pt x="3291" y="208"/>
                    <a:pt x="3298" y="212"/>
                    <a:pt x="3304" y="212"/>
                  </a:cubicBezTo>
                  <a:cubicBezTo>
                    <a:pt x="3310" y="212"/>
                    <a:pt x="3314" y="208"/>
                    <a:pt x="3312" y="202"/>
                  </a:cubicBezTo>
                  <a:cubicBezTo>
                    <a:pt x="3310" y="196"/>
                    <a:pt x="3304" y="192"/>
                    <a:pt x="3298" y="192"/>
                  </a:cubicBezTo>
                  <a:cubicBezTo>
                    <a:pt x="3298" y="192"/>
                    <a:pt x="3298" y="192"/>
                    <a:pt x="3298" y="192"/>
                  </a:cubicBezTo>
                  <a:moveTo>
                    <a:pt x="3329" y="192"/>
                  </a:moveTo>
                  <a:cubicBezTo>
                    <a:pt x="3323" y="192"/>
                    <a:pt x="3320" y="196"/>
                    <a:pt x="3321" y="202"/>
                  </a:cubicBezTo>
                  <a:cubicBezTo>
                    <a:pt x="3323" y="208"/>
                    <a:pt x="3330" y="212"/>
                    <a:pt x="3336" y="212"/>
                  </a:cubicBezTo>
                  <a:cubicBezTo>
                    <a:pt x="3342" y="212"/>
                    <a:pt x="3346" y="207"/>
                    <a:pt x="3344" y="202"/>
                  </a:cubicBezTo>
                  <a:cubicBezTo>
                    <a:pt x="3342" y="196"/>
                    <a:pt x="3336" y="192"/>
                    <a:pt x="3329" y="192"/>
                  </a:cubicBezTo>
                  <a:cubicBezTo>
                    <a:pt x="3329" y="192"/>
                    <a:pt x="3329" y="192"/>
                    <a:pt x="3329" y="192"/>
                  </a:cubicBezTo>
                  <a:moveTo>
                    <a:pt x="3362" y="191"/>
                  </a:moveTo>
                  <a:cubicBezTo>
                    <a:pt x="3356" y="191"/>
                    <a:pt x="3352" y="196"/>
                    <a:pt x="3354" y="202"/>
                  </a:cubicBezTo>
                  <a:cubicBezTo>
                    <a:pt x="3356" y="207"/>
                    <a:pt x="3363" y="212"/>
                    <a:pt x="3369" y="212"/>
                  </a:cubicBezTo>
                  <a:cubicBezTo>
                    <a:pt x="3375" y="212"/>
                    <a:pt x="3378" y="207"/>
                    <a:pt x="3377" y="201"/>
                  </a:cubicBezTo>
                  <a:cubicBezTo>
                    <a:pt x="3375" y="196"/>
                    <a:pt x="3368" y="191"/>
                    <a:pt x="3362" y="191"/>
                  </a:cubicBezTo>
                  <a:cubicBezTo>
                    <a:pt x="3362" y="191"/>
                    <a:pt x="3362" y="191"/>
                    <a:pt x="3362" y="191"/>
                  </a:cubicBezTo>
                  <a:moveTo>
                    <a:pt x="3394" y="191"/>
                  </a:moveTo>
                  <a:cubicBezTo>
                    <a:pt x="3387" y="191"/>
                    <a:pt x="3384" y="196"/>
                    <a:pt x="3386" y="201"/>
                  </a:cubicBezTo>
                  <a:cubicBezTo>
                    <a:pt x="3388" y="207"/>
                    <a:pt x="3394" y="212"/>
                    <a:pt x="3400" y="212"/>
                  </a:cubicBezTo>
                  <a:cubicBezTo>
                    <a:pt x="3407" y="211"/>
                    <a:pt x="3410" y="207"/>
                    <a:pt x="3408" y="201"/>
                  </a:cubicBezTo>
                  <a:cubicBezTo>
                    <a:pt x="3406" y="196"/>
                    <a:pt x="3400" y="191"/>
                    <a:pt x="3394" y="191"/>
                  </a:cubicBezTo>
                  <a:cubicBezTo>
                    <a:pt x="3394" y="191"/>
                    <a:pt x="3394" y="191"/>
                    <a:pt x="3394" y="191"/>
                  </a:cubicBezTo>
                  <a:moveTo>
                    <a:pt x="3425" y="191"/>
                  </a:moveTo>
                  <a:cubicBezTo>
                    <a:pt x="3419" y="191"/>
                    <a:pt x="3416" y="195"/>
                    <a:pt x="3418" y="201"/>
                  </a:cubicBezTo>
                  <a:cubicBezTo>
                    <a:pt x="3420" y="207"/>
                    <a:pt x="3426" y="211"/>
                    <a:pt x="3433" y="211"/>
                  </a:cubicBezTo>
                  <a:cubicBezTo>
                    <a:pt x="3439" y="211"/>
                    <a:pt x="3442" y="207"/>
                    <a:pt x="3440" y="201"/>
                  </a:cubicBezTo>
                  <a:cubicBezTo>
                    <a:pt x="3438" y="195"/>
                    <a:pt x="3432" y="191"/>
                    <a:pt x="3425" y="191"/>
                  </a:cubicBezTo>
                  <a:cubicBezTo>
                    <a:pt x="3425" y="191"/>
                    <a:pt x="3425" y="191"/>
                    <a:pt x="3425" y="191"/>
                  </a:cubicBezTo>
                  <a:moveTo>
                    <a:pt x="3457" y="190"/>
                  </a:moveTo>
                  <a:cubicBezTo>
                    <a:pt x="3451" y="190"/>
                    <a:pt x="3448" y="195"/>
                    <a:pt x="3450" y="201"/>
                  </a:cubicBezTo>
                  <a:cubicBezTo>
                    <a:pt x="3452" y="206"/>
                    <a:pt x="3459" y="211"/>
                    <a:pt x="3465" y="211"/>
                  </a:cubicBezTo>
                  <a:cubicBezTo>
                    <a:pt x="3471" y="211"/>
                    <a:pt x="3474" y="206"/>
                    <a:pt x="3472" y="201"/>
                  </a:cubicBezTo>
                  <a:cubicBezTo>
                    <a:pt x="3470" y="195"/>
                    <a:pt x="3464" y="190"/>
                    <a:pt x="3457" y="190"/>
                  </a:cubicBezTo>
                  <a:cubicBezTo>
                    <a:pt x="3457" y="190"/>
                    <a:pt x="3457" y="190"/>
                    <a:pt x="3457" y="190"/>
                  </a:cubicBezTo>
                  <a:moveTo>
                    <a:pt x="3489" y="190"/>
                  </a:moveTo>
                  <a:cubicBezTo>
                    <a:pt x="3483" y="190"/>
                    <a:pt x="3479" y="195"/>
                    <a:pt x="3482" y="201"/>
                  </a:cubicBezTo>
                  <a:cubicBezTo>
                    <a:pt x="3484" y="206"/>
                    <a:pt x="3490" y="211"/>
                    <a:pt x="3497" y="211"/>
                  </a:cubicBezTo>
                  <a:cubicBezTo>
                    <a:pt x="3503" y="211"/>
                    <a:pt x="3506" y="206"/>
                    <a:pt x="3504" y="200"/>
                  </a:cubicBezTo>
                  <a:cubicBezTo>
                    <a:pt x="3502" y="195"/>
                    <a:pt x="3495" y="190"/>
                    <a:pt x="3489" y="190"/>
                  </a:cubicBezTo>
                  <a:cubicBezTo>
                    <a:pt x="3489" y="190"/>
                    <a:pt x="3489" y="190"/>
                    <a:pt x="3489" y="190"/>
                  </a:cubicBezTo>
                  <a:moveTo>
                    <a:pt x="3520" y="190"/>
                  </a:moveTo>
                  <a:cubicBezTo>
                    <a:pt x="3514" y="190"/>
                    <a:pt x="3511" y="195"/>
                    <a:pt x="3513" y="200"/>
                  </a:cubicBezTo>
                  <a:cubicBezTo>
                    <a:pt x="3516" y="206"/>
                    <a:pt x="3522" y="210"/>
                    <a:pt x="3528" y="210"/>
                  </a:cubicBezTo>
                  <a:cubicBezTo>
                    <a:pt x="3535" y="210"/>
                    <a:pt x="3538" y="206"/>
                    <a:pt x="3536" y="200"/>
                  </a:cubicBezTo>
                  <a:cubicBezTo>
                    <a:pt x="3533" y="194"/>
                    <a:pt x="3527" y="190"/>
                    <a:pt x="3521" y="190"/>
                  </a:cubicBezTo>
                  <a:cubicBezTo>
                    <a:pt x="3521" y="190"/>
                    <a:pt x="3521" y="190"/>
                    <a:pt x="3520" y="190"/>
                  </a:cubicBezTo>
                  <a:moveTo>
                    <a:pt x="3552" y="190"/>
                  </a:moveTo>
                  <a:cubicBezTo>
                    <a:pt x="3546" y="190"/>
                    <a:pt x="3543" y="194"/>
                    <a:pt x="3545" y="200"/>
                  </a:cubicBezTo>
                  <a:cubicBezTo>
                    <a:pt x="3547" y="206"/>
                    <a:pt x="3554" y="210"/>
                    <a:pt x="3560" y="210"/>
                  </a:cubicBezTo>
                  <a:cubicBezTo>
                    <a:pt x="3566" y="210"/>
                    <a:pt x="3569" y="205"/>
                    <a:pt x="3567" y="200"/>
                  </a:cubicBezTo>
                  <a:cubicBezTo>
                    <a:pt x="3565" y="194"/>
                    <a:pt x="3558" y="190"/>
                    <a:pt x="3552" y="190"/>
                  </a:cubicBezTo>
                  <a:cubicBezTo>
                    <a:pt x="3552" y="190"/>
                    <a:pt x="3552" y="190"/>
                    <a:pt x="3552" y="190"/>
                  </a:cubicBezTo>
                  <a:moveTo>
                    <a:pt x="3584" y="189"/>
                  </a:moveTo>
                  <a:cubicBezTo>
                    <a:pt x="3578" y="189"/>
                    <a:pt x="3575" y="194"/>
                    <a:pt x="3577" y="200"/>
                  </a:cubicBezTo>
                  <a:cubicBezTo>
                    <a:pt x="3580" y="205"/>
                    <a:pt x="3586" y="210"/>
                    <a:pt x="3593" y="210"/>
                  </a:cubicBezTo>
                  <a:cubicBezTo>
                    <a:pt x="3599" y="210"/>
                    <a:pt x="3602" y="205"/>
                    <a:pt x="3600" y="199"/>
                  </a:cubicBezTo>
                  <a:cubicBezTo>
                    <a:pt x="3597" y="194"/>
                    <a:pt x="3590" y="189"/>
                    <a:pt x="3584" y="189"/>
                  </a:cubicBezTo>
                  <a:cubicBezTo>
                    <a:pt x="3584" y="189"/>
                    <a:pt x="3584" y="189"/>
                    <a:pt x="3584" y="189"/>
                  </a:cubicBezTo>
                  <a:moveTo>
                    <a:pt x="3616" y="189"/>
                  </a:moveTo>
                  <a:cubicBezTo>
                    <a:pt x="3610" y="189"/>
                    <a:pt x="3607" y="194"/>
                    <a:pt x="3609" y="199"/>
                  </a:cubicBezTo>
                  <a:cubicBezTo>
                    <a:pt x="3612" y="205"/>
                    <a:pt x="3618" y="210"/>
                    <a:pt x="3625" y="210"/>
                  </a:cubicBezTo>
                  <a:cubicBezTo>
                    <a:pt x="3631" y="210"/>
                    <a:pt x="3634" y="205"/>
                    <a:pt x="3631" y="199"/>
                  </a:cubicBezTo>
                  <a:cubicBezTo>
                    <a:pt x="3629" y="194"/>
                    <a:pt x="3622" y="189"/>
                    <a:pt x="3616" y="189"/>
                  </a:cubicBezTo>
                  <a:cubicBezTo>
                    <a:pt x="3616" y="189"/>
                    <a:pt x="3616" y="189"/>
                    <a:pt x="3616" y="189"/>
                  </a:cubicBezTo>
                  <a:moveTo>
                    <a:pt x="3649" y="189"/>
                  </a:moveTo>
                  <a:cubicBezTo>
                    <a:pt x="3642" y="189"/>
                    <a:pt x="3639" y="193"/>
                    <a:pt x="3642" y="199"/>
                  </a:cubicBezTo>
                  <a:cubicBezTo>
                    <a:pt x="3644" y="205"/>
                    <a:pt x="3651" y="209"/>
                    <a:pt x="3658" y="209"/>
                  </a:cubicBezTo>
                  <a:cubicBezTo>
                    <a:pt x="3664" y="209"/>
                    <a:pt x="3667" y="205"/>
                    <a:pt x="3664" y="199"/>
                  </a:cubicBezTo>
                  <a:cubicBezTo>
                    <a:pt x="3662" y="193"/>
                    <a:pt x="3655" y="189"/>
                    <a:pt x="3649" y="189"/>
                  </a:cubicBezTo>
                  <a:cubicBezTo>
                    <a:pt x="3649" y="189"/>
                    <a:pt x="3649" y="189"/>
                    <a:pt x="3649" y="189"/>
                  </a:cubicBezTo>
                  <a:moveTo>
                    <a:pt x="360" y="189"/>
                  </a:moveTo>
                  <a:cubicBezTo>
                    <a:pt x="353" y="189"/>
                    <a:pt x="345" y="193"/>
                    <a:pt x="340" y="199"/>
                  </a:cubicBezTo>
                  <a:cubicBezTo>
                    <a:pt x="335" y="204"/>
                    <a:pt x="337" y="209"/>
                    <a:pt x="343" y="209"/>
                  </a:cubicBezTo>
                  <a:cubicBezTo>
                    <a:pt x="349" y="209"/>
                    <a:pt x="358" y="204"/>
                    <a:pt x="362" y="199"/>
                  </a:cubicBezTo>
                  <a:cubicBezTo>
                    <a:pt x="367" y="193"/>
                    <a:pt x="366" y="189"/>
                    <a:pt x="360" y="189"/>
                  </a:cubicBezTo>
                  <a:cubicBezTo>
                    <a:pt x="360" y="189"/>
                    <a:pt x="360" y="189"/>
                    <a:pt x="360" y="189"/>
                  </a:cubicBezTo>
                  <a:moveTo>
                    <a:pt x="3680" y="188"/>
                  </a:moveTo>
                  <a:cubicBezTo>
                    <a:pt x="3674" y="189"/>
                    <a:pt x="3671" y="193"/>
                    <a:pt x="3673" y="199"/>
                  </a:cubicBezTo>
                  <a:cubicBezTo>
                    <a:pt x="3676" y="205"/>
                    <a:pt x="3683" y="209"/>
                    <a:pt x="3689" y="209"/>
                  </a:cubicBezTo>
                  <a:cubicBezTo>
                    <a:pt x="3695" y="209"/>
                    <a:pt x="3698" y="204"/>
                    <a:pt x="3696" y="199"/>
                  </a:cubicBezTo>
                  <a:cubicBezTo>
                    <a:pt x="3693" y="193"/>
                    <a:pt x="3686" y="188"/>
                    <a:pt x="3680" y="188"/>
                  </a:cubicBezTo>
                  <a:cubicBezTo>
                    <a:pt x="3680" y="188"/>
                    <a:pt x="3680" y="188"/>
                    <a:pt x="3680" y="188"/>
                  </a:cubicBezTo>
                  <a:moveTo>
                    <a:pt x="391" y="188"/>
                  </a:moveTo>
                  <a:cubicBezTo>
                    <a:pt x="385" y="188"/>
                    <a:pt x="376" y="193"/>
                    <a:pt x="372" y="198"/>
                  </a:cubicBezTo>
                  <a:cubicBezTo>
                    <a:pt x="367" y="204"/>
                    <a:pt x="369" y="209"/>
                    <a:pt x="375" y="209"/>
                  </a:cubicBezTo>
                  <a:cubicBezTo>
                    <a:pt x="381" y="208"/>
                    <a:pt x="390" y="204"/>
                    <a:pt x="394" y="198"/>
                  </a:cubicBezTo>
                  <a:cubicBezTo>
                    <a:pt x="399" y="193"/>
                    <a:pt x="397" y="188"/>
                    <a:pt x="391" y="188"/>
                  </a:cubicBezTo>
                  <a:cubicBezTo>
                    <a:pt x="391" y="188"/>
                    <a:pt x="391" y="188"/>
                    <a:pt x="391" y="188"/>
                  </a:cubicBezTo>
                  <a:moveTo>
                    <a:pt x="3712" y="188"/>
                  </a:moveTo>
                  <a:cubicBezTo>
                    <a:pt x="3706" y="188"/>
                    <a:pt x="3703" y="193"/>
                    <a:pt x="3705" y="199"/>
                  </a:cubicBezTo>
                  <a:cubicBezTo>
                    <a:pt x="3708" y="204"/>
                    <a:pt x="3715" y="209"/>
                    <a:pt x="3721" y="209"/>
                  </a:cubicBezTo>
                  <a:cubicBezTo>
                    <a:pt x="3727" y="209"/>
                    <a:pt x="3730" y="204"/>
                    <a:pt x="3728" y="198"/>
                  </a:cubicBezTo>
                  <a:cubicBezTo>
                    <a:pt x="3725" y="193"/>
                    <a:pt x="3718" y="188"/>
                    <a:pt x="3712" y="188"/>
                  </a:cubicBezTo>
                  <a:cubicBezTo>
                    <a:pt x="3712" y="188"/>
                    <a:pt x="3712" y="188"/>
                    <a:pt x="3712" y="188"/>
                  </a:cubicBezTo>
                  <a:moveTo>
                    <a:pt x="424" y="188"/>
                  </a:moveTo>
                  <a:cubicBezTo>
                    <a:pt x="418" y="188"/>
                    <a:pt x="409" y="193"/>
                    <a:pt x="405" y="198"/>
                  </a:cubicBezTo>
                  <a:cubicBezTo>
                    <a:pt x="400" y="204"/>
                    <a:pt x="402" y="208"/>
                    <a:pt x="408" y="208"/>
                  </a:cubicBezTo>
                  <a:cubicBezTo>
                    <a:pt x="414" y="208"/>
                    <a:pt x="423" y="204"/>
                    <a:pt x="427" y="198"/>
                  </a:cubicBezTo>
                  <a:cubicBezTo>
                    <a:pt x="432" y="192"/>
                    <a:pt x="430" y="188"/>
                    <a:pt x="424" y="188"/>
                  </a:cubicBezTo>
                  <a:cubicBezTo>
                    <a:pt x="424" y="188"/>
                    <a:pt x="424" y="188"/>
                    <a:pt x="424" y="188"/>
                  </a:cubicBezTo>
                  <a:moveTo>
                    <a:pt x="3744" y="188"/>
                  </a:moveTo>
                  <a:cubicBezTo>
                    <a:pt x="3738" y="188"/>
                    <a:pt x="3735" y="193"/>
                    <a:pt x="3737" y="198"/>
                  </a:cubicBezTo>
                  <a:cubicBezTo>
                    <a:pt x="3740" y="204"/>
                    <a:pt x="3747" y="209"/>
                    <a:pt x="3753" y="208"/>
                  </a:cubicBezTo>
                  <a:cubicBezTo>
                    <a:pt x="3760" y="208"/>
                    <a:pt x="3762" y="204"/>
                    <a:pt x="3760" y="198"/>
                  </a:cubicBezTo>
                  <a:cubicBezTo>
                    <a:pt x="3757" y="192"/>
                    <a:pt x="3750" y="188"/>
                    <a:pt x="3744" y="188"/>
                  </a:cubicBezTo>
                  <a:cubicBezTo>
                    <a:pt x="3744" y="188"/>
                    <a:pt x="3744" y="188"/>
                    <a:pt x="3744" y="188"/>
                  </a:cubicBezTo>
                  <a:moveTo>
                    <a:pt x="456" y="188"/>
                  </a:moveTo>
                  <a:cubicBezTo>
                    <a:pt x="449" y="188"/>
                    <a:pt x="441" y="192"/>
                    <a:pt x="436" y="198"/>
                  </a:cubicBezTo>
                  <a:cubicBezTo>
                    <a:pt x="432" y="204"/>
                    <a:pt x="433" y="208"/>
                    <a:pt x="440" y="208"/>
                  </a:cubicBezTo>
                  <a:cubicBezTo>
                    <a:pt x="446" y="208"/>
                    <a:pt x="454" y="203"/>
                    <a:pt x="459" y="198"/>
                  </a:cubicBezTo>
                  <a:cubicBezTo>
                    <a:pt x="463" y="192"/>
                    <a:pt x="462" y="188"/>
                    <a:pt x="456" y="188"/>
                  </a:cubicBezTo>
                  <a:cubicBezTo>
                    <a:pt x="456" y="188"/>
                    <a:pt x="456" y="188"/>
                    <a:pt x="456" y="188"/>
                  </a:cubicBezTo>
                  <a:moveTo>
                    <a:pt x="3775" y="188"/>
                  </a:moveTo>
                  <a:cubicBezTo>
                    <a:pt x="3769" y="188"/>
                    <a:pt x="3766" y="192"/>
                    <a:pt x="3769" y="198"/>
                  </a:cubicBezTo>
                  <a:cubicBezTo>
                    <a:pt x="3772" y="204"/>
                    <a:pt x="3779" y="208"/>
                    <a:pt x="3785" y="208"/>
                  </a:cubicBezTo>
                  <a:cubicBezTo>
                    <a:pt x="3791" y="208"/>
                    <a:pt x="3794" y="203"/>
                    <a:pt x="3791" y="198"/>
                  </a:cubicBezTo>
                  <a:cubicBezTo>
                    <a:pt x="3789" y="192"/>
                    <a:pt x="3781" y="188"/>
                    <a:pt x="3775" y="188"/>
                  </a:cubicBezTo>
                  <a:cubicBezTo>
                    <a:pt x="3775" y="188"/>
                    <a:pt x="3775" y="188"/>
                    <a:pt x="3775" y="188"/>
                  </a:cubicBezTo>
                  <a:moveTo>
                    <a:pt x="487" y="187"/>
                  </a:moveTo>
                  <a:cubicBezTo>
                    <a:pt x="481" y="187"/>
                    <a:pt x="473" y="192"/>
                    <a:pt x="468" y="198"/>
                  </a:cubicBezTo>
                  <a:cubicBezTo>
                    <a:pt x="464" y="203"/>
                    <a:pt x="465" y="208"/>
                    <a:pt x="471" y="208"/>
                  </a:cubicBezTo>
                  <a:cubicBezTo>
                    <a:pt x="478" y="208"/>
                    <a:pt x="486" y="203"/>
                    <a:pt x="490" y="197"/>
                  </a:cubicBezTo>
                  <a:cubicBezTo>
                    <a:pt x="495" y="192"/>
                    <a:pt x="493" y="187"/>
                    <a:pt x="487" y="187"/>
                  </a:cubicBezTo>
                  <a:cubicBezTo>
                    <a:pt x="487" y="187"/>
                    <a:pt x="487" y="187"/>
                    <a:pt x="487" y="187"/>
                  </a:cubicBezTo>
                  <a:moveTo>
                    <a:pt x="3807" y="187"/>
                  </a:moveTo>
                  <a:cubicBezTo>
                    <a:pt x="3801" y="187"/>
                    <a:pt x="3798" y="192"/>
                    <a:pt x="3801" y="198"/>
                  </a:cubicBezTo>
                  <a:cubicBezTo>
                    <a:pt x="3804" y="203"/>
                    <a:pt x="3811" y="208"/>
                    <a:pt x="3817" y="208"/>
                  </a:cubicBezTo>
                  <a:cubicBezTo>
                    <a:pt x="3823" y="208"/>
                    <a:pt x="3826" y="203"/>
                    <a:pt x="3823" y="198"/>
                  </a:cubicBezTo>
                  <a:cubicBezTo>
                    <a:pt x="3820" y="192"/>
                    <a:pt x="3813" y="187"/>
                    <a:pt x="3807" y="187"/>
                  </a:cubicBezTo>
                  <a:cubicBezTo>
                    <a:pt x="3807" y="187"/>
                    <a:pt x="3807" y="187"/>
                    <a:pt x="3807" y="187"/>
                  </a:cubicBezTo>
                  <a:moveTo>
                    <a:pt x="520" y="187"/>
                  </a:moveTo>
                  <a:cubicBezTo>
                    <a:pt x="514" y="187"/>
                    <a:pt x="505" y="192"/>
                    <a:pt x="501" y="197"/>
                  </a:cubicBezTo>
                  <a:cubicBezTo>
                    <a:pt x="497" y="203"/>
                    <a:pt x="498" y="207"/>
                    <a:pt x="505" y="207"/>
                  </a:cubicBezTo>
                  <a:cubicBezTo>
                    <a:pt x="511" y="207"/>
                    <a:pt x="519" y="203"/>
                    <a:pt x="523" y="197"/>
                  </a:cubicBezTo>
                  <a:cubicBezTo>
                    <a:pt x="528" y="192"/>
                    <a:pt x="526" y="187"/>
                    <a:pt x="520" y="187"/>
                  </a:cubicBezTo>
                  <a:cubicBezTo>
                    <a:pt x="520" y="187"/>
                    <a:pt x="520" y="187"/>
                    <a:pt x="520" y="187"/>
                  </a:cubicBezTo>
                  <a:moveTo>
                    <a:pt x="3838" y="187"/>
                  </a:moveTo>
                  <a:cubicBezTo>
                    <a:pt x="3832" y="187"/>
                    <a:pt x="3830" y="192"/>
                    <a:pt x="3832" y="197"/>
                  </a:cubicBezTo>
                  <a:cubicBezTo>
                    <a:pt x="3835" y="203"/>
                    <a:pt x="3843" y="208"/>
                    <a:pt x="3849" y="208"/>
                  </a:cubicBezTo>
                  <a:cubicBezTo>
                    <a:pt x="3855" y="208"/>
                    <a:pt x="3858" y="203"/>
                    <a:pt x="3855" y="197"/>
                  </a:cubicBezTo>
                  <a:cubicBezTo>
                    <a:pt x="3852" y="192"/>
                    <a:pt x="3844" y="187"/>
                    <a:pt x="3838" y="187"/>
                  </a:cubicBezTo>
                  <a:cubicBezTo>
                    <a:pt x="3838" y="187"/>
                    <a:pt x="3838" y="187"/>
                    <a:pt x="3838" y="187"/>
                  </a:cubicBezTo>
                  <a:moveTo>
                    <a:pt x="551" y="187"/>
                  </a:moveTo>
                  <a:cubicBezTo>
                    <a:pt x="545" y="187"/>
                    <a:pt x="537" y="191"/>
                    <a:pt x="533" y="197"/>
                  </a:cubicBezTo>
                  <a:cubicBezTo>
                    <a:pt x="528" y="203"/>
                    <a:pt x="530" y="207"/>
                    <a:pt x="536" y="207"/>
                  </a:cubicBezTo>
                  <a:cubicBezTo>
                    <a:pt x="542" y="207"/>
                    <a:pt x="551" y="202"/>
                    <a:pt x="555" y="197"/>
                  </a:cubicBezTo>
                  <a:cubicBezTo>
                    <a:pt x="559" y="191"/>
                    <a:pt x="558" y="187"/>
                    <a:pt x="552" y="187"/>
                  </a:cubicBezTo>
                  <a:cubicBezTo>
                    <a:pt x="552" y="187"/>
                    <a:pt x="551" y="187"/>
                    <a:pt x="551" y="187"/>
                  </a:cubicBezTo>
                  <a:moveTo>
                    <a:pt x="3870" y="187"/>
                  </a:moveTo>
                  <a:cubicBezTo>
                    <a:pt x="3864" y="187"/>
                    <a:pt x="3861" y="191"/>
                    <a:pt x="3864" y="197"/>
                  </a:cubicBezTo>
                  <a:cubicBezTo>
                    <a:pt x="3867" y="203"/>
                    <a:pt x="3874" y="207"/>
                    <a:pt x="3880" y="207"/>
                  </a:cubicBezTo>
                  <a:cubicBezTo>
                    <a:pt x="3887" y="207"/>
                    <a:pt x="3889" y="203"/>
                    <a:pt x="3886" y="197"/>
                  </a:cubicBezTo>
                  <a:cubicBezTo>
                    <a:pt x="3883" y="191"/>
                    <a:pt x="3876" y="187"/>
                    <a:pt x="3870" y="187"/>
                  </a:cubicBezTo>
                  <a:cubicBezTo>
                    <a:pt x="3870" y="187"/>
                    <a:pt x="3870" y="187"/>
                    <a:pt x="3870" y="187"/>
                  </a:cubicBezTo>
                  <a:moveTo>
                    <a:pt x="583" y="187"/>
                  </a:moveTo>
                  <a:cubicBezTo>
                    <a:pt x="577" y="187"/>
                    <a:pt x="569" y="191"/>
                    <a:pt x="564" y="197"/>
                  </a:cubicBezTo>
                  <a:cubicBezTo>
                    <a:pt x="560" y="202"/>
                    <a:pt x="562" y="207"/>
                    <a:pt x="568" y="207"/>
                  </a:cubicBezTo>
                  <a:cubicBezTo>
                    <a:pt x="574" y="207"/>
                    <a:pt x="583" y="202"/>
                    <a:pt x="587" y="197"/>
                  </a:cubicBezTo>
                  <a:cubicBezTo>
                    <a:pt x="591" y="191"/>
                    <a:pt x="589" y="187"/>
                    <a:pt x="583" y="187"/>
                  </a:cubicBezTo>
                  <a:cubicBezTo>
                    <a:pt x="583" y="187"/>
                    <a:pt x="583" y="187"/>
                    <a:pt x="583" y="187"/>
                  </a:cubicBezTo>
                  <a:moveTo>
                    <a:pt x="3901" y="186"/>
                  </a:moveTo>
                  <a:cubicBezTo>
                    <a:pt x="3895" y="187"/>
                    <a:pt x="3893" y="191"/>
                    <a:pt x="3896" y="197"/>
                  </a:cubicBezTo>
                  <a:cubicBezTo>
                    <a:pt x="3899" y="203"/>
                    <a:pt x="3906" y="207"/>
                    <a:pt x="3912" y="207"/>
                  </a:cubicBezTo>
                  <a:cubicBezTo>
                    <a:pt x="3918" y="207"/>
                    <a:pt x="3921" y="202"/>
                    <a:pt x="3918" y="197"/>
                  </a:cubicBezTo>
                  <a:cubicBezTo>
                    <a:pt x="3915" y="191"/>
                    <a:pt x="3907" y="186"/>
                    <a:pt x="3901" y="186"/>
                  </a:cubicBezTo>
                  <a:cubicBezTo>
                    <a:pt x="3901" y="186"/>
                    <a:pt x="3901" y="186"/>
                    <a:pt x="3901" y="186"/>
                  </a:cubicBezTo>
                  <a:moveTo>
                    <a:pt x="614" y="186"/>
                  </a:moveTo>
                  <a:cubicBezTo>
                    <a:pt x="608" y="186"/>
                    <a:pt x="600" y="191"/>
                    <a:pt x="596" y="196"/>
                  </a:cubicBezTo>
                  <a:cubicBezTo>
                    <a:pt x="592" y="202"/>
                    <a:pt x="594" y="207"/>
                    <a:pt x="600" y="207"/>
                  </a:cubicBezTo>
                  <a:cubicBezTo>
                    <a:pt x="606" y="206"/>
                    <a:pt x="614" y="202"/>
                    <a:pt x="618" y="196"/>
                  </a:cubicBezTo>
                  <a:cubicBezTo>
                    <a:pt x="622" y="191"/>
                    <a:pt x="621" y="186"/>
                    <a:pt x="615" y="186"/>
                  </a:cubicBezTo>
                  <a:cubicBezTo>
                    <a:pt x="615" y="186"/>
                    <a:pt x="615" y="186"/>
                    <a:pt x="614" y="186"/>
                  </a:cubicBezTo>
                  <a:moveTo>
                    <a:pt x="3933" y="186"/>
                  </a:moveTo>
                  <a:cubicBezTo>
                    <a:pt x="3927" y="186"/>
                    <a:pt x="3924" y="191"/>
                    <a:pt x="3927" y="197"/>
                  </a:cubicBezTo>
                  <a:cubicBezTo>
                    <a:pt x="3930" y="202"/>
                    <a:pt x="3938" y="207"/>
                    <a:pt x="3944" y="207"/>
                  </a:cubicBezTo>
                  <a:cubicBezTo>
                    <a:pt x="3950" y="207"/>
                    <a:pt x="3953" y="202"/>
                    <a:pt x="3950" y="196"/>
                  </a:cubicBezTo>
                  <a:cubicBezTo>
                    <a:pt x="3947" y="191"/>
                    <a:pt x="3939" y="186"/>
                    <a:pt x="3933" y="186"/>
                  </a:cubicBezTo>
                  <a:cubicBezTo>
                    <a:pt x="3933" y="186"/>
                    <a:pt x="3933" y="186"/>
                    <a:pt x="3933" y="186"/>
                  </a:cubicBezTo>
                  <a:moveTo>
                    <a:pt x="646" y="186"/>
                  </a:moveTo>
                  <a:cubicBezTo>
                    <a:pt x="640" y="186"/>
                    <a:pt x="632" y="191"/>
                    <a:pt x="628" y="196"/>
                  </a:cubicBezTo>
                  <a:cubicBezTo>
                    <a:pt x="624" y="202"/>
                    <a:pt x="626" y="206"/>
                    <a:pt x="632" y="206"/>
                  </a:cubicBezTo>
                  <a:cubicBezTo>
                    <a:pt x="638" y="206"/>
                    <a:pt x="646" y="202"/>
                    <a:pt x="650" y="196"/>
                  </a:cubicBezTo>
                  <a:cubicBezTo>
                    <a:pt x="654" y="190"/>
                    <a:pt x="652" y="186"/>
                    <a:pt x="646" y="186"/>
                  </a:cubicBezTo>
                  <a:cubicBezTo>
                    <a:pt x="646" y="186"/>
                    <a:pt x="646" y="186"/>
                    <a:pt x="646" y="186"/>
                  </a:cubicBezTo>
                  <a:moveTo>
                    <a:pt x="3965" y="186"/>
                  </a:moveTo>
                  <a:cubicBezTo>
                    <a:pt x="3959" y="186"/>
                    <a:pt x="3956" y="191"/>
                    <a:pt x="3960" y="196"/>
                  </a:cubicBezTo>
                  <a:cubicBezTo>
                    <a:pt x="3963" y="202"/>
                    <a:pt x="3970" y="207"/>
                    <a:pt x="3976" y="207"/>
                  </a:cubicBezTo>
                  <a:cubicBezTo>
                    <a:pt x="3982" y="206"/>
                    <a:pt x="3985" y="202"/>
                    <a:pt x="3982" y="196"/>
                  </a:cubicBezTo>
                  <a:cubicBezTo>
                    <a:pt x="3979" y="190"/>
                    <a:pt x="3971" y="186"/>
                    <a:pt x="3965" y="186"/>
                  </a:cubicBezTo>
                  <a:cubicBezTo>
                    <a:pt x="3965" y="186"/>
                    <a:pt x="3965" y="186"/>
                    <a:pt x="3965" y="186"/>
                  </a:cubicBezTo>
                  <a:moveTo>
                    <a:pt x="679" y="186"/>
                  </a:moveTo>
                  <a:cubicBezTo>
                    <a:pt x="673" y="186"/>
                    <a:pt x="665" y="190"/>
                    <a:pt x="661" y="196"/>
                  </a:cubicBezTo>
                  <a:cubicBezTo>
                    <a:pt x="657" y="202"/>
                    <a:pt x="658" y="206"/>
                    <a:pt x="665" y="206"/>
                  </a:cubicBezTo>
                  <a:cubicBezTo>
                    <a:pt x="671" y="206"/>
                    <a:pt x="679" y="201"/>
                    <a:pt x="683" y="196"/>
                  </a:cubicBezTo>
                  <a:cubicBezTo>
                    <a:pt x="687" y="190"/>
                    <a:pt x="685" y="186"/>
                    <a:pt x="679" y="186"/>
                  </a:cubicBezTo>
                  <a:cubicBezTo>
                    <a:pt x="679" y="186"/>
                    <a:pt x="679" y="186"/>
                    <a:pt x="679" y="186"/>
                  </a:cubicBezTo>
                  <a:moveTo>
                    <a:pt x="3996" y="186"/>
                  </a:moveTo>
                  <a:cubicBezTo>
                    <a:pt x="3990" y="186"/>
                    <a:pt x="3988" y="190"/>
                    <a:pt x="3991" y="196"/>
                  </a:cubicBezTo>
                  <a:cubicBezTo>
                    <a:pt x="3994" y="202"/>
                    <a:pt x="4002" y="206"/>
                    <a:pt x="4008" y="206"/>
                  </a:cubicBezTo>
                  <a:cubicBezTo>
                    <a:pt x="4014" y="206"/>
                    <a:pt x="4017" y="202"/>
                    <a:pt x="4013" y="196"/>
                  </a:cubicBezTo>
                  <a:cubicBezTo>
                    <a:pt x="4010" y="190"/>
                    <a:pt x="4003" y="186"/>
                    <a:pt x="3996" y="186"/>
                  </a:cubicBezTo>
                  <a:cubicBezTo>
                    <a:pt x="3996" y="186"/>
                    <a:pt x="3996" y="186"/>
                    <a:pt x="3996" y="186"/>
                  </a:cubicBezTo>
                  <a:moveTo>
                    <a:pt x="710" y="185"/>
                  </a:moveTo>
                  <a:cubicBezTo>
                    <a:pt x="704" y="185"/>
                    <a:pt x="696" y="190"/>
                    <a:pt x="692" y="196"/>
                  </a:cubicBezTo>
                  <a:cubicBezTo>
                    <a:pt x="688" y="201"/>
                    <a:pt x="690" y="206"/>
                    <a:pt x="696" y="206"/>
                  </a:cubicBezTo>
                  <a:cubicBezTo>
                    <a:pt x="702" y="206"/>
                    <a:pt x="710" y="201"/>
                    <a:pt x="714" y="195"/>
                  </a:cubicBezTo>
                  <a:cubicBezTo>
                    <a:pt x="718" y="190"/>
                    <a:pt x="716" y="185"/>
                    <a:pt x="710" y="185"/>
                  </a:cubicBezTo>
                  <a:cubicBezTo>
                    <a:pt x="710" y="185"/>
                    <a:pt x="710" y="185"/>
                    <a:pt x="710" y="185"/>
                  </a:cubicBezTo>
                  <a:moveTo>
                    <a:pt x="4028" y="185"/>
                  </a:moveTo>
                  <a:cubicBezTo>
                    <a:pt x="4022" y="185"/>
                    <a:pt x="4020" y="190"/>
                    <a:pt x="4023" y="196"/>
                  </a:cubicBezTo>
                  <a:cubicBezTo>
                    <a:pt x="4026" y="201"/>
                    <a:pt x="4034" y="206"/>
                    <a:pt x="4040" y="206"/>
                  </a:cubicBezTo>
                  <a:cubicBezTo>
                    <a:pt x="4046" y="206"/>
                    <a:pt x="4048" y="201"/>
                    <a:pt x="4045" y="196"/>
                  </a:cubicBezTo>
                  <a:cubicBezTo>
                    <a:pt x="4042" y="190"/>
                    <a:pt x="4034" y="185"/>
                    <a:pt x="4028" y="185"/>
                  </a:cubicBezTo>
                  <a:cubicBezTo>
                    <a:pt x="4028" y="185"/>
                    <a:pt x="4028" y="185"/>
                    <a:pt x="4028" y="185"/>
                  </a:cubicBezTo>
                  <a:moveTo>
                    <a:pt x="742" y="185"/>
                  </a:moveTo>
                  <a:cubicBezTo>
                    <a:pt x="736" y="185"/>
                    <a:pt x="728" y="190"/>
                    <a:pt x="724" y="195"/>
                  </a:cubicBezTo>
                  <a:cubicBezTo>
                    <a:pt x="720" y="201"/>
                    <a:pt x="722" y="205"/>
                    <a:pt x="728" y="205"/>
                  </a:cubicBezTo>
                  <a:cubicBezTo>
                    <a:pt x="734" y="205"/>
                    <a:pt x="742" y="201"/>
                    <a:pt x="746" y="195"/>
                  </a:cubicBezTo>
                  <a:cubicBezTo>
                    <a:pt x="750" y="190"/>
                    <a:pt x="748" y="185"/>
                    <a:pt x="742" y="185"/>
                  </a:cubicBezTo>
                  <a:cubicBezTo>
                    <a:pt x="742" y="185"/>
                    <a:pt x="742" y="185"/>
                    <a:pt x="742" y="185"/>
                  </a:cubicBezTo>
                  <a:moveTo>
                    <a:pt x="4059" y="185"/>
                  </a:moveTo>
                  <a:cubicBezTo>
                    <a:pt x="4053" y="185"/>
                    <a:pt x="4051" y="190"/>
                    <a:pt x="4054" y="195"/>
                  </a:cubicBezTo>
                  <a:cubicBezTo>
                    <a:pt x="4058" y="201"/>
                    <a:pt x="4065" y="206"/>
                    <a:pt x="4072" y="206"/>
                  </a:cubicBezTo>
                  <a:cubicBezTo>
                    <a:pt x="4078" y="206"/>
                    <a:pt x="4080" y="201"/>
                    <a:pt x="4077" y="195"/>
                  </a:cubicBezTo>
                  <a:cubicBezTo>
                    <a:pt x="4073" y="190"/>
                    <a:pt x="4066" y="185"/>
                    <a:pt x="4059" y="185"/>
                  </a:cubicBezTo>
                  <a:cubicBezTo>
                    <a:pt x="4059" y="185"/>
                    <a:pt x="4059" y="185"/>
                    <a:pt x="4059" y="185"/>
                  </a:cubicBezTo>
                  <a:moveTo>
                    <a:pt x="774" y="185"/>
                  </a:moveTo>
                  <a:cubicBezTo>
                    <a:pt x="768" y="185"/>
                    <a:pt x="760" y="189"/>
                    <a:pt x="756" y="195"/>
                  </a:cubicBezTo>
                  <a:cubicBezTo>
                    <a:pt x="752" y="201"/>
                    <a:pt x="754" y="205"/>
                    <a:pt x="760" y="205"/>
                  </a:cubicBezTo>
                  <a:cubicBezTo>
                    <a:pt x="766" y="205"/>
                    <a:pt x="774" y="200"/>
                    <a:pt x="778" y="195"/>
                  </a:cubicBezTo>
                  <a:cubicBezTo>
                    <a:pt x="782" y="189"/>
                    <a:pt x="780" y="185"/>
                    <a:pt x="774" y="185"/>
                  </a:cubicBezTo>
                  <a:cubicBezTo>
                    <a:pt x="774" y="185"/>
                    <a:pt x="774" y="185"/>
                    <a:pt x="774" y="185"/>
                  </a:cubicBezTo>
                  <a:moveTo>
                    <a:pt x="4090" y="185"/>
                  </a:moveTo>
                  <a:cubicBezTo>
                    <a:pt x="4084" y="185"/>
                    <a:pt x="4082" y="190"/>
                    <a:pt x="4085" y="195"/>
                  </a:cubicBezTo>
                  <a:cubicBezTo>
                    <a:pt x="4089" y="201"/>
                    <a:pt x="4096" y="205"/>
                    <a:pt x="4103" y="205"/>
                  </a:cubicBezTo>
                  <a:cubicBezTo>
                    <a:pt x="4109" y="205"/>
                    <a:pt x="4111" y="201"/>
                    <a:pt x="4107" y="195"/>
                  </a:cubicBezTo>
                  <a:cubicBezTo>
                    <a:pt x="4104" y="189"/>
                    <a:pt x="4096" y="185"/>
                    <a:pt x="4090" y="185"/>
                  </a:cubicBezTo>
                  <a:cubicBezTo>
                    <a:pt x="4090" y="185"/>
                    <a:pt x="4090" y="185"/>
                    <a:pt x="4090" y="185"/>
                  </a:cubicBezTo>
                  <a:moveTo>
                    <a:pt x="805" y="185"/>
                  </a:moveTo>
                  <a:cubicBezTo>
                    <a:pt x="799" y="185"/>
                    <a:pt x="791" y="189"/>
                    <a:pt x="788" y="195"/>
                  </a:cubicBezTo>
                  <a:cubicBezTo>
                    <a:pt x="784" y="200"/>
                    <a:pt x="786" y="205"/>
                    <a:pt x="792" y="205"/>
                  </a:cubicBezTo>
                  <a:cubicBezTo>
                    <a:pt x="798" y="205"/>
                    <a:pt x="806" y="200"/>
                    <a:pt x="810" y="195"/>
                  </a:cubicBezTo>
                  <a:cubicBezTo>
                    <a:pt x="813" y="189"/>
                    <a:pt x="811" y="185"/>
                    <a:pt x="805" y="185"/>
                  </a:cubicBezTo>
                  <a:cubicBezTo>
                    <a:pt x="805" y="185"/>
                    <a:pt x="805" y="185"/>
                    <a:pt x="805" y="185"/>
                  </a:cubicBezTo>
                  <a:moveTo>
                    <a:pt x="837" y="184"/>
                  </a:moveTo>
                  <a:cubicBezTo>
                    <a:pt x="831" y="184"/>
                    <a:pt x="823" y="189"/>
                    <a:pt x="819" y="194"/>
                  </a:cubicBezTo>
                  <a:cubicBezTo>
                    <a:pt x="816" y="200"/>
                    <a:pt x="818" y="205"/>
                    <a:pt x="824" y="205"/>
                  </a:cubicBezTo>
                  <a:cubicBezTo>
                    <a:pt x="830" y="204"/>
                    <a:pt x="838" y="200"/>
                    <a:pt x="841" y="194"/>
                  </a:cubicBezTo>
                  <a:cubicBezTo>
                    <a:pt x="845" y="189"/>
                    <a:pt x="843" y="184"/>
                    <a:pt x="837" y="184"/>
                  </a:cubicBezTo>
                  <a:cubicBezTo>
                    <a:pt x="837" y="184"/>
                    <a:pt x="837" y="184"/>
                    <a:pt x="837" y="184"/>
                  </a:cubicBezTo>
                  <a:moveTo>
                    <a:pt x="868" y="184"/>
                  </a:moveTo>
                  <a:cubicBezTo>
                    <a:pt x="862" y="184"/>
                    <a:pt x="854" y="189"/>
                    <a:pt x="851" y="194"/>
                  </a:cubicBezTo>
                  <a:cubicBezTo>
                    <a:pt x="847" y="200"/>
                    <a:pt x="849" y="204"/>
                    <a:pt x="855" y="204"/>
                  </a:cubicBezTo>
                  <a:cubicBezTo>
                    <a:pt x="862" y="204"/>
                    <a:pt x="869" y="200"/>
                    <a:pt x="873" y="194"/>
                  </a:cubicBezTo>
                  <a:cubicBezTo>
                    <a:pt x="876" y="188"/>
                    <a:pt x="874" y="184"/>
                    <a:pt x="868" y="184"/>
                  </a:cubicBezTo>
                  <a:cubicBezTo>
                    <a:pt x="868" y="184"/>
                    <a:pt x="868" y="184"/>
                    <a:pt x="868" y="184"/>
                  </a:cubicBezTo>
                  <a:moveTo>
                    <a:pt x="900" y="184"/>
                  </a:moveTo>
                  <a:cubicBezTo>
                    <a:pt x="894" y="184"/>
                    <a:pt x="886" y="188"/>
                    <a:pt x="883" y="194"/>
                  </a:cubicBezTo>
                  <a:cubicBezTo>
                    <a:pt x="879" y="200"/>
                    <a:pt x="881" y="204"/>
                    <a:pt x="887" y="204"/>
                  </a:cubicBezTo>
                  <a:cubicBezTo>
                    <a:pt x="893" y="204"/>
                    <a:pt x="901" y="199"/>
                    <a:pt x="905" y="194"/>
                  </a:cubicBezTo>
                  <a:cubicBezTo>
                    <a:pt x="908" y="188"/>
                    <a:pt x="906" y="184"/>
                    <a:pt x="900" y="184"/>
                  </a:cubicBezTo>
                  <a:cubicBezTo>
                    <a:pt x="900" y="184"/>
                    <a:pt x="900" y="184"/>
                    <a:pt x="900" y="184"/>
                  </a:cubicBezTo>
                  <a:moveTo>
                    <a:pt x="4185" y="184"/>
                  </a:moveTo>
                  <a:cubicBezTo>
                    <a:pt x="4179" y="184"/>
                    <a:pt x="4177" y="188"/>
                    <a:pt x="4180" y="194"/>
                  </a:cubicBezTo>
                  <a:cubicBezTo>
                    <a:pt x="4184" y="200"/>
                    <a:pt x="4192" y="204"/>
                    <a:pt x="4198" y="204"/>
                  </a:cubicBezTo>
                  <a:cubicBezTo>
                    <a:pt x="4204" y="204"/>
                    <a:pt x="4206" y="200"/>
                    <a:pt x="4203" y="194"/>
                  </a:cubicBezTo>
                  <a:cubicBezTo>
                    <a:pt x="4199" y="188"/>
                    <a:pt x="4191" y="184"/>
                    <a:pt x="4185" y="184"/>
                  </a:cubicBezTo>
                  <a:cubicBezTo>
                    <a:pt x="4185" y="184"/>
                    <a:pt x="4185" y="184"/>
                    <a:pt x="4185" y="184"/>
                  </a:cubicBezTo>
                  <a:moveTo>
                    <a:pt x="932" y="183"/>
                  </a:moveTo>
                  <a:cubicBezTo>
                    <a:pt x="926" y="183"/>
                    <a:pt x="918" y="188"/>
                    <a:pt x="915" y="194"/>
                  </a:cubicBezTo>
                  <a:cubicBezTo>
                    <a:pt x="911" y="199"/>
                    <a:pt x="913" y="204"/>
                    <a:pt x="920" y="204"/>
                  </a:cubicBezTo>
                  <a:cubicBezTo>
                    <a:pt x="926" y="204"/>
                    <a:pt x="933" y="199"/>
                    <a:pt x="937" y="193"/>
                  </a:cubicBezTo>
                  <a:cubicBezTo>
                    <a:pt x="940" y="188"/>
                    <a:pt x="938" y="183"/>
                    <a:pt x="932" y="183"/>
                  </a:cubicBezTo>
                  <a:cubicBezTo>
                    <a:pt x="932" y="183"/>
                    <a:pt x="932" y="183"/>
                    <a:pt x="932" y="183"/>
                  </a:cubicBezTo>
                  <a:moveTo>
                    <a:pt x="963" y="183"/>
                  </a:moveTo>
                  <a:cubicBezTo>
                    <a:pt x="957" y="183"/>
                    <a:pt x="949" y="188"/>
                    <a:pt x="946" y="193"/>
                  </a:cubicBezTo>
                  <a:cubicBezTo>
                    <a:pt x="943" y="199"/>
                    <a:pt x="945" y="203"/>
                    <a:pt x="951" y="203"/>
                  </a:cubicBezTo>
                  <a:cubicBezTo>
                    <a:pt x="957" y="203"/>
                    <a:pt x="965" y="199"/>
                    <a:pt x="968" y="193"/>
                  </a:cubicBezTo>
                  <a:cubicBezTo>
                    <a:pt x="972" y="188"/>
                    <a:pt x="969" y="183"/>
                    <a:pt x="963" y="183"/>
                  </a:cubicBezTo>
                  <a:cubicBezTo>
                    <a:pt x="963" y="183"/>
                    <a:pt x="963" y="183"/>
                    <a:pt x="963" y="183"/>
                  </a:cubicBezTo>
                  <a:moveTo>
                    <a:pt x="993" y="183"/>
                  </a:moveTo>
                  <a:cubicBezTo>
                    <a:pt x="987" y="183"/>
                    <a:pt x="979" y="187"/>
                    <a:pt x="976" y="193"/>
                  </a:cubicBezTo>
                  <a:cubicBezTo>
                    <a:pt x="973" y="199"/>
                    <a:pt x="975" y="203"/>
                    <a:pt x="981" y="203"/>
                  </a:cubicBezTo>
                  <a:cubicBezTo>
                    <a:pt x="987" y="203"/>
                    <a:pt x="995" y="198"/>
                    <a:pt x="998" y="193"/>
                  </a:cubicBezTo>
                  <a:cubicBezTo>
                    <a:pt x="1002" y="187"/>
                    <a:pt x="999" y="183"/>
                    <a:pt x="993" y="183"/>
                  </a:cubicBezTo>
                  <a:cubicBezTo>
                    <a:pt x="993" y="183"/>
                    <a:pt x="993" y="183"/>
                    <a:pt x="993" y="183"/>
                  </a:cubicBezTo>
                  <a:moveTo>
                    <a:pt x="1025" y="183"/>
                  </a:moveTo>
                  <a:cubicBezTo>
                    <a:pt x="1019" y="183"/>
                    <a:pt x="1011" y="187"/>
                    <a:pt x="1008" y="193"/>
                  </a:cubicBezTo>
                  <a:cubicBezTo>
                    <a:pt x="1005" y="198"/>
                    <a:pt x="1007" y="203"/>
                    <a:pt x="1013" y="203"/>
                  </a:cubicBezTo>
                  <a:cubicBezTo>
                    <a:pt x="1020" y="203"/>
                    <a:pt x="1027" y="198"/>
                    <a:pt x="1030" y="193"/>
                  </a:cubicBezTo>
                  <a:cubicBezTo>
                    <a:pt x="1034" y="187"/>
                    <a:pt x="1031" y="183"/>
                    <a:pt x="1025" y="183"/>
                  </a:cubicBezTo>
                  <a:cubicBezTo>
                    <a:pt x="1025" y="183"/>
                    <a:pt x="1025" y="183"/>
                    <a:pt x="1025" y="183"/>
                  </a:cubicBezTo>
                  <a:moveTo>
                    <a:pt x="1371" y="182"/>
                  </a:moveTo>
                  <a:cubicBezTo>
                    <a:pt x="1364" y="182"/>
                    <a:pt x="1357" y="187"/>
                    <a:pt x="1355" y="193"/>
                  </a:cubicBezTo>
                  <a:cubicBezTo>
                    <a:pt x="1353" y="198"/>
                    <a:pt x="1356" y="203"/>
                    <a:pt x="1362" y="203"/>
                  </a:cubicBezTo>
                  <a:cubicBezTo>
                    <a:pt x="1368" y="203"/>
                    <a:pt x="1375" y="198"/>
                    <a:pt x="1377" y="192"/>
                  </a:cubicBezTo>
                  <a:cubicBezTo>
                    <a:pt x="1380" y="187"/>
                    <a:pt x="1377" y="182"/>
                    <a:pt x="1371" y="182"/>
                  </a:cubicBezTo>
                  <a:cubicBezTo>
                    <a:pt x="1371" y="182"/>
                    <a:pt x="1371" y="182"/>
                    <a:pt x="1371" y="182"/>
                  </a:cubicBezTo>
                  <a:moveTo>
                    <a:pt x="1056" y="182"/>
                  </a:moveTo>
                  <a:cubicBezTo>
                    <a:pt x="1050" y="182"/>
                    <a:pt x="1043" y="187"/>
                    <a:pt x="1040" y="192"/>
                  </a:cubicBezTo>
                  <a:cubicBezTo>
                    <a:pt x="1037" y="198"/>
                    <a:pt x="1039" y="203"/>
                    <a:pt x="1045" y="203"/>
                  </a:cubicBezTo>
                  <a:cubicBezTo>
                    <a:pt x="1051" y="202"/>
                    <a:pt x="1059" y="198"/>
                    <a:pt x="1062" y="192"/>
                  </a:cubicBezTo>
                  <a:cubicBezTo>
                    <a:pt x="1065" y="187"/>
                    <a:pt x="1063" y="182"/>
                    <a:pt x="1057" y="182"/>
                  </a:cubicBezTo>
                  <a:cubicBezTo>
                    <a:pt x="1056" y="182"/>
                    <a:pt x="1056" y="182"/>
                    <a:pt x="1056" y="182"/>
                  </a:cubicBezTo>
                  <a:moveTo>
                    <a:pt x="1403" y="182"/>
                  </a:moveTo>
                  <a:cubicBezTo>
                    <a:pt x="1397" y="182"/>
                    <a:pt x="1390" y="187"/>
                    <a:pt x="1388" y="192"/>
                  </a:cubicBezTo>
                  <a:cubicBezTo>
                    <a:pt x="1385" y="198"/>
                    <a:pt x="1388" y="202"/>
                    <a:pt x="1394" y="202"/>
                  </a:cubicBezTo>
                  <a:cubicBezTo>
                    <a:pt x="1400" y="202"/>
                    <a:pt x="1407" y="198"/>
                    <a:pt x="1410" y="192"/>
                  </a:cubicBezTo>
                  <a:cubicBezTo>
                    <a:pt x="1412" y="187"/>
                    <a:pt x="1409" y="182"/>
                    <a:pt x="1403" y="182"/>
                  </a:cubicBezTo>
                  <a:cubicBezTo>
                    <a:pt x="1403" y="182"/>
                    <a:pt x="1403" y="182"/>
                    <a:pt x="1403" y="182"/>
                  </a:cubicBezTo>
                  <a:moveTo>
                    <a:pt x="1088" y="182"/>
                  </a:moveTo>
                  <a:cubicBezTo>
                    <a:pt x="1082" y="182"/>
                    <a:pt x="1074" y="187"/>
                    <a:pt x="1071" y="192"/>
                  </a:cubicBezTo>
                  <a:cubicBezTo>
                    <a:pt x="1068" y="198"/>
                    <a:pt x="1071" y="202"/>
                    <a:pt x="1077" y="202"/>
                  </a:cubicBezTo>
                  <a:cubicBezTo>
                    <a:pt x="1083" y="202"/>
                    <a:pt x="1090" y="198"/>
                    <a:pt x="1094" y="192"/>
                  </a:cubicBezTo>
                  <a:cubicBezTo>
                    <a:pt x="1097" y="186"/>
                    <a:pt x="1094" y="182"/>
                    <a:pt x="1088" y="182"/>
                  </a:cubicBezTo>
                  <a:cubicBezTo>
                    <a:pt x="1088" y="182"/>
                    <a:pt x="1088" y="182"/>
                    <a:pt x="1088" y="182"/>
                  </a:cubicBezTo>
                  <a:moveTo>
                    <a:pt x="1119" y="182"/>
                  </a:moveTo>
                  <a:cubicBezTo>
                    <a:pt x="1113" y="182"/>
                    <a:pt x="1106" y="186"/>
                    <a:pt x="1103" y="192"/>
                  </a:cubicBezTo>
                  <a:cubicBezTo>
                    <a:pt x="1100" y="198"/>
                    <a:pt x="1102" y="202"/>
                    <a:pt x="1109" y="202"/>
                  </a:cubicBezTo>
                  <a:cubicBezTo>
                    <a:pt x="1115" y="202"/>
                    <a:pt x="1122" y="197"/>
                    <a:pt x="1125" y="192"/>
                  </a:cubicBezTo>
                  <a:cubicBezTo>
                    <a:pt x="1128" y="186"/>
                    <a:pt x="1125" y="182"/>
                    <a:pt x="1119" y="182"/>
                  </a:cubicBezTo>
                  <a:cubicBezTo>
                    <a:pt x="1119" y="182"/>
                    <a:pt x="1119" y="182"/>
                    <a:pt x="1119" y="182"/>
                  </a:cubicBezTo>
                  <a:moveTo>
                    <a:pt x="1151" y="181"/>
                  </a:moveTo>
                  <a:cubicBezTo>
                    <a:pt x="1145" y="181"/>
                    <a:pt x="1138" y="186"/>
                    <a:pt x="1135" y="192"/>
                  </a:cubicBezTo>
                  <a:cubicBezTo>
                    <a:pt x="1132" y="197"/>
                    <a:pt x="1134" y="202"/>
                    <a:pt x="1140" y="202"/>
                  </a:cubicBezTo>
                  <a:cubicBezTo>
                    <a:pt x="1147" y="202"/>
                    <a:pt x="1154" y="197"/>
                    <a:pt x="1157" y="191"/>
                  </a:cubicBezTo>
                  <a:cubicBezTo>
                    <a:pt x="1160" y="186"/>
                    <a:pt x="1157" y="181"/>
                    <a:pt x="1151" y="181"/>
                  </a:cubicBezTo>
                  <a:cubicBezTo>
                    <a:pt x="1151" y="181"/>
                    <a:pt x="1151" y="181"/>
                    <a:pt x="1151" y="181"/>
                  </a:cubicBezTo>
                  <a:moveTo>
                    <a:pt x="1214" y="181"/>
                  </a:moveTo>
                  <a:cubicBezTo>
                    <a:pt x="1208" y="181"/>
                    <a:pt x="1201" y="185"/>
                    <a:pt x="1198" y="191"/>
                  </a:cubicBezTo>
                  <a:cubicBezTo>
                    <a:pt x="1195" y="197"/>
                    <a:pt x="1198" y="201"/>
                    <a:pt x="1204" y="201"/>
                  </a:cubicBezTo>
                  <a:cubicBezTo>
                    <a:pt x="1210" y="201"/>
                    <a:pt x="1218" y="196"/>
                    <a:pt x="1220" y="191"/>
                  </a:cubicBezTo>
                  <a:cubicBezTo>
                    <a:pt x="1223" y="185"/>
                    <a:pt x="1220" y="181"/>
                    <a:pt x="1214" y="181"/>
                  </a:cubicBezTo>
                  <a:cubicBezTo>
                    <a:pt x="1214" y="181"/>
                    <a:pt x="1214" y="181"/>
                    <a:pt x="1214" y="181"/>
                  </a:cubicBezTo>
                  <a:moveTo>
                    <a:pt x="1562" y="179"/>
                  </a:moveTo>
                  <a:cubicBezTo>
                    <a:pt x="1556" y="179"/>
                    <a:pt x="1549" y="183"/>
                    <a:pt x="1547" y="189"/>
                  </a:cubicBezTo>
                  <a:cubicBezTo>
                    <a:pt x="1545" y="195"/>
                    <a:pt x="1548" y="199"/>
                    <a:pt x="1555" y="199"/>
                  </a:cubicBezTo>
                  <a:cubicBezTo>
                    <a:pt x="1561" y="199"/>
                    <a:pt x="1567" y="194"/>
                    <a:pt x="1569" y="189"/>
                  </a:cubicBezTo>
                  <a:cubicBezTo>
                    <a:pt x="1571" y="183"/>
                    <a:pt x="1568" y="179"/>
                    <a:pt x="1562" y="179"/>
                  </a:cubicBezTo>
                  <a:cubicBezTo>
                    <a:pt x="1562" y="179"/>
                    <a:pt x="1562" y="179"/>
                    <a:pt x="1562" y="179"/>
                  </a:cubicBezTo>
                  <a:moveTo>
                    <a:pt x="1593" y="178"/>
                  </a:moveTo>
                  <a:cubicBezTo>
                    <a:pt x="1587" y="178"/>
                    <a:pt x="1581" y="183"/>
                    <a:pt x="1579" y="189"/>
                  </a:cubicBezTo>
                  <a:cubicBezTo>
                    <a:pt x="1577" y="194"/>
                    <a:pt x="1580" y="199"/>
                    <a:pt x="1586" y="199"/>
                  </a:cubicBezTo>
                  <a:cubicBezTo>
                    <a:pt x="1592" y="199"/>
                    <a:pt x="1599" y="194"/>
                    <a:pt x="1601" y="188"/>
                  </a:cubicBezTo>
                  <a:cubicBezTo>
                    <a:pt x="1603" y="183"/>
                    <a:pt x="1599" y="178"/>
                    <a:pt x="1593" y="178"/>
                  </a:cubicBezTo>
                  <a:cubicBezTo>
                    <a:pt x="1593" y="178"/>
                    <a:pt x="1593" y="178"/>
                    <a:pt x="1593" y="178"/>
                  </a:cubicBezTo>
                  <a:moveTo>
                    <a:pt x="1625" y="178"/>
                  </a:moveTo>
                  <a:cubicBezTo>
                    <a:pt x="1619" y="178"/>
                    <a:pt x="1612" y="183"/>
                    <a:pt x="1610" y="188"/>
                  </a:cubicBezTo>
                  <a:cubicBezTo>
                    <a:pt x="1608" y="194"/>
                    <a:pt x="1612" y="198"/>
                    <a:pt x="1618" y="198"/>
                  </a:cubicBezTo>
                  <a:cubicBezTo>
                    <a:pt x="1624" y="198"/>
                    <a:pt x="1630" y="194"/>
                    <a:pt x="1632" y="188"/>
                  </a:cubicBezTo>
                  <a:cubicBezTo>
                    <a:pt x="1634" y="183"/>
                    <a:pt x="1631" y="178"/>
                    <a:pt x="1625" y="178"/>
                  </a:cubicBezTo>
                  <a:cubicBezTo>
                    <a:pt x="1625" y="178"/>
                    <a:pt x="1625" y="178"/>
                    <a:pt x="1625" y="178"/>
                  </a:cubicBezTo>
                  <a:moveTo>
                    <a:pt x="1656" y="178"/>
                  </a:moveTo>
                  <a:cubicBezTo>
                    <a:pt x="1650" y="178"/>
                    <a:pt x="1644" y="182"/>
                    <a:pt x="1642" y="188"/>
                  </a:cubicBezTo>
                  <a:cubicBezTo>
                    <a:pt x="1640" y="194"/>
                    <a:pt x="1643" y="198"/>
                    <a:pt x="1649" y="198"/>
                  </a:cubicBezTo>
                  <a:cubicBezTo>
                    <a:pt x="1656" y="198"/>
                    <a:pt x="1662" y="193"/>
                    <a:pt x="1664" y="188"/>
                  </a:cubicBezTo>
                  <a:cubicBezTo>
                    <a:pt x="1666" y="182"/>
                    <a:pt x="1662" y="178"/>
                    <a:pt x="1656" y="178"/>
                  </a:cubicBezTo>
                  <a:cubicBezTo>
                    <a:pt x="1656" y="178"/>
                    <a:pt x="1656" y="178"/>
                    <a:pt x="1656" y="178"/>
                  </a:cubicBezTo>
                  <a:moveTo>
                    <a:pt x="1688" y="177"/>
                  </a:moveTo>
                  <a:cubicBezTo>
                    <a:pt x="1682" y="178"/>
                    <a:pt x="1675" y="182"/>
                    <a:pt x="1673" y="188"/>
                  </a:cubicBezTo>
                  <a:cubicBezTo>
                    <a:pt x="1672" y="193"/>
                    <a:pt x="1675" y="198"/>
                    <a:pt x="1681" y="198"/>
                  </a:cubicBezTo>
                  <a:cubicBezTo>
                    <a:pt x="1687" y="198"/>
                    <a:pt x="1694" y="193"/>
                    <a:pt x="1696" y="188"/>
                  </a:cubicBezTo>
                  <a:cubicBezTo>
                    <a:pt x="1697" y="182"/>
                    <a:pt x="1694" y="177"/>
                    <a:pt x="1688" y="177"/>
                  </a:cubicBezTo>
                  <a:cubicBezTo>
                    <a:pt x="1688" y="177"/>
                    <a:pt x="1688" y="177"/>
                    <a:pt x="1688" y="177"/>
                  </a:cubicBezTo>
                  <a:moveTo>
                    <a:pt x="1720" y="177"/>
                  </a:moveTo>
                  <a:cubicBezTo>
                    <a:pt x="1714" y="177"/>
                    <a:pt x="1708" y="182"/>
                    <a:pt x="1706" y="187"/>
                  </a:cubicBezTo>
                  <a:cubicBezTo>
                    <a:pt x="1704" y="193"/>
                    <a:pt x="1708" y="198"/>
                    <a:pt x="1714" y="198"/>
                  </a:cubicBezTo>
                  <a:cubicBezTo>
                    <a:pt x="1720" y="198"/>
                    <a:pt x="1727" y="193"/>
                    <a:pt x="1728" y="187"/>
                  </a:cubicBezTo>
                  <a:cubicBezTo>
                    <a:pt x="1730" y="182"/>
                    <a:pt x="1726" y="177"/>
                    <a:pt x="1720" y="177"/>
                  </a:cubicBezTo>
                  <a:cubicBezTo>
                    <a:pt x="1720" y="177"/>
                    <a:pt x="1720" y="177"/>
                    <a:pt x="1720" y="177"/>
                  </a:cubicBezTo>
                  <a:moveTo>
                    <a:pt x="1752" y="177"/>
                  </a:moveTo>
                  <a:cubicBezTo>
                    <a:pt x="1745" y="177"/>
                    <a:pt x="1739" y="182"/>
                    <a:pt x="1737" y="187"/>
                  </a:cubicBezTo>
                  <a:cubicBezTo>
                    <a:pt x="1736" y="193"/>
                    <a:pt x="1739" y="197"/>
                    <a:pt x="1746" y="197"/>
                  </a:cubicBezTo>
                  <a:cubicBezTo>
                    <a:pt x="1752" y="197"/>
                    <a:pt x="1758" y="193"/>
                    <a:pt x="1760" y="187"/>
                  </a:cubicBezTo>
                  <a:cubicBezTo>
                    <a:pt x="1761" y="181"/>
                    <a:pt x="1758" y="177"/>
                    <a:pt x="1752" y="177"/>
                  </a:cubicBezTo>
                  <a:cubicBezTo>
                    <a:pt x="1752" y="177"/>
                    <a:pt x="1752" y="177"/>
                    <a:pt x="1752" y="177"/>
                  </a:cubicBezTo>
                  <a:moveTo>
                    <a:pt x="2286" y="172"/>
                  </a:moveTo>
                  <a:cubicBezTo>
                    <a:pt x="2280" y="172"/>
                    <a:pt x="2274" y="176"/>
                    <a:pt x="2274" y="182"/>
                  </a:cubicBezTo>
                  <a:cubicBezTo>
                    <a:pt x="2273" y="188"/>
                    <a:pt x="2278" y="192"/>
                    <a:pt x="2284" y="192"/>
                  </a:cubicBezTo>
                  <a:cubicBezTo>
                    <a:pt x="2290" y="192"/>
                    <a:pt x="2296" y="187"/>
                    <a:pt x="2296" y="182"/>
                  </a:cubicBezTo>
                  <a:cubicBezTo>
                    <a:pt x="2297" y="176"/>
                    <a:pt x="2292" y="172"/>
                    <a:pt x="2286" y="172"/>
                  </a:cubicBezTo>
                  <a:cubicBezTo>
                    <a:pt x="2286" y="172"/>
                    <a:pt x="2286" y="172"/>
                    <a:pt x="2286" y="172"/>
                  </a:cubicBezTo>
                  <a:moveTo>
                    <a:pt x="2317" y="171"/>
                  </a:moveTo>
                  <a:cubicBezTo>
                    <a:pt x="2311" y="171"/>
                    <a:pt x="2306" y="176"/>
                    <a:pt x="2305" y="182"/>
                  </a:cubicBezTo>
                  <a:cubicBezTo>
                    <a:pt x="2305" y="187"/>
                    <a:pt x="2309" y="192"/>
                    <a:pt x="2316" y="192"/>
                  </a:cubicBezTo>
                  <a:cubicBezTo>
                    <a:pt x="2322" y="192"/>
                    <a:pt x="2327" y="187"/>
                    <a:pt x="2327" y="181"/>
                  </a:cubicBezTo>
                  <a:cubicBezTo>
                    <a:pt x="2328" y="176"/>
                    <a:pt x="2323" y="171"/>
                    <a:pt x="2317" y="171"/>
                  </a:cubicBezTo>
                  <a:cubicBezTo>
                    <a:pt x="2317" y="171"/>
                    <a:pt x="2317" y="171"/>
                    <a:pt x="2317" y="171"/>
                  </a:cubicBezTo>
                  <a:moveTo>
                    <a:pt x="2348" y="171"/>
                  </a:moveTo>
                  <a:cubicBezTo>
                    <a:pt x="2342" y="171"/>
                    <a:pt x="2337" y="176"/>
                    <a:pt x="2337" y="181"/>
                  </a:cubicBezTo>
                  <a:cubicBezTo>
                    <a:pt x="2336" y="187"/>
                    <a:pt x="2341" y="191"/>
                    <a:pt x="2347" y="191"/>
                  </a:cubicBezTo>
                  <a:cubicBezTo>
                    <a:pt x="2353" y="191"/>
                    <a:pt x="2358" y="187"/>
                    <a:pt x="2359" y="181"/>
                  </a:cubicBezTo>
                  <a:cubicBezTo>
                    <a:pt x="2359" y="176"/>
                    <a:pt x="2354" y="171"/>
                    <a:pt x="2348" y="171"/>
                  </a:cubicBezTo>
                  <a:cubicBezTo>
                    <a:pt x="2348" y="171"/>
                    <a:pt x="2348" y="171"/>
                    <a:pt x="2348" y="171"/>
                  </a:cubicBezTo>
                  <a:moveTo>
                    <a:pt x="2380" y="171"/>
                  </a:moveTo>
                  <a:cubicBezTo>
                    <a:pt x="2374" y="171"/>
                    <a:pt x="2369" y="175"/>
                    <a:pt x="2369" y="181"/>
                  </a:cubicBezTo>
                  <a:cubicBezTo>
                    <a:pt x="2369" y="187"/>
                    <a:pt x="2373" y="191"/>
                    <a:pt x="2379" y="191"/>
                  </a:cubicBezTo>
                  <a:cubicBezTo>
                    <a:pt x="2386" y="191"/>
                    <a:pt x="2391" y="186"/>
                    <a:pt x="2391" y="181"/>
                  </a:cubicBezTo>
                  <a:cubicBezTo>
                    <a:pt x="2391" y="175"/>
                    <a:pt x="2387" y="171"/>
                    <a:pt x="2381" y="171"/>
                  </a:cubicBezTo>
                  <a:cubicBezTo>
                    <a:pt x="2380" y="171"/>
                    <a:pt x="2380" y="171"/>
                    <a:pt x="2380" y="171"/>
                  </a:cubicBezTo>
                  <a:moveTo>
                    <a:pt x="2412" y="170"/>
                  </a:moveTo>
                  <a:cubicBezTo>
                    <a:pt x="2406" y="170"/>
                    <a:pt x="2400" y="175"/>
                    <a:pt x="2400" y="181"/>
                  </a:cubicBezTo>
                  <a:cubicBezTo>
                    <a:pt x="2400" y="186"/>
                    <a:pt x="2405" y="191"/>
                    <a:pt x="2411" y="191"/>
                  </a:cubicBezTo>
                  <a:cubicBezTo>
                    <a:pt x="2417" y="191"/>
                    <a:pt x="2422" y="186"/>
                    <a:pt x="2422" y="181"/>
                  </a:cubicBezTo>
                  <a:cubicBezTo>
                    <a:pt x="2423" y="175"/>
                    <a:pt x="2418" y="170"/>
                    <a:pt x="2412" y="170"/>
                  </a:cubicBezTo>
                  <a:cubicBezTo>
                    <a:pt x="2412" y="170"/>
                    <a:pt x="2412" y="170"/>
                    <a:pt x="2412" y="170"/>
                  </a:cubicBezTo>
                  <a:moveTo>
                    <a:pt x="2443" y="170"/>
                  </a:moveTo>
                  <a:cubicBezTo>
                    <a:pt x="2437" y="170"/>
                    <a:pt x="2432" y="175"/>
                    <a:pt x="2432" y="180"/>
                  </a:cubicBezTo>
                  <a:cubicBezTo>
                    <a:pt x="2431" y="186"/>
                    <a:pt x="2436" y="191"/>
                    <a:pt x="2442" y="191"/>
                  </a:cubicBezTo>
                  <a:cubicBezTo>
                    <a:pt x="2449" y="191"/>
                    <a:pt x="2454" y="186"/>
                    <a:pt x="2454" y="180"/>
                  </a:cubicBezTo>
                  <a:cubicBezTo>
                    <a:pt x="2454" y="175"/>
                    <a:pt x="2449" y="170"/>
                    <a:pt x="2443" y="170"/>
                  </a:cubicBezTo>
                  <a:cubicBezTo>
                    <a:pt x="2443" y="170"/>
                    <a:pt x="2443" y="170"/>
                    <a:pt x="2443" y="170"/>
                  </a:cubicBezTo>
                  <a:moveTo>
                    <a:pt x="2474" y="170"/>
                  </a:moveTo>
                  <a:cubicBezTo>
                    <a:pt x="2468" y="170"/>
                    <a:pt x="2463" y="175"/>
                    <a:pt x="2463" y="180"/>
                  </a:cubicBezTo>
                  <a:cubicBezTo>
                    <a:pt x="2463" y="186"/>
                    <a:pt x="2468" y="190"/>
                    <a:pt x="2474" y="190"/>
                  </a:cubicBezTo>
                  <a:cubicBezTo>
                    <a:pt x="2480" y="190"/>
                    <a:pt x="2485" y="186"/>
                    <a:pt x="2485" y="180"/>
                  </a:cubicBezTo>
                  <a:cubicBezTo>
                    <a:pt x="2485" y="174"/>
                    <a:pt x="2480" y="170"/>
                    <a:pt x="2474" y="170"/>
                  </a:cubicBezTo>
                  <a:cubicBezTo>
                    <a:pt x="2474" y="170"/>
                    <a:pt x="2474" y="170"/>
                    <a:pt x="2474" y="170"/>
                  </a:cubicBezTo>
                  <a:moveTo>
                    <a:pt x="2505" y="170"/>
                  </a:moveTo>
                  <a:cubicBezTo>
                    <a:pt x="2499" y="170"/>
                    <a:pt x="2494" y="174"/>
                    <a:pt x="2494" y="180"/>
                  </a:cubicBezTo>
                  <a:cubicBezTo>
                    <a:pt x="2494" y="186"/>
                    <a:pt x="2499" y="190"/>
                    <a:pt x="2505" y="190"/>
                  </a:cubicBezTo>
                  <a:cubicBezTo>
                    <a:pt x="2511" y="190"/>
                    <a:pt x="2516" y="185"/>
                    <a:pt x="2516" y="180"/>
                  </a:cubicBezTo>
                  <a:cubicBezTo>
                    <a:pt x="2516" y="174"/>
                    <a:pt x="2511" y="170"/>
                    <a:pt x="2505" y="170"/>
                  </a:cubicBezTo>
                  <a:cubicBezTo>
                    <a:pt x="2505" y="170"/>
                    <a:pt x="2505" y="170"/>
                    <a:pt x="2505" y="170"/>
                  </a:cubicBezTo>
                  <a:moveTo>
                    <a:pt x="2536" y="169"/>
                  </a:moveTo>
                  <a:cubicBezTo>
                    <a:pt x="2530" y="169"/>
                    <a:pt x="2525" y="174"/>
                    <a:pt x="2525" y="180"/>
                  </a:cubicBezTo>
                  <a:cubicBezTo>
                    <a:pt x="2525" y="185"/>
                    <a:pt x="2530" y="190"/>
                    <a:pt x="2536" y="190"/>
                  </a:cubicBezTo>
                  <a:cubicBezTo>
                    <a:pt x="2542" y="190"/>
                    <a:pt x="2547" y="185"/>
                    <a:pt x="2547" y="179"/>
                  </a:cubicBezTo>
                  <a:cubicBezTo>
                    <a:pt x="2547" y="174"/>
                    <a:pt x="2542" y="169"/>
                    <a:pt x="2536" y="169"/>
                  </a:cubicBezTo>
                  <a:cubicBezTo>
                    <a:pt x="2536" y="169"/>
                    <a:pt x="2536" y="169"/>
                    <a:pt x="2536" y="169"/>
                  </a:cubicBezTo>
                  <a:moveTo>
                    <a:pt x="2601" y="169"/>
                  </a:moveTo>
                  <a:cubicBezTo>
                    <a:pt x="2595" y="169"/>
                    <a:pt x="2590" y="173"/>
                    <a:pt x="2590" y="179"/>
                  </a:cubicBezTo>
                  <a:cubicBezTo>
                    <a:pt x="2590" y="185"/>
                    <a:pt x="2595" y="189"/>
                    <a:pt x="2601" y="189"/>
                  </a:cubicBezTo>
                  <a:cubicBezTo>
                    <a:pt x="2608" y="189"/>
                    <a:pt x="2612" y="184"/>
                    <a:pt x="2612" y="179"/>
                  </a:cubicBezTo>
                  <a:cubicBezTo>
                    <a:pt x="2612" y="173"/>
                    <a:pt x="2607" y="169"/>
                    <a:pt x="2601" y="169"/>
                  </a:cubicBezTo>
                  <a:cubicBezTo>
                    <a:pt x="2601" y="169"/>
                    <a:pt x="2601" y="169"/>
                    <a:pt x="2601" y="169"/>
                  </a:cubicBezTo>
                  <a:moveTo>
                    <a:pt x="2632" y="168"/>
                  </a:moveTo>
                  <a:cubicBezTo>
                    <a:pt x="2626" y="168"/>
                    <a:pt x="2621" y="173"/>
                    <a:pt x="2621" y="179"/>
                  </a:cubicBezTo>
                  <a:cubicBezTo>
                    <a:pt x="2622" y="184"/>
                    <a:pt x="2627" y="189"/>
                    <a:pt x="2633" y="189"/>
                  </a:cubicBezTo>
                  <a:cubicBezTo>
                    <a:pt x="2639" y="189"/>
                    <a:pt x="2644" y="184"/>
                    <a:pt x="2643" y="179"/>
                  </a:cubicBezTo>
                  <a:cubicBezTo>
                    <a:pt x="2643" y="173"/>
                    <a:pt x="2638" y="168"/>
                    <a:pt x="2632" y="168"/>
                  </a:cubicBezTo>
                  <a:cubicBezTo>
                    <a:pt x="2632" y="168"/>
                    <a:pt x="2632" y="168"/>
                    <a:pt x="2632" y="168"/>
                  </a:cubicBezTo>
                  <a:moveTo>
                    <a:pt x="2663" y="168"/>
                  </a:moveTo>
                  <a:cubicBezTo>
                    <a:pt x="2657" y="168"/>
                    <a:pt x="2652" y="173"/>
                    <a:pt x="2652" y="178"/>
                  </a:cubicBezTo>
                  <a:cubicBezTo>
                    <a:pt x="2653" y="184"/>
                    <a:pt x="2658" y="189"/>
                    <a:pt x="2664" y="189"/>
                  </a:cubicBezTo>
                  <a:cubicBezTo>
                    <a:pt x="2670" y="189"/>
                    <a:pt x="2675" y="184"/>
                    <a:pt x="2675" y="178"/>
                  </a:cubicBezTo>
                  <a:cubicBezTo>
                    <a:pt x="2674" y="173"/>
                    <a:pt x="2669" y="168"/>
                    <a:pt x="2663" y="168"/>
                  </a:cubicBezTo>
                  <a:cubicBezTo>
                    <a:pt x="2663" y="168"/>
                    <a:pt x="2663" y="168"/>
                    <a:pt x="2663" y="168"/>
                  </a:cubicBezTo>
                  <a:moveTo>
                    <a:pt x="2694" y="168"/>
                  </a:moveTo>
                  <a:cubicBezTo>
                    <a:pt x="2688" y="168"/>
                    <a:pt x="2683" y="173"/>
                    <a:pt x="2684" y="178"/>
                  </a:cubicBezTo>
                  <a:cubicBezTo>
                    <a:pt x="2684" y="184"/>
                    <a:pt x="2689" y="188"/>
                    <a:pt x="2696" y="188"/>
                  </a:cubicBezTo>
                  <a:cubicBezTo>
                    <a:pt x="2702" y="188"/>
                    <a:pt x="2706" y="184"/>
                    <a:pt x="2706" y="178"/>
                  </a:cubicBezTo>
                  <a:cubicBezTo>
                    <a:pt x="2705" y="172"/>
                    <a:pt x="2700" y="168"/>
                    <a:pt x="2694" y="168"/>
                  </a:cubicBezTo>
                  <a:cubicBezTo>
                    <a:pt x="2694" y="168"/>
                    <a:pt x="2694" y="168"/>
                    <a:pt x="2694" y="168"/>
                  </a:cubicBezTo>
                  <a:moveTo>
                    <a:pt x="2726" y="168"/>
                  </a:moveTo>
                  <a:cubicBezTo>
                    <a:pt x="2720" y="168"/>
                    <a:pt x="2715" y="172"/>
                    <a:pt x="2715" y="178"/>
                  </a:cubicBezTo>
                  <a:cubicBezTo>
                    <a:pt x="2716" y="184"/>
                    <a:pt x="2721" y="188"/>
                    <a:pt x="2727" y="188"/>
                  </a:cubicBezTo>
                  <a:cubicBezTo>
                    <a:pt x="2733" y="188"/>
                    <a:pt x="2738" y="183"/>
                    <a:pt x="2737" y="178"/>
                  </a:cubicBezTo>
                  <a:cubicBezTo>
                    <a:pt x="2737" y="172"/>
                    <a:pt x="2732" y="168"/>
                    <a:pt x="2726" y="168"/>
                  </a:cubicBezTo>
                  <a:cubicBezTo>
                    <a:pt x="2726" y="168"/>
                    <a:pt x="2726" y="168"/>
                    <a:pt x="2726" y="168"/>
                  </a:cubicBezTo>
                  <a:moveTo>
                    <a:pt x="2757" y="167"/>
                  </a:moveTo>
                  <a:cubicBezTo>
                    <a:pt x="2751" y="167"/>
                    <a:pt x="2747" y="172"/>
                    <a:pt x="2747" y="178"/>
                  </a:cubicBezTo>
                  <a:cubicBezTo>
                    <a:pt x="2748" y="183"/>
                    <a:pt x="2753" y="188"/>
                    <a:pt x="2759" y="188"/>
                  </a:cubicBezTo>
                  <a:cubicBezTo>
                    <a:pt x="2765" y="188"/>
                    <a:pt x="2770" y="183"/>
                    <a:pt x="2769" y="177"/>
                  </a:cubicBezTo>
                  <a:cubicBezTo>
                    <a:pt x="2769" y="172"/>
                    <a:pt x="2763" y="167"/>
                    <a:pt x="2757" y="167"/>
                  </a:cubicBezTo>
                  <a:cubicBezTo>
                    <a:pt x="2757" y="167"/>
                    <a:pt x="2757" y="167"/>
                    <a:pt x="2757" y="167"/>
                  </a:cubicBezTo>
                  <a:moveTo>
                    <a:pt x="2789" y="167"/>
                  </a:moveTo>
                  <a:cubicBezTo>
                    <a:pt x="2782" y="167"/>
                    <a:pt x="2778" y="172"/>
                    <a:pt x="2779" y="177"/>
                  </a:cubicBezTo>
                  <a:cubicBezTo>
                    <a:pt x="2779" y="183"/>
                    <a:pt x="2785" y="188"/>
                    <a:pt x="2791" y="187"/>
                  </a:cubicBezTo>
                  <a:cubicBezTo>
                    <a:pt x="2797" y="187"/>
                    <a:pt x="2801" y="183"/>
                    <a:pt x="2801" y="177"/>
                  </a:cubicBezTo>
                  <a:cubicBezTo>
                    <a:pt x="2800" y="172"/>
                    <a:pt x="2795" y="167"/>
                    <a:pt x="2789" y="167"/>
                  </a:cubicBezTo>
                  <a:cubicBezTo>
                    <a:pt x="2789" y="167"/>
                    <a:pt x="2789" y="167"/>
                    <a:pt x="2789" y="167"/>
                  </a:cubicBezTo>
                  <a:moveTo>
                    <a:pt x="2820" y="167"/>
                  </a:moveTo>
                  <a:cubicBezTo>
                    <a:pt x="2814" y="167"/>
                    <a:pt x="2809" y="171"/>
                    <a:pt x="2810" y="177"/>
                  </a:cubicBezTo>
                  <a:cubicBezTo>
                    <a:pt x="2811" y="183"/>
                    <a:pt x="2816" y="187"/>
                    <a:pt x="2822" y="187"/>
                  </a:cubicBezTo>
                  <a:cubicBezTo>
                    <a:pt x="2829" y="187"/>
                    <a:pt x="2833" y="182"/>
                    <a:pt x="2832" y="177"/>
                  </a:cubicBezTo>
                  <a:cubicBezTo>
                    <a:pt x="2831" y="171"/>
                    <a:pt x="2826" y="167"/>
                    <a:pt x="2820" y="167"/>
                  </a:cubicBezTo>
                  <a:cubicBezTo>
                    <a:pt x="2820" y="167"/>
                    <a:pt x="2820" y="167"/>
                    <a:pt x="2820" y="167"/>
                  </a:cubicBezTo>
                  <a:moveTo>
                    <a:pt x="2851" y="166"/>
                  </a:moveTo>
                  <a:cubicBezTo>
                    <a:pt x="2845" y="166"/>
                    <a:pt x="2841" y="171"/>
                    <a:pt x="2841" y="177"/>
                  </a:cubicBezTo>
                  <a:cubicBezTo>
                    <a:pt x="2842" y="182"/>
                    <a:pt x="2848" y="187"/>
                    <a:pt x="2854" y="187"/>
                  </a:cubicBezTo>
                  <a:cubicBezTo>
                    <a:pt x="2860" y="187"/>
                    <a:pt x="2864" y="182"/>
                    <a:pt x="2864" y="177"/>
                  </a:cubicBezTo>
                  <a:cubicBezTo>
                    <a:pt x="2863" y="171"/>
                    <a:pt x="2857" y="166"/>
                    <a:pt x="2851" y="166"/>
                  </a:cubicBezTo>
                  <a:cubicBezTo>
                    <a:pt x="2851" y="166"/>
                    <a:pt x="2851" y="166"/>
                    <a:pt x="2851" y="166"/>
                  </a:cubicBezTo>
                  <a:moveTo>
                    <a:pt x="2883" y="166"/>
                  </a:moveTo>
                  <a:cubicBezTo>
                    <a:pt x="2877" y="166"/>
                    <a:pt x="2872" y="171"/>
                    <a:pt x="2873" y="176"/>
                  </a:cubicBezTo>
                  <a:cubicBezTo>
                    <a:pt x="2874" y="182"/>
                    <a:pt x="2879" y="187"/>
                    <a:pt x="2886" y="187"/>
                  </a:cubicBezTo>
                  <a:cubicBezTo>
                    <a:pt x="2892" y="187"/>
                    <a:pt x="2896" y="182"/>
                    <a:pt x="2895" y="176"/>
                  </a:cubicBezTo>
                  <a:cubicBezTo>
                    <a:pt x="2894" y="171"/>
                    <a:pt x="2889" y="166"/>
                    <a:pt x="2883" y="166"/>
                  </a:cubicBezTo>
                  <a:cubicBezTo>
                    <a:pt x="2883" y="166"/>
                    <a:pt x="2883" y="166"/>
                    <a:pt x="2883" y="166"/>
                  </a:cubicBezTo>
                  <a:moveTo>
                    <a:pt x="2914" y="166"/>
                  </a:moveTo>
                  <a:cubicBezTo>
                    <a:pt x="2908" y="166"/>
                    <a:pt x="2903" y="170"/>
                    <a:pt x="2904" y="176"/>
                  </a:cubicBezTo>
                  <a:cubicBezTo>
                    <a:pt x="2905" y="182"/>
                    <a:pt x="2911" y="186"/>
                    <a:pt x="2917" y="186"/>
                  </a:cubicBezTo>
                  <a:cubicBezTo>
                    <a:pt x="2923" y="186"/>
                    <a:pt x="2927" y="181"/>
                    <a:pt x="2926" y="176"/>
                  </a:cubicBezTo>
                  <a:cubicBezTo>
                    <a:pt x="2925" y="170"/>
                    <a:pt x="2920" y="166"/>
                    <a:pt x="2914" y="166"/>
                  </a:cubicBezTo>
                  <a:cubicBezTo>
                    <a:pt x="2914" y="166"/>
                    <a:pt x="2914" y="166"/>
                    <a:pt x="2914" y="166"/>
                  </a:cubicBezTo>
                  <a:moveTo>
                    <a:pt x="2943" y="165"/>
                  </a:moveTo>
                  <a:cubicBezTo>
                    <a:pt x="2937" y="165"/>
                    <a:pt x="2933" y="170"/>
                    <a:pt x="2934" y="176"/>
                  </a:cubicBezTo>
                  <a:cubicBezTo>
                    <a:pt x="2935" y="181"/>
                    <a:pt x="2941" y="186"/>
                    <a:pt x="2947" y="186"/>
                  </a:cubicBezTo>
                  <a:cubicBezTo>
                    <a:pt x="2953" y="186"/>
                    <a:pt x="2957" y="181"/>
                    <a:pt x="2956" y="175"/>
                  </a:cubicBezTo>
                  <a:cubicBezTo>
                    <a:pt x="2955" y="170"/>
                    <a:pt x="2950" y="165"/>
                    <a:pt x="2944" y="165"/>
                  </a:cubicBezTo>
                  <a:cubicBezTo>
                    <a:pt x="2944" y="165"/>
                    <a:pt x="2943" y="165"/>
                    <a:pt x="2943" y="165"/>
                  </a:cubicBezTo>
                  <a:moveTo>
                    <a:pt x="2975" y="165"/>
                  </a:moveTo>
                  <a:cubicBezTo>
                    <a:pt x="2969" y="165"/>
                    <a:pt x="2964" y="170"/>
                    <a:pt x="2965" y="175"/>
                  </a:cubicBezTo>
                  <a:cubicBezTo>
                    <a:pt x="2966" y="181"/>
                    <a:pt x="2972" y="186"/>
                    <a:pt x="2978" y="186"/>
                  </a:cubicBezTo>
                  <a:cubicBezTo>
                    <a:pt x="2984" y="186"/>
                    <a:pt x="2989" y="181"/>
                    <a:pt x="2987" y="175"/>
                  </a:cubicBezTo>
                  <a:cubicBezTo>
                    <a:pt x="2986" y="170"/>
                    <a:pt x="2981" y="165"/>
                    <a:pt x="2975" y="165"/>
                  </a:cubicBezTo>
                  <a:cubicBezTo>
                    <a:pt x="2975" y="165"/>
                    <a:pt x="2975" y="165"/>
                    <a:pt x="2975" y="165"/>
                  </a:cubicBezTo>
                  <a:moveTo>
                    <a:pt x="3006" y="165"/>
                  </a:moveTo>
                  <a:cubicBezTo>
                    <a:pt x="3000" y="165"/>
                    <a:pt x="2996" y="169"/>
                    <a:pt x="2997" y="175"/>
                  </a:cubicBezTo>
                  <a:cubicBezTo>
                    <a:pt x="2998" y="181"/>
                    <a:pt x="3004" y="185"/>
                    <a:pt x="3010" y="185"/>
                  </a:cubicBezTo>
                  <a:cubicBezTo>
                    <a:pt x="3016" y="185"/>
                    <a:pt x="3020" y="181"/>
                    <a:pt x="3019" y="175"/>
                  </a:cubicBezTo>
                  <a:cubicBezTo>
                    <a:pt x="3018" y="169"/>
                    <a:pt x="3012" y="165"/>
                    <a:pt x="3006" y="165"/>
                  </a:cubicBezTo>
                  <a:cubicBezTo>
                    <a:pt x="3006" y="165"/>
                    <a:pt x="3006" y="165"/>
                    <a:pt x="3006" y="165"/>
                  </a:cubicBezTo>
                  <a:moveTo>
                    <a:pt x="3038" y="164"/>
                  </a:moveTo>
                  <a:cubicBezTo>
                    <a:pt x="3032" y="165"/>
                    <a:pt x="3028" y="169"/>
                    <a:pt x="3029" y="175"/>
                  </a:cubicBezTo>
                  <a:cubicBezTo>
                    <a:pt x="3031" y="180"/>
                    <a:pt x="3037" y="185"/>
                    <a:pt x="3043" y="185"/>
                  </a:cubicBezTo>
                  <a:cubicBezTo>
                    <a:pt x="3049" y="185"/>
                    <a:pt x="3053" y="180"/>
                    <a:pt x="3052" y="175"/>
                  </a:cubicBezTo>
                  <a:cubicBezTo>
                    <a:pt x="3050" y="169"/>
                    <a:pt x="3045" y="164"/>
                    <a:pt x="3039" y="164"/>
                  </a:cubicBezTo>
                  <a:cubicBezTo>
                    <a:pt x="3038" y="164"/>
                    <a:pt x="3038" y="164"/>
                    <a:pt x="3038" y="164"/>
                  </a:cubicBezTo>
                  <a:moveTo>
                    <a:pt x="3070" y="164"/>
                  </a:moveTo>
                  <a:cubicBezTo>
                    <a:pt x="3064" y="164"/>
                    <a:pt x="3060" y="169"/>
                    <a:pt x="3061" y="175"/>
                  </a:cubicBezTo>
                  <a:cubicBezTo>
                    <a:pt x="3062" y="180"/>
                    <a:pt x="3068" y="185"/>
                    <a:pt x="3074" y="185"/>
                  </a:cubicBezTo>
                  <a:cubicBezTo>
                    <a:pt x="3080" y="185"/>
                    <a:pt x="3084" y="180"/>
                    <a:pt x="3083" y="174"/>
                  </a:cubicBezTo>
                  <a:cubicBezTo>
                    <a:pt x="3082" y="169"/>
                    <a:pt x="3076" y="164"/>
                    <a:pt x="3070" y="164"/>
                  </a:cubicBezTo>
                  <a:cubicBezTo>
                    <a:pt x="3070" y="164"/>
                    <a:pt x="3070" y="164"/>
                    <a:pt x="3070" y="164"/>
                  </a:cubicBezTo>
                  <a:moveTo>
                    <a:pt x="3101" y="164"/>
                  </a:moveTo>
                  <a:cubicBezTo>
                    <a:pt x="3095" y="164"/>
                    <a:pt x="3091" y="169"/>
                    <a:pt x="3092" y="174"/>
                  </a:cubicBezTo>
                  <a:cubicBezTo>
                    <a:pt x="3094" y="180"/>
                    <a:pt x="3100" y="184"/>
                    <a:pt x="3106" y="184"/>
                  </a:cubicBezTo>
                  <a:cubicBezTo>
                    <a:pt x="3112" y="184"/>
                    <a:pt x="3116" y="180"/>
                    <a:pt x="3114" y="174"/>
                  </a:cubicBezTo>
                  <a:cubicBezTo>
                    <a:pt x="3113" y="168"/>
                    <a:pt x="3107" y="164"/>
                    <a:pt x="3101" y="164"/>
                  </a:cubicBezTo>
                  <a:cubicBezTo>
                    <a:pt x="3101" y="164"/>
                    <a:pt x="3101" y="164"/>
                    <a:pt x="3101" y="164"/>
                  </a:cubicBezTo>
                  <a:moveTo>
                    <a:pt x="3133" y="164"/>
                  </a:moveTo>
                  <a:cubicBezTo>
                    <a:pt x="3127" y="164"/>
                    <a:pt x="3123" y="168"/>
                    <a:pt x="3124" y="174"/>
                  </a:cubicBezTo>
                  <a:cubicBezTo>
                    <a:pt x="3125" y="180"/>
                    <a:pt x="3132" y="184"/>
                    <a:pt x="3138" y="184"/>
                  </a:cubicBezTo>
                  <a:cubicBezTo>
                    <a:pt x="3144" y="184"/>
                    <a:pt x="3148" y="179"/>
                    <a:pt x="3146" y="174"/>
                  </a:cubicBezTo>
                  <a:cubicBezTo>
                    <a:pt x="3145" y="168"/>
                    <a:pt x="3139" y="164"/>
                    <a:pt x="3133" y="164"/>
                  </a:cubicBezTo>
                  <a:cubicBezTo>
                    <a:pt x="3133" y="164"/>
                    <a:pt x="3133" y="164"/>
                    <a:pt x="3133" y="164"/>
                  </a:cubicBezTo>
                  <a:moveTo>
                    <a:pt x="3164" y="163"/>
                  </a:moveTo>
                  <a:cubicBezTo>
                    <a:pt x="3158" y="163"/>
                    <a:pt x="3154" y="168"/>
                    <a:pt x="3155" y="174"/>
                  </a:cubicBezTo>
                  <a:cubicBezTo>
                    <a:pt x="3157" y="179"/>
                    <a:pt x="3163" y="184"/>
                    <a:pt x="3169" y="184"/>
                  </a:cubicBezTo>
                  <a:cubicBezTo>
                    <a:pt x="3175" y="184"/>
                    <a:pt x="3179" y="179"/>
                    <a:pt x="3177" y="173"/>
                  </a:cubicBezTo>
                  <a:cubicBezTo>
                    <a:pt x="3176" y="168"/>
                    <a:pt x="3170" y="163"/>
                    <a:pt x="3164" y="163"/>
                  </a:cubicBezTo>
                  <a:cubicBezTo>
                    <a:pt x="3164" y="163"/>
                    <a:pt x="3164" y="163"/>
                    <a:pt x="3164" y="163"/>
                  </a:cubicBezTo>
                  <a:moveTo>
                    <a:pt x="3195" y="163"/>
                  </a:moveTo>
                  <a:cubicBezTo>
                    <a:pt x="3189" y="163"/>
                    <a:pt x="3185" y="168"/>
                    <a:pt x="3187" y="173"/>
                  </a:cubicBezTo>
                  <a:cubicBezTo>
                    <a:pt x="3188" y="179"/>
                    <a:pt x="3195" y="184"/>
                    <a:pt x="3201" y="184"/>
                  </a:cubicBezTo>
                  <a:cubicBezTo>
                    <a:pt x="3207" y="184"/>
                    <a:pt x="3210" y="179"/>
                    <a:pt x="3209" y="173"/>
                  </a:cubicBezTo>
                  <a:cubicBezTo>
                    <a:pt x="3207" y="168"/>
                    <a:pt x="3201" y="163"/>
                    <a:pt x="3195" y="163"/>
                  </a:cubicBezTo>
                  <a:cubicBezTo>
                    <a:pt x="3195" y="163"/>
                    <a:pt x="3195" y="163"/>
                    <a:pt x="3195" y="163"/>
                  </a:cubicBezTo>
                  <a:moveTo>
                    <a:pt x="3226" y="163"/>
                  </a:moveTo>
                  <a:cubicBezTo>
                    <a:pt x="3220" y="163"/>
                    <a:pt x="3217" y="167"/>
                    <a:pt x="3218" y="173"/>
                  </a:cubicBezTo>
                  <a:cubicBezTo>
                    <a:pt x="3220" y="179"/>
                    <a:pt x="3226" y="183"/>
                    <a:pt x="3232" y="183"/>
                  </a:cubicBezTo>
                  <a:cubicBezTo>
                    <a:pt x="3238" y="183"/>
                    <a:pt x="3242" y="179"/>
                    <a:pt x="3240" y="173"/>
                  </a:cubicBezTo>
                  <a:cubicBezTo>
                    <a:pt x="3239" y="167"/>
                    <a:pt x="3233" y="163"/>
                    <a:pt x="3227" y="163"/>
                  </a:cubicBezTo>
                  <a:cubicBezTo>
                    <a:pt x="3226" y="163"/>
                    <a:pt x="3226" y="163"/>
                    <a:pt x="3226" y="163"/>
                  </a:cubicBezTo>
                  <a:moveTo>
                    <a:pt x="3258" y="162"/>
                  </a:moveTo>
                  <a:cubicBezTo>
                    <a:pt x="3252" y="163"/>
                    <a:pt x="3248" y="167"/>
                    <a:pt x="3250" y="173"/>
                  </a:cubicBezTo>
                  <a:cubicBezTo>
                    <a:pt x="3251" y="179"/>
                    <a:pt x="3257" y="183"/>
                    <a:pt x="3263" y="183"/>
                  </a:cubicBezTo>
                  <a:cubicBezTo>
                    <a:pt x="3270" y="183"/>
                    <a:pt x="3273" y="178"/>
                    <a:pt x="3272" y="173"/>
                  </a:cubicBezTo>
                  <a:cubicBezTo>
                    <a:pt x="3270" y="167"/>
                    <a:pt x="3264" y="162"/>
                    <a:pt x="3258" y="162"/>
                  </a:cubicBezTo>
                  <a:cubicBezTo>
                    <a:pt x="3258" y="162"/>
                    <a:pt x="3258" y="162"/>
                    <a:pt x="3258" y="162"/>
                  </a:cubicBezTo>
                  <a:moveTo>
                    <a:pt x="3289" y="162"/>
                  </a:moveTo>
                  <a:cubicBezTo>
                    <a:pt x="3283" y="162"/>
                    <a:pt x="3279" y="167"/>
                    <a:pt x="3281" y="173"/>
                  </a:cubicBezTo>
                  <a:cubicBezTo>
                    <a:pt x="3282" y="178"/>
                    <a:pt x="3289" y="183"/>
                    <a:pt x="3295" y="183"/>
                  </a:cubicBezTo>
                  <a:cubicBezTo>
                    <a:pt x="3301" y="183"/>
                    <a:pt x="3305" y="178"/>
                    <a:pt x="3303" y="172"/>
                  </a:cubicBezTo>
                  <a:cubicBezTo>
                    <a:pt x="3301" y="167"/>
                    <a:pt x="3295" y="162"/>
                    <a:pt x="3289" y="162"/>
                  </a:cubicBezTo>
                  <a:cubicBezTo>
                    <a:pt x="3289" y="162"/>
                    <a:pt x="3289" y="162"/>
                    <a:pt x="3289" y="162"/>
                  </a:cubicBezTo>
                  <a:moveTo>
                    <a:pt x="3320" y="162"/>
                  </a:moveTo>
                  <a:cubicBezTo>
                    <a:pt x="3314" y="162"/>
                    <a:pt x="3311" y="167"/>
                    <a:pt x="3312" y="172"/>
                  </a:cubicBezTo>
                  <a:cubicBezTo>
                    <a:pt x="3314" y="178"/>
                    <a:pt x="3320" y="183"/>
                    <a:pt x="3327" y="182"/>
                  </a:cubicBezTo>
                  <a:cubicBezTo>
                    <a:pt x="3333" y="182"/>
                    <a:pt x="3336" y="178"/>
                    <a:pt x="3334" y="172"/>
                  </a:cubicBezTo>
                  <a:cubicBezTo>
                    <a:pt x="3333" y="166"/>
                    <a:pt x="3326" y="162"/>
                    <a:pt x="3320" y="162"/>
                  </a:cubicBezTo>
                  <a:cubicBezTo>
                    <a:pt x="3320" y="162"/>
                    <a:pt x="3320" y="162"/>
                    <a:pt x="3320" y="162"/>
                  </a:cubicBezTo>
                  <a:moveTo>
                    <a:pt x="3352" y="162"/>
                  </a:moveTo>
                  <a:cubicBezTo>
                    <a:pt x="3346" y="162"/>
                    <a:pt x="3343" y="166"/>
                    <a:pt x="3345" y="172"/>
                  </a:cubicBezTo>
                  <a:cubicBezTo>
                    <a:pt x="3347" y="178"/>
                    <a:pt x="3353" y="182"/>
                    <a:pt x="3359" y="182"/>
                  </a:cubicBezTo>
                  <a:cubicBezTo>
                    <a:pt x="3365" y="182"/>
                    <a:pt x="3369" y="177"/>
                    <a:pt x="3367" y="172"/>
                  </a:cubicBezTo>
                  <a:cubicBezTo>
                    <a:pt x="3365" y="166"/>
                    <a:pt x="3359" y="162"/>
                    <a:pt x="3353" y="162"/>
                  </a:cubicBezTo>
                  <a:cubicBezTo>
                    <a:pt x="3353" y="162"/>
                    <a:pt x="3352" y="162"/>
                    <a:pt x="3352" y="162"/>
                  </a:cubicBezTo>
                  <a:moveTo>
                    <a:pt x="3384" y="161"/>
                  </a:moveTo>
                  <a:cubicBezTo>
                    <a:pt x="3378" y="161"/>
                    <a:pt x="3374" y="166"/>
                    <a:pt x="3376" y="172"/>
                  </a:cubicBezTo>
                  <a:cubicBezTo>
                    <a:pt x="3378" y="177"/>
                    <a:pt x="3384" y="182"/>
                    <a:pt x="3390" y="182"/>
                  </a:cubicBezTo>
                  <a:cubicBezTo>
                    <a:pt x="3397" y="182"/>
                    <a:pt x="3400" y="177"/>
                    <a:pt x="3398" y="171"/>
                  </a:cubicBezTo>
                  <a:cubicBezTo>
                    <a:pt x="3396" y="166"/>
                    <a:pt x="3390" y="161"/>
                    <a:pt x="3384" y="161"/>
                  </a:cubicBezTo>
                  <a:cubicBezTo>
                    <a:pt x="3384" y="161"/>
                    <a:pt x="3384" y="161"/>
                    <a:pt x="3384" y="161"/>
                  </a:cubicBezTo>
                  <a:moveTo>
                    <a:pt x="3415" y="161"/>
                  </a:moveTo>
                  <a:cubicBezTo>
                    <a:pt x="3409" y="161"/>
                    <a:pt x="3406" y="166"/>
                    <a:pt x="3408" y="171"/>
                  </a:cubicBezTo>
                  <a:cubicBezTo>
                    <a:pt x="3409" y="177"/>
                    <a:pt x="3416" y="182"/>
                    <a:pt x="3422" y="182"/>
                  </a:cubicBezTo>
                  <a:cubicBezTo>
                    <a:pt x="3428" y="182"/>
                    <a:pt x="3432" y="177"/>
                    <a:pt x="3430" y="171"/>
                  </a:cubicBezTo>
                  <a:cubicBezTo>
                    <a:pt x="3428" y="166"/>
                    <a:pt x="3421" y="161"/>
                    <a:pt x="3415" y="161"/>
                  </a:cubicBezTo>
                  <a:cubicBezTo>
                    <a:pt x="3415" y="161"/>
                    <a:pt x="3415" y="161"/>
                    <a:pt x="3415" y="161"/>
                  </a:cubicBezTo>
                  <a:moveTo>
                    <a:pt x="3447" y="161"/>
                  </a:moveTo>
                  <a:cubicBezTo>
                    <a:pt x="3441" y="161"/>
                    <a:pt x="3437" y="165"/>
                    <a:pt x="3439" y="171"/>
                  </a:cubicBezTo>
                  <a:cubicBezTo>
                    <a:pt x="3441" y="177"/>
                    <a:pt x="3448" y="181"/>
                    <a:pt x="3454" y="181"/>
                  </a:cubicBezTo>
                  <a:cubicBezTo>
                    <a:pt x="3460" y="181"/>
                    <a:pt x="3463" y="177"/>
                    <a:pt x="3461" y="171"/>
                  </a:cubicBezTo>
                  <a:cubicBezTo>
                    <a:pt x="3459" y="165"/>
                    <a:pt x="3453" y="161"/>
                    <a:pt x="3447" y="161"/>
                  </a:cubicBezTo>
                  <a:cubicBezTo>
                    <a:pt x="3447" y="161"/>
                    <a:pt x="3447" y="161"/>
                    <a:pt x="3447" y="161"/>
                  </a:cubicBezTo>
                  <a:moveTo>
                    <a:pt x="3478" y="160"/>
                  </a:moveTo>
                  <a:cubicBezTo>
                    <a:pt x="3472" y="161"/>
                    <a:pt x="3469" y="165"/>
                    <a:pt x="3471" y="171"/>
                  </a:cubicBezTo>
                  <a:cubicBezTo>
                    <a:pt x="3473" y="177"/>
                    <a:pt x="3479" y="181"/>
                    <a:pt x="3485" y="181"/>
                  </a:cubicBezTo>
                  <a:cubicBezTo>
                    <a:pt x="3492" y="181"/>
                    <a:pt x="3495" y="176"/>
                    <a:pt x="3493" y="171"/>
                  </a:cubicBezTo>
                  <a:cubicBezTo>
                    <a:pt x="3490" y="165"/>
                    <a:pt x="3484" y="160"/>
                    <a:pt x="3478" y="160"/>
                  </a:cubicBezTo>
                  <a:cubicBezTo>
                    <a:pt x="3478" y="160"/>
                    <a:pt x="3478" y="160"/>
                    <a:pt x="3478" y="160"/>
                  </a:cubicBezTo>
                  <a:moveTo>
                    <a:pt x="3509" y="160"/>
                  </a:moveTo>
                  <a:cubicBezTo>
                    <a:pt x="3503" y="160"/>
                    <a:pt x="3500" y="165"/>
                    <a:pt x="3502" y="171"/>
                  </a:cubicBezTo>
                  <a:cubicBezTo>
                    <a:pt x="3504" y="176"/>
                    <a:pt x="3511" y="181"/>
                    <a:pt x="3517" y="181"/>
                  </a:cubicBezTo>
                  <a:cubicBezTo>
                    <a:pt x="3523" y="181"/>
                    <a:pt x="3526" y="176"/>
                    <a:pt x="3524" y="170"/>
                  </a:cubicBezTo>
                  <a:cubicBezTo>
                    <a:pt x="3522" y="165"/>
                    <a:pt x="3515" y="160"/>
                    <a:pt x="3509" y="160"/>
                  </a:cubicBezTo>
                  <a:cubicBezTo>
                    <a:pt x="3509" y="160"/>
                    <a:pt x="3509" y="160"/>
                    <a:pt x="3509" y="160"/>
                  </a:cubicBezTo>
                  <a:moveTo>
                    <a:pt x="3540" y="160"/>
                  </a:moveTo>
                  <a:cubicBezTo>
                    <a:pt x="3534" y="160"/>
                    <a:pt x="3531" y="165"/>
                    <a:pt x="3533" y="170"/>
                  </a:cubicBezTo>
                  <a:cubicBezTo>
                    <a:pt x="3535" y="176"/>
                    <a:pt x="3542" y="181"/>
                    <a:pt x="3548" y="180"/>
                  </a:cubicBezTo>
                  <a:cubicBezTo>
                    <a:pt x="3554" y="180"/>
                    <a:pt x="3558" y="176"/>
                    <a:pt x="3555" y="170"/>
                  </a:cubicBezTo>
                  <a:cubicBezTo>
                    <a:pt x="3553" y="164"/>
                    <a:pt x="3546" y="160"/>
                    <a:pt x="3540" y="160"/>
                  </a:cubicBezTo>
                  <a:cubicBezTo>
                    <a:pt x="3540" y="160"/>
                    <a:pt x="3540" y="160"/>
                    <a:pt x="3540" y="160"/>
                  </a:cubicBezTo>
                  <a:moveTo>
                    <a:pt x="3572" y="160"/>
                  </a:moveTo>
                  <a:cubicBezTo>
                    <a:pt x="3566" y="160"/>
                    <a:pt x="3563" y="164"/>
                    <a:pt x="3565" y="170"/>
                  </a:cubicBezTo>
                  <a:cubicBezTo>
                    <a:pt x="3568" y="176"/>
                    <a:pt x="3574" y="180"/>
                    <a:pt x="3580" y="180"/>
                  </a:cubicBezTo>
                  <a:cubicBezTo>
                    <a:pt x="3587" y="180"/>
                    <a:pt x="3590" y="175"/>
                    <a:pt x="3587" y="170"/>
                  </a:cubicBezTo>
                  <a:cubicBezTo>
                    <a:pt x="3585" y="164"/>
                    <a:pt x="3578" y="160"/>
                    <a:pt x="3572" y="160"/>
                  </a:cubicBezTo>
                  <a:cubicBezTo>
                    <a:pt x="3572" y="160"/>
                    <a:pt x="3572" y="160"/>
                    <a:pt x="3572" y="160"/>
                  </a:cubicBezTo>
                  <a:moveTo>
                    <a:pt x="3603" y="159"/>
                  </a:moveTo>
                  <a:cubicBezTo>
                    <a:pt x="3597" y="159"/>
                    <a:pt x="3594" y="164"/>
                    <a:pt x="3597" y="170"/>
                  </a:cubicBezTo>
                  <a:cubicBezTo>
                    <a:pt x="3599" y="175"/>
                    <a:pt x="3606" y="180"/>
                    <a:pt x="3612" y="180"/>
                  </a:cubicBezTo>
                  <a:cubicBezTo>
                    <a:pt x="3618" y="180"/>
                    <a:pt x="3621" y="175"/>
                    <a:pt x="3619" y="169"/>
                  </a:cubicBezTo>
                  <a:cubicBezTo>
                    <a:pt x="3616" y="164"/>
                    <a:pt x="3610" y="159"/>
                    <a:pt x="3604" y="159"/>
                  </a:cubicBezTo>
                  <a:cubicBezTo>
                    <a:pt x="3603" y="159"/>
                    <a:pt x="3603" y="159"/>
                    <a:pt x="3603" y="159"/>
                  </a:cubicBezTo>
                  <a:moveTo>
                    <a:pt x="415" y="159"/>
                  </a:moveTo>
                  <a:cubicBezTo>
                    <a:pt x="409" y="159"/>
                    <a:pt x="400" y="164"/>
                    <a:pt x="396" y="169"/>
                  </a:cubicBezTo>
                  <a:cubicBezTo>
                    <a:pt x="391" y="175"/>
                    <a:pt x="392" y="179"/>
                    <a:pt x="398" y="179"/>
                  </a:cubicBezTo>
                  <a:cubicBezTo>
                    <a:pt x="404" y="179"/>
                    <a:pt x="413" y="175"/>
                    <a:pt x="418" y="169"/>
                  </a:cubicBezTo>
                  <a:cubicBezTo>
                    <a:pt x="422" y="164"/>
                    <a:pt x="421" y="159"/>
                    <a:pt x="415" y="159"/>
                  </a:cubicBezTo>
                  <a:cubicBezTo>
                    <a:pt x="415" y="159"/>
                    <a:pt x="415" y="159"/>
                    <a:pt x="415" y="159"/>
                  </a:cubicBezTo>
                  <a:moveTo>
                    <a:pt x="3636" y="159"/>
                  </a:moveTo>
                  <a:cubicBezTo>
                    <a:pt x="3630" y="159"/>
                    <a:pt x="3627" y="164"/>
                    <a:pt x="3629" y="169"/>
                  </a:cubicBezTo>
                  <a:cubicBezTo>
                    <a:pt x="3632" y="175"/>
                    <a:pt x="3639" y="180"/>
                    <a:pt x="3645" y="180"/>
                  </a:cubicBezTo>
                  <a:cubicBezTo>
                    <a:pt x="3651" y="180"/>
                    <a:pt x="3654" y="175"/>
                    <a:pt x="3651" y="169"/>
                  </a:cubicBezTo>
                  <a:cubicBezTo>
                    <a:pt x="3649" y="164"/>
                    <a:pt x="3642" y="159"/>
                    <a:pt x="3636" y="159"/>
                  </a:cubicBezTo>
                  <a:cubicBezTo>
                    <a:pt x="3636" y="159"/>
                    <a:pt x="3636" y="159"/>
                    <a:pt x="3636" y="159"/>
                  </a:cubicBezTo>
                  <a:moveTo>
                    <a:pt x="447" y="159"/>
                  </a:moveTo>
                  <a:cubicBezTo>
                    <a:pt x="441" y="159"/>
                    <a:pt x="433" y="164"/>
                    <a:pt x="428" y="169"/>
                  </a:cubicBezTo>
                  <a:cubicBezTo>
                    <a:pt x="424" y="175"/>
                    <a:pt x="425" y="179"/>
                    <a:pt x="431" y="179"/>
                  </a:cubicBezTo>
                  <a:cubicBezTo>
                    <a:pt x="437" y="179"/>
                    <a:pt x="446" y="174"/>
                    <a:pt x="450" y="169"/>
                  </a:cubicBezTo>
                  <a:cubicBezTo>
                    <a:pt x="455" y="163"/>
                    <a:pt x="453" y="159"/>
                    <a:pt x="447" y="159"/>
                  </a:cubicBezTo>
                  <a:cubicBezTo>
                    <a:pt x="447" y="159"/>
                    <a:pt x="447" y="159"/>
                    <a:pt x="447" y="159"/>
                  </a:cubicBezTo>
                  <a:moveTo>
                    <a:pt x="3667" y="159"/>
                  </a:moveTo>
                  <a:cubicBezTo>
                    <a:pt x="3661" y="159"/>
                    <a:pt x="3658" y="163"/>
                    <a:pt x="3660" y="169"/>
                  </a:cubicBezTo>
                  <a:cubicBezTo>
                    <a:pt x="3663" y="175"/>
                    <a:pt x="3670" y="179"/>
                    <a:pt x="3676" y="179"/>
                  </a:cubicBezTo>
                  <a:cubicBezTo>
                    <a:pt x="3682" y="179"/>
                    <a:pt x="3685" y="175"/>
                    <a:pt x="3682" y="169"/>
                  </a:cubicBezTo>
                  <a:cubicBezTo>
                    <a:pt x="3680" y="163"/>
                    <a:pt x="3673" y="159"/>
                    <a:pt x="3667" y="159"/>
                  </a:cubicBezTo>
                  <a:cubicBezTo>
                    <a:pt x="3667" y="159"/>
                    <a:pt x="3667" y="159"/>
                    <a:pt x="3667" y="159"/>
                  </a:cubicBezTo>
                  <a:moveTo>
                    <a:pt x="478" y="159"/>
                  </a:moveTo>
                  <a:cubicBezTo>
                    <a:pt x="472" y="159"/>
                    <a:pt x="464" y="163"/>
                    <a:pt x="460" y="169"/>
                  </a:cubicBezTo>
                  <a:cubicBezTo>
                    <a:pt x="455" y="174"/>
                    <a:pt x="456" y="179"/>
                    <a:pt x="463" y="179"/>
                  </a:cubicBezTo>
                  <a:cubicBezTo>
                    <a:pt x="469" y="179"/>
                    <a:pt x="477" y="174"/>
                    <a:pt x="482" y="169"/>
                  </a:cubicBezTo>
                  <a:cubicBezTo>
                    <a:pt x="486" y="163"/>
                    <a:pt x="485" y="159"/>
                    <a:pt x="479" y="159"/>
                  </a:cubicBezTo>
                  <a:cubicBezTo>
                    <a:pt x="479" y="159"/>
                    <a:pt x="479" y="159"/>
                    <a:pt x="478" y="159"/>
                  </a:cubicBezTo>
                  <a:moveTo>
                    <a:pt x="3698" y="158"/>
                  </a:moveTo>
                  <a:cubicBezTo>
                    <a:pt x="3692" y="159"/>
                    <a:pt x="3689" y="163"/>
                    <a:pt x="3692" y="169"/>
                  </a:cubicBezTo>
                  <a:cubicBezTo>
                    <a:pt x="3694" y="175"/>
                    <a:pt x="3701" y="179"/>
                    <a:pt x="3708" y="179"/>
                  </a:cubicBezTo>
                  <a:cubicBezTo>
                    <a:pt x="3714" y="179"/>
                    <a:pt x="3716" y="174"/>
                    <a:pt x="3714" y="169"/>
                  </a:cubicBezTo>
                  <a:cubicBezTo>
                    <a:pt x="3711" y="163"/>
                    <a:pt x="3704" y="158"/>
                    <a:pt x="3698" y="158"/>
                  </a:cubicBezTo>
                  <a:cubicBezTo>
                    <a:pt x="3698" y="158"/>
                    <a:pt x="3698" y="158"/>
                    <a:pt x="3698" y="158"/>
                  </a:cubicBezTo>
                  <a:moveTo>
                    <a:pt x="510" y="158"/>
                  </a:moveTo>
                  <a:cubicBezTo>
                    <a:pt x="504" y="158"/>
                    <a:pt x="495" y="163"/>
                    <a:pt x="491" y="169"/>
                  </a:cubicBezTo>
                  <a:cubicBezTo>
                    <a:pt x="487" y="174"/>
                    <a:pt x="488" y="179"/>
                    <a:pt x="494" y="179"/>
                  </a:cubicBezTo>
                  <a:cubicBezTo>
                    <a:pt x="500" y="178"/>
                    <a:pt x="509" y="174"/>
                    <a:pt x="513" y="168"/>
                  </a:cubicBezTo>
                  <a:cubicBezTo>
                    <a:pt x="517" y="163"/>
                    <a:pt x="516" y="158"/>
                    <a:pt x="510" y="158"/>
                  </a:cubicBezTo>
                  <a:cubicBezTo>
                    <a:pt x="510" y="158"/>
                    <a:pt x="510" y="158"/>
                    <a:pt x="510" y="158"/>
                  </a:cubicBezTo>
                  <a:moveTo>
                    <a:pt x="3730" y="158"/>
                  </a:moveTo>
                  <a:cubicBezTo>
                    <a:pt x="3724" y="158"/>
                    <a:pt x="3721" y="163"/>
                    <a:pt x="3724" y="169"/>
                  </a:cubicBezTo>
                  <a:cubicBezTo>
                    <a:pt x="3726" y="174"/>
                    <a:pt x="3733" y="179"/>
                    <a:pt x="3739" y="179"/>
                  </a:cubicBezTo>
                  <a:cubicBezTo>
                    <a:pt x="3746" y="179"/>
                    <a:pt x="3748" y="174"/>
                    <a:pt x="3746" y="168"/>
                  </a:cubicBezTo>
                  <a:cubicBezTo>
                    <a:pt x="3743" y="163"/>
                    <a:pt x="3736" y="158"/>
                    <a:pt x="3730" y="158"/>
                  </a:cubicBezTo>
                  <a:cubicBezTo>
                    <a:pt x="3730" y="158"/>
                    <a:pt x="3730" y="158"/>
                    <a:pt x="3730" y="158"/>
                  </a:cubicBezTo>
                  <a:moveTo>
                    <a:pt x="542" y="158"/>
                  </a:moveTo>
                  <a:cubicBezTo>
                    <a:pt x="536" y="158"/>
                    <a:pt x="528" y="163"/>
                    <a:pt x="523" y="168"/>
                  </a:cubicBezTo>
                  <a:cubicBezTo>
                    <a:pt x="519" y="174"/>
                    <a:pt x="521" y="178"/>
                    <a:pt x="527" y="178"/>
                  </a:cubicBezTo>
                  <a:cubicBezTo>
                    <a:pt x="533" y="178"/>
                    <a:pt x="541" y="174"/>
                    <a:pt x="545" y="168"/>
                  </a:cubicBezTo>
                  <a:cubicBezTo>
                    <a:pt x="550" y="162"/>
                    <a:pt x="548" y="158"/>
                    <a:pt x="542" y="158"/>
                  </a:cubicBezTo>
                  <a:cubicBezTo>
                    <a:pt x="542" y="158"/>
                    <a:pt x="542" y="158"/>
                    <a:pt x="542" y="158"/>
                  </a:cubicBezTo>
                  <a:moveTo>
                    <a:pt x="3761" y="158"/>
                  </a:moveTo>
                  <a:cubicBezTo>
                    <a:pt x="3755" y="158"/>
                    <a:pt x="3752" y="163"/>
                    <a:pt x="3755" y="168"/>
                  </a:cubicBezTo>
                  <a:cubicBezTo>
                    <a:pt x="3758" y="174"/>
                    <a:pt x="3765" y="179"/>
                    <a:pt x="3771" y="178"/>
                  </a:cubicBezTo>
                  <a:cubicBezTo>
                    <a:pt x="3777" y="178"/>
                    <a:pt x="3780" y="174"/>
                    <a:pt x="3777" y="168"/>
                  </a:cubicBezTo>
                  <a:cubicBezTo>
                    <a:pt x="3774" y="162"/>
                    <a:pt x="3767" y="158"/>
                    <a:pt x="3761" y="158"/>
                  </a:cubicBezTo>
                  <a:cubicBezTo>
                    <a:pt x="3761" y="158"/>
                    <a:pt x="3761" y="158"/>
                    <a:pt x="3761" y="158"/>
                  </a:cubicBezTo>
                  <a:moveTo>
                    <a:pt x="573" y="158"/>
                  </a:moveTo>
                  <a:cubicBezTo>
                    <a:pt x="567" y="158"/>
                    <a:pt x="559" y="162"/>
                    <a:pt x="555" y="168"/>
                  </a:cubicBezTo>
                  <a:cubicBezTo>
                    <a:pt x="550" y="174"/>
                    <a:pt x="552" y="178"/>
                    <a:pt x="558" y="178"/>
                  </a:cubicBezTo>
                  <a:cubicBezTo>
                    <a:pt x="564" y="178"/>
                    <a:pt x="573" y="173"/>
                    <a:pt x="577" y="168"/>
                  </a:cubicBezTo>
                  <a:cubicBezTo>
                    <a:pt x="581" y="162"/>
                    <a:pt x="579" y="158"/>
                    <a:pt x="573" y="158"/>
                  </a:cubicBezTo>
                  <a:cubicBezTo>
                    <a:pt x="573" y="158"/>
                    <a:pt x="573" y="158"/>
                    <a:pt x="573" y="158"/>
                  </a:cubicBezTo>
                  <a:moveTo>
                    <a:pt x="3792" y="158"/>
                  </a:moveTo>
                  <a:cubicBezTo>
                    <a:pt x="3786" y="158"/>
                    <a:pt x="3784" y="162"/>
                    <a:pt x="3786" y="168"/>
                  </a:cubicBezTo>
                  <a:cubicBezTo>
                    <a:pt x="3789" y="174"/>
                    <a:pt x="3796" y="178"/>
                    <a:pt x="3802" y="178"/>
                  </a:cubicBezTo>
                  <a:cubicBezTo>
                    <a:pt x="3808" y="178"/>
                    <a:pt x="3811" y="173"/>
                    <a:pt x="3808" y="168"/>
                  </a:cubicBezTo>
                  <a:cubicBezTo>
                    <a:pt x="3805" y="162"/>
                    <a:pt x="3798" y="158"/>
                    <a:pt x="3792" y="158"/>
                  </a:cubicBezTo>
                  <a:cubicBezTo>
                    <a:pt x="3792" y="158"/>
                    <a:pt x="3792" y="158"/>
                    <a:pt x="3792" y="158"/>
                  </a:cubicBezTo>
                  <a:moveTo>
                    <a:pt x="729" y="158"/>
                  </a:moveTo>
                  <a:cubicBezTo>
                    <a:pt x="723" y="158"/>
                    <a:pt x="715" y="162"/>
                    <a:pt x="711" y="168"/>
                  </a:cubicBezTo>
                  <a:cubicBezTo>
                    <a:pt x="708" y="173"/>
                    <a:pt x="709" y="178"/>
                    <a:pt x="715" y="178"/>
                  </a:cubicBezTo>
                  <a:cubicBezTo>
                    <a:pt x="722" y="178"/>
                    <a:pt x="730" y="173"/>
                    <a:pt x="733" y="168"/>
                  </a:cubicBezTo>
                  <a:cubicBezTo>
                    <a:pt x="737" y="162"/>
                    <a:pt x="735" y="158"/>
                    <a:pt x="729" y="158"/>
                  </a:cubicBezTo>
                  <a:cubicBezTo>
                    <a:pt x="729" y="158"/>
                    <a:pt x="729" y="158"/>
                    <a:pt x="729" y="158"/>
                  </a:cubicBezTo>
                  <a:moveTo>
                    <a:pt x="605" y="157"/>
                  </a:moveTo>
                  <a:cubicBezTo>
                    <a:pt x="598" y="157"/>
                    <a:pt x="590" y="162"/>
                    <a:pt x="586" y="168"/>
                  </a:cubicBezTo>
                  <a:cubicBezTo>
                    <a:pt x="582" y="173"/>
                    <a:pt x="584" y="178"/>
                    <a:pt x="590" y="178"/>
                  </a:cubicBezTo>
                  <a:cubicBezTo>
                    <a:pt x="596" y="178"/>
                    <a:pt x="604" y="173"/>
                    <a:pt x="608" y="167"/>
                  </a:cubicBezTo>
                  <a:cubicBezTo>
                    <a:pt x="612" y="162"/>
                    <a:pt x="611" y="157"/>
                    <a:pt x="605" y="157"/>
                  </a:cubicBezTo>
                  <a:cubicBezTo>
                    <a:pt x="605" y="157"/>
                    <a:pt x="605" y="157"/>
                    <a:pt x="605" y="157"/>
                  </a:cubicBezTo>
                  <a:moveTo>
                    <a:pt x="3823" y="157"/>
                  </a:moveTo>
                  <a:cubicBezTo>
                    <a:pt x="3817" y="157"/>
                    <a:pt x="3815" y="162"/>
                    <a:pt x="3817" y="168"/>
                  </a:cubicBezTo>
                  <a:cubicBezTo>
                    <a:pt x="3820" y="173"/>
                    <a:pt x="3828" y="178"/>
                    <a:pt x="3834" y="178"/>
                  </a:cubicBezTo>
                  <a:cubicBezTo>
                    <a:pt x="3840" y="178"/>
                    <a:pt x="3842" y="173"/>
                    <a:pt x="3839" y="167"/>
                  </a:cubicBezTo>
                  <a:cubicBezTo>
                    <a:pt x="3837" y="162"/>
                    <a:pt x="3829" y="157"/>
                    <a:pt x="3823" y="157"/>
                  </a:cubicBezTo>
                  <a:cubicBezTo>
                    <a:pt x="3823" y="157"/>
                    <a:pt x="3823" y="157"/>
                    <a:pt x="3823" y="157"/>
                  </a:cubicBezTo>
                  <a:moveTo>
                    <a:pt x="761" y="157"/>
                  </a:moveTo>
                  <a:cubicBezTo>
                    <a:pt x="755" y="157"/>
                    <a:pt x="747" y="162"/>
                    <a:pt x="743" y="167"/>
                  </a:cubicBezTo>
                  <a:cubicBezTo>
                    <a:pt x="739" y="173"/>
                    <a:pt x="741" y="178"/>
                    <a:pt x="747" y="178"/>
                  </a:cubicBezTo>
                  <a:cubicBezTo>
                    <a:pt x="753" y="177"/>
                    <a:pt x="761" y="173"/>
                    <a:pt x="765" y="167"/>
                  </a:cubicBezTo>
                  <a:cubicBezTo>
                    <a:pt x="769" y="162"/>
                    <a:pt x="767" y="157"/>
                    <a:pt x="761" y="157"/>
                  </a:cubicBezTo>
                  <a:cubicBezTo>
                    <a:pt x="761" y="157"/>
                    <a:pt x="761" y="157"/>
                    <a:pt x="761" y="157"/>
                  </a:cubicBezTo>
                  <a:moveTo>
                    <a:pt x="636" y="157"/>
                  </a:moveTo>
                  <a:cubicBezTo>
                    <a:pt x="630" y="157"/>
                    <a:pt x="621" y="162"/>
                    <a:pt x="617" y="167"/>
                  </a:cubicBezTo>
                  <a:cubicBezTo>
                    <a:pt x="613" y="173"/>
                    <a:pt x="615" y="177"/>
                    <a:pt x="621" y="177"/>
                  </a:cubicBezTo>
                  <a:cubicBezTo>
                    <a:pt x="627" y="177"/>
                    <a:pt x="635" y="173"/>
                    <a:pt x="639" y="167"/>
                  </a:cubicBezTo>
                  <a:cubicBezTo>
                    <a:pt x="643" y="162"/>
                    <a:pt x="642" y="157"/>
                    <a:pt x="636" y="157"/>
                  </a:cubicBezTo>
                  <a:cubicBezTo>
                    <a:pt x="636" y="157"/>
                    <a:pt x="636" y="157"/>
                    <a:pt x="636" y="157"/>
                  </a:cubicBezTo>
                  <a:moveTo>
                    <a:pt x="3854" y="157"/>
                  </a:moveTo>
                  <a:cubicBezTo>
                    <a:pt x="3848" y="157"/>
                    <a:pt x="3846" y="162"/>
                    <a:pt x="3849" y="167"/>
                  </a:cubicBezTo>
                  <a:cubicBezTo>
                    <a:pt x="3852" y="173"/>
                    <a:pt x="3859" y="178"/>
                    <a:pt x="3865" y="178"/>
                  </a:cubicBezTo>
                  <a:cubicBezTo>
                    <a:pt x="3871" y="178"/>
                    <a:pt x="3874" y="173"/>
                    <a:pt x="3871" y="167"/>
                  </a:cubicBezTo>
                  <a:cubicBezTo>
                    <a:pt x="3868" y="162"/>
                    <a:pt x="3861" y="157"/>
                    <a:pt x="3855" y="157"/>
                  </a:cubicBezTo>
                  <a:cubicBezTo>
                    <a:pt x="3855" y="157"/>
                    <a:pt x="3854" y="157"/>
                    <a:pt x="3854" y="157"/>
                  </a:cubicBezTo>
                  <a:moveTo>
                    <a:pt x="792" y="157"/>
                  </a:moveTo>
                  <a:cubicBezTo>
                    <a:pt x="786" y="157"/>
                    <a:pt x="778" y="162"/>
                    <a:pt x="775" y="167"/>
                  </a:cubicBezTo>
                  <a:cubicBezTo>
                    <a:pt x="771" y="173"/>
                    <a:pt x="773" y="177"/>
                    <a:pt x="779" y="177"/>
                  </a:cubicBezTo>
                  <a:cubicBezTo>
                    <a:pt x="785" y="177"/>
                    <a:pt x="793" y="173"/>
                    <a:pt x="797" y="167"/>
                  </a:cubicBezTo>
                  <a:cubicBezTo>
                    <a:pt x="800" y="161"/>
                    <a:pt x="798" y="157"/>
                    <a:pt x="792" y="157"/>
                  </a:cubicBezTo>
                  <a:cubicBezTo>
                    <a:pt x="792" y="157"/>
                    <a:pt x="792" y="157"/>
                    <a:pt x="792" y="157"/>
                  </a:cubicBezTo>
                  <a:moveTo>
                    <a:pt x="667" y="157"/>
                  </a:moveTo>
                  <a:cubicBezTo>
                    <a:pt x="661" y="157"/>
                    <a:pt x="653" y="161"/>
                    <a:pt x="649" y="167"/>
                  </a:cubicBezTo>
                  <a:cubicBezTo>
                    <a:pt x="645" y="173"/>
                    <a:pt x="646" y="177"/>
                    <a:pt x="653" y="177"/>
                  </a:cubicBezTo>
                  <a:cubicBezTo>
                    <a:pt x="659" y="177"/>
                    <a:pt x="667" y="172"/>
                    <a:pt x="671" y="167"/>
                  </a:cubicBezTo>
                  <a:cubicBezTo>
                    <a:pt x="675" y="161"/>
                    <a:pt x="673" y="157"/>
                    <a:pt x="667" y="157"/>
                  </a:cubicBezTo>
                  <a:cubicBezTo>
                    <a:pt x="667" y="157"/>
                    <a:pt x="667" y="157"/>
                    <a:pt x="667" y="157"/>
                  </a:cubicBezTo>
                  <a:moveTo>
                    <a:pt x="3886" y="157"/>
                  </a:moveTo>
                  <a:cubicBezTo>
                    <a:pt x="3879" y="157"/>
                    <a:pt x="3877" y="161"/>
                    <a:pt x="3880" y="167"/>
                  </a:cubicBezTo>
                  <a:cubicBezTo>
                    <a:pt x="3883" y="173"/>
                    <a:pt x="3890" y="177"/>
                    <a:pt x="3896" y="177"/>
                  </a:cubicBezTo>
                  <a:cubicBezTo>
                    <a:pt x="3902" y="177"/>
                    <a:pt x="3905" y="173"/>
                    <a:pt x="3902" y="167"/>
                  </a:cubicBezTo>
                  <a:cubicBezTo>
                    <a:pt x="3899" y="161"/>
                    <a:pt x="3892" y="157"/>
                    <a:pt x="3886" y="157"/>
                  </a:cubicBezTo>
                  <a:cubicBezTo>
                    <a:pt x="3886" y="157"/>
                    <a:pt x="3886" y="157"/>
                    <a:pt x="3886" y="157"/>
                  </a:cubicBezTo>
                  <a:moveTo>
                    <a:pt x="823" y="157"/>
                  </a:moveTo>
                  <a:cubicBezTo>
                    <a:pt x="817" y="157"/>
                    <a:pt x="809" y="161"/>
                    <a:pt x="806" y="167"/>
                  </a:cubicBezTo>
                  <a:cubicBezTo>
                    <a:pt x="802" y="173"/>
                    <a:pt x="804" y="177"/>
                    <a:pt x="810" y="177"/>
                  </a:cubicBezTo>
                  <a:cubicBezTo>
                    <a:pt x="816" y="177"/>
                    <a:pt x="824" y="172"/>
                    <a:pt x="828" y="167"/>
                  </a:cubicBezTo>
                  <a:cubicBezTo>
                    <a:pt x="831" y="161"/>
                    <a:pt x="829" y="157"/>
                    <a:pt x="824" y="157"/>
                  </a:cubicBezTo>
                  <a:cubicBezTo>
                    <a:pt x="823" y="157"/>
                    <a:pt x="823" y="157"/>
                    <a:pt x="823" y="157"/>
                  </a:cubicBezTo>
                  <a:moveTo>
                    <a:pt x="3917" y="156"/>
                  </a:moveTo>
                  <a:cubicBezTo>
                    <a:pt x="3911" y="157"/>
                    <a:pt x="3908" y="161"/>
                    <a:pt x="3911" y="167"/>
                  </a:cubicBezTo>
                  <a:cubicBezTo>
                    <a:pt x="3914" y="173"/>
                    <a:pt x="3922" y="177"/>
                    <a:pt x="3928" y="177"/>
                  </a:cubicBezTo>
                  <a:cubicBezTo>
                    <a:pt x="3934" y="177"/>
                    <a:pt x="3936" y="172"/>
                    <a:pt x="3933" y="167"/>
                  </a:cubicBezTo>
                  <a:cubicBezTo>
                    <a:pt x="3930" y="161"/>
                    <a:pt x="3923" y="156"/>
                    <a:pt x="3917" y="156"/>
                  </a:cubicBezTo>
                  <a:cubicBezTo>
                    <a:pt x="3917" y="156"/>
                    <a:pt x="3917" y="156"/>
                    <a:pt x="3917" y="156"/>
                  </a:cubicBezTo>
                  <a:moveTo>
                    <a:pt x="855" y="156"/>
                  </a:moveTo>
                  <a:cubicBezTo>
                    <a:pt x="849" y="156"/>
                    <a:pt x="841" y="161"/>
                    <a:pt x="837" y="167"/>
                  </a:cubicBezTo>
                  <a:cubicBezTo>
                    <a:pt x="834" y="172"/>
                    <a:pt x="836" y="177"/>
                    <a:pt x="842" y="177"/>
                  </a:cubicBezTo>
                  <a:cubicBezTo>
                    <a:pt x="848" y="177"/>
                    <a:pt x="856" y="172"/>
                    <a:pt x="859" y="166"/>
                  </a:cubicBezTo>
                  <a:cubicBezTo>
                    <a:pt x="863" y="161"/>
                    <a:pt x="861" y="156"/>
                    <a:pt x="855" y="156"/>
                  </a:cubicBezTo>
                  <a:cubicBezTo>
                    <a:pt x="855" y="156"/>
                    <a:pt x="855" y="156"/>
                    <a:pt x="855" y="156"/>
                  </a:cubicBezTo>
                  <a:moveTo>
                    <a:pt x="3948" y="156"/>
                  </a:moveTo>
                  <a:cubicBezTo>
                    <a:pt x="3942" y="156"/>
                    <a:pt x="3940" y="161"/>
                    <a:pt x="3943" y="167"/>
                  </a:cubicBezTo>
                  <a:cubicBezTo>
                    <a:pt x="3946" y="172"/>
                    <a:pt x="3954" y="177"/>
                    <a:pt x="3960" y="177"/>
                  </a:cubicBezTo>
                  <a:cubicBezTo>
                    <a:pt x="3966" y="177"/>
                    <a:pt x="3968" y="172"/>
                    <a:pt x="3965" y="166"/>
                  </a:cubicBezTo>
                  <a:cubicBezTo>
                    <a:pt x="3962" y="161"/>
                    <a:pt x="3955" y="156"/>
                    <a:pt x="3949" y="156"/>
                  </a:cubicBezTo>
                  <a:cubicBezTo>
                    <a:pt x="3949" y="156"/>
                    <a:pt x="3949" y="156"/>
                    <a:pt x="3948" y="156"/>
                  </a:cubicBezTo>
                  <a:moveTo>
                    <a:pt x="3980" y="156"/>
                  </a:moveTo>
                  <a:cubicBezTo>
                    <a:pt x="3974" y="156"/>
                    <a:pt x="3971" y="161"/>
                    <a:pt x="3974" y="166"/>
                  </a:cubicBezTo>
                  <a:cubicBezTo>
                    <a:pt x="3978" y="172"/>
                    <a:pt x="3985" y="177"/>
                    <a:pt x="3991" y="176"/>
                  </a:cubicBezTo>
                  <a:cubicBezTo>
                    <a:pt x="3997" y="176"/>
                    <a:pt x="4000" y="172"/>
                    <a:pt x="3996" y="166"/>
                  </a:cubicBezTo>
                  <a:cubicBezTo>
                    <a:pt x="3993" y="160"/>
                    <a:pt x="3986" y="156"/>
                    <a:pt x="3980" y="156"/>
                  </a:cubicBezTo>
                  <a:cubicBezTo>
                    <a:pt x="3980" y="156"/>
                    <a:pt x="3980" y="156"/>
                    <a:pt x="3980" y="156"/>
                  </a:cubicBezTo>
                  <a:moveTo>
                    <a:pt x="4011" y="156"/>
                  </a:moveTo>
                  <a:cubicBezTo>
                    <a:pt x="4005" y="156"/>
                    <a:pt x="4002" y="160"/>
                    <a:pt x="4006" y="166"/>
                  </a:cubicBezTo>
                  <a:cubicBezTo>
                    <a:pt x="4009" y="172"/>
                    <a:pt x="4017" y="176"/>
                    <a:pt x="4023" y="176"/>
                  </a:cubicBezTo>
                  <a:cubicBezTo>
                    <a:pt x="4029" y="176"/>
                    <a:pt x="4031" y="171"/>
                    <a:pt x="4028" y="166"/>
                  </a:cubicBezTo>
                  <a:cubicBezTo>
                    <a:pt x="4024" y="160"/>
                    <a:pt x="4017" y="156"/>
                    <a:pt x="4011" y="156"/>
                  </a:cubicBezTo>
                  <a:cubicBezTo>
                    <a:pt x="4011" y="156"/>
                    <a:pt x="4011" y="156"/>
                    <a:pt x="4011" y="156"/>
                  </a:cubicBezTo>
                  <a:moveTo>
                    <a:pt x="949" y="156"/>
                  </a:moveTo>
                  <a:cubicBezTo>
                    <a:pt x="943" y="156"/>
                    <a:pt x="935" y="160"/>
                    <a:pt x="932" y="166"/>
                  </a:cubicBezTo>
                  <a:cubicBezTo>
                    <a:pt x="928" y="171"/>
                    <a:pt x="930" y="176"/>
                    <a:pt x="936" y="176"/>
                  </a:cubicBezTo>
                  <a:cubicBezTo>
                    <a:pt x="942" y="176"/>
                    <a:pt x="950" y="171"/>
                    <a:pt x="954" y="166"/>
                  </a:cubicBezTo>
                  <a:cubicBezTo>
                    <a:pt x="957" y="160"/>
                    <a:pt x="955" y="156"/>
                    <a:pt x="949" y="156"/>
                  </a:cubicBezTo>
                  <a:cubicBezTo>
                    <a:pt x="949" y="156"/>
                    <a:pt x="949" y="156"/>
                    <a:pt x="949" y="156"/>
                  </a:cubicBezTo>
                  <a:moveTo>
                    <a:pt x="4042" y="155"/>
                  </a:moveTo>
                  <a:cubicBezTo>
                    <a:pt x="4036" y="155"/>
                    <a:pt x="4034" y="160"/>
                    <a:pt x="4037" y="166"/>
                  </a:cubicBezTo>
                  <a:cubicBezTo>
                    <a:pt x="4040" y="171"/>
                    <a:pt x="4048" y="176"/>
                    <a:pt x="4054" y="176"/>
                  </a:cubicBezTo>
                  <a:cubicBezTo>
                    <a:pt x="4060" y="176"/>
                    <a:pt x="4062" y="171"/>
                    <a:pt x="4059" y="166"/>
                  </a:cubicBezTo>
                  <a:cubicBezTo>
                    <a:pt x="4056" y="160"/>
                    <a:pt x="4048" y="155"/>
                    <a:pt x="4042" y="155"/>
                  </a:cubicBezTo>
                  <a:cubicBezTo>
                    <a:pt x="4042" y="155"/>
                    <a:pt x="4042" y="155"/>
                    <a:pt x="4042" y="155"/>
                  </a:cubicBezTo>
                  <a:moveTo>
                    <a:pt x="980" y="155"/>
                  </a:moveTo>
                  <a:cubicBezTo>
                    <a:pt x="974" y="155"/>
                    <a:pt x="966" y="160"/>
                    <a:pt x="963" y="165"/>
                  </a:cubicBezTo>
                  <a:cubicBezTo>
                    <a:pt x="959" y="171"/>
                    <a:pt x="962" y="176"/>
                    <a:pt x="968" y="176"/>
                  </a:cubicBezTo>
                  <a:cubicBezTo>
                    <a:pt x="974" y="175"/>
                    <a:pt x="981" y="171"/>
                    <a:pt x="985" y="165"/>
                  </a:cubicBezTo>
                  <a:cubicBezTo>
                    <a:pt x="988" y="160"/>
                    <a:pt x="986" y="155"/>
                    <a:pt x="980" y="155"/>
                  </a:cubicBezTo>
                  <a:cubicBezTo>
                    <a:pt x="980" y="155"/>
                    <a:pt x="980" y="155"/>
                    <a:pt x="980" y="155"/>
                  </a:cubicBezTo>
                  <a:moveTo>
                    <a:pt x="4072" y="155"/>
                  </a:moveTo>
                  <a:cubicBezTo>
                    <a:pt x="4066" y="155"/>
                    <a:pt x="4064" y="160"/>
                    <a:pt x="4067" y="165"/>
                  </a:cubicBezTo>
                  <a:cubicBezTo>
                    <a:pt x="4071" y="171"/>
                    <a:pt x="4078" y="176"/>
                    <a:pt x="4085" y="176"/>
                  </a:cubicBezTo>
                  <a:cubicBezTo>
                    <a:pt x="4091" y="176"/>
                    <a:pt x="4093" y="171"/>
                    <a:pt x="4089" y="165"/>
                  </a:cubicBezTo>
                  <a:cubicBezTo>
                    <a:pt x="4086" y="160"/>
                    <a:pt x="4078" y="155"/>
                    <a:pt x="4072" y="155"/>
                  </a:cubicBezTo>
                  <a:cubicBezTo>
                    <a:pt x="4072" y="155"/>
                    <a:pt x="4072" y="155"/>
                    <a:pt x="4072" y="155"/>
                  </a:cubicBezTo>
                  <a:moveTo>
                    <a:pt x="4103" y="155"/>
                  </a:moveTo>
                  <a:cubicBezTo>
                    <a:pt x="4097" y="155"/>
                    <a:pt x="4095" y="159"/>
                    <a:pt x="4099" y="165"/>
                  </a:cubicBezTo>
                  <a:cubicBezTo>
                    <a:pt x="4102" y="171"/>
                    <a:pt x="4110" y="175"/>
                    <a:pt x="4116" y="175"/>
                  </a:cubicBezTo>
                  <a:cubicBezTo>
                    <a:pt x="4122" y="175"/>
                    <a:pt x="4124" y="171"/>
                    <a:pt x="4121" y="165"/>
                  </a:cubicBezTo>
                  <a:cubicBezTo>
                    <a:pt x="4117" y="159"/>
                    <a:pt x="4110" y="155"/>
                    <a:pt x="4104" y="155"/>
                  </a:cubicBezTo>
                  <a:cubicBezTo>
                    <a:pt x="4103" y="155"/>
                    <a:pt x="4103" y="155"/>
                    <a:pt x="4103" y="155"/>
                  </a:cubicBezTo>
                  <a:moveTo>
                    <a:pt x="1041" y="155"/>
                  </a:moveTo>
                  <a:cubicBezTo>
                    <a:pt x="1035" y="155"/>
                    <a:pt x="1027" y="159"/>
                    <a:pt x="1024" y="165"/>
                  </a:cubicBezTo>
                  <a:cubicBezTo>
                    <a:pt x="1021" y="171"/>
                    <a:pt x="1023" y="175"/>
                    <a:pt x="1029" y="175"/>
                  </a:cubicBezTo>
                  <a:cubicBezTo>
                    <a:pt x="1035" y="175"/>
                    <a:pt x="1043" y="170"/>
                    <a:pt x="1046" y="165"/>
                  </a:cubicBezTo>
                  <a:cubicBezTo>
                    <a:pt x="1049" y="159"/>
                    <a:pt x="1047" y="155"/>
                    <a:pt x="1041" y="155"/>
                  </a:cubicBezTo>
                  <a:cubicBezTo>
                    <a:pt x="1041" y="155"/>
                    <a:pt x="1041" y="155"/>
                    <a:pt x="1041" y="155"/>
                  </a:cubicBezTo>
                  <a:moveTo>
                    <a:pt x="1352" y="154"/>
                  </a:moveTo>
                  <a:cubicBezTo>
                    <a:pt x="1346" y="154"/>
                    <a:pt x="1339" y="159"/>
                    <a:pt x="1336" y="165"/>
                  </a:cubicBezTo>
                  <a:cubicBezTo>
                    <a:pt x="1334" y="170"/>
                    <a:pt x="1337" y="175"/>
                    <a:pt x="1343" y="175"/>
                  </a:cubicBezTo>
                  <a:cubicBezTo>
                    <a:pt x="1349" y="175"/>
                    <a:pt x="1356" y="170"/>
                    <a:pt x="1358" y="164"/>
                  </a:cubicBezTo>
                  <a:cubicBezTo>
                    <a:pt x="1361" y="159"/>
                    <a:pt x="1358" y="154"/>
                    <a:pt x="1352" y="154"/>
                  </a:cubicBezTo>
                  <a:cubicBezTo>
                    <a:pt x="1352" y="154"/>
                    <a:pt x="1352" y="154"/>
                    <a:pt x="1352" y="154"/>
                  </a:cubicBezTo>
                  <a:moveTo>
                    <a:pt x="1383" y="154"/>
                  </a:moveTo>
                  <a:cubicBezTo>
                    <a:pt x="1377" y="154"/>
                    <a:pt x="1370" y="159"/>
                    <a:pt x="1367" y="164"/>
                  </a:cubicBezTo>
                  <a:cubicBezTo>
                    <a:pt x="1365" y="170"/>
                    <a:pt x="1368" y="174"/>
                    <a:pt x="1374" y="174"/>
                  </a:cubicBezTo>
                  <a:cubicBezTo>
                    <a:pt x="1380" y="174"/>
                    <a:pt x="1387" y="170"/>
                    <a:pt x="1389" y="164"/>
                  </a:cubicBezTo>
                  <a:cubicBezTo>
                    <a:pt x="1392" y="159"/>
                    <a:pt x="1389" y="154"/>
                    <a:pt x="1383" y="154"/>
                  </a:cubicBezTo>
                  <a:cubicBezTo>
                    <a:pt x="1383" y="154"/>
                    <a:pt x="1383" y="154"/>
                    <a:pt x="1383" y="154"/>
                  </a:cubicBezTo>
                  <a:moveTo>
                    <a:pt x="1415" y="154"/>
                  </a:moveTo>
                  <a:cubicBezTo>
                    <a:pt x="1409" y="154"/>
                    <a:pt x="1402" y="158"/>
                    <a:pt x="1400" y="164"/>
                  </a:cubicBezTo>
                  <a:cubicBezTo>
                    <a:pt x="1397" y="170"/>
                    <a:pt x="1400" y="174"/>
                    <a:pt x="1406" y="174"/>
                  </a:cubicBezTo>
                  <a:cubicBezTo>
                    <a:pt x="1412" y="174"/>
                    <a:pt x="1419" y="169"/>
                    <a:pt x="1422" y="164"/>
                  </a:cubicBezTo>
                  <a:cubicBezTo>
                    <a:pt x="1424" y="158"/>
                    <a:pt x="1421" y="154"/>
                    <a:pt x="1415" y="154"/>
                  </a:cubicBezTo>
                  <a:cubicBezTo>
                    <a:pt x="1415" y="154"/>
                    <a:pt x="1415" y="154"/>
                    <a:pt x="1415" y="154"/>
                  </a:cubicBezTo>
                  <a:moveTo>
                    <a:pt x="1165" y="153"/>
                  </a:moveTo>
                  <a:cubicBezTo>
                    <a:pt x="1159" y="154"/>
                    <a:pt x="1152" y="158"/>
                    <a:pt x="1149" y="164"/>
                  </a:cubicBezTo>
                  <a:cubicBezTo>
                    <a:pt x="1146" y="169"/>
                    <a:pt x="1149" y="174"/>
                    <a:pt x="1155" y="174"/>
                  </a:cubicBezTo>
                  <a:cubicBezTo>
                    <a:pt x="1161" y="174"/>
                    <a:pt x="1168" y="169"/>
                    <a:pt x="1171" y="164"/>
                  </a:cubicBezTo>
                  <a:cubicBezTo>
                    <a:pt x="1174" y="158"/>
                    <a:pt x="1172" y="153"/>
                    <a:pt x="1166" y="153"/>
                  </a:cubicBezTo>
                  <a:cubicBezTo>
                    <a:pt x="1166" y="153"/>
                    <a:pt x="1166" y="153"/>
                    <a:pt x="1165" y="153"/>
                  </a:cubicBezTo>
                  <a:moveTo>
                    <a:pt x="1601" y="148"/>
                  </a:moveTo>
                  <a:cubicBezTo>
                    <a:pt x="1595" y="148"/>
                    <a:pt x="1589" y="153"/>
                    <a:pt x="1587" y="159"/>
                  </a:cubicBezTo>
                  <a:cubicBezTo>
                    <a:pt x="1585" y="164"/>
                    <a:pt x="1588" y="169"/>
                    <a:pt x="1594" y="169"/>
                  </a:cubicBezTo>
                  <a:cubicBezTo>
                    <a:pt x="1600" y="169"/>
                    <a:pt x="1607" y="164"/>
                    <a:pt x="1609" y="158"/>
                  </a:cubicBezTo>
                  <a:cubicBezTo>
                    <a:pt x="1610" y="153"/>
                    <a:pt x="1607" y="148"/>
                    <a:pt x="1601" y="148"/>
                  </a:cubicBezTo>
                  <a:cubicBezTo>
                    <a:pt x="1601" y="148"/>
                    <a:pt x="1601" y="148"/>
                    <a:pt x="1601" y="148"/>
                  </a:cubicBezTo>
                  <a:moveTo>
                    <a:pt x="1633" y="148"/>
                  </a:moveTo>
                  <a:cubicBezTo>
                    <a:pt x="1627" y="148"/>
                    <a:pt x="1620" y="153"/>
                    <a:pt x="1618" y="158"/>
                  </a:cubicBezTo>
                  <a:cubicBezTo>
                    <a:pt x="1616" y="164"/>
                    <a:pt x="1620" y="168"/>
                    <a:pt x="1626" y="168"/>
                  </a:cubicBezTo>
                  <a:cubicBezTo>
                    <a:pt x="1632" y="168"/>
                    <a:pt x="1638" y="164"/>
                    <a:pt x="1640" y="158"/>
                  </a:cubicBezTo>
                  <a:cubicBezTo>
                    <a:pt x="1642" y="153"/>
                    <a:pt x="1639" y="148"/>
                    <a:pt x="1633" y="148"/>
                  </a:cubicBezTo>
                  <a:cubicBezTo>
                    <a:pt x="1633" y="148"/>
                    <a:pt x="1633" y="148"/>
                    <a:pt x="1633" y="148"/>
                  </a:cubicBezTo>
                  <a:moveTo>
                    <a:pt x="1664" y="148"/>
                  </a:moveTo>
                  <a:cubicBezTo>
                    <a:pt x="1658" y="148"/>
                    <a:pt x="1651" y="152"/>
                    <a:pt x="1649" y="158"/>
                  </a:cubicBezTo>
                  <a:cubicBezTo>
                    <a:pt x="1647" y="164"/>
                    <a:pt x="1651" y="168"/>
                    <a:pt x="1657" y="168"/>
                  </a:cubicBezTo>
                  <a:cubicBezTo>
                    <a:pt x="1663" y="168"/>
                    <a:pt x="1669" y="163"/>
                    <a:pt x="1671" y="158"/>
                  </a:cubicBezTo>
                  <a:cubicBezTo>
                    <a:pt x="1673" y="152"/>
                    <a:pt x="1670" y="148"/>
                    <a:pt x="1664" y="148"/>
                  </a:cubicBezTo>
                  <a:cubicBezTo>
                    <a:pt x="1664" y="148"/>
                    <a:pt x="1664" y="148"/>
                    <a:pt x="1664" y="148"/>
                  </a:cubicBezTo>
                  <a:moveTo>
                    <a:pt x="1695" y="147"/>
                  </a:moveTo>
                  <a:cubicBezTo>
                    <a:pt x="1689" y="147"/>
                    <a:pt x="1682" y="152"/>
                    <a:pt x="1681" y="158"/>
                  </a:cubicBezTo>
                  <a:cubicBezTo>
                    <a:pt x="1679" y="163"/>
                    <a:pt x="1682" y="168"/>
                    <a:pt x="1688" y="168"/>
                  </a:cubicBezTo>
                  <a:cubicBezTo>
                    <a:pt x="1694" y="168"/>
                    <a:pt x="1701" y="163"/>
                    <a:pt x="1702" y="158"/>
                  </a:cubicBezTo>
                  <a:cubicBezTo>
                    <a:pt x="1704" y="152"/>
                    <a:pt x="1701" y="147"/>
                    <a:pt x="1695" y="147"/>
                  </a:cubicBezTo>
                  <a:cubicBezTo>
                    <a:pt x="1695" y="147"/>
                    <a:pt x="1695" y="147"/>
                    <a:pt x="1695" y="147"/>
                  </a:cubicBezTo>
                  <a:moveTo>
                    <a:pt x="1726" y="147"/>
                  </a:moveTo>
                  <a:cubicBezTo>
                    <a:pt x="1720" y="147"/>
                    <a:pt x="1713" y="152"/>
                    <a:pt x="1712" y="157"/>
                  </a:cubicBezTo>
                  <a:cubicBezTo>
                    <a:pt x="1710" y="163"/>
                    <a:pt x="1713" y="168"/>
                    <a:pt x="1720" y="168"/>
                  </a:cubicBezTo>
                  <a:cubicBezTo>
                    <a:pt x="1726" y="167"/>
                    <a:pt x="1732" y="163"/>
                    <a:pt x="1734" y="157"/>
                  </a:cubicBezTo>
                  <a:cubicBezTo>
                    <a:pt x="1735" y="152"/>
                    <a:pt x="1732" y="147"/>
                    <a:pt x="1726" y="147"/>
                  </a:cubicBezTo>
                  <a:cubicBezTo>
                    <a:pt x="1726" y="147"/>
                    <a:pt x="1726" y="147"/>
                    <a:pt x="1726" y="147"/>
                  </a:cubicBezTo>
                  <a:moveTo>
                    <a:pt x="1757" y="147"/>
                  </a:moveTo>
                  <a:cubicBezTo>
                    <a:pt x="1751" y="147"/>
                    <a:pt x="1745" y="152"/>
                    <a:pt x="1743" y="157"/>
                  </a:cubicBezTo>
                  <a:cubicBezTo>
                    <a:pt x="1741" y="163"/>
                    <a:pt x="1745" y="167"/>
                    <a:pt x="1751" y="167"/>
                  </a:cubicBezTo>
                  <a:cubicBezTo>
                    <a:pt x="1757" y="167"/>
                    <a:pt x="1763" y="163"/>
                    <a:pt x="1765" y="157"/>
                  </a:cubicBezTo>
                  <a:cubicBezTo>
                    <a:pt x="1767" y="151"/>
                    <a:pt x="1763" y="147"/>
                    <a:pt x="1757" y="147"/>
                  </a:cubicBezTo>
                  <a:cubicBezTo>
                    <a:pt x="1757" y="147"/>
                    <a:pt x="1757" y="147"/>
                    <a:pt x="1757" y="147"/>
                  </a:cubicBezTo>
                  <a:moveTo>
                    <a:pt x="1789" y="147"/>
                  </a:moveTo>
                  <a:cubicBezTo>
                    <a:pt x="1783" y="147"/>
                    <a:pt x="1777" y="151"/>
                    <a:pt x="1775" y="157"/>
                  </a:cubicBezTo>
                  <a:cubicBezTo>
                    <a:pt x="1774" y="162"/>
                    <a:pt x="1777" y="167"/>
                    <a:pt x="1783" y="167"/>
                  </a:cubicBezTo>
                  <a:cubicBezTo>
                    <a:pt x="1789" y="167"/>
                    <a:pt x="1796" y="162"/>
                    <a:pt x="1797" y="157"/>
                  </a:cubicBezTo>
                  <a:cubicBezTo>
                    <a:pt x="1799" y="151"/>
                    <a:pt x="1795" y="147"/>
                    <a:pt x="1789" y="147"/>
                  </a:cubicBezTo>
                  <a:cubicBezTo>
                    <a:pt x="1789" y="147"/>
                    <a:pt x="1789" y="147"/>
                    <a:pt x="1789" y="147"/>
                  </a:cubicBezTo>
                  <a:moveTo>
                    <a:pt x="1820" y="146"/>
                  </a:moveTo>
                  <a:cubicBezTo>
                    <a:pt x="1814" y="146"/>
                    <a:pt x="1808" y="151"/>
                    <a:pt x="1806" y="157"/>
                  </a:cubicBezTo>
                  <a:cubicBezTo>
                    <a:pt x="1805" y="162"/>
                    <a:pt x="1809" y="167"/>
                    <a:pt x="1815" y="167"/>
                  </a:cubicBezTo>
                  <a:cubicBezTo>
                    <a:pt x="1821" y="167"/>
                    <a:pt x="1827" y="162"/>
                    <a:pt x="1828" y="156"/>
                  </a:cubicBezTo>
                  <a:cubicBezTo>
                    <a:pt x="1830" y="151"/>
                    <a:pt x="1826" y="146"/>
                    <a:pt x="1820" y="146"/>
                  </a:cubicBezTo>
                  <a:cubicBezTo>
                    <a:pt x="1820" y="146"/>
                    <a:pt x="1820" y="146"/>
                    <a:pt x="1820" y="146"/>
                  </a:cubicBezTo>
                  <a:moveTo>
                    <a:pt x="1851" y="146"/>
                  </a:moveTo>
                  <a:cubicBezTo>
                    <a:pt x="1845" y="146"/>
                    <a:pt x="1839" y="151"/>
                    <a:pt x="1838" y="156"/>
                  </a:cubicBezTo>
                  <a:cubicBezTo>
                    <a:pt x="1836" y="162"/>
                    <a:pt x="1840" y="166"/>
                    <a:pt x="1846" y="166"/>
                  </a:cubicBezTo>
                  <a:cubicBezTo>
                    <a:pt x="1852" y="166"/>
                    <a:pt x="1858" y="162"/>
                    <a:pt x="1860" y="156"/>
                  </a:cubicBezTo>
                  <a:cubicBezTo>
                    <a:pt x="1861" y="150"/>
                    <a:pt x="1857" y="146"/>
                    <a:pt x="1851" y="146"/>
                  </a:cubicBezTo>
                  <a:cubicBezTo>
                    <a:pt x="1851" y="146"/>
                    <a:pt x="1851" y="146"/>
                    <a:pt x="1851" y="146"/>
                  </a:cubicBezTo>
                  <a:moveTo>
                    <a:pt x="2319" y="143"/>
                  </a:moveTo>
                  <a:cubicBezTo>
                    <a:pt x="2313" y="143"/>
                    <a:pt x="2308" y="147"/>
                    <a:pt x="2307" y="153"/>
                  </a:cubicBezTo>
                  <a:cubicBezTo>
                    <a:pt x="2307" y="159"/>
                    <a:pt x="2312" y="163"/>
                    <a:pt x="2318" y="163"/>
                  </a:cubicBezTo>
                  <a:cubicBezTo>
                    <a:pt x="2324" y="163"/>
                    <a:pt x="2329" y="158"/>
                    <a:pt x="2329" y="153"/>
                  </a:cubicBezTo>
                  <a:cubicBezTo>
                    <a:pt x="2330" y="147"/>
                    <a:pt x="2325" y="143"/>
                    <a:pt x="2319" y="143"/>
                  </a:cubicBezTo>
                  <a:cubicBezTo>
                    <a:pt x="2319" y="143"/>
                    <a:pt x="2319" y="143"/>
                    <a:pt x="2319" y="143"/>
                  </a:cubicBezTo>
                  <a:moveTo>
                    <a:pt x="2350" y="142"/>
                  </a:moveTo>
                  <a:cubicBezTo>
                    <a:pt x="2344" y="142"/>
                    <a:pt x="2339" y="147"/>
                    <a:pt x="2339" y="153"/>
                  </a:cubicBezTo>
                  <a:cubicBezTo>
                    <a:pt x="2338" y="158"/>
                    <a:pt x="2343" y="163"/>
                    <a:pt x="2349" y="163"/>
                  </a:cubicBezTo>
                  <a:cubicBezTo>
                    <a:pt x="2355" y="163"/>
                    <a:pt x="2360" y="158"/>
                    <a:pt x="2360" y="153"/>
                  </a:cubicBezTo>
                  <a:cubicBezTo>
                    <a:pt x="2361" y="147"/>
                    <a:pt x="2356" y="142"/>
                    <a:pt x="2350" y="142"/>
                  </a:cubicBezTo>
                  <a:cubicBezTo>
                    <a:pt x="2350" y="142"/>
                    <a:pt x="2350" y="142"/>
                    <a:pt x="2350" y="142"/>
                  </a:cubicBezTo>
                  <a:moveTo>
                    <a:pt x="2382" y="142"/>
                  </a:moveTo>
                  <a:cubicBezTo>
                    <a:pt x="2376" y="142"/>
                    <a:pt x="2371" y="147"/>
                    <a:pt x="2370" y="152"/>
                  </a:cubicBezTo>
                  <a:cubicBezTo>
                    <a:pt x="2370" y="158"/>
                    <a:pt x="2375" y="163"/>
                    <a:pt x="2381" y="163"/>
                  </a:cubicBezTo>
                  <a:cubicBezTo>
                    <a:pt x="2387" y="163"/>
                    <a:pt x="2392" y="158"/>
                    <a:pt x="2392" y="152"/>
                  </a:cubicBezTo>
                  <a:cubicBezTo>
                    <a:pt x="2392" y="147"/>
                    <a:pt x="2388" y="142"/>
                    <a:pt x="2382" y="142"/>
                  </a:cubicBezTo>
                  <a:cubicBezTo>
                    <a:pt x="2382" y="142"/>
                    <a:pt x="2382" y="142"/>
                    <a:pt x="2382" y="142"/>
                  </a:cubicBezTo>
                  <a:moveTo>
                    <a:pt x="2413" y="142"/>
                  </a:moveTo>
                  <a:cubicBezTo>
                    <a:pt x="2407" y="142"/>
                    <a:pt x="2402" y="147"/>
                    <a:pt x="2401" y="152"/>
                  </a:cubicBezTo>
                  <a:cubicBezTo>
                    <a:pt x="2401" y="158"/>
                    <a:pt x="2406" y="162"/>
                    <a:pt x="2412" y="162"/>
                  </a:cubicBezTo>
                  <a:cubicBezTo>
                    <a:pt x="2418" y="162"/>
                    <a:pt x="2423" y="158"/>
                    <a:pt x="2423" y="152"/>
                  </a:cubicBezTo>
                  <a:cubicBezTo>
                    <a:pt x="2423" y="146"/>
                    <a:pt x="2419" y="142"/>
                    <a:pt x="2413" y="142"/>
                  </a:cubicBezTo>
                  <a:cubicBezTo>
                    <a:pt x="2413" y="142"/>
                    <a:pt x="2413" y="142"/>
                    <a:pt x="2413" y="142"/>
                  </a:cubicBezTo>
                  <a:moveTo>
                    <a:pt x="2444" y="142"/>
                  </a:moveTo>
                  <a:cubicBezTo>
                    <a:pt x="2438" y="142"/>
                    <a:pt x="2433" y="146"/>
                    <a:pt x="2432" y="152"/>
                  </a:cubicBezTo>
                  <a:cubicBezTo>
                    <a:pt x="2432" y="158"/>
                    <a:pt x="2437" y="162"/>
                    <a:pt x="2443" y="162"/>
                  </a:cubicBezTo>
                  <a:cubicBezTo>
                    <a:pt x="2449" y="162"/>
                    <a:pt x="2454" y="157"/>
                    <a:pt x="2454" y="152"/>
                  </a:cubicBezTo>
                  <a:cubicBezTo>
                    <a:pt x="2454" y="146"/>
                    <a:pt x="2450" y="142"/>
                    <a:pt x="2444" y="142"/>
                  </a:cubicBezTo>
                  <a:cubicBezTo>
                    <a:pt x="2444" y="142"/>
                    <a:pt x="2444" y="142"/>
                    <a:pt x="2444" y="142"/>
                  </a:cubicBezTo>
                  <a:moveTo>
                    <a:pt x="2474" y="141"/>
                  </a:moveTo>
                  <a:cubicBezTo>
                    <a:pt x="2468" y="141"/>
                    <a:pt x="2463" y="146"/>
                    <a:pt x="2463" y="152"/>
                  </a:cubicBezTo>
                  <a:cubicBezTo>
                    <a:pt x="2463" y="157"/>
                    <a:pt x="2468" y="162"/>
                    <a:pt x="2474" y="162"/>
                  </a:cubicBezTo>
                  <a:cubicBezTo>
                    <a:pt x="2480" y="162"/>
                    <a:pt x="2485" y="157"/>
                    <a:pt x="2485" y="151"/>
                  </a:cubicBezTo>
                  <a:cubicBezTo>
                    <a:pt x="2485" y="146"/>
                    <a:pt x="2480" y="141"/>
                    <a:pt x="2474" y="141"/>
                  </a:cubicBezTo>
                  <a:cubicBezTo>
                    <a:pt x="2474" y="141"/>
                    <a:pt x="2474" y="141"/>
                    <a:pt x="2474" y="141"/>
                  </a:cubicBezTo>
                  <a:moveTo>
                    <a:pt x="2505" y="141"/>
                  </a:moveTo>
                  <a:cubicBezTo>
                    <a:pt x="2499" y="141"/>
                    <a:pt x="2494" y="146"/>
                    <a:pt x="2494" y="151"/>
                  </a:cubicBezTo>
                  <a:cubicBezTo>
                    <a:pt x="2494" y="157"/>
                    <a:pt x="2499" y="161"/>
                    <a:pt x="2505" y="161"/>
                  </a:cubicBezTo>
                  <a:cubicBezTo>
                    <a:pt x="2511" y="161"/>
                    <a:pt x="2516" y="157"/>
                    <a:pt x="2516" y="151"/>
                  </a:cubicBezTo>
                  <a:cubicBezTo>
                    <a:pt x="2516" y="145"/>
                    <a:pt x="2511" y="141"/>
                    <a:pt x="2505" y="141"/>
                  </a:cubicBezTo>
                  <a:cubicBezTo>
                    <a:pt x="2505" y="141"/>
                    <a:pt x="2505" y="141"/>
                    <a:pt x="2505" y="141"/>
                  </a:cubicBezTo>
                  <a:moveTo>
                    <a:pt x="2755" y="138"/>
                  </a:moveTo>
                  <a:cubicBezTo>
                    <a:pt x="2749" y="138"/>
                    <a:pt x="2744" y="143"/>
                    <a:pt x="2745" y="149"/>
                  </a:cubicBezTo>
                  <a:cubicBezTo>
                    <a:pt x="2745" y="154"/>
                    <a:pt x="2750" y="159"/>
                    <a:pt x="2757" y="159"/>
                  </a:cubicBezTo>
                  <a:cubicBezTo>
                    <a:pt x="2763" y="159"/>
                    <a:pt x="2767" y="154"/>
                    <a:pt x="2766" y="148"/>
                  </a:cubicBezTo>
                  <a:cubicBezTo>
                    <a:pt x="2766" y="143"/>
                    <a:pt x="2761" y="138"/>
                    <a:pt x="2755" y="138"/>
                  </a:cubicBezTo>
                  <a:cubicBezTo>
                    <a:pt x="2755" y="138"/>
                    <a:pt x="2755" y="138"/>
                    <a:pt x="2755" y="138"/>
                  </a:cubicBezTo>
                  <a:moveTo>
                    <a:pt x="2785" y="138"/>
                  </a:moveTo>
                  <a:cubicBezTo>
                    <a:pt x="2779" y="138"/>
                    <a:pt x="2775" y="143"/>
                    <a:pt x="2776" y="148"/>
                  </a:cubicBezTo>
                  <a:cubicBezTo>
                    <a:pt x="2776" y="154"/>
                    <a:pt x="2782" y="158"/>
                    <a:pt x="2788" y="158"/>
                  </a:cubicBezTo>
                  <a:cubicBezTo>
                    <a:pt x="2794" y="158"/>
                    <a:pt x="2798" y="154"/>
                    <a:pt x="2797" y="148"/>
                  </a:cubicBezTo>
                  <a:cubicBezTo>
                    <a:pt x="2797" y="142"/>
                    <a:pt x="2791" y="138"/>
                    <a:pt x="2786" y="138"/>
                  </a:cubicBezTo>
                  <a:cubicBezTo>
                    <a:pt x="2786" y="138"/>
                    <a:pt x="2785" y="138"/>
                    <a:pt x="2785" y="138"/>
                  </a:cubicBezTo>
                  <a:moveTo>
                    <a:pt x="2847" y="137"/>
                  </a:moveTo>
                  <a:cubicBezTo>
                    <a:pt x="2841" y="137"/>
                    <a:pt x="2837" y="142"/>
                    <a:pt x="2838" y="148"/>
                  </a:cubicBezTo>
                  <a:cubicBezTo>
                    <a:pt x="2838" y="153"/>
                    <a:pt x="2844" y="158"/>
                    <a:pt x="2850" y="158"/>
                  </a:cubicBezTo>
                  <a:cubicBezTo>
                    <a:pt x="2856" y="158"/>
                    <a:pt x="2860" y="153"/>
                    <a:pt x="2860" y="147"/>
                  </a:cubicBezTo>
                  <a:cubicBezTo>
                    <a:pt x="2859" y="142"/>
                    <a:pt x="2853" y="137"/>
                    <a:pt x="2847" y="137"/>
                  </a:cubicBezTo>
                  <a:cubicBezTo>
                    <a:pt x="2847" y="137"/>
                    <a:pt x="2847" y="137"/>
                    <a:pt x="2847" y="137"/>
                  </a:cubicBezTo>
                  <a:moveTo>
                    <a:pt x="2878" y="137"/>
                  </a:moveTo>
                  <a:cubicBezTo>
                    <a:pt x="2872" y="137"/>
                    <a:pt x="2868" y="142"/>
                    <a:pt x="2869" y="147"/>
                  </a:cubicBezTo>
                  <a:cubicBezTo>
                    <a:pt x="2870" y="153"/>
                    <a:pt x="2875" y="158"/>
                    <a:pt x="2881" y="157"/>
                  </a:cubicBezTo>
                  <a:cubicBezTo>
                    <a:pt x="2887" y="157"/>
                    <a:pt x="2892" y="153"/>
                    <a:pt x="2891" y="147"/>
                  </a:cubicBezTo>
                  <a:cubicBezTo>
                    <a:pt x="2890" y="142"/>
                    <a:pt x="2884" y="137"/>
                    <a:pt x="2879" y="137"/>
                  </a:cubicBezTo>
                  <a:cubicBezTo>
                    <a:pt x="2878" y="137"/>
                    <a:pt x="2878" y="137"/>
                    <a:pt x="2878" y="137"/>
                  </a:cubicBezTo>
                  <a:moveTo>
                    <a:pt x="2909" y="136"/>
                  </a:moveTo>
                  <a:cubicBezTo>
                    <a:pt x="2903" y="136"/>
                    <a:pt x="2899" y="141"/>
                    <a:pt x="2900" y="147"/>
                  </a:cubicBezTo>
                  <a:cubicBezTo>
                    <a:pt x="2900" y="152"/>
                    <a:pt x="2906" y="157"/>
                    <a:pt x="2912" y="157"/>
                  </a:cubicBezTo>
                  <a:cubicBezTo>
                    <a:pt x="2918" y="157"/>
                    <a:pt x="2922" y="152"/>
                    <a:pt x="2921" y="147"/>
                  </a:cubicBezTo>
                  <a:cubicBezTo>
                    <a:pt x="2920" y="141"/>
                    <a:pt x="2915" y="136"/>
                    <a:pt x="2909" y="136"/>
                  </a:cubicBezTo>
                  <a:cubicBezTo>
                    <a:pt x="2909" y="136"/>
                    <a:pt x="2909" y="136"/>
                    <a:pt x="2909" y="136"/>
                  </a:cubicBezTo>
                  <a:moveTo>
                    <a:pt x="2940" y="136"/>
                  </a:moveTo>
                  <a:cubicBezTo>
                    <a:pt x="2934" y="136"/>
                    <a:pt x="2930" y="141"/>
                    <a:pt x="2931" y="146"/>
                  </a:cubicBezTo>
                  <a:cubicBezTo>
                    <a:pt x="2931" y="152"/>
                    <a:pt x="2937" y="157"/>
                    <a:pt x="2943" y="157"/>
                  </a:cubicBezTo>
                  <a:cubicBezTo>
                    <a:pt x="2949" y="157"/>
                    <a:pt x="2953" y="152"/>
                    <a:pt x="2952" y="146"/>
                  </a:cubicBezTo>
                  <a:cubicBezTo>
                    <a:pt x="2951" y="141"/>
                    <a:pt x="2946" y="136"/>
                    <a:pt x="2940" y="136"/>
                  </a:cubicBezTo>
                  <a:cubicBezTo>
                    <a:pt x="2940" y="136"/>
                    <a:pt x="2940" y="136"/>
                    <a:pt x="2940" y="136"/>
                  </a:cubicBezTo>
                  <a:moveTo>
                    <a:pt x="2971" y="136"/>
                  </a:moveTo>
                  <a:cubicBezTo>
                    <a:pt x="2965" y="136"/>
                    <a:pt x="2961" y="141"/>
                    <a:pt x="2961" y="146"/>
                  </a:cubicBezTo>
                  <a:cubicBezTo>
                    <a:pt x="2962" y="152"/>
                    <a:pt x="2968" y="156"/>
                    <a:pt x="2974" y="156"/>
                  </a:cubicBezTo>
                  <a:cubicBezTo>
                    <a:pt x="2980" y="156"/>
                    <a:pt x="2984" y="152"/>
                    <a:pt x="2983" y="146"/>
                  </a:cubicBezTo>
                  <a:cubicBezTo>
                    <a:pt x="2982" y="140"/>
                    <a:pt x="2977" y="136"/>
                    <a:pt x="2971" y="136"/>
                  </a:cubicBezTo>
                  <a:cubicBezTo>
                    <a:pt x="2971" y="136"/>
                    <a:pt x="2971" y="136"/>
                    <a:pt x="2971" y="136"/>
                  </a:cubicBezTo>
                  <a:moveTo>
                    <a:pt x="3001" y="136"/>
                  </a:moveTo>
                  <a:cubicBezTo>
                    <a:pt x="2995" y="136"/>
                    <a:pt x="2991" y="140"/>
                    <a:pt x="2992" y="146"/>
                  </a:cubicBezTo>
                  <a:cubicBezTo>
                    <a:pt x="2993" y="152"/>
                    <a:pt x="2999" y="156"/>
                    <a:pt x="3005" y="156"/>
                  </a:cubicBezTo>
                  <a:cubicBezTo>
                    <a:pt x="3011" y="156"/>
                    <a:pt x="3015" y="151"/>
                    <a:pt x="3014" y="146"/>
                  </a:cubicBezTo>
                  <a:cubicBezTo>
                    <a:pt x="3013" y="140"/>
                    <a:pt x="3007" y="136"/>
                    <a:pt x="3001" y="136"/>
                  </a:cubicBezTo>
                  <a:cubicBezTo>
                    <a:pt x="3001" y="136"/>
                    <a:pt x="3001" y="136"/>
                    <a:pt x="3001" y="136"/>
                  </a:cubicBezTo>
                  <a:moveTo>
                    <a:pt x="3032" y="135"/>
                  </a:moveTo>
                  <a:cubicBezTo>
                    <a:pt x="3026" y="135"/>
                    <a:pt x="3022" y="140"/>
                    <a:pt x="3023" y="146"/>
                  </a:cubicBezTo>
                  <a:cubicBezTo>
                    <a:pt x="3024" y="151"/>
                    <a:pt x="3030" y="156"/>
                    <a:pt x="3036" y="156"/>
                  </a:cubicBezTo>
                  <a:cubicBezTo>
                    <a:pt x="3042" y="156"/>
                    <a:pt x="3046" y="151"/>
                    <a:pt x="3045" y="145"/>
                  </a:cubicBezTo>
                  <a:cubicBezTo>
                    <a:pt x="3044" y="140"/>
                    <a:pt x="3038" y="135"/>
                    <a:pt x="3032" y="135"/>
                  </a:cubicBezTo>
                  <a:cubicBezTo>
                    <a:pt x="3032" y="135"/>
                    <a:pt x="3032" y="135"/>
                    <a:pt x="3032" y="135"/>
                  </a:cubicBezTo>
                  <a:moveTo>
                    <a:pt x="3063" y="135"/>
                  </a:moveTo>
                  <a:cubicBezTo>
                    <a:pt x="3057" y="135"/>
                    <a:pt x="3053" y="140"/>
                    <a:pt x="3054" y="145"/>
                  </a:cubicBezTo>
                  <a:cubicBezTo>
                    <a:pt x="3056" y="151"/>
                    <a:pt x="3061" y="156"/>
                    <a:pt x="3067" y="155"/>
                  </a:cubicBezTo>
                  <a:cubicBezTo>
                    <a:pt x="3074" y="155"/>
                    <a:pt x="3077" y="151"/>
                    <a:pt x="3076" y="145"/>
                  </a:cubicBezTo>
                  <a:cubicBezTo>
                    <a:pt x="3075" y="139"/>
                    <a:pt x="3069" y="135"/>
                    <a:pt x="3063" y="135"/>
                  </a:cubicBezTo>
                  <a:cubicBezTo>
                    <a:pt x="3063" y="135"/>
                    <a:pt x="3063" y="135"/>
                    <a:pt x="3063" y="135"/>
                  </a:cubicBezTo>
                  <a:moveTo>
                    <a:pt x="3094" y="135"/>
                  </a:moveTo>
                  <a:cubicBezTo>
                    <a:pt x="3088" y="135"/>
                    <a:pt x="3085" y="139"/>
                    <a:pt x="3086" y="145"/>
                  </a:cubicBezTo>
                  <a:cubicBezTo>
                    <a:pt x="3087" y="151"/>
                    <a:pt x="3093" y="155"/>
                    <a:pt x="3099" y="155"/>
                  </a:cubicBezTo>
                  <a:cubicBezTo>
                    <a:pt x="3105" y="155"/>
                    <a:pt x="3109" y="150"/>
                    <a:pt x="3108" y="145"/>
                  </a:cubicBezTo>
                  <a:cubicBezTo>
                    <a:pt x="3106" y="139"/>
                    <a:pt x="3100" y="135"/>
                    <a:pt x="3095" y="135"/>
                  </a:cubicBezTo>
                  <a:cubicBezTo>
                    <a:pt x="3094" y="135"/>
                    <a:pt x="3094" y="135"/>
                    <a:pt x="3094" y="135"/>
                  </a:cubicBezTo>
                  <a:moveTo>
                    <a:pt x="3125" y="134"/>
                  </a:moveTo>
                  <a:cubicBezTo>
                    <a:pt x="3119" y="134"/>
                    <a:pt x="3115" y="139"/>
                    <a:pt x="3117" y="145"/>
                  </a:cubicBezTo>
                  <a:cubicBezTo>
                    <a:pt x="3118" y="150"/>
                    <a:pt x="3124" y="155"/>
                    <a:pt x="3130" y="155"/>
                  </a:cubicBezTo>
                  <a:cubicBezTo>
                    <a:pt x="3136" y="155"/>
                    <a:pt x="3140" y="150"/>
                    <a:pt x="3139" y="145"/>
                  </a:cubicBezTo>
                  <a:cubicBezTo>
                    <a:pt x="3137" y="139"/>
                    <a:pt x="3131" y="134"/>
                    <a:pt x="3125" y="134"/>
                  </a:cubicBezTo>
                  <a:cubicBezTo>
                    <a:pt x="3125" y="134"/>
                    <a:pt x="3125" y="134"/>
                    <a:pt x="3125" y="134"/>
                  </a:cubicBezTo>
                  <a:moveTo>
                    <a:pt x="3156" y="134"/>
                  </a:moveTo>
                  <a:cubicBezTo>
                    <a:pt x="3150" y="134"/>
                    <a:pt x="3147" y="139"/>
                    <a:pt x="3148" y="144"/>
                  </a:cubicBezTo>
                  <a:cubicBezTo>
                    <a:pt x="3149" y="150"/>
                    <a:pt x="3155" y="155"/>
                    <a:pt x="3161" y="155"/>
                  </a:cubicBezTo>
                  <a:cubicBezTo>
                    <a:pt x="3167" y="155"/>
                    <a:pt x="3171" y="150"/>
                    <a:pt x="3170" y="144"/>
                  </a:cubicBezTo>
                  <a:cubicBezTo>
                    <a:pt x="3168" y="139"/>
                    <a:pt x="3162" y="134"/>
                    <a:pt x="3156" y="134"/>
                  </a:cubicBezTo>
                  <a:cubicBezTo>
                    <a:pt x="3156" y="134"/>
                    <a:pt x="3156" y="134"/>
                    <a:pt x="3156" y="134"/>
                  </a:cubicBezTo>
                  <a:moveTo>
                    <a:pt x="3187" y="134"/>
                  </a:moveTo>
                  <a:cubicBezTo>
                    <a:pt x="3181" y="134"/>
                    <a:pt x="3177" y="138"/>
                    <a:pt x="3179" y="144"/>
                  </a:cubicBezTo>
                  <a:cubicBezTo>
                    <a:pt x="3180" y="150"/>
                    <a:pt x="3186" y="154"/>
                    <a:pt x="3192" y="154"/>
                  </a:cubicBezTo>
                  <a:cubicBezTo>
                    <a:pt x="3198" y="154"/>
                    <a:pt x="3202" y="150"/>
                    <a:pt x="3201" y="144"/>
                  </a:cubicBezTo>
                  <a:cubicBezTo>
                    <a:pt x="3199" y="138"/>
                    <a:pt x="3193" y="134"/>
                    <a:pt x="3187" y="134"/>
                  </a:cubicBezTo>
                  <a:cubicBezTo>
                    <a:pt x="3187" y="134"/>
                    <a:pt x="3187" y="134"/>
                    <a:pt x="3187" y="134"/>
                  </a:cubicBezTo>
                  <a:moveTo>
                    <a:pt x="3218" y="133"/>
                  </a:moveTo>
                  <a:cubicBezTo>
                    <a:pt x="3212" y="134"/>
                    <a:pt x="3209" y="138"/>
                    <a:pt x="3210" y="144"/>
                  </a:cubicBezTo>
                  <a:cubicBezTo>
                    <a:pt x="3212" y="150"/>
                    <a:pt x="3218" y="154"/>
                    <a:pt x="3224" y="154"/>
                  </a:cubicBezTo>
                  <a:cubicBezTo>
                    <a:pt x="3230" y="154"/>
                    <a:pt x="3233" y="149"/>
                    <a:pt x="3232" y="144"/>
                  </a:cubicBezTo>
                  <a:cubicBezTo>
                    <a:pt x="3230" y="138"/>
                    <a:pt x="3224" y="133"/>
                    <a:pt x="3218" y="133"/>
                  </a:cubicBezTo>
                  <a:cubicBezTo>
                    <a:pt x="3218" y="133"/>
                    <a:pt x="3218" y="133"/>
                    <a:pt x="3218" y="133"/>
                  </a:cubicBezTo>
                  <a:moveTo>
                    <a:pt x="3250" y="133"/>
                  </a:moveTo>
                  <a:cubicBezTo>
                    <a:pt x="3244" y="133"/>
                    <a:pt x="3241" y="138"/>
                    <a:pt x="3242" y="144"/>
                  </a:cubicBezTo>
                  <a:cubicBezTo>
                    <a:pt x="3244" y="149"/>
                    <a:pt x="3250" y="154"/>
                    <a:pt x="3256" y="154"/>
                  </a:cubicBezTo>
                  <a:cubicBezTo>
                    <a:pt x="3262" y="154"/>
                    <a:pt x="3266" y="149"/>
                    <a:pt x="3264" y="143"/>
                  </a:cubicBezTo>
                  <a:cubicBezTo>
                    <a:pt x="3263" y="138"/>
                    <a:pt x="3256" y="133"/>
                    <a:pt x="3250" y="133"/>
                  </a:cubicBezTo>
                  <a:cubicBezTo>
                    <a:pt x="3250" y="133"/>
                    <a:pt x="3250" y="133"/>
                    <a:pt x="3250" y="133"/>
                  </a:cubicBezTo>
                  <a:moveTo>
                    <a:pt x="3281" y="133"/>
                  </a:moveTo>
                  <a:cubicBezTo>
                    <a:pt x="3275" y="133"/>
                    <a:pt x="3272" y="138"/>
                    <a:pt x="3273" y="143"/>
                  </a:cubicBezTo>
                  <a:cubicBezTo>
                    <a:pt x="3275" y="149"/>
                    <a:pt x="3281" y="153"/>
                    <a:pt x="3287" y="153"/>
                  </a:cubicBezTo>
                  <a:cubicBezTo>
                    <a:pt x="3293" y="153"/>
                    <a:pt x="3297" y="149"/>
                    <a:pt x="3295" y="143"/>
                  </a:cubicBezTo>
                  <a:cubicBezTo>
                    <a:pt x="3293" y="137"/>
                    <a:pt x="3287" y="133"/>
                    <a:pt x="3281" y="133"/>
                  </a:cubicBezTo>
                  <a:cubicBezTo>
                    <a:pt x="3281" y="133"/>
                    <a:pt x="3281" y="133"/>
                    <a:pt x="3281" y="133"/>
                  </a:cubicBezTo>
                  <a:moveTo>
                    <a:pt x="3312" y="133"/>
                  </a:moveTo>
                  <a:cubicBezTo>
                    <a:pt x="3306" y="133"/>
                    <a:pt x="3302" y="137"/>
                    <a:pt x="3304" y="143"/>
                  </a:cubicBezTo>
                  <a:cubicBezTo>
                    <a:pt x="3306" y="149"/>
                    <a:pt x="3312" y="153"/>
                    <a:pt x="3318" y="153"/>
                  </a:cubicBezTo>
                  <a:cubicBezTo>
                    <a:pt x="3324" y="153"/>
                    <a:pt x="3328" y="148"/>
                    <a:pt x="3326" y="143"/>
                  </a:cubicBezTo>
                  <a:cubicBezTo>
                    <a:pt x="3324" y="137"/>
                    <a:pt x="3318" y="133"/>
                    <a:pt x="3312" y="133"/>
                  </a:cubicBezTo>
                  <a:cubicBezTo>
                    <a:pt x="3312" y="133"/>
                    <a:pt x="3312" y="133"/>
                    <a:pt x="3312" y="133"/>
                  </a:cubicBezTo>
                  <a:moveTo>
                    <a:pt x="3343" y="132"/>
                  </a:moveTo>
                  <a:cubicBezTo>
                    <a:pt x="3337" y="132"/>
                    <a:pt x="3333" y="137"/>
                    <a:pt x="3335" y="143"/>
                  </a:cubicBezTo>
                  <a:cubicBezTo>
                    <a:pt x="3337" y="148"/>
                    <a:pt x="3343" y="153"/>
                    <a:pt x="3349" y="153"/>
                  </a:cubicBezTo>
                  <a:cubicBezTo>
                    <a:pt x="3355" y="153"/>
                    <a:pt x="3359" y="148"/>
                    <a:pt x="3357" y="142"/>
                  </a:cubicBezTo>
                  <a:cubicBezTo>
                    <a:pt x="3355" y="137"/>
                    <a:pt x="3349" y="132"/>
                    <a:pt x="3343" y="132"/>
                  </a:cubicBezTo>
                  <a:cubicBezTo>
                    <a:pt x="3343" y="132"/>
                    <a:pt x="3343" y="132"/>
                    <a:pt x="3343" y="132"/>
                  </a:cubicBezTo>
                  <a:moveTo>
                    <a:pt x="3374" y="132"/>
                  </a:moveTo>
                  <a:cubicBezTo>
                    <a:pt x="3368" y="132"/>
                    <a:pt x="3364" y="137"/>
                    <a:pt x="3366" y="142"/>
                  </a:cubicBezTo>
                  <a:cubicBezTo>
                    <a:pt x="3368" y="148"/>
                    <a:pt x="3374" y="153"/>
                    <a:pt x="3380" y="153"/>
                  </a:cubicBezTo>
                  <a:cubicBezTo>
                    <a:pt x="3386" y="153"/>
                    <a:pt x="3390" y="148"/>
                    <a:pt x="3388" y="142"/>
                  </a:cubicBezTo>
                  <a:cubicBezTo>
                    <a:pt x="3386" y="137"/>
                    <a:pt x="3380" y="132"/>
                    <a:pt x="3374" y="132"/>
                  </a:cubicBezTo>
                  <a:cubicBezTo>
                    <a:pt x="3374" y="132"/>
                    <a:pt x="3374" y="132"/>
                    <a:pt x="3374" y="132"/>
                  </a:cubicBezTo>
                  <a:moveTo>
                    <a:pt x="3405" y="132"/>
                  </a:moveTo>
                  <a:cubicBezTo>
                    <a:pt x="3399" y="132"/>
                    <a:pt x="3396" y="136"/>
                    <a:pt x="3398" y="142"/>
                  </a:cubicBezTo>
                  <a:cubicBezTo>
                    <a:pt x="3399" y="148"/>
                    <a:pt x="3406" y="152"/>
                    <a:pt x="3412" y="152"/>
                  </a:cubicBezTo>
                  <a:cubicBezTo>
                    <a:pt x="3418" y="152"/>
                    <a:pt x="3421" y="148"/>
                    <a:pt x="3419" y="142"/>
                  </a:cubicBezTo>
                  <a:cubicBezTo>
                    <a:pt x="3417" y="136"/>
                    <a:pt x="3411" y="132"/>
                    <a:pt x="3405" y="132"/>
                  </a:cubicBezTo>
                  <a:cubicBezTo>
                    <a:pt x="3405" y="132"/>
                    <a:pt x="3405" y="132"/>
                    <a:pt x="3405" y="132"/>
                  </a:cubicBezTo>
                  <a:moveTo>
                    <a:pt x="3436" y="131"/>
                  </a:moveTo>
                  <a:cubicBezTo>
                    <a:pt x="3430" y="132"/>
                    <a:pt x="3426" y="136"/>
                    <a:pt x="3428" y="142"/>
                  </a:cubicBezTo>
                  <a:cubicBezTo>
                    <a:pt x="3430" y="147"/>
                    <a:pt x="3437" y="152"/>
                    <a:pt x="3443" y="152"/>
                  </a:cubicBezTo>
                  <a:cubicBezTo>
                    <a:pt x="3449" y="152"/>
                    <a:pt x="3452" y="147"/>
                    <a:pt x="3450" y="142"/>
                  </a:cubicBezTo>
                  <a:cubicBezTo>
                    <a:pt x="3448" y="136"/>
                    <a:pt x="3442" y="131"/>
                    <a:pt x="3436" y="131"/>
                  </a:cubicBezTo>
                  <a:cubicBezTo>
                    <a:pt x="3436" y="131"/>
                    <a:pt x="3436" y="131"/>
                    <a:pt x="3436" y="131"/>
                  </a:cubicBezTo>
                  <a:moveTo>
                    <a:pt x="3467" y="131"/>
                  </a:moveTo>
                  <a:cubicBezTo>
                    <a:pt x="3461" y="131"/>
                    <a:pt x="3457" y="136"/>
                    <a:pt x="3460" y="142"/>
                  </a:cubicBezTo>
                  <a:cubicBezTo>
                    <a:pt x="3462" y="147"/>
                    <a:pt x="3468" y="152"/>
                    <a:pt x="3474" y="152"/>
                  </a:cubicBezTo>
                  <a:cubicBezTo>
                    <a:pt x="3480" y="152"/>
                    <a:pt x="3483" y="147"/>
                    <a:pt x="3481" y="141"/>
                  </a:cubicBezTo>
                  <a:cubicBezTo>
                    <a:pt x="3479" y="136"/>
                    <a:pt x="3473" y="131"/>
                    <a:pt x="3467" y="131"/>
                  </a:cubicBezTo>
                  <a:cubicBezTo>
                    <a:pt x="3467" y="131"/>
                    <a:pt x="3467" y="131"/>
                    <a:pt x="3467" y="131"/>
                  </a:cubicBezTo>
                  <a:moveTo>
                    <a:pt x="3497" y="131"/>
                  </a:moveTo>
                  <a:cubicBezTo>
                    <a:pt x="3491" y="131"/>
                    <a:pt x="3488" y="136"/>
                    <a:pt x="3490" y="141"/>
                  </a:cubicBezTo>
                  <a:cubicBezTo>
                    <a:pt x="3493" y="147"/>
                    <a:pt x="3499" y="151"/>
                    <a:pt x="3505" y="151"/>
                  </a:cubicBezTo>
                  <a:cubicBezTo>
                    <a:pt x="3511" y="151"/>
                    <a:pt x="3514" y="147"/>
                    <a:pt x="3512" y="141"/>
                  </a:cubicBezTo>
                  <a:cubicBezTo>
                    <a:pt x="3510" y="135"/>
                    <a:pt x="3503" y="131"/>
                    <a:pt x="3497" y="131"/>
                  </a:cubicBezTo>
                  <a:cubicBezTo>
                    <a:pt x="3497" y="131"/>
                    <a:pt x="3497" y="131"/>
                    <a:pt x="3497" y="131"/>
                  </a:cubicBezTo>
                  <a:moveTo>
                    <a:pt x="3528" y="131"/>
                  </a:moveTo>
                  <a:cubicBezTo>
                    <a:pt x="3522" y="131"/>
                    <a:pt x="3519" y="135"/>
                    <a:pt x="3522" y="141"/>
                  </a:cubicBezTo>
                  <a:cubicBezTo>
                    <a:pt x="3524" y="147"/>
                    <a:pt x="3530" y="151"/>
                    <a:pt x="3537" y="151"/>
                  </a:cubicBezTo>
                  <a:cubicBezTo>
                    <a:pt x="3543" y="151"/>
                    <a:pt x="3546" y="146"/>
                    <a:pt x="3543" y="141"/>
                  </a:cubicBezTo>
                  <a:cubicBezTo>
                    <a:pt x="3541" y="135"/>
                    <a:pt x="3535" y="131"/>
                    <a:pt x="3529" y="131"/>
                  </a:cubicBezTo>
                  <a:cubicBezTo>
                    <a:pt x="3529" y="131"/>
                    <a:pt x="3528" y="131"/>
                    <a:pt x="3528" y="131"/>
                  </a:cubicBezTo>
                  <a:moveTo>
                    <a:pt x="3561" y="130"/>
                  </a:moveTo>
                  <a:cubicBezTo>
                    <a:pt x="3555" y="130"/>
                    <a:pt x="3552" y="135"/>
                    <a:pt x="3555" y="141"/>
                  </a:cubicBezTo>
                  <a:cubicBezTo>
                    <a:pt x="3557" y="146"/>
                    <a:pt x="3564" y="151"/>
                    <a:pt x="3570" y="151"/>
                  </a:cubicBezTo>
                  <a:cubicBezTo>
                    <a:pt x="3576" y="151"/>
                    <a:pt x="3579" y="146"/>
                    <a:pt x="3576" y="140"/>
                  </a:cubicBezTo>
                  <a:cubicBezTo>
                    <a:pt x="3574" y="135"/>
                    <a:pt x="3567" y="130"/>
                    <a:pt x="3561" y="130"/>
                  </a:cubicBezTo>
                  <a:cubicBezTo>
                    <a:pt x="3561" y="130"/>
                    <a:pt x="3561" y="130"/>
                    <a:pt x="3561" y="130"/>
                  </a:cubicBezTo>
                  <a:moveTo>
                    <a:pt x="3592" y="130"/>
                  </a:moveTo>
                  <a:cubicBezTo>
                    <a:pt x="3586" y="130"/>
                    <a:pt x="3583" y="135"/>
                    <a:pt x="3585" y="140"/>
                  </a:cubicBezTo>
                  <a:cubicBezTo>
                    <a:pt x="3588" y="146"/>
                    <a:pt x="3594" y="151"/>
                    <a:pt x="3600" y="151"/>
                  </a:cubicBezTo>
                  <a:cubicBezTo>
                    <a:pt x="3606" y="150"/>
                    <a:pt x="3609" y="146"/>
                    <a:pt x="3607" y="140"/>
                  </a:cubicBezTo>
                  <a:cubicBezTo>
                    <a:pt x="3605" y="135"/>
                    <a:pt x="3598" y="130"/>
                    <a:pt x="3592" y="130"/>
                  </a:cubicBezTo>
                  <a:cubicBezTo>
                    <a:pt x="3592" y="130"/>
                    <a:pt x="3592" y="130"/>
                    <a:pt x="3592" y="130"/>
                  </a:cubicBezTo>
                  <a:moveTo>
                    <a:pt x="3623" y="130"/>
                  </a:moveTo>
                  <a:cubicBezTo>
                    <a:pt x="3617" y="130"/>
                    <a:pt x="3614" y="134"/>
                    <a:pt x="3616" y="140"/>
                  </a:cubicBezTo>
                  <a:cubicBezTo>
                    <a:pt x="3619" y="146"/>
                    <a:pt x="3625" y="150"/>
                    <a:pt x="3631" y="150"/>
                  </a:cubicBezTo>
                  <a:cubicBezTo>
                    <a:pt x="3637" y="150"/>
                    <a:pt x="3640" y="146"/>
                    <a:pt x="3638" y="140"/>
                  </a:cubicBezTo>
                  <a:cubicBezTo>
                    <a:pt x="3635" y="134"/>
                    <a:pt x="3629" y="130"/>
                    <a:pt x="3623" y="130"/>
                  </a:cubicBezTo>
                  <a:cubicBezTo>
                    <a:pt x="3623" y="130"/>
                    <a:pt x="3623" y="130"/>
                    <a:pt x="3623" y="130"/>
                  </a:cubicBezTo>
                  <a:moveTo>
                    <a:pt x="3654" y="129"/>
                  </a:moveTo>
                  <a:cubicBezTo>
                    <a:pt x="3648" y="129"/>
                    <a:pt x="3645" y="134"/>
                    <a:pt x="3647" y="140"/>
                  </a:cubicBezTo>
                  <a:cubicBezTo>
                    <a:pt x="3650" y="145"/>
                    <a:pt x="3657" y="150"/>
                    <a:pt x="3663" y="150"/>
                  </a:cubicBezTo>
                  <a:cubicBezTo>
                    <a:pt x="3669" y="150"/>
                    <a:pt x="3672" y="145"/>
                    <a:pt x="3669" y="140"/>
                  </a:cubicBezTo>
                  <a:cubicBezTo>
                    <a:pt x="3667" y="134"/>
                    <a:pt x="3660" y="129"/>
                    <a:pt x="3654" y="129"/>
                  </a:cubicBezTo>
                  <a:cubicBezTo>
                    <a:pt x="3654" y="129"/>
                    <a:pt x="3654" y="129"/>
                    <a:pt x="3654" y="129"/>
                  </a:cubicBezTo>
                  <a:moveTo>
                    <a:pt x="3685" y="129"/>
                  </a:moveTo>
                  <a:cubicBezTo>
                    <a:pt x="3679" y="129"/>
                    <a:pt x="3676" y="134"/>
                    <a:pt x="3679" y="139"/>
                  </a:cubicBezTo>
                  <a:cubicBezTo>
                    <a:pt x="3681" y="145"/>
                    <a:pt x="3688" y="150"/>
                    <a:pt x="3694" y="150"/>
                  </a:cubicBezTo>
                  <a:cubicBezTo>
                    <a:pt x="3700" y="150"/>
                    <a:pt x="3703" y="145"/>
                    <a:pt x="3700" y="139"/>
                  </a:cubicBezTo>
                  <a:cubicBezTo>
                    <a:pt x="3698" y="134"/>
                    <a:pt x="3691" y="129"/>
                    <a:pt x="3685" y="129"/>
                  </a:cubicBezTo>
                  <a:cubicBezTo>
                    <a:pt x="3685" y="129"/>
                    <a:pt x="3685" y="129"/>
                    <a:pt x="3685" y="129"/>
                  </a:cubicBezTo>
                  <a:moveTo>
                    <a:pt x="3716" y="129"/>
                  </a:moveTo>
                  <a:cubicBezTo>
                    <a:pt x="3710" y="129"/>
                    <a:pt x="3707" y="134"/>
                    <a:pt x="3710" y="139"/>
                  </a:cubicBezTo>
                  <a:cubicBezTo>
                    <a:pt x="3712" y="145"/>
                    <a:pt x="3719" y="149"/>
                    <a:pt x="3725" y="149"/>
                  </a:cubicBezTo>
                  <a:cubicBezTo>
                    <a:pt x="3731" y="149"/>
                    <a:pt x="3734" y="145"/>
                    <a:pt x="3731" y="139"/>
                  </a:cubicBezTo>
                  <a:cubicBezTo>
                    <a:pt x="3729" y="133"/>
                    <a:pt x="3722" y="129"/>
                    <a:pt x="3716" y="129"/>
                  </a:cubicBezTo>
                  <a:cubicBezTo>
                    <a:pt x="3716" y="129"/>
                    <a:pt x="3716" y="129"/>
                    <a:pt x="3716" y="129"/>
                  </a:cubicBezTo>
                  <a:moveTo>
                    <a:pt x="3747" y="129"/>
                  </a:moveTo>
                  <a:cubicBezTo>
                    <a:pt x="3741" y="129"/>
                    <a:pt x="3738" y="133"/>
                    <a:pt x="3741" y="139"/>
                  </a:cubicBezTo>
                  <a:cubicBezTo>
                    <a:pt x="3743" y="145"/>
                    <a:pt x="3750" y="149"/>
                    <a:pt x="3756" y="149"/>
                  </a:cubicBezTo>
                  <a:cubicBezTo>
                    <a:pt x="3762" y="149"/>
                    <a:pt x="3765" y="144"/>
                    <a:pt x="3762" y="139"/>
                  </a:cubicBezTo>
                  <a:cubicBezTo>
                    <a:pt x="3760" y="133"/>
                    <a:pt x="3753" y="129"/>
                    <a:pt x="3747" y="129"/>
                  </a:cubicBezTo>
                  <a:cubicBezTo>
                    <a:pt x="3747" y="129"/>
                    <a:pt x="3747" y="129"/>
                    <a:pt x="3747" y="129"/>
                  </a:cubicBezTo>
                  <a:moveTo>
                    <a:pt x="3777" y="128"/>
                  </a:moveTo>
                  <a:cubicBezTo>
                    <a:pt x="3771" y="128"/>
                    <a:pt x="3769" y="133"/>
                    <a:pt x="3772" y="139"/>
                  </a:cubicBezTo>
                  <a:cubicBezTo>
                    <a:pt x="3774" y="144"/>
                    <a:pt x="3781" y="149"/>
                    <a:pt x="3787" y="149"/>
                  </a:cubicBezTo>
                  <a:cubicBezTo>
                    <a:pt x="3793" y="149"/>
                    <a:pt x="3796" y="144"/>
                    <a:pt x="3793" y="138"/>
                  </a:cubicBezTo>
                  <a:cubicBezTo>
                    <a:pt x="3790" y="133"/>
                    <a:pt x="3783" y="128"/>
                    <a:pt x="3777" y="128"/>
                  </a:cubicBezTo>
                  <a:cubicBezTo>
                    <a:pt x="3777" y="128"/>
                    <a:pt x="3777" y="128"/>
                    <a:pt x="3777" y="128"/>
                  </a:cubicBezTo>
                  <a:moveTo>
                    <a:pt x="3808" y="128"/>
                  </a:moveTo>
                  <a:cubicBezTo>
                    <a:pt x="3802" y="128"/>
                    <a:pt x="3800" y="133"/>
                    <a:pt x="3803" y="138"/>
                  </a:cubicBezTo>
                  <a:cubicBezTo>
                    <a:pt x="3805" y="144"/>
                    <a:pt x="3813" y="149"/>
                    <a:pt x="3819" y="149"/>
                  </a:cubicBezTo>
                  <a:cubicBezTo>
                    <a:pt x="3825" y="148"/>
                    <a:pt x="3827" y="144"/>
                    <a:pt x="3824" y="138"/>
                  </a:cubicBezTo>
                  <a:cubicBezTo>
                    <a:pt x="3822" y="132"/>
                    <a:pt x="3814" y="128"/>
                    <a:pt x="3808" y="128"/>
                  </a:cubicBezTo>
                  <a:cubicBezTo>
                    <a:pt x="3808" y="128"/>
                    <a:pt x="3808" y="128"/>
                    <a:pt x="3808" y="128"/>
                  </a:cubicBezTo>
                  <a:moveTo>
                    <a:pt x="3839" y="128"/>
                  </a:moveTo>
                  <a:cubicBezTo>
                    <a:pt x="3833" y="128"/>
                    <a:pt x="3830" y="132"/>
                    <a:pt x="3833" y="138"/>
                  </a:cubicBezTo>
                  <a:cubicBezTo>
                    <a:pt x="3836" y="144"/>
                    <a:pt x="3843" y="148"/>
                    <a:pt x="3849" y="148"/>
                  </a:cubicBezTo>
                  <a:cubicBezTo>
                    <a:pt x="3855" y="148"/>
                    <a:pt x="3858" y="144"/>
                    <a:pt x="3855" y="138"/>
                  </a:cubicBezTo>
                  <a:cubicBezTo>
                    <a:pt x="3852" y="132"/>
                    <a:pt x="3845" y="128"/>
                    <a:pt x="3839" y="128"/>
                  </a:cubicBezTo>
                  <a:cubicBezTo>
                    <a:pt x="3839" y="128"/>
                    <a:pt x="3839" y="128"/>
                    <a:pt x="3839" y="128"/>
                  </a:cubicBezTo>
                  <a:moveTo>
                    <a:pt x="3870" y="127"/>
                  </a:moveTo>
                  <a:cubicBezTo>
                    <a:pt x="3864" y="127"/>
                    <a:pt x="3861" y="132"/>
                    <a:pt x="3864" y="138"/>
                  </a:cubicBezTo>
                  <a:cubicBezTo>
                    <a:pt x="3867" y="143"/>
                    <a:pt x="3875" y="148"/>
                    <a:pt x="3881" y="148"/>
                  </a:cubicBezTo>
                  <a:cubicBezTo>
                    <a:pt x="3887" y="148"/>
                    <a:pt x="3889" y="143"/>
                    <a:pt x="3886" y="138"/>
                  </a:cubicBezTo>
                  <a:cubicBezTo>
                    <a:pt x="3883" y="132"/>
                    <a:pt x="3876" y="127"/>
                    <a:pt x="3870" y="127"/>
                  </a:cubicBezTo>
                  <a:cubicBezTo>
                    <a:pt x="3870" y="127"/>
                    <a:pt x="3870" y="127"/>
                    <a:pt x="3870" y="127"/>
                  </a:cubicBezTo>
                  <a:moveTo>
                    <a:pt x="3901" y="127"/>
                  </a:moveTo>
                  <a:cubicBezTo>
                    <a:pt x="3895" y="127"/>
                    <a:pt x="3893" y="132"/>
                    <a:pt x="3896" y="137"/>
                  </a:cubicBezTo>
                  <a:cubicBezTo>
                    <a:pt x="3899" y="143"/>
                    <a:pt x="3906" y="148"/>
                    <a:pt x="3912" y="148"/>
                  </a:cubicBezTo>
                  <a:cubicBezTo>
                    <a:pt x="3918" y="148"/>
                    <a:pt x="3921" y="143"/>
                    <a:pt x="3918" y="137"/>
                  </a:cubicBezTo>
                  <a:cubicBezTo>
                    <a:pt x="3914" y="132"/>
                    <a:pt x="3907" y="127"/>
                    <a:pt x="3901" y="127"/>
                  </a:cubicBezTo>
                  <a:cubicBezTo>
                    <a:pt x="3901" y="127"/>
                    <a:pt x="3901" y="127"/>
                    <a:pt x="3901" y="127"/>
                  </a:cubicBezTo>
                  <a:moveTo>
                    <a:pt x="3932" y="127"/>
                  </a:moveTo>
                  <a:cubicBezTo>
                    <a:pt x="3926" y="127"/>
                    <a:pt x="3924" y="131"/>
                    <a:pt x="3927" y="137"/>
                  </a:cubicBezTo>
                  <a:cubicBezTo>
                    <a:pt x="3930" y="143"/>
                    <a:pt x="3937" y="147"/>
                    <a:pt x="3943" y="147"/>
                  </a:cubicBezTo>
                  <a:cubicBezTo>
                    <a:pt x="3949" y="147"/>
                    <a:pt x="3951" y="143"/>
                    <a:pt x="3948" y="137"/>
                  </a:cubicBezTo>
                  <a:cubicBezTo>
                    <a:pt x="3945" y="131"/>
                    <a:pt x="3938" y="127"/>
                    <a:pt x="3932" y="127"/>
                  </a:cubicBezTo>
                  <a:cubicBezTo>
                    <a:pt x="3932" y="127"/>
                    <a:pt x="3932" y="127"/>
                    <a:pt x="3932" y="127"/>
                  </a:cubicBezTo>
                  <a:moveTo>
                    <a:pt x="3963" y="126"/>
                  </a:moveTo>
                  <a:cubicBezTo>
                    <a:pt x="3957" y="127"/>
                    <a:pt x="3955" y="131"/>
                    <a:pt x="3958" y="137"/>
                  </a:cubicBezTo>
                  <a:cubicBezTo>
                    <a:pt x="3961" y="143"/>
                    <a:pt x="3968" y="147"/>
                    <a:pt x="3974" y="147"/>
                  </a:cubicBezTo>
                  <a:cubicBezTo>
                    <a:pt x="3980" y="147"/>
                    <a:pt x="3983" y="142"/>
                    <a:pt x="3979" y="137"/>
                  </a:cubicBezTo>
                  <a:cubicBezTo>
                    <a:pt x="3976" y="131"/>
                    <a:pt x="3969" y="126"/>
                    <a:pt x="3963" y="126"/>
                  </a:cubicBezTo>
                  <a:cubicBezTo>
                    <a:pt x="3963" y="126"/>
                    <a:pt x="3963" y="126"/>
                    <a:pt x="3963" y="126"/>
                  </a:cubicBezTo>
                  <a:moveTo>
                    <a:pt x="3993" y="126"/>
                  </a:moveTo>
                  <a:cubicBezTo>
                    <a:pt x="3988" y="126"/>
                    <a:pt x="3985" y="131"/>
                    <a:pt x="3988" y="137"/>
                  </a:cubicBezTo>
                  <a:cubicBezTo>
                    <a:pt x="3992" y="142"/>
                    <a:pt x="3999" y="147"/>
                    <a:pt x="4005" y="147"/>
                  </a:cubicBezTo>
                  <a:cubicBezTo>
                    <a:pt x="4011" y="147"/>
                    <a:pt x="4014" y="142"/>
                    <a:pt x="4010" y="136"/>
                  </a:cubicBezTo>
                  <a:cubicBezTo>
                    <a:pt x="4007" y="131"/>
                    <a:pt x="4000" y="126"/>
                    <a:pt x="3994" y="126"/>
                  </a:cubicBezTo>
                  <a:cubicBezTo>
                    <a:pt x="3994" y="126"/>
                    <a:pt x="3994" y="126"/>
                    <a:pt x="3993" y="126"/>
                  </a:cubicBezTo>
                  <a:moveTo>
                    <a:pt x="997" y="125"/>
                  </a:moveTo>
                  <a:cubicBezTo>
                    <a:pt x="991" y="125"/>
                    <a:pt x="984" y="130"/>
                    <a:pt x="981" y="135"/>
                  </a:cubicBezTo>
                  <a:cubicBezTo>
                    <a:pt x="977" y="141"/>
                    <a:pt x="979" y="145"/>
                    <a:pt x="986" y="145"/>
                  </a:cubicBezTo>
                  <a:cubicBezTo>
                    <a:pt x="992" y="145"/>
                    <a:pt x="999" y="141"/>
                    <a:pt x="1002" y="135"/>
                  </a:cubicBezTo>
                  <a:cubicBezTo>
                    <a:pt x="1006" y="130"/>
                    <a:pt x="1003" y="125"/>
                    <a:pt x="998" y="125"/>
                  </a:cubicBezTo>
                  <a:cubicBezTo>
                    <a:pt x="998" y="125"/>
                    <a:pt x="997" y="125"/>
                    <a:pt x="997" y="125"/>
                  </a:cubicBezTo>
                  <a:moveTo>
                    <a:pt x="1027" y="125"/>
                  </a:moveTo>
                  <a:cubicBezTo>
                    <a:pt x="1021" y="125"/>
                    <a:pt x="1013" y="129"/>
                    <a:pt x="1010" y="135"/>
                  </a:cubicBezTo>
                  <a:cubicBezTo>
                    <a:pt x="1007" y="141"/>
                    <a:pt x="1009" y="145"/>
                    <a:pt x="1015" y="145"/>
                  </a:cubicBezTo>
                  <a:cubicBezTo>
                    <a:pt x="1021" y="145"/>
                    <a:pt x="1028" y="140"/>
                    <a:pt x="1032" y="135"/>
                  </a:cubicBezTo>
                  <a:cubicBezTo>
                    <a:pt x="1035" y="129"/>
                    <a:pt x="1033" y="125"/>
                    <a:pt x="1027" y="125"/>
                  </a:cubicBezTo>
                  <a:cubicBezTo>
                    <a:pt x="1027" y="125"/>
                    <a:pt x="1027" y="125"/>
                    <a:pt x="1027" y="125"/>
                  </a:cubicBezTo>
                  <a:moveTo>
                    <a:pt x="1305" y="125"/>
                  </a:moveTo>
                  <a:cubicBezTo>
                    <a:pt x="1299" y="125"/>
                    <a:pt x="1292" y="129"/>
                    <a:pt x="1289" y="135"/>
                  </a:cubicBezTo>
                  <a:cubicBezTo>
                    <a:pt x="1286" y="141"/>
                    <a:pt x="1289" y="145"/>
                    <a:pt x="1295" y="145"/>
                  </a:cubicBezTo>
                  <a:cubicBezTo>
                    <a:pt x="1301" y="145"/>
                    <a:pt x="1308" y="140"/>
                    <a:pt x="1311" y="135"/>
                  </a:cubicBezTo>
                  <a:cubicBezTo>
                    <a:pt x="1313" y="129"/>
                    <a:pt x="1311" y="125"/>
                    <a:pt x="1305" y="125"/>
                  </a:cubicBezTo>
                  <a:cubicBezTo>
                    <a:pt x="1305" y="125"/>
                    <a:pt x="1305" y="125"/>
                    <a:pt x="1305" y="125"/>
                  </a:cubicBezTo>
                  <a:moveTo>
                    <a:pt x="1336" y="124"/>
                  </a:moveTo>
                  <a:cubicBezTo>
                    <a:pt x="1330" y="125"/>
                    <a:pt x="1323" y="129"/>
                    <a:pt x="1320" y="135"/>
                  </a:cubicBezTo>
                  <a:cubicBezTo>
                    <a:pt x="1318" y="140"/>
                    <a:pt x="1321" y="145"/>
                    <a:pt x="1327" y="145"/>
                  </a:cubicBezTo>
                  <a:cubicBezTo>
                    <a:pt x="1333" y="145"/>
                    <a:pt x="1340" y="140"/>
                    <a:pt x="1342" y="135"/>
                  </a:cubicBezTo>
                  <a:cubicBezTo>
                    <a:pt x="1345" y="129"/>
                    <a:pt x="1342" y="124"/>
                    <a:pt x="1336" y="124"/>
                  </a:cubicBezTo>
                  <a:cubicBezTo>
                    <a:pt x="1336" y="124"/>
                    <a:pt x="1336" y="124"/>
                    <a:pt x="1336" y="124"/>
                  </a:cubicBezTo>
                  <a:moveTo>
                    <a:pt x="1367" y="124"/>
                  </a:moveTo>
                  <a:cubicBezTo>
                    <a:pt x="1361" y="124"/>
                    <a:pt x="1354" y="129"/>
                    <a:pt x="1351" y="134"/>
                  </a:cubicBezTo>
                  <a:cubicBezTo>
                    <a:pt x="1349" y="140"/>
                    <a:pt x="1352" y="145"/>
                    <a:pt x="1358" y="145"/>
                  </a:cubicBezTo>
                  <a:cubicBezTo>
                    <a:pt x="1364" y="144"/>
                    <a:pt x="1370" y="140"/>
                    <a:pt x="1373" y="134"/>
                  </a:cubicBezTo>
                  <a:cubicBezTo>
                    <a:pt x="1375" y="129"/>
                    <a:pt x="1373" y="124"/>
                    <a:pt x="1367" y="124"/>
                  </a:cubicBezTo>
                  <a:cubicBezTo>
                    <a:pt x="1367" y="124"/>
                    <a:pt x="1367" y="124"/>
                    <a:pt x="1367" y="124"/>
                  </a:cubicBezTo>
                  <a:moveTo>
                    <a:pt x="1611" y="120"/>
                  </a:moveTo>
                  <a:cubicBezTo>
                    <a:pt x="1605" y="120"/>
                    <a:pt x="1598" y="125"/>
                    <a:pt x="1597" y="131"/>
                  </a:cubicBezTo>
                  <a:cubicBezTo>
                    <a:pt x="1595" y="136"/>
                    <a:pt x="1598" y="141"/>
                    <a:pt x="1604" y="141"/>
                  </a:cubicBezTo>
                  <a:cubicBezTo>
                    <a:pt x="1610" y="141"/>
                    <a:pt x="1616" y="136"/>
                    <a:pt x="1618" y="130"/>
                  </a:cubicBezTo>
                  <a:cubicBezTo>
                    <a:pt x="1620" y="125"/>
                    <a:pt x="1617" y="120"/>
                    <a:pt x="1611" y="120"/>
                  </a:cubicBezTo>
                  <a:cubicBezTo>
                    <a:pt x="1611" y="120"/>
                    <a:pt x="1611" y="120"/>
                    <a:pt x="1611" y="120"/>
                  </a:cubicBezTo>
                  <a:moveTo>
                    <a:pt x="1642" y="120"/>
                  </a:moveTo>
                  <a:cubicBezTo>
                    <a:pt x="1636" y="120"/>
                    <a:pt x="1630" y="125"/>
                    <a:pt x="1628" y="130"/>
                  </a:cubicBezTo>
                  <a:cubicBezTo>
                    <a:pt x="1626" y="136"/>
                    <a:pt x="1629" y="140"/>
                    <a:pt x="1635" y="140"/>
                  </a:cubicBezTo>
                  <a:cubicBezTo>
                    <a:pt x="1641" y="140"/>
                    <a:pt x="1648" y="136"/>
                    <a:pt x="1649" y="130"/>
                  </a:cubicBezTo>
                  <a:cubicBezTo>
                    <a:pt x="1651" y="125"/>
                    <a:pt x="1648" y="120"/>
                    <a:pt x="1642" y="120"/>
                  </a:cubicBezTo>
                  <a:cubicBezTo>
                    <a:pt x="1642" y="120"/>
                    <a:pt x="1642" y="120"/>
                    <a:pt x="1642" y="120"/>
                  </a:cubicBezTo>
                  <a:moveTo>
                    <a:pt x="1673" y="120"/>
                  </a:moveTo>
                  <a:cubicBezTo>
                    <a:pt x="1667" y="120"/>
                    <a:pt x="1660" y="124"/>
                    <a:pt x="1659" y="130"/>
                  </a:cubicBezTo>
                  <a:cubicBezTo>
                    <a:pt x="1657" y="136"/>
                    <a:pt x="1660" y="140"/>
                    <a:pt x="1666" y="140"/>
                  </a:cubicBezTo>
                  <a:cubicBezTo>
                    <a:pt x="1672" y="140"/>
                    <a:pt x="1678" y="135"/>
                    <a:pt x="1680" y="130"/>
                  </a:cubicBezTo>
                  <a:cubicBezTo>
                    <a:pt x="1682" y="124"/>
                    <a:pt x="1679" y="120"/>
                    <a:pt x="1673" y="120"/>
                  </a:cubicBezTo>
                  <a:cubicBezTo>
                    <a:pt x="1673" y="120"/>
                    <a:pt x="1673" y="120"/>
                    <a:pt x="1673" y="120"/>
                  </a:cubicBezTo>
                  <a:moveTo>
                    <a:pt x="1704" y="119"/>
                  </a:moveTo>
                  <a:cubicBezTo>
                    <a:pt x="1698" y="120"/>
                    <a:pt x="1691" y="124"/>
                    <a:pt x="1689" y="130"/>
                  </a:cubicBezTo>
                  <a:cubicBezTo>
                    <a:pt x="1688" y="135"/>
                    <a:pt x="1691" y="140"/>
                    <a:pt x="1697" y="140"/>
                  </a:cubicBezTo>
                  <a:cubicBezTo>
                    <a:pt x="1703" y="140"/>
                    <a:pt x="1709" y="135"/>
                    <a:pt x="1711" y="130"/>
                  </a:cubicBezTo>
                  <a:cubicBezTo>
                    <a:pt x="1713" y="124"/>
                    <a:pt x="1710" y="119"/>
                    <a:pt x="1704" y="119"/>
                  </a:cubicBezTo>
                  <a:cubicBezTo>
                    <a:pt x="1704" y="119"/>
                    <a:pt x="1704" y="119"/>
                    <a:pt x="1704" y="119"/>
                  </a:cubicBezTo>
                  <a:moveTo>
                    <a:pt x="1734" y="119"/>
                  </a:moveTo>
                  <a:cubicBezTo>
                    <a:pt x="1728" y="119"/>
                    <a:pt x="1722" y="124"/>
                    <a:pt x="1720" y="129"/>
                  </a:cubicBezTo>
                  <a:cubicBezTo>
                    <a:pt x="1719" y="135"/>
                    <a:pt x="1722" y="140"/>
                    <a:pt x="1728" y="140"/>
                  </a:cubicBezTo>
                  <a:cubicBezTo>
                    <a:pt x="1734" y="139"/>
                    <a:pt x="1740" y="135"/>
                    <a:pt x="1742" y="129"/>
                  </a:cubicBezTo>
                  <a:cubicBezTo>
                    <a:pt x="1744" y="124"/>
                    <a:pt x="1740" y="119"/>
                    <a:pt x="1734" y="119"/>
                  </a:cubicBezTo>
                  <a:cubicBezTo>
                    <a:pt x="1734" y="119"/>
                    <a:pt x="1734" y="119"/>
                    <a:pt x="1734" y="119"/>
                  </a:cubicBezTo>
                  <a:moveTo>
                    <a:pt x="1765" y="119"/>
                  </a:moveTo>
                  <a:cubicBezTo>
                    <a:pt x="1759" y="119"/>
                    <a:pt x="1753" y="124"/>
                    <a:pt x="1751" y="129"/>
                  </a:cubicBezTo>
                  <a:cubicBezTo>
                    <a:pt x="1750" y="135"/>
                    <a:pt x="1753" y="139"/>
                    <a:pt x="1759" y="139"/>
                  </a:cubicBezTo>
                  <a:cubicBezTo>
                    <a:pt x="1765" y="139"/>
                    <a:pt x="1771" y="135"/>
                    <a:pt x="1773" y="129"/>
                  </a:cubicBezTo>
                  <a:cubicBezTo>
                    <a:pt x="1774" y="123"/>
                    <a:pt x="1771" y="119"/>
                    <a:pt x="1765" y="119"/>
                  </a:cubicBezTo>
                  <a:cubicBezTo>
                    <a:pt x="1765" y="119"/>
                    <a:pt x="1765" y="119"/>
                    <a:pt x="1765" y="119"/>
                  </a:cubicBezTo>
                  <a:moveTo>
                    <a:pt x="1797" y="119"/>
                  </a:moveTo>
                  <a:cubicBezTo>
                    <a:pt x="1791" y="119"/>
                    <a:pt x="1785" y="123"/>
                    <a:pt x="1783" y="129"/>
                  </a:cubicBezTo>
                  <a:cubicBezTo>
                    <a:pt x="1782" y="134"/>
                    <a:pt x="1785" y="139"/>
                    <a:pt x="1791" y="139"/>
                  </a:cubicBezTo>
                  <a:cubicBezTo>
                    <a:pt x="1797" y="139"/>
                    <a:pt x="1803" y="134"/>
                    <a:pt x="1805" y="129"/>
                  </a:cubicBezTo>
                  <a:cubicBezTo>
                    <a:pt x="1806" y="123"/>
                    <a:pt x="1803" y="119"/>
                    <a:pt x="1797" y="119"/>
                  </a:cubicBezTo>
                  <a:cubicBezTo>
                    <a:pt x="1797" y="119"/>
                    <a:pt x="1797" y="119"/>
                    <a:pt x="1797" y="119"/>
                  </a:cubicBezTo>
                  <a:moveTo>
                    <a:pt x="1827" y="118"/>
                  </a:moveTo>
                  <a:cubicBezTo>
                    <a:pt x="1821" y="118"/>
                    <a:pt x="1815" y="123"/>
                    <a:pt x="1814" y="129"/>
                  </a:cubicBezTo>
                  <a:cubicBezTo>
                    <a:pt x="1812" y="134"/>
                    <a:pt x="1816" y="139"/>
                    <a:pt x="1822" y="139"/>
                  </a:cubicBezTo>
                  <a:cubicBezTo>
                    <a:pt x="1828" y="139"/>
                    <a:pt x="1834" y="134"/>
                    <a:pt x="1836" y="128"/>
                  </a:cubicBezTo>
                  <a:cubicBezTo>
                    <a:pt x="1837" y="123"/>
                    <a:pt x="1833" y="118"/>
                    <a:pt x="1828" y="118"/>
                  </a:cubicBezTo>
                  <a:cubicBezTo>
                    <a:pt x="1828" y="118"/>
                    <a:pt x="1827" y="118"/>
                    <a:pt x="1827" y="118"/>
                  </a:cubicBezTo>
                  <a:moveTo>
                    <a:pt x="1858" y="118"/>
                  </a:moveTo>
                  <a:cubicBezTo>
                    <a:pt x="1852" y="118"/>
                    <a:pt x="1846" y="123"/>
                    <a:pt x="1845" y="128"/>
                  </a:cubicBezTo>
                  <a:cubicBezTo>
                    <a:pt x="1843" y="134"/>
                    <a:pt x="1847" y="138"/>
                    <a:pt x="1853" y="138"/>
                  </a:cubicBezTo>
                  <a:cubicBezTo>
                    <a:pt x="1859" y="138"/>
                    <a:pt x="1865" y="134"/>
                    <a:pt x="1867" y="128"/>
                  </a:cubicBezTo>
                  <a:cubicBezTo>
                    <a:pt x="1868" y="122"/>
                    <a:pt x="1864" y="118"/>
                    <a:pt x="1858" y="118"/>
                  </a:cubicBezTo>
                  <a:cubicBezTo>
                    <a:pt x="1858" y="118"/>
                    <a:pt x="1858" y="118"/>
                    <a:pt x="1858" y="118"/>
                  </a:cubicBezTo>
                  <a:moveTo>
                    <a:pt x="1889" y="118"/>
                  </a:moveTo>
                  <a:cubicBezTo>
                    <a:pt x="1883" y="118"/>
                    <a:pt x="1878" y="122"/>
                    <a:pt x="1876" y="128"/>
                  </a:cubicBezTo>
                  <a:cubicBezTo>
                    <a:pt x="1875" y="134"/>
                    <a:pt x="1879" y="138"/>
                    <a:pt x="1885" y="138"/>
                  </a:cubicBezTo>
                  <a:cubicBezTo>
                    <a:pt x="1891" y="138"/>
                    <a:pt x="1896" y="133"/>
                    <a:pt x="1898" y="128"/>
                  </a:cubicBezTo>
                  <a:cubicBezTo>
                    <a:pt x="1899" y="122"/>
                    <a:pt x="1895" y="118"/>
                    <a:pt x="1890" y="118"/>
                  </a:cubicBezTo>
                  <a:cubicBezTo>
                    <a:pt x="1890" y="118"/>
                    <a:pt x="1889" y="118"/>
                    <a:pt x="1889" y="118"/>
                  </a:cubicBezTo>
                  <a:moveTo>
                    <a:pt x="2813" y="109"/>
                  </a:moveTo>
                  <a:cubicBezTo>
                    <a:pt x="2807" y="109"/>
                    <a:pt x="2803" y="114"/>
                    <a:pt x="2804" y="120"/>
                  </a:cubicBezTo>
                  <a:cubicBezTo>
                    <a:pt x="2804" y="125"/>
                    <a:pt x="2810" y="130"/>
                    <a:pt x="2816" y="130"/>
                  </a:cubicBezTo>
                  <a:cubicBezTo>
                    <a:pt x="2822" y="130"/>
                    <a:pt x="2826" y="125"/>
                    <a:pt x="2825" y="120"/>
                  </a:cubicBezTo>
                  <a:cubicBezTo>
                    <a:pt x="2825" y="114"/>
                    <a:pt x="2819" y="109"/>
                    <a:pt x="2813" y="109"/>
                  </a:cubicBezTo>
                  <a:cubicBezTo>
                    <a:pt x="2813" y="109"/>
                    <a:pt x="2813" y="109"/>
                    <a:pt x="2813" y="109"/>
                  </a:cubicBezTo>
                  <a:moveTo>
                    <a:pt x="2844" y="109"/>
                  </a:moveTo>
                  <a:cubicBezTo>
                    <a:pt x="2838" y="109"/>
                    <a:pt x="2834" y="114"/>
                    <a:pt x="2834" y="119"/>
                  </a:cubicBezTo>
                  <a:cubicBezTo>
                    <a:pt x="2835" y="125"/>
                    <a:pt x="2841" y="130"/>
                    <a:pt x="2847" y="130"/>
                  </a:cubicBezTo>
                  <a:cubicBezTo>
                    <a:pt x="2853" y="130"/>
                    <a:pt x="2857" y="125"/>
                    <a:pt x="2856" y="119"/>
                  </a:cubicBezTo>
                  <a:cubicBezTo>
                    <a:pt x="2855" y="114"/>
                    <a:pt x="2850" y="109"/>
                    <a:pt x="2844" y="109"/>
                  </a:cubicBezTo>
                  <a:cubicBezTo>
                    <a:pt x="2844" y="109"/>
                    <a:pt x="2844" y="109"/>
                    <a:pt x="2844" y="109"/>
                  </a:cubicBezTo>
                  <a:moveTo>
                    <a:pt x="2905" y="109"/>
                  </a:moveTo>
                  <a:cubicBezTo>
                    <a:pt x="2899" y="109"/>
                    <a:pt x="2895" y="113"/>
                    <a:pt x="2895" y="119"/>
                  </a:cubicBezTo>
                  <a:cubicBezTo>
                    <a:pt x="2896" y="125"/>
                    <a:pt x="2902" y="129"/>
                    <a:pt x="2908" y="129"/>
                  </a:cubicBezTo>
                  <a:cubicBezTo>
                    <a:pt x="2914" y="129"/>
                    <a:pt x="2918" y="124"/>
                    <a:pt x="2917" y="119"/>
                  </a:cubicBezTo>
                  <a:cubicBezTo>
                    <a:pt x="2916" y="113"/>
                    <a:pt x="2911" y="109"/>
                    <a:pt x="2905" y="109"/>
                  </a:cubicBezTo>
                  <a:cubicBezTo>
                    <a:pt x="2905" y="109"/>
                    <a:pt x="2905" y="109"/>
                    <a:pt x="2905" y="109"/>
                  </a:cubicBezTo>
                  <a:moveTo>
                    <a:pt x="2690" y="108"/>
                  </a:moveTo>
                  <a:cubicBezTo>
                    <a:pt x="2684" y="108"/>
                    <a:pt x="2679" y="113"/>
                    <a:pt x="2680" y="119"/>
                  </a:cubicBezTo>
                  <a:cubicBezTo>
                    <a:pt x="2680" y="124"/>
                    <a:pt x="2685" y="129"/>
                    <a:pt x="2691" y="129"/>
                  </a:cubicBezTo>
                  <a:cubicBezTo>
                    <a:pt x="2697" y="129"/>
                    <a:pt x="2702" y="124"/>
                    <a:pt x="2701" y="118"/>
                  </a:cubicBezTo>
                  <a:cubicBezTo>
                    <a:pt x="2701" y="113"/>
                    <a:pt x="2696" y="108"/>
                    <a:pt x="2690" y="108"/>
                  </a:cubicBezTo>
                  <a:cubicBezTo>
                    <a:pt x="2690" y="108"/>
                    <a:pt x="2690" y="108"/>
                    <a:pt x="2690" y="108"/>
                  </a:cubicBezTo>
                  <a:moveTo>
                    <a:pt x="2935" y="108"/>
                  </a:moveTo>
                  <a:cubicBezTo>
                    <a:pt x="2929" y="108"/>
                    <a:pt x="2925" y="113"/>
                    <a:pt x="2926" y="119"/>
                  </a:cubicBezTo>
                  <a:cubicBezTo>
                    <a:pt x="2927" y="124"/>
                    <a:pt x="2933" y="129"/>
                    <a:pt x="2939" y="129"/>
                  </a:cubicBezTo>
                  <a:cubicBezTo>
                    <a:pt x="2944" y="129"/>
                    <a:pt x="2949" y="124"/>
                    <a:pt x="2948" y="118"/>
                  </a:cubicBezTo>
                  <a:cubicBezTo>
                    <a:pt x="2947" y="113"/>
                    <a:pt x="2941" y="108"/>
                    <a:pt x="2935" y="108"/>
                  </a:cubicBezTo>
                  <a:cubicBezTo>
                    <a:pt x="2935" y="108"/>
                    <a:pt x="2935" y="108"/>
                    <a:pt x="2935" y="108"/>
                  </a:cubicBezTo>
                  <a:moveTo>
                    <a:pt x="2966" y="108"/>
                  </a:moveTo>
                  <a:cubicBezTo>
                    <a:pt x="2960" y="108"/>
                    <a:pt x="2956" y="113"/>
                    <a:pt x="2957" y="118"/>
                  </a:cubicBezTo>
                  <a:cubicBezTo>
                    <a:pt x="2958" y="124"/>
                    <a:pt x="2963" y="128"/>
                    <a:pt x="2969" y="128"/>
                  </a:cubicBezTo>
                  <a:cubicBezTo>
                    <a:pt x="2975" y="128"/>
                    <a:pt x="2979" y="124"/>
                    <a:pt x="2978" y="118"/>
                  </a:cubicBezTo>
                  <a:cubicBezTo>
                    <a:pt x="2977" y="112"/>
                    <a:pt x="2972" y="108"/>
                    <a:pt x="2966" y="108"/>
                  </a:cubicBezTo>
                  <a:cubicBezTo>
                    <a:pt x="2966" y="108"/>
                    <a:pt x="2966" y="108"/>
                    <a:pt x="2966" y="108"/>
                  </a:cubicBezTo>
                  <a:moveTo>
                    <a:pt x="2996" y="108"/>
                  </a:moveTo>
                  <a:cubicBezTo>
                    <a:pt x="2990" y="108"/>
                    <a:pt x="2986" y="112"/>
                    <a:pt x="2987" y="118"/>
                  </a:cubicBezTo>
                  <a:cubicBezTo>
                    <a:pt x="2988" y="124"/>
                    <a:pt x="2994" y="128"/>
                    <a:pt x="3000" y="128"/>
                  </a:cubicBezTo>
                  <a:cubicBezTo>
                    <a:pt x="3006" y="128"/>
                    <a:pt x="3010" y="123"/>
                    <a:pt x="3009" y="118"/>
                  </a:cubicBezTo>
                  <a:cubicBezTo>
                    <a:pt x="3008" y="112"/>
                    <a:pt x="3002" y="108"/>
                    <a:pt x="2996" y="108"/>
                  </a:cubicBezTo>
                  <a:cubicBezTo>
                    <a:pt x="2996" y="108"/>
                    <a:pt x="2996" y="108"/>
                    <a:pt x="2996" y="108"/>
                  </a:cubicBezTo>
                  <a:moveTo>
                    <a:pt x="3026" y="107"/>
                  </a:moveTo>
                  <a:cubicBezTo>
                    <a:pt x="3020" y="107"/>
                    <a:pt x="3017" y="112"/>
                    <a:pt x="3018" y="118"/>
                  </a:cubicBezTo>
                  <a:cubicBezTo>
                    <a:pt x="3019" y="123"/>
                    <a:pt x="3025" y="128"/>
                    <a:pt x="3031" y="128"/>
                  </a:cubicBezTo>
                  <a:cubicBezTo>
                    <a:pt x="3036" y="128"/>
                    <a:pt x="3040" y="123"/>
                    <a:pt x="3039" y="117"/>
                  </a:cubicBezTo>
                  <a:cubicBezTo>
                    <a:pt x="3038" y="112"/>
                    <a:pt x="3032" y="107"/>
                    <a:pt x="3027" y="107"/>
                  </a:cubicBezTo>
                  <a:cubicBezTo>
                    <a:pt x="3026" y="107"/>
                    <a:pt x="3026" y="107"/>
                    <a:pt x="3026" y="107"/>
                  </a:cubicBezTo>
                  <a:moveTo>
                    <a:pt x="3057" y="107"/>
                  </a:moveTo>
                  <a:cubicBezTo>
                    <a:pt x="3051" y="107"/>
                    <a:pt x="3047" y="112"/>
                    <a:pt x="3049" y="117"/>
                  </a:cubicBezTo>
                  <a:cubicBezTo>
                    <a:pt x="3050" y="123"/>
                    <a:pt x="3056" y="128"/>
                    <a:pt x="3062" y="128"/>
                  </a:cubicBezTo>
                  <a:cubicBezTo>
                    <a:pt x="3067" y="128"/>
                    <a:pt x="3071" y="123"/>
                    <a:pt x="3070" y="117"/>
                  </a:cubicBezTo>
                  <a:cubicBezTo>
                    <a:pt x="3069" y="112"/>
                    <a:pt x="3063" y="107"/>
                    <a:pt x="3057" y="107"/>
                  </a:cubicBezTo>
                  <a:cubicBezTo>
                    <a:pt x="3057" y="107"/>
                    <a:pt x="3057" y="107"/>
                    <a:pt x="3057" y="107"/>
                  </a:cubicBezTo>
                  <a:moveTo>
                    <a:pt x="3088" y="107"/>
                  </a:moveTo>
                  <a:cubicBezTo>
                    <a:pt x="3082" y="107"/>
                    <a:pt x="3078" y="111"/>
                    <a:pt x="3080" y="117"/>
                  </a:cubicBezTo>
                  <a:cubicBezTo>
                    <a:pt x="3081" y="123"/>
                    <a:pt x="3087" y="127"/>
                    <a:pt x="3093" y="127"/>
                  </a:cubicBezTo>
                  <a:cubicBezTo>
                    <a:pt x="3099" y="127"/>
                    <a:pt x="3103" y="123"/>
                    <a:pt x="3101" y="117"/>
                  </a:cubicBezTo>
                  <a:cubicBezTo>
                    <a:pt x="3100" y="111"/>
                    <a:pt x="3094" y="107"/>
                    <a:pt x="3088" y="107"/>
                  </a:cubicBezTo>
                  <a:cubicBezTo>
                    <a:pt x="3088" y="107"/>
                    <a:pt x="3088" y="107"/>
                    <a:pt x="3088" y="107"/>
                  </a:cubicBezTo>
                  <a:moveTo>
                    <a:pt x="3119" y="106"/>
                  </a:moveTo>
                  <a:cubicBezTo>
                    <a:pt x="3113" y="107"/>
                    <a:pt x="3109" y="111"/>
                    <a:pt x="3110" y="117"/>
                  </a:cubicBezTo>
                  <a:cubicBezTo>
                    <a:pt x="3112" y="122"/>
                    <a:pt x="3118" y="127"/>
                    <a:pt x="3123" y="127"/>
                  </a:cubicBezTo>
                  <a:cubicBezTo>
                    <a:pt x="3129" y="127"/>
                    <a:pt x="3133" y="122"/>
                    <a:pt x="3132" y="117"/>
                  </a:cubicBezTo>
                  <a:cubicBezTo>
                    <a:pt x="3130" y="111"/>
                    <a:pt x="3125" y="106"/>
                    <a:pt x="3119" y="106"/>
                  </a:cubicBezTo>
                  <a:cubicBezTo>
                    <a:pt x="3119" y="106"/>
                    <a:pt x="3119" y="106"/>
                    <a:pt x="3119" y="106"/>
                  </a:cubicBezTo>
                  <a:moveTo>
                    <a:pt x="3149" y="106"/>
                  </a:moveTo>
                  <a:cubicBezTo>
                    <a:pt x="3143" y="106"/>
                    <a:pt x="3140" y="111"/>
                    <a:pt x="3141" y="117"/>
                  </a:cubicBezTo>
                  <a:cubicBezTo>
                    <a:pt x="3142" y="122"/>
                    <a:pt x="3148" y="127"/>
                    <a:pt x="3154" y="127"/>
                  </a:cubicBezTo>
                  <a:cubicBezTo>
                    <a:pt x="3160" y="127"/>
                    <a:pt x="3164" y="122"/>
                    <a:pt x="3163" y="116"/>
                  </a:cubicBezTo>
                  <a:cubicBezTo>
                    <a:pt x="3161" y="111"/>
                    <a:pt x="3155" y="106"/>
                    <a:pt x="3149" y="106"/>
                  </a:cubicBezTo>
                  <a:cubicBezTo>
                    <a:pt x="3149" y="106"/>
                    <a:pt x="3149" y="106"/>
                    <a:pt x="3149" y="106"/>
                  </a:cubicBezTo>
                  <a:moveTo>
                    <a:pt x="3180" y="106"/>
                  </a:moveTo>
                  <a:cubicBezTo>
                    <a:pt x="3174" y="106"/>
                    <a:pt x="3170" y="111"/>
                    <a:pt x="3172" y="116"/>
                  </a:cubicBezTo>
                  <a:cubicBezTo>
                    <a:pt x="3173" y="122"/>
                    <a:pt x="3179" y="126"/>
                    <a:pt x="3185" y="126"/>
                  </a:cubicBezTo>
                  <a:cubicBezTo>
                    <a:pt x="3191" y="126"/>
                    <a:pt x="3195" y="122"/>
                    <a:pt x="3193" y="116"/>
                  </a:cubicBezTo>
                  <a:cubicBezTo>
                    <a:pt x="3192" y="110"/>
                    <a:pt x="3186" y="106"/>
                    <a:pt x="3180" y="106"/>
                  </a:cubicBezTo>
                  <a:cubicBezTo>
                    <a:pt x="3180" y="106"/>
                    <a:pt x="3180" y="106"/>
                    <a:pt x="3180" y="106"/>
                  </a:cubicBezTo>
                  <a:moveTo>
                    <a:pt x="3211" y="106"/>
                  </a:moveTo>
                  <a:cubicBezTo>
                    <a:pt x="3205" y="106"/>
                    <a:pt x="3201" y="110"/>
                    <a:pt x="3203" y="116"/>
                  </a:cubicBezTo>
                  <a:cubicBezTo>
                    <a:pt x="3204" y="122"/>
                    <a:pt x="3210" y="126"/>
                    <a:pt x="3216" y="126"/>
                  </a:cubicBezTo>
                  <a:cubicBezTo>
                    <a:pt x="3222" y="126"/>
                    <a:pt x="3226" y="121"/>
                    <a:pt x="3224" y="116"/>
                  </a:cubicBezTo>
                  <a:cubicBezTo>
                    <a:pt x="3223" y="110"/>
                    <a:pt x="3217" y="106"/>
                    <a:pt x="3211" y="106"/>
                  </a:cubicBezTo>
                  <a:cubicBezTo>
                    <a:pt x="3211" y="106"/>
                    <a:pt x="3211" y="106"/>
                    <a:pt x="3211" y="106"/>
                  </a:cubicBezTo>
                  <a:moveTo>
                    <a:pt x="3242" y="105"/>
                  </a:moveTo>
                  <a:cubicBezTo>
                    <a:pt x="3236" y="105"/>
                    <a:pt x="3233" y="110"/>
                    <a:pt x="3235" y="116"/>
                  </a:cubicBezTo>
                  <a:cubicBezTo>
                    <a:pt x="3236" y="121"/>
                    <a:pt x="3242" y="126"/>
                    <a:pt x="3248" y="126"/>
                  </a:cubicBezTo>
                  <a:cubicBezTo>
                    <a:pt x="3254" y="126"/>
                    <a:pt x="3258" y="121"/>
                    <a:pt x="3256" y="115"/>
                  </a:cubicBezTo>
                  <a:cubicBezTo>
                    <a:pt x="3254" y="110"/>
                    <a:pt x="3248" y="105"/>
                    <a:pt x="3243" y="105"/>
                  </a:cubicBezTo>
                  <a:cubicBezTo>
                    <a:pt x="3242" y="105"/>
                    <a:pt x="3242" y="105"/>
                    <a:pt x="3242" y="105"/>
                  </a:cubicBezTo>
                  <a:moveTo>
                    <a:pt x="3273" y="105"/>
                  </a:moveTo>
                  <a:cubicBezTo>
                    <a:pt x="3267" y="105"/>
                    <a:pt x="3263" y="110"/>
                    <a:pt x="3265" y="115"/>
                  </a:cubicBezTo>
                  <a:cubicBezTo>
                    <a:pt x="3267" y="121"/>
                    <a:pt x="3273" y="126"/>
                    <a:pt x="3279" y="126"/>
                  </a:cubicBezTo>
                  <a:cubicBezTo>
                    <a:pt x="3285" y="125"/>
                    <a:pt x="3288" y="121"/>
                    <a:pt x="3287" y="115"/>
                  </a:cubicBezTo>
                  <a:cubicBezTo>
                    <a:pt x="3285" y="110"/>
                    <a:pt x="3279" y="105"/>
                    <a:pt x="3273" y="105"/>
                  </a:cubicBezTo>
                  <a:cubicBezTo>
                    <a:pt x="3273" y="105"/>
                    <a:pt x="3273" y="105"/>
                    <a:pt x="3273" y="105"/>
                  </a:cubicBezTo>
                  <a:moveTo>
                    <a:pt x="3303" y="105"/>
                  </a:moveTo>
                  <a:cubicBezTo>
                    <a:pt x="3297" y="105"/>
                    <a:pt x="3294" y="109"/>
                    <a:pt x="3296" y="115"/>
                  </a:cubicBezTo>
                  <a:cubicBezTo>
                    <a:pt x="3297" y="121"/>
                    <a:pt x="3303" y="125"/>
                    <a:pt x="3309" y="125"/>
                  </a:cubicBezTo>
                  <a:cubicBezTo>
                    <a:pt x="3315" y="125"/>
                    <a:pt x="3319" y="121"/>
                    <a:pt x="3317" y="115"/>
                  </a:cubicBezTo>
                  <a:cubicBezTo>
                    <a:pt x="3315" y="109"/>
                    <a:pt x="3309" y="105"/>
                    <a:pt x="3303" y="105"/>
                  </a:cubicBezTo>
                  <a:cubicBezTo>
                    <a:pt x="3303" y="105"/>
                    <a:pt x="3303" y="105"/>
                    <a:pt x="3303" y="105"/>
                  </a:cubicBezTo>
                  <a:moveTo>
                    <a:pt x="3334" y="104"/>
                  </a:moveTo>
                  <a:cubicBezTo>
                    <a:pt x="3328" y="104"/>
                    <a:pt x="3324" y="109"/>
                    <a:pt x="3326" y="115"/>
                  </a:cubicBezTo>
                  <a:cubicBezTo>
                    <a:pt x="3328" y="120"/>
                    <a:pt x="3334" y="125"/>
                    <a:pt x="3340" y="125"/>
                  </a:cubicBezTo>
                  <a:cubicBezTo>
                    <a:pt x="3346" y="125"/>
                    <a:pt x="3349" y="120"/>
                    <a:pt x="3348" y="115"/>
                  </a:cubicBezTo>
                  <a:cubicBezTo>
                    <a:pt x="3346" y="109"/>
                    <a:pt x="3340" y="104"/>
                    <a:pt x="3334" y="104"/>
                  </a:cubicBezTo>
                  <a:cubicBezTo>
                    <a:pt x="3334" y="104"/>
                    <a:pt x="3334" y="104"/>
                    <a:pt x="3334" y="104"/>
                  </a:cubicBezTo>
                  <a:moveTo>
                    <a:pt x="3364" y="104"/>
                  </a:moveTo>
                  <a:cubicBezTo>
                    <a:pt x="3358" y="104"/>
                    <a:pt x="3355" y="109"/>
                    <a:pt x="3357" y="114"/>
                  </a:cubicBezTo>
                  <a:cubicBezTo>
                    <a:pt x="3359" y="120"/>
                    <a:pt x="3365" y="125"/>
                    <a:pt x="3371" y="125"/>
                  </a:cubicBezTo>
                  <a:cubicBezTo>
                    <a:pt x="3377" y="125"/>
                    <a:pt x="3380" y="120"/>
                    <a:pt x="3378" y="114"/>
                  </a:cubicBezTo>
                  <a:cubicBezTo>
                    <a:pt x="3377" y="109"/>
                    <a:pt x="3370" y="104"/>
                    <a:pt x="3364" y="104"/>
                  </a:cubicBezTo>
                  <a:cubicBezTo>
                    <a:pt x="3364" y="104"/>
                    <a:pt x="3364" y="104"/>
                    <a:pt x="3364" y="104"/>
                  </a:cubicBezTo>
                  <a:moveTo>
                    <a:pt x="3395" y="104"/>
                  </a:moveTo>
                  <a:cubicBezTo>
                    <a:pt x="3389" y="104"/>
                    <a:pt x="3386" y="108"/>
                    <a:pt x="3388" y="114"/>
                  </a:cubicBezTo>
                  <a:cubicBezTo>
                    <a:pt x="3390" y="120"/>
                    <a:pt x="3396" y="124"/>
                    <a:pt x="3402" y="124"/>
                  </a:cubicBezTo>
                  <a:cubicBezTo>
                    <a:pt x="3408" y="124"/>
                    <a:pt x="3412" y="120"/>
                    <a:pt x="3410" y="114"/>
                  </a:cubicBezTo>
                  <a:cubicBezTo>
                    <a:pt x="3408" y="108"/>
                    <a:pt x="3401" y="104"/>
                    <a:pt x="3395" y="104"/>
                  </a:cubicBezTo>
                  <a:cubicBezTo>
                    <a:pt x="3395" y="104"/>
                    <a:pt x="3395" y="104"/>
                    <a:pt x="3395" y="104"/>
                  </a:cubicBezTo>
                  <a:moveTo>
                    <a:pt x="3426" y="103"/>
                  </a:moveTo>
                  <a:cubicBezTo>
                    <a:pt x="3420" y="104"/>
                    <a:pt x="3417" y="108"/>
                    <a:pt x="3419" y="114"/>
                  </a:cubicBezTo>
                  <a:cubicBezTo>
                    <a:pt x="3421" y="120"/>
                    <a:pt x="3427" y="124"/>
                    <a:pt x="3433" y="124"/>
                  </a:cubicBezTo>
                  <a:cubicBezTo>
                    <a:pt x="3439" y="124"/>
                    <a:pt x="3442" y="119"/>
                    <a:pt x="3440" y="114"/>
                  </a:cubicBezTo>
                  <a:cubicBezTo>
                    <a:pt x="3438" y="108"/>
                    <a:pt x="3432" y="103"/>
                    <a:pt x="3426" y="103"/>
                  </a:cubicBezTo>
                  <a:cubicBezTo>
                    <a:pt x="3426" y="103"/>
                    <a:pt x="3426" y="103"/>
                    <a:pt x="3426" y="103"/>
                  </a:cubicBezTo>
                  <a:moveTo>
                    <a:pt x="3550" y="102"/>
                  </a:moveTo>
                  <a:cubicBezTo>
                    <a:pt x="3544" y="102"/>
                    <a:pt x="3541" y="106"/>
                    <a:pt x="3543" y="112"/>
                  </a:cubicBezTo>
                  <a:cubicBezTo>
                    <a:pt x="3545" y="118"/>
                    <a:pt x="3552" y="122"/>
                    <a:pt x="3558" y="122"/>
                  </a:cubicBezTo>
                  <a:cubicBezTo>
                    <a:pt x="3564" y="122"/>
                    <a:pt x="3567" y="117"/>
                    <a:pt x="3565" y="112"/>
                  </a:cubicBezTo>
                  <a:cubicBezTo>
                    <a:pt x="3562" y="106"/>
                    <a:pt x="3556" y="102"/>
                    <a:pt x="3550" y="102"/>
                  </a:cubicBezTo>
                  <a:cubicBezTo>
                    <a:pt x="3550" y="102"/>
                    <a:pt x="3550" y="102"/>
                    <a:pt x="3550" y="102"/>
                  </a:cubicBezTo>
                  <a:moveTo>
                    <a:pt x="3580" y="101"/>
                  </a:moveTo>
                  <a:cubicBezTo>
                    <a:pt x="3574" y="101"/>
                    <a:pt x="3571" y="106"/>
                    <a:pt x="3573" y="112"/>
                  </a:cubicBezTo>
                  <a:cubicBezTo>
                    <a:pt x="3576" y="117"/>
                    <a:pt x="3582" y="122"/>
                    <a:pt x="3588" y="122"/>
                  </a:cubicBezTo>
                  <a:cubicBezTo>
                    <a:pt x="3594" y="122"/>
                    <a:pt x="3597" y="117"/>
                    <a:pt x="3595" y="111"/>
                  </a:cubicBezTo>
                  <a:cubicBezTo>
                    <a:pt x="3593" y="106"/>
                    <a:pt x="3586" y="101"/>
                    <a:pt x="3580" y="101"/>
                  </a:cubicBezTo>
                  <a:cubicBezTo>
                    <a:pt x="3580" y="101"/>
                    <a:pt x="3580" y="101"/>
                    <a:pt x="3580" y="101"/>
                  </a:cubicBezTo>
                  <a:moveTo>
                    <a:pt x="3610" y="101"/>
                  </a:moveTo>
                  <a:cubicBezTo>
                    <a:pt x="3604" y="101"/>
                    <a:pt x="3602" y="106"/>
                    <a:pt x="3604" y="111"/>
                  </a:cubicBezTo>
                  <a:cubicBezTo>
                    <a:pt x="3606" y="117"/>
                    <a:pt x="3613" y="122"/>
                    <a:pt x="3619" y="122"/>
                  </a:cubicBezTo>
                  <a:cubicBezTo>
                    <a:pt x="3625" y="121"/>
                    <a:pt x="3628" y="117"/>
                    <a:pt x="3625" y="111"/>
                  </a:cubicBezTo>
                  <a:cubicBezTo>
                    <a:pt x="3623" y="105"/>
                    <a:pt x="3616" y="101"/>
                    <a:pt x="3610" y="101"/>
                  </a:cubicBezTo>
                  <a:cubicBezTo>
                    <a:pt x="3610" y="101"/>
                    <a:pt x="3610" y="101"/>
                    <a:pt x="3610" y="101"/>
                  </a:cubicBezTo>
                  <a:moveTo>
                    <a:pt x="1621" y="91"/>
                  </a:moveTo>
                  <a:cubicBezTo>
                    <a:pt x="1615" y="91"/>
                    <a:pt x="1609" y="96"/>
                    <a:pt x="1607" y="101"/>
                  </a:cubicBezTo>
                  <a:cubicBezTo>
                    <a:pt x="1605" y="107"/>
                    <a:pt x="1608" y="111"/>
                    <a:pt x="1614" y="111"/>
                  </a:cubicBezTo>
                  <a:cubicBezTo>
                    <a:pt x="1620" y="111"/>
                    <a:pt x="1626" y="107"/>
                    <a:pt x="1628" y="101"/>
                  </a:cubicBezTo>
                  <a:cubicBezTo>
                    <a:pt x="1630" y="95"/>
                    <a:pt x="1627" y="91"/>
                    <a:pt x="1621" y="91"/>
                  </a:cubicBezTo>
                  <a:cubicBezTo>
                    <a:pt x="1621" y="91"/>
                    <a:pt x="1621" y="91"/>
                    <a:pt x="1621" y="91"/>
                  </a:cubicBezTo>
                  <a:moveTo>
                    <a:pt x="1652" y="91"/>
                  </a:moveTo>
                  <a:cubicBezTo>
                    <a:pt x="1646" y="91"/>
                    <a:pt x="1640" y="95"/>
                    <a:pt x="1638" y="101"/>
                  </a:cubicBezTo>
                  <a:cubicBezTo>
                    <a:pt x="1636" y="107"/>
                    <a:pt x="1639" y="111"/>
                    <a:pt x="1645" y="111"/>
                  </a:cubicBezTo>
                  <a:cubicBezTo>
                    <a:pt x="1651" y="111"/>
                    <a:pt x="1657" y="106"/>
                    <a:pt x="1659" y="101"/>
                  </a:cubicBezTo>
                  <a:cubicBezTo>
                    <a:pt x="1661" y="95"/>
                    <a:pt x="1658" y="91"/>
                    <a:pt x="1652" y="91"/>
                  </a:cubicBezTo>
                  <a:cubicBezTo>
                    <a:pt x="1652" y="91"/>
                    <a:pt x="1652" y="91"/>
                    <a:pt x="1652" y="91"/>
                  </a:cubicBezTo>
                  <a:moveTo>
                    <a:pt x="1682" y="90"/>
                  </a:moveTo>
                  <a:cubicBezTo>
                    <a:pt x="1676" y="90"/>
                    <a:pt x="1670" y="95"/>
                    <a:pt x="1668" y="101"/>
                  </a:cubicBezTo>
                  <a:cubicBezTo>
                    <a:pt x="1666" y="106"/>
                    <a:pt x="1670" y="111"/>
                    <a:pt x="1676" y="111"/>
                  </a:cubicBezTo>
                  <a:cubicBezTo>
                    <a:pt x="1682" y="111"/>
                    <a:pt x="1688" y="106"/>
                    <a:pt x="1690" y="100"/>
                  </a:cubicBezTo>
                  <a:cubicBezTo>
                    <a:pt x="1691" y="95"/>
                    <a:pt x="1688" y="90"/>
                    <a:pt x="1682" y="90"/>
                  </a:cubicBezTo>
                  <a:cubicBezTo>
                    <a:pt x="1682" y="90"/>
                    <a:pt x="1682" y="90"/>
                    <a:pt x="1682" y="90"/>
                  </a:cubicBezTo>
                  <a:moveTo>
                    <a:pt x="1713" y="90"/>
                  </a:moveTo>
                  <a:cubicBezTo>
                    <a:pt x="1707" y="90"/>
                    <a:pt x="1701" y="95"/>
                    <a:pt x="1699" y="100"/>
                  </a:cubicBezTo>
                  <a:cubicBezTo>
                    <a:pt x="1697" y="106"/>
                    <a:pt x="1700" y="110"/>
                    <a:pt x="1706" y="110"/>
                  </a:cubicBezTo>
                  <a:cubicBezTo>
                    <a:pt x="1712" y="110"/>
                    <a:pt x="1718" y="106"/>
                    <a:pt x="1720" y="100"/>
                  </a:cubicBezTo>
                  <a:cubicBezTo>
                    <a:pt x="1722" y="95"/>
                    <a:pt x="1719" y="90"/>
                    <a:pt x="1713" y="90"/>
                  </a:cubicBezTo>
                  <a:cubicBezTo>
                    <a:pt x="1713" y="90"/>
                    <a:pt x="1713" y="90"/>
                    <a:pt x="1713" y="90"/>
                  </a:cubicBezTo>
                  <a:moveTo>
                    <a:pt x="1743" y="90"/>
                  </a:moveTo>
                  <a:cubicBezTo>
                    <a:pt x="1737" y="90"/>
                    <a:pt x="1731" y="94"/>
                    <a:pt x="1729" y="100"/>
                  </a:cubicBezTo>
                  <a:cubicBezTo>
                    <a:pt x="1727" y="106"/>
                    <a:pt x="1731" y="110"/>
                    <a:pt x="1737" y="110"/>
                  </a:cubicBezTo>
                  <a:cubicBezTo>
                    <a:pt x="1743" y="110"/>
                    <a:pt x="1749" y="105"/>
                    <a:pt x="1751" y="100"/>
                  </a:cubicBezTo>
                  <a:cubicBezTo>
                    <a:pt x="1752" y="94"/>
                    <a:pt x="1749" y="90"/>
                    <a:pt x="1743" y="90"/>
                  </a:cubicBezTo>
                  <a:cubicBezTo>
                    <a:pt x="1743" y="90"/>
                    <a:pt x="1743" y="90"/>
                    <a:pt x="1743" y="90"/>
                  </a:cubicBezTo>
                  <a:moveTo>
                    <a:pt x="1773" y="89"/>
                  </a:moveTo>
                  <a:cubicBezTo>
                    <a:pt x="1768" y="90"/>
                    <a:pt x="1761" y="94"/>
                    <a:pt x="1760" y="100"/>
                  </a:cubicBezTo>
                  <a:cubicBezTo>
                    <a:pt x="1758" y="105"/>
                    <a:pt x="1762" y="110"/>
                    <a:pt x="1768" y="110"/>
                  </a:cubicBezTo>
                  <a:cubicBezTo>
                    <a:pt x="1774" y="110"/>
                    <a:pt x="1780" y="105"/>
                    <a:pt x="1781" y="100"/>
                  </a:cubicBezTo>
                  <a:cubicBezTo>
                    <a:pt x="1783" y="94"/>
                    <a:pt x="1779" y="89"/>
                    <a:pt x="1774" y="89"/>
                  </a:cubicBezTo>
                  <a:cubicBezTo>
                    <a:pt x="1774" y="89"/>
                    <a:pt x="1774" y="89"/>
                    <a:pt x="1773" y="89"/>
                  </a:cubicBezTo>
                  <a:moveTo>
                    <a:pt x="1805" y="89"/>
                  </a:moveTo>
                  <a:cubicBezTo>
                    <a:pt x="1799" y="89"/>
                    <a:pt x="1793" y="94"/>
                    <a:pt x="1791" y="99"/>
                  </a:cubicBezTo>
                  <a:cubicBezTo>
                    <a:pt x="1790" y="105"/>
                    <a:pt x="1793" y="110"/>
                    <a:pt x="1799" y="109"/>
                  </a:cubicBezTo>
                  <a:cubicBezTo>
                    <a:pt x="1805" y="109"/>
                    <a:pt x="1811" y="105"/>
                    <a:pt x="1813" y="99"/>
                  </a:cubicBezTo>
                  <a:cubicBezTo>
                    <a:pt x="1814" y="94"/>
                    <a:pt x="1811" y="89"/>
                    <a:pt x="1805" y="89"/>
                  </a:cubicBezTo>
                  <a:cubicBezTo>
                    <a:pt x="1805" y="89"/>
                    <a:pt x="1805" y="89"/>
                    <a:pt x="1805" y="89"/>
                  </a:cubicBezTo>
                  <a:moveTo>
                    <a:pt x="1835" y="89"/>
                  </a:moveTo>
                  <a:cubicBezTo>
                    <a:pt x="1829" y="89"/>
                    <a:pt x="1823" y="93"/>
                    <a:pt x="1822" y="99"/>
                  </a:cubicBezTo>
                  <a:cubicBezTo>
                    <a:pt x="1820" y="105"/>
                    <a:pt x="1824" y="109"/>
                    <a:pt x="1830" y="109"/>
                  </a:cubicBezTo>
                  <a:cubicBezTo>
                    <a:pt x="1836" y="109"/>
                    <a:pt x="1842" y="105"/>
                    <a:pt x="1843" y="99"/>
                  </a:cubicBezTo>
                  <a:cubicBezTo>
                    <a:pt x="1845" y="93"/>
                    <a:pt x="1841" y="89"/>
                    <a:pt x="1835" y="89"/>
                  </a:cubicBezTo>
                  <a:cubicBezTo>
                    <a:pt x="1835" y="89"/>
                    <a:pt x="1835" y="89"/>
                    <a:pt x="1835" y="89"/>
                  </a:cubicBezTo>
                  <a:moveTo>
                    <a:pt x="1866" y="89"/>
                  </a:moveTo>
                  <a:cubicBezTo>
                    <a:pt x="1860" y="89"/>
                    <a:pt x="1854" y="93"/>
                    <a:pt x="1852" y="99"/>
                  </a:cubicBezTo>
                  <a:cubicBezTo>
                    <a:pt x="1851" y="104"/>
                    <a:pt x="1855" y="109"/>
                    <a:pt x="1861" y="109"/>
                  </a:cubicBezTo>
                  <a:cubicBezTo>
                    <a:pt x="1867" y="109"/>
                    <a:pt x="1872" y="104"/>
                    <a:pt x="1874" y="99"/>
                  </a:cubicBezTo>
                  <a:cubicBezTo>
                    <a:pt x="1875" y="93"/>
                    <a:pt x="1872" y="89"/>
                    <a:pt x="1866" y="89"/>
                  </a:cubicBezTo>
                  <a:cubicBezTo>
                    <a:pt x="1866" y="89"/>
                    <a:pt x="1866" y="89"/>
                    <a:pt x="1866" y="89"/>
                  </a:cubicBezTo>
                  <a:moveTo>
                    <a:pt x="1897" y="88"/>
                  </a:moveTo>
                  <a:cubicBezTo>
                    <a:pt x="1891" y="88"/>
                    <a:pt x="1885" y="93"/>
                    <a:pt x="1883" y="99"/>
                  </a:cubicBezTo>
                  <a:cubicBezTo>
                    <a:pt x="1882" y="104"/>
                    <a:pt x="1886" y="109"/>
                    <a:pt x="1892" y="109"/>
                  </a:cubicBezTo>
                  <a:cubicBezTo>
                    <a:pt x="1898" y="109"/>
                    <a:pt x="1903" y="104"/>
                    <a:pt x="1905" y="98"/>
                  </a:cubicBezTo>
                  <a:cubicBezTo>
                    <a:pt x="1906" y="93"/>
                    <a:pt x="1902" y="88"/>
                    <a:pt x="1897" y="88"/>
                  </a:cubicBezTo>
                  <a:cubicBezTo>
                    <a:pt x="1897" y="88"/>
                    <a:pt x="1897" y="88"/>
                    <a:pt x="1897" y="88"/>
                  </a:cubicBezTo>
                  <a:moveTo>
                    <a:pt x="1927" y="88"/>
                  </a:moveTo>
                  <a:cubicBezTo>
                    <a:pt x="1921" y="88"/>
                    <a:pt x="1915" y="93"/>
                    <a:pt x="1914" y="98"/>
                  </a:cubicBezTo>
                  <a:cubicBezTo>
                    <a:pt x="1912" y="104"/>
                    <a:pt x="1916" y="108"/>
                    <a:pt x="1922" y="108"/>
                  </a:cubicBezTo>
                  <a:cubicBezTo>
                    <a:pt x="1928" y="108"/>
                    <a:pt x="1934" y="104"/>
                    <a:pt x="1935" y="98"/>
                  </a:cubicBezTo>
                  <a:cubicBezTo>
                    <a:pt x="1936" y="92"/>
                    <a:pt x="1933" y="88"/>
                    <a:pt x="1927" y="88"/>
                  </a:cubicBezTo>
                  <a:cubicBezTo>
                    <a:pt x="1927" y="88"/>
                    <a:pt x="1927" y="88"/>
                    <a:pt x="1927" y="88"/>
                  </a:cubicBezTo>
                  <a:moveTo>
                    <a:pt x="2688" y="79"/>
                  </a:moveTo>
                  <a:cubicBezTo>
                    <a:pt x="2682" y="79"/>
                    <a:pt x="2678" y="84"/>
                    <a:pt x="2678" y="90"/>
                  </a:cubicBezTo>
                  <a:cubicBezTo>
                    <a:pt x="2678" y="95"/>
                    <a:pt x="2683" y="100"/>
                    <a:pt x="2689" y="100"/>
                  </a:cubicBezTo>
                  <a:cubicBezTo>
                    <a:pt x="2695" y="100"/>
                    <a:pt x="2700" y="95"/>
                    <a:pt x="2699" y="89"/>
                  </a:cubicBezTo>
                  <a:cubicBezTo>
                    <a:pt x="2699" y="84"/>
                    <a:pt x="2694" y="79"/>
                    <a:pt x="2688" y="79"/>
                  </a:cubicBezTo>
                  <a:cubicBezTo>
                    <a:pt x="2688" y="79"/>
                    <a:pt x="2688" y="79"/>
                    <a:pt x="2688" y="79"/>
                  </a:cubicBezTo>
                  <a:moveTo>
                    <a:pt x="2718" y="79"/>
                  </a:moveTo>
                  <a:cubicBezTo>
                    <a:pt x="2712" y="79"/>
                    <a:pt x="2708" y="84"/>
                    <a:pt x="2708" y="89"/>
                  </a:cubicBezTo>
                  <a:cubicBezTo>
                    <a:pt x="2709" y="95"/>
                    <a:pt x="2714" y="99"/>
                    <a:pt x="2720" y="99"/>
                  </a:cubicBezTo>
                  <a:cubicBezTo>
                    <a:pt x="2726" y="99"/>
                    <a:pt x="2730" y="95"/>
                    <a:pt x="2730" y="89"/>
                  </a:cubicBezTo>
                  <a:cubicBezTo>
                    <a:pt x="2729" y="83"/>
                    <a:pt x="2724" y="79"/>
                    <a:pt x="2718" y="79"/>
                  </a:cubicBezTo>
                  <a:cubicBezTo>
                    <a:pt x="2718" y="79"/>
                    <a:pt x="2718" y="79"/>
                    <a:pt x="2718" y="79"/>
                  </a:cubicBezTo>
                  <a:moveTo>
                    <a:pt x="2990" y="78"/>
                  </a:moveTo>
                  <a:cubicBezTo>
                    <a:pt x="2985" y="78"/>
                    <a:pt x="2981" y="83"/>
                    <a:pt x="2982" y="88"/>
                  </a:cubicBezTo>
                  <a:cubicBezTo>
                    <a:pt x="2983" y="94"/>
                    <a:pt x="2988" y="99"/>
                    <a:pt x="2994" y="99"/>
                  </a:cubicBezTo>
                  <a:cubicBezTo>
                    <a:pt x="3000" y="99"/>
                    <a:pt x="3004" y="94"/>
                    <a:pt x="3003" y="88"/>
                  </a:cubicBezTo>
                  <a:cubicBezTo>
                    <a:pt x="3002" y="83"/>
                    <a:pt x="2996" y="78"/>
                    <a:pt x="2990" y="78"/>
                  </a:cubicBezTo>
                  <a:cubicBezTo>
                    <a:pt x="2990" y="78"/>
                    <a:pt x="2990" y="78"/>
                    <a:pt x="2990" y="78"/>
                  </a:cubicBezTo>
                  <a:moveTo>
                    <a:pt x="3021" y="78"/>
                  </a:moveTo>
                  <a:cubicBezTo>
                    <a:pt x="3015" y="78"/>
                    <a:pt x="3011" y="82"/>
                    <a:pt x="3012" y="88"/>
                  </a:cubicBezTo>
                  <a:cubicBezTo>
                    <a:pt x="3013" y="94"/>
                    <a:pt x="3019" y="98"/>
                    <a:pt x="3025" y="98"/>
                  </a:cubicBezTo>
                  <a:cubicBezTo>
                    <a:pt x="3030" y="98"/>
                    <a:pt x="3034" y="94"/>
                    <a:pt x="3033" y="88"/>
                  </a:cubicBezTo>
                  <a:cubicBezTo>
                    <a:pt x="3032" y="82"/>
                    <a:pt x="3026" y="78"/>
                    <a:pt x="3021" y="78"/>
                  </a:cubicBezTo>
                  <a:cubicBezTo>
                    <a:pt x="3021" y="78"/>
                    <a:pt x="3021" y="78"/>
                    <a:pt x="3021" y="78"/>
                  </a:cubicBezTo>
                  <a:moveTo>
                    <a:pt x="3051" y="77"/>
                  </a:moveTo>
                  <a:cubicBezTo>
                    <a:pt x="3045" y="78"/>
                    <a:pt x="3041" y="82"/>
                    <a:pt x="3042" y="88"/>
                  </a:cubicBezTo>
                  <a:cubicBezTo>
                    <a:pt x="3044" y="94"/>
                    <a:pt x="3049" y="98"/>
                    <a:pt x="3055" y="98"/>
                  </a:cubicBezTo>
                  <a:cubicBezTo>
                    <a:pt x="3061" y="98"/>
                    <a:pt x="3065" y="93"/>
                    <a:pt x="3064" y="88"/>
                  </a:cubicBezTo>
                  <a:cubicBezTo>
                    <a:pt x="3063" y="82"/>
                    <a:pt x="3057" y="77"/>
                    <a:pt x="3051" y="77"/>
                  </a:cubicBezTo>
                  <a:cubicBezTo>
                    <a:pt x="3051" y="77"/>
                    <a:pt x="3051" y="77"/>
                    <a:pt x="3051" y="77"/>
                  </a:cubicBezTo>
                  <a:moveTo>
                    <a:pt x="3082" y="77"/>
                  </a:moveTo>
                  <a:cubicBezTo>
                    <a:pt x="3076" y="77"/>
                    <a:pt x="3072" y="82"/>
                    <a:pt x="3073" y="88"/>
                  </a:cubicBezTo>
                  <a:cubicBezTo>
                    <a:pt x="3074" y="93"/>
                    <a:pt x="3080" y="98"/>
                    <a:pt x="3086" y="98"/>
                  </a:cubicBezTo>
                  <a:cubicBezTo>
                    <a:pt x="3092" y="98"/>
                    <a:pt x="3096" y="93"/>
                    <a:pt x="3095" y="87"/>
                  </a:cubicBezTo>
                  <a:cubicBezTo>
                    <a:pt x="3093" y="82"/>
                    <a:pt x="3088" y="77"/>
                    <a:pt x="3082" y="77"/>
                  </a:cubicBezTo>
                  <a:cubicBezTo>
                    <a:pt x="3082" y="77"/>
                    <a:pt x="3082" y="77"/>
                    <a:pt x="3082" y="77"/>
                  </a:cubicBezTo>
                  <a:moveTo>
                    <a:pt x="3112" y="77"/>
                  </a:moveTo>
                  <a:cubicBezTo>
                    <a:pt x="3106" y="77"/>
                    <a:pt x="3102" y="82"/>
                    <a:pt x="3103" y="87"/>
                  </a:cubicBezTo>
                  <a:cubicBezTo>
                    <a:pt x="3105" y="93"/>
                    <a:pt x="3111" y="97"/>
                    <a:pt x="3117" y="97"/>
                  </a:cubicBezTo>
                  <a:cubicBezTo>
                    <a:pt x="3122" y="97"/>
                    <a:pt x="3126" y="93"/>
                    <a:pt x="3125" y="87"/>
                  </a:cubicBezTo>
                  <a:cubicBezTo>
                    <a:pt x="3123" y="81"/>
                    <a:pt x="3118" y="77"/>
                    <a:pt x="3112" y="77"/>
                  </a:cubicBezTo>
                  <a:cubicBezTo>
                    <a:pt x="3112" y="77"/>
                    <a:pt x="3112" y="77"/>
                    <a:pt x="3112" y="77"/>
                  </a:cubicBezTo>
                  <a:moveTo>
                    <a:pt x="3142" y="77"/>
                  </a:moveTo>
                  <a:cubicBezTo>
                    <a:pt x="3136" y="77"/>
                    <a:pt x="3133" y="81"/>
                    <a:pt x="3134" y="87"/>
                  </a:cubicBezTo>
                  <a:cubicBezTo>
                    <a:pt x="3135" y="93"/>
                    <a:pt x="3141" y="97"/>
                    <a:pt x="3147" y="97"/>
                  </a:cubicBezTo>
                  <a:cubicBezTo>
                    <a:pt x="3153" y="97"/>
                    <a:pt x="3157" y="92"/>
                    <a:pt x="3155" y="87"/>
                  </a:cubicBezTo>
                  <a:cubicBezTo>
                    <a:pt x="3154" y="81"/>
                    <a:pt x="3148" y="77"/>
                    <a:pt x="3142" y="77"/>
                  </a:cubicBezTo>
                  <a:cubicBezTo>
                    <a:pt x="3142" y="77"/>
                    <a:pt x="3142" y="77"/>
                    <a:pt x="3142" y="77"/>
                  </a:cubicBezTo>
                  <a:moveTo>
                    <a:pt x="3172" y="76"/>
                  </a:moveTo>
                  <a:cubicBezTo>
                    <a:pt x="3166" y="76"/>
                    <a:pt x="3163" y="81"/>
                    <a:pt x="3164" y="87"/>
                  </a:cubicBezTo>
                  <a:cubicBezTo>
                    <a:pt x="3166" y="92"/>
                    <a:pt x="3172" y="97"/>
                    <a:pt x="3177" y="97"/>
                  </a:cubicBezTo>
                  <a:cubicBezTo>
                    <a:pt x="3183" y="97"/>
                    <a:pt x="3187" y="92"/>
                    <a:pt x="3185" y="86"/>
                  </a:cubicBezTo>
                  <a:cubicBezTo>
                    <a:pt x="3184" y="81"/>
                    <a:pt x="3178" y="76"/>
                    <a:pt x="3172" y="76"/>
                  </a:cubicBezTo>
                  <a:cubicBezTo>
                    <a:pt x="3172" y="76"/>
                    <a:pt x="3172" y="76"/>
                    <a:pt x="3172" y="76"/>
                  </a:cubicBezTo>
                  <a:moveTo>
                    <a:pt x="3536" y="66"/>
                  </a:moveTo>
                  <a:cubicBezTo>
                    <a:pt x="3530" y="66"/>
                    <a:pt x="3527" y="71"/>
                    <a:pt x="3529" y="77"/>
                  </a:cubicBezTo>
                  <a:cubicBezTo>
                    <a:pt x="3531" y="82"/>
                    <a:pt x="3538" y="87"/>
                    <a:pt x="3544" y="87"/>
                  </a:cubicBezTo>
                  <a:cubicBezTo>
                    <a:pt x="3550" y="87"/>
                    <a:pt x="3553" y="82"/>
                    <a:pt x="3550" y="77"/>
                  </a:cubicBezTo>
                  <a:cubicBezTo>
                    <a:pt x="3548" y="71"/>
                    <a:pt x="3542" y="66"/>
                    <a:pt x="3536" y="66"/>
                  </a:cubicBezTo>
                  <a:cubicBezTo>
                    <a:pt x="3536" y="66"/>
                    <a:pt x="3536" y="66"/>
                    <a:pt x="3536" y="66"/>
                  </a:cubicBezTo>
                  <a:moveTo>
                    <a:pt x="1421" y="62"/>
                  </a:moveTo>
                  <a:cubicBezTo>
                    <a:pt x="1415" y="63"/>
                    <a:pt x="1408" y="67"/>
                    <a:pt x="1406" y="73"/>
                  </a:cubicBezTo>
                  <a:cubicBezTo>
                    <a:pt x="1403" y="78"/>
                    <a:pt x="1406" y="83"/>
                    <a:pt x="1412" y="83"/>
                  </a:cubicBezTo>
                  <a:cubicBezTo>
                    <a:pt x="1418" y="83"/>
                    <a:pt x="1424" y="78"/>
                    <a:pt x="1427" y="73"/>
                  </a:cubicBezTo>
                  <a:cubicBezTo>
                    <a:pt x="1429" y="67"/>
                    <a:pt x="1426" y="62"/>
                    <a:pt x="1421" y="62"/>
                  </a:cubicBezTo>
                  <a:cubicBezTo>
                    <a:pt x="1421" y="62"/>
                    <a:pt x="1421" y="62"/>
                    <a:pt x="1421" y="62"/>
                  </a:cubicBezTo>
                  <a:moveTo>
                    <a:pt x="1512" y="62"/>
                  </a:moveTo>
                  <a:cubicBezTo>
                    <a:pt x="1506" y="62"/>
                    <a:pt x="1499" y="66"/>
                    <a:pt x="1497" y="72"/>
                  </a:cubicBezTo>
                  <a:cubicBezTo>
                    <a:pt x="1495" y="77"/>
                    <a:pt x="1498" y="82"/>
                    <a:pt x="1504" y="82"/>
                  </a:cubicBezTo>
                  <a:cubicBezTo>
                    <a:pt x="1509" y="82"/>
                    <a:pt x="1516" y="77"/>
                    <a:pt x="1518" y="72"/>
                  </a:cubicBezTo>
                  <a:cubicBezTo>
                    <a:pt x="1520" y="66"/>
                    <a:pt x="1517" y="62"/>
                    <a:pt x="1512" y="62"/>
                  </a:cubicBezTo>
                  <a:cubicBezTo>
                    <a:pt x="1512" y="62"/>
                    <a:pt x="1512" y="62"/>
                    <a:pt x="1512" y="62"/>
                  </a:cubicBezTo>
                  <a:moveTo>
                    <a:pt x="1543" y="61"/>
                  </a:moveTo>
                  <a:cubicBezTo>
                    <a:pt x="1537" y="61"/>
                    <a:pt x="1531" y="66"/>
                    <a:pt x="1529" y="71"/>
                  </a:cubicBezTo>
                  <a:cubicBezTo>
                    <a:pt x="1527" y="77"/>
                    <a:pt x="1530" y="82"/>
                    <a:pt x="1535" y="82"/>
                  </a:cubicBezTo>
                  <a:cubicBezTo>
                    <a:pt x="1541" y="81"/>
                    <a:pt x="1548" y="77"/>
                    <a:pt x="1550" y="71"/>
                  </a:cubicBezTo>
                  <a:cubicBezTo>
                    <a:pt x="1552" y="66"/>
                    <a:pt x="1549" y="61"/>
                    <a:pt x="1543" y="61"/>
                  </a:cubicBezTo>
                  <a:cubicBezTo>
                    <a:pt x="1543" y="61"/>
                    <a:pt x="1543" y="61"/>
                    <a:pt x="1543" y="61"/>
                  </a:cubicBezTo>
                  <a:moveTo>
                    <a:pt x="1572" y="61"/>
                  </a:moveTo>
                  <a:cubicBezTo>
                    <a:pt x="1566" y="61"/>
                    <a:pt x="1559" y="66"/>
                    <a:pt x="1557" y="71"/>
                  </a:cubicBezTo>
                  <a:cubicBezTo>
                    <a:pt x="1555" y="77"/>
                    <a:pt x="1558" y="81"/>
                    <a:pt x="1564" y="81"/>
                  </a:cubicBezTo>
                  <a:cubicBezTo>
                    <a:pt x="1570" y="81"/>
                    <a:pt x="1576" y="77"/>
                    <a:pt x="1578" y="71"/>
                  </a:cubicBezTo>
                  <a:cubicBezTo>
                    <a:pt x="1580" y="65"/>
                    <a:pt x="1577" y="61"/>
                    <a:pt x="1572" y="61"/>
                  </a:cubicBezTo>
                  <a:cubicBezTo>
                    <a:pt x="1572" y="61"/>
                    <a:pt x="1572" y="61"/>
                    <a:pt x="1572" y="61"/>
                  </a:cubicBezTo>
                  <a:moveTo>
                    <a:pt x="1602" y="61"/>
                  </a:moveTo>
                  <a:cubicBezTo>
                    <a:pt x="1596" y="61"/>
                    <a:pt x="1589" y="65"/>
                    <a:pt x="1587" y="71"/>
                  </a:cubicBezTo>
                  <a:cubicBezTo>
                    <a:pt x="1585" y="77"/>
                    <a:pt x="1588" y="81"/>
                    <a:pt x="1594" y="81"/>
                  </a:cubicBezTo>
                  <a:cubicBezTo>
                    <a:pt x="1600" y="81"/>
                    <a:pt x="1606" y="76"/>
                    <a:pt x="1608" y="71"/>
                  </a:cubicBezTo>
                  <a:cubicBezTo>
                    <a:pt x="1610" y="65"/>
                    <a:pt x="1607" y="61"/>
                    <a:pt x="1602" y="61"/>
                  </a:cubicBezTo>
                  <a:cubicBezTo>
                    <a:pt x="1602" y="61"/>
                    <a:pt x="1602" y="61"/>
                    <a:pt x="1602" y="61"/>
                  </a:cubicBezTo>
                  <a:moveTo>
                    <a:pt x="1632" y="60"/>
                  </a:moveTo>
                  <a:cubicBezTo>
                    <a:pt x="1626" y="60"/>
                    <a:pt x="1620" y="65"/>
                    <a:pt x="1618" y="71"/>
                  </a:cubicBezTo>
                  <a:cubicBezTo>
                    <a:pt x="1616" y="76"/>
                    <a:pt x="1619" y="81"/>
                    <a:pt x="1625" y="81"/>
                  </a:cubicBezTo>
                  <a:cubicBezTo>
                    <a:pt x="1631" y="81"/>
                    <a:pt x="1637" y="76"/>
                    <a:pt x="1639" y="70"/>
                  </a:cubicBezTo>
                  <a:cubicBezTo>
                    <a:pt x="1641" y="65"/>
                    <a:pt x="1638" y="60"/>
                    <a:pt x="1632" y="60"/>
                  </a:cubicBezTo>
                  <a:cubicBezTo>
                    <a:pt x="1632" y="60"/>
                    <a:pt x="1632" y="60"/>
                    <a:pt x="1632" y="60"/>
                  </a:cubicBezTo>
                  <a:moveTo>
                    <a:pt x="1662" y="60"/>
                  </a:moveTo>
                  <a:cubicBezTo>
                    <a:pt x="1656" y="60"/>
                    <a:pt x="1650" y="65"/>
                    <a:pt x="1648" y="70"/>
                  </a:cubicBezTo>
                  <a:cubicBezTo>
                    <a:pt x="1646" y="76"/>
                    <a:pt x="1649" y="80"/>
                    <a:pt x="1655" y="80"/>
                  </a:cubicBezTo>
                  <a:cubicBezTo>
                    <a:pt x="1661" y="80"/>
                    <a:pt x="1667" y="76"/>
                    <a:pt x="1669" y="70"/>
                  </a:cubicBezTo>
                  <a:cubicBezTo>
                    <a:pt x="1671" y="64"/>
                    <a:pt x="1668" y="60"/>
                    <a:pt x="1662" y="60"/>
                  </a:cubicBezTo>
                  <a:cubicBezTo>
                    <a:pt x="1662" y="60"/>
                    <a:pt x="1662" y="60"/>
                    <a:pt x="1662" y="60"/>
                  </a:cubicBezTo>
                  <a:moveTo>
                    <a:pt x="1692" y="60"/>
                  </a:moveTo>
                  <a:cubicBezTo>
                    <a:pt x="1686" y="60"/>
                    <a:pt x="1680" y="64"/>
                    <a:pt x="1678" y="70"/>
                  </a:cubicBezTo>
                  <a:cubicBezTo>
                    <a:pt x="1676" y="76"/>
                    <a:pt x="1680" y="80"/>
                    <a:pt x="1686" y="80"/>
                  </a:cubicBezTo>
                  <a:cubicBezTo>
                    <a:pt x="1691" y="80"/>
                    <a:pt x="1698" y="75"/>
                    <a:pt x="1699" y="70"/>
                  </a:cubicBezTo>
                  <a:cubicBezTo>
                    <a:pt x="1701" y="64"/>
                    <a:pt x="1698" y="60"/>
                    <a:pt x="1692" y="60"/>
                  </a:cubicBezTo>
                  <a:cubicBezTo>
                    <a:pt x="1692" y="60"/>
                    <a:pt x="1692" y="60"/>
                    <a:pt x="1692" y="60"/>
                  </a:cubicBezTo>
                  <a:moveTo>
                    <a:pt x="1722" y="59"/>
                  </a:moveTo>
                  <a:cubicBezTo>
                    <a:pt x="1716" y="59"/>
                    <a:pt x="1710" y="64"/>
                    <a:pt x="1708" y="70"/>
                  </a:cubicBezTo>
                  <a:cubicBezTo>
                    <a:pt x="1707" y="75"/>
                    <a:pt x="1710" y="80"/>
                    <a:pt x="1716" y="80"/>
                  </a:cubicBezTo>
                  <a:cubicBezTo>
                    <a:pt x="1722" y="80"/>
                    <a:pt x="1728" y="75"/>
                    <a:pt x="1730" y="69"/>
                  </a:cubicBezTo>
                  <a:cubicBezTo>
                    <a:pt x="1731" y="64"/>
                    <a:pt x="1728" y="59"/>
                    <a:pt x="1722" y="59"/>
                  </a:cubicBezTo>
                  <a:cubicBezTo>
                    <a:pt x="1722" y="59"/>
                    <a:pt x="1722" y="59"/>
                    <a:pt x="1722" y="59"/>
                  </a:cubicBezTo>
                  <a:moveTo>
                    <a:pt x="1752" y="59"/>
                  </a:moveTo>
                  <a:cubicBezTo>
                    <a:pt x="1746" y="59"/>
                    <a:pt x="1740" y="64"/>
                    <a:pt x="1738" y="69"/>
                  </a:cubicBezTo>
                  <a:cubicBezTo>
                    <a:pt x="1737" y="75"/>
                    <a:pt x="1740" y="80"/>
                    <a:pt x="1746" y="79"/>
                  </a:cubicBezTo>
                  <a:cubicBezTo>
                    <a:pt x="1752" y="79"/>
                    <a:pt x="1758" y="75"/>
                    <a:pt x="1760" y="69"/>
                  </a:cubicBezTo>
                  <a:cubicBezTo>
                    <a:pt x="1761" y="64"/>
                    <a:pt x="1758" y="59"/>
                    <a:pt x="1752" y="59"/>
                  </a:cubicBezTo>
                  <a:cubicBezTo>
                    <a:pt x="1752" y="59"/>
                    <a:pt x="1752" y="59"/>
                    <a:pt x="1752" y="59"/>
                  </a:cubicBezTo>
                  <a:moveTo>
                    <a:pt x="1782" y="59"/>
                  </a:moveTo>
                  <a:cubicBezTo>
                    <a:pt x="1776" y="59"/>
                    <a:pt x="1770" y="63"/>
                    <a:pt x="1769" y="69"/>
                  </a:cubicBezTo>
                  <a:cubicBezTo>
                    <a:pt x="1767" y="75"/>
                    <a:pt x="1771" y="79"/>
                    <a:pt x="1776" y="79"/>
                  </a:cubicBezTo>
                  <a:cubicBezTo>
                    <a:pt x="1782" y="79"/>
                    <a:pt x="1788" y="74"/>
                    <a:pt x="1790" y="69"/>
                  </a:cubicBezTo>
                  <a:cubicBezTo>
                    <a:pt x="1792" y="63"/>
                    <a:pt x="1788" y="59"/>
                    <a:pt x="1782" y="59"/>
                  </a:cubicBezTo>
                  <a:cubicBezTo>
                    <a:pt x="1782" y="59"/>
                    <a:pt x="1782" y="59"/>
                    <a:pt x="1782" y="59"/>
                  </a:cubicBezTo>
                  <a:moveTo>
                    <a:pt x="1813" y="58"/>
                  </a:moveTo>
                  <a:cubicBezTo>
                    <a:pt x="1808" y="59"/>
                    <a:pt x="1802" y="63"/>
                    <a:pt x="1800" y="69"/>
                  </a:cubicBezTo>
                  <a:cubicBezTo>
                    <a:pt x="1798" y="74"/>
                    <a:pt x="1802" y="79"/>
                    <a:pt x="1808" y="79"/>
                  </a:cubicBezTo>
                  <a:cubicBezTo>
                    <a:pt x="1814" y="79"/>
                    <a:pt x="1820" y="74"/>
                    <a:pt x="1821" y="69"/>
                  </a:cubicBezTo>
                  <a:cubicBezTo>
                    <a:pt x="1823" y="63"/>
                    <a:pt x="1819" y="58"/>
                    <a:pt x="1813" y="58"/>
                  </a:cubicBezTo>
                  <a:cubicBezTo>
                    <a:pt x="1813" y="58"/>
                    <a:pt x="1813" y="58"/>
                    <a:pt x="1813" y="58"/>
                  </a:cubicBezTo>
                  <a:moveTo>
                    <a:pt x="1843" y="58"/>
                  </a:moveTo>
                  <a:cubicBezTo>
                    <a:pt x="1837" y="58"/>
                    <a:pt x="1832" y="63"/>
                    <a:pt x="1830" y="68"/>
                  </a:cubicBezTo>
                  <a:cubicBezTo>
                    <a:pt x="1829" y="74"/>
                    <a:pt x="1832" y="79"/>
                    <a:pt x="1838" y="79"/>
                  </a:cubicBezTo>
                  <a:cubicBezTo>
                    <a:pt x="1844" y="78"/>
                    <a:pt x="1850" y="74"/>
                    <a:pt x="1851" y="68"/>
                  </a:cubicBezTo>
                  <a:cubicBezTo>
                    <a:pt x="1853" y="63"/>
                    <a:pt x="1849" y="58"/>
                    <a:pt x="1843" y="58"/>
                  </a:cubicBezTo>
                  <a:cubicBezTo>
                    <a:pt x="1843" y="58"/>
                    <a:pt x="1843" y="58"/>
                    <a:pt x="1843" y="58"/>
                  </a:cubicBezTo>
                  <a:moveTo>
                    <a:pt x="1873" y="58"/>
                  </a:moveTo>
                  <a:cubicBezTo>
                    <a:pt x="1868" y="58"/>
                    <a:pt x="1862" y="63"/>
                    <a:pt x="1860" y="68"/>
                  </a:cubicBezTo>
                  <a:cubicBezTo>
                    <a:pt x="1859" y="74"/>
                    <a:pt x="1862" y="78"/>
                    <a:pt x="1868" y="78"/>
                  </a:cubicBezTo>
                  <a:cubicBezTo>
                    <a:pt x="1874" y="78"/>
                    <a:pt x="1880" y="74"/>
                    <a:pt x="1881" y="68"/>
                  </a:cubicBezTo>
                  <a:cubicBezTo>
                    <a:pt x="1883" y="62"/>
                    <a:pt x="1879" y="58"/>
                    <a:pt x="1874" y="58"/>
                  </a:cubicBezTo>
                  <a:cubicBezTo>
                    <a:pt x="1873" y="58"/>
                    <a:pt x="1873" y="58"/>
                    <a:pt x="1873" y="58"/>
                  </a:cubicBezTo>
                  <a:moveTo>
                    <a:pt x="1904" y="58"/>
                  </a:moveTo>
                  <a:cubicBezTo>
                    <a:pt x="1898" y="58"/>
                    <a:pt x="1892" y="62"/>
                    <a:pt x="1891" y="68"/>
                  </a:cubicBezTo>
                  <a:cubicBezTo>
                    <a:pt x="1889" y="73"/>
                    <a:pt x="1893" y="78"/>
                    <a:pt x="1899" y="78"/>
                  </a:cubicBezTo>
                  <a:cubicBezTo>
                    <a:pt x="1905" y="78"/>
                    <a:pt x="1911" y="73"/>
                    <a:pt x="1912" y="68"/>
                  </a:cubicBezTo>
                  <a:cubicBezTo>
                    <a:pt x="1913" y="62"/>
                    <a:pt x="1910" y="58"/>
                    <a:pt x="1904" y="58"/>
                  </a:cubicBezTo>
                  <a:cubicBezTo>
                    <a:pt x="1904" y="58"/>
                    <a:pt x="1904" y="58"/>
                    <a:pt x="1904" y="58"/>
                  </a:cubicBezTo>
                  <a:moveTo>
                    <a:pt x="1934" y="57"/>
                  </a:moveTo>
                  <a:cubicBezTo>
                    <a:pt x="1928" y="57"/>
                    <a:pt x="1922" y="62"/>
                    <a:pt x="1921" y="68"/>
                  </a:cubicBezTo>
                  <a:cubicBezTo>
                    <a:pt x="1920" y="73"/>
                    <a:pt x="1923" y="78"/>
                    <a:pt x="1929" y="78"/>
                  </a:cubicBezTo>
                  <a:cubicBezTo>
                    <a:pt x="1935" y="78"/>
                    <a:pt x="1941" y="73"/>
                    <a:pt x="1942" y="67"/>
                  </a:cubicBezTo>
                  <a:cubicBezTo>
                    <a:pt x="1943" y="62"/>
                    <a:pt x="1940" y="57"/>
                    <a:pt x="1934" y="57"/>
                  </a:cubicBezTo>
                  <a:cubicBezTo>
                    <a:pt x="1934" y="57"/>
                    <a:pt x="1934" y="57"/>
                    <a:pt x="1934" y="57"/>
                  </a:cubicBezTo>
                  <a:moveTo>
                    <a:pt x="1964" y="57"/>
                  </a:moveTo>
                  <a:cubicBezTo>
                    <a:pt x="1958" y="57"/>
                    <a:pt x="1952" y="62"/>
                    <a:pt x="1951" y="67"/>
                  </a:cubicBezTo>
                  <a:cubicBezTo>
                    <a:pt x="1950" y="73"/>
                    <a:pt x="1954" y="77"/>
                    <a:pt x="1959" y="77"/>
                  </a:cubicBezTo>
                  <a:cubicBezTo>
                    <a:pt x="1965" y="77"/>
                    <a:pt x="1971" y="73"/>
                    <a:pt x="1972" y="67"/>
                  </a:cubicBezTo>
                  <a:cubicBezTo>
                    <a:pt x="1973" y="61"/>
                    <a:pt x="1970" y="57"/>
                    <a:pt x="1964" y="57"/>
                  </a:cubicBezTo>
                  <a:cubicBezTo>
                    <a:pt x="1964" y="57"/>
                    <a:pt x="1964" y="57"/>
                    <a:pt x="1964" y="57"/>
                  </a:cubicBezTo>
                  <a:moveTo>
                    <a:pt x="2293" y="56"/>
                  </a:moveTo>
                  <a:cubicBezTo>
                    <a:pt x="2287" y="56"/>
                    <a:pt x="2282" y="61"/>
                    <a:pt x="2281" y="66"/>
                  </a:cubicBezTo>
                  <a:cubicBezTo>
                    <a:pt x="2281" y="72"/>
                    <a:pt x="2285" y="76"/>
                    <a:pt x="2291" y="76"/>
                  </a:cubicBezTo>
                  <a:cubicBezTo>
                    <a:pt x="2297" y="76"/>
                    <a:pt x="2302" y="72"/>
                    <a:pt x="2303" y="66"/>
                  </a:cubicBezTo>
                  <a:cubicBezTo>
                    <a:pt x="2303" y="60"/>
                    <a:pt x="2299" y="56"/>
                    <a:pt x="2293" y="56"/>
                  </a:cubicBezTo>
                  <a:cubicBezTo>
                    <a:pt x="2293" y="56"/>
                    <a:pt x="2293" y="56"/>
                    <a:pt x="2293" y="56"/>
                  </a:cubicBezTo>
                  <a:moveTo>
                    <a:pt x="2325" y="56"/>
                  </a:moveTo>
                  <a:cubicBezTo>
                    <a:pt x="2320" y="56"/>
                    <a:pt x="2315" y="60"/>
                    <a:pt x="2314" y="66"/>
                  </a:cubicBezTo>
                  <a:cubicBezTo>
                    <a:pt x="2314" y="72"/>
                    <a:pt x="2318" y="76"/>
                    <a:pt x="2324" y="76"/>
                  </a:cubicBezTo>
                  <a:cubicBezTo>
                    <a:pt x="2330" y="76"/>
                    <a:pt x="2335" y="71"/>
                    <a:pt x="2335" y="66"/>
                  </a:cubicBezTo>
                  <a:cubicBezTo>
                    <a:pt x="2336" y="60"/>
                    <a:pt x="2331" y="56"/>
                    <a:pt x="2326" y="56"/>
                  </a:cubicBezTo>
                  <a:cubicBezTo>
                    <a:pt x="2326" y="56"/>
                    <a:pt x="2326" y="56"/>
                    <a:pt x="2325" y="56"/>
                  </a:cubicBezTo>
                  <a:moveTo>
                    <a:pt x="2355" y="55"/>
                  </a:moveTo>
                  <a:cubicBezTo>
                    <a:pt x="2350" y="55"/>
                    <a:pt x="2345" y="60"/>
                    <a:pt x="2344" y="66"/>
                  </a:cubicBezTo>
                  <a:cubicBezTo>
                    <a:pt x="2344" y="71"/>
                    <a:pt x="2348" y="76"/>
                    <a:pt x="2354" y="76"/>
                  </a:cubicBezTo>
                  <a:cubicBezTo>
                    <a:pt x="2360" y="76"/>
                    <a:pt x="2365" y="71"/>
                    <a:pt x="2365" y="65"/>
                  </a:cubicBezTo>
                  <a:cubicBezTo>
                    <a:pt x="2366" y="60"/>
                    <a:pt x="2361" y="55"/>
                    <a:pt x="2356" y="55"/>
                  </a:cubicBezTo>
                  <a:cubicBezTo>
                    <a:pt x="2355" y="55"/>
                    <a:pt x="2355" y="55"/>
                    <a:pt x="2355" y="55"/>
                  </a:cubicBezTo>
                  <a:moveTo>
                    <a:pt x="2386" y="55"/>
                  </a:moveTo>
                  <a:cubicBezTo>
                    <a:pt x="2380" y="55"/>
                    <a:pt x="2375" y="60"/>
                    <a:pt x="2375" y="65"/>
                  </a:cubicBezTo>
                  <a:cubicBezTo>
                    <a:pt x="2375" y="71"/>
                    <a:pt x="2379" y="75"/>
                    <a:pt x="2385" y="75"/>
                  </a:cubicBezTo>
                  <a:cubicBezTo>
                    <a:pt x="2391" y="75"/>
                    <a:pt x="2396" y="71"/>
                    <a:pt x="2396" y="65"/>
                  </a:cubicBezTo>
                  <a:cubicBezTo>
                    <a:pt x="2396" y="59"/>
                    <a:pt x="2392" y="55"/>
                    <a:pt x="2386" y="55"/>
                  </a:cubicBezTo>
                  <a:cubicBezTo>
                    <a:pt x="2386" y="55"/>
                    <a:pt x="2386" y="55"/>
                    <a:pt x="2386" y="55"/>
                  </a:cubicBezTo>
                  <a:moveTo>
                    <a:pt x="3075" y="46"/>
                  </a:moveTo>
                  <a:cubicBezTo>
                    <a:pt x="3069" y="47"/>
                    <a:pt x="3065" y="51"/>
                    <a:pt x="3067" y="57"/>
                  </a:cubicBezTo>
                  <a:cubicBezTo>
                    <a:pt x="3068" y="63"/>
                    <a:pt x="3073" y="67"/>
                    <a:pt x="3079" y="67"/>
                  </a:cubicBezTo>
                  <a:cubicBezTo>
                    <a:pt x="3085" y="67"/>
                    <a:pt x="3089" y="62"/>
                    <a:pt x="3088" y="57"/>
                  </a:cubicBezTo>
                  <a:cubicBezTo>
                    <a:pt x="3086" y="51"/>
                    <a:pt x="3081" y="46"/>
                    <a:pt x="3075" y="46"/>
                  </a:cubicBezTo>
                  <a:cubicBezTo>
                    <a:pt x="3075" y="46"/>
                    <a:pt x="3075" y="46"/>
                    <a:pt x="3075" y="46"/>
                  </a:cubicBezTo>
                  <a:moveTo>
                    <a:pt x="3105" y="46"/>
                  </a:moveTo>
                  <a:cubicBezTo>
                    <a:pt x="3099" y="46"/>
                    <a:pt x="3095" y="51"/>
                    <a:pt x="3096" y="57"/>
                  </a:cubicBezTo>
                  <a:cubicBezTo>
                    <a:pt x="3098" y="62"/>
                    <a:pt x="3104" y="67"/>
                    <a:pt x="3109" y="67"/>
                  </a:cubicBezTo>
                  <a:cubicBezTo>
                    <a:pt x="3115" y="67"/>
                    <a:pt x="3119" y="62"/>
                    <a:pt x="3117" y="56"/>
                  </a:cubicBezTo>
                  <a:cubicBezTo>
                    <a:pt x="3116" y="51"/>
                    <a:pt x="3110" y="46"/>
                    <a:pt x="3105" y="46"/>
                  </a:cubicBezTo>
                  <a:cubicBezTo>
                    <a:pt x="3105" y="46"/>
                    <a:pt x="3105" y="46"/>
                    <a:pt x="3105" y="46"/>
                  </a:cubicBezTo>
                  <a:moveTo>
                    <a:pt x="3135" y="46"/>
                  </a:moveTo>
                  <a:cubicBezTo>
                    <a:pt x="3129" y="46"/>
                    <a:pt x="3125" y="51"/>
                    <a:pt x="3127" y="56"/>
                  </a:cubicBezTo>
                  <a:cubicBezTo>
                    <a:pt x="3128" y="62"/>
                    <a:pt x="3134" y="66"/>
                    <a:pt x="3140" y="66"/>
                  </a:cubicBezTo>
                  <a:cubicBezTo>
                    <a:pt x="3145" y="66"/>
                    <a:pt x="3149" y="62"/>
                    <a:pt x="3148" y="56"/>
                  </a:cubicBezTo>
                  <a:cubicBezTo>
                    <a:pt x="3146" y="50"/>
                    <a:pt x="3140" y="46"/>
                    <a:pt x="3135" y="46"/>
                  </a:cubicBezTo>
                  <a:cubicBezTo>
                    <a:pt x="3135" y="46"/>
                    <a:pt x="3135" y="46"/>
                    <a:pt x="3135" y="46"/>
                  </a:cubicBezTo>
                  <a:moveTo>
                    <a:pt x="3164" y="46"/>
                  </a:moveTo>
                  <a:cubicBezTo>
                    <a:pt x="3158" y="46"/>
                    <a:pt x="3155" y="50"/>
                    <a:pt x="3156" y="56"/>
                  </a:cubicBezTo>
                  <a:cubicBezTo>
                    <a:pt x="3158" y="62"/>
                    <a:pt x="3164" y="66"/>
                    <a:pt x="3170" y="66"/>
                  </a:cubicBezTo>
                  <a:cubicBezTo>
                    <a:pt x="3175" y="66"/>
                    <a:pt x="3179" y="61"/>
                    <a:pt x="3177" y="56"/>
                  </a:cubicBezTo>
                  <a:cubicBezTo>
                    <a:pt x="3176" y="50"/>
                    <a:pt x="3170" y="46"/>
                    <a:pt x="3164" y="46"/>
                  </a:cubicBezTo>
                  <a:cubicBezTo>
                    <a:pt x="3164" y="46"/>
                    <a:pt x="3164" y="46"/>
                    <a:pt x="3164" y="46"/>
                  </a:cubicBezTo>
                  <a:moveTo>
                    <a:pt x="1436" y="33"/>
                  </a:moveTo>
                  <a:cubicBezTo>
                    <a:pt x="1430" y="33"/>
                    <a:pt x="1423" y="38"/>
                    <a:pt x="1421" y="43"/>
                  </a:cubicBezTo>
                  <a:cubicBezTo>
                    <a:pt x="1418" y="49"/>
                    <a:pt x="1421" y="53"/>
                    <a:pt x="1427" y="53"/>
                  </a:cubicBezTo>
                  <a:cubicBezTo>
                    <a:pt x="1433" y="53"/>
                    <a:pt x="1439" y="49"/>
                    <a:pt x="1442" y="43"/>
                  </a:cubicBezTo>
                  <a:cubicBezTo>
                    <a:pt x="1444" y="38"/>
                    <a:pt x="1441" y="33"/>
                    <a:pt x="1436" y="33"/>
                  </a:cubicBezTo>
                  <a:cubicBezTo>
                    <a:pt x="1436" y="33"/>
                    <a:pt x="1436" y="33"/>
                    <a:pt x="1436" y="33"/>
                  </a:cubicBezTo>
                  <a:moveTo>
                    <a:pt x="1465" y="33"/>
                  </a:moveTo>
                  <a:cubicBezTo>
                    <a:pt x="1459" y="33"/>
                    <a:pt x="1453" y="37"/>
                    <a:pt x="1450" y="43"/>
                  </a:cubicBezTo>
                  <a:cubicBezTo>
                    <a:pt x="1448" y="49"/>
                    <a:pt x="1451" y="53"/>
                    <a:pt x="1457" y="53"/>
                  </a:cubicBezTo>
                  <a:cubicBezTo>
                    <a:pt x="1463" y="53"/>
                    <a:pt x="1469" y="48"/>
                    <a:pt x="1471" y="43"/>
                  </a:cubicBezTo>
                  <a:cubicBezTo>
                    <a:pt x="1474" y="37"/>
                    <a:pt x="1471" y="33"/>
                    <a:pt x="1465" y="33"/>
                  </a:cubicBezTo>
                  <a:cubicBezTo>
                    <a:pt x="1465" y="33"/>
                    <a:pt x="1465" y="33"/>
                    <a:pt x="1465" y="33"/>
                  </a:cubicBezTo>
                  <a:moveTo>
                    <a:pt x="1493" y="32"/>
                  </a:moveTo>
                  <a:cubicBezTo>
                    <a:pt x="1488" y="33"/>
                    <a:pt x="1481" y="37"/>
                    <a:pt x="1479" y="43"/>
                  </a:cubicBezTo>
                  <a:cubicBezTo>
                    <a:pt x="1477" y="48"/>
                    <a:pt x="1479" y="53"/>
                    <a:pt x="1485" y="53"/>
                  </a:cubicBezTo>
                  <a:cubicBezTo>
                    <a:pt x="1491" y="53"/>
                    <a:pt x="1498" y="48"/>
                    <a:pt x="1500" y="43"/>
                  </a:cubicBezTo>
                  <a:cubicBezTo>
                    <a:pt x="1502" y="37"/>
                    <a:pt x="1499" y="32"/>
                    <a:pt x="1494" y="32"/>
                  </a:cubicBezTo>
                  <a:cubicBezTo>
                    <a:pt x="1494" y="32"/>
                    <a:pt x="1493" y="32"/>
                    <a:pt x="1493" y="32"/>
                  </a:cubicBezTo>
                  <a:moveTo>
                    <a:pt x="1525" y="32"/>
                  </a:moveTo>
                  <a:cubicBezTo>
                    <a:pt x="1519" y="32"/>
                    <a:pt x="1512" y="37"/>
                    <a:pt x="1510" y="42"/>
                  </a:cubicBezTo>
                  <a:cubicBezTo>
                    <a:pt x="1508" y="48"/>
                    <a:pt x="1511" y="53"/>
                    <a:pt x="1517" y="52"/>
                  </a:cubicBezTo>
                  <a:cubicBezTo>
                    <a:pt x="1523" y="52"/>
                    <a:pt x="1529" y="48"/>
                    <a:pt x="1531" y="42"/>
                  </a:cubicBezTo>
                  <a:cubicBezTo>
                    <a:pt x="1533" y="37"/>
                    <a:pt x="1530" y="32"/>
                    <a:pt x="1525" y="32"/>
                  </a:cubicBezTo>
                  <a:cubicBezTo>
                    <a:pt x="1525" y="32"/>
                    <a:pt x="1525" y="32"/>
                    <a:pt x="1525" y="32"/>
                  </a:cubicBezTo>
                  <a:moveTo>
                    <a:pt x="1582" y="32"/>
                  </a:moveTo>
                  <a:cubicBezTo>
                    <a:pt x="1577" y="32"/>
                    <a:pt x="1570" y="36"/>
                    <a:pt x="1568" y="42"/>
                  </a:cubicBezTo>
                  <a:cubicBezTo>
                    <a:pt x="1566" y="47"/>
                    <a:pt x="1569" y="52"/>
                    <a:pt x="1575" y="52"/>
                  </a:cubicBezTo>
                  <a:cubicBezTo>
                    <a:pt x="1581" y="52"/>
                    <a:pt x="1587" y="47"/>
                    <a:pt x="1589" y="42"/>
                  </a:cubicBezTo>
                  <a:cubicBezTo>
                    <a:pt x="1591" y="36"/>
                    <a:pt x="1588" y="32"/>
                    <a:pt x="1583" y="32"/>
                  </a:cubicBezTo>
                  <a:cubicBezTo>
                    <a:pt x="1582" y="32"/>
                    <a:pt x="1582" y="32"/>
                    <a:pt x="1582" y="32"/>
                  </a:cubicBezTo>
                  <a:moveTo>
                    <a:pt x="1612" y="31"/>
                  </a:moveTo>
                  <a:cubicBezTo>
                    <a:pt x="1606" y="31"/>
                    <a:pt x="1600" y="36"/>
                    <a:pt x="1598" y="42"/>
                  </a:cubicBezTo>
                  <a:cubicBezTo>
                    <a:pt x="1596" y="47"/>
                    <a:pt x="1599" y="52"/>
                    <a:pt x="1605" y="52"/>
                  </a:cubicBezTo>
                  <a:cubicBezTo>
                    <a:pt x="1611" y="52"/>
                    <a:pt x="1617" y="47"/>
                    <a:pt x="1619" y="41"/>
                  </a:cubicBezTo>
                  <a:cubicBezTo>
                    <a:pt x="1621" y="36"/>
                    <a:pt x="1618" y="31"/>
                    <a:pt x="1612" y="31"/>
                  </a:cubicBezTo>
                  <a:cubicBezTo>
                    <a:pt x="1612" y="31"/>
                    <a:pt x="1612" y="31"/>
                    <a:pt x="1612" y="31"/>
                  </a:cubicBezTo>
                  <a:moveTo>
                    <a:pt x="1642" y="31"/>
                  </a:moveTo>
                  <a:cubicBezTo>
                    <a:pt x="1636" y="31"/>
                    <a:pt x="1630" y="36"/>
                    <a:pt x="1628" y="41"/>
                  </a:cubicBezTo>
                  <a:cubicBezTo>
                    <a:pt x="1626" y="47"/>
                    <a:pt x="1629" y="51"/>
                    <a:pt x="1635" y="51"/>
                  </a:cubicBezTo>
                  <a:cubicBezTo>
                    <a:pt x="1641" y="51"/>
                    <a:pt x="1647" y="47"/>
                    <a:pt x="1649" y="41"/>
                  </a:cubicBezTo>
                  <a:cubicBezTo>
                    <a:pt x="1651" y="35"/>
                    <a:pt x="1648" y="31"/>
                    <a:pt x="1642" y="31"/>
                  </a:cubicBezTo>
                  <a:cubicBezTo>
                    <a:pt x="1642" y="31"/>
                    <a:pt x="1642" y="31"/>
                    <a:pt x="1642" y="31"/>
                  </a:cubicBezTo>
                  <a:moveTo>
                    <a:pt x="1672" y="31"/>
                  </a:moveTo>
                  <a:cubicBezTo>
                    <a:pt x="1666" y="31"/>
                    <a:pt x="1660" y="35"/>
                    <a:pt x="1658" y="41"/>
                  </a:cubicBezTo>
                  <a:cubicBezTo>
                    <a:pt x="1656" y="46"/>
                    <a:pt x="1659" y="51"/>
                    <a:pt x="1665" y="51"/>
                  </a:cubicBezTo>
                  <a:cubicBezTo>
                    <a:pt x="1671" y="51"/>
                    <a:pt x="1677" y="46"/>
                    <a:pt x="1679" y="41"/>
                  </a:cubicBezTo>
                  <a:cubicBezTo>
                    <a:pt x="1681" y="35"/>
                    <a:pt x="1678" y="31"/>
                    <a:pt x="1672" y="31"/>
                  </a:cubicBezTo>
                  <a:cubicBezTo>
                    <a:pt x="1672" y="31"/>
                    <a:pt x="1672" y="31"/>
                    <a:pt x="1672" y="31"/>
                  </a:cubicBezTo>
                  <a:moveTo>
                    <a:pt x="1702" y="30"/>
                  </a:moveTo>
                  <a:cubicBezTo>
                    <a:pt x="1696" y="30"/>
                    <a:pt x="1690" y="35"/>
                    <a:pt x="1688" y="41"/>
                  </a:cubicBezTo>
                  <a:cubicBezTo>
                    <a:pt x="1686" y="46"/>
                    <a:pt x="1689" y="51"/>
                    <a:pt x="1695" y="51"/>
                  </a:cubicBezTo>
                  <a:cubicBezTo>
                    <a:pt x="1701" y="51"/>
                    <a:pt x="1707" y="46"/>
                    <a:pt x="1709" y="40"/>
                  </a:cubicBezTo>
                  <a:cubicBezTo>
                    <a:pt x="1710" y="35"/>
                    <a:pt x="1707" y="30"/>
                    <a:pt x="1702" y="30"/>
                  </a:cubicBezTo>
                  <a:cubicBezTo>
                    <a:pt x="1702" y="30"/>
                    <a:pt x="1702" y="30"/>
                    <a:pt x="1702" y="30"/>
                  </a:cubicBezTo>
                  <a:moveTo>
                    <a:pt x="1731" y="30"/>
                  </a:moveTo>
                  <a:cubicBezTo>
                    <a:pt x="1726" y="30"/>
                    <a:pt x="1719" y="35"/>
                    <a:pt x="1718" y="40"/>
                  </a:cubicBezTo>
                  <a:cubicBezTo>
                    <a:pt x="1716" y="46"/>
                    <a:pt x="1719" y="50"/>
                    <a:pt x="1725" y="50"/>
                  </a:cubicBezTo>
                  <a:cubicBezTo>
                    <a:pt x="1731" y="50"/>
                    <a:pt x="1737" y="46"/>
                    <a:pt x="1739" y="40"/>
                  </a:cubicBezTo>
                  <a:cubicBezTo>
                    <a:pt x="1740" y="34"/>
                    <a:pt x="1737" y="30"/>
                    <a:pt x="1731" y="30"/>
                  </a:cubicBezTo>
                  <a:cubicBezTo>
                    <a:pt x="1731" y="30"/>
                    <a:pt x="1731" y="30"/>
                    <a:pt x="1731" y="30"/>
                  </a:cubicBezTo>
                  <a:moveTo>
                    <a:pt x="1761" y="30"/>
                  </a:moveTo>
                  <a:cubicBezTo>
                    <a:pt x="1755" y="30"/>
                    <a:pt x="1749" y="34"/>
                    <a:pt x="1747" y="40"/>
                  </a:cubicBezTo>
                  <a:cubicBezTo>
                    <a:pt x="1746" y="46"/>
                    <a:pt x="1749" y="50"/>
                    <a:pt x="1755" y="50"/>
                  </a:cubicBezTo>
                  <a:cubicBezTo>
                    <a:pt x="1761" y="50"/>
                    <a:pt x="1767" y="45"/>
                    <a:pt x="1768" y="40"/>
                  </a:cubicBezTo>
                  <a:cubicBezTo>
                    <a:pt x="1770" y="34"/>
                    <a:pt x="1767" y="30"/>
                    <a:pt x="1761" y="30"/>
                  </a:cubicBezTo>
                  <a:cubicBezTo>
                    <a:pt x="1761" y="30"/>
                    <a:pt x="1761" y="30"/>
                    <a:pt x="1761" y="30"/>
                  </a:cubicBezTo>
                  <a:moveTo>
                    <a:pt x="1791" y="29"/>
                  </a:moveTo>
                  <a:cubicBezTo>
                    <a:pt x="1785" y="29"/>
                    <a:pt x="1779" y="34"/>
                    <a:pt x="1777" y="40"/>
                  </a:cubicBezTo>
                  <a:cubicBezTo>
                    <a:pt x="1776" y="45"/>
                    <a:pt x="1779" y="50"/>
                    <a:pt x="1785" y="50"/>
                  </a:cubicBezTo>
                  <a:cubicBezTo>
                    <a:pt x="1791" y="50"/>
                    <a:pt x="1797" y="45"/>
                    <a:pt x="1798" y="39"/>
                  </a:cubicBezTo>
                  <a:cubicBezTo>
                    <a:pt x="1800" y="34"/>
                    <a:pt x="1796" y="29"/>
                    <a:pt x="1791" y="29"/>
                  </a:cubicBezTo>
                  <a:cubicBezTo>
                    <a:pt x="1791" y="29"/>
                    <a:pt x="1791" y="29"/>
                    <a:pt x="1791" y="29"/>
                  </a:cubicBezTo>
                  <a:moveTo>
                    <a:pt x="1821" y="29"/>
                  </a:moveTo>
                  <a:cubicBezTo>
                    <a:pt x="1816" y="29"/>
                    <a:pt x="1810" y="34"/>
                    <a:pt x="1808" y="39"/>
                  </a:cubicBezTo>
                  <a:cubicBezTo>
                    <a:pt x="1807" y="45"/>
                    <a:pt x="1810" y="49"/>
                    <a:pt x="1816" y="49"/>
                  </a:cubicBezTo>
                  <a:cubicBezTo>
                    <a:pt x="1822" y="49"/>
                    <a:pt x="1828" y="45"/>
                    <a:pt x="1829" y="39"/>
                  </a:cubicBezTo>
                  <a:cubicBezTo>
                    <a:pt x="1831" y="34"/>
                    <a:pt x="1827" y="29"/>
                    <a:pt x="1821" y="29"/>
                  </a:cubicBezTo>
                  <a:cubicBezTo>
                    <a:pt x="1821" y="29"/>
                    <a:pt x="1821" y="29"/>
                    <a:pt x="1821" y="29"/>
                  </a:cubicBezTo>
                  <a:moveTo>
                    <a:pt x="1851" y="29"/>
                  </a:moveTo>
                  <a:cubicBezTo>
                    <a:pt x="1845" y="29"/>
                    <a:pt x="1839" y="33"/>
                    <a:pt x="1838" y="39"/>
                  </a:cubicBezTo>
                  <a:cubicBezTo>
                    <a:pt x="1836" y="45"/>
                    <a:pt x="1840" y="49"/>
                    <a:pt x="1846" y="49"/>
                  </a:cubicBezTo>
                  <a:cubicBezTo>
                    <a:pt x="1851" y="49"/>
                    <a:pt x="1857" y="44"/>
                    <a:pt x="1859" y="39"/>
                  </a:cubicBezTo>
                  <a:cubicBezTo>
                    <a:pt x="1860" y="33"/>
                    <a:pt x="1857" y="29"/>
                    <a:pt x="1851" y="29"/>
                  </a:cubicBezTo>
                  <a:cubicBezTo>
                    <a:pt x="1851" y="29"/>
                    <a:pt x="1851" y="29"/>
                    <a:pt x="1851" y="29"/>
                  </a:cubicBezTo>
                  <a:moveTo>
                    <a:pt x="1881" y="28"/>
                  </a:moveTo>
                  <a:cubicBezTo>
                    <a:pt x="1875" y="28"/>
                    <a:pt x="1869" y="33"/>
                    <a:pt x="1868" y="39"/>
                  </a:cubicBezTo>
                  <a:cubicBezTo>
                    <a:pt x="1866" y="44"/>
                    <a:pt x="1870" y="49"/>
                    <a:pt x="1876" y="49"/>
                  </a:cubicBezTo>
                  <a:cubicBezTo>
                    <a:pt x="1881" y="49"/>
                    <a:pt x="1887" y="44"/>
                    <a:pt x="1889" y="39"/>
                  </a:cubicBezTo>
                  <a:cubicBezTo>
                    <a:pt x="1890" y="33"/>
                    <a:pt x="1887" y="28"/>
                    <a:pt x="1881" y="28"/>
                  </a:cubicBezTo>
                  <a:cubicBezTo>
                    <a:pt x="1881" y="28"/>
                    <a:pt x="1881" y="28"/>
                    <a:pt x="1881" y="28"/>
                  </a:cubicBezTo>
                  <a:moveTo>
                    <a:pt x="1911" y="28"/>
                  </a:moveTo>
                  <a:cubicBezTo>
                    <a:pt x="1905" y="28"/>
                    <a:pt x="1899" y="33"/>
                    <a:pt x="1898" y="38"/>
                  </a:cubicBezTo>
                  <a:cubicBezTo>
                    <a:pt x="1897" y="44"/>
                    <a:pt x="1900" y="49"/>
                    <a:pt x="1906" y="48"/>
                  </a:cubicBezTo>
                  <a:cubicBezTo>
                    <a:pt x="1912" y="48"/>
                    <a:pt x="1918" y="44"/>
                    <a:pt x="1919" y="38"/>
                  </a:cubicBezTo>
                  <a:cubicBezTo>
                    <a:pt x="1920" y="33"/>
                    <a:pt x="1917" y="28"/>
                    <a:pt x="1911" y="28"/>
                  </a:cubicBezTo>
                  <a:cubicBezTo>
                    <a:pt x="1911" y="28"/>
                    <a:pt x="1911" y="28"/>
                    <a:pt x="1911" y="28"/>
                  </a:cubicBezTo>
                  <a:moveTo>
                    <a:pt x="1940" y="28"/>
                  </a:moveTo>
                  <a:cubicBezTo>
                    <a:pt x="1935" y="28"/>
                    <a:pt x="1929" y="32"/>
                    <a:pt x="1928" y="38"/>
                  </a:cubicBezTo>
                  <a:cubicBezTo>
                    <a:pt x="1926" y="44"/>
                    <a:pt x="1930" y="48"/>
                    <a:pt x="1936" y="48"/>
                  </a:cubicBezTo>
                  <a:cubicBezTo>
                    <a:pt x="1942" y="48"/>
                    <a:pt x="1947" y="44"/>
                    <a:pt x="1949" y="38"/>
                  </a:cubicBezTo>
                  <a:cubicBezTo>
                    <a:pt x="1950" y="32"/>
                    <a:pt x="1946" y="28"/>
                    <a:pt x="1941" y="28"/>
                  </a:cubicBezTo>
                  <a:cubicBezTo>
                    <a:pt x="1940" y="28"/>
                    <a:pt x="1940" y="28"/>
                    <a:pt x="1940" y="28"/>
                  </a:cubicBezTo>
                  <a:moveTo>
                    <a:pt x="1970" y="27"/>
                  </a:moveTo>
                  <a:cubicBezTo>
                    <a:pt x="1964" y="28"/>
                    <a:pt x="1959" y="32"/>
                    <a:pt x="1958" y="38"/>
                  </a:cubicBezTo>
                  <a:cubicBezTo>
                    <a:pt x="1956" y="43"/>
                    <a:pt x="1960" y="48"/>
                    <a:pt x="1966" y="48"/>
                  </a:cubicBezTo>
                  <a:cubicBezTo>
                    <a:pt x="1972" y="48"/>
                    <a:pt x="1977" y="43"/>
                    <a:pt x="1978" y="38"/>
                  </a:cubicBezTo>
                  <a:cubicBezTo>
                    <a:pt x="1980" y="32"/>
                    <a:pt x="1976" y="27"/>
                    <a:pt x="1970" y="27"/>
                  </a:cubicBezTo>
                  <a:cubicBezTo>
                    <a:pt x="1970" y="27"/>
                    <a:pt x="1970" y="27"/>
                    <a:pt x="1970" y="27"/>
                  </a:cubicBezTo>
                  <a:moveTo>
                    <a:pt x="2357" y="24"/>
                  </a:moveTo>
                  <a:cubicBezTo>
                    <a:pt x="2352" y="24"/>
                    <a:pt x="2347" y="28"/>
                    <a:pt x="2346" y="34"/>
                  </a:cubicBezTo>
                  <a:cubicBezTo>
                    <a:pt x="2346" y="40"/>
                    <a:pt x="2350" y="44"/>
                    <a:pt x="2356" y="44"/>
                  </a:cubicBezTo>
                  <a:cubicBezTo>
                    <a:pt x="2362" y="44"/>
                    <a:pt x="2367" y="39"/>
                    <a:pt x="2367" y="34"/>
                  </a:cubicBezTo>
                  <a:cubicBezTo>
                    <a:pt x="2367" y="28"/>
                    <a:pt x="2363" y="24"/>
                    <a:pt x="2357" y="24"/>
                  </a:cubicBezTo>
                  <a:cubicBezTo>
                    <a:pt x="2357" y="24"/>
                    <a:pt x="2357" y="24"/>
                    <a:pt x="2357" y="24"/>
                  </a:cubicBezTo>
                  <a:moveTo>
                    <a:pt x="2388" y="23"/>
                  </a:moveTo>
                  <a:cubicBezTo>
                    <a:pt x="2382" y="23"/>
                    <a:pt x="2377" y="28"/>
                    <a:pt x="2377" y="34"/>
                  </a:cubicBezTo>
                  <a:cubicBezTo>
                    <a:pt x="2376" y="39"/>
                    <a:pt x="2381" y="44"/>
                    <a:pt x="2387" y="44"/>
                  </a:cubicBezTo>
                  <a:cubicBezTo>
                    <a:pt x="2392" y="44"/>
                    <a:pt x="2397" y="39"/>
                    <a:pt x="2398" y="33"/>
                  </a:cubicBezTo>
                  <a:cubicBezTo>
                    <a:pt x="2398" y="28"/>
                    <a:pt x="2393" y="23"/>
                    <a:pt x="2388" y="23"/>
                  </a:cubicBezTo>
                  <a:cubicBezTo>
                    <a:pt x="2388" y="23"/>
                    <a:pt x="2388" y="23"/>
                    <a:pt x="2388" y="23"/>
                  </a:cubicBezTo>
                  <a:moveTo>
                    <a:pt x="2952" y="19"/>
                  </a:moveTo>
                  <a:cubicBezTo>
                    <a:pt x="2946" y="19"/>
                    <a:pt x="2942" y="24"/>
                    <a:pt x="2943" y="30"/>
                  </a:cubicBezTo>
                  <a:cubicBezTo>
                    <a:pt x="2944" y="35"/>
                    <a:pt x="2949" y="40"/>
                    <a:pt x="2955" y="40"/>
                  </a:cubicBezTo>
                  <a:cubicBezTo>
                    <a:pt x="2961" y="40"/>
                    <a:pt x="2965" y="35"/>
                    <a:pt x="2964" y="29"/>
                  </a:cubicBezTo>
                  <a:cubicBezTo>
                    <a:pt x="2963" y="24"/>
                    <a:pt x="2957" y="19"/>
                    <a:pt x="2952" y="19"/>
                  </a:cubicBezTo>
                  <a:cubicBezTo>
                    <a:pt x="2952" y="19"/>
                    <a:pt x="2952" y="19"/>
                    <a:pt x="2952" y="19"/>
                  </a:cubicBezTo>
                  <a:moveTo>
                    <a:pt x="2979" y="19"/>
                  </a:moveTo>
                  <a:cubicBezTo>
                    <a:pt x="2974" y="19"/>
                    <a:pt x="2970" y="24"/>
                    <a:pt x="2971" y="29"/>
                  </a:cubicBezTo>
                  <a:cubicBezTo>
                    <a:pt x="2972" y="35"/>
                    <a:pt x="2977" y="40"/>
                    <a:pt x="2983" y="39"/>
                  </a:cubicBezTo>
                  <a:cubicBezTo>
                    <a:pt x="2989" y="39"/>
                    <a:pt x="2993" y="35"/>
                    <a:pt x="2992" y="29"/>
                  </a:cubicBezTo>
                  <a:cubicBezTo>
                    <a:pt x="2991" y="23"/>
                    <a:pt x="2985" y="19"/>
                    <a:pt x="2980" y="19"/>
                  </a:cubicBezTo>
                  <a:cubicBezTo>
                    <a:pt x="2979" y="19"/>
                    <a:pt x="2979" y="19"/>
                    <a:pt x="2979" y="19"/>
                  </a:cubicBezTo>
                  <a:moveTo>
                    <a:pt x="3009" y="19"/>
                  </a:moveTo>
                  <a:cubicBezTo>
                    <a:pt x="3003" y="19"/>
                    <a:pt x="2999" y="23"/>
                    <a:pt x="3000" y="29"/>
                  </a:cubicBezTo>
                  <a:cubicBezTo>
                    <a:pt x="3002" y="35"/>
                    <a:pt x="3007" y="39"/>
                    <a:pt x="3013" y="39"/>
                  </a:cubicBezTo>
                  <a:cubicBezTo>
                    <a:pt x="3019" y="39"/>
                    <a:pt x="3022" y="34"/>
                    <a:pt x="3021" y="29"/>
                  </a:cubicBezTo>
                  <a:cubicBezTo>
                    <a:pt x="3020" y="23"/>
                    <a:pt x="3015" y="19"/>
                    <a:pt x="3009" y="19"/>
                  </a:cubicBezTo>
                  <a:cubicBezTo>
                    <a:pt x="3009" y="19"/>
                    <a:pt x="3009" y="19"/>
                    <a:pt x="3009" y="19"/>
                  </a:cubicBezTo>
                  <a:moveTo>
                    <a:pt x="1505" y="5"/>
                  </a:moveTo>
                  <a:cubicBezTo>
                    <a:pt x="1499" y="5"/>
                    <a:pt x="1492" y="9"/>
                    <a:pt x="1490" y="15"/>
                  </a:cubicBezTo>
                  <a:cubicBezTo>
                    <a:pt x="1488" y="21"/>
                    <a:pt x="1491" y="25"/>
                    <a:pt x="1496" y="25"/>
                  </a:cubicBezTo>
                  <a:cubicBezTo>
                    <a:pt x="1502" y="25"/>
                    <a:pt x="1509" y="20"/>
                    <a:pt x="1511" y="15"/>
                  </a:cubicBezTo>
                  <a:cubicBezTo>
                    <a:pt x="1513" y="9"/>
                    <a:pt x="1510" y="5"/>
                    <a:pt x="1505" y="5"/>
                  </a:cubicBezTo>
                  <a:cubicBezTo>
                    <a:pt x="1505" y="5"/>
                    <a:pt x="1505" y="5"/>
                    <a:pt x="1505" y="5"/>
                  </a:cubicBezTo>
                  <a:moveTo>
                    <a:pt x="1534" y="4"/>
                  </a:moveTo>
                  <a:cubicBezTo>
                    <a:pt x="1528" y="5"/>
                    <a:pt x="1522" y="9"/>
                    <a:pt x="1520" y="15"/>
                  </a:cubicBezTo>
                  <a:cubicBezTo>
                    <a:pt x="1517" y="20"/>
                    <a:pt x="1520" y="25"/>
                    <a:pt x="1526" y="25"/>
                  </a:cubicBezTo>
                  <a:cubicBezTo>
                    <a:pt x="1532" y="25"/>
                    <a:pt x="1538" y="20"/>
                    <a:pt x="1540" y="15"/>
                  </a:cubicBezTo>
                  <a:cubicBezTo>
                    <a:pt x="1542" y="9"/>
                    <a:pt x="1540" y="4"/>
                    <a:pt x="1534" y="4"/>
                  </a:cubicBezTo>
                  <a:cubicBezTo>
                    <a:pt x="1534" y="4"/>
                    <a:pt x="1534" y="4"/>
                    <a:pt x="1534" y="4"/>
                  </a:cubicBezTo>
                  <a:moveTo>
                    <a:pt x="1563" y="4"/>
                  </a:moveTo>
                  <a:cubicBezTo>
                    <a:pt x="1558" y="4"/>
                    <a:pt x="1551" y="9"/>
                    <a:pt x="1549" y="14"/>
                  </a:cubicBezTo>
                  <a:cubicBezTo>
                    <a:pt x="1547" y="20"/>
                    <a:pt x="1550" y="25"/>
                    <a:pt x="1556" y="25"/>
                  </a:cubicBezTo>
                  <a:cubicBezTo>
                    <a:pt x="1561" y="24"/>
                    <a:pt x="1568" y="20"/>
                    <a:pt x="1570" y="14"/>
                  </a:cubicBezTo>
                  <a:cubicBezTo>
                    <a:pt x="1572" y="9"/>
                    <a:pt x="1569" y="4"/>
                    <a:pt x="1563" y="4"/>
                  </a:cubicBezTo>
                  <a:cubicBezTo>
                    <a:pt x="1563" y="4"/>
                    <a:pt x="1563" y="4"/>
                    <a:pt x="1563" y="4"/>
                  </a:cubicBezTo>
                  <a:moveTo>
                    <a:pt x="1593" y="4"/>
                  </a:moveTo>
                  <a:cubicBezTo>
                    <a:pt x="1587" y="4"/>
                    <a:pt x="1581" y="9"/>
                    <a:pt x="1578" y="14"/>
                  </a:cubicBezTo>
                  <a:cubicBezTo>
                    <a:pt x="1576" y="20"/>
                    <a:pt x="1579" y="24"/>
                    <a:pt x="1585" y="24"/>
                  </a:cubicBezTo>
                  <a:cubicBezTo>
                    <a:pt x="1591" y="24"/>
                    <a:pt x="1597" y="20"/>
                    <a:pt x="1599" y="14"/>
                  </a:cubicBezTo>
                  <a:cubicBezTo>
                    <a:pt x="1601" y="8"/>
                    <a:pt x="1598" y="4"/>
                    <a:pt x="1593" y="4"/>
                  </a:cubicBezTo>
                  <a:cubicBezTo>
                    <a:pt x="1593" y="4"/>
                    <a:pt x="1593" y="4"/>
                    <a:pt x="1593" y="4"/>
                  </a:cubicBezTo>
                  <a:moveTo>
                    <a:pt x="1622" y="4"/>
                  </a:moveTo>
                  <a:cubicBezTo>
                    <a:pt x="1616" y="4"/>
                    <a:pt x="1610" y="8"/>
                    <a:pt x="1608" y="14"/>
                  </a:cubicBezTo>
                  <a:cubicBezTo>
                    <a:pt x="1606" y="19"/>
                    <a:pt x="1609" y="24"/>
                    <a:pt x="1615" y="24"/>
                  </a:cubicBezTo>
                  <a:cubicBezTo>
                    <a:pt x="1620" y="24"/>
                    <a:pt x="1627" y="19"/>
                    <a:pt x="1629" y="14"/>
                  </a:cubicBezTo>
                  <a:cubicBezTo>
                    <a:pt x="1630" y="8"/>
                    <a:pt x="1628" y="4"/>
                    <a:pt x="1622" y="4"/>
                  </a:cubicBezTo>
                  <a:cubicBezTo>
                    <a:pt x="1622" y="4"/>
                    <a:pt x="1622" y="4"/>
                    <a:pt x="1622" y="4"/>
                  </a:cubicBezTo>
                  <a:moveTo>
                    <a:pt x="1829" y="1"/>
                  </a:moveTo>
                  <a:cubicBezTo>
                    <a:pt x="1823" y="1"/>
                    <a:pt x="1817" y="6"/>
                    <a:pt x="1816" y="12"/>
                  </a:cubicBezTo>
                  <a:cubicBezTo>
                    <a:pt x="1814" y="17"/>
                    <a:pt x="1818" y="22"/>
                    <a:pt x="1823" y="22"/>
                  </a:cubicBezTo>
                  <a:cubicBezTo>
                    <a:pt x="1829" y="22"/>
                    <a:pt x="1835" y="17"/>
                    <a:pt x="1836" y="11"/>
                  </a:cubicBezTo>
                  <a:cubicBezTo>
                    <a:pt x="1838" y="6"/>
                    <a:pt x="1835" y="1"/>
                    <a:pt x="1829" y="1"/>
                  </a:cubicBezTo>
                  <a:cubicBezTo>
                    <a:pt x="1829" y="1"/>
                    <a:pt x="1829" y="1"/>
                    <a:pt x="1829" y="1"/>
                  </a:cubicBezTo>
                  <a:moveTo>
                    <a:pt x="1858" y="1"/>
                  </a:moveTo>
                  <a:cubicBezTo>
                    <a:pt x="1852" y="1"/>
                    <a:pt x="1847" y="6"/>
                    <a:pt x="1845" y="11"/>
                  </a:cubicBezTo>
                  <a:cubicBezTo>
                    <a:pt x="1844" y="17"/>
                    <a:pt x="1847" y="21"/>
                    <a:pt x="1853" y="21"/>
                  </a:cubicBezTo>
                  <a:cubicBezTo>
                    <a:pt x="1859" y="21"/>
                    <a:pt x="1864" y="17"/>
                    <a:pt x="1866" y="11"/>
                  </a:cubicBezTo>
                  <a:cubicBezTo>
                    <a:pt x="1867" y="6"/>
                    <a:pt x="1864" y="1"/>
                    <a:pt x="1858" y="1"/>
                  </a:cubicBezTo>
                  <a:cubicBezTo>
                    <a:pt x="1858" y="1"/>
                    <a:pt x="1858" y="1"/>
                    <a:pt x="1858" y="1"/>
                  </a:cubicBezTo>
                  <a:moveTo>
                    <a:pt x="1888" y="1"/>
                  </a:moveTo>
                  <a:cubicBezTo>
                    <a:pt x="1882" y="1"/>
                    <a:pt x="1876" y="5"/>
                    <a:pt x="1875" y="11"/>
                  </a:cubicBezTo>
                  <a:cubicBezTo>
                    <a:pt x="1873" y="17"/>
                    <a:pt x="1877" y="21"/>
                    <a:pt x="1883" y="21"/>
                  </a:cubicBezTo>
                  <a:cubicBezTo>
                    <a:pt x="1888" y="21"/>
                    <a:pt x="1894" y="16"/>
                    <a:pt x="1895" y="11"/>
                  </a:cubicBezTo>
                  <a:cubicBezTo>
                    <a:pt x="1897" y="5"/>
                    <a:pt x="1893" y="1"/>
                    <a:pt x="1888" y="1"/>
                  </a:cubicBezTo>
                  <a:cubicBezTo>
                    <a:pt x="1888" y="1"/>
                    <a:pt x="1888" y="1"/>
                    <a:pt x="1888" y="1"/>
                  </a:cubicBezTo>
                  <a:moveTo>
                    <a:pt x="1917" y="0"/>
                  </a:moveTo>
                  <a:cubicBezTo>
                    <a:pt x="1912" y="0"/>
                    <a:pt x="1906" y="5"/>
                    <a:pt x="1905" y="11"/>
                  </a:cubicBezTo>
                  <a:cubicBezTo>
                    <a:pt x="1903" y="16"/>
                    <a:pt x="1907" y="21"/>
                    <a:pt x="1913" y="21"/>
                  </a:cubicBezTo>
                  <a:cubicBezTo>
                    <a:pt x="1918" y="21"/>
                    <a:pt x="1924" y="16"/>
                    <a:pt x="1925" y="10"/>
                  </a:cubicBezTo>
                  <a:cubicBezTo>
                    <a:pt x="1927" y="5"/>
                    <a:pt x="1923" y="0"/>
                    <a:pt x="1918" y="0"/>
                  </a:cubicBezTo>
                  <a:cubicBezTo>
                    <a:pt x="1917" y="0"/>
                    <a:pt x="1917" y="0"/>
                    <a:pt x="1917" y="0"/>
                  </a:cubicBezTo>
                  <a:moveTo>
                    <a:pt x="1947" y="0"/>
                  </a:moveTo>
                  <a:cubicBezTo>
                    <a:pt x="1941" y="0"/>
                    <a:pt x="1935" y="5"/>
                    <a:pt x="1934" y="10"/>
                  </a:cubicBezTo>
                  <a:cubicBezTo>
                    <a:pt x="1933" y="16"/>
                    <a:pt x="1936" y="21"/>
                    <a:pt x="1942" y="20"/>
                  </a:cubicBezTo>
                  <a:cubicBezTo>
                    <a:pt x="1948" y="20"/>
                    <a:pt x="1953" y="16"/>
                    <a:pt x="1955" y="10"/>
                  </a:cubicBezTo>
                  <a:cubicBezTo>
                    <a:pt x="1956" y="5"/>
                    <a:pt x="1952" y="0"/>
                    <a:pt x="1947" y="0"/>
                  </a:cubicBezTo>
                  <a:cubicBezTo>
                    <a:pt x="1947" y="0"/>
                    <a:pt x="1947" y="0"/>
                    <a:pt x="1947" y="0"/>
                  </a:cubicBezTo>
                  <a:moveTo>
                    <a:pt x="1976" y="0"/>
                  </a:moveTo>
                  <a:cubicBezTo>
                    <a:pt x="1970" y="0"/>
                    <a:pt x="1965" y="4"/>
                    <a:pt x="1964" y="10"/>
                  </a:cubicBezTo>
                  <a:cubicBezTo>
                    <a:pt x="1962" y="16"/>
                    <a:pt x="1966" y="20"/>
                    <a:pt x="1972" y="20"/>
                  </a:cubicBezTo>
                  <a:cubicBezTo>
                    <a:pt x="1977" y="20"/>
                    <a:pt x="1983" y="15"/>
                    <a:pt x="1984" y="10"/>
                  </a:cubicBezTo>
                  <a:cubicBezTo>
                    <a:pt x="1985" y="4"/>
                    <a:pt x="1982" y="0"/>
                    <a:pt x="1976" y="0"/>
                  </a:cubicBezTo>
                  <a:cubicBezTo>
                    <a:pt x="1976" y="0"/>
                    <a:pt x="1976" y="0"/>
                    <a:pt x="1976" y="0"/>
                  </a:cubicBezTo>
                </a:path>
              </a:pathLst>
            </a:custGeom>
            <a:gradFill>
              <a:gsLst>
                <a:gs pos="0">
                  <a:srgbClr val="E8EBF1">
                    <a:alpha val="64000"/>
                  </a:srgbClr>
                </a:gs>
                <a:gs pos="100000">
                  <a:srgbClr val="FFFFFF">
                    <a:alpha val="85000"/>
                  </a:srgbClr>
                </a:gs>
              </a:gsLst>
              <a:lin ang="5400000" scaled="1"/>
            </a:grad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Rectangle 11"/>
          <p:cNvSpPr/>
          <p:nvPr/>
        </p:nvSpPr>
        <p:spPr>
          <a:xfrm>
            <a:off x="0" y="1049867"/>
            <a:ext cx="9144000" cy="3259666"/>
          </a:xfrm>
          <a:prstGeom prst="rect">
            <a:avLst/>
          </a:prstGeom>
          <a:solidFill>
            <a:srgbClr val="00197B">
              <a:alpha val="80000"/>
            </a:srgbClr>
          </a:soli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p:cNvSpPr>
            <a:spLocks noGrp="1"/>
          </p:cNvSpPr>
          <p:nvPr>
            <p:ph type="title"/>
          </p:nvPr>
        </p:nvSpPr>
        <p:spPr/>
        <p:txBody>
          <a:bodyPr/>
          <a:lstStyle/>
          <a:p>
            <a:r>
              <a:rPr lang="en-US" dirty="0"/>
              <a:t>What’s 5G for Cisco?</a:t>
            </a:r>
          </a:p>
        </p:txBody>
      </p:sp>
      <p:sp>
        <p:nvSpPr>
          <p:cNvPr id="16" name="Rectangle 15"/>
          <p:cNvSpPr/>
          <p:nvPr/>
        </p:nvSpPr>
        <p:spPr>
          <a:xfrm>
            <a:off x="1260731" y="4071486"/>
            <a:ext cx="6545536" cy="490889"/>
          </a:xfrm>
          <a:prstGeom prst="rect">
            <a:avLst/>
          </a:prstGeom>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0040" tIns="45720" rIns="91440" bIns="45720" numCol="1" spcCol="0" rtlCol="0" fromWordArt="0" anchor="ctr" anchorCtr="0" forceAA="0" compatLnSpc="1">
            <a:prstTxWarp prst="textNoShape">
              <a:avLst/>
            </a:prstTxWarp>
            <a:noAutofit/>
          </a:bodyPr>
          <a:lstStyle/>
          <a:p>
            <a:r>
              <a:rPr lang="en-US" sz="2300" dirty="0"/>
              <a:t>The key phrase: Unified Enablement Platform</a:t>
            </a:r>
          </a:p>
        </p:txBody>
      </p:sp>
      <p:sp>
        <p:nvSpPr>
          <p:cNvPr id="17" name="Oval 16"/>
          <p:cNvSpPr/>
          <p:nvPr/>
        </p:nvSpPr>
        <p:spPr>
          <a:xfrm>
            <a:off x="1181592" y="3994485"/>
            <a:ext cx="259882" cy="259882"/>
          </a:xfrm>
          <a:prstGeom prst="ellipse">
            <a:avLst/>
          </a:prstGeom>
          <a:solidFill>
            <a:srgbClr val="6CC04A"/>
          </a:soli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50" name="Group 49"/>
          <p:cNvGrpSpPr/>
          <p:nvPr/>
        </p:nvGrpSpPr>
        <p:grpSpPr>
          <a:xfrm>
            <a:off x="901700" y="863299"/>
            <a:ext cx="7340600" cy="2951157"/>
            <a:chOff x="901700" y="863299"/>
            <a:chExt cx="7340600" cy="2951157"/>
          </a:xfrm>
        </p:grpSpPr>
        <p:sp>
          <p:nvSpPr>
            <p:cNvPr id="13" name="Rectangle 12"/>
            <p:cNvSpPr/>
            <p:nvPr/>
          </p:nvSpPr>
          <p:spPr>
            <a:xfrm>
              <a:off x="901700" y="1426856"/>
              <a:ext cx="7340600" cy="2387600"/>
            </a:xfrm>
            <a:prstGeom prst="rect">
              <a:avLst/>
            </a:prstGeom>
            <a:gradFill flip="none" rotWithShape="1">
              <a:gsLst>
                <a:gs pos="0">
                  <a:srgbClr val="00197B">
                    <a:lumMod val="100000"/>
                  </a:srgbClr>
                </a:gs>
                <a:gs pos="100000">
                  <a:srgbClr val="004BAF">
                    <a:lumMod val="90000"/>
                  </a:srgbClr>
                </a:gs>
              </a:gsLst>
              <a:lin ang="5400000" scaled="1"/>
              <a:tileRect/>
            </a:gradFill>
            <a:ln w="12700" cap="rnd">
              <a:solidFill>
                <a:srgbClr val="004BA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sp>
          <p:nvSpPr>
            <p:cNvPr id="14" name="TextBox 13"/>
            <p:cNvSpPr txBox="1"/>
            <p:nvPr/>
          </p:nvSpPr>
          <p:spPr>
            <a:xfrm>
              <a:off x="1049867" y="2269389"/>
              <a:ext cx="7044267" cy="1215717"/>
            </a:xfrm>
            <a:prstGeom prst="rect">
              <a:avLst/>
            </a:prstGeom>
            <a:noFill/>
          </p:spPr>
          <p:txBody>
            <a:bodyPr wrap="square" rtlCol="0" anchor="ctr" anchorCtr="0">
              <a:spAutoFit/>
            </a:bodyPr>
            <a:lstStyle/>
            <a:p>
              <a:pPr algn="ctr">
                <a:spcBef>
                  <a:spcPts val="900"/>
                </a:spcBef>
              </a:pPr>
              <a:r>
                <a:rPr lang="en-US" sz="1600" dirty="0" smtClean="0">
                  <a:solidFill>
                    <a:schemeClr val="bg1"/>
                  </a:solidFill>
                </a:rPr>
                <a:t>Open </a:t>
              </a:r>
              <a:r>
                <a:rPr lang="en-US" sz="1600" dirty="0">
                  <a:solidFill>
                    <a:schemeClr val="bg1"/>
                  </a:solidFill>
                </a:rPr>
                <a:t>Network Architecture </a:t>
              </a:r>
              <a:r>
                <a:rPr lang="en-US" sz="1600" dirty="0" smtClean="0">
                  <a:solidFill>
                    <a:schemeClr val="bg1"/>
                  </a:solidFill>
                </a:rPr>
                <a:t>forms an </a:t>
              </a:r>
            </a:p>
            <a:p>
              <a:pPr algn="ctr">
                <a:spcBef>
                  <a:spcPts val="600"/>
                </a:spcBef>
              </a:pPr>
              <a:r>
                <a:rPr lang="en-US" sz="1600" dirty="0" smtClean="0">
                  <a:solidFill>
                    <a:schemeClr val="bg1"/>
                  </a:solidFill>
                </a:rPr>
                <a:t>enablement </a:t>
              </a:r>
              <a:r>
                <a:rPr lang="en-US" sz="1600" dirty="0">
                  <a:solidFill>
                    <a:schemeClr val="bg1"/>
                  </a:solidFill>
                </a:rPr>
                <a:t>platform for innovative services and </a:t>
              </a:r>
              <a:r>
                <a:rPr lang="en-US" sz="1600" dirty="0" smtClean="0">
                  <a:solidFill>
                    <a:schemeClr val="bg1"/>
                  </a:solidFill>
                </a:rPr>
                <a:t>applications.</a:t>
              </a:r>
              <a:endParaRPr lang="en-US" sz="1600" dirty="0">
                <a:solidFill>
                  <a:schemeClr val="bg1"/>
                </a:solidFill>
              </a:endParaRPr>
            </a:p>
            <a:p>
              <a:pPr algn="ctr">
                <a:spcBef>
                  <a:spcPts val="2400"/>
                </a:spcBef>
              </a:pPr>
              <a:r>
                <a:rPr lang="en-US" sz="1600" dirty="0" smtClean="0">
                  <a:solidFill>
                    <a:schemeClr val="bg1"/>
                  </a:solidFill>
                </a:rPr>
                <a:t>Our unifying </a:t>
              </a:r>
              <a:r>
                <a:rPr lang="en-US" sz="1600" dirty="0">
                  <a:solidFill>
                    <a:schemeClr val="bg1"/>
                  </a:solidFill>
                </a:rPr>
                <a:t>network fabric </a:t>
              </a:r>
              <a:r>
                <a:rPr lang="en-US" sz="1600" dirty="0" smtClean="0">
                  <a:solidFill>
                    <a:schemeClr val="bg1"/>
                  </a:solidFill>
                </a:rPr>
                <a:t>simplifies through advanced automation.</a:t>
              </a:r>
              <a:endParaRPr lang="en-US" sz="1600" dirty="0">
                <a:solidFill>
                  <a:schemeClr val="bg1"/>
                </a:solidFill>
              </a:endParaRPr>
            </a:p>
          </p:txBody>
        </p:sp>
        <p:sp>
          <p:nvSpPr>
            <p:cNvPr id="15" name="TextBox 14"/>
            <p:cNvSpPr txBox="1"/>
            <p:nvPr/>
          </p:nvSpPr>
          <p:spPr>
            <a:xfrm>
              <a:off x="1049867" y="1722779"/>
              <a:ext cx="7044267" cy="446276"/>
            </a:xfrm>
            <a:prstGeom prst="rect">
              <a:avLst/>
            </a:prstGeom>
            <a:noFill/>
          </p:spPr>
          <p:txBody>
            <a:bodyPr wrap="square" rtlCol="0" anchor="ctr" anchorCtr="0">
              <a:spAutoFit/>
            </a:bodyPr>
            <a:lstStyle/>
            <a:p>
              <a:pPr algn="ctr">
                <a:spcBef>
                  <a:spcPts val="900"/>
                </a:spcBef>
              </a:pPr>
              <a:r>
                <a:rPr lang="en-US" sz="2300" dirty="0">
                  <a:solidFill>
                    <a:schemeClr val="bg1"/>
                  </a:solidFill>
                </a:rPr>
                <a:t>Quite Simply …</a:t>
              </a:r>
            </a:p>
          </p:txBody>
        </p:sp>
        <p:sp>
          <p:nvSpPr>
            <p:cNvPr id="18" name="Freeform 297"/>
            <p:cNvSpPr>
              <a:spLocks/>
            </p:cNvSpPr>
            <p:nvPr/>
          </p:nvSpPr>
          <p:spPr bwMode="auto">
            <a:xfrm>
              <a:off x="4069869" y="863299"/>
              <a:ext cx="986333" cy="636867"/>
            </a:xfrm>
            <a:custGeom>
              <a:avLst/>
              <a:gdLst>
                <a:gd name="T0" fmla="*/ 270 w 747"/>
                <a:gd name="T1" fmla="*/ 99 h 482"/>
                <a:gd name="T2" fmla="*/ 211 w 747"/>
                <a:gd name="T3" fmla="*/ 71 h 482"/>
                <a:gd name="T4" fmla="*/ 134 w 747"/>
                <a:gd name="T5" fmla="*/ 148 h 482"/>
                <a:gd name="T6" fmla="*/ 141 w 747"/>
                <a:gd name="T7" fmla="*/ 181 h 482"/>
                <a:gd name="T8" fmla="*/ 0 w 747"/>
                <a:gd name="T9" fmla="*/ 331 h 482"/>
                <a:gd name="T10" fmla="*/ 150 w 747"/>
                <a:gd name="T11" fmla="*/ 482 h 482"/>
                <a:gd name="T12" fmla="*/ 590 w 747"/>
                <a:gd name="T13" fmla="*/ 482 h 482"/>
                <a:gd name="T14" fmla="*/ 747 w 747"/>
                <a:gd name="T15" fmla="*/ 324 h 482"/>
                <a:gd name="T16" fmla="*/ 590 w 747"/>
                <a:gd name="T17" fmla="*/ 167 h 482"/>
                <a:gd name="T18" fmla="*/ 590 w 747"/>
                <a:gd name="T19" fmla="*/ 167 h 482"/>
                <a:gd name="T20" fmla="*/ 423 w 747"/>
                <a:gd name="T21" fmla="*/ 0 h 482"/>
                <a:gd name="T22" fmla="*/ 270 w 747"/>
                <a:gd name="T23" fmla="*/ 99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7" h="482">
                  <a:moveTo>
                    <a:pt x="270" y="99"/>
                  </a:moveTo>
                  <a:cubicBezTo>
                    <a:pt x="256" y="82"/>
                    <a:pt x="235" y="71"/>
                    <a:pt x="211" y="71"/>
                  </a:cubicBezTo>
                  <a:cubicBezTo>
                    <a:pt x="168" y="71"/>
                    <a:pt x="134" y="105"/>
                    <a:pt x="134" y="148"/>
                  </a:cubicBezTo>
                  <a:cubicBezTo>
                    <a:pt x="134" y="160"/>
                    <a:pt x="136" y="171"/>
                    <a:pt x="141" y="181"/>
                  </a:cubicBezTo>
                  <a:cubicBezTo>
                    <a:pt x="62" y="186"/>
                    <a:pt x="0" y="251"/>
                    <a:pt x="0" y="331"/>
                  </a:cubicBezTo>
                  <a:cubicBezTo>
                    <a:pt x="0" y="414"/>
                    <a:pt x="67" y="482"/>
                    <a:pt x="150" y="482"/>
                  </a:cubicBezTo>
                  <a:cubicBezTo>
                    <a:pt x="590" y="482"/>
                    <a:pt x="590" y="482"/>
                    <a:pt x="590" y="482"/>
                  </a:cubicBezTo>
                  <a:cubicBezTo>
                    <a:pt x="677" y="482"/>
                    <a:pt x="747" y="411"/>
                    <a:pt x="747" y="324"/>
                  </a:cubicBezTo>
                  <a:cubicBezTo>
                    <a:pt x="747" y="237"/>
                    <a:pt x="677" y="167"/>
                    <a:pt x="590" y="167"/>
                  </a:cubicBezTo>
                  <a:cubicBezTo>
                    <a:pt x="590" y="167"/>
                    <a:pt x="590" y="167"/>
                    <a:pt x="590" y="167"/>
                  </a:cubicBezTo>
                  <a:cubicBezTo>
                    <a:pt x="590" y="75"/>
                    <a:pt x="515" y="0"/>
                    <a:pt x="423" y="0"/>
                  </a:cubicBezTo>
                  <a:cubicBezTo>
                    <a:pt x="355" y="0"/>
                    <a:pt x="296" y="40"/>
                    <a:pt x="270" y="99"/>
                  </a:cubicBezTo>
                </a:path>
              </a:pathLst>
            </a:custGeom>
            <a:solidFill>
              <a:srgbClr val="004BAF"/>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00">
                <a:solidFill>
                  <a:schemeClr val="bg1"/>
                </a:solidFill>
              </a:endParaRPr>
            </a:p>
          </p:txBody>
        </p:sp>
        <p:cxnSp>
          <p:nvCxnSpPr>
            <p:cNvPr id="19" name="Straight Connector 18"/>
            <p:cNvCxnSpPr/>
            <p:nvPr/>
          </p:nvCxnSpPr>
          <p:spPr>
            <a:xfrm>
              <a:off x="3846303" y="1278965"/>
              <a:ext cx="20917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5070591" y="1278965"/>
              <a:ext cx="227106"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2748181" y="998071"/>
              <a:ext cx="1083733" cy="517461"/>
              <a:chOff x="2748181" y="998071"/>
              <a:chExt cx="1083733" cy="517461"/>
            </a:xfrm>
          </p:grpSpPr>
          <p:sp>
            <p:nvSpPr>
              <p:cNvPr id="25" name="Rounded Rectangle 24"/>
              <p:cNvSpPr/>
              <p:nvPr/>
            </p:nvSpPr>
            <p:spPr>
              <a:xfrm>
                <a:off x="2748181" y="998071"/>
                <a:ext cx="1083733" cy="517461"/>
              </a:xfrm>
              <a:prstGeom prst="roundRect">
                <a:avLst>
                  <a:gd name="adj" fmla="val 8528"/>
                </a:avLst>
              </a:prstGeom>
              <a:solidFill>
                <a:srgbClr val="004BAF"/>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00">
                  <a:solidFill>
                    <a:schemeClr val="bg1"/>
                  </a:solidFill>
                </a:endParaRPr>
              </a:p>
            </p:txBody>
          </p:sp>
          <p:grpSp>
            <p:nvGrpSpPr>
              <p:cNvPr id="46" name="Group 45"/>
              <p:cNvGrpSpPr/>
              <p:nvPr/>
            </p:nvGrpSpPr>
            <p:grpSpPr>
              <a:xfrm>
                <a:off x="2948319" y="1092786"/>
                <a:ext cx="683457" cy="350296"/>
                <a:chOff x="2971618" y="1092786"/>
                <a:chExt cx="683457" cy="350296"/>
              </a:xfrm>
            </p:grpSpPr>
            <p:sp>
              <p:nvSpPr>
                <p:cNvPr id="37" name="Freeform 7"/>
                <p:cNvSpPr>
                  <a:spLocks noEditPoints="1"/>
                </p:cNvSpPr>
                <p:nvPr/>
              </p:nvSpPr>
              <p:spPr bwMode="auto">
                <a:xfrm>
                  <a:off x="3303770" y="1092786"/>
                  <a:ext cx="351305" cy="350296"/>
                </a:xfrm>
                <a:custGeom>
                  <a:avLst/>
                  <a:gdLst>
                    <a:gd name="T0" fmla="*/ 52 w 295"/>
                    <a:gd name="T1" fmla="*/ 153 h 294"/>
                    <a:gd name="T2" fmla="*/ 20 w 295"/>
                    <a:gd name="T3" fmla="*/ 121 h 294"/>
                    <a:gd name="T4" fmla="*/ 15 w 295"/>
                    <a:gd name="T5" fmla="*/ 109 h 294"/>
                    <a:gd name="T6" fmla="*/ 15 w 295"/>
                    <a:gd name="T7" fmla="*/ 63 h 294"/>
                    <a:gd name="T8" fmla="*/ 20 w 295"/>
                    <a:gd name="T9" fmla="*/ 51 h 294"/>
                    <a:gd name="T10" fmla="*/ 52 w 295"/>
                    <a:gd name="T11" fmla="*/ 19 h 294"/>
                    <a:gd name="T12" fmla="*/ 64 w 295"/>
                    <a:gd name="T13" fmla="*/ 14 h 294"/>
                    <a:gd name="T14" fmla="*/ 109 w 295"/>
                    <a:gd name="T15" fmla="*/ 14 h 294"/>
                    <a:gd name="T16" fmla="*/ 121 w 295"/>
                    <a:gd name="T17" fmla="*/ 19 h 294"/>
                    <a:gd name="T18" fmla="*/ 153 w 295"/>
                    <a:gd name="T19" fmla="*/ 51 h 294"/>
                    <a:gd name="T20" fmla="*/ 147 w 295"/>
                    <a:gd name="T21" fmla="*/ 76 h 294"/>
                    <a:gd name="T22" fmla="*/ 131 w 295"/>
                    <a:gd name="T23" fmla="*/ 51 h 294"/>
                    <a:gd name="T24" fmla="*/ 122 w 295"/>
                    <a:gd name="T25" fmla="*/ 41 h 294"/>
                    <a:gd name="T26" fmla="*/ 93 w 295"/>
                    <a:gd name="T27" fmla="*/ 29 h 294"/>
                    <a:gd name="T28" fmla="*/ 80 w 295"/>
                    <a:gd name="T29" fmla="*/ 29 h 294"/>
                    <a:gd name="T30" fmla="*/ 51 w 295"/>
                    <a:gd name="T31" fmla="*/ 41 h 294"/>
                    <a:gd name="T32" fmla="*/ 41 w 295"/>
                    <a:gd name="T33" fmla="*/ 51 h 294"/>
                    <a:gd name="T34" fmla="*/ 30 w 295"/>
                    <a:gd name="T35" fmla="*/ 79 h 294"/>
                    <a:gd name="T36" fmla="*/ 29 w 295"/>
                    <a:gd name="T37" fmla="*/ 93 h 294"/>
                    <a:gd name="T38" fmla="*/ 41 w 295"/>
                    <a:gd name="T39" fmla="*/ 122 h 294"/>
                    <a:gd name="T40" fmla="*/ 51 w 295"/>
                    <a:gd name="T41" fmla="*/ 131 h 294"/>
                    <a:gd name="T42" fmla="*/ 76 w 295"/>
                    <a:gd name="T43" fmla="*/ 146 h 294"/>
                    <a:gd name="T44" fmla="*/ 183 w 295"/>
                    <a:gd name="T45" fmla="*/ 224 h 294"/>
                    <a:gd name="T46" fmla="*/ 224 w 295"/>
                    <a:gd name="T47" fmla="*/ 183 h 294"/>
                    <a:gd name="T48" fmla="*/ 160 w 295"/>
                    <a:gd name="T49" fmla="*/ 183 h 294"/>
                    <a:gd name="T50" fmla="*/ 295 w 295"/>
                    <a:gd name="T51" fmla="*/ 177 h 294"/>
                    <a:gd name="T52" fmla="*/ 268 w 295"/>
                    <a:gd name="T53" fmla="*/ 212 h 294"/>
                    <a:gd name="T54" fmla="*/ 267 w 295"/>
                    <a:gd name="T55" fmla="*/ 257 h 294"/>
                    <a:gd name="T56" fmla="*/ 223 w 295"/>
                    <a:gd name="T57" fmla="*/ 263 h 294"/>
                    <a:gd name="T58" fmla="*/ 190 w 295"/>
                    <a:gd name="T59" fmla="*/ 294 h 294"/>
                    <a:gd name="T60" fmla="*/ 155 w 295"/>
                    <a:gd name="T61" fmla="*/ 267 h 294"/>
                    <a:gd name="T62" fmla="*/ 109 w 295"/>
                    <a:gd name="T63" fmla="*/ 266 h 294"/>
                    <a:gd name="T64" fmla="*/ 103 w 295"/>
                    <a:gd name="T65" fmla="*/ 222 h 294"/>
                    <a:gd name="T66" fmla="*/ 72 w 295"/>
                    <a:gd name="T67" fmla="*/ 190 h 294"/>
                    <a:gd name="T68" fmla="*/ 99 w 295"/>
                    <a:gd name="T69" fmla="*/ 154 h 294"/>
                    <a:gd name="T70" fmla="*/ 100 w 295"/>
                    <a:gd name="T71" fmla="*/ 109 h 294"/>
                    <a:gd name="T72" fmla="*/ 144 w 295"/>
                    <a:gd name="T73" fmla="*/ 103 h 294"/>
                    <a:gd name="T74" fmla="*/ 177 w 295"/>
                    <a:gd name="T75" fmla="*/ 72 h 294"/>
                    <a:gd name="T76" fmla="*/ 212 w 295"/>
                    <a:gd name="T77" fmla="*/ 99 h 294"/>
                    <a:gd name="T78" fmla="*/ 257 w 295"/>
                    <a:gd name="T79" fmla="*/ 100 h 294"/>
                    <a:gd name="T80" fmla="*/ 263 w 295"/>
                    <a:gd name="T81" fmla="*/ 144 h 294"/>
                    <a:gd name="T82" fmla="*/ 295 w 295"/>
                    <a:gd name="T83" fmla="*/ 177 h 294"/>
                    <a:gd name="T84" fmla="*/ 259 w 295"/>
                    <a:gd name="T85" fmla="*/ 171 h 294"/>
                    <a:gd name="T86" fmla="*/ 245 w 295"/>
                    <a:gd name="T87" fmla="*/ 138 h 294"/>
                    <a:gd name="T88" fmla="*/ 245 w 295"/>
                    <a:gd name="T89" fmla="*/ 113 h 294"/>
                    <a:gd name="T90" fmla="*/ 219 w 295"/>
                    <a:gd name="T91" fmla="*/ 122 h 294"/>
                    <a:gd name="T92" fmla="*/ 192 w 295"/>
                    <a:gd name="T93" fmla="*/ 92 h 294"/>
                    <a:gd name="T94" fmla="*/ 174 w 295"/>
                    <a:gd name="T95" fmla="*/ 92 h 294"/>
                    <a:gd name="T96" fmla="*/ 148 w 295"/>
                    <a:gd name="T97" fmla="*/ 121 h 294"/>
                    <a:gd name="T98" fmla="*/ 122 w 295"/>
                    <a:gd name="T99" fmla="*/ 112 h 294"/>
                    <a:gd name="T100" fmla="*/ 121 w 295"/>
                    <a:gd name="T101" fmla="*/ 138 h 294"/>
                    <a:gd name="T102" fmla="*/ 107 w 295"/>
                    <a:gd name="T103" fmla="*/ 171 h 294"/>
                    <a:gd name="T104" fmla="*/ 90 w 295"/>
                    <a:gd name="T105" fmla="*/ 190 h 294"/>
                    <a:gd name="T106" fmla="*/ 115 w 295"/>
                    <a:gd name="T107" fmla="*/ 201 h 294"/>
                    <a:gd name="T108" fmla="*/ 112 w 295"/>
                    <a:gd name="T109" fmla="*/ 241 h 294"/>
                    <a:gd name="T110" fmla="*/ 125 w 295"/>
                    <a:gd name="T111" fmla="*/ 254 h 294"/>
                    <a:gd name="T112" fmla="*/ 165 w 295"/>
                    <a:gd name="T113" fmla="*/ 251 h 294"/>
                    <a:gd name="T114" fmla="*/ 177 w 295"/>
                    <a:gd name="T115" fmla="*/ 276 h 294"/>
                    <a:gd name="T116" fmla="*/ 195 w 295"/>
                    <a:gd name="T117" fmla="*/ 259 h 294"/>
                    <a:gd name="T118" fmla="*/ 228 w 295"/>
                    <a:gd name="T119" fmla="*/ 245 h 294"/>
                    <a:gd name="T120" fmla="*/ 254 w 295"/>
                    <a:gd name="T121" fmla="*/ 245 h 294"/>
                    <a:gd name="T122" fmla="*/ 245 w 295"/>
                    <a:gd name="T123" fmla="*/ 219 h 294"/>
                    <a:gd name="T124" fmla="*/ 274 w 295"/>
                    <a:gd name="T125" fmla="*/ 19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5" h="294">
                      <a:moveTo>
                        <a:pt x="64" y="152"/>
                      </a:moveTo>
                      <a:cubicBezTo>
                        <a:pt x="62" y="151"/>
                        <a:pt x="59" y="150"/>
                        <a:pt x="57" y="149"/>
                      </a:cubicBezTo>
                      <a:cubicBezTo>
                        <a:pt x="52" y="153"/>
                        <a:pt x="52" y="153"/>
                        <a:pt x="52" y="153"/>
                      </a:cubicBezTo>
                      <a:cubicBezTo>
                        <a:pt x="45" y="158"/>
                        <a:pt x="35" y="157"/>
                        <a:pt x="29" y="151"/>
                      </a:cubicBezTo>
                      <a:cubicBezTo>
                        <a:pt x="22" y="144"/>
                        <a:pt x="22" y="144"/>
                        <a:pt x="22" y="144"/>
                      </a:cubicBezTo>
                      <a:cubicBezTo>
                        <a:pt x="16" y="138"/>
                        <a:pt x="15" y="128"/>
                        <a:pt x="20" y="121"/>
                      </a:cubicBezTo>
                      <a:cubicBezTo>
                        <a:pt x="23" y="116"/>
                        <a:pt x="23" y="116"/>
                        <a:pt x="23" y="116"/>
                      </a:cubicBezTo>
                      <a:cubicBezTo>
                        <a:pt x="22" y="114"/>
                        <a:pt x="22" y="112"/>
                        <a:pt x="21" y="110"/>
                      </a:cubicBezTo>
                      <a:cubicBezTo>
                        <a:pt x="15" y="109"/>
                        <a:pt x="15" y="109"/>
                        <a:pt x="15" y="109"/>
                      </a:cubicBezTo>
                      <a:cubicBezTo>
                        <a:pt x="6" y="107"/>
                        <a:pt x="0" y="100"/>
                        <a:pt x="0" y="91"/>
                      </a:cubicBezTo>
                      <a:cubicBezTo>
                        <a:pt x="0" y="81"/>
                        <a:pt x="0" y="81"/>
                        <a:pt x="0" y="81"/>
                      </a:cubicBezTo>
                      <a:cubicBezTo>
                        <a:pt x="0" y="72"/>
                        <a:pt x="6" y="65"/>
                        <a:pt x="15" y="63"/>
                      </a:cubicBezTo>
                      <a:cubicBezTo>
                        <a:pt x="21" y="62"/>
                        <a:pt x="21" y="62"/>
                        <a:pt x="21" y="62"/>
                      </a:cubicBezTo>
                      <a:cubicBezTo>
                        <a:pt x="22" y="60"/>
                        <a:pt x="22" y="58"/>
                        <a:pt x="23" y="57"/>
                      </a:cubicBezTo>
                      <a:cubicBezTo>
                        <a:pt x="20" y="51"/>
                        <a:pt x="20" y="51"/>
                        <a:pt x="20" y="51"/>
                      </a:cubicBezTo>
                      <a:cubicBezTo>
                        <a:pt x="15" y="44"/>
                        <a:pt x="16" y="35"/>
                        <a:pt x="22" y="28"/>
                      </a:cubicBezTo>
                      <a:cubicBezTo>
                        <a:pt x="29" y="21"/>
                        <a:pt x="29" y="21"/>
                        <a:pt x="29" y="21"/>
                      </a:cubicBezTo>
                      <a:cubicBezTo>
                        <a:pt x="35" y="15"/>
                        <a:pt x="45" y="14"/>
                        <a:pt x="52" y="19"/>
                      </a:cubicBezTo>
                      <a:cubicBezTo>
                        <a:pt x="57" y="23"/>
                        <a:pt x="57" y="23"/>
                        <a:pt x="57" y="23"/>
                      </a:cubicBezTo>
                      <a:cubicBezTo>
                        <a:pt x="59" y="22"/>
                        <a:pt x="61" y="21"/>
                        <a:pt x="63" y="21"/>
                      </a:cubicBezTo>
                      <a:cubicBezTo>
                        <a:pt x="64" y="14"/>
                        <a:pt x="64" y="14"/>
                        <a:pt x="64" y="14"/>
                      </a:cubicBezTo>
                      <a:cubicBezTo>
                        <a:pt x="65" y="6"/>
                        <a:pt x="73" y="0"/>
                        <a:pt x="81" y="0"/>
                      </a:cubicBezTo>
                      <a:cubicBezTo>
                        <a:pt x="91" y="0"/>
                        <a:pt x="91" y="0"/>
                        <a:pt x="91" y="0"/>
                      </a:cubicBezTo>
                      <a:cubicBezTo>
                        <a:pt x="100" y="0"/>
                        <a:pt x="107" y="6"/>
                        <a:pt x="109" y="14"/>
                      </a:cubicBezTo>
                      <a:cubicBezTo>
                        <a:pt x="110" y="21"/>
                        <a:pt x="110" y="21"/>
                        <a:pt x="110" y="21"/>
                      </a:cubicBezTo>
                      <a:cubicBezTo>
                        <a:pt x="112" y="21"/>
                        <a:pt x="114" y="22"/>
                        <a:pt x="116" y="23"/>
                      </a:cubicBezTo>
                      <a:cubicBezTo>
                        <a:pt x="121" y="19"/>
                        <a:pt x="121" y="19"/>
                        <a:pt x="121" y="19"/>
                      </a:cubicBezTo>
                      <a:cubicBezTo>
                        <a:pt x="128" y="14"/>
                        <a:pt x="138" y="15"/>
                        <a:pt x="144" y="21"/>
                      </a:cubicBezTo>
                      <a:cubicBezTo>
                        <a:pt x="151" y="28"/>
                        <a:pt x="151" y="28"/>
                        <a:pt x="151" y="28"/>
                      </a:cubicBezTo>
                      <a:cubicBezTo>
                        <a:pt x="157" y="35"/>
                        <a:pt x="158" y="44"/>
                        <a:pt x="153" y="51"/>
                      </a:cubicBezTo>
                      <a:cubicBezTo>
                        <a:pt x="149" y="57"/>
                        <a:pt x="149" y="57"/>
                        <a:pt x="149" y="57"/>
                      </a:cubicBezTo>
                      <a:cubicBezTo>
                        <a:pt x="151" y="59"/>
                        <a:pt x="152" y="62"/>
                        <a:pt x="152" y="64"/>
                      </a:cubicBezTo>
                      <a:cubicBezTo>
                        <a:pt x="154" y="69"/>
                        <a:pt x="151" y="74"/>
                        <a:pt x="147" y="76"/>
                      </a:cubicBezTo>
                      <a:cubicBezTo>
                        <a:pt x="142" y="77"/>
                        <a:pt x="137" y="75"/>
                        <a:pt x="135" y="70"/>
                      </a:cubicBezTo>
                      <a:cubicBezTo>
                        <a:pt x="134" y="67"/>
                        <a:pt x="133" y="63"/>
                        <a:pt x="131" y="60"/>
                      </a:cubicBezTo>
                      <a:cubicBezTo>
                        <a:pt x="129" y="57"/>
                        <a:pt x="129" y="54"/>
                        <a:pt x="131" y="51"/>
                      </a:cubicBezTo>
                      <a:cubicBezTo>
                        <a:pt x="138" y="41"/>
                        <a:pt x="138" y="41"/>
                        <a:pt x="138" y="41"/>
                      </a:cubicBezTo>
                      <a:cubicBezTo>
                        <a:pt x="131" y="34"/>
                        <a:pt x="131" y="34"/>
                        <a:pt x="131" y="34"/>
                      </a:cubicBezTo>
                      <a:cubicBezTo>
                        <a:pt x="122" y="41"/>
                        <a:pt x="122" y="41"/>
                        <a:pt x="122" y="41"/>
                      </a:cubicBezTo>
                      <a:cubicBezTo>
                        <a:pt x="119" y="43"/>
                        <a:pt x="115" y="43"/>
                        <a:pt x="112" y="41"/>
                      </a:cubicBezTo>
                      <a:cubicBezTo>
                        <a:pt x="108" y="39"/>
                        <a:pt x="104" y="37"/>
                        <a:pt x="100" y="36"/>
                      </a:cubicBezTo>
                      <a:cubicBezTo>
                        <a:pt x="96" y="35"/>
                        <a:pt x="94" y="33"/>
                        <a:pt x="93" y="29"/>
                      </a:cubicBezTo>
                      <a:cubicBezTo>
                        <a:pt x="91" y="17"/>
                        <a:pt x="91" y="17"/>
                        <a:pt x="91" y="17"/>
                      </a:cubicBezTo>
                      <a:cubicBezTo>
                        <a:pt x="81" y="17"/>
                        <a:pt x="81" y="17"/>
                        <a:pt x="81" y="17"/>
                      </a:cubicBezTo>
                      <a:cubicBezTo>
                        <a:pt x="80" y="29"/>
                        <a:pt x="80" y="29"/>
                        <a:pt x="80" y="29"/>
                      </a:cubicBezTo>
                      <a:cubicBezTo>
                        <a:pt x="79" y="32"/>
                        <a:pt x="76" y="35"/>
                        <a:pt x="73" y="36"/>
                      </a:cubicBezTo>
                      <a:cubicBezTo>
                        <a:pt x="69" y="37"/>
                        <a:pt x="64" y="39"/>
                        <a:pt x="61" y="42"/>
                      </a:cubicBezTo>
                      <a:cubicBezTo>
                        <a:pt x="58" y="43"/>
                        <a:pt x="54" y="43"/>
                        <a:pt x="51" y="41"/>
                      </a:cubicBezTo>
                      <a:cubicBezTo>
                        <a:pt x="41" y="34"/>
                        <a:pt x="41" y="34"/>
                        <a:pt x="41" y="34"/>
                      </a:cubicBezTo>
                      <a:cubicBezTo>
                        <a:pt x="34" y="41"/>
                        <a:pt x="34" y="41"/>
                        <a:pt x="34" y="41"/>
                      </a:cubicBezTo>
                      <a:cubicBezTo>
                        <a:pt x="41" y="51"/>
                        <a:pt x="41" y="51"/>
                        <a:pt x="41" y="51"/>
                      </a:cubicBezTo>
                      <a:cubicBezTo>
                        <a:pt x="43" y="53"/>
                        <a:pt x="44" y="57"/>
                        <a:pt x="42" y="60"/>
                      </a:cubicBezTo>
                      <a:cubicBezTo>
                        <a:pt x="40" y="64"/>
                        <a:pt x="38" y="68"/>
                        <a:pt x="37" y="73"/>
                      </a:cubicBezTo>
                      <a:cubicBezTo>
                        <a:pt x="36" y="76"/>
                        <a:pt x="33" y="79"/>
                        <a:pt x="30" y="79"/>
                      </a:cubicBezTo>
                      <a:cubicBezTo>
                        <a:pt x="18" y="81"/>
                        <a:pt x="18" y="81"/>
                        <a:pt x="18" y="81"/>
                      </a:cubicBezTo>
                      <a:cubicBezTo>
                        <a:pt x="18" y="91"/>
                        <a:pt x="18" y="91"/>
                        <a:pt x="18" y="91"/>
                      </a:cubicBezTo>
                      <a:cubicBezTo>
                        <a:pt x="29" y="93"/>
                        <a:pt x="29" y="93"/>
                        <a:pt x="29" y="93"/>
                      </a:cubicBezTo>
                      <a:cubicBezTo>
                        <a:pt x="33" y="94"/>
                        <a:pt x="35" y="96"/>
                        <a:pt x="36" y="100"/>
                      </a:cubicBezTo>
                      <a:cubicBezTo>
                        <a:pt x="38" y="104"/>
                        <a:pt x="39" y="108"/>
                        <a:pt x="42" y="112"/>
                      </a:cubicBezTo>
                      <a:cubicBezTo>
                        <a:pt x="44" y="115"/>
                        <a:pt x="43" y="119"/>
                        <a:pt x="41" y="122"/>
                      </a:cubicBezTo>
                      <a:cubicBezTo>
                        <a:pt x="35" y="131"/>
                        <a:pt x="35" y="131"/>
                        <a:pt x="35" y="131"/>
                      </a:cubicBezTo>
                      <a:cubicBezTo>
                        <a:pt x="41" y="138"/>
                        <a:pt x="41" y="138"/>
                        <a:pt x="41" y="138"/>
                      </a:cubicBezTo>
                      <a:cubicBezTo>
                        <a:pt x="51" y="131"/>
                        <a:pt x="51" y="131"/>
                        <a:pt x="51" y="131"/>
                      </a:cubicBezTo>
                      <a:cubicBezTo>
                        <a:pt x="54" y="129"/>
                        <a:pt x="57" y="129"/>
                        <a:pt x="61" y="131"/>
                      </a:cubicBezTo>
                      <a:cubicBezTo>
                        <a:pt x="64" y="133"/>
                        <a:pt x="67" y="134"/>
                        <a:pt x="70" y="135"/>
                      </a:cubicBezTo>
                      <a:cubicBezTo>
                        <a:pt x="75" y="137"/>
                        <a:pt x="77" y="142"/>
                        <a:pt x="76" y="146"/>
                      </a:cubicBezTo>
                      <a:cubicBezTo>
                        <a:pt x="74" y="151"/>
                        <a:pt x="69" y="154"/>
                        <a:pt x="64" y="152"/>
                      </a:cubicBezTo>
                      <a:close/>
                      <a:moveTo>
                        <a:pt x="224" y="183"/>
                      </a:moveTo>
                      <a:cubicBezTo>
                        <a:pt x="224" y="206"/>
                        <a:pt x="206" y="224"/>
                        <a:pt x="183" y="224"/>
                      </a:cubicBezTo>
                      <a:cubicBezTo>
                        <a:pt x="160" y="224"/>
                        <a:pt x="142" y="206"/>
                        <a:pt x="142" y="183"/>
                      </a:cubicBezTo>
                      <a:cubicBezTo>
                        <a:pt x="142" y="160"/>
                        <a:pt x="160" y="142"/>
                        <a:pt x="183" y="142"/>
                      </a:cubicBezTo>
                      <a:cubicBezTo>
                        <a:pt x="206" y="142"/>
                        <a:pt x="224" y="160"/>
                        <a:pt x="224" y="183"/>
                      </a:cubicBezTo>
                      <a:moveTo>
                        <a:pt x="206" y="183"/>
                      </a:moveTo>
                      <a:cubicBezTo>
                        <a:pt x="206" y="170"/>
                        <a:pt x="196" y="160"/>
                        <a:pt x="183" y="160"/>
                      </a:cubicBezTo>
                      <a:cubicBezTo>
                        <a:pt x="170" y="160"/>
                        <a:pt x="160" y="170"/>
                        <a:pt x="160" y="183"/>
                      </a:cubicBezTo>
                      <a:cubicBezTo>
                        <a:pt x="160" y="196"/>
                        <a:pt x="170" y="206"/>
                        <a:pt x="183" y="206"/>
                      </a:cubicBezTo>
                      <a:cubicBezTo>
                        <a:pt x="196" y="206"/>
                        <a:pt x="206" y="196"/>
                        <a:pt x="206" y="183"/>
                      </a:cubicBezTo>
                      <a:moveTo>
                        <a:pt x="295" y="177"/>
                      </a:moveTo>
                      <a:cubicBezTo>
                        <a:pt x="295" y="190"/>
                        <a:pt x="295" y="190"/>
                        <a:pt x="295" y="190"/>
                      </a:cubicBezTo>
                      <a:cubicBezTo>
                        <a:pt x="295" y="200"/>
                        <a:pt x="287" y="208"/>
                        <a:pt x="277" y="210"/>
                      </a:cubicBezTo>
                      <a:cubicBezTo>
                        <a:pt x="268" y="212"/>
                        <a:pt x="268" y="212"/>
                        <a:pt x="268" y="212"/>
                      </a:cubicBezTo>
                      <a:cubicBezTo>
                        <a:pt x="266" y="215"/>
                        <a:pt x="265" y="219"/>
                        <a:pt x="263" y="222"/>
                      </a:cubicBezTo>
                      <a:cubicBezTo>
                        <a:pt x="269" y="231"/>
                        <a:pt x="269" y="231"/>
                        <a:pt x="269" y="231"/>
                      </a:cubicBezTo>
                      <a:cubicBezTo>
                        <a:pt x="275" y="239"/>
                        <a:pt x="274" y="250"/>
                        <a:pt x="267" y="257"/>
                      </a:cubicBezTo>
                      <a:cubicBezTo>
                        <a:pt x="257" y="266"/>
                        <a:pt x="257" y="266"/>
                        <a:pt x="257" y="266"/>
                      </a:cubicBezTo>
                      <a:cubicBezTo>
                        <a:pt x="250" y="274"/>
                        <a:pt x="239" y="275"/>
                        <a:pt x="231" y="269"/>
                      </a:cubicBezTo>
                      <a:cubicBezTo>
                        <a:pt x="223" y="263"/>
                        <a:pt x="223" y="263"/>
                        <a:pt x="223" y="263"/>
                      </a:cubicBezTo>
                      <a:cubicBezTo>
                        <a:pt x="219" y="265"/>
                        <a:pt x="216" y="266"/>
                        <a:pt x="212" y="267"/>
                      </a:cubicBezTo>
                      <a:cubicBezTo>
                        <a:pt x="210" y="277"/>
                        <a:pt x="210" y="277"/>
                        <a:pt x="210" y="277"/>
                      </a:cubicBezTo>
                      <a:cubicBezTo>
                        <a:pt x="209" y="287"/>
                        <a:pt x="200" y="294"/>
                        <a:pt x="190" y="294"/>
                      </a:cubicBezTo>
                      <a:cubicBezTo>
                        <a:pt x="177" y="294"/>
                        <a:pt x="177" y="294"/>
                        <a:pt x="177" y="294"/>
                      </a:cubicBezTo>
                      <a:cubicBezTo>
                        <a:pt x="167" y="294"/>
                        <a:pt x="158" y="287"/>
                        <a:pt x="156" y="277"/>
                      </a:cubicBezTo>
                      <a:cubicBezTo>
                        <a:pt x="155" y="267"/>
                        <a:pt x="155" y="267"/>
                        <a:pt x="155" y="267"/>
                      </a:cubicBezTo>
                      <a:cubicBezTo>
                        <a:pt x="151" y="266"/>
                        <a:pt x="147" y="265"/>
                        <a:pt x="144" y="263"/>
                      </a:cubicBezTo>
                      <a:cubicBezTo>
                        <a:pt x="136" y="269"/>
                        <a:pt x="136" y="269"/>
                        <a:pt x="136" y="269"/>
                      </a:cubicBezTo>
                      <a:cubicBezTo>
                        <a:pt x="127" y="275"/>
                        <a:pt x="116" y="274"/>
                        <a:pt x="109" y="266"/>
                      </a:cubicBezTo>
                      <a:cubicBezTo>
                        <a:pt x="100" y="257"/>
                        <a:pt x="100" y="257"/>
                        <a:pt x="100" y="257"/>
                      </a:cubicBezTo>
                      <a:cubicBezTo>
                        <a:pt x="93" y="250"/>
                        <a:pt x="92" y="239"/>
                        <a:pt x="97" y="231"/>
                      </a:cubicBezTo>
                      <a:cubicBezTo>
                        <a:pt x="103" y="222"/>
                        <a:pt x="103" y="222"/>
                        <a:pt x="103" y="222"/>
                      </a:cubicBezTo>
                      <a:cubicBezTo>
                        <a:pt x="102" y="219"/>
                        <a:pt x="100" y="215"/>
                        <a:pt x="99" y="212"/>
                      </a:cubicBezTo>
                      <a:cubicBezTo>
                        <a:pt x="89" y="210"/>
                        <a:pt x="89" y="210"/>
                        <a:pt x="89" y="210"/>
                      </a:cubicBezTo>
                      <a:cubicBezTo>
                        <a:pt x="79" y="208"/>
                        <a:pt x="72" y="200"/>
                        <a:pt x="72" y="190"/>
                      </a:cubicBezTo>
                      <a:cubicBezTo>
                        <a:pt x="72" y="177"/>
                        <a:pt x="72" y="177"/>
                        <a:pt x="72" y="177"/>
                      </a:cubicBezTo>
                      <a:cubicBezTo>
                        <a:pt x="72" y="166"/>
                        <a:pt x="79" y="158"/>
                        <a:pt x="89" y="156"/>
                      </a:cubicBezTo>
                      <a:cubicBezTo>
                        <a:pt x="99" y="154"/>
                        <a:pt x="99" y="154"/>
                        <a:pt x="99" y="154"/>
                      </a:cubicBezTo>
                      <a:cubicBezTo>
                        <a:pt x="100" y="151"/>
                        <a:pt x="102" y="147"/>
                        <a:pt x="103" y="144"/>
                      </a:cubicBezTo>
                      <a:cubicBezTo>
                        <a:pt x="98" y="136"/>
                        <a:pt x="98" y="136"/>
                        <a:pt x="98" y="136"/>
                      </a:cubicBezTo>
                      <a:cubicBezTo>
                        <a:pt x="92" y="127"/>
                        <a:pt x="93" y="116"/>
                        <a:pt x="100" y="109"/>
                      </a:cubicBezTo>
                      <a:cubicBezTo>
                        <a:pt x="109" y="100"/>
                        <a:pt x="109" y="100"/>
                        <a:pt x="109" y="100"/>
                      </a:cubicBezTo>
                      <a:cubicBezTo>
                        <a:pt x="116" y="92"/>
                        <a:pt x="127" y="91"/>
                        <a:pt x="136" y="97"/>
                      </a:cubicBezTo>
                      <a:cubicBezTo>
                        <a:pt x="144" y="103"/>
                        <a:pt x="144" y="103"/>
                        <a:pt x="144" y="103"/>
                      </a:cubicBezTo>
                      <a:cubicBezTo>
                        <a:pt x="147" y="101"/>
                        <a:pt x="151" y="100"/>
                        <a:pt x="154" y="99"/>
                      </a:cubicBezTo>
                      <a:cubicBezTo>
                        <a:pt x="156" y="89"/>
                        <a:pt x="156" y="89"/>
                        <a:pt x="156" y="89"/>
                      </a:cubicBezTo>
                      <a:cubicBezTo>
                        <a:pt x="158" y="79"/>
                        <a:pt x="167" y="72"/>
                        <a:pt x="177" y="72"/>
                      </a:cubicBezTo>
                      <a:cubicBezTo>
                        <a:pt x="190" y="72"/>
                        <a:pt x="190" y="72"/>
                        <a:pt x="190" y="72"/>
                      </a:cubicBezTo>
                      <a:cubicBezTo>
                        <a:pt x="200" y="72"/>
                        <a:pt x="209" y="79"/>
                        <a:pt x="210" y="89"/>
                      </a:cubicBezTo>
                      <a:cubicBezTo>
                        <a:pt x="212" y="99"/>
                        <a:pt x="212" y="99"/>
                        <a:pt x="212" y="99"/>
                      </a:cubicBezTo>
                      <a:cubicBezTo>
                        <a:pt x="216" y="100"/>
                        <a:pt x="219" y="101"/>
                        <a:pt x="223" y="103"/>
                      </a:cubicBezTo>
                      <a:cubicBezTo>
                        <a:pt x="231" y="97"/>
                        <a:pt x="231" y="97"/>
                        <a:pt x="231" y="97"/>
                      </a:cubicBezTo>
                      <a:cubicBezTo>
                        <a:pt x="239" y="91"/>
                        <a:pt x="250" y="92"/>
                        <a:pt x="257" y="100"/>
                      </a:cubicBezTo>
                      <a:cubicBezTo>
                        <a:pt x="267" y="109"/>
                        <a:pt x="267" y="109"/>
                        <a:pt x="267" y="109"/>
                      </a:cubicBezTo>
                      <a:cubicBezTo>
                        <a:pt x="274" y="116"/>
                        <a:pt x="275" y="127"/>
                        <a:pt x="269" y="136"/>
                      </a:cubicBezTo>
                      <a:cubicBezTo>
                        <a:pt x="263" y="144"/>
                        <a:pt x="263" y="144"/>
                        <a:pt x="263" y="144"/>
                      </a:cubicBezTo>
                      <a:cubicBezTo>
                        <a:pt x="265" y="147"/>
                        <a:pt x="266" y="151"/>
                        <a:pt x="268" y="154"/>
                      </a:cubicBezTo>
                      <a:cubicBezTo>
                        <a:pt x="277" y="156"/>
                        <a:pt x="277" y="156"/>
                        <a:pt x="277" y="156"/>
                      </a:cubicBezTo>
                      <a:cubicBezTo>
                        <a:pt x="287" y="158"/>
                        <a:pt x="295" y="166"/>
                        <a:pt x="295" y="177"/>
                      </a:cubicBezTo>
                      <a:moveTo>
                        <a:pt x="277" y="177"/>
                      </a:moveTo>
                      <a:cubicBezTo>
                        <a:pt x="277" y="175"/>
                        <a:pt x="276" y="174"/>
                        <a:pt x="274" y="174"/>
                      </a:cubicBezTo>
                      <a:cubicBezTo>
                        <a:pt x="259" y="171"/>
                        <a:pt x="259" y="171"/>
                        <a:pt x="259" y="171"/>
                      </a:cubicBezTo>
                      <a:cubicBezTo>
                        <a:pt x="255" y="171"/>
                        <a:pt x="253" y="168"/>
                        <a:pt x="252" y="165"/>
                      </a:cubicBezTo>
                      <a:cubicBezTo>
                        <a:pt x="250" y="159"/>
                        <a:pt x="248" y="153"/>
                        <a:pt x="245" y="148"/>
                      </a:cubicBezTo>
                      <a:cubicBezTo>
                        <a:pt x="243" y="145"/>
                        <a:pt x="243" y="141"/>
                        <a:pt x="245" y="138"/>
                      </a:cubicBezTo>
                      <a:cubicBezTo>
                        <a:pt x="254" y="125"/>
                        <a:pt x="254" y="125"/>
                        <a:pt x="254" y="125"/>
                      </a:cubicBezTo>
                      <a:cubicBezTo>
                        <a:pt x="255" y="124"/>
                        <a:pt x="255" y="123"/>
                        <a:pt x="254" y="122"/>
                      </a:cubicBezTo>
                      <a:cubicBezTo>
                        <a:pt x="245" y="113"/>
                        <a:pt x="245" y="113"/>
                        <a:pt x="245" y="113"/>
                      </a:cubicBezTo>
                      <a:cubicBezTo>
                        <a:pt x="244" y="112"/>
                        <a:pt x="242" y="111"/>
                        <a:pt x="241" y="112"/>
                      </a:cubicBezTo>
                      <a:cubicBezTo>
                        <a:pt x="228" y="121"/>
                        <a:pt x="228" y="121"/>
                        <a:pt x="228" y="121"/>
                      </a:cubicBezTo>
                      <a:cubicBezTo>
                        <a:pt x="226" y="123"/>
                        <a:pt x="222" y="123"/>
                        <a:pt x="219" y="122"/>
                      </a:cubicBezTo>
                      <a:cubicBezTo>
                        <a:pt x="213" y="119"/>
                        <a:pt x="208" y="116"/>
                        <a:pt x="202" y="115"/>
                      </a:cubicBezTo>
                      <a:cubicBezTo>
                        <a:pt x="198" y="114"/>
                        <a:pt x="196" y="111"/>
                        <a:pt x="195" y="107"/>
                      </a:cubicBezTo>
                      <a:cubicBezTo>
                        <a:pt x="192" y="92"/>
                        <a:pt x="192" y="92"/>
                        <a:pt x="192" y="92"/>
                      </a:cubicBezTo>
                      <a:cubicBezTo>
                        <a:pt x="192" y="91"/>
                        <a:pt x="191" y="90"/>
                        <a:pt x="190" y="90"/>
                      </a:cubicBezTo>
                      <a:cubicBezTo>
                        <a:pt x="177" y="90"/>
                        <a:pt x="177" y="90"/>
                        <a:pt x="177" y="90"/>
                      </a:cubicBezTo>
                      <a:cubicBezTo>
                        <a:pt x="175" y="90"/>
                        <a:pt x="174" y="91"/>
                        <a:pt x="174" y="92"/>
                      </a:cubicBezTo>
                      <a:cubicBezTo>
                        <a:pt x="171" y="107"/>
                        <a:pt x="171" y="107"/>
                        <a:pt x="171" y="107"/>
                      </a:cubicBezTo>
                      <a:cubicBezTo>
                        <a:pt x="171" y="111"/>
                        <a:pt x="168" y="114"/>
                        <a:pt x="165" y="114"/>
                      </a:cubicBezTo>
                      <a:cubicBezTo>
                        <a:pt x="159" y="116"/>
                        <a:pt x="153" y="118"/>
                        <a:pt x="148" y="121"/>
                      </a:cubicBezTo>
                      <a:cubicBezTo>
                        <a:pt x="145" y="123"/>
                        <a:pt x="141" y="123"/>
                        <a:pt x="138" y="121"/>
                      </a:cubicBezTo>
                      <a:cubicBezTo>
                        <a:pt x="125" y="112"/>
                        <a:pt x="125" y="112"/>
                        <a:pt x="125" y="112"/>
                      </a:cubicBezTo>
                      <a:cubicBezTo>
                        <a:pt x="124" y="111"/>
                        <a:pt x="123" y="111"/>
                        <a:pt x="122" y="112"/>
                      </a:cubicBezTo>
                      <a:cubicBezTo>
                        <a:pt x="113" y="121"/>
                        <a:pt x="113" y="121"/>
                        <a:pt x="113" y="121"/>
                      </a:cubicBezTo>
                      <a:cubicBezTo>
                        <a:pt x="112" y="122"/>
                        <a:pt x="112" y="124"/>
                        <a:pt x="112" y="125"/>
                      </a:cubicBezTo>
                      <a:cubicBezTo>
                        <a:pt x="121" y="138"/>
                        <a:pt x="121" y="138"/>
                        <a:pt x="121" y="138"/>
                      </a:cubicBezTo>
                      <a:cubicBezTo>
                        <a:pt x="123" y="141"/>
                        <a:pt x="124" y="144"/>
                        <a:pt x="122" y="147"/>
                      </a:cubicBezTo>
                      <a:cubicBezTo>
                        <a:pt x="119" y="153"/>
                        <a:pt x="116" y="158"/>
                        <a:pt x="115" y="164"/>
                      </a:cubicBezTo>
                      <a:cubicBezTo>
                        <a:pt x="114" y="168"/>
                        <a:pt x="111" y="171"/>
                        <a:pt x="107" y="171"/>
                      </a:cubicBezTo>
                      <a:cubicBezTo>
                        <a:pt x="92" y="174"/>
                        <a:pt x="92" y="174"/>
                        <a:pt x="92" y="174"/>
                      </a:cubicBezTo>
                      <a:cubicBezTo>
                        <a:pt x="91" y="174"/>
                        <a:pt x="90" y="175"/>
                        <a:pt x="90" y="177"/>
                      </a:cubicBezTo>
                      <a:cubicBezTo>
                        <a:pt x="90" y="190"/>
                        <a:pt x="90" y="190"/>
                        <a:pt x="90" y="190"/>
                      </a:cubicBezTo>
                      <a:cubicBezTo>
                        <a:pt x="90" y="191"/>
                        <a:pt x="91" y="192"/>
                        <a:pt x="92" y="192"/>
                      </a:cubicBezTo>
                      <a:cubicBezTo>
                        <a:pt x="107" y="195"/>
                        <a:pt x="107" y="195"/>
                        <a:pt x="107" y="195"/>
                      </a:cubicBezTo>
                      <a:cubicBezTo>
                        <a:pt x="111" y="196"/>
                        <a:pt x="114" y="198"/>
                        <a:pt x="115" y="201"/>
                      </a:cubicBezTo>
                      <a:cubicBezTo>
                        <a:pt x="116" y="207"/>
                        <a:pt x="119" y="213"/>
                        <a:pt x="122" y="218"/>
                      </a:cubicBezTo>
                      <a:cubicBezTo>
                        <a:pt x="123" y="221"/>
                        <a:pt x="123" y="225"/>
                        <a:pt x="121" y="228"/>
                      </a:cubicBezTo>
                      <a:cubicBezTo>
                        <a:pt x="112" y="241"/>
                        <a:pt x="112" y="241"/>
                        <a:pt x="112" y="241"/>
                      </a:cubicBezTo>
                      <a:cubicBezTo>
                        <a:pt x="111" y="242"/>
                        <a:pt x="112" y="243"/>
                        <a:pt x="113" y="244"/>
                      </a:cubicBezTo>
                      <a:cubicBezTo>
                        <a:pt x="122" y="254"/>
                        <a:pt x="122" y="254"/>
                        <a:pt x="122" y="254"/>
                      </a:cubicBezTo>
                      <a:cubicBezTo>
                        <a:pt x="123" y="255"/>
                        <a:pt x="124" y="255"/>
                        <a:pt x="125" y="254"/>
                      </a:cubicBezTo>
                      <a:cubicBezTo>
                        <a:pt x="138" y="245"/>
                        <a:pt x="138" y="245"/>
                        <a:pt x="138" y="245"/>
                      </a:cubicBezTo>
                      <a:cubicBezTo>
                        <a:pt x="141" y="243"/>
                        <a:pt x="145" y="243"/>
                        <a:pt x="148" y="244"/>
                      </a:cubicBezTo>
                      <a:cubicBezTo>
                        <a:pt x="153" y="247"/>
                        <a:pt x="159" y="250"/>
                        <a:pt x="165" y="251"/>
                      </a:cubicBezTo>
                      <a:cubicBezTo>
                        <a:pt x="168" y="252"/>
                        <a:pt x="171" y="255"/>
                        <a:pt x="171" y="259"/>
                      </a:cubicBezTo>
                      <a:cubicBezTo>
                        <a:pt x="174" y="274"/>
                        <a:pt x="174" y="274"/>
                        <a:pt x="174" y="274"/>
                      </a:cubicBezTo>
                      <a:cubicBezTo>
                        <a:pt x="174" y="275"/>
                        <a:pt x="175" y="276"/>
                        <a:pt x="177" y="276"/>
                      </a:cubicBezTo>
                      <a:cubicBezTo>
                        <a:pt x="190" y="276"/>
                        <a:pt x="190" y="276"/>
                        <a:pt x="190" y="276"/>
                      </a:cubicBezTo>
                      <a:cubicBezTo>
                        <a:pt x="191" y="276"/>
                        <a:pt x="192" y="275"/>
                        <a:pt x="192" y="274"/>
                      </a:cubicBezTo>
                      <a:cubicBezTo>
                        <a:pt x="195" y="259"/>
                        <a:pt x="195" y="259"/>
                        <a:pt x="195" y="259"/>
                      </a:cubicBezTo>
                      <a:cubicBezTo>
                        <a:pt x="196" y="255"/>
                        <a:pt x="198" y="252"/>
                        <a:pt x="202" y="252"/>
                      </a:cubicBezTo>
                      <a:cubicBezTo>
                        <a:pt x="208" y="250"/>
                        <a:pt x="213" y="248"/>
                        <a:pt x="219" y="245"/>
                      </a:cubicBezTo>
                      <a:cubicBezTo>
                        <a:pt x="222" y="243"/>
                        <a:pt x="225" y="243"/>
                        <a:pt x="228" y="245"/>
                      </a:cubicBezTo>
                      <a:cubicBezTo>
                        <a:pt x="241" y="254"/>
                        <a:pt x="241" y="254"/>
                        <a:pt x="241" y="254"/>
                      </a:cubicBezTo>
                      <a:cubicBezTo>
                        <a:pt x="242" y="255"/>
                        <a:pt x="244" y="255"/>
                        <a:pt x="245" y="254"/>
                      </a:cubicBezTo>
                      <a:cubicBezTo>
                        <a:pt x="254" y="245"/>
                        <a:pt x="254" y="245"/>
                        <a:pt x="254" y="245"/>
                      </a:cubicBezTo>
                      <a:cubicBezTo>
                        <a:pt x="255" y="244"/>
                        <a:pt x="255" y="242"/>
                        <a:pt x="254" y="241"/>
                      </a:cubicBezTo>
                      <a:cubicBezTo>
                        <a:pt x="245" y="228"/>
                        <a:pt x="245" y="228"/>
                        <a:pt x="245" y="228"/>
                      </a:cubicBezTo>
                      <a:cubicBezTo>
                        <a:pt x="243" y="225"/>
                        <a:pt x="243" y="222"/>
                        <a:pt x="245" y="219"/>
                      </a:cubicBezTo>
                      <a:cubicBezTo>
                        <a:pt x="248" y="213"/>
                        <a:pt x="250" y="208"/>
                        <a:pt x="252" y="202"/>
                      </a:cubicBezTo>
                      <a:cubicBezTo>
                        <a:pt x="253" y="198"/>
                        <a:pt x="255" y="196"/>
                        <a:pt x="259" y="195"/>
                      </a:cubicBezTo>
                      <a:cubicBezTo>
                        <a:pt x="274" y="192"/>
                        <a:pt x="274" y="192"/>
                        <a:pt x="274" y="192"/>
                      </a:cubicBezTo>
                      <a:cubicBezTo>
                        <a:pt x="276" y="192"/>
                        <a:pt x="277" y="191"/>
                        <a:pt x="277" y="189"/>
                      </a:cubicBezTo>
                      <a:lnTo>
                        <a:pt x="277"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8" name="Freeform 8"/>
                <p:cNvSpPr>
                  <a:spLocks noEditPoints="1"/>
                </p:cNvSpPr>
                <p:nvPr/>
              </p:nvSpPr>
              <p:spPr bwMode="auto">
                <a:xfrm>
                  <a:off x="2971618" y="1294395"/>
                  <a:ext cx="300902" cy="106853"/>
                </a:xfrm>
                <a:custGeom>
                  <a:avLst/>
                  <a:gdLst>
                    <a:gd name="T0" fmla="*/ 230 w 253"/>
                    <a:gd name="T1" fmla="*/ 90 h 90"/>
                    <a:gd name="T2" fmla="*/ 22 w 253"/>
                    <a:gd name="T3" fmla="*/ 90 h 90"/>
                    <a:gd name="T4" fmla="*/ 0 w 253"/>
                    <a:gd name="T5" fmla="*/ 68 h 90"/>
                    <a:gd name="T6" fmla="*/ 0 w 253"/>
                    <a:gd name="T7" fmla="*/ 22 h 90"/>
                    <a:gd name="T8" fmla="*/ 22 w 253"/>
                    <a:gd name="T9" fmla="*/ 0 h 90"/>
                    <a:gd name="T10" fmla="*/ 230 w 253"/>
                    <a:gd name="T11" fmla="*/ 0 h 90"/>
                    <a:gd name="T12" fmla="*/ 253 w 253"/>
                    <a:gd name="T13" fmla="*/ 22 h 90"/>
                    <a:gd name="T14" fmla="*/ 253 w 253"/>
                    <a:gd name="T15" fmla="*/ 68 h 90"/>
                    <a:gd name="T16" fmla="*/ 230 w 253"/>
                    <a:gd name="T17" fmla="*/ 90 h 90"/>
                    <a:gd name="T18" fmla="*/ 22 w 253"/>
                    <a:gd name="T19" fmla="*/ 18 h 90"/>
                    <a:gd name="T20" fmla="*/ 18 w 253"/>
                    <a:gd name="T21" fmla="*/ 22 h 90"/>
                    <a:gd name="T22" fmla="*/ 18 w 253"/>
                    <a:gd name="T23" fmla="*/ 68 h 90"/>
                    <a:gd name="T24" fmla="*/ 22 w 253"/>
                    <a:gd name="T25" fmla="*/ 72 h 90"/>
                    <a:gd name="T26" fmla="*/ 230 w 253"/>
                    <a:gd name="T27" fmla="*/ 72 h 90"/>
                    <a:gd name="T28" fmla="*/ 234 w 253"/>
                    <a:gd name="T29" fmla="*/ 68 h 90"/>
                    <a:gd name="T30" fmla="*/ 234 w 253"/>
                    <a:gd name="T31" fmla="*/ 22 h 90"/>
                    <a:gd name="T32" fmla="*/ 230 w 253"/>
                    <a:gd name="T33" fmla="*/ 18 h 90"/>
                    <a:gd name="T34" fmla="*/ 22 w 253"/>
                    <a:gd name="T35" fmla="*/ 1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3" h="90">
                      <a:moveTo>
                        <a:pt x="230" y="90"/>
                      </a:moveTo>
                      <a:cubicBezTo>
                        <a:pt x="22" y="90"/>
                        <a:pt x="22" y="90"/>
                        <a:pt x="22" y="90"/>
                      </a:cubicBezTo>
                      <a:cubicBezTo>
                        <a:pt x="10" y="90"/>
                        <a:pt x="0" y="80"/>
                        <a:pt x="0" y="68"/>
                      </a:cubicBezTo>
                      <a:cubicBezTo>
                        <a:pt x="0" y="22"/>
                        <a:pt x="0" y="22"/>
                        <a:pt x="0" y="22"/>
                      </a:cubicBezTo>
                      <a:cubicBezTo>
                        <a:pt x="0" y="10"/>
                        <a:pt x="10" y="0"/>
                        <a:pt x="22" y="0"/>
                      </a:cubicBezTo>
                      <a:cubicBezTo>
                        <a:pt x="230" y="0"/>
                        <a:pt x="230" y="0"/>
                        <a:pt x="230" y="0"/>
                      </a:cubicBezTo>
                      <a:cubicBezTo>
                        <a:pt x="242" y="0"/>
                        <a:pt x="253" y="10"/>
                        <a:pt x="253" y="22"/>
                      </a:cubicBezTo>
                      <a:cubicBezTo>
                        <a:pt x="253" y="68"/>
                        <a:pt x="253" y="68"/>
                        <a:pt x="253" y="68"/>
                      </a:cubicBezTo>
                      <a:cubicBezTo>
                        <a:pt x="253" y="80"/>
                        <a:pt x="242" y="90"/>
                        <a:pt x="230" y="90"/>
                      </a:cubicBezTo>
                      <a:moveTo>
                        <a:pt x="22" y="18"/>
                      </a:moveTo>
                      <a:cubicBezTo>
                        <a:pt x="20" y="18"/>
                        <a:pt x="18" y="20"/>
                        <a:pt x="18" y="22"/>
                      </a:cubicBezTo>
                      <a:cubicBezTo>
                        <a:pt x="18" y="68"/>
                        <a:pt x="18" y="68"/>
                        <a:pt x="18" y="68"/>
                      </a:cubicBezTo>
                      <a:cubicBezTo>
                        <a:pt x="18" y="70"/>
                        <a:pt x="20" y="72"/>
                        <a:pt x="22" y="72"/>
                      </a:cubicBezTo>
                      <a:cubicBezTo>
                        <a:pt x="230" y="72"/>
                        <a:pt x="230" y="72"/>
                        <a:pt x="230" y="72"/>
                      </a:cubicBezTo>
                      <a:cubicBezTo>
                        <a:pt x="232" y="72"/>
                        <a:pt x="234" y="70"/>
                        <a:pt x="234" y="68"/>
                      </a:cubicBezTo>
                      <a:cubicBezTo>
                        <a:pt x="234" y="22"/>
                        <a:pt x="234" y="22"/>
                        <a:pt x="234" y="22"/>
                      </a:cubicBezTo>
                      <a:cubicBezTo>
                        <a:pt x="234" y="20"/>
                        <a:pt x="232" y="18"/>
                        <a:pt x="230" y="18"/>
                      </a:cubicBezTo>
                      <a:lnTo>
                        <a:pt x="22"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9" name="Freeform 9"/>
                <p:cNvSpPr>
                  <a:spLocks noEditPoints="1"/>
                </p:cNvSpPr>
                <p:nvPr/>
              </p:nvSpPr>
              <p:spPr bwMode="auto">
                <a:xfrm>
                  <a:off x="2971618" y="1174941"/>
                  <a:ext cx="300902" cy="108365"/>
                </a:xfrm>
                <a:custGeom>
                  <a:avLst/>
                  <a:gdLst>
                    <a:gd name="T0" fmla="*/ 230 w 253"/>
                    <a:gd name="T1" fmla="*/ 91 h 91"/>
                    <a:gd name="T2" fmla="*/ 22 w 253"/>
                    <a:gd name="T3" fmla="*/ 91 h 91"/>
                    <a:gd name="T4" fmla="*/ 0 w 253"/>
                    <a:gd name="T5" fmla="*/ 68 h 91"/>
                    <a:gd name="T6" fmla="*/ 0 w 253"/>
                    <a:gd name="T7" fmla="*/ 23 h 91"/>
                    <a:gd name="T8" fmla="*/ 22 w 253"/>
                    <a:gd name="T9" fmla="*/ 0 h 91"/>
                    <a:gd name="T10" fmla="*/ 230 w 253"/>
                    <a:gd name="T11" fmla="*/ 0 h 91"/>
                    <a:gd name="T12" fmla="*/ 253 w 253"/>
                    <a:gd name="T13" fmla="*/ 23 h 91"/>
                    <a:gd name="T14" fmla="*/ 253 w 253"/>
                    <a:gd name="T15" fmla="*/ 68 h 91"/>
                    <a:gd name="T16" fmla="*/ 230 w 253"/>
                    <a:gd name="T17" fmla="*/ 91 h 91"/>
                    <a:gd name="T18" fmla="*/ 22 w 253"/>
                    <a:gd name="T19" fmla="*/ 19 h 91"/>
                    <a:gd name="T20" fmla="*/ 18 w 253"/>
                    <a:gd name="T21" fmla="*/ 23 h 91"/>
                    <a:gd name="T22" fmla="*/ 18 w 253"/>
                    <a:gd name="T23" fmla="*/ 68 h 91"/>
                    <a:gd name="T24" fmla="*/ 22 w 253"/>
                    <a:gd name="T25" fmla="*/ 73 h 91"/>
                    <a:gd name="T26" fmla="*/ 230 w 253"/>
                    <a:gd name="T27" fmla="*/ 73 h 91"/>
                    <a:gd name="T28" fmla="*/ 234 w 253"/>
                    <a:gd name="T29" fmla="*/ 68 h 91"/>
                    <a:gd name="T30" fmla="*/ 234 w 253"/>
                    <a:gd name="T31" fmla="*/ 23 h 91"/>
                    <a:gd name="T32" fmla="*/ 230 w 253"/>
                    <a:gd name="T33" fmla="*/ 19 h 91"/>
                    <a:gd name="T34" fmla="*/ 22 w 253"/>
                    <a:gd name="T35" fmla="*/ 1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3" h="91">
                      <a:moveTo>
                        <a:pt x="230" y="91"/>
                      </a:moveTo>
                      <a:cubicBezTo>
                        <a:pt x="22" y="91"/>
                        <a:pt x="22" y="91"/>
                        <a:pt x="22" y="91"/>
                      </a:cubicBezTo>
                      <a:cubicBezTo>
                        <a:pt x="10" y="91"/>
                        <a:pt x="0" y="81"/>
                        <a:pt x="0" y="68"/>
                      </a:cubicBezTo>
                      <a:cubicBezTo>
                        <a:pt x="0" y="23"/>
                        <a:pt x="0" y="23"/>
                        <a:pt x="0" y="23"/>
                      </a:cubicBezTo>
                      <a:cubicBezTo>
                        <a:pt x="0" y="11"/>
                        <a:pt x="10" y="0"/>
                        <a:pt x="22" y="0"/>
                      </a:cubicBezTo>
                      <a:cubicBezTo>
                        <a:pt x="230" y="0"/>
                        <a:pt x="230" y="0"/>
                        <a:pt x="230" y="0"/>
                      </a:cubicBezTo>
                      <a:cubicBezTo>
                        <a:pt x="242" y="0"/>
                        <a:pt x="253" y="11"/>
                        <a:pt x="253" y="23"/>
                      </a:cubicBezTo>
                      <a:cubicBezTo>
                        <a:pt x="253" y="68"/>
                        <a:pt x="253" y="68"/>
                        <a:pt x="253" y="68"/>
                      </a:cubicBezTo>
                      <a:cubicBezTo>
                        <a:pt x="253" y="81"/>
                        <a:pt x="242" y="91"/>
                        <a:pt x="230" y="91"/>
                      </a:cubicBezTo>
                      <a:moveTo>
                        <a:pt x="22" y="19"/>
                      </a:moveTo>
                      <a:cubicBezTo>
                        <a:pt x="20" y="19"/>
                        <a:pt x="18" y="21"/>
                        <a:pt x="18" y="23"/>
                      </a:cubicBezTo>
                      <a:cubicBezTo>
                        <a:pt x="18" y="68"/>
                        <a:pt x="18" y="68"/>
                        <a:pt x="18" y="68"/>
                      </a:cubicBezTo>
                      <a:cubicBezTo>
                        <a:pt x="18" y="71"/>
                        <a:pt x="20" y="73"/>
                        <a:pt x="22" y="73"/>
                      </a:cubicBezTo>
                      <a:cubicBezTo>
                        <a:pt x="230" y="73"/>
                        <a:pt x="230" y="73"/>
                        <a:pt x="230" y="73"/>
                      </a:cubicBezTo>
                      <a:cubicBezTo>
                        <a:pt x="232" y="73"/>
                        <a:pt x="234" y="71"/>
                        <a:pt x="234" y="68"/>
                      </a:cubicBezTo>
                      <a:cubicBezTo>
                        <a:pt x="234" y="23"/>
                        <a:pt x="234" y="23"/>
                        <a:pt x="234" y="23"/>
                      </a:cubicBezTo>
                      <a:cubicBezTo>
                        <a:pt x="234" y="21"/>
                        <a:pt x="232" y="19"/>
                        <a:pt x="230" y="19"/>
                      </a:cubicBezTo>
                      <a:lnTo>
                        <a:pt x="2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0" name="Oval 10"/>
                <p:cNvSpPr>
                  <a:spLocks noChangeArrowheads="1"/>
                </p:cNvSpPr>
                <p:nvPr/>
              </p:nvSpPr>
              <p:spPr bwMode="auto">
                <a:xfrm>
                  <a:off x="3014460" y="1219296"/>
                  <a:ext cx="21169" cy="211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1" name="Oval 11"/>
                <p:cNvSpPr>
                  <a:spLocks noChangeArrowheads="1"/>
                </p:cNvSpPr>
                <p:nvPr/>
              </p:nvSpPr>
              <p:spPr bwMode="auto">
                <a:xfrm>
                  <a:off x="3014460" y="1337237"/>
                  <a:ext cx="21169" cy="211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2" name="Oval 12"/>
                <p:cNvSpPr>
                  <a:spLocks noChangeArrowheads="1"/>
                </p:cNvSpPr>
                <p:nvPr/>
              </p:nvSpPr>
              <p:spPr bwMode="auto">
                <a:xfrm>
                  <a:off x="3057302" y="1219296"/>
                  <a:ext cx="21169" cy="211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3" name="Oval 13"/>
                <p:cNvSpPr>
                  <a:spLocks noChangeArrowheads="1"/>
                </p:cNvSpPr>
                <p:nvPr/>
              </p:nvSpPr>
              <p:spPr bwMode="auto">
                <a:xfrm>
                  <a:off x="3057302" y="1337237"/>
                  <a:ext cx="21169" cy="2116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pSp>
          <p:nvGrpSpPr>
            <p:cNvPr id="49" name="Group 48"/>
            <p:cNvGrpSpPr/>
            <p:nvPr/>
          </p:nvGrpSpPr>
          <p:grpSpPr>
            <a:xfrm>
              <a:off x="5312087" y="998071"/>
              <a:ext cx="1083733" cy="517461"/>
              <a:chOff x="5312087" y="998071"/>
              <a:chExt cx="1083733" cy="517461"/>
            </a:xfrm>
          </p:grpSpPr>
          <p:sp>
            <p:nvSpPr>
              <p:cNvPr id="22" name="Rounded Rectangle 21"/>
              <p:cNvSpPr/>
              <p:nvPr/>
            </p:nvSpPr>
            <p:spPr>
              <a:xfrm>
                <a:off x="5312087" y="998071"/>
                <a:ext cx="1083733" cy="517461"/>
              </a:xfrm>
              <a:prstGeom prst="roundRect">
                <a:avLst>
                  <a:gd name="adj" fmla="val 8528"/>
                </a:avLst>
              </a:prstGeom>
              <a:solidFill>
                <a:srgbClr val="004BAF"/>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700">
                  <a:solidFill>
                    <a:schemeClr val="bg1"/>
                  </a:solidFill>
                </a:endParaRPr>
              </a:p>
            </p:txBody>
          </p:sp>
          <p:grpSp>
            <p:nvGrpSpPr>
              <p:cNvPr id="47" name="Group 46"/>
              <p:cNvGrpSpPr/>
              <p:nvPr/>
            </p:nvGrpSpPr>
            <p:grpSpPr>
              <a:xfrm>
                <a:off x="5733744" y="1077665"/>
                <a:ext cx="240419" cy="369953"/>
                <a:chOff x="5745765" y="1077665"/>
                <a:chExt cx="240419" cy="369953"/>
              </a:xfrm>
            </p:grpSpPr>
            <p:sp>
              <p:nvSpPr>
                <p:cNvPr id="44" name="Freeform 14"/>
                <p:cNvSpPr>
                  <a:spLocks noEditPoints="1"/>
                </p:cNvSpPr>
                <p:nvPr/>
              </p:nvSpPr>
              <p:spPr bwMode="auto">
                <a:xfrm>
                  <a:off x="5745765" y="1077665"/>
                  <a:ext cx="240419" cy="369953"/>
                </a:xfrm>
                <a:custGeom>
                  <a:avLst/>
                  <a:gdLst>
                    <a:gd name="T0" fmla="*/ 185 w 202"/>
                    <a:gd name="T1" fmla="*/ 0 h 311"/>
                    <a:gd name="T2" fmla="*/ 17 w 202"/>
                    <a:gd name="T3" fmla="*/ 0 h 311"/>
                    <a:gd name="T4" fmla="*/ 0 w 202"/>
                    <a:gd name="T5" fmla="*/ 16 h 311"/>
                    <a:gd name="T6" fmla="*/ 0 w 202"/>
                    <a:gd name="T7" fmla="*/ 295 h 311"/>
                    <a:gd name="T8" fmla="*/ 17 w 202"/>
                    <a:gd name="T9" fmla="*/ 311 h 311"/>
                    <a:gd name="T10" fmla="*/ 185 w 202"/>
                    <a:gd name="T11" fmla="*/ 311 h 311"/>
                    <a:gd name="T12" fmla="*/ 202 w 202"/>
                    <a:gd name="T13" fmla="*/ 295 h 311"/>
                    <a:gd name="T14" fmla="*/ 202 w 202"/>
                    <a:gd name="T15" fmla="*/ 16 h 311"/>
                    <a:gd name="T16" fmla="*/ 185 w 202"/>
                    <a:gd name="T17" fmla="*/ 0 h 311"/>
                    <a:gd name="T18" fmla="*/ 16 w 202"/>
                    <a:gd name="T19" fmla="*/ 47 h 311"/>
                    <a:gd name="T20" fmla="*/ 186 w 202"/>
                    <a:gd name="T21" fmla="*/ 47 h 311"/>
                    <a:gd name="T22" fmla="*/ 186 w 202"/>
                    <a:gd name="T23" fmla="*/ 233 h 311"/>
                    <a:gd name="T24" fmla="*/ 16 w 202"/>
                    <a:gd name="T25" fmla="*/ 233 h 311"/>
                    <a:gd name="T26" fmla="*/ 16 w 202"/>
                    <a:gd name="T27" fmla="*/ 47 h 311"/>
                    <a:gd name="T28" fmla="*/ 17 w 202"/>
                    <a:gd name="T29" fmla="*/ 15 h 311"/>
                    <a:gd name="T30" fmla="*/ 185 w 202"/>
                    <a:gd name="T31" fmla="*/ 15 h 311"/>
                    <a:gd name="T32" fmla="*/ 186 w 202"/>
                    <a:gd name="T33" fmla="*/ 16 h 311"/>
                    <a:gd name="T34" fmla="*/ 186 w 202"/>
                    <a:gd name="T35" fmla="*/ 31 h 311"/>
                    <a:gd name="T36" fmla="*/ 16 w 202"/>
                    <a:gd name="T37" fmla="*/ 31 h 311"/>
                    <a:gd name="T38" fmla="*/ 16 w 202"/>
                    <a:gd name="T39" fmla="*/ 16 h 311"/>
                    <a:gd name="T40" fmla="*/ 17 w 202"/>
                    <a:gd name="T41" fmla="*/ 15 h 311"/>
                    <a:gd name="T42" fmla="*/ 185 w 202"/>
                    <a:gd name="T43" fmla="*/ 296 h 311"/>
                    <a:gd name="T44" fmla="*/ 17 w 202"/>
                    <a:gd name="T45" fmla="*/ 296 h 311"/>
                    <a:gd name="T46" fmla="*/ 16 w 202"/>
                    <a:gd name="T47" fmla="*/ 295 h 311"/>
                    <a:gd name="T48" fmla="*/ 16 w 202"/>
                    <a:gd name="T49" fmla="*/ 249 h 311"/>
                    <a:gd name="T50" fmla="*/ 186 w 202"/>
                    <a:gd name="T51" fmla="*/ 249 h 311"/>
                    <a:gd name="T52" fmla="*/ 186 w 202"/>
                    <a:gd name="T53" fmla="*/ 295 h 311"/>
                    <a:gd name="T54" fmla="*/ 185 w 202"/>
                    <a:gd name="T55" fmla="*/ 296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2" h="311">
                      <a:moveTo>
                        <a:pt x="185" y="0"/>
                      </a:moveTo>
                      <a:cubicBezTo>
                        <a:pt x="17" y="0"/>
                        <a:pt x="17" y="0"/>
                        <a:pt x="17" y="0"/>
                      </a:cubicBezTo>
                      <a:cubicBezTo>
                        <a:pt x="7" y="0"/>
                        <a:pt x="0" y="7"/>
                        <a:pt x="0" y="16"/>
                      </a:cubicBezTo>
                      <a:cubicBezTo>
                        <a:pt x="0" y="295"/>
                        <a:pt x="0" y="295"/>
                        <a:pt x="0" y="295"/>
                      </a:cubicBezTo>
                      <a:cubicBezTo>
                        <a:pt x="0" y="304"/>
                        <a:pt x="7" y="311"/>
                        <a:pt x="17" y="311"/>
                      </a:cubicBezTo>
                      <a:cubicBezTo>
                        <a:pt x="185" y="311"/>
                        <a:pt x="185" y="311"/>
                        <a:pt x="185" y="311"/>
                      </a:cubicBezTo>
                      <a:cubicBezTo>
                        <a:pt x="194" y="311"/>
                        <a:pt x="202" y="304"/>
                        <a:pt x="202" y="295"/>
                      </a:cubicBezTo>
                      <a:cubicBezTo>
                        <a:pt x="202" y="16"/>
                        <a:pt x="202" y="16"/>
                        <a:pt x="202" y="16"/>
                      </a:cubicBezTo>
                      <a:cubicBezTo>
                        <a:pt x="202" y="7"/>
                        <a:pt x="194" y="0"/>
                        <a:pt x="185" y="0"/>
                      </a:cubicBezTo>
                      <a:moveTo>
                        <a:pt x="16" y="47"/>
                      </a:moveTo>
                      <a:cubicBezTo>
                        <a:pt x="186" y="47"/>
                        <a:pt x="186" y="47"/>
                        <a:pt x="186" y="47"/>
                      </a:cubicBezTo>
                      <a:cubicBezTo>
                        <a:pt x="186" y="233"/>
                        <a:pt x="186" y="233"/>
                        <a:pt x="186" y="233"/>
                      </a:cubicBezTo>
                      <a:cubicBezTo>
                        <a:pt x="16" y="233"/>
                        <a:pt x="16" y="233"/>
                        <a:pt x="16" y="233"/>
                      </a:cubicBezTo>
                      <a:lnTo>
                        <a:pt x="16" y="47"/>
                      </a:lnTo>
                      <a:close/>
                      <a:moveTo>
                        <a:pt x="17" y="15"/>
                      </a:moveTo>
                      <a:cubicBezTo>
                        <a:pt x="185" y="15"/>
                        <a:pt x="185" y="15"/>
                        <a:pt x="185" y="15"/>
                      </a:cubicBezTo>
                      <a:cubicBezTo>
                        <a:pt x="186" y="15"/>
                        <a:pt x="186" y="16"/>
                        <a:pt x="186" y="16"/>
                      </a:cubicBezTo>
                      <a:cubicBezTo>
                        <a:pt x="186" y="31"/>
                        <a:pt x="186" y="31"/>
                        <a:pt x="186" y="31"/>
                      </a:cubicBezTo>
                      <a:cubicBezTo>
                        <a:pt x="16" y="31"/>
                        <a:pt x="16" y="31"/>
                        <a:pt x="16" y="31"/>
                      </a:cubicBezTo>
                      <a:cubicBezTo>
                        <a:pt x="16" y="16"/>
                        <a:pt x="16" y="16"/>
                        <a:pt x="16" y="16"/>
                      </a:cubicBezTo>
                      <a:cubicBezTo>
                        <a:pt x="16" y="16"/>
                        <a:pt x="16" y="15"/>
                        <a:pt x="17" y="15"/>
                      </a:cubicBezTo>
                      <a:moveTo>
                        <a:pt x="185" y="296"/>
                      </a:moveTo>
                      <a:cubicBezTo>
                        <a:pt x="17" y="296"/>
                        <a:pt x="17" y="296"/>
                        <a:pt x="17" y="296"/>
                      </a:cubicBezTo>
                      <a:cubicBezTo>
                        <a:pt x="16" y="296"/>
                        <a:pt x="16" y="295"/>
                        <a:pt x="16" y="295"/>
                      </a:cubicBezTo>
                      <a:cubicBezTo>
                        <a:pt x="16" y="249"/>
                        <a:pt x="16" y="249"/>
                        <a:pt x="16" y="249"/>
                      </a:cubicBezTo>
                      <a:cubicBezTo>
                        <a:pt x="186" y="249"/>
                        <a:pt x="186" y="249"/>
                        <a:pt x="186" y="249"/>
                      </a:cubicBezTo>
                      <a:cubicBezTo>
                        <a:pt x="186" y="295"/>
                        <a:pt x="186" y="295"/>
                        <a:pt x="186" y="295"/>
                      </a:cubicBezTo>
                      <a:cubicBezTo>
                        <a:pt x="186" y="295"/>
                        <a:pt x="186" y="296"/>
                        <a:pt x="185" y="2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5" name="Freeform 15"/>
                <p:cNvSpPr>
                  <a:spLocks/>
                </p:cNvSpPr>
                <p:nvPr/>
              </p:nvSpPr>
              <p:spPr bwMode="auto">
                <a:xfrm>
                  <a:off x="5838505" y="1393183"/>
                  <a:ext cx="54939" cy="17641"/>
                </a:xfrm>
                <a:custGeom>
                  <a:avLst/>
                  <a:gdLst>
                    <a:gd name="T0" fmla="*/ 39 w 46"/>
                    <a:gd name="T1" fmla="*/ 0 h 15"/>
                    <a:gd name="T2" fmla="*/ 7 w 46"/>
                    <a:gd name="T3" fmla="*/ 0 h 15"/>
                    <a:gd name="T4" fmla="*/ 0 w 46"/>
                    <a:gd name="T5" fmla="*/ 7 h 15"/>
                    <a:gd name="T6" fmla="*/ 7 w 46"/>
                    <a:gd name="T7" fmla="*/ 15 h 15"/>
                    <a:gd name="T8" fmla="*/ 39 w 46"/>
                    <a:gd name="T9" fmla="*/ 15 h 15"/>
                    <a:gd name="T10" fmla="*/ 46 w 46"/>
                    <a:gd name="T11" fmla="*/ 7 h 15"/>
                    <a:gd name="T12" fmla="*/ 39 w 4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46" h="15">
                      <a:moveTo>
                        <a:pt x="39" y="0"/>
                      </a:moveTo>
                      <a:cubicBezTo>
                        <a:pt x="7" y="0"/>
                        <a:pt x="7" y="0"/>
                        <a:pt x="7" y="0"/>
                      </a:cubicBezTo>
                      <a:cubicBezTo>
                        <a:pt x="3" y="0"/>
                        <a:pt x="0" y="3"/>
                        <a:pt x="0" y="7"/>
                      </a:cubicBezTo>
                      <a:cubicBezTo>
                        <a:pt x="0" y="12"/>
                        <a:pt x="3" y="15"/>
                        <a:pt x="7" y="15"/>
                      </a:cubicBezTo>
                      <a:cubicBezTo>
                        <a:pt x="39" y="15"/>
                        <a:pt x="39" y="15"/>
                        <a:pt x="39" y="15"/>
                      </a:cubicBezTo>
                      <a:cubicBezTo>
                        <a:pt x="43" y="15"/>
                        <a:pt x="46" y="12"/>
                        <a:pt x="46" y="7"/>
                      </a:cubicBezTo>
                      <a:cubicBezTo>
                        <a:pt x="46" y="3"/>
                        <a:pt x="43" y="0"/>
                        <a:pt x="3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pSp>
    </p:spTree>
    <p:extLst>
      <p:ext uri="{BB962C8B-B14F-4D97-AF65-F5344CB8AC3E}">
        <p14:creationId xmlns:p14="http://schemas.microsoft.com/office/powerpoint/2010/main" val="1850071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921000" y="914401"/>
            <a:ext cx="5858931" cy="3987799"/>
          </a:xfrm>
          <a:prstGeom prst="rect">
            <a:avLst/>
          </a:prstGeom>
          <a:solidFill>
            <a:srgbClr val="FFFFFF"/>
          </a:soli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TextBox 175"/>
          <p:cNvSpPr txBox="1"/>
          <p:nvPr/>
        </p:nvSpPr>
        <p:spPr>
          <a:xfrm>
            <a:off x="6729259" y="2856005"/>
            <a:ext cx="667170" cy="207749"/>
          </a:xfrm>
          <a:prstGeom prst="rect">
            <a:avLst/>
          </a:prstGeom>
          <a:noFill/>
        </p:spPr>
        <p:txBody>
          <a:bodyPr wrap="none" rtlCol="0" anchor="b" anchorCtr="0">
            <a:spAutoFit/>
          </a:bodyPr>
          <a:lstStyle/>
          <a:p>
            <a:pPr algn="ctr">
              <a:spcBef>
                <a:spcPts val="1800"/>
              </a:spcBef>
            </a:pPr>
            <a:r>
              <a:rPr lang="en-US" sz="750" dirty="0">
                <a:solidFill>
                  <a:srgbClr val="004990"/>
                </a:solidFill>
              </a:rPr>
              <a:t>User Plane</a:t>
            </a:r>
          </a:p>
        </p:txBody>
      </p:sp>
      <p:sp useBgFill="1">
        <p:nvSpPr>
          <p:cNvPr id="162" name="Rectangle 161"/>
          <p:cNvSpPr>
            <a:spLocks noChangeAspect="1"/>
          </p:cNvSpPr>
          <p:nvPr/>
        </p:nvSpPr>
        <p:spPr>
          <a:xfrm>
            <a:off x="1" y="4529667"/>
            <a:ext cx="1032932" cy="613833"/>
          </a:xfrm>
          <a:prstGeom prst="rect">
            <a:avLst/>
          </a:prstGeom>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364068" y="914401"/>
            <a:ext cx="2556932" cy="3987799"/>
          </a:xfrm>
          <a:prstGeom prst="rect">
            <a:avLst/>
          </a:prstGeom>
          <a:solidFill>
            <a:schemeClr val="tx2"/>
          </a:soli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22664" y="173590"/>
            <a:ext cx="9021336" cy="769441"/>
          </a:xfrm>
        </p:spPr>
        <p:txBody>
          <a:bodyPr/>
          <a:lstStyle/>
          <a:p>
            <a:r>
              <a:rPr lang="en-US" dirty="0" smtClean="0"/>
              <a:t>3 Phase Transformation </a:t>
            </a:r>
            <a:r>
              <a:rPr lang="en-US" dirty="0"/>
              <a:t>to 5G </a:t>
            </a:r>
            <a:r>
              <a:rPr lang="en-US" dirty="0" smtClean="0"/>
              <a:t>Network</a:t>
            </a:r>
            <a:r>
              <a:rPr lang="en-US" sz="2200" dirty="0" smtClean="0"/>
              <a:t/>
            </a:r>
            <a:br>
              <a:rPr lang="en-US" sz="2200" dirty="0" smtClean="0"/>
            </a:br>
            <a:r>
              <a:rPr lang="en-US" sz="2400" dirty="0" smtClean="0"/>
              <a:t>Offering 5G Ready Services Today</a:t>
            </a:r>
            <a:endParaRPr lang="en-US" sz="2400" dirty="0"/>
          </a:p>
        </p:txBody>
      </p:sp>
      <p:sp>
        <p:nvSpPr>
          <p:cNvPr id="3" name="Slide Number Placeholder 2"/>
          <p:cNvSpPr>
            <a:spLocks noGrp="1"/>
          </p:cNvSpPr>
          <p:nvPr>
            <p:ph type="sldNum" sz="quarter" idx="10"/>
          </p:nvPr>
        </p:nvSpPr>
        <p:spPr/>
        <p:txBody>
          <a:bodyPr/>
          <a:lstStyle/>
          <a:p>
            <a:fld id="{75DD04D1-EEAE-46DB-A58B-EEB3999969E6}" type="slidenum">
              <a:rPr lang="en-US" smtClean="0"/>
              <a:t>11</a:t>
            </a:fld>
            <a:endParaRPr lang="en-US"/>
          </a:p>
        </p:txBody>
      </p:sp>
      <p:cxnSp>
        <p:nvCxnSpPr>
          <p:cNvPr id="10" name="Straight Connector 9"/>
          <p:cNvCxnSpPr/>
          <p:nvPr/>
        </p:nvCxnSpPr>
        <p:spPr>
          <a:xfrm>
            <a:off x="7057233" y="3265868"/>
            <a:ext cx="0" cy="800166"/>
          </a:xfrm>
          <a:prstGeom prst="line">
            <a:avLst/>
          </a:prstGeom>
          <a:ln w="12700" cap="rnd">
            <a:solidFill>
              <a:srgbClr val="004BAF"/>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4235450" y="4172406"/>
            <a:ext cx="3217221" cy="0"/>
          </a:xfrm>
          <a:prstGeom prst="line">
            <a:avLst/>
          </a:prstGeom>
          <a:ln w="12700" cap="rnd">
            <a:solidFill>
              <a:srgbClr val="004BAF"/>
            </a:solidFill>
          </a:ln>
        </p:spPr>
        <p:style>
          <a:lnRef idx="1">
            <a:schemeClr val="accent1"/>
          </a:lnRef>
          <a:fillRef idx="0">
            <a:schemeClr val="accent1"/>
          </a:fillRef>
          <a:effectRef idx="0">
            <a:schemeClr val="accent1"/>
          </a:effectRef>
          <a:fontRef idx="minor">
            <a:schemeClr val="tx1"/>
          </a:fontRef>
        </p:style>
      </p:cxnSp>
      <p:grpSp>
        <p:nvGrpSpPr>
          <p:cNvPr id="150" name="Group 149"/>
          <p:cNvGrpSpPr/>
          <p:nvPr/>
        </p:nvGrpSpPr>
        <p:grpSpPr>
          <a:xfrm>
            <a:off x="4748947" y="3444292"/>
            <a:ext cx="351305" cy="351305"/>
            <a:chOff x="4453050" y="3406192"/>
            <a:chExt cx="351305" cy="351305"/>
          </a:xfrm>
        </p:grpSpPr>
        <p:sp>
          <p:nvSpPr>
            <p:cNvPr id="28" name="Oval 85"/>
            <p:cNvSpPr>
              <a:spLocks noChangeArrowheads="1"/>
            </p:cNvSpPr>
            <p:nvPr/>
          </p:nvSpPr>
          <p:spPr bwMode="auto">
            <a:xfrm>
              <a:off x="4453050" y="3406192"/>
              <a:ext cx="351305" cy="351305"/>
            </a:xfrm>
            <a:prstGeom prst="ellipse">
              <a:avLst/>
            </a:pr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9" name="Group 148"/>
            <p:cNvGrpSpPr/>
            <p:nvPr/>
          </p:nvGrpSpPr>
          <p:grpSpPr>
            <a:xfrm>
              <a:off x="4538734" y="3493389"/>
              <a:ext cx="179937" cy="176408"/>
              <a:chOff x="4538734" y="3493389"/>
              <a:chExt cx="179937" cy="176408"/>
            </a:xfrm>
          </p:grpSpPr>
          <p:sp>
            <p:nvSpPr>
              <p:cNvPr id="29" name="Freeform 86"/>
              <p:cNvSpPr>
                <a:spLocks noEditPoints="1"/>
              </p:cNvSpPr>
              <p:nvPr/>
            </p:nvSpPr>
            <p:spPr bwMode="auto">
              <a:xfrm>
                <a:off x="4557887" y="3512541"/>
                <a:ext cx="27217" cy="27217"/>
              </a:xfrm>
              <a:custGeom>
                <a:avLst/>
                <a:gdLst>
                  <a:gd name="T0" fmla="*/ 12 w 23"/>
                  <a:gd name="T1" fmla="*/ 0 h 23"/>
                  <a:gd name="T2" fmla="*/ 0 w 23"/>
                  <a:gd name="T3" fmla="*/ 12 h 23"/>
                  <a:gd name="T4" fmla="*/ 12 w 23"/>
                  <a:gd name="T5" fmla="*/ 23 h 23"/>
                  <a:gd name="T6" fmla="*/ 23 w 23"/>
                  <a:gd name="T7" fmla="*/ 12 h 23"/>
                  <a:gd name="T8" fmla="*/ 12 w 23"/>
                  <a:gd name="T9" fmla="*/ 0 h 23"/>
                  <a:gd name="T10" fmla="*/ 12 w 23"/>
                  <a:gd name="T11" fmla="*/ 18 h 23"/>
                  <a:gd name="T12" fmla="*/ 5 w 23"/>
                  <a:gd name="T13" fmla="*/ 12 h 23"/>
                  <a:gd name="T14" fmla="*/ 12 w 23"/>
                  <a:gd name="T15" fmla="*/ 5 h 23"/>
                  <a:gd name="T16" fmla="*/ 18 w 23"/>
                  <a:gd name="T17" fmla="*/ 12 h 23"/>
                  <a:gd name="T18" fmla="*/ 12 w 23"/>
                  <a:gd name="T19"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0"/>
                    </a:moveTo>
                    <a:cubicBezTo>
                      <a:pt x="5" y="0"/>
                      <a:pt x="0" y="5"/>
                      <a:pt x="0" y="12"/>
                    </a:cubicBezTo>
                    <a:cubicBezTo>
                      <a:pt x="0" y="18"/>
                      <a:pt x="5" y="23"/>
                      <a:pt x="12" y="23"/>
                    </a:cubicBezTo>
                    <a:cubicBezTo>
                      <a:pt x="18" y="23"/>
                      <a:pt x="23" y="18"/>
                      <a:pt x="23" y="12"/>
                    </a:cubicBezTo>
                    <a:cubicBezTo>
                      <a:pt x="23" y="5"/>
                      <a:pt x="18" y="0"/>
                      <a:pt x="12" y="0"/>
                    </a:cubicBezTo>
                    <a:moveTo>
                      <a:pt x="12" y="18"/>
                    </a:moveTo>
                    <a:cubicBezTo>
                      <a:pt x="8" y="18"/>
                      <a:pt x="5" y="15"/>
                      <a:pt x="5" y="12"/>
                    </a:cubicBezTo>
                    <a:cubicBezTo>
                      <a:pt x="5" y="8"/>
                      <a:pt x="8" y="5"/>
                      <a:pt x="12" y="5"/>
                    </a:cubicBezTo>
                    <a:cubicBezTo>
                      <a:pt x="15" y="5"/>
                      <a:pt x="18" y="8"/>
                      <a:pt x="18" y="12"/>
                    </a:cubicBezTo>
                    <a:cubicBezTo>
                      <a:pt x="18" y="15"/>
                      <a:pt x="15" y="18"/>
                      <a:pt x="12"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87"/>
              <p:cNvSpPr>
                <a:spLocks noEditPoints="1"/>
              </p:cNvSpPr>
              <p:nvPr/>
            </p:nvSpPr>
            <p:spPr bwMode="auto">
              <a:xfrm>
                <a:off x="4556375" y="3511029"/>
                <a:ext cx="29737" cy="29737"/>
              </a:xfrm>
              <a:custGeom>
                <a:avLst/>
                <a:gdLst>
                  <a:gd name="T0" fmla="*/ 13 w 25"/>
                  <a:gd name="T1" fmla="*/ 25 h 25"/>
                  <a:gd name="T2" fmla="*/ 0 w 25"/>
                  <a:gd name="T3" fmla="*/ 13 h 25"/>
                  <a:gd name="T4" fmla="*/ 13 w 25"/>
                  <a:gd name="T5" fmla="*/ 0 h 25"/>
                  <a:gd name="T6" fmla="*/ 25 w 25"/>
                  <a:gd name="T7" fmla="*/ 13 h 25"/>
                  <a:gd name="T8" fmla="*/ 13 w 25"/>
                  <a:gd name="T9" fmla="*/ 25 h 25"/>
                  <a:gd name="T10" fmla="*/ 13 w 25"/>
                  <a:gd name="T11" fmla="*/ 3 h 25"/>
                  <a:gd name="T12" fmla="*/ 3 w 25"/>
                  <a:gd name="T13" fmla="*/ 13 h 25"/>
                  <a:gd name="T14" fmla="*/ 13 w 25"/>
                  <a:gd name="T15" fmla="*/ 22 h 25"/>
                  <a:gd name="T16" fmla="*/ 22 w 25"/>
                  <a:gd name="T17" fmla="*/ 13 h 25"/>
                  <a:gd name="T18" fmla="*/ 13 w 25"/>
                  <a:gd name="T19" fmla="*/ 3 h 25"/>
                  <a:gd name="T20" fmla="*/ 13 w 25"/>
                  <a:gd name="T21" fmla="*/ 20 h 25"/>
                  <a:gd name="T22" fmla="*/ 5 w 25"/>
                  <a:gd name="T23" fmla="*/ 13 h 25"/>
                  <a:gd name="T24" fmla="*/ 13 w 25"/>
                  <a:gd name="T25" fmla="*/ 5 h 25"/>
                  <a:gd name="T26" fmla="*/ 20 w 25"/>
                  <a:gd name="T27" fmla="*/ 13 h 25"/>
                  <a:gd name="T28" fmla="*/ 13 w 25"/>
                  <a:gd name="T29" fmla="*/ 20 h 25"/>
                  <a:gd name="T30" fmla="*/ 13 w 25"/>
                  <a:gd name="T31" fmla="*/ 8 h 25"/>
                  <a:gd name="T32" fmla="*/ 8 w 25"/>
                  <a:gd name="T33" fmla="*/ 13 h 25"/>
                  <a:gd name="T34" fmla="*/ 13 w 25"/>
                  <a:gd name="T35" fmla="*/ 17 h 25"/>
                  <a:gd name="T36" fmla="*/ 17 w 25"/>
                  <a:gd name="T37" fmla="*/ 13 h 25"/>
                  <a:gd name="T38" fmla="*/ 13 w 25"/>
                  <a:gd name="T39"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5">
                    <a:moveTo>
                      <a:pt x="13" y="25"/>
                    </a:moveTo>
                    <a:cubicBezTo>
                      <a:pt x="6" y="25"/>
                      <a:pt x="0" y="19"/>
                      <a:pt x="0" y="13"/>
                    </a:cubicBezTo>
                    <a:cubicBezTo>
                      <a:pt x="0" y="6"/>
                      <a:pt x="6" y="0"/>
                      <a:pt x="13" y="0"/>
                    </a:cubicBezTo>
                    <a:cubicBezTo>
                      <a:pt x="19" y="0"/>
                      <a:pt x="25" y="6"/>
                      <a:pt x="25" y="13"/>
                    </a:cubicBezTo>
                    <a:cubicBezTo>
                      <a:pt x="25" y="19"/>
                      <a:pt x="19" y="25"/>
                      <a:pt x="13" y="25"/>
                    </a:cubicBezTo>
                    <a:moveTo>
                      <a:pt x="13" y="3"/>
                    </a:moveTo>
                    <a:cubicBezTo>
                      <a:pt x="7" y="3"/>
                      <a:pt x="3" y="7"/>
                      <a:pt x="3" y="13"/>
                    </a:cubicBezTo>
                    <a:cubicBezTo>
                      <a:pt x="3" y="18"/>
                      <a:pt x="7" y="22"/>
                      <a:pt x="13" y="22"/>
                    </a:cubicBezTo>
                    <a:cubicBezTo>
                      <a:pt x="18" y="22"/>
                      <a:pt x="22" y="18"/>
                      <a:pt x="22" y="13"/>
                    </a:cubicBezTo>
                    <a:cubicBezTo>
                      <a:pt x="22" y="7"/>
                      <a:pt x="18" y="3"/>
                      <a:pt x="13" y="3"/>
                    </a:cubicBezTo>
                    <a:moveTo>
                      <a:pt x="13" y="20"/>
                    </a:moveTo>
                    <a:cubicBezTo>
                      <a:pt x="8" y="20"/>
                      <a:pt x="5" y="17"/>
                      <a:pt x="5" y="13"/>
                    </a:cubicBezTo>
                    <a:cubicBezTo>
                      <a:pt x="5" y="8"/>
                      <a:pt x="8" y="5"/>
                      <a:pt x="13" y="5"/>
                    </a:cubicBezTo>
                    <a:cubicBezTo>
                      <a:pt x="17" y="5"/>
                      <a:pt x="20" y="8"/>
                      <a:pt x="20" y="13"/>
                    </a:cubicBezTo>
                    <a:cubicBezTo>
                      <a:pt x="20" y="17"/>
                      <a:pt x="17" y="20"/>
                      <a:pt x="13" y="20"/>
                    </a:cubicBezTo>
                    <a:moveTo>
                      <a:pt x="13" y="8"/>
                    </a:moveTo>
                    <a:cubicBezTo>
                      <a:pt x="10" y="8"/>
                      <a:pt x="8" y="10"/>
                      <a:pt x="8" y="13"/>
                    </a:cubicBezTo>
                    <a:cubicBezTo>
                      <a:pt x="8" y="15"/>
                      <a:pt x="10" y="17"/>
                      <a:pt x="13" y="17"/>
                    </a:cubicBezTo>
                    <a:cubicBezTo>
                      <a:pt x="15" y="17"/>
                      <a:pt x="17" y="15"/>
                      <a:pt x="17" y="13"/>
                    </a:cubicBezTo>
                    <a:cubicBezTo>
                      <a:pt x="17" y="10"/>
                      <a:pt x="15" y="8"/>
                      <a:pt x="13"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88"/>
              <p:cNvSpPr>
                <a:spLocks noEditPoints="1"/>
              </p:cNvSpPr>
              <p:nvPr/>
            </p:nvSpPr>
            <p:spPr bwMode="auto">
              <a:xfrm>
                <a:off x="4541255" y="3495909"/>
                <a:ext cx="174896" cy="172376"/>
              </a:xfrm>
              <a:custGeom>
                <a:avLst/>
                <a:gdLst>
                  <a:gd name="T0" fmla="*/ 147 w 147"/>
                  <a:gd name="T1" fmla="*/ 40 h 145"/>
                  <a:gd name="T2" fmla="*/ 147 w 147"/>
                  <a:gd name="T3" fmla="*/ 11 h 145"/>
                  <a:gd name="T4" fmla="*/ 136 w 147"/>
                  <a:gd name="T5" fmla="*/ 0 h 145"/>
                  <a:gd name="T6" fmla="*/ 11 w 147"/>
                  <a:gd name="T7" fmla="*/ 0 h 145"/>
                  <a:gd name="T8" fmla="*/ 0 w 147"/>
                  <a:gd name="T9" fmla="*/ 11 h 145"/>
                  <a:gd name="T10" fmla="*/ 0 w 147"/>
                  <a:gd name="T11" fmla="*/ 40 h 145"/>
                  <a:gd name="T12" fmla="*/ 4 w 147"/>
                  <a:gd name="T13" fmla="*/ 49 h 145"/>
                  <a:gd name="T14" fmla="*/ 0 w 147"/>
                  <a:gd name="T15" fmla="*/ 58 h 145"/>
                  <a:gd name="T16" fmla="*/ 0 w 147"/>
                  <a:gd name="T17" fmla="*/ 87 h 145"/>
                  <a:gd name="T18" fmla="*/ 4 w 147"/>
                  <a:gd name="T19" fmla="*/ 96 h 145"/>
                  <a:gd name="T20" fmla="*/ 0 w 147"/>
                  <a:gd name="T21" fmla="*/ 105 h 145"/>
                  <a:gd name="T22" fmla="*/ 0 w 147"/>
                  <a:gd name="T23" fmla="*/ 134 h 145"/>
                  <a:gd name="T24" fmla="*/ 11 w 147"/>
                  <a:gd name="T25" fmla="*/ 145 h 145"/>
                  <a:gd name="T26" fmla="*/ 136 w 147"/>
                  <a:gd name="T27" fmla="*/ 145 h 145"/>
                  <a:gd name="T28" fmla="*/ 147 w 147"/>
                  <a:gd name="T29" fmla="*/ 134 h 145"/>
                  <a:gd name="T30" fmla="*/ 147 w 147"/>
                  <a:gd name="T31" fmla="*/ 105 h 145"/>
                  <a:gd name="T32" fmla="*/ 143 w 147"/>
                  <a:gd name="T33" fmla="*/ 96 h 145"/>
                  <a:gd name="T34" fmla="*/ 147 w 147"/>
                  <a:gd name="T35" fmla="*/ 87 h 145"/>
                  <a:gd name="T36" fmla="*/ 147 w 147"/>
                  <a:gd name="T37" fmla="*/ 58 h 145"/>
                  <a:gd name="T38" fmla="*/ 143 w 147"/>
                  <a:gd name="T39" fmla="*/ 49 h 145"/>
                  <a:gd name="T40" fmla="*/ 147 w 147"/>
                  <a:gd name="T41" fmla="*/ 40 h 145"/>
                  <a:gd name="T42" fmla="*/ 142 w 147"/>
                  <a:gd name="T43" fmla="*/ 105 h 145"/>
                  <a:gd name="T44" fmla="*/ 142 w 147"/>
                  <a:gd name="T45" fmla="*/ 134 h 145"/>
                  <a:gd name="T46" fmla="*/ 136 w 147"/>
                  <a:gd name="T47" fmla="*/ 140 h 145"/>
                  <a:gd name="T48" fmla="*/ 11 w 147"/>
                  <a:gd name="T49" fmla="*/ 140 h 145"/>
                  <a:gd name="T50" fmla="*/ 5 w 147"/>
                  <a:gd name="T51" fmla="*/ 134 h 145"/>
                  <a:gd name="T52" fmla="*/ 5 w 147"/>
                  <a:gd name="T53" fmla="*/ 105 h 145"/>
                  <a:gd name="T54" fmla="*/ 11 w 147"/>
                  <a:gd name="T55" fmla="*/ 98 h 145"/>
                  <a:gd name="T56" fmla="*/ 136 w 147"/>
                  <a:gd name="T57" fmla="*/ 98 h 145"/>
                  <a:gd name="T58" fmla="*/ 142 w 147"/>
                  <a:gd name="T59" fmla="*/ 105 h 145"/>
                  <a:gd name="T60" fmla="*/ 142 w 147"/>
                  <a:gd name="T61" fmla="*/ 58 h 145"/>
                  <a:gd name="T62" fmla="*/ 142 w 147"/>
                  <a:gd name="T63" fmla="*/ 87 h 145"/>
                  <a:gd name="T64" fmla="*/ 136 w 147"/>
                  <a:gd name="T65" fmla="*/ 93 h 145"/>
                  <a:gd name="T66" fmla="*/ 11 w 147"/>
                  <a:gd name="T67" fmla="*/ 93 h 145"/>
                  <a:gd name="T68" fmla="*/ 5 w 147"/>
                  <a:gd name="T69" fmla="*/ 87 h 145"/>
                  <a:gd name="T70" fmla="*/ 5 w 147"/>
                  <a:gd name="T71" fmla="*/ 58 h 145"/>
                  <a:gd name="T72" fmla="*/ 11 w 147"/>
                  <a:gd name="T73" fmla="*/ 51 h 145"/>
                  <a:gd name="T74" fmla="*/ 136 w 147"/>
                  <a:gd name="T75" fmla="*/ 51 h 145"/>
                  <a:gd name="T76" fmla="*/ 142 w 147"/>
                  <a:gd name="T77" fmla="*/ 58 h 145"/>
                  <a:gd name="T78" fmla="*/ 11 w 147"/>
                  <a:gd name="T79" fmla="*/ 46 h 145"/>
                  <a:gd name="T80" fmla="*/ 5 w 147"/>
                  <a:gd name="T81" fmla="*/ 40 h 145"/>
                  <a:gd name="T82" fmla="*/ 5 w 147"/>
                  <a:gd name="T83" fmla="*/ 11 h 145"/>
                  <a:gd name="T84" fmla="*/ 11 w 147"/>
                  <a:gd name="T85" fmla="*/ 5 h 145"/>
                  <a:gd name="T86" fmla="*/ 136 w 147"/>
                  <a:gd name="T87" fmla="*/ 5 h 145"/>
                  <a:gd name="T88" fmla="*/ 142 w 147"/>
                  <a:gd name="T89" fmla="*/ 11 h 145"/>
                  <a:gd name="T90" fmla="*/ 142 w 147"/>
                  <a:gd name="T91" fmla="*/ 40 h 145"/>
                  <a:gd name="T92" fmla="*/ 136 w 147"/>
                  <a:gd name="T93" fmla="*/ 46 h 145"/>
                  <a:gd name="T94" fmla="*/ 11 w 147"/>
                  <a:gd name="T95" fmla="*/ 4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 h="145">
                    <a:moveTo>
                      <a:pt x="147" y="40"/>
                    </a:moveTo>
                    <a:cubicBezTo>
                      <a:pt x="147" y="11"/>
                      <a:pt x="147" y="11"/>
                      <a:pt x="147" y="11"/>
                    </a:cubicBezTo>
                    <a:cubicBezTo>
                      <a:pt x="147" y="5"/>
                      <a:pt x="142" y="0"/>
                      <a:pt x="136" y="0"/>
                    </a:cubicBezTo>
                    <a:cubicBezTo>
                      <a:pt x="11" y="0"/>
                      <a:pt x="11" y="0"/>
                      <a:pt x="11" y="0"/>
                    </a:cubicBezTo>
                    <a:cubicBezTo>
                      <a:pt x="5" y="0"/>
                      <a:pt x="0" y="5"/>
                      <a:pt x="0" y="11"/>
                    </a:cubicBezTo>
                    <a:cubicBezTo>
                      <a:pt x="0" y="40"/>
                      <a:pt x="0" y="40"/>
                      <a:pt x="0" y="40"/>
                    </a:cubicBezTo>
                    <a:cubicBezTo>
                      <a:pt x="0" y="44"/>
                      <a:pt x="1" y="47"/>
                      <a:pt x="4" y="49"/>
                    </a:cubicBezTo>
                    <a:cubicBezTo>
                      <a:pt x="1" y="51"/>
                      <a:pt x="0" y="54"/>
                      <a:pt x="0" y="58"/>
                    </a:cubicBezTo>
                    <a:cubicBezTo>
                      <a:pt x="0" y="87"/>
                      <a:pt x="0" y="87"/>
                      <a:pt x="0" y="87"/>
                    </a:cubicBezTo>
                    <a:cubicBezTo>
                      <a:pt x="0" y="90"/>
                      <a:pt x="1" y="94"/>
                      <a:pt x="4" y="96"/>
                    </a:cubicBezTo>
                    <a:cubicBezTo>
                      <a:pt x="1" y="98"/>
                      <a:pt x="0" y="101"/>
                      <a:pt x="0" y="105"/>
                    </a:cubicBezTo>
                    <a:cubicBezTo>
                      <a:pt x="0" y="134"/>
                      <a:pt x="0" y="134"/>
                      <a:pt x="0" y="134"/>
                    </a:cubicBezTo>
                    <a:cubicBezTo>
                      <a:pt x="0" y="140"/>
                      <a:pt x="5" y="145"/>
                      <a:pt x="11" y="145"/>
                    </a:cubicBezTo>
                    <a:cubicBezTo>
                      <a:pt x="136" y="145"/>
                      <a:pt x="136" y="145"/>
                      <a:pt x="136" y="145"/>
                    </a:cubicBezTo>
                    <a:cubicBezTo>
                      <a:pt x="142" y="145"/>
                      <a:pt x="147" y="140"/>
                      <a:pt x="147" y="134"/>
                    </a:cubicBezTo>
                    <a:cubicBezTo>
                      <a:pt x="147" y="105"/>
                      <a:pt x="147" y="105"/>
                      <a:pt x="147" y="105"/>
                    </a:cubicBezTo>
                    <a:cubicBezTo>
                      <a:pt x="147" y="101"/>
                      <a:pt x="146" y="98"/>
                      <a:pt x="143" y="96"/>
                    </a:cubicBezTo>
                    <a:cubicBezTo>
                      <a:pt x="146" y="94"/>
                      <a:pt x="147" y="90"/>
                      <a:pt x="147" y="87"/>
                    </a:cubicBezTo>
                    <a:cubicBezTo>
                      <a:pt x="147" y="58"/>
                      <a:pt x="147" y="58"/>
                      <a:pt x="147" y="58"/>
                    </a:cubicBezTo>
                    <a:cubicBezTo>
                      <a:pt x="147" y="54"/>
                      <a:pt x="146" y="51"/>
                      <a:pt x="143" y="49"/>
                    </a:cubicBezTo>
                    <a:cubicBezTo>
                      <a:pt x="146" y="47"/>
                      <a:pt x="147" y="44"/>
                      <a:pt x="147" y="40"/>
                    </a:cubicBezTo>
                    <a:moveTo>
                      <a:pt x="142" y="105"/>
                    </a:moveTo>
                    <a:cubicBezTo>
                      <a:pt x="142" y="134"/>
                      <a:pt x="142" y="134"/>
                      <a:pt x="142" y="134"/>
                    </a:cubicBezTo>
                    <a:cubicBezTo>
                      <a:pt x="142" y="137"/>
                      <a:pt x="140" y="140"/>
                      <a:pt x="136" y="140"/>
                    </a:cubicBezTo>
                    <a:cubicBezTo>
                      <a:pt x="11" y="140"/>
                      <a:pt x="11" y="140"/>
                      <a:pt x="11" y="140"/>
                    </a:cubicBezTo>
                    <a:cubicBezTo>
                      <a:pt x="7" y="140"/>
                      <a:pt x="5" y="137"/>
                      <a:pt x="5" y="134"/>
                    </a:cubicBezTo>
                    <a:cubicBezTo>
                      <a:pt x="5" y="105"/>
                      <a:pt x="5" y="105"/>
                      <a:pt x="5" y="105"/>
                    </a:cubicBezTo>
                    <a:cubicBezTo>
                      <a:pt x="5" y="101"/>
                      <a:pt x="7" y="98"/>
                      <a:pt x="11" y="98"/>
                    </a:cubicBezTo>
                    <a:cubicBezTo>
                      <a:pt x="136" y="98"/>
                      <a:pt x="136" y="98"/>
                      <a:pt x="136" y="98"/>
                    </a:cubicBezTo>
                    <a:cubicBezTo>
                      <a:pt x="140" y="98"/>
                      <a:pt x="142" y="101"/>
                      <a:pt x="142" y="105"/>
                    </a:cubicBezTo>
                    <a:moveTo>
                      <a:pt x="142" y="58"/>
                    </a:moveTo>
                    <a:cubicBezTo>
                      <a:pt x="142" y="87"/>
                      <a:pt x="142" y="87"/>
                      <a:pt x="142" y="87"/>
                    </a:cubicBezTo>
                    <a:cubicBezTo>
                      <a:pt x="142" y="90"/>
                      <a:pt x="140" y="93"/>
                      <a:pt x="136" y="93"/>
                    </a:cubicBezTo>
                    <a:cubicBezTo>
                      <a:pt x="11" y="93"/>
                      <a:pt x="11" y="93"/>
                      <a:pt x="11" y="93"/>
                    </a:cubicBezTo>
                    <a:cubicBezTo>
                      <a:pt x="7" y="93"/>
                      <a:pt x="5" y="90"/>
                      <a:pt x="5" y="87"/>
                    </a:cubicBezTo>
                    <a:cubicBezTo>
                      <a:pt x="5" y="58"/>
                      <a:pt x="5" y="58"/>
                      <a:pt x="5" y="58"/>
                    </a:cubicBezTo>
                    <a:cubicBezTo>
                      <a:pt x="5" y="54"/>
                      <a:pt x="7" y="51"/>
                      <a:pt x="11" y="51"/>
                    </a:cubicBezTo>
                    <a:cubicBezTo>
                      <a:pt x="136" y="51"/>
                      <a:pt x="136" y="51"/>
                      <a:pt x="136" y="51"/>
                    </a:cubicBezTo>
                    <a:cubicBezTo>
                      <a:pt x="140" y="51"/>
                      <a:pt x="142" y="54"/>
                      <a:pt x="142" y="58"/>
                    </a:cubicBezTo>
                    <a:moveTo>
                      <a:pt x="11" y="46"/>
                    </a:moveTo>
                    <a:cubicBezTo>
                      <a:pt x="7" y="46"/>
                      <a:pt x="5" y="44"/>
                      <a:pt x="5" y="40"/>
                    </a:cubicBezTo>
                    <a:cubicBezTo>
                      <a:pt x="5" y="11"/>
                      <a:pt x="5" y="11"/>
                      <a:pt x="5" y="11"/>
                    </a:cubicBezTo>
                    <a:cubicBezTo>
                      <a:pt x="5" y="8"/>
                      <a:pt x="7" y="5"/>
                      <a:pt x="11" y="5"/>
                    </a:cubicBezTo>
                    <a:cubicBezTo>
                      <a:pt x="136" y="5"/>
                      <a:pt x="136" y="5"/>
                      <a:pt x="136" y="5"/>
                    </a:cubicBezTo>
                    <a:cubicBezTo>
                      <a:pt x="140" y="5"/>
                      <a:pt x="142" y="8"/>
                      <a:pt x="142" y="11"/>
                    </a:cubicBezTo>
                    <a:cubicBezTo>
                      <a:pt x="142" y="40"/>
                      <a:pt x="142" y="40"/>
                      <a:pt x="142" y="40"/>
                    </a:cubicBezTo>
                    <a:cubicBezTo>
                      <a:pt x="142" y="44"/>
                      <a:pt x="140" y="46"/>
                      <a:pt x="136" y="46"/>
                    </a:cubicBezTo>
                    <a:lnTo>
                      <a:pt x="11"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89"/>
              <p:cNvSpPr>
                <a:spLocks noEditPoints="1"/>
              </p:cNvSpPr>
              <p:nvPr/>
            </p:nvSpPr>
            <p:spPr bwMode="auto">
              <a:xfrm>
                <a:off x="4538734" y="3493389"/>
                <a:ext cx="179937" cy="176408"/>
              </a:xfrm>
              <a:custGeom>
                <a:avLst/>
                <a:gdLst>
                  <a:gd name="T0" fmla="*/ 13 w 151"/>
                  <a:gd name="T1" fmla="*/ 148 h 148"/>
                  <a:gd name="T2" fmla="*/ 0 w 151"/>
                  <a:gd name="T3" fmla="*/ 107 h 148"/>
                  <a:gd name="T4" fmla="*/ 0 w 151"/>
                  <a:gd name="T5" fmla="*/ 89 h 148"/>
                  <a:gd name="T6" fmla="*/ 4 w 151"/>
                  <a:gd name="T7" fmla="*/ 51 h 148"/>
                  <a:gd name="T8" fmla="*/ 0 w 151"/>
                  <a:gd name="T9" fmla="*/ 13 h 148"/>
                  <a:gd name="T10" fmla="*/ 138 w 151"/>
                  <a:gd name="T11" fmla="*/ 0 h 148"/>
                  <a:gd name="T12" fmla="*/ 151 w 151"/>
                  <a:gd name="T13" fmla="*/ 42 h 148"/>
                  <a:gd name="T14" fmla="*/ 151 w 151"/>
                  <a:gd name="T15" fmla="*/ 60 h 148"/>
                  <a:gd name="T16" fmla="*/ 147 w 151"/>
                  <a:gd name="T17" fmla="*/ 98 h 148"/>
                  <a:gd name="T18" fmla="*/ 151 w 151"/>
                  <a:gd name="T19" fmla="*/ 136 h 148"/>
                  <a:gd name="T20" fmla="*/ 13 w 151"/>
                  <a:gd name="T21" fmla="*/ 3 h 148"/>
                  <a:gd name="T22" fmla="*/ 3 w 151"/>
                  <a:gd name="T23" fmla="*/ 42 h 148"/>
                  <a:gd name="T24" fmla="*/ 8 w 151"/>
                  <a:gd name="T25" fmla="*/ 51 h 148"/>
                  <a:gd name="T26" fmla="*/ 3 w 151"/>
                  <a:gd name="T27" fmla="*/ 60 h 148"/>
                  <a:gd name="T28" fmla="*/ 7 w 151"/>
                  <a:gd name="T29" fmla="*/ 97 h 148"/>
                  <a:gd name="T30" fmla="*/ 7 w 151"/>
                  <a:gd name="T31" fmla="*/ 99 h 148"/>
                  <a:gd name="T32" fmla="*/ 3 w 151"/>
                  <a:gd name="T33" fmla="*/ 136 h 148"/>
                  <a:gd name="T34" fmla="*/ 138 w 151"/>
                  <a:gd name="T35" fmla="*/ 146 h 148"/>
                  <a:gd name="T36" fmla="*/ 148 w 151"/>
                  <a:gd name="T37" fmla="*/ 107 h 148"/>
                  <a:gd name="T38" fmla="*/ 143 w 151"/>
                  <a:gd name="T39" fmla="*/ 98 h 148"/>
                  <a:gd name="T40" fmla="*/ 148 w 151"/>
                  <a:gd name="T41" fmla="*/ 89 h 148"/>
                  <a:gd name="T42" fmla="*/ 144 w 151"/>
                  <a:gd name="T43" fmla="*/ 52 h 148"/>
                  <a:gd name="T44" fmla="*/ 144 w 151"/>
                  <a:gd name="T45" fmla="*/ 50 h 148"/>
                  <a:gd name="T46" fmla="*/ 148 w 151"/>
                  <a:gd name="T47" fmla="*/ 13 h 148"/>
                  <a:gd name="T48" fmla="*/ 13 w 151"/>
                  <a:gd name="T49" fmla="*/ 3 h 148"/>
                  <a:gd name="T50" fmla="*/ 8 w 151"/>
                  <a:gd name="T51" fmla="*/ 141 h 148"/>
                  <a:gd name="T52" fmla="*/ 5 w 151"/>
                  <a:gd name="T53" fmla="*/ 107 h 148"/>
                  <a:gd name="T54" fmla="*/ 138 w 151"/>
                  <a:gd name="T55" fmla="*/ 99 h 148"/>
                  <a:gd name="T56" fmla="*/ 146 w 151"/>
                  <a:gd name="T57" fmla="*/ 136 h 148"/>
                  <a:gd name="T58" fmla="*/ 13 w 151"/>
                  <a:gd name="T59" fmla="*/ 143 h 148"/>
                  <a:gd name="T60" fmla="*/ 8 w 151"/>
                  <a:gd name="T61" fmla="*/ 107 h 148"/>
                  <a:gd name="T62" fmla="*/ 9 w 151"/>
                  <a:gd name="T63" fmla="*/ 139 h 148"/>
                  <a:gd name="T64" fmla="*/ 13 w 151"/>
                  <a:gd name="T65" fmla="*/ 141 h 148"/>
                  <a:gd name="T66" fmla="*/ 143 w 151"/>
                  <a:gd name="T67" fmla="*/ 136 h 148"/>
                  <a:gd name="T68" fmla="*/ 138 w 151"/>
                  <a:gd name="T69" fmla="*/ 101 h 148"/>
                  <a:gd name="T70" fmla="*/ 138 w 151"/>
                  <a:gd name="T71" fmla="*/ 97 h 148"/>
                  <a:gd name="T72" fmla="*/ 5 w 151"/>
                  <a:gd name="T73" fmla="*/ 89 h 148"/>
                  <a:gd name="T74" fmla="*/ 13 w 151"/>
                  <a:gd name="T75" fmla="*/ 52 h 148"/>
                  <a:gd name="T76" fmla="*/ 146 w 151"/>
                  <a:gd name="T77" fmla="*/ 60 h 148"/>
                  <a:gd name="T78" fmla="*/ 138 w 151"/>
                  <a:gd name="T79" fmla="*/ 97 h 148"/>
                  <a:gd name="T80" fmla="*/ 8 w 151"/>
                  <a:gd name="T81" fmla="*/ 60 h 148"/>
                  <a:gd name="T82" fmla="*/ 13 w 151"/>
                  <a:gd name="T83" fmla="*/ 94 h 148"/>
                  <a:gd name="T84" fmla="*/ 143 w 151"/>
                  <a:gd name="T85" fmla="*/ 89 h 148"/>
                  <a:gd name="T86" fmla="*/ 138 w 151"/>
                  <a:gd name="T87" fmla="*/ 55 h 148"/>
                  <a:gd name="T88" fmla="*/ 138 w 151"/>
                  <a:gd name="T89" fmla="*/ 50 h 148"/>
                  <a:gd name="T90" fmla="*/ 5 w 151"/>
                  <a:gd name="T91" fmla="*/ 42 h 148"/>
                  <a:gd name="T92" fmla="*/ 13 w 151"/>
                  <a:gd name="T93" fmla="*/ 5 h 148"/>
                  <a:gd name="T94" fmla="*/ 146 w 151"/>
                  <a:gd name="T95" fmla="*/ 13 h 148"/>
                  <a:gd name="T96" fmla="*/ 138 w 151"/>
                  <a:gd name="T97" fmla="*/ 50 h 148"/>
                  <a:gd name="T98" fmla="*/ 8 w 151"/>
                  <a:gd name="T99" fmla="*/ 13 h 148"/>
                  <a:gd name="T100" fmla="*/ 13 w 151"/>
                  <a:gd name="T101" fmla="*/ 47 h 148"/>
                  <a:gd name="T102" fmla="*/ 143 w 151"/>
                  <a:gd name="T103" fmla="*/ 42 h 148"/>
                  <a:gd name="T104" fmla="*/ 138 w 151"/>
                  <a:gd name="T105" fmla="*/ 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1" h="148">
                    <a:moveTo>
                      <a:pt x="138" y="148"/>
                    </a:moveTo>
                    <a:cubicBezTo>
                      <a:pt x="13" y="148"/>
                      <a:pt x="13" y="148"/>
                      <a:pt x="13" y="148"/>
                    </a:cubicBezTo>
                    <a:cubicBezTo>
                      <a:pt x="6" y="148"/>
                      <a:pt x="0" y="143"/>
                      <a:pt x="0" y="136"/>
                    </a:cubicBezTo>
                    <a:cubicBezTo>
                      <a:pt x="0" y="107"/>
                      <a:pt x="0" y="107"/>
                      <a:pt x="0" y="107"/>
                    </a:cubicBezTo>
                    <a:cubicBezTo>
                      <a:pt x="0" y="103"/>
                      <a:pt x="2" y="100"/>
                      <a:pt x="4" y="98"/>
                    </a:cubicBezTo>
                    <a:cubicBezTo>
                      <a:pt x="2" y="95"/>
                      <a:pt x="0" y="92"/>
                      <a:pt x="0" y="89"/>
                    </a:cubicBezTo>
                    <a:cubicBezTo>
                      <a:pt x="0" y="60"/>
                      <a:pt x="0" y="60"/>
                      <a:pt x="0" y="60"/>
                    </a:cubicBezTo>
                    <a:cubicBezTo>
                      <a:pt x="0" y="56"/>
                      <a:pt x="2" y="53"/>
                      <a:pt x="4" y="51"/>
                    </a:cubicBezTo>
                    <a:cubicBezTo>
                      <a:pt x="2" y="49"/>
                      <a:pt x="0" y="45"/>
                      <a:pt x="0" y="42"/>
                    </a:cubicBezTo>
                    <a:cubicBezTo>
                      <a:pt x="0" y="13"/>
                      <a:pt x="0" y="13"/>
                      <a:pt x="0" y="13"/>
                    </a:cubicBezTo>
                    <a:cubicBezTo>
                      <a:pt x="0" y="6"/>
                      <a:pt x="6" y="0"/>
                      <a:pt x="13" y="0"/>
                    </a:cubicBezTo>
                    <a:cubicBezTo>
                      <a:pt x="138" y="0"/>
                      <a:pt x="138" y="0"/>
                      <a:pt x="138" y="0"/>
                    </a:cubicBezTo>
                    <a:cubicBezTo>
                      <a:pt x="145" y="0"/>
                      <a:pt x="151" y="6"/>
                      <a:pt x="151" y="13"/>
                    </a:cubicBezTo>
                    <a:cubicBezTo>
                      <a:pt x="151" y="42"/>
                      <a:pt x="151" y="42"/>
                      <a:pt x="151" y="42"/>
                    </a:cubicBezTo>
                    <a:cubicBezTo>
                      <a:pt x="151" y="45"/>
                      <a:pt x="149" y="49"/>
                      <a:pt x="147" y="51"/>
                    </a:cubicBezTo>
                    <a:cubicBezTo>
                      <a:pt x="149" y="53"/>
                      <a:pt x="151" y="56"/>
                      <a:pt x="151" y="60"/>
                    </a:cubicBezTo>
                    <a:cubicBezTo>
                      <a:pt x="151" y="89"/>
                      <a:pt x="151" y="89"/>
                      <a:pt x="151" y="89"/>
                    </a:cubicBezTo>
                    <a:cubicBezTo>
                      <a:pt x="151" y="92"/>
                      <a:pt x="149" y="95"/>
                      <a:pt x="147" y="98"/>
                    </a:cubicBezTo>
                    <a:cubicBezTo>
                      <a:pt x="149" y="100"/>
                      <a:pt x="151" y="103"/>
                      <a:pt x="151" y="107"/>
                    </a:cubicBezTo>
                    <a:cubicBezTo>
                      <a:pt x="151" y="136"/>
                      <a:pt x="151" y="136"/>
                      <a:pt x="151" y="136"/>
                    </a:cubicBezTo>
                    <a:cubicBezTo>
                      <a:pt x="151" y="143"/>
                      <a:pt x="145" y="148"/>
                      <a:pt x="138" y="148"/>
                    </a:cubicBezTo>
                    <a:moveTo>
                      <a:pt x="13" y="3"/>
                    </a:moveTo>
                    <a:cubicBezTo>
                      <a:pt x="7" y="3"/>
                      <a:pt x="3" y="8"/>
                      <a:pt x="3" y="13"/>
                    </a:cubicBezTo>
                    <a:cubicBezTo>
                      <a:pt x="3" y="42"/>
                      <a:pt x="3" y="42"/>
                      <a:pt x="3" y="42"/>
                    </a:cubicBezTo>
                    <a:cubicBezTo>
                      <a:pt x="3" y="45"/>
                      <a:pt x="4" y="48"/>
                      <a:pt x="7" y="50"/>
                    </a:cubicBezTo>
                    <a:cubicBezTo>
                      <a:pt x="8" y="51"/>
                      <a:pt x="8" y="51"/>
                      <a:pt x="8" y="51"/>
                    </a:cubicBezTo>
                    <a:cubicBezTo>
                      <a:pt x="7" y="52"/>
                      <a:pt x="7" y="52"/>
                      <a:pt x="7" y="52"/>
                    </a:cubicBezTo>
                    <a:cubicBezTo>
                      <a:pt x="4" y="54"/>
                      <a:pt x="3" y="57"/>
                      <a:pt x="3" y="60"/>
                    </a:cubicBezTo>
                    <a:cubicBezTo>
                      <a:pt x="3" y="89"/>
                      <a:pt x="3" y="89"/>
                      <a:pt x="3" y="89"/>
                    </a:cubicBezTo>
                    <a:cubicBezTo>
                      <a:pt x="3" y="92"/>
                      <a:pt x="4" y="95"/>
                      <a:pt x="7" y="97"/>
                    </a:cubicBezTo>
                    <a:cubicBezTo>
                      <a:pt x="8" y="98"/>
                      <a:pt x="8" y="98"/>
                      <a:pt x="8" y="98"/>
                    </a:cubicBezTo>
                    <a:cubicBezTo>
                      <a:pt x="7" y="99"/>
                      <a:pt x="7" y="99"/>
                      <a:pt x="7" y="99"/>
                    </a:cubicBezTo>
                    <a:cubicBezTo>
                      <a:pt x="4" y="101"/>
                      <a:pt x="3" y="104"/>
                      <a:pt x="3" y="107"/>
                    </a:cubicBezTo>
                    <a:cubicBezTo>
                      <a:pt x="3" y="136"/>
                      <a:pt x="3" y="136"/>
                      <a:pt x="3" y="136"/>
                    </a:cubicBezTo>
                    <a:cubicBezTo>
                      <a:pt x="3" y="141"/>
                      <a:pt x="7" y="146"/>
                      <a:pt x="13" y="146"/>
                    </a:cubicBezTo>
                    <a:cubicBezTo>
                      <a:pt x="138" y="146"/>
                      <a:pt x="138" y="146"/>
                      <a:pt x="138" y="146"/>
                    </a:cubicBezTo>
                    <a:cubicBezTo>
                      <a:pt x="144" y="146"/>
                      <a:pt x="148" y="141"/>
                      <a:pt x="148" y="136"/>
                    </a:cubicBezTo>
                    <a:cubicBezTo>
                      <a:pt x="148" y="107"/>
                      <a:pt x="148" y="107"/>
                      <a:pt x="148" y="107"/>
                    </a:cubicBezTo>
                    <a:cubicBezTo>
                      <a:pt x="148" y="104"/>
                      <a:pt x="147" y="101"/>
                      <a:pt x="144" y="99"/>
                    </a:cubicBezTo>
                    <a:cubicBezTo>
                      <a:pt x="143" y="98"/>
                      <a:pt x="143" y="98"/>
                      <a:pt x="143" y="98"/>
                    </a:cubicBezTo>
                    <a:cubicBezTo>
                      <a:pt x="144" y="97"/>
                      <a:pt x="144" y="97"/>
                      <a:pt x="144" y="97"/>
                    </a:cubicBezTo>
                    <a:cubicBezTo>
                      <a:pt x="147" y="95"/>
                      <a:pt x="148" y="92"/>
                      <a:pt x="148" y="89"/>
                    </a:cubicBezTo>
                    <a:cubicBezTo>
                      <a:pt x="148" y="60"/>
                      <a:pt x="148" y="60"/>
                      <a:pt x="148" y="60"/>
                    </a:cubicBezTo>
                    <a:cubicBezTo>
                      <a:pt x="148" y="57"/>
                      <a:pt x="147" y="54"/>
                      <a:pt x="144" y="52"/>
                    </a:cubicBezTo>
                    <a:cubicBezTo>
                      <a:pt x="143" y="51"/>
                      <a:pt x="143" y="51"/>
                      <a:pt x="143" y="51"/>
                    </a:cubicBezTo>
                    <a:cubicBezTo>
                      <a:pt x="144" y="50"/>
                      <a:pt x="144" y="50"/>
                      <a:pt x="144" y="50"/>
                    </a:cubicBezTo>
                    <a:cubicBezTo>
                      <a:pt x="147" y="48"/>
                      <a:pt x="148" y="45"/>
                      <a:pt x="148" y="42"/>
                    </a:cubicBezTo>
                    <a:cubicBezTo>
                      <a:pt x="148" y="13"/>
                      <a:pt x="148" y="13"/>
                      <a:pt x="148" y="13"/>
                    </a:cubicBezTo>
                    <a:cubicBezTo>
                      <a:pt x="148" y="8"/>
                      <a:pt x="144" y="3"/>
                      <a:pt x="138" y="3"/>
                    </a:cubicBezTo>
                    <a:lnTo>
                      <a:pt x="13" y="3"/>
                    </a:lnTo>
                    <a:close/>
                    <a:moveTo>
                      <a:pt x="13" y="143"/>
                    </a:moveTo>
                    <a:cubicBezTo>
                      <a:pt x="11" y="143"/>
                      <a:pt x="9" y="143"/>
                      <a:pt x="8" y="141"/>
                    </a:cubicBezTo>
                    <a:cubicBezTo>
                      <a:pt x="6" y="140"/>
                      <a:pt x="5" y="138"/>
                      <a:pt x="5" y="136"/>
                    </a:cubicBezTo>
                    <a:cubicBezTo>
                      <a:pt x="5" y="107"/>
                      <a:pt x="5" y="107"/>
                      <a:pt x="5" y="107"/>
                    </a:cubicBezTo>
                    <a:cubicBezTo>
                      <a:pt x="5" y="102"/>
                      <a:pt x="9" y="99"/>
                      <a:pt x="13" y="99"/>
                    </a:cubicBezTo>
                    <a:cubicBezTo>
                      <a:pt x="138" y="99"/>
                      <a:pt x="138" y="99"/>
                      <a:pt x="138" y="99"/>
                    </a:cubicBezTo>
                    <a:cubicBezTo>
                      <a:pt x="142" y="99"/>
                      <a:pt x="146" y="102"/>
                      <a:pt x="146" y="107"/>
                    </a:cubicBezTo>
                    <a:cubicBezTo>
                      <a:pt x="146" y="136"/>
                      <a:pt x="146" y="136"/>
                      <a:pt x="146" y="136"/>
                    </a:cubicBezTo>
                    <a:cubicBezTo>
                      <a:pt x="146" y="140"/>
                      <a:pt x="142" y="143"/>
                      <a:pt x="138" y="143"/>
                    </a:cubicBezTo>
                    <a:cubicBezTo>
                      <a:pt x="13" y="143"/>
                      <a:pt x="13" y="143"/>
                      <a:pt x="13" y="143"/>
                    </a:cubicBezTo>
                    <a:close/>
                    <a:moveTo>
                      <a:pt x="13" y="101"/>
                    </a:moveTo>
                    <a:cubicBezTo>
                      <a:pt x="10" y="101"/>
                      <a:pt x="8" y="104"/>
                      <a:pt x="8" y="107"/>
                    </a:cubicBezTo>
                    <a:cubicBezTo>
                      <a:pt x="8" y="136"/>
                      <a:pt x="8" y="136"/>
                      <a:pt x="8" y="136"/>
                    </a:cubicBezTo>
                    <a:cubicBezTo>
                      <a:pt x="8" y="137"/>
                      <a:pt x="8" y="138"/>
                      <a:pt x="9" y="139"/>
                    </a:cubicBezTo>
                    <a:cubicBezTo>
                      <a:pt x="10" y="140"/>
                      <a:pt x="12" y="141"/>
                      <a:pt x="13" y="141"/>
                    </a:cubicBezTo>
                    <a:cubicBezTo>
                      <a:pt x="13" y="141"/>
                      <a:pt x="13" y="141"/>
                      <a:pt x="13" y="141"/>
                    </a:cubicBezTo>
                    <a:cubicBezTo>
                      <a:pt x="138" y="141"/>
                      <a:pt x="138" y="141"/>
                      <a:pt x="138" y="141"/>
                    </a:cubicBezTo>
                    <a:cubicBezTo>
                      <a:pt x="141" y="141"/>
                      <a:pt x="143" y="138"/>
                      <a:pt x="143" y="136"/>
                    </a:cubicBezTo>
                    <a:cubicBezTo>
                      <a:pt x="143" y="107"/>
                      <a:pt x="143" y="107"/>
                      <a:pt x="143" y="107"/>
                    </a:cubicBezTo>
                    <a:cubicBezTo>
                      <a:pt x="143" y="104"/>
                      <a:pt x="141" y="101"/>
                      <a:pt x="138" y="101"/>
                    </a:cubicBezTo>
                    <a:lnTo>
                      <a:pt x="13" y="101"/>
                    </a:lnTo>
                    <a:close/>
                    <a:moveTo>
                      <a:pt x="138" y="97"/>
                    </a:moveTo>
                    <a:cubicBezTo>
                      <a:pt x="13" y="97"/>
                      <a:pt x="13" y="97"/>
                      <a:pt x="13" y="97"/>
                    </a:cubicBezTo>
                    <a:cubicBezTo>
                      <a:pt x="9" y="97"/>
                      <a:pt x="5" y="93"/>
                      <a:pt x="5" y="89"/>
                    </a:cubicBezTo>
                    <a:cubicBezTo>
                      <a:pt x="5" y="60"/>
                      <a:pt x="5" y="60"/>
                      <a:pt x="5" y="60"/>
                    </a:cubicBezTo>
                    <a:cubicBezTo>
                      <a:pt x="5" y="56"/>
                      <a:pt x="9" y="52"/>
                      <a:pt x="13" y="52"/>
                    </a:cubicBezTo>
                    <a:cubicBezTo>
                      <a:pt x="138" y="52"/>
                      <a:pt x="138" y="52"/>
                      <a:pt x="138" y="52"/>
                    </a:cubicBezTo>
                    <a:cubicBezTo>
                      <a:pt x="142" y="52"/>
                      <a:pt x="146" y="56"/>
                      <a:pt x="146" y="60"/>
                    </a:cubicBezTo>
                    <a:cubicBezTo>
                      <a:pt x="146" y="89"/>
                      <a:pt x="146" y="89"/>
                      <a:pt x="146" y="89"/>
                    </a:cubicBezTo>
                    <a:cubicBezTo>
                      <a:pt x="146" y="93"/>
                      <a:pt x="142" y="97"/>
                      <a:pt x="138" y="97"/>
                    </a:cubicBezTo>
                    <a:moveTo>
                      <a:pt x="13" y="55"/>
                    </a:moveTo>
                    <a:cubicBezTo>
                      <a:pt x="10" y="55"/>
                      <a:pt x="8" y="57"/>
                      <a:pt x="8" y="60"/>
                    </a:cubicBezTo>
                    <a:cubicBezTo>
                      <a:pt x="8" y="89"/>
                      <a:pt x="8" y="89"/>
                      <a:pt x="8" y="89"/>
                    </a:cubicBezTo>
                    <a:cubicBezTo>
                      <a:pt x="8" y="92"/>
                      <a:pt x="10" y="94"/>
                      <a:pt x="13" y="94"/>
                    </a:cubicBezTo>
                    <a:cubicBezTo>
                      <a:pt x="138" y="94"/>
                      <a:pt x="138" y="94"/>
                      <a:pt x="138" y="94"/>
                    </a:cubicBezTo>
                    <a:cubicBezTo>
                      <a:pt x="141" y="94"/>
                      <a:pt x="143" y="92"/>
                      <a:pt x="143" y="89"/>
                    </a:cubicBezTo>
                    <a:cubicBezTo>
                      <a:pt x="143" y="60"/>
                      <a:pt x="143" y="60"/>
                      <a:pt x="143" y="60"/>
                    </a:cubicBezTo>
                    <a:cubicBezTo>
                      <a:pt x="143" y="57"/>
                      <a:pt x="141" y="55"/>
                      <a:pt x="138" y="55"/>
                    </a:cubicBezTo>
                    <a:lnTo>
                      <a:pt x="13" y="55"/>
                    </a:lnTo>
                    <a:close/>
                    <a:moveTo>
                      <a:pt x="138" y="50"/>
                    </a:moveTo>
                    <a:cubicBezTo>
                      <a:pt x="13" y="50"/>
                      <a:pt x="13" y="50"/>
                      <a:pt x="13" y="50"/>
                    </a:cubicBezTo>
                    <a:cubicBezTo>
                      <a:pt x="9" y="50"/>
                      <a:pt x="5" y="46"/>
                      <a:pt x="5" y="42"/>
                    </a:cubicBezTo>
                    <a:cubicBezTo>
                      <a:pt x="5" y="13"/>
                      <a:pt x="5" y="13"/>
                      <a:pt x="5" y="13"/>
                    </a:cubicBezTo>
                    <a:cubicBezTo>
                      <a:pt x="5" y="9"/>
                      <a:pt x="9" y="5"/>
                      <a:pt x="13" y="5"/>
                    </a:cubicBezTo>
                    <a:cubicBezTo>
                      <a:pt x="138" y="5"/>
                      <a:pt x="138" y="5"/>
                      <a:pt x="138" y="5"/>
                    </a:cubicBezTo>
                    <a:cubicBezTo>
                      <a:pt x="142" y="5"/>
                      <a:pt x="146" y="9"/>
                      <a:pt x="146" y="13"/>
                    </a:cubicBezTo>
                    <a:cubicBezTo>
                      <a:pt x="146" y="42"/>
                      <a:pt x="146" y="42"/>
                      <a:pt x="146" y="42"/>
                    </a:cubicBezTo>
                    <a:cubicBezTo>
                      <a:pt x="146" y="46"/>
                      <a:pt x="142" y="50"/>
                      <a:pt x="138" y="50"/>
                    </a:cubicBezTo>
                    <a:moveTo>
                      <a:pt x="13" y="8"/>
                    </a:moveTo>
                    <a:cubicBezTo>
                      <a:pt x="10" y="8"/>
                      <a:pt x="8" y="10"/>
                      <a:pt x="8" y="13"/>
                    </a:cubicBezTo>
                    <a:cubicBezTo>
                      <a:pt x="8" y="42"/>
                      <a:pt x="8" y="42"/>
                      <a:pt x="8" y="42"/>
                    </a:cubicBezTo>
                    <a:cubicBezTo>
                      <a:pt x="8" y="45"/>
                      <a:pt x="10" y="47"/>
                      <a:pt x="13" y="47"/>
                    </a:cubicBezTo>
                    <a:cubicBezTo>
                      <a:pt x="138" y="47"/>
                      <a:pt x="138" y="47"/>
                      <a:pt x="138" y="47"/>
                    </a:cubicBezTo>
                    <a:cubicBezTo>
                      <a:pt x="141" y="47"/>
                      <a:pt x="143" y="45"/>
                      <a:pt x="143" y="42"/>
                    </a:cubicBezTo>
                    <a:cubicBezTo>
                      <a:pt x="143" y="13"/>
                      <a:pt x="143" y="13"/>
                      <a:pt x="143" y="13"/>
                    </a:cubicBezTo>
                    <a:cubicBezTo>
                      <a:pt x="143" y="10"/>
                      <a:pt x="141" y="8"/>
                      <a:pt x="138" y="8"/>
                    </a:cubicBezTo>
                    <a:lnTo>
                      <a:pt x="1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90"/>
              <p:cNvSpPr>
                <a:spLocks noEditPoints="1"/>
              </p:cNvSpPr>
              <p:nvPr/>
            </p:nvSpPr>
            <p:spPr bwMode="auto">
              <a:xfrm>
                <a:off x="4557887" y="3568488"/>
                <a:ext cx="27217" cy="26209"/>
              </a:xfrm>
              <a:custGeom>
                <a:avLst/>
                <a:gdLst>
                  <a:gd name="T0" fmla="*/ 12 w 23"/>
                  <a:gd name="T1" fmla="*/ 22 h 22"/>
                  <a:gd name="T2" fmla="*/ 23 w 23"/>
                  <a:gd name="T3" fmla="*/ 11 h 22"/>
                  <a:gd name="T4" fmla="*/ 12 w 23"/>
                  <a:gd name="T5" fmla="*/ 0 h 22"/>
                  <a:gd name="T6" fmla="*/ 0 w 23"/>
                  <a:gd name="T7" fmla="*/ 11 h 22"/>
                  <a:gd name="T8" fmla="*/ 12 w 23"/>
                  <a:gd name="T9" fmla="*/ 22 h 22"/>
                  <a:gd name="T10" fmla="*/ 12 w 23"/>
                  <a:gd name="T11" fmla="*/ 5 h 22"/>
                  <a:gd name="T12" fmla="*/ 18 w 23"/>
                  <a:gd name="T13" fmla="*/ 11 h 22"/>
                  <a:gd name="T14" fmla="*/ 12 w 23"/>
                  <a:gd name="T15" fmla="*/ 17 h 22"/>
                  <a:gd name="T16" fmla="*/ 5 w 23"/>
                  <a:gd name="T17" fmla="*/ 11 h 22"/>
                  <a:gd name="T18" fmla="*/ 12 w 23"/>
                  <a:gd name="T19"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12" y="22"/>
                    </a:moveTo>
                    <a:cubicBezTo>
                      <a:pt x="18" y="22"/>
                      <a:pt x="23" y="17"/>
                      <a:pt x="23" y="11"/>
                    </a:cubicBezTo>
                    <a:cubicBezTo>
                      <a:pt x="23" y="5"/>
                      <a:pt x="18" y="0"/>
                      <a:pt x="12" y="0"/>
                    </a:cubicBezTo>
                    <a:cubicBezTo>
                      <a:pt x="5" y="0"/>
                      <a:pt x="0" y="5"/>
                      <a:pt x="0" y="11"/>
                    </a:cubicBezTo>
                    <a:cubicBezTo>
                      <a:pt x="0" y="17"/>
                      <a:pt x="5" y="22"/>
                      <a:pt x="12" y="22"/>
                    </a:cubicBezTo>
                    <a:moveTo>
                      <a:pt x="12" y="5"/>
                    </a:moveTo>
                    <a:cubicBezTo>
                      <a:pt x="15" y="5"/>
                      <a:pt x="18" y="8"/>
                      <a:pt x="18" y="11"/>
                    </a:cubicBezTo>
                    <a:cubicBezTo>
                      <a:pt x="18" y="15"/>
                      <a:pt x="15" y="17"/>
                      <a:pt x="12" y="17"/>
                    </a:cubicBezTo>
                    <a:cubicBezTo>
                      <a:pt x="8" y="17"/>
                      <a:pt x="5" y="15"/>
                      <a:pt x="5" y="11"/>
                    </a:cubicBezTo>
                    <a:cubicBezTo>
                      <a:pt x="5" y="8"/>
                      <a:pt x="8" y="5"/>
                      <a:pt x="12"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1"/>
              <p:cNvSpPr>
                <a:spLocks noEditPoints="1"/>
              </p:cNvSpPr>
              <p:nvPr/>
            </p:nvSpPr>
            <p:spPr bwMode="auto">
              <a:xfrm>
                <a:off x="4556375" y="3566976"/>
                <a:ext cx="29737" cy="29737"/>
              </a:xfrm>
              <a:custGeom>
                <a:avLst/>
                <a:gdLst>
                  <a:gd name="T0" fmla="*/ 13 w 25"/>
                  <a:gd name="T1" fmla="*/ 25 h 25"/>
                  <a:gd name="T2" fmla="*/ 0 w 25"/>
                  <a:gd name="T3" fmla="*/ 12 h 25"/>
                  <a:gd name="T4" fmla="*/ 13 w 25"/>
                  <a:gd name="T5" fmla="*/ 0 h 25"/>
                  <a:gd name="T6" fmla="*/ 25 w 25"/>
                  <a:gd name="T7" fmla="*/ 12 h 25"/>
                  <a:gd name="T8" fmla="*/ 13 w 25"/>
                  <a:gd name="T9" fmla="*/ 25 h 25"/>
                  <a:gd name="T10" fmla="*/ 13 w 25"/>
                  <a:gd name="T11" fmla="*/ 3 h 25"/>
                  <a:gd name="T12" fmla="*/ 3 w 25"/>
                  <a:gd name="T13" fmla="*/ 12 h 25"/>
                  <a:gd name="T14" fmla="*/ 13 w 25"/>
                  <a:gd name="T15" fmla="*/ 22 h 25"/>
                  <a:gd name="T16" fmla="*/ 22 w 25"/>
                  <a:gd name="T17" fmla="*/ 12 h 25"/>
                  <a:gd name="T18" fmla="*/ 13 w 25"/>
                  <a:gd name="T19" fmla="*/ 3 h 25"/>
                  <a:gd name="T20" fmla="*/ 13 w 25"/>
                  <a:gd name="T21" fmla="*/ 20 h 25"/>
                  <a:gd name="T22" fmla="*/ 5 w 25"/>
                  <a:gd name="T23" fmla="*/ 12 h 25"/>
                  <a:gd name="T24" fmla="*/ 13 w 25"/>
                  <a:gd name="T25" fmla="*/ 5 h 25"/>
                  <a:gd name="T26" fmla="*/ 20 w 25"/>
                  <a:gd name="T27" fmla="*/ 12 h 25"/>
                  <a:gd name="T28" fmla="*/ 13 w 25"/>
                  <a:gd name="T29" fmla="*/ 20 h 25"/>
                  <a:gd name="T30" fmla="*/ 13 w 25"/>
                  <a:gd name="T31" fmla="*/ 7 h 25"/>
                  <a:gd name="T32" fmla="*/ 8 w 25"/>
                  <a:gd name="T33" fmla="*/ 12 h 25"/>
                  <a:gd name="T34" fmla="*/ 13 w 25"/>
                  <a:gd name="T35" fmla="*/ 17 h 25"/>
                  <a:gd name="T36" fmla="*/ 17 w 25"/>
                  <a:gd name="T37" fmla="*/ 12 h 25"/>
                  <a:gd name="T38" fmla="*/ 13 w 25"/>
                  <a:gd name="T39"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5">
                    <a:moveTo>
                      <a:pt x="13" y="25"/>
                    </a:moveTo>
                    <a:cubicBezTo>
                      <a:pt x="6" y="25"/>
                      <a:pt x="0" y="19"/>
                      <a:pt x="0" y="12"/>
                    </a:cubicBezTo>
                    <a:cubicBezTo>
                      <a:pt x="0" y="5"/>
                      <a:pt x="6" y="0"/>
                      <a:pt x="13" y="0"/>
                    </a:cubicBezTo>
                    <a:cubicBezTo>
                      <a:pt x="19" y="0"/>
                      <a:pt x="25" y="5"/>
                      <a:pt x="25" y="12"/>
                    </a:cubicBezTo>
                    <a:cubicBezTo>
                      <a:pt x="25" y="19"/>
                      <a:pt x="19" y="25"/>
                      <a:pt x="13" y="25"/>
                    </a:cubicBezTo>
                    <a:moveTo>
                      <a:pt x="13" y="3"/>
                    </a:moveTo>
                    <a:cubicBezTo>
                      <a:pt x="7" y="3"/>
                      <a:pt x="3" y="7"/>
                      <a:pt x="3" y="12"/>
                    </a:cubicBezTo>
                    <a:cubicBezTo>
                      <a:pt x="3" y="18"/>
                      <a:pt x="7" y="22"/>
                      <a:pt x="13" y="22"/>
                    </a:cubicBezTo>
                    <a:cubicBezTo>
                      <a:pt x="18" y="22"/>
                      <a:pt x="22" y="18"/>
                      <a:pt x="22" y="12"/>
                    </a:cubicBezTo>
                    <a:cubicBezTo>
                      <a:pt x="22" y="7"/>
                      <a:pt x="18" y="3"/>
                      <a:pt x="13" y="3"/>
                    </a:cubicBezTo>
                    <a:moveTo>
                      <a:pt x="13" y="20"/>
                    </a:moveTo>
                    <a:cubicBezTo>
                      <a:pt x="8" y="20"/>
                      <a:pt x="5" y="16"/>
                      <a:pt x="5" y="12"/>
                    </a:cubicBezTo>
                    <a:cubicBezTo>
                      <a:pt x="5" y="8"/>
                      <a:pt x="8" y="5"/>
                      <a:pt x="13" y="5"/>
                    </a:cubicBezTo>
                    <a:cubicBezTo>
                      <a:pt x="17" y="5"/>
                      <a:pt x="20" y="8"/>
                      <a:pt x="20" y="12"/>
                    </a:cubicBezTo>
                    <a:cubicBezTo>
                      <a:pt x="20" y="16"/>
                      <a:pt x="17" y="20"/>
                      <a:pt x="13" y="20"/>
                    </a:cubicBezTo>
                    <a:moveTo>
                      <a:pt x="13" y="7"/>
                    </a:moveTo>
                    <a:cubicBezTo>
                      <a:pt x="10" y="7"/>
                      <a:pt x="8" y="10"/>
                      <a:pt x="8" y="12"/>
                    </a:cubicBezTo>
                    <a:cubicBezTo>
                      <a:pt x="8" y="15"/>
                      <a:pt x="10" y="17"/>
                      <a:pt x="13" y="17"/>
                    </a:cubicBezTo>
                    <a:cubicBezTo>
                      <a:pt x="15" y="17"/>
                      <a:pt x="17" y="15"/>
                      <a:pt x="17" y="12"/>
                    </a:cubicBezTo>
                    <a:cubicBezTo>
                      <a:pt x="17" y="10"/>
                      <a:pt x="15" y="7"/>
                      <a:pt x="13"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2"/>
              <p:cNvSpPr>
                <a:spLocks noEditPoints="1"/>
              </p:cNvSpPr>
              <p:nvPr/>
            </p:nvSpPr>
            <p:spPr bwMode="auto">
              <a:xfrm>
                <a:off x="4557887" y="3624435"/>
                <a:ext cx="27217" cy="26209"/>
              </a:xfrm>
              <a:custGeom>
                <a:avLst/>
                <a:gdLst>
                  <a:gd name="T0" fmla="*/ 12 w 23"/>
                  <a:gd name="T1" fmla="*/ 22 h 22"/>
                  <a:gd name="T2" fmla="*/ 23 w 23"/>
                  <a:gd name="T3" fmla="*/ 11 h 22"/>
                  <a:gd name="T4" fmla="*/ 12 w 23"/>
                  <a:gd name="T5" fmla="*/ 0 h 22"/>
                  <a:gd name="T6" fmla="*/ 0 w 23"/>
                  <a:gd name="T7" fmla="*/ 11 h 22"/>
                  <a:gd name="T8" fmla="*/ 12 w 23"/>
                  <a:gd name="T9" fmla="*/ 22 h 22"/>
                  <a:gd name="T10" fmla="*/ 12 w 23"/>
                  <a:gd name="T11" fmla="*/ 5 h 22"/>
                  <a:gd name="T12" fmla="*/ 18 w 23"/>
                  <a:gd name="T13" fmla="*/ 11 h 22"/>
                  <a:gd name="T14" fmla="*/ 12 w 23"/>
                  <a:gd name="T15" fmla="*/ 17 h 22"/>
                  <a:gd name="T16" fmla="*/ 5 w 23"/>
                  <a:gd name="T17" fmla="*/ 11 h 22"/>
                  <a:gd name="T18" fmla="*/ 12 w 23"/>
                  <a:gd name="T19"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12" y="22"/>
                    </a:moveTo>
                    <a:cubicBezTo>
                      <a:pt x="18" y="22"/>
                      <a:pt x="23" y="17"/>
                      <a:pt x="23" y="11"/>
                    </a:cubicBezTo>
                    <a:cubicBezTo>
                      <a:pt x="23" y="5"/>
                      <a:pt x="18" y="0"/>
                      <a:pt x="12" y="0"/>
                    </a:cubicBezTo>
                    <a:cubicBezTo>
                      <a:pt x="5" y="0"/>
                      <a:pt x="0" y="5"/>
                      <a:pt x="0" y="11"/>
                    </a:cubicBezTo>
                    <a:cubicBezTo>
                      <a:pt x="0" y="17"/>
                      <a:pt x="5" y="22"/>
                      <a:pt x="12" y="22"/>
                    </a:cubicBezTo>
                    <a:moveTo>
                      <a:pt x="12" y="5"/>
                    </a:moveTo>
                    <a:cubicBezTo>
                      <a:pt x="15" y="5"/>
                      <a:pt x="18" y="8"/>
                      <a:pt x="18" y="11"/>
                    </a:cubicBezTo>
                    <a:cubicBezTo>
                      <a:pt x="18" y="14"/>
                      <a:pt x="15" y="17"/>
                      <a:pt x="12" y="17"/>
                    </a:cubicBezTo>
                    <a:cubicBezTo>
                      <a:pt x="8" y="17"/>
                      <a:pt x="5" y="14"/>
                      <a:pt x="5" y="11"/>
                    </a:cubicBezTo>
                    <a:cubicBezTo>
                      <a:pt x="5" y="8"/>
                      <a:pt x="8" y="5"/>
                      <a:pt x="12"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3"/>
              <p:cNvSpPr>
                <a:spLocks noEditPoints="1"/>
              </p:cNvSpPr>
              <p:nvPr/>
            </p:nvSpPr>
            <p:spPr bwMode="auto">
              <a:xfrm>
                <a:off x="4556375" y="3622923"/>
                <a:ext cx="29737" cy="28729"/>
              </a:xfrm>
              <a:custGeom>
                <a:avLst/>
                <a:gdLst>
                  <a:gd name="T0" fmla="*/ 13 w 25"/>
                  <a:gd name="T1" fmla="*/ 24 h 24"/>
                  <a:gd name="T2" fmla="*/ 0 w 25"/>
                  <a:gd name="T3" fmla="*/ 12 h 24"/>
                  <a:gd name="T4" fmla="*/ 13 w 25"/>
                  <a:gd name="T5" fmla="*/ 0 h 24"/>
                  <a:gd name="T6" fmla="*/ 25 w 25"/>
                  <a:gd name="T7" fmla="*/ 12 h 24"/>
                  <a:gd name="T8" fmla="*/ 13 w 25"/>
                  <a:gd name="T9" fmla="*/ 24 h 24"/>
                  <a:gd name="T10" fmla="*/ 13 w 25"/>
                  <a:gd name="T11" fmla="*/ 2 h 24"/>
                  <a:gd name="T12" fmla="*/ 3 w 25"/>
                  <a:gd name="T13" fmla="*/ 12 h 24"/>
                  <a:gd name="T14" fmla="*/ 13 w 25"/>
                  <a:gd name="T15" fmla="*/ 22 h 24"/>
                  <a:gd name="T16" fmla="*/ 22 w 25"/>
                  <a:gd name="T17" fmla="*/ 12 h 24"/>
                  <a:gd name="T18" fmla="*/ 13 w 25"/>
                  <a:gd name="T19" fmla="*/ 2 h 24"/>
                  <a:gd name="T20" fmla="*/ 13 w 25"/>
                  <a:gd name="T21" fmla="*/ 20 h 24"/>
                  <a:gd name="T22" fmla="*/ 5 w 25"/>
                  <a:gd name="T23" fmla="*/ 12 h 24"/>
                  <a:gd name="T24" fmla="*/ 13 w 25"/>
                  <a:gd name="T25" fmla="*/ 5 h 24"/>
                  <a:gd name="T26" fmla="*/ 20 w 25"/>
                  <a:gd name="T27" fmla="*/ 12 h 24"/>
                  <a:gd name="T28" fmla="*/ 13 w 25"/>
                  <a:gd name="T29" fmla="*/ 20 h 24"/>
                  <a:gd name="T30" fmla="*/ 13 w 25"/>
                  <a:gd name="T31" fmla="*/ 7 h 24"/>
                  <a:gd name="T32" fmla="*/ 8 w 25"/>
                  <a:gd name="T33" fmla="*/ 12 h 24"/>
                  <a:gd name="T34" fmla="*/ 13 w 25"/>
                  <a:gd name="T35" fmla="*/ 17 h 24"/>
                  <a:gd name="T36" fmla="*/ 17 w 25"/>
                  <a:gd name="T37" fmla="*/ 12 h 24"/>
                  <a:gd name="T38" fmla="*/ 13 w 25"/>
                  <a:gd name="T39"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4">
                    <a:moveTo>
                      <a:pt x="13" y="24"/>
                    </a:moveTo>
                    <a:cubicBezTo>
                      <a:pt x="6" y="24"/>
                      <a:pt x="0" y="19"/>
                      <a:pt x="0" y="12"/>
                    </a:cubicBezTo>
                    <a:cubicBezTo>
                      <a:pt x="0" y="5"/>
                      <a:pt x="6" y="0"/>
                      <a:pt x="13" y="0"/>
                    </a:cubicBezTo>
                    <a:cubicBezTo>
                      <a:pt x="19" y="0"/>
                      <a:pt x="25" y="5"/>
                      <a:pt x="25" y="12"/>
                    </a:cubicBezTo>
                    <a:cubicBezTo>
                      <a:pt x="25" y="19"/>
                      <a:pt x="19" y="24"/>
                      <a:pt x="13" y="24"/>
                    </a:cubicBezTo>
                    <a:moveTo>
                      <a:pt x="13" y="2"/>
                    </a:moveTo>
                    <a:cubicBezTo>
                      <a:pt x="7" y="2"/>
                      <a:pt x="3" y="7"/>
                      <a:pt x="3" y="12"/>
                    </a:cubicBezTo>
                    <a:cubicBezTo>
                      <a:pt x="3" y="17"/>
                      <a:pt x="7" y="22"/>
                      <a:pt x="13" y="22"/>
                    </a:cubicBezTo>
                    <a:cubicBezTo>
                      <a:pt x="18" y="22"/>
                      <a:pt x="22" y="17"/>
                      <a:pt x="22" y="12"/>
                    </a:cubicBezTo>
                    <a:cubicBezTo>
                      <a:pt x="22" y="7"/>
                      <a:pt x="18" y="2"/>
                      <a:pt x="13" y="2"/>
                    </a:cubicBezTo>
                    <a:moveTo>
                      <a:pt x="13" y="20"/>
                    </a:moveTo>
                    <a:cubicBezTo>
                      <a:pt x="8" y="20"/>
                      <a:pt x="5" y="16"/>
                      <a:pt x="5" y="12"/>
                    </a:cubicBezTo>
                    <a:cubicBezTo>
                      <a:pt x="5" y="8"/>
                      <a:pt x="8" y="5"/>
                      <a:pt x="13" y="5"/>
                    </a:cubicBezTo>
                    <a:cubicBezTo>
                      <a:pt x="17" y="5"/>
                      <a:pt x="20" y="8"/>
                      <a:pt x="20" y="12"/>
                    </a:cubicBezTo>
                    <a:cubicBezTo>
                      <a:pt x="20" y="16"/>
                      <a:pt x="17" y="20"/>
                      <a:pt x="13" y="20"/>
                    </a:cubicBezTo>
                    <a:moveTo>
                      <a:pt x="13" y="7"/>
                    </a:moveTo>
                    <a:cubicBezTo>
                      <a:pt x="10" y="7"/>
                      <a:pt x="8" y="9"/>
                      <a:pt x="8" y="12"/>
                    </a:cubicBezTo>
                    <a:cubicBezTo>
                      <a:pt x="8" y="15"/>
                      <a:pt x="10" y="17"/>
                      <a:pt x="13" y="17"/>
                    </a:cubicBezTo>
                    <a:cubicBezTo>
                      <a:pt x="15" y="17"/>
                      <a:pt x="17" y="15"/>
                      <a:pt x="17" y="12"/>
                    </a:cubicBezTo>
                    <a:cubicBezTo>
                      <a:pt x="17" y="9"/>
                      <a:pt x="15" y="7"/>
                      <a:pt x="13"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4" name="Group 43"/>
          <p:cNvGrpSpPr/>
          <p:nvPr/>
        </p:nvGrpSpPr>
        <p:grpSpPr>
          <a:xfrm>
            <a:off x="7601422" y="2856005"/>
            <a:ext cx="524503" cy="595847"/>
            <a:chOff x="7305525" y="2817905"/>
            <a:chExt cx="524503" cy="595847"/>
          </a:xfrm>
        </p:grpSpPr>
        <p:grpSp>
          <p:nvGrpSpPr>
            <p:cNvPr id="43" name="Group 42"/>
            <p:cNvGrpSpPr/>
            <p:nvPr/>
          </p:nvGrpSpPr>
          <p:grpSpPr>
            <a:xfrm>
              <a:off x="7366308" y="3025654"/>
              <a:ext cx="388098" cy="388098"/>
              <a:chOff x="7366308" y="3025654"/>
              <a:chExt cx="388098" cy="388098"/>
            </a:xfrm>
          </p:grpSpPr>
          <p:sp>
            <p:nvSpPr>
              <p:cNvPr id="49" name="Oval 119"/>
              <p:cNvSpPr>
                <a:spLocks noChangeArrowheads="1"/>
              </p:cNvSpPr>
              <p:nvPr/>
            </p:nvSpPr>
            <p:spPr bwMode="auto">
              <a:xfrm>
                <a:off x="7366308" y="3025654"/>
                <a:ext cx="388098" cy="388098"/>
              </a:xfrm>
              <a:prstGeom prst="ellipse">
                <a:avLst/>
              </a:prstGeom>
              <a:solidFill>
                <a:srgbClr val="004BAF"/>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42" name="Group 41"/>
              <p:cNvGrpSpPr/>
              <p:nvPr/>
            </p:nvGrpSpPr>
            <p:grpSpPr>
              <a:xfrm>
                <a:off x="7418727" y="3079081"/>
                <a:ext cx="282253" cy="282253"/>
                <a:chOff x="7418727" y="3079081"/>
                <a:chExt cx="282253" cy="282253"/>
              </a:xfrm>
            </p:grpSpPr>
            <p:sp>
              <p:nvSpPr>
                <p:cNvPr id="50" name="Freeform 120"/>
                <p:cNvSpPr>
                  <a:spLocks/>
                </p:cNvSpPr>
                <p:nvPr/>
              </p:nvSpPr>
              <p:spPr bwMode="auto">
                <a:xfrm>
                  <a:off x="7612776" y="3118395"/>
                  <a:ext cx="28729" cy="27217"/>
                </a:xfrm>
                <a:custGeom>
                  <a:avLst/>
                  <a:gdLst>
                    <a:gd name="T0" fmla="*/ 24 w 24"/>
                    <a:gd name="T1" fmla="*/ 17 h 23"/>
                    <a:gd name="T2" fmla="*/ 0 w 24"/>
                    <a:gd name="T3" fmla="*/ 0 h 23"/>
                    <a:gd name="T4" fmla="*/ 11 w 24"/>
                    <a:gd name="T5" fmla="*/ 23 h 23"/>
                    <a:gd name="T6" fmla="*/ 24 w 24"/>
                    <a:gd name="T7" fmla="*/ 17 h 23"/>
                  </a:gdLst>
                  <a:ahLst/>
                  <a:cxnLst>
                    <a:cxn ang="0">
                      <a:pos x="T0" y="T1"/>
                    </a:cxn>
                    <a:cxn ang="0">
                      <a:pos x="T2" y="T3"/>
                    </a:cxn>
                    <a:cxn ang="0">
                      <a:pos x="T4" y="T5"/>
                    </a:cxn>
                    <a:cxn ang="0">
                      <a:pos x="T6" y="T7"/>
                    </a:cxn>
                  </a:cxnLst>
                  <a:rect l="0" t="0" r="r" b="b"/>
                  <a:pathLst>
                    <a:path w="24" h="23">
                      <a:moveTo>
                        <a:pt x="24" y="17"/>
                      </a:moveTo>
                      <a:cubicBezTo>
                        <a:pt x="17" y="10"/>
                        <a:pt x="9" y="5"/>
                        <a:pt x="0" y="0"/>
                      </a:cubicBezTo>
                      <a:cubicBezTo>
                        <a:pt x="4" y="7"/>
                        <a:pt x="8" y="14"/>
                        <a:pt x="11" y="23"/>
                      </a:cubicBezTo>
                      <a:cubicBezTo>
                        <a:pt x="16" y="21"/>
                        <a:pt x="20" y="19"/>
                        <a:pt x="24" y="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21"/>
                <p:cNvSpPr>
                  <a:spLocks/>
                </p:cNvSpPr>
                <p:nvPr/>
              </p:nvSpPr>
              <p:spPr bwMode="auto">
                <a:xfrm>
                  <a:off x="7506931" y="3164765"/>
                  <a:ext cx="48890" cy="47378"/>
                </a:xfrm>
                <a:custGeom>
                  <a:avLst/>
                  <a:gdLst>
                    <a:gd name="T0" fmla="*/ 0 w 41"/>
                    <a:gd name="T1" fmla="*/ 40 h 40"/>
                    <a:gd name="T2" fmla="*/ 41 w 41"/>
                    <a:gd name="T3" fmla="*/ 40 h 40"/>
                    <a:gd name="T4" fmla="*/ 41 w 41"/>
                    <a:gd name="T5" fmla="*/ 5 h 40"/>
                    <a:gd name="T6" fmla="*/ 6 w 41"/>
                    <a:gd name="T7" fmla="*/ 0 h 40"/>
                    <a:gd name="T8" fmla="*/ 0 w 41"/>
                    <a:gd name="T9" fmla="*/ 40 h 40"/>
                  </a:gdLst>
                  <a:ahLst/>
                  <a:cxnLst>
                    <a:cxn ang="0">
                      <a:pos x="T0" y="T1"/>
                    </a:cxn>
                    <a:cxn ang="0">
                      <a:pos x="T2" y="T3"/>
                    </a:cxn>
                    <a:cxn ang="0">
                      <a:pos x="T4" y="T5"/>
                    </a:cxn>
                    <a:cxn ang="0">
                      <a:pos x="T6" y="T7"/>
                    </a:cxn>
                    <a:cxn ang="0">
                      <a:pos x="T8" y="T9"/>
                    </a:cxn>
                  </a:cxnLst>
                  <a:rect l="0" t="0" r="r" b="b"/>
                  <a:pathLst>
                    <a:path w="41" h="40">
                      <a:moveTo>
                        <a:pt x="0" y="40"/>
                      </a:moveTo>
                      <a:cubicBezTo>
                        <a:pt x="41" y="40"/>
                        <a:pt x="41" y="40"/>
                        <a:pt x="41" y="40"/>
                      </a:cubicBezTo>
                      <a:cubicBezTo>
                        <a:pt x="41" y="5"/>
                        <a:pt x="41" y="5"/>
                        <a:pt x="41" y="5"/>
                      </a:cubicBezTo>
                      <a:cubicBezTo>
                        <a:pt x="28" y="5"/>
                        <a:pt x="17" y="3"/>
                        <a:pt x="6" y="0"/>
                      </a:cubicBezTo>
                      <a:cubicBezTo>
                        <a:pt x="2" y="12"/>
                        <a:pt x="0" y="26"/>
                        <a:pt x="0"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22"/>
                <p:cNvSpPr>
                  <a:spLocks/>
                </p:cNvSpPr>
                <p:nvPr/>
              </p:nvSpPr>
              <p:spPr bwMode="auto">
                <a:xfrm>
                  <a:off x="7506931" y="3227768"/>
                  <a:ext cx="48890" cy="42842"/>
                </a:xfrm>
                <a:custGeom>
                  <a:avLst/>
                  <a:gdLst>
                    <a:gd name="T0" fmla="*/ 5 w 41"/>
                    <a:gd name="T1" fmla="*/ 36 h 36"/>
                    <a:gd name="T2" fmla="*/ 41 w 41"/>
                    <a:gd name="T3" fmla="*/ 31 h 36"/>
                    <a:gd name="T4" fmla="*/ 41 w 41"/>
                    <a:gd name="T5" fmla="*/ 0 h 36"/>
                    <a:gd name="T6" fmla="*/ 0 w 41"/>
                    <a:gd name="T7" fmla="*/ 0 h 36"/>
                    <a:gd name="T8" fmla="*/ 5 w 41"/>
                    <a:gd name="T9" fmla="*/ 36 h 36"/>
                  </a:gdLst>
                  <a:ahLst/>
                  <a:cxnLst>
                    <a:cxn ang="0">
                      <a:pos x="T0" y="T1"/>
                    </a:cxn>
                    <a:cxn ang="0">
                      <a:pos x="T2" y="T3"/>
                    </a:cxn>
                    <a:cxn ang="0">
                      <a:pos x="T4" y="T5"/>
                    </a:cxn>
                    <a:cxn ang="0">
                      <a:pos x="T6" y="T7"/>
                    </a:cxn>
                    <a:cxn ang="0">
                      <a:pos x="T8" y="T9"/>
                    </a:cxn>
                  </a:cxnLst>
                  <a:rect l="0" t="0" r="r" b="b"/>
                  <a:pathLst>
                    <a:path w="41" h="36">
                      <a:moveTo>
                        <a:pt x="5" y="36"/>
                      </a:moveTo>
                      <a:cubicBezTo>
                        <a:pt x="16" y="33"/>
                        <a:pt x="28" y="32"/>
                        <a:pt x="41" y="31"/>
                      </a:cubicBezTo>
                      <a:cubicBezTo>
                        <a:pt x="41" y="0"/>
                        <a:pt x="41" y="0"/>
                        <a:pt x="41" y="0"/>
                      </a:cubicBezTo>
                      <a:cubicBezTo>
                        <a:pt x="0" y="0"/>
                        <a:pt x="0" y="0"/>
                        <a:pt x="0" y="0"/>
                      </a:cubicBezTo>
                      <a:cubicBezTo>
                        <a:pt x="0" y="13"/>
                        <a:pt x="2" y="25"/>
                        <a:pt x="5"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23"/>
                <p:cNvSpPr>
                  <a:spLocks/>
                </p:cNvSpPr>
                <p:nvPr/>
              </p:nvSpPr>
              <p:spPr bwMode="auto">
                <a:xfrm>
                  <a:off x="7519027" y="3107810"/>
                  <a:ext cx="36794" cy="47378"/>
                </a:xfrm>
                <a:custGeom>
                  <a:avLst/>
                  <a:gdLst>
                    <a:gd name="T0" fmla="*/ 0 w 31"/>
                    <a:gd name="T1" fmla="*/ 36 h 40"/>
                    <a:gd name="T2" fmla="*/ 31 w 31"/>
                    <a:gd name="T3" fmla="*/ 40 h 40"/>
                    <a:gd name="T4" fmla="*/ 31 w 31"/>
                    <a:gd name="T5" fmla="*/ 0 h 40"/>
                    <a:gd name="T6" fmla="*/ 25 w 31"/>
                    <a:gd name="T7" fmla="*/ 0 h 40"/>
                    <a:gd name="T8" fmla="*/ 0 w 31"/>
                    <a:gd name="T9" fmla="*/ 36 h 40"/>
                  </a:gdLst>
                  <a:ahLst/>
                  <a:cxnLst>
                    <a:cxn ang="0">
                      <a:pos x="T0" y="T1"/>
                    </a:cxn>
                    <a:cxn ang="0">
                      <a:pos x="T2" y="T3"/>
                    </a:cxn>
                    <a:cxn ang="0">
                      <a:pos x="T4" y="T5"/>
                    </a:cxn>
                    <a:cxn ang="0">
                      <a:pos x="T6" y="T7"/>
                    </a:cxn>
                    <a:cxn ang="0">
                      <a:pos x="T8" y="T9"/>
                    </a:cxn>
                  </a:cxnLst>
                  <a:rect l="0" t="0" r="r" b="b"/>
                  <a:pathLst>
                    <a:path w="31" h="40">
                      <a:moveTo>
                        <a:pt x="0" y="36"/>
                      </a:moveTo>
                      <a:cubicBezTo>
                        <a:pt x="9" y="38"/>
                        <a:pt x="20" y="39"/>
                        <a:pt x="31" y="40"/>
                      </a:cubicBezTo>
                      <a:cubicBezTo>
                        <a:pt x="31" y="0"/>
                        <a:pt x="31" y="0"/>
                        <a:pt x="31" y="0"/>
                      </a:cubicBezTo>
                      <a:cubicBezTo>
                        <a:pt x="29" y="0"/>
                        <a:pt x="27" y="0"/>
                        <a:pt x="25" y="0"/>
                      </a:cubicBezTo>
                      <a:cubicBezTo>
                        <a:pt x="15" y="6"/>
                        <a:pt x="6" y="19"/>
                        <a:pt x="0"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24"/>
                <p:cNvSpPr>
                  <a:spLocks/>
                </p:cNvSpPr>
                <p:nvPr/>
              </p:nvSpPr>
              <p:spPr bwMode="auto">
                <a:xfrm>
                  <a:off x="7483242" y="3290771"/>
                  <a:ext cx="35786" cy="32258"/>
                </a:xfrm>
                <a:custGeom>
                  <a:avLst/>
                  <a:gdLst>
                    <a:gd name="T0" fmla="*/ 0 w 30"/>
                    <a:gd name="T1" fmla="*/ 7 h 27"/>
                    <a:gd name="T2" fmla="*/ 30 w 30"/>
                    <a:gd name="T3" fmla="*/ 27 h 27"/>
                    <a:gd name="T4" fmla="*/ 16 w 30"/>
                    <a:gd name="T5" fmla="*/ 0 h 27"/>
                    <a:gd name="T6" fmla="*/ 0 w 30"/>
                    <a:gd name="T7" fmla="*/ 7 h 27"/>
                  </a:gdLst>
                  <a:ahLst/>
                  <a:cxnLst>
                    <a:cxn ang="0">
                      <a:pos x="T0" y="T1"/>
                    </a:cxn>
                    <a:cxn ang="0">
                      <a:pos x="T2" y="T3"/>
                    </a:cxn>
                    <a:cxn ang="0">
                      <a:pos x="T4" y="T5"/>
                    </a:cxn>
                    <a:cxn ang="0">
                      <a:pos x="T6" y="T7"/>
                    </a:cxn>
                  </a:cxnLst>
                  <a:rect l="0" t="0" r="r" b="b"/>
                  <a:pathLst>
                    <a:path w="30" h="27">
                      <a:moveTo>
                        <a:pt x="0" y="7"/>
                      </a:moveTo>
                      <a:cubicBezTo>
                        <a:pt x="8" y="16"/>
                        <a:pt x="18" y="23"/>
                        <a:pt x="30" y="27"/>
                      </a:cubicBezTo>
                      <a:cubicBezTo>
                        <a:pt x="24" y="20"/>
                        <a:pt x="20" y="10"/>
                        <a:pt x="16" y="0"/>
                      </a:cubicBezTo>
                      <a:cubicBezTo>
                        <a:pt x="10" y="2"/>
                        <a:pt x="5" y="4"/>
                        <a:pt x="0"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25"/>
                <p:cNvSpPr>
                  <a:spLocks/>
                </p:cNvSpPr>
                <p:nvPr/>
              </p:nvSpPr>
              <p:spPr bwMode="auto">
                <a:xfrm>
                  <a:off x="7485258" y="3115875"/>
                  <a:ext cx="33770" cy="29737"/>
                </a:xfrm>
                <a:custGeom>
                  <a:avLst/>
                  <a:gdLst>
                    <a:gd name="T0" fmla="*/ 28 w 28"/>
                    <a:gd name="T1" fmla="*/ 0 h 25"/>
                    <a:gd name="T2" fmla="*/ 0 w 28"/>
                    <a:gd name="T3" fmla="*/ 18 h 25"/>
                    <a:gd name="T4" fmla="*/ 15 w 28"/>
                    <a:gd name="T5" fmla="*/ 25 h 25"/>
                    <a:gd name="T6" fmla="*/ 28 w 28"/>
                    <a:gd name="T7" fmla="*/ 0 h 25"/>
                  </a:gdLst>
                  <a:ahLst/>
                  <a:cxnLst>
                    <a:cxn ang="0">
                      <a:pos x="T0" y="T1"/>
                    </a:cxn>
                    <a:cxn ang="0">
                      <a:pos x="T2" y="T3"/>
                    </a:cxn>
                    <a:cxn ang="0">
                      <a:pos x="T4" y="T5"/>
                    </a:cxn>
                    <a:cxn ang="0">
                      <a:pos x="T6" y="T7"/>
                    </a:cxn>
                  </a:cxnLst>
                  <a:rect l="0" t="0" r="r" b="b"/>
                  <a:pathLst>
                    <a:path w="28" h="25">
                      <a:moveTo>
                        <a:pt x="28" y="0"/>
                      </a:moveTo>
                      <a:cubicBezTo>
                        <a:pt x="17" y="5"/>
                        <a:pt x="8" y="11"/>
                        <a:pt x="0" y="18"/>
                      </a:cubicBezTo>
                      <a:cubicBezTo>
                        <a:pt x="5" y="21"/>
                        <a:pt x="10" y="23"/>
                        <a:pt x="15" y="25"/>
                      </a:cubicBezTo>
                      <a:cubicBezTo>
                        <a:pt x="18" y="15"/>
                        <a:pt x="23" y="7"/>
                        <a:pt x="2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26"/>
                <p:cNvSpPr>
                  <a:spLocks/>
                </p:cNvSpPr>
                <p:nvPr/>
              </p:nvSpPr>
              <p:spPr bwMode="auto">
                <a:xfrm>
                  <a:off x="7450984" y="3149140"/>
                  <a:ext cx="47378" cy="63003"/>
                </a:xfrm>
                <a:custGeom>
                  <a:avLst/>
                  <a:gdLst>
                    <a:gd name="T0" fmla="*/ 40 w 40"/>
                    <a:gd name="T1" fmla="*/ 9 h 53"/>
                    <a:gd name="T2" fmla="*/ 20 w 40"/>
                    <a:gd name="T3" fmla="*/ 0 h 53"/>
                    <a:gd name="T4" fmla="*/ 0 w 40"/>
                    <a:gd name="T5" fmla="*/ 53 h 53"/>
                    <a:gd name="T6" fmla="*/ 34 w 40"/>
                    <a:gd name="T7" fmla="*/ 53 h 53"/>
                    <a:gd name="T8" fmla="*/ 40 w 40"/>
                    <a:gd name="T9" fmla="*/ 9 h 53"/>
                  </a:gdLst>
                  <a:ahLst/>
                  <a:cxnLst>
                    <a:cxn ang="0">
                      <a:pos x="T0" y="T1"/>
                    </a:cxn>
                    <a:cxn ang="0">
                      <a:pos x="T2" y="T3"/>
                    </a:cxn>
                    <a:cxn ang="0">
                      <a:pos x="T4" y="T5"/>
                    </a:cxn>
                    <a:cxn ang="0">
                      <a:pos x="T6" y="T7"/>
                    </a:cxn>
                    <a:cxn ang="0">
                      <a:pos x="T8" y="T9"/>
                    </a:cxn>
                  </a:cxnLst>
                  <a:rect l="0" t="0" r="r" b="b"/>
                  <a:pathLst>
                    <a:path w="40" h="53">
                      <a:moveTo>
                        <a:pt x="40" y="9"/>
                      </a:moveTo>
                      <a:cubicBezTo>
                        <a:pt x="33" y="7"/>
                        <a:pt x="26" y="4"/>
                        <a:pt x="20" y="0"/>
                      </a:cubicBezTo>
                      <a:cubicBezTo>
                        <a:pt x="8" y="15"/>
                        <a:pt x="1" y="33"/>
                        <a:pt x="0" y="53"/>
                      </a:cubicBezTo>
                      <a:cubicBezTo>
                        <a:pt x="34" y="53"/>
                        <a:pt x="34" y="53"/>
                        <a:pt x="34" y="53"/>
                      </a:cubicBezTo>
                      <a:cubicBezTo>
                        <a:pt x="34" y="37"/>
                        <a:pt x="36" y="22"/>
                        <a:pt x="40"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27"/>
                <p:cNvSpPr>
                  <a:spLocks/>
                </p:cNvSpPr>
                <p:nvPr/>
              </p:nvSpPr>
              <p:spPr bwMode="auto">
                <a:xfrm>
                  <a:off x="7450984" y="3227768"/>
                  <a:ext cx="46370" cy="59475"/>
                </a:xfrm>
                <a:custGeom>
                  <a:avLst/>
                  <a:gdLst>
                    <a:gd name="T0" fmla="*/ 34 w 39"/>
                    <a:gd name="T1" fmla="*/ 0 h 50"/>
                    <a:gd name="T2" fmla="*/ 0 w 39"/>
                    <a:gd name="T3" fmla="*/ 0 h 50"/>
                    <a:gd name="T4" fmla="*/ 18 w 39"/>
                    <a:gd name="T5" fmla="*/ 50 h 50"/>
                    <a:gd name="T6" fmla="*/ 39 w 39"/>
                    <a:gd name="T7" fmla="*/ 40 h 50"/>
                    <a:gd name="T8" fmla="*/ 34 w 39"/>
                    <a:gd name="T9" fmla="*/ 0 h 50"/>
                  </a:gdLst>
                  <a:ahLst/>
                  <a:cxnLst>
                    <a:cxn ang="0">
                      <a:pos x="T0" y="T1"/>
                    </a:cxn>
                    <a:cxn ang="0">
                      <a:pos x="T2" y="T3"/>
                    </a:cxn>
                    <a:cxn ang="0">
                      <a:pos x="T4" y="T5"/>
                    </a:cxn>
                    <a:cxn ang="0">
                      <a:pos x="T6" y="T7"/>
                    </a:cxn>
                    <a:cxn ang="0">
                      <a:pos x="T8" y="T9"/>
                    </a:cxn>
                  </a:cxnLst>
                  <a:rect l="0" t="0" r="r" b="b"/>
                  <a:pathLst>
                    <a:path w="39" h="50">
                      <a:moveTo>
                        <a:pt x="34" y="0"/>
                      </a:moveTo>
                      <a:cubicBezTo>
                        <a:pt x="0" y="0"/>
                        <a:pt x="0" y="0"/>
                        <a:pt x="0" y="0"/>
                      </a:cubicBezTo>
                      <a:cubicBezTo>
                        <a:pt x="1" y="19"/>
                        <a:pt x="8" y="36"/>
                        <a:pt x="18" y="50"/>
                      </a:cubicBezTo>
                      <a:cubicBezTo>
                        <a:pt x="25" y="46"/>
                        <a:pt x="32" y="43"/>
                        <a:pt x="39" y="40"/>
                      </a:cubicBezTo>
                      <a:cubicBezTo>
                        <a:pt x="36" y="28"/>
                        <a:pt x="34" y="14"/>
                        <a:pt x="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28"/>
                <p:cNvSpPr>
                  <a:spLocks/>
                </p:cNvSpPr>
                <p:nvPr/>
              </p:nvSpPr>
              <p:spPr bwMode="auto">
                <a:xfrm>
                  <a:off x="7517515" y="3280186"/>
                  <a:ext cx="38306" cy="52418"/>
                </a:xfrm>
                <a:custGeom>
                  <a:avLst/>
                  <a:gdLst>
                    <a:gd name="T0" fmla="*/ 26 w 32"/>
                    <a:gd name="T1" fmla="*/ 43 h 44"/>
                    <a:gd name="T2" fmla="*/ 32 w 32"/>
                    <a:gd name="T3" fmla="*/ 44 h 44"/>
                    <a:gd name="T4" fmla="*/ 32 w 32"/>
                    <a:gd name="T5" fmla="*/ 0 h 44"/>
                    <a:gd name="T6" fmla="*/ 0 w 32"/>
                    <a:gd name="T7" fmla="*/ 5 h 44"/>
                    <a:gd name="T8" fmla="*/ 26 w 32"/>
                    <a:gd name="T9" fmla="*/ 43 h 44"/>
                  </a:gdLst>
                  <a:ahLst/>
                  <a:cxnLst>
                    <a:cxn ang="0">
                      <a:pos x="T0" y="T1"/>
                    </a:cxn>
                    <a:cxn ang="0">
                      <a:pos x="T2" y="T3"/>
                    </a:cxn>
                    <a:cxn ang="0">
                      <a:pos x="T4" y="T5"/>
                    </a:cxn>
                    <a:cxn ang="0">
                      <a:pos x="T6" y="T7"/>
                    </a:cxn>
                    <a:cxn ang="0">
                      <a:pos x="T8" y="T9"/>
                    </a:cxn>
                  </a:cxnLst>
                  <a:rect l="0" t="0" r="r" b="b"/>
                  <a:pathLst>
                    <a:path w="32" h="44">
                      <a:moveTo>
                        <a:pt x="26" y="43"/>
                      </a:moveTo>
                      <a:cubicBezTo>
                        <a:pt x="28" y="44"/>
                        <a:pt x="30" y="44"/>
                        <a:pt x="32" y="44"/>
                      </a:cubicBezTo>
                      <a:cubicBezTo>
                        <a:pt x="32" y="0"/>
                        <a:pt x="32" y="0"/>
                        <a:pt x="32" y="0"/>
                      </a:cubicBezTo>
                      <a:cubicBezTo>
                        <a:pt x="20" y="1"/>
                        <a:pt x="10" y="2"/>
                        <a:pt x="0" y="5"/>
                      </a:cubicBezTo>
                      <a:cubicBezTo>
                        <a:pt x="6" y="23"/>
                        <a:pt x="15" y="37"/>
                        <a:pt x="26"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29"/>
                <p:cNvSpPr>
                  <a:spLocks/>
                </p:cNvSpPr>
                <p:nvPr/>
              </p:nvSpPr>
              <p:spPr bwMode="auto">
                <a:xfrm>
                  <a:off x="7631929" y="3227768"/>
                  <a:ext cx="43850" cy="58467"/>
                </a:xfrm>
                <a:custGeom>
                  <a:avLst/>
                  <a:gdLst>
                    <a:gd name="T0" fmla="*/ 0 w 37"/>
                    <a:gd name="T1" fmla="*/ 40 h 49"/>
                    <a:gd name="T2" fmla="*/ 19 w 37"/>
                    <a:gd name="T3" fmla="*/ 49 h 49"/>
                    <a:gd name="T4" fmla="*/ 37 w 37"/>
                    <a:gd name="T5" fmla="*/ 0 h 49"/>
                    <a:gd name="T6" fmla="*/ 6 w 37"/>
                    <a:gd name="T7" fmla="*/ 0 h 49"/>
                    <a:gd name="T8" fmla="*/ 0 w 37"/>
                    <a:gd name="T9" fmla="*/ 40 h 49"/>
                  </a:gdLst>
                  <a:ahLst/>
                  <a:cxnLst>
                    <a:cxn ang="0">
                      <a:pos x="T0" y="T1"/>
                    </a:cxn>
                    <a:cxn ang="0">
                      <a:pos x="T2" y="T3"/>
                    </a:cxn>
                    <a:cxn ang="0">
                      <a:pos x="T4" y="T5"/>
                    </a:cxn>
                    <a:cxn ang="0">
                      <a:pos x="T6" y="T7"/>
                    </a:cxn>
                    <a:cxn ang="0">
                      <a:pos x="T8" y="T9"/>
                    </a:cxn>
                  </a:cxnLst>
                  <a:rect l="0" t="0" r="r" b="b"/>
                  <a:pathLst>
                    <a:path w="37" h="49">
                      <a:moveTo>
                        <a:pt x="0" y="40"/>
                      </a:moveTo>
                      <a:cubicBezTo>
                        <a:pt x="7" y="43"/>
                        <a:pt x="13" y="45"/>
                        <a:pt x="19" y="49"/>
                      </a:cubicBezTo>
                      <a:cubicBezTo>
                        <a:pt x="29" y="35"/>
                        <a:pt x="36" y="18"/>
                        <a:pt x="37" y="0"/>
                      </a:cubicBezTo>
                      <a:cubicBezTo>
                        <a:pt x="6" y="0"/>
                        <a:pt x="6" y="0"/>
                        <a:pt x="6" y="0"/>
                      </a:cubicBezTo>
                      <a:cubicBezTo>
                        <a:pt x="5" y="14"/>
                        <a:pt x="3" y="28"/>
                        <a:pt x="0"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30"/>
                <p:cNvSpPr>
                  <a:spLocks/>
                </p:cNvSpPr>
                <p:nvPr/>
              </p:nvSpPr>
              <p:spPr bwMode="auto">
                <a:xfrm>
                  <a:off x="7612776" y="3290771"/>
                  <a:ext cx="31249" cy="29737"/>
                </a:xfrm>
                <a:custGeom>
                  <a:avLst/>
                  <a:gdLst>
                    <a:gd name="T0" fmla="*/ 0 w 26"/>
                    <a:gd name="T1" fmla="*/ 25 h 25"/>
                    <a:gd name="T2" fmla="*/ 26 w 26"/>
                    <a:gd name="T3" fmla="*/ 6 h 25"/>
                    <a:gd name="T4" fmla="*/ 12 w 26"/>
                    <a:gd name="T5" fmla="*/ 0 h 25"/>
                    <a:gd name="T6" fmla="*/ 0 w 26"/>
                    <a:gd name="T7" fmla="*/ 25 h 25"/>
                  </a:gdLst>
                  <a:ahLst/>
                  <a:cxnLst>
                    <a:cxn ang="0">
                      <a:pos x="T0" y="T1"/>
                    </a:cxn>
                    <a:cxn ang="0">
                      <a:pos x="T2" y="T3"/>
                    </a:cxn>
                    <a:cxn ang="0">
                      <a:pos x="T4" y="T5"/>
                    </a:cxn>
                    <a:cxn ang="0">
                      <a:pos x="T6" y="T7"/>
                    </a:cxn>
                  </a:cxnLst>
                  <a:rect l="0" t="0" r="r" b="b"/>
                  <a:pathLst>
                    <a:path w="26" h="25">
                      <a:moveTo>
                        <a:pt x="0" y="25"/>
                      </a:moveTo>
                      <a:cubicBezTo>
                        <a:pt x="10" y="21"/>
                        <a:pt x="19" y="14"/>
                        <a:pt x="26" y="6"/>
                      </a:cubicBezTo>
                      <a:cubicBezTo>
                        <a:pt x="22" y="4"/>
                        <a:pt x="17" y="2"/>
                        <a:pt x="12" y="0"/>
                      </a:cubicBezTo>
                      <a:cubicBezTo>
                        <a:pt x="9" y="10"/>
                        <a:pt x="5" y="18"/>
                        <a:pt x="0"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31"/>
                <p:cNvSpPr>
                  <a:spLocks noEditPoints="1"/>
                </p:cNvSpPr>
                <p:nvPr/>
              </p:nvSpPr>
              <p:spPr bwMode="auto">
                <a:xfrm>
                  <a:off x="7418727" y="3079081"/>
                  <a:ext cx="282253" cy="282253"/>
                </a:xfrm>
                <a:custGeom>
                  <a:avLst/>
                  <a:gdLst>
                    <a:gd name="T0" fmla="*/ 119 w 237"/>
                    <a:gd name="T1" fmla="*/ 237 h 237"/>
                    <a:gd name="T2" fmla="*/ 0 w 237"/>
                    <a:gd name="T3" fmla="*/ 118 h 237"/>
                    <a:gd name="T4" fmla="*/ 119 w 237"/>
                    <a:gd name="T5" fmla="*/ 0 h 237"/>
                    <a:gd name="T6" fmla="*/ 237 w 237"/>
                    <a:gd name="T7" fmla="*/ 118 h 237"/>
                    <a:gd name="T8" fmla="*/ 119 w 237"/>
                    <a:gd name="T9" fmla="*/ 237 h 237"/>
                    <a:gd name="T10" fmla="*/ 119 w 237"/>
                    <a:gd name="T11" fmla="*/ 7 h 237"/>
                    <a:gd name="T12" fmla="*/ 8 w 237"/>
                    <a:gd name="T13" fmla="*/ 118 h 237"/>
                    <a:gd name="T14" fmla="*/ 119 w 237"/>
                    <a:gd name="T15" fmla="*/ 229 h 237"/>
                    <a:gd name="T16" fmla="*/ 229 w 237"/>
                    <a:gd name="T17" fmla="*/ 118 h 237"/>
                    <a:gd name="T18" fmla="*/ 119 w 237"/>
                    <a:gd name="T19" fmla="*/ 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237">
                      <a:moveTo>
                        <a:pt x="119" y="237"/>
                      </a:moveTo>
                      <a:cubicBezTo>
                        <a:pt x="53" y="237"/>
                        <a:pt x="0" y="184"/>
                        <a:pt x="0" y="118"/>
                      </a:cubicBezTo>
                      <a:cubicBezTo>
                        <a:pt x="0" y="53"/>
                        <a:pt x="53" y="0"/>
                        <a:pt x="119" y="0"/>
                      </a:cubicBezTo>
                      <a:cubicBezTo>
                        <a:pt x="184" y="0"/>
                        <a:pt x="237" y="53"/>
                        <a:pt x="237" y="118"/>
                      </a:cubicBezTo>
                      <a:cubicBezTo>
                        <a:pt x="237" y="184"/>
                        <a:pt x="184" y="237"/>
                        <a:pt x="119" y="237"/>
                      </a:cubicBezTo>
                      <a:close/>
                      <a:moveTo>
                        <a:pt x="119" y="7"/>
                      </a:moveTo>
                      <a:cubicBezTo>
                        <a:pt x="58" y="7"/>
                        <a:pt x="8" y="57"/>
                        <a:pt x="8" y="118"/>
                      </a:cubicBezTo>
                      <a:cubicBezTo>
                        <a:pt x="8" y="179"/>
                        <a:pt x="58" y="229"/>
                        <a:pt x="119" y="229"/>
                      </a:cubicBezTo>
                      <a:cubicBezTo>
                        <a:pt x="180" y="229"/>
                        <a:pt x="229" y="179"/>
                        <a:pt x="229" y="118"/>
                      </a:cubicBezTo>
                      <a:cubicBezTo>
                        <a:pt x="229" y="57"/>
                        <a:pt x="180" y="7"/>
                        <a:pt x="119"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32"/>
                <p:cNvSpPr>
                  <a:spLocks/>
                </p:cNvSpPr>
                <p:nvPr/>
              </p:nvSpPr>
              <p:spPr bwMode="auto">
                <a:xfrm>
                  <a:off x="7571446" y="3107810"/>
                  <a:ext cx="40322" cy="47378"/>
                </a:xfrm>
                <a:custGeom>
                  <a:avLst/>
                  <a:gdLst>
                    <a:gd name="T0" fmla="*/ 9 w 34"/>
                    <a:gd name="T1" fmla="*/ 1 h 40"/>
                    <a:gd name="T2" fmla="*/ 0 w 34"/>
                    <a:gd name="T3" fmla="*/ 0 h 40"/>
                    <a:gd name="T4" fmla="*/ 0 w 34"/>
                    <a:gd name="T5" fmla="*/ 40 h 40"/>
                    <a:gd name="T6" fmla="*/ 34 w 34"/>
                    <a:gd name="T7" fmla="*/ 36 h 40"/>
                    <a:gd name="T8" fmla="*/ 9 w 34"/>
                    <a:gd name="T9" fmla="*/ 1 h 40"/>
                  </a:gdLst>
                  <a:ahLst/>
                  <a:cxnLst>
                    <a:cxn ang="0">
                      <a:pos x="T0" y="T1"/>
                    </a:cxn>
                    <a:cxn ang="0">
                      <a:pos x="T2" y="T3"/>
                    </a:cxn>
                    <a:cxn ang="0">
                      <a:pos x="T4" y="T5"/>
                    </a:cxn>
                    <a:cxn ang="0">
                      <a:pos x="T6" y="T7"/>
                    </a:cxn>
                    <a:cxn ang="0">
                      <a:pos x="T8" y="T9"/>
                    </a:cxn>
                  </a:cxnLst>
                  <a:rect l="0" t="0" r="r" b="b"/>
                  <a:pathLst>
                    <a:path w="34" h="40">
                      <a:moveTo>
                        <a:pt x="9" y="1"/>
                      </a:moveTo>
                      <a:cubicBezTo>
                        <a:pt x="6" y="0"/>
                        <a:pt x="3" y="0"/>
                        <a:pt x="0" y="0"/>
                      </a:cubicBezTo>
                      <a:cubicBezTo>
                        <a:pt x="0" y="40"/>
                        <a:pt x="0" y="40"/>
                        <a:pt x="0" y="40"/>
                      </a:cubicBezTo>
                      <a:cubicBezTo>
                        <a:pt x="12" y="40"/>
                        <a:pt x="23" y="38"/>
                        <a:pt x="34" y="36"/>
                      </a:cubicBezTo>
                      <a:cubicBezTo>
                        <a:pt x="28" y="19"/>
                        <a:pt x="19" y="7"/>
                        <a:pt x="9"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33"/>
                <p:cNvSpPr>
                  <a:spLocks/>
                </p:cNvSpPr>
                <p:nvPr/>
              </p:nvSpPr>
              <p:spPr bwMode="auto">
                <a:xfrm>
                  <a:off x="7630921" y="3150652"/>
                  <a:ext cx="44858" cy="61491"/>
                </a:xfrm>
                <a:custGeom>
                  <a:avLst/>
                  <a:gdLst>
                    <a:gd name="T0" fmla="*/ 0 w 38"/>
                    <a:gd name="T1" fmla="*/ 8 h 52"/>
                    <a:gd name="T2" fmla="*/ 7 w 38"/>
                    <a:gd name="T3" fmla="*/ 52 h 52"/>
                    <a:gd name="T4" fmla="*/ 38 w 38"/>
                    <a:gd name="T5" fmla="*/ 52 h 52"/>
                    <a:gd name="T6" fmla="*/ 18 w 38"/>
                    <a:gd name="T7" fmla="*/ 0 h 52"/>
                    <a:gd name="T8" fmla="*/ 0 w 38"/>
                    <a:gd name="T9" fmla="*/ 8 h 52"/>
                  </a:gdLst>
                  <a:ahLst/>
                  <a:cxnLst>
                    <a:cxn ang="0">
                      <a:pos x="T0" y="T1"/>
                    </a:cxn>
                    <a:cxn ang="0">
                      <a:pos x="T2" y="T3"/>
                    </a:cxn>
                    <a:cxn ang="0">
                      <a:pos x="T4" y="T5"/>
                    </a:cxn>
                    <a:cxn ang="0">
                      <a:pos x="T6" y="T7"/>
                    </a:cxn>
                    <a:cxn ang="0">
                      <a:pos x="T8" y="T9"/>
                    </a:cxn>
                  </a:cxnLst>
                  <a:rect l="0" t="0" r="r" b="b"/>
                  <a:pathLst>
                    <a:path w="38" h="52">
                      <a:moveTo>
                        <a:pt x="0" y="8"/>
                      </a:moveTo>
                      <a:cubicBezTo>
                        <a:pt x="4" y="21"/>
                        <a:pt x="6" y="36"/>
                        <a:pt x="7" y="52"/>
                      </a:cubicBezTo>
                      <a:cubicBezTo>
                        <a:pt x="38" y="52"/>
                        <a:pt x="38" y="52"/>
                        <a:pt x="38" y="52"/>
                      </a:cubicBezTo>
                      <a:cubicBezTo>
                        <a:pt x="37" y="32"/>
                        <a:pt x="29" y="15"/>
                        <a:pt x="18" y="0"/>
                      </a:cubicBezTo>
                      <a:cubicBezTo>
                        <a:pt x="13" y="3"/>
                        <a:pt x="7" y="6"/>
                        <a:pt x="0"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34"/>
                <p:cNvSpPr>
                  <a:spLocks/>
                </p:cNvSpPr>
                <p:nvPr/>
              </p:nvSpPr>
              <p:spPr bwMode="auto">
                <a:xfrm>
                  <a:off x="7571446" y="3280186"/>
                  <a:ext cx="41330" cy="52418"/>
                </a:xfrm>
                <a:custGeom>
                  <a:avLst/>
                  <a:gdLst>
                    <a:gd name="T0" fmla="*/ 0 w 35"/>
                    <a:gd name="T1" fmla="*/ 44 h 44"/>
                    <a:gd name="T2" fmla="*/ 9 w 35"/>
                    <a:gd name="T3" fmla="*/ 43 h 44"/>
                    <a:gd name="T4" fmla="*/ 35 w 35"/>
                    <a:gd name="T5" fmla="*/ 5 h 44"/>
                    <a:gd name="T6" fmla="*/ 0 w 35"/>
                    <a:gd name="T7" fmla="*/ 0 h 44"/>
                    <a:gd name="T8" fmla="*/ 0 w 35"/>
                    <a:gd name="T9" fmla="*/ 44 h 44"/>
                  </a:gdLst>
                  <a:ahLst/>
                  <a:cxnLst>
                    <a:cxn ang="0">
                      <a:pos x="T0" y="T1"/>
                    </a:cxn>
                    <a:cxn ang="0">
                      <a:pos x="T2" y="T3"/>
                    </a:cxn>
                    <a:cxn ang="0">
                      <a:pos x="T4" y="T5"/>
                    </a:cxn>
                    <a:cxn ang="0">
                      <a:pos x="T6" y="T7"/>
                    </a:cxn>
                    <a:cxn ang="0">
                      <a:pos x="T8" y="T9"/>
                    </a:cxn>
                  </a:cxnLst>
                  <a:rect l="0" t="0" r="r" b="b"/>
                  <a:pathLst>
                    <a:path w="35" h="44">
                      <a:moveTo>
                        <a:pt x="0" y="44"/>
                      </a:moveTo>
                      <a:cubicBezTo>
                        <a:pt x="3" y="44"/>
                        <a:pt x="6" y="43"/>
                        <a:pt x="9" y="43"/>
                      </a:cubicBezTo>
                      <a:cubicBezTo>
                        <a:pt x="20" y="36"/>
                        <a:pt x="29" y="23"/>
                        <a:pt x="35" y="5"/>
                      </a:cubicBezTo>
                      <a:cubicBezTo>
                        <a:pt x="24" y="2"/>
                        <a:pt x="12" y="0"/>
                        <a:pt x="0" y="0"/>
                      </a:cubicBezTo>
                      <a:lnTo>
                        <a:pt x="0"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35"/>
                <p:cNvSpPr>
                  <a:spLocks/>
                </p:cNvSpPr>
                <p:nvPr/>
              </p:nvSpPr>
              <p:spPr bwMode="auto">
                <a:xfrm>
                  <a:off x="7571446" y="3164765"/>
                  <a:ext cx="51914" cy="47378"/>
                </a:xfrm>
                <a:custGeom>
                  <a:avLst/>
                  <a:gdLst>
                    <a:gd name="T0" fmla="*/ 38 w 44"/>
                    <a:gd name="T1" fmla="*/ 0 h 40"/>
                    <a:gd name="T2" fmla="*/ 0 w 44"/>
                    <a:gd name="T3" fmla="*/ 5 h 40"/>
                    <a:gd name="T4" fmla="*/ 0 w 44"/>
                    <a:gd name="T5" fmla="*/ 40 h 40"/>
                    <a:gd name="T6" fmla="*/ 44 w 44"/>
                    <a:gd name="T7" fmla="*/ 40 h 40"/>
                    <a:gd name="T8" fmla="*/ 38 w 44"/>
                    <a:gd name="T9" fmla="*/ 0 h 40"/>
                  </a:gdLst>
                  <a:ahLst/>
                  <a:cxnLst>
                    <a:cxn ang="0">
                      <a:pos x="T0" y="T1"/>
                    </a:cxn>
                    <a:cxn ang="0">
                      <a:pos x="T2" y="T3"/>
                    </a:cxn>
                    <a:cxn ang="0">
                      <a:pos x="T4" y="T5"/>
                    </a:cxn>
                    <a:cxn ang="0">
                      <a:pos x="T6" y="T7"/>
                    </a:cxn>
                    <a:cxn ang="0">
                      <a:pos x="T8" y="T9"/>
                    </a:cxn>
                  </a:cxnLst>
                  <a:rect l="0" t="0" r="r" b="b"/>
                  <a:pathLst>
                    <a:path w="44" h="40">
                      <a:moveTo>
                        <a:pt x="38" y="0"/>
                      </a:moveTo>
                      <a:cubicBezTo>
                        <a:pt x="26" y="3"/>
                        <a:pt x="13" y="5"/>
                        <a:pt x="0" y="5"/>
                      </a:cubicBezTo>
                      <a:cubicBezTo>
                        <a:pt x="0" y="40"/>
                        <a:pt x="0" y="40"/>
                        <a:pt x="0" y="40"/>
                      </a:cubicBezTo>
                      <a:cubicBezTo>
                        <a:pt x="44" y="40"/>
                        <a:pt x="44" y="40"/>
                        <a:pt x="44" y="40"/>
                      </a:cubicBezTo>
                      <a:cubicBezTo>
                        <a:pt x="43" y="26"/>
                        <a:pt x="41" y="12"/>
                        <a:pt x="3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36"/>
                <p:cNvSpPr>
                  <a:spLocks/>
                </p:cNvSpPr>
                <p:nvPr/>
              </p:nvSpPr>
              <p:spPr bwMode="auto">
                <a:xfrm>
                  <a:off x="7571446" y="3227768"/>
                  <a:ext cx="51914" cy="42842"/>
                </a:xfrm>
                <a:custGeom>
                  <a:avLst/>
                  <a:gdLst>
                    <a:gd name="T0" fmla="*/ 44 w 44"/>
                    <a:gd name="T1" fmla="*/ 0 h 36"/>
                    <a:gd name="T2" fmla="*/ 0 w 44"/>
                    <a:gd name="T3" fmla="*/ 0 h 36"/>
                    <a:gd name="T4" fmla="*/ 0 w 44"/>
                    <a:gd name="T5" fmla="*/ 31 h 36"/>
                    <a:gd name="T6" fmla="*/ 39 w 44"/>
                    <a:gd name="T7" fmla="*/ 36 h 36"/>
                    <a:gd name="T8" fmla="*/ 44 w 44"/>
                    <a:gd name="T9" fmla="*/ 0 h 36"/>
                  </a:gdLst>
                  <a:ahLst/>
                  <a:cxnLst>
                    <a:cxn ang="0">
                      <a:pos x="T0" y="T1"/>
                    </a:cxn>
                    <a:cxn ang="0">
                      <a:pos x="T2" y="T3"/>
                    </a:cxn>
                    <a:cxn ang="0">
                      <a:pos x="T4" y="T5"/>
                    </a:cxn>
                    <a:cxn ang="0">
                      <a:pos x="T6" y="T7"/>
                    </a:cxn>
                    <a:cxn ang="0">
                      <a:pos x="T8" y="T9"/>
                    </a:cxn>
                  </a:cxnLst>
                  <a:rect l="0" t="0" r="r" b="b"/>
                  <a:pathLst>
                    <a:path w="44" h="36">
                      <a:moveTo>
                        <a:pt x="44" y="0"/>
                      </a:moveTo>
                      <a:cubicBezTo>
                        <a:pt x="0" y="0"/>
                        <a:pt x="0" y="0"/>
                        <a:pt x="0" y="0"/>
                      </a:cubicBezTo>
                      <a:cubicBezTo>
                        <a:pt x="0" y="31"/>
                        <a:pt x="0" y="31"/>
                        <a:pt x="0" y="31"/>
                      </a:cubicBezTo>
                      <a:cubicBezTo>
                        <a:pt x="13" y="31"/>
                        <a:pt x="26" y="33"/>
                        <a:pt x="39" y="36"/>
                      </a:cubicBezTo>
                      <a:cubicBezTo>
                        <a:pt x="41" y="25"/>
                        <a:pt x="43" y="13"/>
                        <a:pt x="4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5" name="TextBox 104"/>
            <p:cNvSpPr txBox="1"/>
            <p:nvPr/>
          </p:nvSpPr>
          <p:spPr>
            <a:xfrm>
              <a:off x="7305525" y="2817905"/>
              <a:ext cx="524503" cy="207749"/>
            </a:xfrm>
            <a:prstGeom prst="rect">
              <a:avLst/>
            </a:prstGeom>
            <a:noFill/>
          </p:spPr>
          <p:txBody>
            <a:bodyPr wrap="none" rtlCol="0" anchor="b" anchorCtr="0">
              <a:spAutoFit/>
            </a:bodyPr>
            <a:lstStyle/>
            <a:p>
              <a:pPr algn="ctr">
                <a:spcBef>
                  <a:spcPts val="1800"/>
                </a:spcBef>
              </a:pPr>
              <a:r>
                <a:rPr lang="en-US" sz="750" dirty="0">
                  <a:solidFill>
                    <a:srgbClr val="004990"/>
                  </a:solidFill>
                </a:rPr>
                <a:t>Internet</a:t>
              </a:r>
            </a:p>
          </p:txBody>
        </p:sp>
      </p:grpSp>
      <p:grpSp>
        <p:nvGrpSpPr>
          <p:cNvPr id="12" name="Group 11"/>
          <p:cNvGrpSpPr/>
          <p:nvPr/>
        </p:nvGrpSpPr>
        <p:grpSpPr>
          <a:xfrm>
            <a:off x="5251459" y="3856584"/>
            <a:ext cx="817023" cy="874985"/>
            <a:chOff x="4955562" y="3818484"/>
            <a:chExt cx="817023" cy="874985"/>
          </a:xfrm>
        </p:grpSpPr>
        <p:grpSp>
          <p:nvGrpSpPr>
            <p:cNvPr id="77" name="Group 76"/>
            <p:cNvGrpSpPr/>
            <p:nvPr/>
          </p:nvGrpSpPr>
          <p:grpSpPr>
            <a:xfrm>
              <a:off x="4955562" y="3818484"/>
              <a:ext cx="817023" cy="526784"/>
              <a:chOff x="5603988" y="5001836"/>
              <a:chExt cx="817023" cy="526784"/>
            </a:xfrm>
          </p:grpSpPr>
          <p:sp>
            <p:nvSpPr>
              <p:cNvPr id="78" name="Freeform 77"/>
              <p:cNvSpPr>
                <a:spLocks/>
              </p:cNvSpPr>
              <p:nvPr/>
            </p:nvSpPr>
            <p:spPr bwMode="auto">
              <a:xfrm>
                <a:off x="5603988" y="5001836"/>
                <a:ext cx="817023" cy="526784"/>
              </a:xfrm>
              <a:custGeom>
                <a:avLst/>
                <a:gdLst>
                  <a:gd name="T0" fmla="*/ 270 w 747"/>
                  <a:gd name="T1" fmla="*/ 99 h 482"/>
                  <a:gd name="T2" fmla="*/ 210 w 747"/>
                  <a:gd name="T3" fmla="*/ 71 h 482"/>
                  <a:gd name="T4" fmla="*/ 133 w 747"/>
                  <a:gd name="T5" fmla="*/ 148 h 482"/>
                  <a:gd name="T6" fmla="*/ 141 w 747"/>
                  <a:gd name="T7" fmla="*/ 181 h 482"/>
                  <a:gd name="T8" fmla="*/ 0 w 747"/>
                  <a:gd name="T9" fmla="*/ 332 h 482"/>
                  <a:gd name="T10" fmla="*/ 150 w 747"/>
                  <a:gd name="T11" fmla="*/ 482 h 482"/>
                  <a:gd name="T12" fmla="*/ 589 w 747"/>
                  <a:gd name="T13" fmla="*/ 482 h 482"/>
                  <a:gd name="T14" fmla="*/ 747 w 747"/>
                  <a:gd name="T15" fmla="*/ 325 h 482"/>
                  <a:gd name="T16" fmla="*/ 589 w 747"/>
                  <a:gd name="T17" fmla="*/ 167 h 482"/>
                  <a:gd name="T18" fmla="*/ 589 w 747"/>
                  <a:gd name="T19" fmla="*/ 167 h 482"/>
                  <a:gd name="T20" fmla="*/ 422 w 747"/>
                  <a:gd name="T21" fmla="*/ 0 h 482"/>
                  <a:gd name="T22" fmla="*/ 270 w 747"/>
                  <a:gd name="T23" fmla="*/ 99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7" h="482">
                    <a:moveTo>
                      <a:pt x="270" y="99"/>
                    </a:moveTo>
                    <a:cubicBezTo>
                      <a:pt x="255" y="82"/>
                      <a:pt x="234" y="71"/>
                      <a:pt x="210" y="71"/>
                    </a:cubicBezTo>
                    <a:cubicBezTo>
                      <a:pt x="168" y="71"/>
                      <a:pt x="133" y="106"/>
                      <a:pt x="133" y="148"/>
                    </a:cubicBezTo>
                    <a:cubicBezTo>
                      <a:pt x="133" y="160"/>
                      <a:pt x="136" y="171"/>
                      <a:pt x="141" y="181"/>
                    </a:cubicBezTo>
                    <a:cubicBezTo>
                      <a:pt x="62" y="186"/>
                      <a:pt x="0" y="252"/>
                      <a:pt x="0" y="332"/>
                    </a:cubicBezTo>
                    <a:cubicBezTo>
                      <a:pt x="0" y="415"/>
                      <a:pt x="67" y="482"/>
                      <a:pt x="150" y="482"/>
                    </a:cubicBezTo>
                    <a:cubicBezTo>
                      <a:pt x="589" y="482"/>
                      <a:pt x="589" y="482"/>
                      <a:pt x="589" y="482"/>
                    </a:cubicBezTo>
                    <a:cubicBezTo>
                      <a:pt x="676" y="482"/>
                      <a:pt x="747" y="412"/>
                      <a:pt x="747" y="325"/>
                    </a:cubicBezTo>
                    <a:cubicBezTo>
                      <a:pt x="747" y="238"/>
                      <a:pt x="676" y="167"/>
                      <a:pt x="589" y="167"/>
                    </a:cubicBezTo>
                    <a:cubicBezTo>
                      <a:pt x="589" y="167"/>
                      <a:pt x="589" y="167"/>
                      <a:pt x="589" y="167"/>
                    </a:cubicBezTo>
                    <a:cubicBezTo>
                      <a:pt x="589" y="75"/>
                      <a:pt x="514" y="0"/>
                      <a:pt x="422" y="0"/>
                    </a:cubicBezTo>
                    <a:cubicBezTo>
                      <a:pt x="354" y="0"/>
                      <a:pt x="296" y="41"/>
                      <a:pt x="270" y="99"/>
                    </a:cubicBezTo>
                  </a:path>
                </a:pathLst>
              </a:custGeom>
              <a:gradFill>
                <a:gsLst>
                  <a:gs pos="50000">
                    <a:srgbClr val="097DBC"/>
                  </a:gs>
                  <a:gs pos="0">
                    <a:srgbClr val="004BAF"/>
                  </a:gs>
                  <a:gs pos="100000">
                    <a:schemeClr val="accent1"/>
                  </a:gs>
                </a:gsLst>
                <a:lin ang="16200000" scaled="1"/>
              </a:gradFill>
              <a:ln w="9525" cap="flat">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1700"/>
              </a:p>
            </p:txBody>
          </p:sp>
          <p:grpSp>
            <p:nvGrpSpPr>
              <p:cNvPr id="79" name="Group 78"/>
              <p:cNvGrpSpPr/>
              <p:nvPr/>
            </p:nvGrpSpPr>
            <p:grpSpPr>
              <a:xfrm>
                <a:off x="5883118" y="5195329"/>
                <a:ext cx="257837" cy="254596"/>
                <a:chOff x="3976967" y="1492071"/>
                <a:chExt cx="280757" cy="277228"/>
              </a:xfrm>
            </p:grpSpPr>
            <p:sp>
              <p:nvSpPr>
                <p:cNvPr id="80" name="Freeform 79"/>
                <p:cNvSpPr>
                  <a:spLocks noEditPoints="1"/>
                </p:cNvSpPr>
                <p:nvPr/>
              </p:nvSpPr>
              <p:spPr bwMode="auto">
                <a:xfrm>
                  <a:off x="4006706" y="1521811"/>
                  <a:ext cx="41332" cy="41332"/>
                </a:xfrm>
                <a:custGeom>
                  <a:avLst/>
                  <a:gdLst>
                    <a:gd name="T0" fmla="*/ 17 w 35"/>
                    <a:gd name="T1" fmla="*/ 0 h 35"/>
                    <a:gd name="T2" fmla="*/ 0 w 35"/>
                    <a:gd name="T3" fmla="*/ 18 h 35"/>
                    <a:gd name="T4" fmla="*/ 17 w 35"/>
                    <a:gd name="T5" fmla="*/ 35 h 35"/>
                    <a:gd name="T6" fmla="*/ 35 w 35"/>
                    <a:gd name="T7" fmla="*/ 18 h 35"/>
                    <a:gd name="T8" fmla="*/ 17 w 35"/>
                    <a:gd name="T9" fmla="*/ 0 h 35"/>
                    <a:gd name="T10" fmla="*/ 17 w 35"/>
                    <a:gd name="T11" fmla="*/ 27 h 35"/>
                    <a:gd name="T12" fmla="*/ 8 w 35"/>
                    <a:gd name="T13" fmla="*/ 18 h 35"/>
                    <a:gd name="T14" fmla="*/ 17 w 35"/>
                    <a:gd name="T15" fmla="*/ 8 h 35"/>
                    <a:gd name="T16" fmla="*/ 27 w 35"/>
                    <a:gd name="T17" fmla="*/ 18 h 35"/>
                    <a:gd name="T18" fmla="*/ 17 w 35"/>
                    <a:gd name="T19"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0"/>
                      </a:moveTo>
                      <a:cubicBezTo>
                        <a:pt x="8" y="0"/>
                        <a:pt x="0" y="8"/>
                        <a:pt x="0" y="18"/>
                      </a:cubicBezTo>
                      <a:cubicBezTo>
                        <a:pt x="0" y="27"/>
                        <a:pt x="8" y="35"/>
                        <a:pt x="17" y="35"/>
                      </a:cubicBezTo>
                      <a:cubicBezTo>
                        <a:pt x="27" y="35"/>
                        <a:pt x="35" y="27"/>
                        <a:pt x="35" y="18"/>
                      </a:cubicBezTo>
                      <a:cubicBezTo>
                        <a:pt x="35" y="8"/>
                        <a:pt x="27" y="0"/>
                        <a:pt x="17" y="0"/>
                      </a:cubicBezTo>
                      <a:moveTo>
                        <a:pt x="17" y="27"/>
                      </a:moveTo>
                      <a:cubicBezTo>
                        <a:pt x="12" y="27"/>
                        <a:pt x="8" y="23"/>
                        <a:pt x="8" y="18"/>
                      </a:cubicBezTo>
                      <a:cubicBezTo>
                        <a:pt x="8" y="12"/>
                        <a:pt x="12" y="8"/>
                        <a:pt x="17" y="8"/>
                      </a:cubicBezTo>
                      <a:cubicBezTo>
                        <a:pt x="23" y="8"/>
                        <a:pt x="27" y="12"/>
                        <a:pt x="27" y="18"/>
                      </a:cubicBezTo>
                      <a:cubicBezTo>
                        <a:pt x="27" y="23"/>
                        <a:pt x="23" y="27"/>
                        <a:pt x="17"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80"/>
                <p:cNvSpPr>
                  <a:spLocks noEditPoints="1"/>
                </p:cNvSpPr>
                <p:nvPr/>
              </p:nvSpPr>
              <p:spPr bwMode="auto">
                <a:xfrm>
                  <a:off x="4004186" y="1519290"/>
                  <a:ext cx="46373" cy="46373"/>
                </a:xfrm>
                <a:custGeom>
                  <a:avLst/>
                  <a:gdLst>
                    <a:gd name="T0" fmla="*/ 19 w 39"/>
                    <a:gd name="T1" fmla="*/ 39 h 39"/>
                    <a:gd name="T2" fmla="*/ 0 w 39"/>
                    <a:gd name="T3" fmla="*/ 20 h 39"/>
                    <a:gd name="T4" fmla="*/ 19 w 39"/>
                    <a:gd name="T5" fmla="*/ 0 h 39"/>
                    <a:gd name="T6" fmla="*/ 39 w 39"/>
                    <a:gd name="T7" fmla="*/ 20 h 39"/>
                    <a:gd name="T8" fmla="*/ 19 w 39"/>
                    <a:gd name="T9" fmla="*/ 39 h 39"/>
                    <a:gd name="T10" fmla="*/ 19 w 39"/>
                    <a:gd name="T11" fmla="*/ 4 h 39"/>
                    <a:gd name="T12" fmla="*/ 4 w 39"/>
                    <a:gd name="T13" fmla="*/ 20 h 39"/>
                    <a:gd name="T14" fmla="*/ 19 w 39"/>
                    <a:gd name="T15" fmla="*/ 35 h 39"/>
                    <a:gd name="T16" fmla="*/ 35 w 39"/>
                    <a:gd name="T17" fmla="*/ 20 h 39"/>
                    <a:gd name="T18" fmla="*/ 19 w 39"/>
                    <a:gd name="T19" fmla="*/ 4 h 39"/>
                    <a:gd name="T20" fmla="*/ 19 w 39"/>
                    <a:gd name="T21" fmla="*/ 31 h 39"/>
                    <a:gd name="T22" fmla="*/ 8 w 39"/>
                    <a:gd name="T23" fmla="*/ 20 h 39"/>
                    <a:gd name="T24" fmla="*/ 19 w 39"/>
                    <a:gd name="T25" fmla="*/ 8 h 39"/>
                    <a:gd name="T26" fmla="*/ 31 w 39"/>
                    <a:gd name="T27" fmla="*/ 20 h 39"/>
                    <a:gd name="T28" fmla="*/ 19 w 39"/>
                    <a:gd name="T29" fmla="*/ 31 h 39"/>
                    <a:gd name="T30" fmla="*/ 19 w 39"/>
                    <a:gd name="T31" fmla="*/ 12 h 39"/>
                    <a:gd name="T32" fmla="*/ 12 w 39"/>
                    <a:gd name="T33" fmla="*/ 20 h 39"/>
                    <a:gd name="T34" fmla="*/ 19 w 39"/>
                    <a:gd name="T35" fmla="*/ 27 h 39"/>
                    <a:gd name="T36" fmla="*/ 27 w 39"/>
                    <a:gd name="T37" fmla="*/ 20 h 39"/>
                    <a:gd name="T38" fmla="*/ 19 w 39"/>
                    <a:gd name="T39" fmla="*/ 1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9">
                      <a:moveTo>
                        <a:pt x="19" y="39"/>
                      </a:moveTo>
                      <a:cubicBezTo>
                        <a:pt x="9" y="39"/>
                        <a:pt x="0" y="30"/>
                        <a:pt x="0" y="20"/>
                      </a:cubicBezTo>
                      <a:cubicBezTo>
                        <a:pt x="0" y="9"/>
                        <a:pt x="9" y="0"/>
                        <a:pt x="19" y="0"/>
                      </a:cubicBezTo>
                      <a:cubicBezTo>
                        <a:pt x="30" y="0"/>
                        <a:pt x="39" y="9"/>
                        <a:pt x="39" y="20"/>
                      </a:cubicBezTo>
                      <a:cubicBezTo>
                        <a:pt x="39" y="30"/>
                        <a:pt x="30" y="39"/>
                        <a:pt x="19" y="39"/>
                      </a:cubicBezTo>
                      <a:moveTo>
                        <a:pt x="19" y="4"/>
                      </a:moveTo>
                      <a:cubicBezTo>
                        <a:pt x="11" y="4"/>
                        <a:pt x="4" y="11"/>
                        <a:pt x="4" y="20"/>
                      </a:cubicBezTo>
                      <a:cubicBezTo>
                        <a:pt x="4" y="28"/>
                        <a:pt x="11" y="35"/>
                        <a:pt x="19" y="35"/>
                      </a:cubicBezTo>
                      <a:cubicBezTo>
                        <a:pt x="28" y="35"/>
                        <a:pt x="35" y="28"/>
                        <a:pt x="35" y="20"/>
                      </a:cubicBezTo>
                      <a:cubicBezTo>
                        <a:pt x="35" y="11"/>
                        <a:pt x="28" y="4"/>
                        <a:pt x="19" y="4"/>
                      </a:cubicBezTo>
                      <a:moveTo>
                        <a:pt x="19" y="31"/>
                      </a:moveTo>
                      <a:cubicBezTo>
                        <a:pt x="13" y="31"/>
                        <a:pt x="8" y="26"/>
                        <a:pt x="8" y="20"/>
                      </a:cubicBezTo>
                      <a:cubicBezTo>
                        <a:pt x="8" y="13"/>
                        <a:pt x="13" y="8"/>
                        <a:pt x="19" y="8"/>
                      </a:cubicBezTo>
                      <a:cubicBezTo>
                        <a:pt x="26" y="8"/>
                        <a:pt x="31" y="13"/>
                        <a:pt x="31" y="20"/>
                      </a:cubicBezTo>
                      <a:cubicBezTo>
                        <a:pt x="31" y="26"/>
                        <a:pt x="26" y="31"/>
                        <a:pt x="19" y="31"/>
                      </a:cubicBezTo>
                      <a:moveTo>
                        <a:pt x="19" y="12"/>
                      </a:moveTo>
                      <a:cubicBezTo>
                        <a:pt x="15" y="12"/>
                        <a:pt x="12" y="15"/>
                        <a:pt x="12" y="20"/>
                      </a:cubicBezTo>
                      <a:cubicBezTo>
                        <a:pt x="12" y="24"/>
                        <a:pt x="15" y="27"/>
                        <a:pt x="19" y="27"/>
                      </a:cubicBezTo>
                      <a:cubicBezTo>
                        <a:pt x="24" y="27"/>
                        <a:pt x="27" y="24"/>
                        <a:pt x="27" y="20"/>
                      </a:cubicBezTo>
                      <a:cubicBezTo>
                        <a:pt x="27" y="15"/>
                        <a:pt x="24" y="12"/>
                        <a:pt x="19"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1"/>
                <p:cNvSpPr>
                  <a:spLocks noEditPoints="1"/>
                </p:cNvSpPr>
                <p:nvPr/>
              </p:nvSpPr>
              <p:spPr bwMode="auto">
                <a:xfrm>
                  <a:off x="3978983" y="1494088"/>
                  <a:ext cx="276220" cy="272692"/>
                </a:xfrm>
                <a:custGeom>
                  <a:avLst/>
                  <a:gdLst>
                    <a:gd name="T0" fmla="*/ 232 w 232"/>
                    <a:gd name="T1" fmla="*/ 63 h 229"/>
                    <a:gd name="T2" fmla="*/ 232 w 232"/>
                    <a:gd name="T3" fmla="*/ 18 h 229"/>
                    <a:gd name="T4" fmla="*/ 215 w 232"/>
                    <a:gd name="T5" fmla="*/ 0 h 229"/>
                    <a:gd name="T6" fmla="*/ 18 w 232"/>
                    <a:gd name="T7" fmla="*/ 0 h 229"/>
                    <a:gd name="T8" fmla="*/ 0 w 232"/>
                    <a:gd name="T9" fmla="*/ 18 h 229"/>
                    <a:gd name="T10" fmla="*/ 0 w 232"/>
                    <a:gd name="T11" fmla="*/ 63 h 229"/>
                    <a:gd name="T12" fmla="*/ 7 w 232"/>
                    <a:gd name="T13" fmla="*/ 77 h 229"/>
                    <a:gd name="T14" fmla="*/ 0 w 232"/>
                    <a:gd name="T15" fmla="*/ 91 h 229"/>
                    <a:gd name="T16" fmla="*/ 0 w 232"/>
                    <a:gd name="T17" fmla="*/ 137 h 229"/>
                    <a:gd name="T18" fmla="*/ 7 w 232"/>
                    <a:gd name="T19" fmla="*/ 151 h 229"/>
                    <a:gd name="T20" fmla="*/ 0 w 232"/>
                    <a:gd name="T21" fmla="*/ 165 h 229"/>
                    <a:gd name="T22" fmla="*/ 0 w 232"/>
                    <a:gd name="T23" fmla="*/ 211 h 229"/>
                    <a:gd name="T24" fmla="*/ 18 w 232"/>
                    <a:gd name="T25" fmla="*/ 229 h 229"/>
                    <a:gd name="T26" fmla="*/ 215 w 232"/>
                    <a:gd name="T27" fmla="*/ 229 h 229"/>
                    <a:gd name="T28" fmla="*/ 232 w 232"/>
                    <a:gd name="T29" fmla="*/ 211 h 229"/>
                    <a:gd name="T30" fmla="*/ 232 w 232"/>
                    <a:gd name="T31" fmla="*/ 165 h 229"/>
                    <a:gd name="T32" fmla="*/ 226 w 232"/>
                    <a:gd name="T33" fmla="*/ 151 h 229"/>
                    <a:gd name="T34" fmla="*/ 232 w 232"/>
                    <a:gd name="T35" fmla="*/ 137 h 229"/>
                    <a:gd name="T36" fmla="*/ 232 w 232"/>
                    <a:gd name="T37" fmla="*/ 91 h 229"/>
                    <a:gd name="T38" fmla="*/ 226 w 232"/>
                    <a:gd name="T39" fmla="*/ 77 h 229"/>
                    <a:gd name="T40" fmla="*/ 232 w 232"/>
                    <a:gd name="T41" fmla="*/ 63 h 229"/>
                    <a:gd name="T42" fmla="*/ 225 w 232"/>
                    <a:gd name="T43" fmla="*/ 165 h 229"/>
                    <a:gd name="T44" fmla="*/ 225 w 232"/>
                    <a:gd name="T45" fmla="*/ 211 h 229"/>
                    <a:gd name="T46" fmla="*/ 215 w 232"/>
                    <a:gd name="T47" fmla="*/ 221 h 229"/>
                    <a:gd name="T48" fmla="*/ 18 w 232"/>
                    <a:gd name="T49" fmla="*/ 221 h 229"/>
                    <a:gd name="T50" fmla="*/ 7 w 232"/>
                    <a:gd name="T51" fmla="*/ 211 h 229"/>
                    <a:gd name="T52" fmla="*/ 7 w 232"/>
                    <a:gd name="T53" fmla="*/ 165 h 229"/>
                    <a:gd name="T54" fmla="*/ 18 w 232"/>
                    <a:gd name="T55" fmla="*/ 155 h 229"/>
                    <a:gd name="T56" fmla="*/ 215 w 232"/>
                    <a:gd name="T57" fmla="*/ 155 h 229"/>
                    <a:gd name="T58" fmla="*/ 225 w 232"/>
                    <a:gd name="T59" fmla="*/ 165 h 229"/>
                    <a:gd name="T60" fmla="*/ 225 w 232"/>
                    <a:gd name="T61" fmla="*/ 91 h 229"/>
                    <a:gd name="T62" fmla="*/ 225 w 232"/>
                    <a:gd name="T63" fmla="*/ 137 h 229"/>
                    <a:gd name="T64" fmla="*/ 215 w 232"/>
                    <a:gd name="T65" fmla="*/ 147 h 229"/>
                    <a:gd name="T66" fmla="*/ 18 w 232"/>
                    <a:gd name="T67" fmla="*/ 147 h 229"/>
                    <a:gd name="T68" fmla="*/ 7 w 232"/>
                    <a:gd name="T69" fmla="*/ 137 h 229"/>
                    <a:gd name="T70" fmla="*/ 7 w 232"/>
                    <a:gd name="T71" fmla="*/ 91 h 229"/>
                    <a:gd name="T72" fmla="*/ 18 w 232"/>
                    <a:gd name="T73" fmla="*/ 81 h 229"/>
                    <a:gd name="T74" fmla="*/ 215 w 232"/>
                    <a:gd name="T75" fmla="*/ 81 h 229"/>
                    <a:gd name="T76" fmla="*/ 225 w 232"/>
                    <a:gd name="T77" fmla="*/ 91 h 229"/>
                    <a:gd name="T78" fmla="*/ 18 w 232"/>
                    <a:gd name="T79" fmla="*/ 74 h 229"/>
                    <a:gd name="T80" fmla="*/ 7 w 232"/>
                    <a:gd name="T81" fmla="*/ 63 h 229"/>
                    <a:gd name="T82" fmla="*/ 7 w 232"/>
                    <a:gd name="T83" fmla="*/ 18 h 229"/>
                    <a:gd name="T84" fmla="*/ 18 w 232"/>
                    <a:gd name="T85" fmla="*/ 8 h 229"/>
                    <a:gd name="T86" fmla="*/ 215 w 232"/>
                    <a:gd name="T87" fmla="*/ 8 h 229"/>
                    <a:gd name="T88" fmla="*/ 225 w 232"/>
                    <a:gd name="T89" fmla="*/ 18 h 229"/>
                    <a:gd name="T90" fmla="*/ 225 w 232"/>
                    <a:gd name="T91" fmla="*/ 63 h 229"/>
                    <a:gd name="T92" fmla="*/ 215 w 232"/>
                    <a:gd name="T93" fmla="*/ 74 h 229"/>
                    <a:gd name="T94" fmla="*/ 18 w 232"/>
                    <a:gd name="T95" fmla="*/ 7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229">
                      <a:moveTo>
                        <a:pt x="232" y="63"/>
                      </a:moveTo>
                      <a:cubicBezTo>
                        <a:pt x="232" y="18"/>
                        <a:pt x="232" y="18"/>
                        <a:pt x="232" y="18"/>
                      </a:cubicBezTo>
                      <a:cubicBezTo>
                        <a:pt x="232" y="8"/>
                        <a:pt x="224" y="0"/>
                        <a:pt x="215" y="0"/>
                      </a:cubicBezTo>
                      <a:cubicBezTo>
                        <a:pt x="18" y="0"/>
                        <a:pt x="18" y="0"/>
                        <a:pt x="18" y="0"/>
                      </a:cubicBezTo>
                      <a:cubicBezTo>
                        <a:pt x="8" y="0"/>
                        <a:pt x="0" y="8"/>
                        <a:pt x="0" y="18"/>
                      </a:cubicBezTo>
                      <a:cubicBezTo>
                        <a:pt x="0" y="63"/>
                        <a:pt x="0" y="63"/>
                        <a:pt x="0" y="63"/>
                      </a:cubicBezTo>
                      <a:cubicBezTo>
                        <a:pt x="0" y="69"/>
                        <a:pt x="2" y="74"/>
                        <a:pt x="7" y="77"/>
                      </a:cubicBezTo>
                      <a:cubicBezTo>
                        <a:pt x="2" y="81"/>
                        <a:pt x="0" y="86"/>
                        <a:pt x="0" y="91"/>
                      </a:cubicBezTo>
                      <a:cubicBezTo>
                        <a:pt x="0" y="137"/>
                        <a:pt x="0" y="137"/>
                        <a:pt x="0" y="137"/>
                      </a:cubicBezTo>
                      <a:cubicBezTo>
                        <a:pt x="0" y="143"/>
                        <a:pt x="2" y="148"/>
                        <a:pt x="7" y="151"/>
                      </a:cubicBezTo>
                      <a:cubicBezTo>
                        <a:pt x="2" y="154"/>
                        <a:pt x="0" y="159"/>
                        <a:pt x="0" y="165"/>
                      </a:cubicBezTo>
                      <a:cubicBezTo>
                        <a:pt x="0" y="211"/>
                        <a:pt x="0" y="211"/>
                        <a:pt x="0" y="211"/>
                      </a:cubicBezTo>
                      <a:cubicBezTo>
                        <a:pt x="0" y="221"/>
                        <a:pt x="8" y="229"/>
                        <a:pt x="18" y="229"/>
                      </a:cubicBezTo>
                      <a:cubicBezTo>
                        <a:pt x="215" y="229"/>
                        <a:pt x="215" y="229"/>
                        <a:pt x="215" y="229"/>
                      </a:cubicBezTo>
                      <a:cubicBezTo>
                        <a:pt x="224" y="229"/>
                        <a:pt x="232" y="221"/>
                        <a:pt x="232" y="211"/>
                      </a:cubicBezTo>
                      <a:cubicBezTo>
                        <a:pt x="232" y="165"/>
                        <a:pt x="232" y="165"/>
                        <a:pt x="232" y="165"/>
                      </a:cubicBezTo>
                      <a:cubicBezTo>
                        <a:pt x="232" y="159"/>
                        <a:pt x="230" y="154"/>
                        <a:pt x="226" y="151"/>
                      </a:cubicBezTo>
                      <a:cubicBezTo>
                        <a:pt x="230" y="148"/>
                        <a:pt x="232" y="143"/>
                        <a:pt x="232" y="137"/>
                      </a:cubicBezTo>
                      <a:cubicBezTo>
                        <a:pt x="232" y="91"/>
                        <a:pt x="232" y="91"/>
                        <a:pt x="232" y="91"/>
                      </a:cubicBezTo>
                      <a:cubicBezTo>
                        <a:pt x="232" y="86"/>
                        <a:pt x="230" y="81"/>
                        <a:pt x="226" y="77"/>
                      </a:cubicBezTo>
                      <a:cubicBezTo>
                        <a:pt x="230" y="74"/>
                        <a:pt x="232" y="69"/>
                        <a:pt x="232" y="63"/>
                      </a:cubicBezTo>
                      <a:moveTo>
                        <a:pt x="225" y="165"/>
                      </a:moveTo>
                      <a:cubicBezTo>
                        <a:pt x="225" y="211"/>
                        <a:pt x="225" y="211"/>
                        <a:pt x="225" y="211"/>
                      </a:cubicBezTo>
                      <a:cubicBezTo>
                        <a:pt x="225" y="216"/>
                        <a:pt x="220" y="221"/>
                        <a:pt x="215" y="221"/>
                      </a:cubicBezTo>
                      <a:cubicBezTo>
                        <a:pt x="18" y="221"/>
                        <a:pt x="18" y="221"/>
                        <a:pt x="18" y="221"/>
                      </a:cubicBezTo>
                      <a:cubicBezTo>
                        <a:pt x="12" y="221"/>
                        <a:pt x="7" y="216"/>
                        <a:pt x="7" y="211"/>
                      </a:cubicBezTo>
                      <a:cubicBezTo>
                        <a:pt x="7" y="165"/>
                        <a:pt x="7" y="165"/>
                        <a:pt x="7" y="165"/>
                      </a:cubicBezTo>
                      <a:cubicBezTo>
                        <a:pt x="7" y="159"/>
                        <a:pt x="12" y="155"/>
                        <a:pt x="18" y="155"/>
                      </a:cubicBezTo>
                      <a:cubicBezTo>
                        <a:pt x="215" y="155"/>
                        <a:pt x="215" y="155"/>
                        <a:pt x="215" y="155"/>
                      </a:cubicBezTo>
                      <a:cubicBezTo>
                        <a:pt x="220" y="155"/>
                        <a:pt x="225" y="159"/>
                        <a:pt x="225" y="165"/>
                      </a:cubicBezTo>
                      <a:moveTo>
                        <a:pt x="225" y="91"/>
                      </a:moveTo>
                      <a:cubicBezTo>
                        <a:pt x="225" y="137"/>
                        <a:pt x="225" y="137"/>
                        <a:pt x="225" y="137"/>
                      </a:cubicBezTo>
                      <a:cubicBezTo>
                        <a:pt x="225" y="143"/>
                        <a:pt x="220" y="147"/>
                        <a:pt x="215" y="147"/>
                      </a:cubicBezTo>
                      <a:cubicBezTo>
                        <a:pt x="18" y="147"/>
                        <a:pt x="18" y="147"/>
                        <a:pt x="18" y="147"/>
                      </a:cubicBezTo>
                      <a:cubicBezTo>
                        <a:pt x="12" y="147"/>
                        <a:pt x="7" y="143"/>
                        <a:pt x="7" y="137"/>
                      </a:cubicBezTo>
                      <a:cubicBezTo>
                        <a:pt x="7" y="91"/>
                        <a:pt x="7" y="91"/>
                        <a:pt x="7" y="91"/>
                      </a:cubicBezTo>
                      <a:cubicBezTo>
                        <a:pt x="7" y="86"/>
                        <a:pt x="12" y="81"/>
                        <a:pt x="18" y="81"/>
                      </a:cubicBezTo>
                      <a:cubicBezTo>
                        <a:pt x="215" y="81"/>
                        <a:pt x="215" y="81"/>
                        <a:pt x="215" y="81"/>
                      </a:cubicBezTo>
                      <a:cubicBezTo>
                        <a:pt x="220" y="81"/>
                        <a:pt x="225" y="86"/>
                        <a:pt x="225" y="91"/>
                      </a:cubicBezTo>
                      <a:moveTo>
                        <a:pt x="18" y="74"/>
                      </a:moveTo>
                      <a:cubicBezTo>
                        <a:pt x="12" y="74"/>
                        <a:pt x="7" y="69"/>
                        <a:pt x="7" y="63"/>
                      </a:cubicBezTo>
                      <a:cubicBezTo>
                        <a:pt x="7" y="18"/>
                        <a:pt x="7" y="18"/>
                        <a:pt x="7" y="18"/>
                      </a:cubicBezTo>
                      <a:cubicBezTo>
                        <a:pt x="7" y="12"/>
                        <a:pt x="12" y="8"/>
                        <a:pt x="18" y="8"/>
                      </a:cubicBezTo>
                      <a:cubicBezTo>
                        <a:pt x="215" y="8"/>
                        <a:pt x="215" y="8"/>
                        <a:pt x="215" y="8"/>
                      </a:cubicBezTo>
                      <a:cubicBezTo>
                        <a:pt x="220" y="8"/>
                        <a:pt x="225" y="12"/>
                        <a:pt x="225" y="18"/>
                      </a:cubicBezTo>
                      <a:cubicBezTo>
                        <a:pt x="225" y="63"/>
                        <a:pt x="225" y="63"/>
                        <a:pt x="225" y="63"/>
                      </a:cubicBezTo>
                      <a:cubicBezTo>
                        <a:pt x="225" y="69"/>
                        <a:pt x="220" y="74"/>
                        <a:pt x="215" y="74"/>
                      </a:cubicBezTo>
                      <a:lnTo>
                        <a:pt x="18"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2"/>
                <p:cNvSpPr>
                  <a:spLocks noEditPoints="1"/>
                </p:cNvSpPr>
                <p:nvPr/>
              </p:nvSpPr>
              <p:spPr bwMode="auto">
                <a:xfrm>
                  <a:off x="3976967" y="1492071"/>
                  <a:ext cx="280757" cy="277228"/>
                </a:xfrm>
                <a:custGeom>
                  <a:avLst/>
                  <a:gdLst>
                    <a:gd name="T0" fmla="*/ 20 w 236"/>
                    <a:gd name="T1" fmla="*/ 233 h 233"/>
                    <a:gd name="T2" fmla="*/ 0 w 236"/>
                    <a:gd name="T3" fmla="*/ 167 h 233"/>
                    <a:gd name="T4" fmla="*/ 0 w 236"/>
                    <a:gd name="T5" fmla="*/ 139 h 233"/>
                    <a:gd name="T6" fmla="*/ 5 w 236"/>
                    <a:gd name="T7" fmla="*/ 79 h 233"/>
                    <a:gd name="T8" fmla="*/ 0 w 236"/>
                    <a:gd name="T9" fmla="*/ 20 h 233"/>
                    <a:gd name="T10" fmla="*/ 217 w 236"/>
                    <a:gd name="T11" fmla="*/ 0 h 233"/>
                    <a:gd name="T12" fmla="*/ 236 w 236"/>
                    <a:gd name="T13" fmla="*/ 65 h 233"/>
                    <a:gd name="T14" fmla="*/ 236 w 236"/>
                    <a:gd name="T15" fmla="*/ 93 h 233"/>
                    <a:gd name="T16" fmla="*/ 231 w 236"/>
                    <a:gd name="T17" fmla="*/ 153 h 233"/>
                    <a:gd name="T18" fmla="*/ 236 w 236"/>
                    <a:gd name="T19" fmla="*/ 213 h 233"/>
                    <a:gd name="T20" fmla="*/ 20 w 236"/>
                    <a:gd name="T21" fmla="*/ 4 h 233"/>
                    <a:gd name="T22" fmla="*/ 4 w 236"/>
                    <a:gd name="T23" fmla="*/ 65 h 233"/>
                    <a:gd name="T24" fmla="*/ 12 w 236"/>
                    <a:gd name="T25" fmla="*/ 79 h 233"/>
                    <a:gd name="T26" fmla="*/ 4 w 236"/>
                    <a:gd name="T27" fmla="*/ 93 h 233"/>
                    <a:gd name="T28" fmla="*/ 10 w 236"/>
                    <a:gd name="T29" fmla="*/ 151 h 233"/>
                    <a:gd name="T30" fmla="*/ 10 w 236"/>
                    <a:gd name="T31" fmla="*/ 155 h 233"/>
                    <a:gd name="T32" fmla="*/ 4 w 236"/>
                    <a:gd name="T33" fmla="*/ 213 h 233"/>
                    <a:gd name="T34" fmla="*/ 217 w 236"/>
                    <a:gd name="T35" fmla="*/ 229 h 233"/>
                    <a:gd name="T36" fmla="*/ 232 w 236"/>
                    <a:gd name="T37" fmla="*/ 167 h 233"/>
                    <a:gd name="T38" fmla="*/ 224 w 236"/>
                    <a:gd name="T39" fmla="*/ 153 h 233"/>
                    <a:gd name="T40" fmla="*/ 232 w 236"/>
                    <a:gd name="T41" fmla="*/ 139 h 233"/>
                    <a:gd name="T42" fmla="*/ 226 w 236"/>
                    <a:gd name="T43" fmla="*/ 81 h 233"/>
                    <a:gd name="T44" fmla="*/ 226 w 236"/>
                    <a:gd name="T45" fmla="*/ 78 h 233"/>
                    <a:gd name="T46" fmla="*/ 232 w 236"/>
                    <a:gd name="T47" fmla="*/ 20 h 233"/>
                    <a:gd name="T48" fmla="*/ 20 w 236"/>
                    <a:gd name="T49" fmla="*/ 4 h 233"/>
                    <a:gd name="T50" fmla="*/ 11 w 236"/>
                    <a:gd name="T51" fmla="*/ 221 h 233"/>
                    <a:gd name="T52" fmla="*/ 7 w 236"/>
                    <a:gd name="T53" fmla="*/ 167 h 233"/>
                    <a:gd name="T54" fmla="*/ 217 w 236"/>
                    <a:gd name="T55" fmla="*/ 155 h 233"/>
                    <a:gd name="T56" fmla="*/ 229 w 236"/>
                    <a:gd name="T57" fmla="*/ 213 h 233"/>
                    <a:gd name="T58" fmla="*/ 20 w 236"/>
                    <a:gd name="T59" fmla="*/ 225 h 233"/>
                    <a:gd name="T60" fmla="*/ 12 w 236"/>
                    <a:gd name="T61" fmla="*/ 167 h 233"/>
                    <a:gd name="T62" fmla="*/ 14 w 236"/>
                    <a:gd name="T63" fmla="*/ 218 h 233"/>
                    <a:gd name="T64" fmla="*/ 20 w 236"/>
                    <a:gd name="T65" fmla="*/ 221 h 233"/>
                    <a:gd name="T66" fmla="*/ 225 w 236"/>
                    <a:gd name="T67" fmla="*/ 213 h 233"/>
                    <a:gd name="T68" fmla="*/ 217 w 236"/>
                    <a:gd name="T69" fmla="*/ 159 h 233"/>
                    <a:gd name="T70" fmla="*/ 217 w 236"/>
                    <a:gd name="T71" fmla="*/ 151 h 233"/>
                    <a:gd name="T72" fmla="*/ 7 w 236"/>
                    <a:gd name="T73" fmla="*/ 139 h 233"/>
                    <a:gd name="T74" fmla="*/ 20 w 236"/>
                    <a:gd name="T75" fmla="*/ 81 h 233"/>
                    <a:gd name="T76" fmla="*/ 229 w 236"/>
                    <a:gd name="T77" fmla="*/ 93 h 233"/>
                    <a:gd name="T78" fmla="*/ 217 w 236"/>
                    <a:gd name="T79" fmla="*/ 151 h 233"/>
                    <a:gd name="T80" fmla="*/ 12 w 236"/>
                    <a:gd name="T81" fmla="*/ 93 h 233"/>
                    <a:gd name="T82" fmla="*/ 20 w 236"/>
                    <a:gd name="T83" fmla="*/ 147 h 233"/>
                    <a:gd name="T84" fmla="*/ 225 w 236"/>
                    <a:gd name="T85" fmla="*/ 139 h 233"/>
                    <a:gd name="T86" fmla="*/ 217 w 236"/>
                    <a:gd name="T87" fmla="*/ 85 h 233"/>
                    <a:gd name="T88" fmla="*/ 217 w 236"/>
                    <a:gd name="T89" fmla="*/ 78 h 233"/>
                    <a:gd name="T90" fmla="*/ 7 w 236"/>
                    <a:gd name="T91" fmla="*/ 65 h 233"/>
                    <a:gd name="T92" fmla="*/ 20 w 236"/>
                    <a:gd name="T93" fmla="*/ 7 h 233"/>
                    <a:gd name="T94" fmla="*/ 229 w 236"/>
                    <a:gd name="T95" fmla="*/ 20 h 233"/>
                    <a:gd name="T96" fmla="*/ 217 w 236"/>
                    <a:gd name="T97" fmla="*/ 78 h 233"/>
                    <a:gd name="T98" fmla="*/ 12 w 236"/>
                    <a:gd name="T99" fmla="*/ 20 h 233"/>
                    <a:gd name="T100" fmla="*/ 20 w 236"/>
                    <a:gd name="T101" fmla="*/ 73 h 233"/>
                    <a:gd name="T102" fmla="*/ 225 w 236"/>
                    <a:gd name="T103" fmla="*/ 65 h 233"/>
                    <a:gd name="T104" fmla="*/ 217 w 236"/>
                    <a:gd name="T105" fmla="*/ 1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6" h="233">
                      <a:moveTo>
                        <a:pt x="217" y="233"/>
                      </a:moveTo>
                      <a:cubicBezTo>
                        <a:pt x="20" y="233"/>
                        <a:pt x="20" y="233"/>
                        <a:pt x="20" y="233"/>
                      </a:cubicBezTo>
                      <a:cubicBezTo>
                        <a:pt x="9" y="233"/>
                        <a:pt x="0" y="224"/>
                        <a:pt x="0" y="213"/>
                      </a:cubicBezTo>
                      <a:cubicBezTo>
                        <a:pt x="0" y="167"/>
                        <a:pt x="0" y="167"/>
                        <a:pt x="0" y="167"/>
                      </a:cubicBezTo>
                      <a:cubicBezTo>
                        <a:pt x="0" y="162"/>
                        <a:pt x="2" y="157"/>
                        <a:pt x="5" y="153"/>
                      </a:cubicBezTo>
                      <a:cubicBezTo>
                        <a:pt x="2" y="149"/>
                        <a:pt x="0" y="144"/>
                        <a:pt x="0" y="139"/>
                      </a:cubicBezTo>
                      <a:cubicBezTo>
                        <a:pt x="0" y="93"/>
                        <a:pt x="0" y="93"/>
                        <a:pt x="0" y="93"/>
                      </a:cubicBezTo>
                      <a:cubicBezTo>
                        <a:pt x="0" y="88"/>
                        <a:pt x="2" y="83"/>
                        <a:pt x="5" y="79"/>
                      </a:cubicBezTo>
                      <a:cubicBezTo>
                        <a:pt x="2" y="76"/>
                        <a:pt x="0" y="71"/>
                        <a:pt x="0" y="65"/>
                      </a:cubicBezTo>
                      <a:cubicBezTo>
                        <a:pt x="0" y="20"/>
                        <a:pt x="0" y="20"/>
                        <a:pt x="0" y="20"/>
                      </a:cubicBezTo>
                      <a:cubicBezTo>
                        <a:pt x="0" y="9"/>
                        <a:pt x="9" y="0"/>
                        <a:pt x="20" y="0"/>
                      </a:cubicBezTo>
                      <a:cubicBezTo>
                        <a:pt x="217" y="0"/>
                        <a:pt x="217" y="0"/>
                        <a:pt x="217" y="0"/>
                      </a:cubicBezTo>
                      <a:cubicBezTo>
                        <a:pt x="228" y="0"/>
                        <a:pt x="236" y="9"/>
                        <a:pt x="236" y="20"/>
                      </a:cubicBezTo>
                      <a:cubicBezTo>
                        <a:pt x="236" y="65"/>
                        <a:pt x="236" y="65"/>
                        <a:pt x="236" y="65"/>
                      </a:cubicBezTo>
                      <a:cubicBezTo>
                        <a:pt x="236" y="71"/>
                        <a:pt x="234" y="76"/>
                        <a:pt x="231" y="79"/>
                      </a:cubicBezTo>
                      <a:cubicBezTo>
                        <a:pt x="234" y="83"/>
                        <a:pt x="236" y="88"/>
                        <a:pt x="236" y="93"/>
                      </a:cubicBezTo>
                      <a:cubicBezTo>
                        <a:pt x="236" y="139"/>
                        <a:pt x="236" y="139"/>
                        <a:pt x="236" y="139"/>
                      </a:cubicBezTo>
                      <a:cubicBezTo>
                        <a:pt x="236" y="144"/>
                        <a:pt x="234" y="149"/>
                        <a:pt x="231" y="153"/>
                      </a:cubicBezTo>
                      <a:cubicBezTo>
                        <a:pt x="234" y="157"/>
                        <a:pt x="236" y="162"/>
                        <a:pt x="236" y="167"/>
                      </a:cubicBezTo>
                      <a:cubicBezTo>
                        <a:pt x="236" y="213"/>
                        <a:pt x="236" y="213"/>
                        <a:pt x="236" y="213"/>
                      </a:cubicBezTo>
                      <a:cubicBezTo>
                        <a:pt x="236" y="224"/>
                        <a:pt x="228" y="233"/>
                        <a:pt x="217" y="233"/>
                      </a:cubicBezTo>
                      <a:moveTo>
                        <a:pt x="20" y="4"/>
                      </a:moveTo>
                      <a:cubicBezTo>
                        <a:pt x="11" y="4"/>
                        <a:pt x="4" y="11"/>
                        <a:pt x="4" y="20"/>
                      </a:cubicBezTo>
                      <a:cubicBezTo>
                        <a:pt x="4" y="65"/>
                        <a:pt x="4" y="65"/>
                        <a:pt x="4" y="65"/>
                      </a:cubicBezTo>
                      <a:cubicBezTo>
                        <a:pt x="4" y="70"/>
                        <a:pt x="6" y="75"/>
                        <a:pt x="10" y="78"/>
                      </a:cubicBezTo>
                      <a:cubicBezTo>
                        <a:pt x="12" y="79"/>
                        <a:pt x="12" y="79"/>
                        <a:pt x="12" y="79"/>
                      </a:cubicBezTo>
                      <a:cubicBezTo>
                        <a:pt x="10" y="81"/>
                        <a:pt x="10" y="81"/>
                        <a:pt x="10" y="81"/>
                      </a:cubicBezTo>
                      <a:cubicBezTo>
                        <a:pt x="6" y="84"/>
                        <a:pt x="4" y="89"/>
                        <a:pt x="4" y="93"/>
                      </a:cubicBezTo>
                      <a:cubicBezTo>
                        <a:pt x="4" y="139"/>
                        <a:pt x="4" y="139"/>
                        <a:pt x="4" y="139"/>
                      </a:cubicBezTo>
                      <a:cubicBezTo>
                        <a:pt x="4" y="144"/>
                        <a:pt x="6" y="148"/>
                        <a:pt x="10" y="151"/>
                      </a:cubicBezTo>
                      <a:cubicBezTo>
                        <a:pt x="12" y="153"/>
                        <a:pt x="12" y="153"/>
                        <a:pt x="12" y="153"/>
                      </a:cubicBezTo>
                      <a:cubicBezTo>
                        <a:pt x="10" y="155"/>
                        <a:pt x="10" y="155"/>
                        <a:pt x="10" y="155"/>
                      </a:cubicBezTo>
                      <a:cubicBezTo>
                        <a:pt x="6" y="158"/>
                        <a:pt x="4" y="162"/>
                        <a:pt x="4" y="167"/>
                      </a:cubicBezTo>
                      <a:cubicBezTo>
                        <a:pt x="4" y="213"/>
                        <a:pt x="4" y="213"/>
                        <a:pt x="4" y="213"/>
                      </a:cubicBezTo>
                      <a:cubicBezTo>
                        <a:pt x="4" y="221"/>
                        <a:pt x="11" y="229"/>
                        <a:pt x="20" y="229"/>
                      </a:cubicBezTo>
                      <a:cubicBezTo>
                        <a:pt x="217" y="229"/>
                        <a:pt x="217" y="229"/>
                        <a:pt x="217" y="229"/>
                      </a:cubicBezTo>
                      <a:cubicBezTo>
                        <a:pt x="225" y="229"/>
                        <a:pt x="232" y="221"/>
                        <a:pt x="232" y="213"/>
                      </a:cubicBezTo>
                      <a:cubicBezTo>
                        <a:pt x="232" y="167"/>
                        <a:pt x="232" y="167"/>
                        <a:pt x="232" y="167"/>
                      </a:cubicBezTo>
                      <a:cubicBezTo>
                        <a:pt x="232" y="162"/>
                        <a:pt x="230" y="158"/>
                        <a:pt x="226" y="155"/>
                      </a:cubicBezTo>
                      <a:cubicBezTo>
                        <a:pt x="224" y="153"/>
                        <a:pt x="224" y="153"/>
                        <a:pt x="224" y="153"/>
                      </a:cubicBezTo>
                      <a:cubicBezTo>
                        <a:pt x="226" y="151"/>
                        <a:pt x="226" y="151"/>
                        <a:pt x="226" y="151"/>
                      </a:cubicBezTo>
                      <a:cubicBezTo>
                        <a:pt x="230" y="148"/>
                        <a:pt x="232" y="144"/>
                        <a:pt x="232" y="139"/>
                      </a:cubicBezTo>
                      <a:cubicBezTo>
                        <a:pt x="232" y="93"/>
                        <a:pt x="232" y="93"/>
                        <a:pt x="232" y="93"/>
                      </a:cubicBezTo>
                      <a:cubicBezTo>
                        <a:pt x="232" y="89"/>
                        <a:pt x="230" y="84"/>
                        <a:pt x="226" y="81"/>
                      </a:cubicBezTo>
                      <a:cubicBezTo>
                        <a:pt x="224" y="79"/>
                        <a:pt x="224" y="79"/>
                        <a:pt x="224" y="79"/>
                      </a:cubicBezTo>
                      <a:cubicBezTo>
                        <a:pt x="226" y="78"/>
                        <a:pt x="226" y="78"/>
                        <a:pt x="226" y="78"/>
                      </a:cubicBezTo>
                      <a:cubicBezTo>
                        <a:pt x="230" y="75"/>
                        <a:pt x="232" y="70"/>
                        <a:pt x="232" y="65"/>
                      </a:cubicBezTo>
                      <a:cubicBezTo>
                        <a:pt x="232" y="20"/>
                        <a:pt x="232" y="20"/>
                        <a:pt x="232" y="20"/>
                      </a:cubicBezTo>
                      <a:cubicBezTo>
                        <a:pt x="232" y="11"/>
                        <a:pt x="225" y="4"/>
                        <a:pt x="217" y="4"/>
                      </a:cubicBezTo>
                      <a:lnTo>
                        <a:pt x="20" y="4"/>
                      </a:lnTo>
                      <a:close/>
                      <a:moveTo>
                        <a:pt x="20" y="225"/>
                      </a:moveTo>
                      <a:cubicBezTo>
                        <a:pt x="16" y="225"/>
                        <a:pt x="13" y="224"/>
                        <a:pt x="11" y="221"/>
                      </a:cubicBezTo>
                      <a:cubicBezTo>
                        <a:pt x="9" y="219"/>
                        <a:pt x="7" y="216"/>
                        <a:pt x="7" y="213"/>
                      </a:cubicBezTo>
                      <a:cubicBezTo>
                        <a:pt x="7" y="167"/>
                        <a:pt x="7" y="167"/>
                        <a:pt x="7" y="167"/>
                      </a:cubicBezTo>
                      <a:cubicBezTo>
                        <a:pt x="7" y="160"/>
                        <a:pt x="13" y="155"/>
                        <a:pt x="20" y="155"/>
                      </a:cubicBezTo>
                      <a:cubicBezTo>
                        <a:pt x="217" y="155"/>
                        <a:pt x="217" y="155"/>
                        <a:pt x="217" y="155"/>
                      </a:cubicBezTo>
                      <a:cubicBezTo>
                        <a:pt x="223" y="155"/>
                        <a:pt x="229" y="160"/>
                        <a:pt x="229" y="167"/>
                      </a:cubicBezTo>
                      <a:cubicBezTo>
                        <a:pt x="229" y="213"/>
                        <a:pt x="229" y="213"/>
                        <a:pt x="229" y="213"/>
                      </a:cubicBezTo>
                      <a:cubicBezTo>
                        <a:pt x="229" y="219"/>
                        <a:pt x="223" y="225"/>
                        <a:pt x="217" y="225"/>
                      </a:cubicBezTo>
                      <a:cubicBezTo>
                        <a:pt x="20" y="225"/>
                        <a:pt x="20" y="225"/>
                        <a:pt x="20" y="225"/>
                      </a:cubicBezTo>
                      <a:close/>
                      <a:moveTo>
                        <a:pt x="20" y="159"/>
                      </a:moveTo>
                      <a:cubicBezTo>
                        <a:pt x="15" y="159"/>
                        <a:pt x="12" y="163"/>
                        <a:pt x="12" y="167"/>
                      </a:cubicBezTo>
                      <a:cubicBezTo>
                        <a:pt x="12" y="213"/>
                        <a:pt x="12" y="213"/>
                        <a:pt x="12" y="213"/>
                      </a:cubicBezTo>
                      <a:cubicBezTo>
                        <a:pt x="12" y="215"/>
                        <a:pt x="12" y="217"/>
                        <a:pt x="14" y="218"/>
                      </a:cubicBezTo>
                      <a:cubicBezTo>
                        <a:pt x="15" y="220"/>
                        <a:pt x="17" y="221"/>
                        <a:pt x="20" y="221"/>
                      </a:cubicBezTo>
                      <a:cubicBezTo>
                        <a:pt x="20" y="221"/>
                        <a:pt x="20" y="221"/>
                        <a:pt x="20" y="221"/>
                      </a:cubicBezTo>
                      <a:cubicBezTo>
                        <a:pt x="217" y="221"/>
                        <a:pt x="217" y="221"/>
                        <a:pt x="217" y="221"/>
                      </a:cubicBezTo>
                      <a:cubicBezTo>
                        <a:pt x="221" y="221"/>
                        <a:pt x="225" y="217"/>
                        <a:pt x="225" y="213"/>
                      </a:cubicBezTo>
                      <a:cubicBezTo>
                        <a:pt x="225" y="167"/>
                        <a:pt x="225" y="167"/>
                        <a:pt x="225" y="167"/>
                      </a:cubicBezTo>
                      <a:cubicBezTo>
                        <a:pt x="225" y="163"/>
                        <a:pt x="221" y="159"/>
                        <a:pt x="217" y="159"/>
                      </a:cubicBezTo>
                      <a:lnTo>
                        <a:pt x="20" y="159"/>
                      </a:lnTo>
                      <a:close/>
                      <a:moveTo>
                        <a:pt x="217" y="151"/>
                      </a:moveTo>
                      <a:cubicBezTo>
                        <a:pt x="20" y="151"/>
                        <a:pt x="20" y="151"/>
                        <a:pt x="20" y="151"/>
                      </a:cubicBezTo>
                      <a:cubicBezTo>
                        <a:pt x="13" y="151"/>
                        <a:pt x="7" y="146"/>
                        <a:pt x="7" y="139"/>
                      </a:cubicBezTo>
                      <a:cubicBezTo>
                        <a:pt x="7" y="93"/>
                        <a:pt x="7" y="93"/>
                        <a:pt x="7" y="93"/>
                      </a:cubicBezTo>
                      <a:cubicBezTo>
                        <a:pt x="7" y="87"/>
                        <a:pt x="13" y="81"/>
                        <a:pt x="20" y="81"/>
                      </a:cubicBezTo>
                      <a:cubicBezTo>
                        <a:pt x="217" y="81"/>
                        <a:pt x="217" y="81"/>
                        <a:pt x="217" y="81"/>
                      </a:cubicBezTo>
                      <a:cubicBezTo>
                        <a:pt x="223" y="81"/>
                        <a:pt x="229" y="87"/>
                        <a:pt x="229" y="93"/>
                      </a:cubicBezTo>
                      <a:cubicBezTo>
                        <a:pt x="229" y="139"/>
                        <a:pt x="229" y="139"/>
                        <a:pt x="229" y="139"/>
                      </a:cubicBezTo>
                      <a:cubicBezTo>
                        <a:pt x="229" y="146"/>
                        <a:pt x="223" y="151"/>
                        <a:pt x="217" y="151"/>
                      </a:cubicBezTo>
                      <a:moveTo>
                        <a:pt x="20" y="85"/>
                      </a:moveTo>
                      <a:cubicBezTo>
                        <a:pt x="15" y="85"/>
                        <a:pt x="12" y="89"/>
                        <a:pt x="12" y="93"/>
                      </a:cubicBezTo>
                      <a:cubicBezTo>
                        <a:pt x="12" y="139"/>
                        <a:pt x="12" y="139"/>
                        <a:pt x="12" y="139"/>
                      </a:cubicBezTo>
                      <a:cubicBezTo>
                        <a:pt x="12" y="143"/>
                        <a:pt x="15" y="147"/>
                        <a:pt x="20" y="147"/>
                      </a:cubicBezTo>
                      <a:cubicBezTo>
                        <a:pt x="217" y="147"/>
                        <a:pt x="217" y="147"/>
                        <a:pt x="217" y="147"/>
                      </a:cubicBezTo>
                      <a:cubicBezTo>
                        <a:pt x="221" y="147"/>
                        <a:pt x="225" y="143"/>
                        <a:pt x="225" y="139"/>
                      </a:cubicBezTo>
                      <a:cubicBezTo>
                        <a:pt x="225" y="93"/>
                        <a:pt x="225" y="93"/>
                        <a:pt x="225" y="93"/>
                      </a:cubicBezTo>
                      <a:cubicBezTo>
                        <a:pt x="225" y="89"/>
                        <a:pt x="221" y="85"/>
                        <a:pt x="217" y="85"/>
                      </a:cubicBezTo>
                      <a:lnTo>
                        <a:pt x="20" y="85"/>
                      </a:lnTo>
                      <a:close/>
                      <a:moveTo>
                        <a:pt x="217" y="78"/>
                      </a:moveTo>
                      <a:cubicBezTo>
                        <a:pt x="20" y="78"/>
                        <a:pt x="20" y="78"/>
                        <a:pt x="20" y="78"/>
                      </a:cubicBezTo>
                      <a:cubicBezTo>
                        <a:pt x="13" y="78"/>
                        <a:pt x="7" y="72"/>
                        <a:pt x="7" y="65"/>
                      </a:cubicBezTo>
                      <a:cubicBezTo>
                        <a:pt x="7" y="20"/>
                        <a:pt x="7" y="20"/>
                        <a:pt x="7" y="20"/>
                      </a:cubicBezTo>
                      <a:cubicBezTo>
                        <a:pt x="7" y="13"/>
                        <a:pt x="13" y="7"/>
                        <a:pt x="20" y="7"/>
                      </a:cubicBezTo>
                      <a:cubicBezTo>
                        <a:pt x="217" y="7"/>
                        <a:pt x="217" y="7"/>
                        <a:pt x="217" y="7"/>
                      </a:cubicBezTo>
                      <a:cubicBezTo>
                        <a:pt x="223" y="7"/>
                        <a:pt x="229" y="13"/>
                        <a:pt x="229" y="20"/>
                      </a:cubicBezTo>
                      <a:cubicBezTo>
                        <a:pt x="229" y="65"/>
                        <a:pt x="229" y="65"/>
                        <a:pt x="229" y="65"/>
                      </a:cubicBezTo>
                      <a:cubicBezTo>
                        <a:pt x="229" y="72"/>
                        <a:pt x="223" y="78"/>
                        <a:pt x="217" y="78"/>
                      </a:cubicBezTo>
                      <a:moveTo>
                        <a:pt x="20" y="12"/>
                      </a:moveTo>
                      <a:cubicBezTo>
                        <a:pt x="15" y="12"/>
                        <a:pt x="12" y="15"/>
                        <a:pt x="12" y="20"/>
                      </a:cubicBezTo>
                      <a:cubicBezTo>
                        <a:pt x="12" y="65"/>
                        <a:pt x="12" y="65"/>
                        <a:pt x="12" y="65"/>
                      </a:cubicBezTo>
                      <a:cubicBezTo>
                        <a:pt x="12" y="70"/>
                        <a:pt x="15" y="73"/>
                        <a:pt x="20" y="73"/>
                      </a:cubicBezTo>
                      <a:cubicBezTo>
                        <a:pt x="217" y="73"/>
                        <a:pt x="217" y="73"/>
                        <a:pt x="217" y="73"/>
                      </a:cubicBezTo>
                      <a:cubicBezTo>
                        <a:pt x="221" y="73"/>
                        <a:pt x="225" y="70"/>
                        <a:pt x="225" y="65"/>
                      </a:cubicBezTo>
                      <a:cubicBezTo>
                        <a:pt x="225" y="20"/>
                        <a:pt x="225" y="20"/>
                        <a:pt x="225" y="20"/>
                      </a:cubicBezTo>
                      <a:cubicBezTo>
                        <a:pt x="225" y="15"/>
                        <a:pt x="221" y="12"/>
                        <a:pt x="217" y="12"/>
                      </a:cubicBezTo>
                      <a:lnTo>
                        <a:pt x="2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83"/>
                <p:cNvSpPr>
                  <a:spLocks noEditPoints="1"/>
                </p:cNvSpPr>
                <p:nvPr/>
              </p:nvSpPr>
              <p:spPr bwMode="auto">
                <a:xfrm>
                  <a:off x="4006706" y="1609516"/>
                  <a:ext cx="41332" cy="41836"/>
                </a:xfrm>
                <a:custGeom>
                  <a:avLst/>
                  <a:gdLst>
                    <a:gd name="T0" fmla="*/ 17 w 35"/>
                    <a:gd name="T1" fmla="*/ 35 h 35"/>
                    <a:gd name="T2" fmla="*/ 35 w 35"/>
                    <a:gd name="T3" fmla="*/ 17 h 35"/>
                    <a:gd name="T4" fmla="*/ 17 w 35"/>
                    <a:gd name="T5" fmla="*/ 0 h 35"/>
                    <a:gd name="T6" fmla="*/ 0 w 35"/>
                    <a:gd name="T7" fmla="*/ 17 h 35"/>
                    <a:gd name="T8" fmla="*/ 17 w 35"/>
                    <a:gd name="T9" fmla="*/ 35 h 35"/>
                    <a:gd name="T10" fmla="*/ 17 w 35"/>
                    <a:gd name="T11" fmla="*/ 8 h 35"/>
                    <a:gd name="T12" fmla="*/ 27 w 35"/>
                    <a:gd name="T13" fmla="*/ 17 h 35"/>
                    <a:gd name="T14" fmla="*/ 17 w 35"/>
                    <a:gd name="T15" fmla="*/ 27 h 35"/>
                    <a:gd name="T16" fmla="*/ 8 w 35"/>
                    <a:gd name="T17" fmla="*/ 17 h 35"/>
                    <a:gd name="T18" fmla="*/ 17 w 35"/>
                    <a:gd name="T19"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35"/>
                      </a:moveTo>
                      <a:cubicBezTo>
                        <a:pt x="27" y="35"/>
                        <a:pt x="35" y="27"/>
                        <a:pt x="35" y="17"/>
                      </a:cubicBezTo>
                      <a:cubicBezTo>
                        <a:pt x="35" y="8"/>
                        <a:pt x="27" y="0"/>
                        <a:pt x="17" y="0"/>
                      </a:cubicBezTo>
                      <a:cubicBezTo>
                        <a:pt x="8" y="0"/>
                        <a:pt x="0" y="8"/>
                        <a:pt x="0" y="17"/>
                      </a:cubicBezTo>
                      <a:cubicBezTo>
                        <a:pt x="0" y="27"/>
                        <a:pt x="8" y="35"/>
                        <a:pt x="17" y="35"/>
                      </a:cubicBezTo>
                      <a:moveTo>
                        <a:pt x="17" y="8"/>
                      </a:moveTo>
                      <a:cubicBezTo>
                        <a:pt x="23" y="8"/>
                        <a:pt x="27" y="12"/>
                        <a:pt x="27" y="17"/>
                      </a:cubicBezTo>
                      <a:cubicBezTo>
                        <a:pt x="27" y="23"/>
                        <a:pt x="23" y="27"/>
                        <a:pt x="17" y="27"/>
                      </a:cubicBezTo>
                      <a:cubicBezTo>
                        <a:pt x="12" y="27"/>
                        <a:pt x="8" y="23"/>
                        <a:pt x="8" y="17"/>
                      </a:cubicBezTo>
                      <a:cubicBezTo>
                        <a:pt x="8" y="12"/>
                        <a:pt x="12" y="8"/>
                        <a:pt x="17"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4"/>
                <p:cNvSpPr>
                  <a:spLocks noEditPoints="1"/>
                </p:cNvSpPr>
                <p:nvPr/>
              </p:nvSpPr>
              <p:spPr bwMode="auto">
                <a:xfrm>
                  <a:off x="4004186" y="1607499"/>
                  <a:ext cx="46373" cy="46373"/>
                </a:xfrm>
                <a:custGeom>
                  <a:avLst/>
                  <a:gdLst>
                    <a:gd name="T0" fmla="*/ 19 w 39"/>
                    <a:gd name="T1" fmla="*/ 39 h 39"/>
                    <a:gd name="T2" fmla="*/ 0 w 39"/>
                    <a:gd name="T3" fmla="*/ 19 h 39"/>
                    <a:gd name="T4" fmla="*/ 19 w 39"/>
                    <a:gd name="T5" fmla="*/ 0 h 39"/>
                    <a:gd name="T6" fmla="*/ 39 w 39"/>
                    <a:gd name="T7" fmla="*/ 19 h 39"/>
                    <a:gd name="T8" fmla="*/ 19 w 39"/>
                    <a:gd name="T9" fmla="*/ 39 h 39"/>
                    <a:gd name="T10" fmla="*/ 19 w 39"/>
                    <a:gd name="T11" fmla="*/ 4 h 39"/>
                    <a:gd name="T12" fmla="*/ 4 w 39"/>
                    <a:gd name="T13" fmla="*/ 19 h 39"/>
                    <a:gd name="T14" fmla="*/ 19 w 39"/>
                    <a:gd name="T15" fmla="*/ 35 h 39"/>
                    <a:gd name="T16" fmla="*/ 35 w 39"/>
                    <a:gd name="T17" fmla="*/ 19 h 39"/>
                    <a:gd name="T18" fmla="*/ 19 w 39"/>
                    <a:gd name="T19" fmla="*/ 4 h 39"/>
                    <a:gd name="T20" fmla="*/ 19 w 39"/>
                    <a:gd name="T21" fmla="*/ 31 h 39"/>
                    <a:gd name="T22" fmla="*/ 8 w 39"/>
                    <a:gd name="T23" fmla="*/ 19 h 39"/>
                    <a:gd name="T24" fmla="*/ 19 w 39"/>
                    <a:gd name="T25" fmla="*/ 7 h 39"/>
                    <a:gd name="T26" fmla="*/ 31 w 39"/>
                    <a:gd name="T27" fmla="*/ 19 h 39"/>
                    <a:gd name="T28" fmla="*/ 19 w 39"/>
                    <a:gd name="T29" fmla="*/ 31 h 39"/>
                    <a:gd name="T30" fmla="*/ 19 w 39"/>
                    <a:gd name="T31" fmla="*/ 12 h 39"/>
                    <a:gd name="T32" fmla="*/ 12 w 39"/>
                    <a:gd name="T33" fmla="*/ 19 h 39"/>
                    <a:gd name="T34" fmla="*/ 19 w 39"/>
                    <a:gd name="T35" fmla="*/ 27 h 39"/>
                    <a:gd name="T36" fmla="*/ 27 w 39"/>
                    <a:gd name="T37" fmla="*/ 19 h 39"/>
                    <a:gd name="T38" fmla="*/ 19 w 39"/>
                    <a:gd name="T39" fmla="*/ 1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9">
                      <a:moveTo>
                        <a:pt x="19" y="39"/>
                      </a:moveTo>
                      <a:cubicBezTo>
                        <a:pt x="9" y="39"/>
                        <a:pt x="0" y="30"/>
                        <a:pt x="0" y="19"/>
                      </a:cubicBezTo>
                      <a:cubicBezTo>
                        <a:pt x="0" y="8"/>
                        <a:pt x="9" y="0"/>
                        <a:pt x="19" y="0"/>
                      </a:cubicBezTo>
                      <a:cubicBezTo>
                        <a:pt x="30" y="0"/>
                        <a:pt x="39" y="8"/>
                        <a:pt x="39" y="19"/>
                      </a:cubicBezTo>
                      <a:cubicBezTo>
                        <a:pt x="39" y="30"/>
                        <a:pt x="30" y="39"/>
                        <a:pt x="19" y="39"/>
                      </a:cubicBezTo>
                      <a:moveTo>
                        <a:pt x="19" y="4"/>
                      </a:moveTo>
                      <a:cubicBezTo>
                        <a:pt x="11" y="4"/>
                        <a:pt x="4" y="11"/>
                        <a:pt x="4" y="19"/>
                      </a:cubicBezTo>
                      <a:cubicBezTo>
                        <a:pt x="4" y="28"/>
                        <a:pt x="11" y="35"/>
                        <a:pt x="19" y="35"/>
                      </a:cubicBezTo>
                      <a:cubicBezTo>
                        <a:pt x="28" y="35"/>
                        <a:pt x="35" y="28"/>
                        <a:pt x="35" y="19"/>
                      </a:cubicBezTo>
                      <a:cubicBezTo>
                        <a:pt x="35" y="11"/>
                        <a:pt x="28" y="4"/>
                        <a:pt x="19" y="4"/>
                      </a:cubicBezTo>
                      <a:moveTo>
                        <a:pt x="19" y="31"/>
                      </a:moveTo>
                      <a:cubicBezTo>
                        <a:pt x="13" y="31"/>
                        <a:pt x="8" y="26"/>
                        <a:pt x="8" y="19"/>
                      </a:cubicBezTo>
                      <a:cubicBezTo>
                        <a:pt x="8" y="13"/>
                        <a:pt x="13" y="7"/>
                        <a:pt x="19" y="7"/>
                      </a:cubicBezTo>
                      <a:cubicBezTo>
                        <a:pt x="26" y="7"/>
                        <a:pt x="31" y="13"/>
                        <a:pt x="31" y="19"/>
                      </a:cubicBezTo>
                      <a:cubicBezTo>
                        <a:pt x="31" y="26"/>
                        <a:pt x="26" y="31"/>
                        <a:pt x="19" y="31"/>
                      </a:cubicBezTo>
                      <a:moveTo>
                        <a:pt x="19" y="12"/>
                      </a:moveTo>
                      <a:cubicBezTo>
                        <a:pt x="15" y="12"/>
                        <a:pt x="12" y="15"/>
                        <a:pt x="12" y="19"/>
                      </a:cubicBezTo>
                      <a:cubicBezTo>
                        <a:pt x="12" y="23"/>
                        <a:pt x="15" y="27"/>
                        <a:pt x="19" y="27"/>
                      </a:cubicBezTo>
                      <a:cubicBezTo>
                        <a:pt x="24" y="27"/>
                        <a:pt x="27" y="23"/>
                        <a:pt x="27" y="19"/>
                      </a:cubicBezTo>
                      <a:cubicBezTo>
                        <a:pt x="27" y="15"/>
                        <a:pt x="24" y="12"/>
                        <a:pt x="19"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85"/>
                <p:cNvSpPr>
                  <a:spLocks noEditPoints="1"/>
                </p:cNvSpPr>
                <p:nvPr/>
              </p:nvSpPr>
              <p:spPr bwMode="auto">
                <a:xfrm>
                  <a:off x="4006706" y="1696716"/>
                  <a:ext cx="41332" cy="41836"/>
                </a:xfrm>
                <a:custGeom>
                  <a:avLst/>
                  <a:gdLst>
                    <a:gd name="T0" fmla="*/ 17 w 35"/>
                    <a:gd name="T1" fmla="*/ 35 h 35"/>
                    <a:gd name="T2" fmla="*/ 35 w 35"/>
                    <a:gd name="T3" fmla="*/ 18 h 35"/>
                    <a:gd name="T4" fmla="*/ 17 w 35"/>
                    <a:gd name="T5" fmla="*/ 0 h 35"/>
                    <a:gd name="T6" fmla="*/ 0 w 35"/>
                    <a:gd name="T7" fmla="*/ 18 h 35"/>
                    <a:gd name="T8" fmla="*/ 17 w 35"/>
                    <a:gd name="T9" fmla="*/ 35 h 35"/>
                    <a:gd name="T10" fmla="*/ 17 w 35"/>
                    <a:gd name="T11" fmla="*/ 8 h 35"/>
                    <a:gd name="T12" fmla="*/ 27 w 35"/>
                    <a:gd name="T13" fmla="*/ 18 h 35"/>
                    <a:gd name="T14" fmla="*/ 17 w 35"/>
                    <a:gd name="T15" fmla="*/ 28 h 35"/>
                    <a:gd name="T16" fmla="*/ 8 w 35"/>
                    <a:gd name="T17" fmla="*/ 18 h 35"/>
                    <a:gd name="T18" fmla="*/ 17 w 35"/>
                    <a:gd name="T19"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35"/>
                      </a:moveTo>
                      <a:cubicBezTo>
                        <a:pt x="27" y="35"/>
                        <a:pt x="35" y="28"/>
                        <a:pt x="35" y="18"/>
                      </a:cubicBezTo>
                      <a:cubicBezTo>
                        <a:pt x="35" y="8"/>
                        <a:pt x="27" y="0"/>
                        <a:pt x="17" y="0"/>
                      </a:cubicBezTo>
                      <a:cubicBezTo>
                        <a:pt x="8" y="0"/>
                        <a:pt x="0" y="8"/>
                        <a:pt x="0" y="18"/>
                      </a:cubicBezTo>
                      <a:cubicBezTo>
                        <a:pt x="0" y="28"/>
                        <a:pt x="8" y="35"/>
                        <a:pt x="17" y="35"/>
                      </a:cubicBezTo>
                      <a:moveTo>
                        <a:pt x="17" y="8"/>
                      </a:moveTo>
                      <a:cubicBezTo>
                        <a:pt x="23" y="8"/>
                        <a:pt x="27" y="13"/>
                        <a:pt x="27" y="18"/>
                      </a:cubicBezTo>
                      <a:cubicBezTo>
                        <a:pt x="27" y="23"/>
                        <a:pt x="23" y="28"/>
                        <a:pt x="17" y="28"/>
                      </a:cubicBezTo>
                      <a:cubicBezTo>
                        <a:pt x="12" y="28"/>
                        <a:pt x="8" y="23"/>
                        <a:pt x="8" y="18"/>
                      </a:cubicBezTo>
                      <a:cubicBezTo>
                        <a:pt x="8" y="13"/>
                        <a:pt x="12" y="8"/>
                        <a:pt x="17"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86"/>
                <p:cNvSpPr>
                  <a:spLocks noEditPoints="1"/>
                </p:cNvSpPr>
                <p:nvPr/>
              </p:nvSpPr>
              <p:spPr bwMode="auto">
                <a:xfrm>
                  <a:off x="4004186" y="1694196"/>
                  <a:ext cx="46373" cy="46373"/>
                </a:xfrm>
                <a:custGeom>
                  <a:avLst/>
                  <a:gdLst>
                    <a:gd name="T0" fmla="*/ 19 w 39"/>
                    <a:gd name="T1" fmla="*/ 39 h 39"/>
                    <a:gd name="T2" fmla="*/ 0 w 39"/>
                    <a:gd name="T3" fmla="*/ 20 h 39"/>
                    <a:gd name="T4" fmla="*/ 19 w 39"/>
                    <a:gd name="T5" fmla="*/ 0 h 39"/>
                    <a:gd name="T6" fmla="*/ 39 w 39"/>
                    <a:gd name="T7" fmla="*/ 20 h 39"/>
                    <a:gd name="T8" fmla="*/ 19 w 39"/>
                    <a:gd name="T9" fmla="*/ 39 h 39"/>
                    <a:gd name="T10" fmla="*/ 19 w 39"/>
                    <a:gd name="T11" fmla="*/ 5 h 39"/>
                    <a:gd name="T12" fmla="*/ 4 w 39"/>
                    <a:gd name="T13" fmla="*/ 20 h 39"/>
                    <a:gd name="T14" fmla="*/ 19 w 39"/>
                    <a:gd name="T15" fmla="*/ 35 h 39"/>
                    <a:gd name="T16" fmla="*/ 35 w 39"/>
                    <a:gd name="T17" fmla="*/ 20 h 39"/>
                    <a:gd name="T18" fmla="*/ 19 w 39"/>
                    <a:gd name="T19" fmla="*/ 5 h 39"/>
                    <a:gd name="T20" fmla="*/ 19 w 39"/>
                    <a:gd name="T21" fmla="*/ 32 h 39"/>
                    <a:gd name="T22" fmla="*/ 8 w 39"/>
                    <a:gd name="T23" fmla="*/ 20 h 39"/>
                    <a:gd name="T24" fmla="*/ 19 w 39"/>
                    <a:gd name="T25" fmla="*/ 8 h 39"/>
                    <a:gd name="T26" fmla="*/ 31 w 39"/>
                    <a:gd name="T27" fmla="*/ 20 h 39"/>
                    <a:gd name="T28" fmla="*/ 19 w 39"/>
                    <a:gd name="T29" fmla="*/ 32 h 39"/>
                    <a:gd name="T30" fmla="*/ 19 w 39"/>
                    <a:gd name="T31" fmla="*/ 12 h 39"/>
                    <a:gd name="T32" fmla="*/ 12 w 39"/>
                    <a:gd name="T33" fmla="*/ 20 h 39"/>
                    <a:gd name="T34" fmla="*/ 19 w 39"/>
                    <a:gd name="T35" fmla="*/ 28 h 39"/>
                    <a:gd name="T36" fmla="*/ 27 w 39"/>
                    <a:gd name="T37" fmla="*/ 20 h 39"/>
                    <a:gd name="T38" fmla="*/ 19 w 39"/>
                    <a:gd name="T39" fmla="*/ 1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9">
                      <a:moveTo>
                        <a:pt x="19" y="39"/>
                      </a:moveTo>
                      <a:cubicBezTo>
                        <a:pt x="9" y="39"/>
                        <a:pt x="0" y="31"/>
                        <a:pt x="0" y="20"/>
                      </a:cubicBezTo>
                      <a:cubicBezTo>
                        <a:pt x="0" y="9"/>
                        <a:pt x="9" y="0"/>
                        <a:pt x="19" y="0"/>
                      </a:cubicBezTo>
                      <a:cubicBezTo>
                        <a:pt x="30" y="0"/>
                        <a:pt x="39" y="9"/>
                        <a:pt x="39" y="20"/>
                      </a:cubicBezTo>
                      <a:cubicBezTo>
                        <a:pt x="39" y="31"/>
                        <a:pt x="30" y="39"/>
                        <a:pt x="19" y="39"/>
                      </a:cubicBezTo>
                      <a:moveTo>
                        <a:pt x="19" y="5"/>
                      </a:moveTo>
                      <a:cubicBezTo>
                        <a:pt x="11" y="5"/>
                        <a:pt x="4" y="11"/>
                        <a:pt x="4" y="20"/>
                      </a:cubicBezTo>
                      <a:cubicBezTo>
                        <a:pt x="4" y="28"/>
                        <a:pt x="11" y="35"/>
                        <a:pt x="19" y="35"/>
                      </a:cubicBezTo>
                      <a:cubicBezTo>
                        <a:pt x="28" y="35"/>
                        <a:pt x="35" y="28"/>
                        <a:pt x="35" y="20"/>
                      </a:cubicBezTo>
                      <a:cubicBezTo>
                        <a:pt x="35" y="11"/>
                        <a:pt x="28" y="5"/>
                        <a:pt x="19" y="5"/>
                      </a:cubicBezTo>
                      <a:moveTo>
                        <a:pt x="19" y="32"/>
                      </a:moveTo>
                      <a:cubicBezTo>
                        <a:pt x="13" y="32"/>
                        <a:pt x="8" y="26"/>
                        <a:pt x="8" y="20"/>
                      </a:cubicBezTo>
                      <a:cubicBezTo>
                        <a:pt x="8" y="13"/>
                        <a:pt x="13" y="8"/>
                        <a:pt x="19" y="8"/>
                      </a:cubicBezTo>
                      <a:cubicBezTo>
                        <a:pt x="26" y="8"/>
                        <a:pt x="31" y="13"/>
                        <a:pt x="31" y="20"/>
                      </a:cubicBezTo>
                      <a:cubicBezTo>
                        <a:pt x="31" y="26"/>
                        <a:pt x="26" y="32"/>
                        <a:pt x="19" y="32"/>
                      </a:cubicBezTo>
                      <a:moveTo>
                        <a:pt x="19" y="12"/>
                      </a:moveTo>
                      <a:cubicBezTo>
                        <a:pt x="15" y="12"/>
                        <a:pt x="12" y="16"/>
                        <a:pt x="12" y="20"/>
                      </a:cubicBezTo>
                      <a:cubicBezTo>
                        <a:pt x="12" y="24"/>
                        <a:pt x="15" y="28"/>
                        <a:pt x="19" y="28"/>
                      </a:cubicBezTo>
                      <a:cubicBezTo>
                        <a:pt x="24" y="28"/>
                        <a:pt x="27" y="24"/>
                        <a:pt x="27" y="20"/>
                      </a:cubicBezTo>
                      <a:cubicBezTo>
                        <a:pt x="27" y="16"/>
                        <a:pt x="24" y="12"/>
                        <a:pt x="19"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0" name="TextBox 99"/>
            <p:cNvSpPr txBox="1"/>
            <p:nvPr/>
          </p:nvSpPr>
          <p:spPr>
            <a:xfrm>
              <a:off x="5151792" y="4485720"/>
              <a:ext cx="433132" cy="207749"/>
            </a:xfrm>
            <a:prstGeom prst="rect">
              <a:avLst/>
            </a:prstGeom>
            <a:noFill/>
          </p:spPr>
          <p:txBody>
            <a:bodyPr wrap="none" rtlCol="0" anchor="b" anchorCtr="0">
              <a:spAutoFit/>
            </a:bodyPr>
            <a:lstStyle/>
            <a:p>
              <a:pPr algn="ctr">
                <a:spcBef>
                  <a:spcPts val="1800"/>
                </a:spcBef>
              </a:pPr>
              <a:r>
                <a:rPr lang="en-US" sz="750" dirty="0" err="1">
                  <a:solidFill>
                    <a:srgbClr val="004990"/>
                  </a:solidFill>
                </a:rPr>
                <a:t>vRAN</a:t>
              </a:r>
              <a:endParaRPr lang="en-US" sz="750" dirty="0">
                <a:solidFill>
                  <a:srgbClr val="004990"/>
                </a:solidFill>
              </a:endParaRPr>
            </a:p>
          </p:txBody>
        </p:sp>
        <p:cxnSp>
          <p:nvCxnSpPr>
            <p:cNvPr id="107" name="Straight Connector 106"/>
            <p:cNvCxnSpPr/>
            <p:nvPr/>
          </p:nvCxnSpPr>
          <p:spPr>
            <a:xfrm>
              <a:off x="5367405" y="4345268"/>
              <a:ext cx="1" cy="157384"/>
            </a:xfrm>
            <a:prstGeom prst="line">
              <a:avLst/>
            </a:prstGeom>
            <a:ln w="12700" cap="rnd">
              <a:solidFill>
                <a:srgbClr val="004BAF"/>
              </a:solidFill>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6134226" y="4057689"/>
            <a:ext cx="587020" cy="673880"/>
            <a:chOff x="5838329" y="4019589"/>
            <a:chExt cx="587020" cy="673880"/>
          </a:xfrm>
        </p:grpSpPr>
        <p:sp>
          <p:nvSpPr>
            <p:cNvPr id="17" name="Freeform 17"/>
            <p:cNvSpPr>
              <a:spLocks/>
            </p:cNvSpPr>
            <p:nvPr/>
          </p:nvSpPr>
          <p:spPr bwMode="auto">
            <a:xfrm>
              <a:off x="5953025" y="4023118"/>
              <a:ext cx="351305" cy="230843"/>
            </a:xfrm>
            <a:custGeom>
              <a:avLst/>
              <a:gdLst>
                <a:gd name="T0" fmla="*/ 147 w 295"/>
                <a:gd name="T1" fmla="*/ 0 h 194"/>
                <a:gd name="T2" fmla="*/ 0 w 295"/>
                <a:gd name="T3" fmla="*/ 49 h 194"/>
                <a:gd name="T4" fmla="*/ 0 w 295"/>
                <a:gd name="T5" fmla="*/ 146 h 194"/>
                <a:gd name="T6" fmla="*/ 147 w 295"/>
                <a:gd name="T7" fmla="*/ 194 h 194"/>
                <a:gd name="T8" fmla="*/ 295 w 295"/>
                <a:gd name="T9" fmla="*/ 146 h 194"/>
                <a:gd name="T10" fmla="*/ 295 w 295"/>
                <a:gd name="T11" fmla="*/ 49 h 194"/>
                <a:gd name="T12" fmla="*/ 147 w 295"/>
                <a:gd name="T13" fmla="*/ 0 h 194"/>
              </a:gdLst>
              <a:ahLst/>
              <a:cxnLst>
                <a:cxn ang="0">
                  <a:pos x="T0" y="T1"/>
                </a:cxn>
                <a:cxn ang="0">
                  <a:pos x="T2" y="T3"/>
                </a:cxn>
                <a:cxn ang="0">
                  <a:pos x="T4" y="T5"/>
                </a:cxn>
                <a:cxn ang="0">
                  <a:pos x="T6" y="T7"/>
                </a:cxn>
                <a:cxn ang="0">
                  <a:pos x="T8" y="T9"/>
                </a:cxn>
                <a:cxn ang="0">
                  <a:pos x="T10" y="T11"/>
                </a:cxn>
                <a:cxn ang="0">
                  <a:pos x="T12" y="T13"/>
                </a:cxn>
              </a:cxnLst>
              <a:rect l="0" t="0" r="r" b="b"/>
              <a:pathLst>
                <a:path w="295" h="194">
                  <a:moveTo>
                    <a:pt x="147" y="0"/>
                  </a:moveTo>
                  <a:cubicBezTo>
                    <a:pt x="66" y="0"/>
                    <a:pt x="0" y="22"/>
                    <a:pt x="0" y="49"/>
                  </a:cubicBezTo>
                  <a:cubicBezTo>
                    <a:pt x="0" y="146"/>
                    <a:pt x="0" y="146"/>
                    <a:pt x="0" y="146"/>
                  </a:cubicBezTo>
                  <a:cubicBezTo>
                    <a:pt x="0" y="172"/>
                    <a:pt x="66" y="194"/>
                    <a:pt x="147" y="194"/>
                  </a:cubicBezTo>
                  <a:cubicBezTo>
                    <a:pt x="228" y="194"/>
                    <a:pt x="295" y="172"/>
                    <a:pt x="295" y="146"/>
                  </a:cubicBezTo>
                  <a:cubicBezTo>
                    <a:pt x="295" y="49"/>
                    <a:pt x="295" y="49"/>
                    <a:pt x="295" y="49"/>
                  </a:cubicBezTo>
                  <a:cubicBezTo>
                    <a:pt x="295" y="22"/>
                    <a:pt x="228" y="0"/>
                    <a:pt x="147" y="0"/>
                  </a:cubicBezTo>
                </a:path>
              </a:pathLst>
            </a:custGeom>
            <a:solidFill>
              <a:srgbClr val="004BA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Freeform 18"/>
            <p:cNvSpPr>
              <a:spLocks noEditPoints="1"/>
            </p:cNvSpPr>
            <p:nvPr/>
          </p:nvSpPr>
          <p:spPr bwMode="auto">
            <a:xfrm>
              <a:off x="5948489" y="4019589"/>
              <a:ext cx="359369" cy="239411"/>
            </a:xfrm>
            <a:custGeom>
              <a:avLst/>
              <a:gdLst>
                <a:gd name="T0" fmla="*/ 151 w 302"/>
                <a:gd name="T1" fmla="*/ 201 h 201"/>
                <a:gd name="T2" fmla="*/ 0 w 302"/>
                <a:gd name="T3" fmla="*/ 149 h 201"/>
                <a:gd name="T4" fmla="*/ 0 w 302"/>
                <a:gd name="T5" fmla="*/ 52 h 201"/>
                <a:gd name="T6" fmla="*/ 151 w 302"/>
                <a:gd name="T7" fmla="*/ 0 h 201"/>
                <a:gd name="T8" fmla="*/ 302 w 302"/>
                <a:gd name="T9" fmla="*/ 52 h 201"/>
                <a:gd name="T10" fmla="*/ 302 w 302"/>
                <a:gd name="T11" fmla="*/ 149 h 201"/>
                <a:gd name="T12" fmla="*/ 151 w 302"/>
                <a:gd name="T13" fmla="*/ 201 h 201"/>
                <a:gd name="T14" fmla="*/ 151 w 302"/>
                <a:gd name="T15" fmla="*/ 7 h 201"/>
                <a:gd name="T16" fmla="*/ 7 w 302"/>
                <a:gd name="T17" fmla="*/ 52 h 201"/>
                <a:gd name="T18" fmla="*/ 7 w 302"/>
                <a:gd name="T19" fmla="*/ 149 h 201"/>
                <a:gd name="T20" fmla="*/ 151 w 302"/>
                <a:gd name="T21" fmla="*/ 193 h 201"/>
                <a:gd name="T22" fmla="*/ 295 w 302"/>
                <a:gd name="T23" fmla="*/ 149 h 201"/>
                <a:gd name="T24" fmla="*/ 295 w 302"/>
                <a:gd name="T25" fmla="*/ 52 h 201"/>
                <a:gd name="T26" fmla="*/ 151 w 302"/>
                <a:gd name="T27" fmla="*/ 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2" h="201">
                  <a:moveTo>
                    <a:pt x="151" y="201"/>
                  </a:moveTo>
                  <a:cubicBezTo>
                    <a:pt x="66" y="201"/>
                    <a:pt x="0" y="178"/>
                    <a:pt x="0" y="149"/>
                  </a:cubicBezTo>
                  <a:cubicBezTo>
                    <a:pt x="0" y="52"/>
                    <a:pt x="0" y="52"/>
                    <a:pt x="0" y="52"/>
                  </a:cubicBezTo>
                  <a:cubicBezTo>
                    <a:pt x="0" y="23"/>
                    <a:pt x="66" y="0"/>
                    <a:pt x="151" y="0"/>
                  </a:cubicBezTo>
                  <a:cubicBezTo>
                    <a:pt x="236" y="0"/>
                    <a:pt x="302" y="23"/>
                    <a:pt x="302" y="52"/>
                  </a:cubicBezTo>
                  <a:cubicBezTo>
                    <a:pt x="302" y="149"/>
                    <a:pt x="302" y="149"/>
                    <a:pt x="302" y="149"/>
                  </a:cubicBezTo>
                  <a:cubicBezTo>
                    <a:pt x="302" y="178"/>
                    <a:pt x="236" y="201"/>
                    <a:pt x="151" y="201"/>
                  </a:cubicBezTo>
                  <a:close/>
                  <a:moveTo>
                    <a:pt x="151" y="7"/>
                  </a:moveTo>
                  <a:cubicBezTo>
                    <a:pt x="65" y="7"/>
                    <a:pt x="7" y="30"/>
                    <a:pt x="7" y="52"/>
                  </a:cubicBezTo>
                  <a:cubicBezTo>
                    <a:pt x="7" y="149"/>
                    <a:pt x="7" y="149"/>
                    <a:pt x="7" y="149"/>
                  </a:cubicBezTo>
                  <a:cubicBezTo>
                    <a:pt x="7" y="170"/>
                    <a:pt x="65" y="193"/>
                    <a:pt x="151" y="193"/>
                  </a:cubicBezTo>
                  <a:cubicBezTo>
                    <a:pt x="237" y="193"/>
                    <a:pt x="295" y="170"/>
                    <a:pt x="295" y="149"/>
                  </a:cubicBezTo>
                  <a:cubicBezTo>
                    <a:pt x="295" y="52"/>
                    <a:pt x="295" y="52"/>
                    <a:pt x="295" y="52"/>
                  </a:cubicBezTo>
                  <a:cubicBezTo>
                    <a:pt x="295" y="30"/>
                    <a:pt x="237" y="7"/>
                    <a:pt x="151"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Oval 19"/>
            <p:cNvSpPr>
              <a:spLocks noChangeArrowheads="1"/>
            </p:cNvSpPr>
            <p:nvPr/>
          </p:nvSpPr>
          <p:spPr bwMode="auto">
            <a:xfrm>
              <a:off x="5953025" y="4023118"/>
              <a:ext cx="351305" cy="115421"/>
            </a:xfrm>
            <a:prstGeom prst="ellipse">
              <a:avLst/>
            </a:prstGeom>
            <a:solidFill>
              <a:srgbClr val="004BA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0" name="Freeform 20"/>
            <p:cNvSpPr>
              <a:spLocks noEditPoints="1"/>
            </p:cNvSpPr>
            <p:nvPr/>
          </p:nvSpPr>
          <p:spPr bwMode="auto">
            <a:xfrm>
              <a:off x="5948489" y="4019589"/>
              <a:ext cx="359369" cy="123990"/>
            </a:xfrm>
            <a:custGeom>
              <a:avLst/>
              <a:gdLst>
                <a:gd name="T0" fmla="*/ 151 w 302"/>
                <a:gd name="T1" fmla="*/ 104 h 104"/>
                <a:gd name="T2" fmla="*/ 0 w 302"/>
                <a:gd name="T3" fmla="*/ 52 h 104"/>
                <a:gd name="T4" fmla="*/ 151 w 302"/>
                <a:gd name="T5" fmla="*/ 0 h 104"/>
                <a:gd name="T6" fmla="*/ 302 w 302"/>
                <a:gd name="T7" fmla="*/ 52 h 104"/>
                <a:gd name="T8" fmla="*/ 151 w 302"/>
                <a:gd name="T9" fmla="*/ 104 h 104"/>
                <a:gd name="T10" fmla="*/ 151 w 302"/>
                <a:gd name="T11" fmla="*/ 7 h 104"/>
                <a:gd name="T12" fmla="*/ 7 w 302"/>
                <a:gd name="T13" fmla="*/ 52 h 104"/>
                <a:gd name="T14" fmla="*/ 151 w 302"/>
                <a:gd name="T15" fmla="*/ 96 h 104"/>
                <a:gd name="T16" fmla="*/ 295 w 302"/>
                <a:gd name="T17" fmla="*/ 52 h 104"/>
                <a:gd name="T18" fmla="*/ 151 w 302"/>
                <a:gd name="T19" fmla="*/ 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104">
                  <a:moveTo>
                    <a:pt x="151" y="104"/>
                  </a:moveTo>
                  <a:cubicBezTo>
                    <a:pt x="66" y="104"/>
                    <a:pt x="0" y="81"/>
                    <a:pt x="0" y="52"/>
                  </a:cubicBezTo>
                  <a:cubicBezTo>
                    <a:pt x="0" y="23"/>
                    <a:pt x="66" y="0"/>
                    <a:pt x="151" y="0"/>
                  </a:cubicBezTo>
                  <a:cubicBezTo>
                    <a:pt x="236" y="0"/>
                    <a:pt x="302" y="23"/>
                    <a:pt x="302" y="52"/>
                  </a:cubicBezTo>
                  <a:cubicBezTo>
                    <a:pt x="302" y="81"/>
                    <a:pt x="236" y="104"/>
                    <a:pt x="151" y="104"/>
                  </a:cubicBezTo>
                  <a:close/>
                  <a:moveTo>
                    <a:pt x="151" y="7"/>
                  </a:moveTo>
                  <a:cubicBezTo>
                    <a:pt x="65" y="7"/>
                    <a:pt x="7" y="30"/>
                    <a:pt x="7" y="52"/>
                  </a:cubicBezTo>
                  <a:cubicBezTo>
                    <a:pt x="7" y="73"/>
                    <a:pt x="65" y="96"/>
                    <a:pt x="151" y="96"/>
                  </a:cubicBezTo>
                  <a:cubicBezTo>
                    <a:pt x="237" y="96"/>
                    <a:pt x="295" y="73"/>
                    <a:pt x="295" y="52"/>
                  </a:cubicBezTo>
                  <a:cubicBezTo>
                    <a:pt x="295" y="30"/>
                    <a:pt x="237" y="7"/>
                    <a:pt x="151"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TextBox 100"/>
            <p:cNvSpPr txBox="1"/>
            <p:nvPr/>
          </p:nvSpPr>
          <p:spPr>
            <a:xfrm>
              <a:off x="5838329" y="4485720"/>
              <a:ext cx="587020" cy="207749"/>
            </a:xfrm>
            <a:prstGeom prst="rect">
              <a:avLst/>
            </a:prstGeom>
            <a:noFill/>
          </p:spPr>
          <p:txBody>
            <a:bodyPr wrap="none" rtlCol="0" anchor="b" anchorCtr="0">
              <a:spAutoFit/>
            </a:bodyPr>
            <a:lstStyle/>
            <a:p>
              <a:pPr algn="ctr">
                <a:spcBef>
                  <a:spcPts val="1800"/>
                </a:spcBef>
              </a:pPr>
              <a:r>
                <a:rPr lang="en-US" sz="750" dirty="0">
                  <a:solidFill>
                    <a:srgbClr val="004990"/>
                  </a:solidFill>
                </a:rPr>
                <a:t>Backhaul</a:t>
              </a:r>
            </a:p>
          </p:txBody>
        </p:sp>
        <p:cxnSp>
          <p:nvCxnSpPr>
            <p:cNvPr id="108" name="Straight Connector 107"/>
            <p:cNvCxnSpPr/>
            <p:nvPr/>
          </p:nvCxnSpPr>
          <p:spPr>
            <a:xfrm>
              <a:off x="6128174" y="4249471"/>
              <a:ext cx="0" cy="253181"/>
            </a:xfrm>
            <a:prstGeom prst="line">
              <a:avLst/>
            </a:prstGeom>
            <a:ln w="12700" cap="rnd">
              <a:solidFill>
                <a:srgbClr val="004BAF"/>
              </a:solidFill>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7347782" y="4383368"/>
            <a:ext cx="1067921" cy="348201"/>
            <a:chOff x="7051885" y="4345268"/>
            <a:chExt cx="1067921" cy="348201"/>
          </a:xfrm>
        </p:grpSpPr>
        <p:sp>
          <p:nvSpPr>
            <p:cNvPr id="102" name="TextBox 101"/>
            <p:cNvSpPr txBox="1"/>
            <p:nvPr/>
          </p:nvSpPr>
          <p:spPr>
            <a:xfrm>
              <a:off x="7051885" y="4485720"/>
              <a:ext cx="1067921" cy="207749"/>
            </a:xfrm>
            <a:prstGeom prst="rect">
              <a:avLst/>
            </a:prstGeom>
            <a:noFill/>
          </p:spPr>
          <p:txBody>
            <a:bodyPr wrap="none" rtlCol="0" anchor="b" anchorCtr="0">
              <a:spAutoFit/>
            </a:bodyPr>
            <a:lstStyle/>
            <a:p>
              <a:pPr algn="ctr">
                <a:spcBef>
                  <a:spcPts val="1800"/>
                </a:spcBef>
              </a:pPr>
              <a:r>
                <a:rPr lang="en-US" sz="750" dirty="0">
                  <a:solidFill>
                    <a:srgbClr val="004990"/>
                  </a:solidFill>
                </a:rPr>
                <a:t>Central Data Center</a:t>
              </a:r>
            </a:p>
          </p:txBody>
        </p:sp>
        <p:cxnSp>
          <p:nvCxnSpPr>
            <p:cNvPr id="109" name="Straight Connector 108"/>
            <p:cNvCxnSpPr/>
            <p:nvPr/>
          </p:nvCxnSpPr>
          <p:spPr>
            <a:xfrm>
              <a:off x="7585845" y="4345268"/>
              <a:ext cx="1" cy="157384"/>
            </a:xfrm>
            <a:prstGeom prst="line">
              <a:avLst/>
            </a:prstGeom>
            <a:ln w="12700" cap="rnd">
              <a:solidFill>
                <a:srgbClr val="004BAF"/>
              </a:solidFill>
            </a:ln>
          </p:spPr>
          <p:style>
            <a:lnRef idx="1">
              <a:schemeClr val="accent1"/>
            </a:lnRef>
            <a:fillRef idx="0">
              <a:schemeClr val="accent1"/>
            </a:fillRef>
            <a:effectRef idx="0">
              <a:schemeClr val="accent1"/>
            </a:effectRef>
            <a:fontRef idx="minor">
              <a:schemeClr val="tx1"/>
            </a:fontRef>
          </p:style>
        </p:cxnSp>
      </p:grpSp>
      <p:cxnSp>
        <p:nvCxnSpPr>
          <p:cNvPr id="110" name="Straight Connector 109"/>
          <p:cNvCxnSpPr/>
          <p:nvPr/>
        </p:nvCxnSpPr>
        <p:spPr>
          <a:xfrm flipH="1">
            <a:off x="7057233" y="3257803"/>
            <a:ext cx="604972" cy="0"/>
          </a:xfrm>
          <a:prstGeom prst="line">
            <a:avLst/>
          </a:prstGeom>
          <a:ln w="12700" cap="rnd">
            <a:solidFill>
              <a:srgbClr val="004BAF"/>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H="1" flipV="1">
            <a:off x="4922693" y="2703881"/>
            <a:ext cx="1" cy="436865"/>
          </a:xfrm>
          <a:prstGeom prst="line">
            <a:avLst/>
          </a:prstGeom>
          <a:ln w="25400" cap="sq">
            <a:solidFill>
              <a:srgbClr val="00AD0B"/>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H="1" flipV="1">
            <a:off x="4922695" y="2703883"/>
            <a:ext cx="2041941" cy="1274171"/>
          </a:xfrm>
          <a:prstGeom prst="line">
            <a:avLst/>
          </a:prstGeom>
          <a:ln w="25400" cap="sq">
            <a:solidFill>
              <a:srgbClr val="00AD0B"/>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H="1" flipV="1">
            <a:off x="4922694" y="2703882"/>
            <a:ext cx="1508685" cy="1237378"/>
          </a:xfrm>
          <a:prstGeom prst="line">
            <a:avLst/>
          </a:prstGeom>
          <a:ln w="25400" cap="sq">
            <a:solidFill>
              <a:srgbClr val="00AD0B"/>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V="1">
            <a:off x="6177351" y="2100333"/>
            <a:ext cx="1270644" cy="0"/>
          </a:xfrm>
          <a:prstGeom prst="line">
            <a:avLst/>
          </a:prstGeom>
          <a:ln w="25400" cap="sq">
            <a:solidFill>
              <a:srgbClr val="00AD0B"/>
            </a:solidFill>
            <a:prstDash val="dash"/>
          </a:ln>
        </p:spPr>
        <p:style>
          <a:lnRef idx="1">
            <a:schemeClr val="accent1"/>
          </a:lnRef>
          <a:fillRef idx="0">
            <a:schemeClr val="accent1"/>
          </a:fillRef>
          <a:effectRef idx="0">
            <a:schemeClr val="accent1"/>
          </a:effectRef>
          <a:fontRef idx="minor">
            <a:schemeClr val="tx1"/>
          </a:fontRef>
        </p:style>
      </p:cxnSp>
      <p:sp>
        <p:nvSpPr>
          <p:cNvPr id="116" name="TextBox 115"/>
          <p:cNvSpPr txBox="1"/>
          <p:nvPr/>
        </p:nvSpPr>
        <p:spPr>
          <a:xfrm>
            <a:off x="4526591" y="3140746"/>
            <a:ext cx="792205" cy="323165"/>
          </a:xfrm>
          <a:prstGeom prst="rect">
            <a:avLst/>
          </a:prstGeom>
          <a:noFill/>
        </p:spPr>
        <p:txBody>
          <a:bodyPr wrap="none" rtlCol="0" anchor="ctr" anchorCtr="0">
            <a:spAutoFit/>
          </a:bodyPr>
          <a:lstStyle/>
          <a:p>
            <a:pPr algn="ctr">
              <a:spcBef>
                <a:spcPts val="1800"/>
              </a:spcBef>
            </a:pPr>
            <a:r>
              <a:rPr lang="en-US" sz="750" dirty="0">
                <a:solidFill>
                  <a:srgbClr val="004990"/>
                </a:solidFill>
              </a:rPr>
              <a:t>User Plane/</a:t>
            </a:r>
            <a:br>
              <a:rPr lang="en-US" sz="750" dirty="0">
                <a:solidFill>
                  <a:srgbClr val="004990"/>
                </a:solidFill>
              </a:rPr>
            </a:br>
            <a:r>
              <a:rPr lang="en-US" sz="750" dirty="0">
                <a:solidFill>
                  <a:srgbClr val="004990"/>
                </a:solidFill>
              </a:rPr>
              <a:t>Service </a:t>
            </a:r>
            <a:r>
              <a:rPr lang="en-US" sz="750" dirty="0" err="1">
                <a:solidFill>
                  <a:srgbClr val="004990"/>
                </a:solidFill>
              </a:rPr>
              <a:t>Func</a:t>
            </a:r>
            <a:r>
              <a:rPr lang="en-US" sz="750" dirty="0">
                <a:solidFill>
                  <a:srgbClr val="004990"/>
                </a:solidFill>
              </a:rPr>
              <a:t>.</a:t>
            </a:r>
          </a:p>
        </p:txBody>
      </p:sp>
      <p:cxnSp>
        <p:nvCxnSpPr>
          <p:cNvPr id="117" name="Straight Connector 116"/>
          <p:cNvCxnSpPr/>
          <p:nvPr/>
        </p:nvCxnSpPr>
        <p:spPr>
          <a:xfrm flipH="1">
            <a:off x="5304509" y="2219325"/>
            <a:ext cx="2133551" cy="1068716"/>
          </a:xfrm>
          <a:prstGeom prst="line">
            <a:avLst/>
          </a:prstGeom>
          <a:ln w="25400" cap="sq">
            <a:solidFill>
              <a:srgbClr val="049FD9"/>
            </a:solidFill>
            <a:prstDash val="dash"/>
          </a:ln>
        </p:spPr>
        <p:style>
          <a:lnRef idx="1">
            <a:schemeClr val="accent1"/>
          </a:lnRef>
          <a:fillRef idx="0">
            <a:schemeClr val="accent1"/>
          </a:fillRef>
          <a:effectRef idx="0">
            <a:schemeClr val="accent1"/>
          </a:effectRef>
          <a:fontRef idx="minor">
            <a:schemeClr val="tx1"/>
          </a:fontRef>
        </p:style>
      </p:cxnSp>
      <p:grpSp>
        <p:nvGrpSpPr>
          <p:cNvPr id="118" name="Group 117"/>
          <p:cNvGrpSpPr/>
          <p:nvPr/>
        </p:nvGrpSpPr>
        <p:grpSpPr>
          <a:xfrm>
            <a:off x="3707130" y="1120621"/>
            <a:ext cx="2470221" cy="1592837"/>
            <a:chOff x="6578377" y="1180064"/>
            <a:chExt cx="1691597" cy="1090768"/>
          </a:xfrm>
        </p:grpSpPr>
        <p:sp>
          <p:nvSpPr>
            <p:cNvPr id="119" name="Freeform 191"/>
            <p:cNvSpPr>
              <a:spLocks/>
            </p:cNvSpPr>
            <p:nvPr/>
          </p:nvSpPr>
          <p:spPr bwMode="auto">
            <a:xfrm>
              <a:off x="6578377" y="1180064"/>
              <a:ext cx="1691597" cy="1090768"/>
            </a:xfrm>
            <a:custGeom>
              <a:avLst/>
              <a:gdLst>
                <a:gd name="T0" fmla="*/ 514 w 1421"/>
                <a:gd name="T1" fmla="*/ 187 h 916"/>
                <a:gd name="T2" fmla="*/ 401 w 1421"/>
                <a:gd name="T3" fmla="*/ 134 h 916"/>
                <a:gd name="T4" fmla="*/ 254 w 1421"/>
                <a:gd name="T5" fmla="*/ 281 h 916"/>
                <a:gd name="T6" fmla="*/ 269 w 1421"/>
                <a:gd name="T7" fmla="*/ 344 h 916"/>
                <a:gd name="T8" fmla="*/ 0 w 1421"/>
                <a:gd name="T9" fmla="*/ 630 h 916"/>
                <a:gd name="T10" fmla="*/ 286 w 1421"/>
                <a:gd name="T11" fmla="*/ 916 h 916"/>
                <a:gd name="T12" fmla="*/ 1122 w 1421"/>
                <a:gd name="T13" fmla="*/ 916 h 916"/>
                <a:gd name="T14" fmla="*/ 1421 w 1421"/>
                <a:gd name="T15" fmla="*/ 617 h 916"/>
                <a:gd name="T16" fmla="*/ 1122 w 1421"/>
                <a:gd name="T17" fmla="*/ 317 h 916"/>
                <a:gd name="T18" fmla="*/ 1122 w 1421"/>
                <a:gd name="T19" fmla="*/ 317 h 916"/>
                <a:gd name="T20" fmla="*/ 804 w 1421"/>
                <a:gd name="T21" fmla="*/ 0 h 916"/>
                <a:gd name="T22" fmla="*/ 514 w 1421"/>
                <a:gd name="T23" fmla="*/ 187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1" h="916">
                  <a:moveTo>
                    <a:pt x="514" y="187"/>
                  </a:moveTo>
                  <a:cubicBezTo>
                    <a:pt x="487" y="155"/>
                    <a:pt x="446" y="134"/>
                    <a:pt x="401" y="134"/>
                  </a:cubicBezTo>
                  <a:cubicBezTo>
                    <a:pt x="320" y="134"/>
                    <a:pt x="254" y="200"/>
                    <a:pt x="254" y="281"/>
                  </a:cubicBezTo>
                  <a:cubicBezTo>
                    <a:pt x="254" y="304"/>
                    <a:pt x="260" y="325"/>
                    <a:pt x="269" y="344"/>
                  </a:cubicBezTo>
                  <a:cubicBezTo>
                    <a:pt x="119" y="353"/>
                    <a:pt x="0" y="478"/>
                    <a:pt x="0" y="630"/>
                  </a:cubicBezTo>
                  <a:cubicBezTo>
                    <a:pt x="0" y="788"/>
                    <a:pt x="128" y="916"/>
                    <a:pt x="286" y="916"/>
                  </a:cubicBezTo>
                  <a:cubicBezTo>
                    <a:pt x="1122" y="916"/>
                    <a:pt x="1122" y="916"/>
                    <a:pt x="1122" y="916"/>
                  </a:cubicBezTo>
                  <a:cubicBezTo>
                    <a:pt x="1287" y="916"/>
                    <a:pt x="1421" y="782"/>
                    <a:pt x="1421" y="617"/>
                  </a:cubicBezTo>
                  <a:cubicBezTo>
                    <a:pt x="1421" y="451"/>
                    <a:pt x="1287" y="317"/>
                    <a:pt x="1122" y="317"/>
                  </a:cubicBezTo>
                  <a:cubicBezTo>
                    <a:pt x="1122" y="317"/>
                    <a:pt x="1122" y="317"/>
                    <a:pt x="1122" y="317"/>
                  </a:cubicBezTo>
                  <a:cubicBezTo>
                    <a:pt x="1122" y="142"/>
                    <a:pt x="979" y="0"/>
                    <a:pt x="804" y="0"/>
                  </a:cubicBezTo>
                  <a:cubicBezTo>
                    <a:pt x="675" y="0"/>
                    <a:pt x="564" y="77"/>
                    <a:pt x="514" y="187"/>
                  </a:cubicBezTo>
                </a:path>
              </a:pathLst>
            </a:custGeom>
            <a:gradFill>
              <a:gsLst>
                <a:gs pos="50000">
                  <a:srgbClr val="097DBC"/>
                </a:gs>
                <a:gs pos="0">
                  <a:srgbClr val="004BAF"/>
                </a:gs>
                <a:gs pos="100000">
                  <a:schemeClr val="accent1"/>
                </a:gs>
              </a:gsLst>
              <a:lin ang="16200000" scaled="1"/>
            </a:gra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
            </a:p>
          </p:txBody>
        </p:sp>
        <p:grpSp>
          <p:nvGrpSpPr>
            <p:cNvPr id="120" name="Group 119"/>
            <p:cNvGrpSpPr/>
            <p:nvPr/>
          </p:nvGrpSpPr>
          <p:grpSpPr>
            <a:xfrm>
              <a:off x="7209450" y="1587337"/>
              <a:ext cx="429956" cy="429452"/>
              <a:chOff x="7209450" y="1587337"/>
              <a:chExt cx="429956" cy="429452"/>
            </a:xfrm>
          </p:grpSpPr>
          <p:sp>
            <p:nvSpPr>
              <p:cNvPr id="125" name="Oval 194"/>
              <p:cNvSpPr>
                <a:spLocks noChangeArrowheads="1"/>
              </p:cNvSpPr>
              <p:nvPr/>
            </p:nvSpPr>
            <p:spPr bwMode="auto">
              <a:xfrm>
                <a:off x="7209450" y="1587337"/>
                <a:ext cx="429956" cy="42945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nvGrpSpPr>
              <p:cNvPr id="126" name="Group 125"/>
              <p:cNvGrpSpPr/>
              <p:nvPr/>
            </p:nvGrpSpPr>
            <p:grpSpPr>
              <a:xfrm>
                <a:off x="7274977" y="1690668"/>
                <a:ext cx="303439" cy="241944"/>
                <a:chOff x="7274977" y="1690668"/>
                <a:chExt cx="303439" cy="241944"/>
              </a:xfrm>
            </p:grpSpPr>
            <p:sp>
              <p:nvSpPr>
                <p:cNvPr id="127" name="Freeform 195"/>
                <p:cNvSpPr>
                  <a:spLocks noEditPoints="1"/>
                </p:cNvSpPr>
                <p:nvPr/>
              </p:nvSpPr>
              <p:spPr bwMode="auto">
                <a:xfrm>
                  <a:off x="7292618" y="1708814"/>
                  <a:ext cx="22682" cy="22178"/>
                </a:xfrm>
                <a:custGeom>
                  <a:avLst/>
                  <a:gdLst>
                    <a:gd name="T0" fmla="*/ 9 w 19"/>
                    <a:gd name="T1" fmla="*/ 0 h 19"/>
                    <a:gd name="T2" fmla="*/ 0 w 19"/>
                    <a:gd name="T3" fmla="*/ 9 h 19"/>
                    <a:gd name="T4" fmla="*/ 9 w 19"/>
                    <a:gd name="T5" fmla="*/ 19 h 19"/>
                    <a:gd name="T6" fmla="*/ 19 w 19"/>
                    <a:gd name="T7" fmla="*/ 9 h 19"/>
                    <a:gd name="T8" fmla="*/ 9 w 19"/>
                    <a:gd name="T9" fmla="*/ 0 h 19"/>
                    <a:gd name="T10" fmla="*/ 9 w 19"/>
                    <a:gd name="T11" fmla="*/ 14 h 19"/>
                    <a:gd name="T12" fmla="*/ 4 w 19"/>
                    <a:gd name="T13" fmla="*/ 9 h 19"/>
                    <a:gd name="T14" fmla="*/ 9 w 19"/>
                    <a:gd name="T15" fmla="*/ 4 h 19"/>
                    <a:gd name="T16" fmla="*/ 14 w 19"/>
                    <a:gd name="T17" fmla="*/ 9 h 19"/>
                    <a:gd name="T18" fmla="*/ 9 w 19"/>
                    <a:gd name="T19"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9" y="0"/>
                      </a:moveTo>
                      <a:cubicBezTo>
                        <a:pt x="4" y="0"/>
                        <a:pt x="0" y="4"/>
                        <a:pt x="0" y="9"/>
                      </a:cubicBezTo>
                      <a:cubicBezTo>
                        <a:pt x="0" y="14"/>
                        <a:pt x="4" y="19"/>
                        <a:pt x="9" y="19"/>
                      </a:cubicBezTo>
                      <a:cubicBezTo>
                        <a:pt x="14" y="19"/>
                        <a:pt x="19" y="14"/>
                        <a:pt x="19" y="9"/>
                      </a:cubicBezTo>
                      <a:cubicBezTo>
                        <a:pt x="19" y="4"/>
                        <a:pt x="14" y="0"/>
                        <a:pt x="9" y="0"/>
                      </a:cubicBezTo>
                      <a:moveTo>
                        <a:pt x="9" y="14"/>
                      </a:moveTo>
                      <a:cubicBezTo>
                        <a:pt x="6" y="14"/>
                        <a:pt x="4" y="12"/>
                        <a:pt x="4" y="9"/>
                      </a:cubicBezTo>
                      <a:cubicBezTo>
                        <a:pt x="4" y="6"/>
                        <a:pt x="6" y="4"/>
                        <a:pt x="9" y="4"/>
                      </a:cubicBezTo>
                      <a:cubicBezTo>
                        <a:pt x="12" y="4"/>
                        <a:pt x="14" y="6"/>
                        <a:pt x="14" y="9"/>
                      </a:cubicBezTo>
                      <a:cubicBezTo>
                        <a:pt x="14" y="12"/>
                        <a:pt x="12" y="14"/>
                        <a:pt x="9" y="14"/>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28" name="Freeform 196"/>
                <p:cNvSpPr>
                  <a:spLocks noEditPoints="1"/>
                </p:cNvSpPr>
                <p:nvPr/>
              </p:nvSpPr>
              <p:spPr bwMode="auto">
                <a:xfrm>
                  <a:off x="7290098" y="1706293"/>
                  <a:ext cx="27723" cy="27219"/>
                </a:xfrm>
                <a:custGeom>
                  <a:avLst/>
                  <a:gdLst>
                    <a:gd name="T0" fmla="*/ 11 w 23"/>
                    <a:gd name="T1" fmla="*/ 23 h 23"/>
                    <a:gd name="T2" fmla="*/ 0 w 23"/>
                    <a:gd name="T3" fmla="*/ 11 h 23"/>
                    <a:gd name="T4" fmla="*/ 11 w 23"/>
                    <a:gd name="T5" fmla="*/ 0 h 23"/>
                    <a:gd name="T6" fmla="*/ 23 w 23"/>
                    <a:gd name="T7" fmla="*/ 11 h 23"/>
                    <a:gd name="T8" fmla="*/ 11 w 23"/>
                    <a:gd name="T9" fmla="*/ 23 h 23"/>
                    <a:gd name="T10" fmla="*/ 11 w 23"/>
                    <a:gd name="T11" fmla="*/ 4 h 23"/>
                    <a:gd name="T12" fmla="*/ 3 w 23"/>
                    <a:gd name="T13" fmla="*/ 11 h 23"/>
                    <a:gd name="T14" fmla="*/ 11 w 23"/>
                    <a:gd name="T15" fmla="*/ 19 h 23"/>
                    <a:gd name="T16" fmla="*/ 19 w 23"/>
                    <a:gd name="T17" fmla="*/ 11 h 23"/>
                    <a:gd name="T18" fmla="*/ 11 w 23"/>
                    <a:gd name="T19" fmla="*/ 4 h 23"/>
                    <a:gd name="T20" fmla="*/ 11 w 23"/>
                    <a:gd name="T21" fmla="*/ 18 h 23"/>
                    <a:gd name="T22" fmla="*/ 4 w 23"/>
                    <a:gd name="T23" fmla="*/ 11 h 23"/>
                    <a:gd name="T24" fmla="*/ 11 w 23"/>
                    <a:gd name="T25" fmla="*/ 4 h 23"/>
                    <a:gd name="T26" fmla="*/ 18 w 23"/>
                    <a:gd name="T27" fmla="*/ 11 h 23"/>
                    <a:gd name="T28" fmla="*/ 11 w 23"/>
                    <a:gd name="T29" fmla="*/ 18 h 23"/>
                    <a:gd name="T30" fmla="*/ 11 w 23"/>
                    <a:gd name="T31" fmla="*/ 8 h 23"/>
                    <a:gd name="T32" fmla="*/ 8 w 23"/>
                    <a:gd name="T33" fmla="*/ 11 h 23"/>
                    <a:gd name="T34" fmla="*/ 11 w 23"/>
                    <a:gd name="T35" fmla="*/ 15 h 23"/>
                    <a:gd name="T36" fmla="*/ 14 w 23"/>
                    <a:gd name="T37" fmla="*/ 11 h 23"/>
                    <a:gd name="T38" fmla="*/ 11 w 23"/>
                    <a:gd name="T3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23">
                      <a:moveTo>
                        <a:pt x="11" y="23"/>
                      </a:moveTo>
                      <a:cubicBezTo>
                        <a:pt x="5" y="23"/>
                        <a:pt x="0" y="18"/>
                        <a:pt x="0" y="11"/>
                      </a:cubicBezTo>
                      <a:cubicBezTo>
                        <a:pt x="0" y="5"/>
                        <a:pt x="5" y="0"/>
                        <a:pt x="11" y="0"/>
                      </a:cubicBezTo>
                      <a:cubicBezTo>
                        <a:pt x="17" y="0"/>
                        <a:pt x="23" y="5"/>
                        <a:pt x="23" y="11"/>
                      </a:cubicBezTo>
                      <a:cubicBezTo>
                        <a:pt x="23" y="18"/>
                        <a:pt x="17" y="23"/>
                        <a:pt x="11" y="23"/>
                      </a:cubicBezTo>
                      <a:moveTo>
                        <a:pt x="11" y="4"/>
                      </a:moveTo>
                      <a:cubicBezTo>
                        <a:pt x="7" y="4"/>
                        <a:pt x="3" y="7"/>
                        <a:pt x="3" y="11"/>
                      </a:cubicBezTo>
                      <a:cubicBezTo>
                        <a:pt x="3" y="15"/>
                        <a:pt x="7" y="19"/>
                        <a:pt x="11" y="19"/>
                      </a:cubicBezTo>
                      <a:cubicBezTo>
                        <a:pt x="15" y="19"/>
                        <a:pt x="19" y="15"/>
                        <a:pt x="19" y="11"/>
                      </a:cubicBezTo>
                      <a:cubicBezTo>
                        <a:pt x="19" y="7"/>
                        <a:pt x="15" y="4"/>
                        <a:pt x="11" y="4"/>
                      </a:cubicBezTo>
                      <a:moveTo>
                        <a:pt x="11" y="18"/>
                      </a:moveTo>
                      <a:cubicBezTo>
                        <a:pt x="7" y="18"/>
                        <a:pt x="4" y="15"/>
                        <a:pt x="4" y="11"/>
                      </a:cubicBezTo>
                      <a:cubicBezTo>
                        <a:pt x="4" y="7"/>
                        <a:pt x="7" y="4"/>
                        <a:pt x="11" y="4"/>
                      </a:cubicBezTo>
                      <a:cubicBezTo>
                        <a:pt x="15" y="4"/>
                        <a:pt x="18" y="7"/>
                        <a:pt x="18" y="11"/>
                      </a:cubicBezTo>
                      <a:cubicBezTo>
                        <a:pt x="18" y="15"/>
                        <a:pt x="15" y="18"/>
                        <a:pt x="11" y="18"/>
                      </a:cubicBezTo>
                      <a:moveTo>
                        <a:pt x="11" y="8"/>
                      </a:moveTo>
                      <a:cubicBezTo>
                        <a:pt x="9" y="8"/>
                        <a:pt x="8" y="9"/>
                        <a:pt x="8" y="11"/>
                      </a:cubicBezTo>
                      <a:cubicBezTo>
                        <a:pt x="8" y="13"/>
                        <a:pt x="9" y="15"/>
                        <a:pt x="11" y="15"/>
                      </a:cubicBezTo>
                      <a:cubicBezTo>
                        <a:pt x="13" y="15"/>
                        <a:pt x="14" y="13"/>
                        <a:pt x="14" y="11"/>
                      </a:cubicBezTo>
                      <a:cubicBezTo>
                        <a:pt x="14" y="9"/>
                        <a:pt x="13" y="8"/>
                        <a:pt x="11" y="8"/>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29" name="Freeform 197"/>
                <p:cNvSpPr>
                  <a:spLocks noEditPoints="1"/>
                </p:cNvSpPr>
                <p:nvPr/>
              </p:nvSpPr>
              <p:spPr bwMode="auto">
                <a:xfrm>
                  <a:off x="7276993" y="1693188"/>
                  <a:ext cx="151215" cy="148695"/>
                </a:xfrm>
                <a:custGeom>
                  <a:avLst/>
                  <a:gdLst>
                    <a:gd name="T0" fmla="*/ 127 w 127"/>
                    <a:gd name="T1" fmla="*/ 35 h 125"/>
                    <a:gd name="T2" fmla="*/ 127 w 127"/>
                    <a:gd name="T3" fmla="*/ 10 h 125"/>
                    <a:gd name="T4" fmla="*/ 117 w 127"/>
                    <a:gd name="T5" fmla="*/ 0 h 125"/>
                    <a:gd name="T6" fmla="*/ 10 w 127"/>
                    <a:gd name="T7" fmla="*/ 0 h 125"/>
                    <a:gd name="T8" fmla="*/ 0 w 127"/>
                    <a:gd name="T9" fmla="*/ 10 h 125"/>
                    <a:gd name="T10" fmla="*/ 0 w 127"/>
                    <a:gd name="T11" fmla="*/ 35 h 125"/>
                    <a:gd name="T12" fmla="*/ 4 w 127"/>
                    <a:gd name="T13" fmla="*/ 42 h 125"/>
                    <a:gd name="T14" fmla="*/ 0 w 127"/>
                    <a:gd name="T15" fmla="*/ 50 h 125"/>
                    <a:gd name="T16" fmla="*/ 0 w 127"/>
                    <a:gd name="T17" fmla="*/ 75 h 125"/>
                    <a:gd name="T18" fmla="*/ 4 w 127"/>
                    <a:gd name="T19" fmla="*/ 83 h 125"/>
                    <a:gd name="T20" fmla="*/ 0 w 127"/>
                    <a:gd name="T21" fmla="*/ 90 h 125"/>
                    <a:gd name="T22" fmla="*/ 0 w 127"/>
                    <a:gd name="T23" fmla="*/ 115 h 125"/>
                    <a:gd name="T24" fmla="*/ 10 w 127"/>
                    <a:gd name="T25" fmla="*/ 125 h 125"/>
                    <a:gd name="T26" fmla="*/ 117 w 127"/>
                    <a:gd name="T27" fmla="*/ 125 h 125"/>
                    <a:gd name="T28" fmla="*/ 127 w 127"/>
                    <a:gd name="T29" fmla="*/ 115 h 125"/>
                    <a:gd name="T30" fmla="*/ 127 w 127"/>
                    <a:gd name="T31" fmla="*/ 90 h 125"/>
                    <a:gd name="T32" fmla="*/ 124 w 127"/>
                    <a:gd name="T33" fmla="*/ 83 h 125"/>
                    <a:gd name="T34" fmla="*/ 127 w 127"/>
                    <a:gd name="T35" fmla="*/ 75 h 125"/>
                    <a:gd name="T36" fmla="*/ 127 w 127"/>
                    <a:gd name="T37" fmla="*/ 50 h 125"/>
                    <a:gd name="T38" fmla="*/ 124 w 127"/>
                    <a:gd name="T39" fmla="*/ 42 h 125"/>
                    <a:gd name="T40" fmla="*/ 127 w 127"/>
                    <a:gd name="T41" fmla="*/ 35 h 125"/>
                    <a:gd name="T42" fmla="*/ 123 w 127"/>
                    <a:gd name="T43" fmla="*/ 90 h 125"/>
                    <a:gd name="T44" fmla="*/ 123 w 127"/>
                    <a:gd name="T45" fmla="*/ 115 h 125"/>
                    <a:gd name="T46" fmla="*/ 117 w 127"/>
                    <a:gd name="T47" fmla="*/ 121 h 125"/>
                    <a:gd name="T48" fmla="*/ 10 w 127"/>
                    <a:gd name="T49" fmla="*/ 121 h 125"/>
                    <a:gd name="T50" fmla="*/ 4 w 127"/>
                    <a:gd name="T51" fmla="*/ 115 h 125"/>
                    <a:gd name="T52" fmla="*/ 4 w 127"/>
                    <a:gd name="T53" fmla="*/ 90 h 125"/>
                    <a:gd name="T54" fmla="*/ 10 w 127"/>
                    <a:gd name="T55" fmla="*/ 85 h 125"/>
                    <a:gd name="T56" fmla="*/ 117 w 127"/>
                    <a:gd name="T57" fmla="*/ 85 h 125"/>
                    <a:gd name="T58" fmla="*/ 123 w 127"/>
                    <a:gd name="T59" fmla="*/ 90 h 125"/>
                    <a:gd name="T60" fmla="*/ 123 w 127"/>
                    <a:gd name="T61" fmla="*/ 50 h 125"/>
                    <a:gd name="T62" fmla="*/ 123 w 127"/>
                    <a:gd name="T63" fmla="*/ 75 h 125"/>
                    <a:gd name="T64" fmla="*/ 117 w 127"/>
                    <a:gd name="T65" fmla="*/ 81 h 125"/>
                    <a:gd name="T66" fmla="*/ 10 w 127"/>
                    <a:gd name="T67" fmla="*/ 81 h 125"/>
                    <a:gd name="T68" fmla="*/ 4 w 127"/>
                    <a:gd name="T69" fmla="*/ 75 h 125"/>
                    <a:gd name="T70" fmla="*/ 4 w 127"/>
                    <a:gd name="T71" fmla="*/ 50 h 125"/>
                    <a:gd name="T72" fmla="*/ 10 w 127"/>
                    <a:gd name="T73" fmla="*/ 44 h 125"/>
                    <a:gd name="T74" fmla="*/ 117 w 127"/>
                    <a:gd name="T75" fmla="*/ 44 h 125"/>
                    <a:gd name="T76" fmla="*/ 123 w 127"/>
                    <a:gd name="T77" fmla="*/ 50 h 125"/>
                    <a:gd name="T78" fmla="*/ 10 w 127"/>
                    <a:gd name="T79" fmla="*/ 40 h 125"/>
                    <a:gd name="T80" fmla="*/ 4 w 127"/>
                    <a:gd name="T81" fmla="*/ 35 h 125"/>
                    <a:gd name="T82" fmla="*/ 4 w 127"/>
                    <a:gd name="T83" fmla="*/ 10 h 125"/>
                    <a:gd name="T84" fmla="*/ 10 w 127"/>
                    <a:gd name="T85" fmla="*/ 4 h 125"/>
                    <a:gd name="T86" fmla="*/ 117 w 127"/>
                    <a:gd name="T87" fmla="*/ 4 h 125"/>
                    <a:gd name="T88" fmla="*/ 123 w 127"/>
                    <a:gd name="T89" fmla="*/ 10 h 125"/>
                    <a:gd name="T90" fmla="*/ 123 w 127"/>
                    <a:gd name="T91" fmla="*/ 35 h 125"/>
                    <a:gd name="T92" fmla="*/ 117 w 127"/>
                    <a:gd name="T93" fmla="*/ 40 h 125"/>
                    <a:gd name="T94" fmla="*/ 10 w 127"/>
                    <a:gd name="T95" fmla="*/ 4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25">
                      <a:moveTo>
                        <a:pt x="127" y="35"/>
                      </a:moveTo>
                      <a:cubicBezTo>
                        <a:pt x="127" y="10"/>
                        <a:pt x="127" y="10"/>
                        <a:pt x="127" y="10"/>
                      </a:cubicBezTo>
                      <a:cubicBezTo>
                        <a:pt x="127" y="4"/>
                        <a:pt x="123" y="0"/>
                        <a:pt x="117" y="0"/>
                      </a:cubicBezTo>
                      <a:cubicBezTo>
                        <a:pt x="10" y="0"/>
                        <a:pt x="10" y="0"/>
                        <a:pt x="10" y="0"/>
                      </a:cubicBezTo>
                      <a:cubicBezTo>
                        <a:pt x="4" y="0"/>
                        <a:pt x="0" y="4"/>
                        <a:pt x="0" y="10"/>
                      </a:cubicBezTo>
                      <a:cubicBezTo>
                        <a:pt x="0" y="35"/>
                        <a:pt x="0" y="35"/>
                        <a:pt x="0" y="35"/>
                      </a:cubicBezTo>
                      <a:cubicBezTo>
                        <a:pt x="0" y="38"/>
                        <a:pt x="1" y="41"/>
                        <a:pt x="4" y="42"/>
                      </a:cubicBezTo>
                      <a:cubicBezTo>
                        <a:pt x="1" y="44"/>
                        <a:pt x="0" y="47"/>
                        <a:pt x="0" y="50"/>
                      </a:cubicBezTo>
                      <a:cubicBezTo>
                        <a:pt x="0" y="75"/>
                        <a:pt x="0" y="75"/>
                        <a:pt x="0" y="75"/>
                      </a:cubicBezTo>
                      <a:cubicBezTo>
                        <a:pt x="0" y="78"/>
                        <a:pt x="1" y="81"/>
                        <a:pt x="4" y="83"/>
                      </a:cubicBezTo>
                      <a:cubicBezTo>
                        <a:pt x="1" y="85"/>
                        <a:pt x="0" y="87"/>
                        <a:pt x="0" y="90"/>
                      </a:cubicBezTo>
                      <a:cubicBezTo>
                        <a:pt x="0" y="115"/>
                        <a:pt x="0" y="115"/>
                        <a:pt x="0" y="115"/>
                      </a:cubicBezTo>
                      <a:cubicBezTo>
                        <a:pt x="0" y="121"/>
                        <a:pt x="4" y="125"/>
                        <a:pt x="10" y="125"/>
                      </a:cubicBezTo>
                      <a:cubicBezTo>
                        <a:pt x="117" y="125"/>
                        <a:pt x="117" y="125"/>
                        <a:pt x="117" y="125"/>
                      </a:cubicBezTo>
                      <a:cubicBezTo>
                        <a:pt x="123" y="125"/>
                        <a:pt x="127" y="121"/>
                        <a:pt x="127" y="115"/>
                      </a:cubicBezTo>
                      <a:cubicBezTo>
                        <a:pt x="127" y="90"/>
                        <a:pt x="127" y="90"/>
                        <a:pt x="127" y="90"/>
                      </a:cubicBezTo>
                      <a:cubicBezTo>
                        <a:pt x="127" y="87"/>
                        <a:pt x="126" y="85"/>
                        <a:pt x="124" y="83"/>
                      </a:cubicBezTo>
                      <a:cubicBezTo>
                        <a:pt x="126" y="81"/>
                        <a:pt x="127" y="78"/>
                        <a:pt x="127" y="75"/>
                      </a:cubicBezTo>
                      <a:cubicBezTo>
                        <a:pt x="127" y="50"/>
                        <a:pt x="127" y="50"/>
                        <a:pt x="127" y="50"/>
                      </a:cubicBezTo>
                      <a:cubicBezTo>
                        <a:pt x="127" y="47"/>
                        <a:pt x="126" y="44"/>
                        <a:pt x="124" y="42"/>
                      </a:cubicBezTo>
                      <a:cubicBezTo>
                        <a:pt x="126" y="41"/>
                        <a:pt x="127" y="38"/>
                        <a:pt x="127" y="35"/>
                      </a:cubicBezTo>
                      <a:moveTo>
                        <a:pt x="123" y="90"/>
                      </a:moveTo>
                      <a:cubicBezTo>
                        <a:pt x="123" y="115"/>
                        <a:pt x="123" y="115"/>
                        <a:pt x="123" y="115"/>
                      </a:cubicBezTo>
                      <a:cubicBezTo>
                        <a:pt x="123" y="118"/>
                        <a:pt x="121" y="121"/>
                        <a:pt x="117" y="121"/>
                      </a:cubicBezTo>
                      <a:cubicBezTo>
                        <a:pt x="10" y="121"/>
                        <a:pt x="10" y="121"/>
                        <a:pt x="10" y="121"/>
                      </a:cubicBezTo>
                      <a:cubicBezTo>
                        <a:pt x="7" y="121"/>
                        <a:pt x="4" y="118"/>
                        <a:pt x="4" y="115"/>
                      </a:cubicBezTo>
                      <a:cubicBezTo>
                        <a:pt x="4" y="90"/>
                        <a:pt x="4" y="90"/>
                        <a:pt x="4" y="90"/>
                      </a:cubicBezTo>
                      <a:cubicBezTo>
                        <a:pt x="4" y="87"/>
                        <a:pt x="7" y="85"/>
                        <a:pt x="10" y="85"/>
                      </a:cubicBezTo>
                      <a:cubicBezTo>
                        <a:pt x="117" y="85"/>
                        <a:pt x="117" y="85"/>
                        <a:pt x="117" y="85"/>
                      </a:cubicBezTo>
                      <a:cubicBezTo>
                        <a:pt x="121" y="85"/>
                        <a:pt x="123" y="87"/>
                        <a:pt x="123" y="90"/>
                      </a:cubicBezTo>
                      <a:moveTo>
                        <a:pt x="123" y="50"/>
                      </a:moveTo>
                      <a:cubicBezTo>
                        <a:pt x="123" y="75"/>
                        <a:pt x="123" y="75"/>
                        <a:pt x="123" y="75"/>
                      </a:cubicBezTo>
                      <a:cubicBezTo>
                        <a:pt x="123" y="78"/>
                        <a:pt x="121" y="81"/>
                        <a:pt x="117" y="81"/>
                      </a:cubicBezTo>
                      <a:cubicBezTo>
                        <a:pt x="10" y="81"/>
                        <a:pt x="10" y="81"/>
                        <a:pt x="10" y="81"/>
                      </a:cubicBezTo>
                      <a:cubicBezTo>
                        <a:pt x="7" y="81"/>
                        <a:pt x="4" y="78"/>
                        <a:pt x="4" y="75"/>
                      </a:cubicBezTo>
                      <a:cubicBezTo>
                        <a:pt x="4" y="50"/>
                        <a:pt x="4" y="50"/>
                        <a:pt x="4" y="50"/>
                      </a:cubicBezTo>
                      <a:cubicBezTo>
                        <a:pt x="4" y="47"/>
                        <a:pt x="7" y="44"/>
                        <a:pt x="10" y="44"/>
                      </a:cubicBezTo>
                      <a:cubicBezTo>
                        <a:pt x="117" y="44"/>
                        <a:pt x="117" y="44"/>
                        <a:pt x="117" y="44"/>
                      </a:cubicBezTo>
                      <a:cubicBezTo>
                        <a:pt x="121" y="44"/>
                        <a:pt x="123" y="47"/>
                        <a:pt x="123" y="50"/>
                      </a:cubicBezTo>
                      <a:moveTo>
                        <a:pt x="10" y="40"/>
                      </a:moveTo>
                      <a:cubicBezTo>
                        <a:pt x="7" y="40"/>
                        <a:pt x="4" y="38"/>
                        <a:pt x="4" y="35"/>
                      </a:cubicBezTo>
                      <a:cubicBezTo>
                        <a:pt x="4" y="10"/>
                        <a:pt x="4" y="10"/>
                        <a:pt x="4" y="10"/>
                      </a:cubicBezTo>
                      <a:cubicBezTo>
                        <a:pt x="4" y="7"/>
                        <a:pt x="7" y="4"/>
                        <a:pt x="10" y="4"/>
                      </a:cubicBezTo>
                      <a:cubicBezTo>
                        <a:pt x="117" y="4"/>
                        <a:pt x="117" y="4"/>
                        <a:pt x="117" y="4"/>
                      </a:cubicBezTo>
                      <a:cubicBezTo>
                        <a:pt x="121" y="4"/>
                        <a:pt x="123" y="7"/>
                        <a:pt x="123" y="10"/>
                      </a:cubicBezTo>
                      <a:cubicBezTo>
                        <a:pt x="123" y="35"/>
                        <a:pt x="123" y="35"/>
                        <a:pt x="123" y="35"/>
                      </a:cubicBezTo>
                      <a:cubicBezTo>
                        <a:pt x="123" y="38"/>
                        <a:pt x="121" y="40"/>
                        <a:pt x="117" y="40"/>
                      </a:cubicBezTo>
                      <a:lnTo>
                        <a:pt x="10" y="40"/>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30" name="Freeform 198"/>
                <p:cNvSpPr>
                  <a:spLocks noEditPoints="1"/>
                </p:cNvSpPr>
                <p:nvPr/>
              </p:nvSpPr>
              <p:spPr bwMode="auto">
                <a:xfrm>
                  <a:off x="7274977" y="1690668"/>
                  <a:ext cx="155752" cy="153736"/>
                </a:xfrm>
                <a:custGeom>
                  <a:avLst/>
                  <a:gdLst>
                    <a:gd name="T0" fmla="*/ 12 w 131"/>
                    <a:gd name="T1" fmla="*/ 129 h 129"/>
                    <a:gd name="T2" fmla="*/ 0 w 131"/>
                    <a:gd name="T3" fmla="*/ 92 h 129"/>
                    <a:gd name="T4" fmla="*/ 0 w 131"/>
                    <a:gd name="T5" fmla="*/ 77 h 129"/>
                    <a:gd name="T6" fmla="*/ 3 w 131"/>
                    <a:gd name="T7" fmla="*/ 44 h 129"/>
                    <a:gd name="T8" fmla="*/ 0 w 131"/>
                    <a:gd name="T9" fmla="*/ 12 h 129"/>
                    <a:gd name="T10" fmla="*/ 119 w 131"/>
                    <a:gd name="T11" fmla="*/ 0 h 129"/>
                    <a:gd name="T12" fmla="*/ 131 w 131"/>
                    <a:gd name="T13" fmla="*/ 37 h 129"/>
                    <a:gd name="T14" fmla="*/ 131 w 131"/>
                    <a:gd name="T15" fmla="*/ 52 h 129"/>
                    <a:gd name="T16" fmla="*/ 128 w 131"/>
                    <a:gd name="T17" fmla="*/ 85 h 129"/>
                    <a:gd name="T18" fmla="*/ 131 w 131"/>
                    <a:gd name="T19" fmla="*/ 117 h 129"/>
                    <a:gd name="T20" fmla="*/ 12 w 131"/>
                    <a:gd name="T21" fmla="*/ 4 h 129"/>
                    <a:gd name="T22" fmla="*/ 4 w 131"/>
                    <a:gd name="T23" fmla="*/ 37 h 129"/>
                    <a:gd name="T24" fmla="*/ 9 w 131"/>
                    <a:gd name="T25" fmla="*/ 44 h 129"/>
                    <a:gd name="T26" fmla="*/ 4 w 131"/>
                    <a:gd name="T27" fmla="*/ 52 h 129"/>
                    <a:gd name="T28" fmla="*/ 7 w 131"/>
                    <a:gd name="T29" fmla="*/ 83 h 129"/>
                    <a:gd name="T30" fmla="*/ 7 w 131"/>
                    <a:gd name="T31" fmla="*/ 86 h 129"/>
                    <a:gd name="T32" fmla="*/ 4 w 131"/>
                    <a:gd name="T33" fmla="*/ 117 h 129"/>
                    <a:gd name="T34" fmla="*/ 119 w 131"/>
                    <a:gd name="T35" fmla="*/ 125 h 129"/>
                    <a:gd name="T36" fmla="*/ 127 w 131"/>
                    <a:gd name="T37" fmla="*/ 92 h 129"/>
                    <a:gd name="T38" fmla="*/ 122 w 131"/>
                    <a:gd name="T39" fmla="*/ 85 h 129"/>
                    <a:gd name="T40" fmla="*/ 127 w 131"/>
                    <a:gd name="T41" fmla="*/ 77 h 129"/>
                    <a:gd name="T42" fmla="*/ 124 w 131"/>
                    <a:gd name="T43" fmla="*/ 46 h 129"/>
                    <a:gd name="T44" fmla="*/ 124 w 131"/>
                    <a:gd name="T45" fmla="*/ 43 h 129"/>
                    <a:gd name="T46" fmla="*/ 127 w 131"/>
                    <a:gd name="T47" fmla="*/ 12 h 129"/>
                    <a:gd name="T48" fmla="*/ 12 w 131"/>
                    <a:gd name="T49" fmla="*/ 4 h 129"/>
                    <a:gd name="T50" fmla="*/ 6 w 131"/>
                    <a:gd name="T51" fmla="*/ 123 h 129"/>
                    <a:gd name="T52" fmla="*/ 4 w 131"/>
                    <a:gd name="T53" fmla="*/ 92 h 129"/>
                    <a:gd name="T54" fmla="*/ 119 w 131"/>
                    <a:gd name="T55" fmla="*/ 85 h 129"/>
                    <a:gd name="T56" fmla="*/ 127 w 131"/>
                    <a:gd name="T57" fmla="*/ 117 h 129"/>
                    <a:gd name="T58" fmla="*/ 12 w 131"/>
                    <a:gd name="T59" fmla="*/ 125 h 129"/>
                    <a:gd name="T60" fmla="*/ 8 w 131"/>
                    <a:gd name="T61" fmla="*/ 92 h 129"/>
                    <a:gd name="T62" fmla="*/ 9 w 131"/>
                    <a:gd name="T63" fmla="*/ 120 h 129"/>
                    <a:gd name="T64" fmla="*/ 12 w 131"/>
                    <a:gd name="T65" fmla="*/ 121 h 129"/>
                    <a:gd name="T66" fmla="*/ 123 w 131"/>
                    <a:gd name="T67" fmla="*/ 117 h 129"/>
                    <a:gd name="T68" fmla="*/ 119 w 131"/>
                    <a:gd name="T69" fmla="*/ 89 h 129"/>
                    <a:gd name="T70" fmla="*/ 119 w 131"/>
                    <a:gd name="T71" fmla="*/ 85 h 129"/>
                    <a:gd name="T72" fmla="*/ 4 w 131"/>
                    <a:gd name="T73" fmla="*/ 77 h 129"/>
                    <a:gd name="T74" fmla="*/ 12 w 131"/>
                    <a:gd name="T75" fmla="*/ 45 h 129"/>
                    <a:gd name="T76" fmla="*/ 127 w 131"/>
                    <a:gd name="T77" fmla="*/ 52 h 129"/>
                    <a:gd name="T78" fmla="*/ 119 w 131"/>
                    <a:gd name="T79" fmla="*/ 85 h 129"/>
                    <a:gd name="T80" fmla="*/ 8 w 131"/>
                    <a:gd name="T81" fmla="*/ 52 h 129"/>
                    <a:gd name="T82" fmla="*/ 12 w 131"/>
                    <a:gd name="T83" fmla="*/ 81 h 129"/>
                    <a:gd name="T84" fmla="*/ 123 w 131"/>
                    <a:gd name="T85" fmla="*/ 77 h 129"/>
                    <a:gd name="T86" fmla="*/ 119 w 131"/>
                    <a:gd name="T87" fmla="*/ 48 h 129"/>
                    <a:gd name="T88" fmla="*/ 119 w 131"/>
                    <a:gd name="T89" fmla="*/ 44 h 129"/>
                    <a:gd name="T90" fmla="*/ 4 w 131"/>
                    <a:gd name="T91" fmla="*/ 37 h 129"/>
                    <a:gd name="T92" fmla="*/ 12 w 131"/>
                    <a:gd name="T93" fmla="*/ 4 h 129"/>
                    <a:gd name="T94" fmla="*/ 127 w 131"/>
                    <a:gd name="T95" fmla="*/ 12 h 129"/>
                    <a:gd name="T96" fmla="*/ 119 w 131"/>
                    <a:gd name="T97" fmla="*/ 44 h 129"/>
                    <a:gd name="T98" fmla="*/ 8 w 131"/>
                    <a:gd name="T99" fmla="*/ 12 h 129"/>
                    <a:gd name="T100" fmla="*/ 12 w 131"/>
                    <a:gd name="T101" fmla="*/ 40 h 129"/>
                    <a:gd name="T102" fmla="*/ 123 w 131"/>
                    <a:gd name="T103" fmla="*/ 37 h 129"/>
                    <a:gd name="T104" fmla="*/ 119 w 131"/>
                    <a:gd name="T105"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 h="129">
                      <a:moveTo>
                        <a:pt x="119" y="129"/>
                      </a:moveTo>
                      <a:cubicBezTo>
                        <a:pt x="12" y="129"/>
                        <a:pt x="12" y="129"/>
                        <a:pt x="12" y="129"/>
                      </a:cubicBezTo>
                      <a:cubicBezTo>
                        <a:pt x="5" y="129"/>
                        <a:pt x="0" y="124"/>
                        <a:pt x="0" y="117"/>
                      </a:cubicBezTo>
                      <a:cubicBezTo>
                        <a:pt x="0" y="92"/>
                        <a:pt x="0" y="92"/>
                        <a:pt x="0" y="92"/>
                      </a:cubicBezTo>
                      <a:cubicBezTo>
                        <a:pt x="0" y="90"/>
                        <a:pt x="1" y="87"/>
                        <a:pt x="3" y="85"/>
                      </a:cubicBezTo>
                      <a:cubicBezTo>
                        <a:pt x="1" y="83"/>
                        <a:pt x="0" y="80"/>
                        <a:pt x="0" y="77"/>
                      </a:cubicBezTo>
                      <a:cubicBezTo>
                        <a:pt x="0" y="52"/>
                        <a:pt x="0" y="52"/>
                        <a:pt x="0" y="52"/>
                      </a:cubicBezTo>
                      <a:cubicBezTo>
                        <a:pt x="0" y="49"/>
                        <a:pt x="1" y="46"/>
                        <a:pt x="3" y="44"/>
                      </a:cubicBezTo>
                      <a:cubicBezTo>
                        <a:pt x="1" y="42"/>
                        <a:pt x="0" y="40"/>
                        <a:pt x="0" y="37"/>
                      </a:cubicBezTo>
                      <a:cubicBezTo>
                        <a:pt x="0" y="12"/>
                        <a:pt x="0" y="12"/>
                        <a:pt x="0" y="12"/>
                      </a:cubicBezTo>
                      <a:cubicBezTo>
                        <a:pt x="0" y="5"/>
                        <a:pt x="5" y="0"/>
                        <a:pt x="12" y="0"/>
                      </a:cubicBezTo>
                      <a:cubicBezTo>
                        <a:pt x="119" y="0"/>
                        <a:pt x="119" y="0"/>
                        <a:pt x="119" y="0"/>
                      </a:cubicBezTo>
                      <a:cubicBezTo>
                        <a:pt x="126" y="0"/>
                        <a:pt x="131" y="5"/>
                        <a:pt x="131" y="12"/>
                      </a:cubicBezTo>
                      <a:cubicBezTo>
                        <a:pt x="131" y="37"/>
                        <a:pt x="131" y="37"/>
                        <a:pt x="131" y="37"/>
                      </a:cubicBezTo>
                      <a:cubicBezTo>
                        <a:pt x="131" y="40"/>
                        <a:pt x="130" y="42"/>
                        <a:pt x="128" y="44"/>
                      </a:cubicBezTo>
                      <a:cubicBezTo>
                        <a:pt x="130" y="46"/>
                        <a:pt x="131" y="49"/>
                        <a:pt x="131" y="52"/>
                      </a:cubicBezTo>
                      <a:cubicBezTo>
                        <a:pt x="131" y="77"/>
                        <a:pt x="131" y="77"/>
                        <a:pt x="131" y="77"/>
                      </a:cubicBezTo>
                      <a:cubicBezTo>
                        <a:pt x="131" y="80"/>
                        <a:pt x="130" y="83"/>
                        <a:pt x="128" y="85"/>
                      </a:cubicBezTo>
                      <a:cubicBezTo>
                        <a:pt x="130" y="87"/>
                        <a:pt x="131" y="90"/>
                        <a:pt x="131" y="92"/>
                      </a:cubicBezTo>
                      <a:cubicBezTo>
                        <a:pt x="131" y="117"/>
                        <a:pt x="131" y="117"/>
                        <a:pt x="131" y="117"/>
                      </a:cubicBezTo>
                      <a:cubicBezTo>
                        <a:pt x="131" y="124"/>
                        <a:pt x="126" y="129"/>
                        <a:pt x="119" y="129"/>
                      </a:cubicBezTo>
                      <a:moveTo>
                        <a:pt x="12" y="4"/>
                      </a:moveTo>
                      <a:cubicBezTo>
                        <a:pt x="7" y="4"/>
                        <a:pt x="4" y="7"/>
                        <a:pt x="4" y="12"/>
                      </a:cubicBezTo>
                      <a:cubicBezTo>
                        <a:pt x="4" y="37"/>
                        <a:pt x="4" y="37"/>
                        <a:pt x="4" y="37"/>
                      </a:cubicBezTo>
                      <a:cubicBezTo>
                        <a:pt x="4" y="39"/>
                        <a:pt x="5" y="41"/>
                        <a:pt x="7" y="43"/>
                      </a:cubicBezTo>
                      <a:cubicBezTo>
                        <a:pt x="9" y="44"/>
                        <a:pt x="9" y="44"/>
                        <a:pt x="9" y="44"/>
                      </a:cubicBezTo>
                      <a:cubicBezTo>
                        <a:pt x="7" y="46"/>
                        <a:pt x="7" y="46"/>
                        <a:pt x="7" y="46"/>
                      </a:cubicBezTo>
                      <a:cubicBezTo>
                        <a:pt x="5" y="47"/>
                        <a:pt x="4" y="50"/>
                        <a:pt x="4" y="52"/>
                      </a:cubicBezTo>
                      <a:cubicBezTo>
                        <a:pt x="4" y="77"/>
                        <a:pt x="4" y="77"/>
                        <a:pt x="4" y="77"/>
                      </a:cubicBezTo>
                      <a:cubicBezTo>
                        <a:pt x="4" y="79"/>
                        <a:pt x="5" y="82"/>
                        <a:pt x="7" y="83"/>
                      </a:cubicBezTo>
                      <a:cubicBezTo>
                        <a:pt x="9" y="85"/>
                        <a:pt x="9" y="85"/>
                        <a:pt x="9" y="85"/>
                      </a:cubicBezTo>
                      <a:cubicBezTo>
                        <a:pt x="7" y="86"/>
                        <a:pt x="7" y="86"/>
                        <a:pt x="7" y="86"/>
                      </a:cubicBezTo>
                      <a:cubicBezTo>
                        <a:pt x="5" y="88"/>
                        <a:pt x="4" y="90"/>
                        <a:pt x="4" y="92"/>
                      </a:cubicBezTo>
                      <a:cubicBezTo>
                        <a:pt x="4" y="117"/>
                        <a:pt x="4" y="117"/>
                        <a:pt x="4" y="117"/>
                      </a:cubicBezTo>
                      <a:cubicBezTo>
                        <a:pt x="4" y="122"/>
                        <a:pt x="7" y="125"/>
                        <a:pt x="12" y="125"/>
                      </a:cubicBezTo>
                      <a:cubicBezTo>
                        <a:pt x="119" y="125"/>
                        <a:pt x="119" y="125"/>
                        <a:pt x="119" y="125"/>
                      </a:cubicBezTo>
                      <a:cubicBezTo>
                        <a:pt x="124" y="125"/>
                        <a:pt x="127" y="122"/>
                        <a:pt x="127" y="117"/>
                      </a:cubicBezTo>
                      <a:cubicBezTo>
                        <a:pt x="127" y="92"/>
                        <a:pt x="127" y="92"/>
                        <a:pt x="127" y="92"/>
                      </a:cubicBezTo>
                      <a:cubicBezTo>
                        <a:pt x="127" y="90"/>
                        <a:pt x="126" y="88"/>
                        <a:pt x="124" y="86"/>
                      </a:cubicBezTo>
                      <a:cubicBezTo>
                        <a:pt x="122" y="85"/>
                        <a:pt x="122" y="85"/>
                        <a:pt x="122" y="85"/>
                      </a:cubicBezTo>
                      <a:cubicBezTo>
                        <a:pt x="124" y="83"/>
                        <a:pt x="124" y="83"/>
                        <a:pt x="124" y="83"/>
                      </a:cubicBezTo>
                      <a:cubicBezTo>
                        <a:pt x="126" y="82"/>
                        <a:pt x="127" y="79"/>
                        <a:pt x="127" y="77"/>
                      </a:cubicBezTo>
                      <a:cubicBezTo>
                        <a:pt x="127" y="52"/>
                        <a:pt x="127" y="52"/>
                        <a:pt x="127" y="52"/>
                      </a:cubicBezTo>
                      <a:cubicBezTo>
                        <a:pt x="127" y="50"/>
                        <a:pt x="126" y="47"/>
                        <a:pt x="124" y="46"/>
                      </a:cubicBezTo>
                      <a:cubicBezTo>
                        <a:pt x="122" y="44"/>
                        <a:pt x="122" y="44"/>
                        <a:pt x="122" y="44"/>
                      </a:cubicBezTo>
                      <a:cubicBezTo>
                        <a:pt x="124" y="43"/>
                        <a:pt x="124" y="43"/>
                        <a:pt x="124" y="43"/>
                      </a:cubicBezTo>
                      <a:cubicBezTo>
                        <a:pt x="126" y="41"/>
                        <a:pt x="127" y="39"/>
                        <a:pt x="127" y="37"/>
                      </a:cubicBezTo>
                      <a:cubicBezTo>
                        <a:pt x="127" y="12"/>
                        <a:pt x="127" y="12"/>
                        <a:pt x="127" y="12"/>
                      </a:cubicBezTo>
                      <a:cubicBezTo>
                        <a:pt x="127" y="7"/>
                        <a:pt x="124" y="4"/>
                        <a:pt x="119" y="4"/>
                      </a:cubicBezTo>
                      <a:lnTo>
                        <a:pt x="12" y="4"/>
                      </a:lnTo>
                      <a:close/>
                      <a:moveTo>
                        <a:pt x="12" y="125"/>
                      </a:moveTo>
                      <a:cubicBezTo>
                        <a:pt x="10" y="125"/>
                        <a:pt x="8" y="124"/>
                        <a:pt x="6" y="123"/>
                      </a:cubicBezTo>
                      <a:cubicBezTo>
                        <a:pt x="5" y="121"/>
                        <a:pt x="4" y="119"/>
                        <a:pt x="4" y="117"/>
                      </a:cubicBezTo>
                      <a:cubicBezTo>
                        <a:pt x="4" y="92"/>
                        <a:pt x="4" y="92"/>
                        <a:pt x="4" y="92"/>
                      </a:cubicBezTo>
                      <a:cubicBezTo>
                        <a:pt x="4" y="88"/>
                        <a:pt x="7" y="85"/>
                        <a:pt x="12" y="85"/>
                      </a:cubicBezTo>
                      <a:cubicBezTo>
                        <a:pt x="119" y="85"/>
                        <a:pt x="119" y="85"/>
                        <a:pt x="119" y="85"/>
                      </a:cubicBezTo>
                      <a:cubicBezTo>
                        <a:pt x="124" y="85"/>
                        <a:pt x="127" y="88"/>
                        <a:pt x="127" y="92"/>
                      </a:cubicBezTo>
                      <a:cubicBezTo>
                        <a:pt x="127" y="117"/>
                        <a:pt x="127" y="117"/>
                        <a:pt x="127" y="117"/>
                      </a:cubicBezTo>
                      <a:cubicBezTo>
                        <a:pt x="127" y="122"/>
                        <a:pt x="124" y="125"/>
                        <a:pt x="119" y="125"/>
                      </a:cubicBezTo>
                      <a:cubicBezTo>
                        <a:pt x="12" y="125"/>
                        <a:pt x="12" y="125"/>
                        <a:pt x="12" y="125"/>
                      </a:cubicBezTo>
                      <a:close/>
                      <a:moveTo>
                        <a:pt x="12" y="89"/>
                      </a:moveTo>
                      <a:cubicBezTo>
                        <a:pt x="10" y="89"/>
                        <a:pt x="8" y="90"/>
                        <a:pt x="8" y="92"/>
                      </a:cubicBezTo>
                      <a:cubicBezTo>
                        <a:pt x="8" y="117"/>
                        <a:pt x="8" y="117"/>
                        <a:pt x="8" y="117"/>
                      </a:cubicBezTo>
                      <a:cubicBezTo>
                        <a:pt x="8" y="118"/>
                        <a:pt x="8" y="119"/>
                        <a:pt x="9" y="120"/>
                      </a:cubicBezTo>
                      <a:cubicBezTo>
                        <a:pt x="10" y="121"/>
                        <a:pt x="11" y="121"/>
                        <a:pt x="12" y="121"/>
                      </a:cubicBezTo>
                      <a:cubicBezTo>
                        <a:pt x="12" y="121"/>
                        <a:pt x="12" y="121"/>
                        <a:pt x="12" y="121"/>
                      </a:cubicBezTo>
                      <a:cubicBezTo>
                        <a:pt x="119" y="121"/>
                        <a:pt x="119" y="121"/>
                        <a:pt x="119" y="121"/>
                      </a:cubicBezTo>
                      <a:cubicBezTo>
                        <a:pt x="121" y="121"/>
                        <a:pt x="123" y="119"/>
                        <a:pt x="123" y="117"/>
                      </a:cubicBezTo>
                      <a:cubicBezTo>
                        <a:pt x="123" y="92"/>
                        <a:pt x="123" y="92"/>
                        <a:pt x="123" y="92"/>
                      </a:cubicBezTo>
                      <a:cubicBezTo>
                        <a:pt x="123" y="90"/>
                        <a:pt x="121" y="89"/>
                        <a:pt x="119" y="89"/>
                      </a:cubicBezTo>
                      <a:lnTo>
                        <a:pt x="12" y="89"/>
                      </a:lnTo>
                      <a:close/>
                      <a:moveTo>
                        <a:pt x="119" y="85"/>
                      </a:moveTo>
                      <a:cubicBezTo>
                        <a:pt x="12" y="85"/>
                        <a:pt x="12" y="85"/>
                        <a:pt x="12" y="85"/>
                      </a:cubicBezTo>
                      <a:cubicBezTo>
                        <a:pt x="7" y="85"/>
                        <a:pt x="4" y="81"/>
                        <a:pt x="4" y="77"/>
                      </a:cubicBezTo>
                      <a:cubicBezTo>
                        <a:pt x="4" y="52"/>
                        <a:pt x="4" y="52"/>
                        <a:pt x="4" y="52"/>
                      </a:cubicBezTo>
                      <a:cubicBezTo>
                        <a:pt x="4" y="48"/>
                        <a:pt x="7" y="45"/>
                        <a:pt x="12" y="45"/>
                      </a:cubicBezTo>
                      <a:cubicBezTo>
                        <a:pt x="119" y="45"/>
                        <a:pt x="119" y="45"/>
                        <a:pt x="119" y="45"/>
                      </a:cubicBezTo>
                      <a:cubicBezTo>
                        <a:pt x="124" y="45"/>
                        <a:pt x="127" y="48"/>
                        <a:pt x="127" y="52"/>
                      </a:cubicBezTo>
                      <a:cubicBezTo>
                        <a:pt x="127" y="77"/>
                        <a:pt x="127" y="77"/>
                        <a:pt x="127" y="77"/>
                      </a:cubicBezTo>
                      <a:cubicBezTo>
                        <a:pt x="127" y="81"/>
                        <a:pt x="124" y="85"/>
                        <a:pt x="119" y="85"/>
                      </a:cubicBezTo>
                      <a:moveTo>
                        <a:pt x="12" y="48"/>
                      </a:moveTo>
                      <a:cubicBezTo>
                        <a:pt x="10" y="48"/>
                        <a:pt x="8" y="50"/>
                        <a:pt x="8" y="52"/>
                      </a:cubicBezTo>
                      <a:cubicBezTo>
                        <a:pt x="8" y="77"/>
                        <a:pt x="8" y="77"/>
                        <a:pt x="8" y="77"/>
                      </a:cubicBezTo>
                      <a:cubicBezTo>
                        <a:pt x="8" y="79"/>
                        <a:pt x="10" y="81"/>
                        <a:pt x="12" y="81"/>
                      </a:cubicBezTo>
                      <a:cubicBezTo>
                        <a:pt x="119" y="81"/>
                        <a:pt x="119" y="81"/>
                        <a:pt x="119" y="81"/>
                      </a:cubicBezTo>
                      <a:cubicBezTo>
                        <a:pt x="121" y="81"/>
                        <a:pt x="123" y="79"/>
                        <a:pt x="123" y="77"/>
                      </a:cubicBezTo>
                      <a:cubicBezTo>
                        <a:pt x="123" y="52"/>
                        <a:pt x="123" y="52"/>
                        <a:pt x="123" y="52"/>
                      </a:cubicBezTo>
                      <a:cubicBezTo>
                        <a:pt x="123" y="50"/>
                        <a:pt x="121" y="48"/>
                        <a:pt x="119" y="48"/>
                      </a:cubicBezTo>
                      <a:lnTo>
                        <a:pt x="12" y="48"/>
                      </a:lnTo>
                      <a:close/>
                      <a:moveTo>
                        <a:pt x="119" y="44"/>
                      </a:moveTo>
                      <a:cubicBezTo>
                        <a:pt x="12" y="44"/>
                        <a:pt x="12" y="44"/>
                        <a:pt x="12" y="44"/>
                      </a:cubicBezTo>
                      <a:cubicBezTo>
                        <a:pt x="7" y="44"/>
                        <a:pt x="4" y="41"/>
                        <a:pt x="4" y="37"/>
                      </a:cubicBezTo>
                      <a:cubicBezTo>
                        <a:pt x="4" y="12"/>
                        <a:pt x="4" y="12"/>
                        <a:pt x="4" y="12"/>
                      </a:cubicBezTo>
                      <a:cubicBezTo>
                        <a:pt x="4" y="8"/>
                        <a:pt x="7" y="4"/>
                        <a:pt x="12" y="4"/>
                      </a:cubicBezTo>
                      <a:cubicBezTo>
                        <a:pt x="119" y="4"/>
                        <a:pt x="119" y="4"/>
                        <a:pt x="119" y="4"/>
                      </a:cubicBezTo>
                      <a:cubicBezTo>
                        <a:pt x="124" y="4"/>
                        <a:pt x="127" y="8"/>
                        <a:pt x="127" y="12"/>
                      </a:cubicBezTo>
                      <a:cubicBezTo>
                        <a:pt x="127" y="37"/>
                        <a:pt x="127" y="37"/>
                        <a:pt x="127" y="37"/>
                      </a:cubicBezTo>
                      <a:cubicBezTo>
                        <a:pt x="127" y="41"/>
                        <a:pt x="124" y="44"/>
                        <a:pt x="119" y="44"/>
                      </a:cubicBezTo>
                      <a:moveTo>
                        <a:pt x="12" y="8"/>
                      </a:moveTo>
                      <a:cubicBezTo>
                        <a:pt x="10" y="8"/>
                        <a:pt x="8" y="10"/>
                        <a:pt x="8" y="12"/>
                      </a:cubicBezTo>
                      <a:cubicBezTo>
                        <a:pt x="8" y="37"/>
                        <a:pt x="8" y="37"/>
                        <a:pt x="8" y="37"/>
                      </a:cubicBezTo>
                      <a:cubicBezTo>
                        <a:pt x="8" y="39"/>
                        <a:pt x="10" y="40"/>
                        <a:pt x="12" y="40"/>
                      </a:cubicBezTo>
                      <a:cubicBezTo>
                        <a:pt x="119" y="40"/>
                        <a:pt x="119" y="40"/>
                        <a:pt x="119" y="40"/>
                      </a:cubicBezTo>
                      <a:cubicBezTo>
                        <a:pt x="121" y="40"/>
                        <a:pt x="123" y="39"/>
                        <a:pt x="123" y="37"/>
                      </a:cubicBezTo>
                      <a:cubicBezTo>
                        <a:pt x="123" y="12"/>
                        <a:pt x="123" y="12"/>
                        <a:pt x="123" y="12"/>
                      </a:cubicBezTo>
                      <a:cubicBezTo>
                        <a:pt x="123" y="10"/>
                        <a:pt x="121" y="8"/>
                        <a:pt x="119" y="8"/>
                      </a:cubicBezTo>
                      <a:lnTo>
                        <a:pt x="12" y="8"/>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31" name="Freeform 199"/>
                <p:cNvSpPr>
                  <a:spLocks noEditPoints="1"/>
                </p:cNvSpPr>
                <p:nvPr/>
              </p:nvSpPr>
              <p:spPr bwMode="auto">
                <a:xfrm>
                  <a:off x="7292618" y="1756195"/>
                  <a:ext cx="22682" cy="22682"/>
                </a:xfrm>
                <a:custGeom>
                  <a:avLst/>
                  <a:gdLst>
                    <a:gd name="T0" fmla="*/ 9 w 19"/>
                    <a:gd name="T1" fmla="*/ 19 h 19"/>
                    <a:gd name="T2" fmla="*/ 19 w 19"/>
                    <a:gd name="T3" fmla="*/ 10 h 19"/>
                    <a:gd name="T4" fmla="*/ 9 w 19"/>
                    <a:gd name="T5" fmla="*/ 0 h 19"/>
                    <a:gd name="T6" fmla="*/ 0 w 19"/>
                    <a:gd name="T7" fmla="*/ 10 h 19"/>
                    <a:gd name="T8" fmla="*/ 9 w 19"/>
                    <a:gd name="T9" fmla="*/ 19 h 19"/>
                    <a:gd name="T10" fmla="*/ 9 w 19"/>
                    <a:gd name="T11" fmla="*/ 4 h 19"/>
                    <a:gd name="T12" fmla="*/ 14 w 19"/>
                    <a:gd name="T13" fmla="*/ 10 h 19"/>
                    <a:gd name="T14" fmla="*/ 9 w 19"/>
                    <a:gd name="T15" fmla="*/ 15 h 19"/>
                    <a:gd name="T16" fmla="*/ 4 w 19"/>
                    <a:gd name="T17" fmla="*/ 10 h 19"/>
                    <a:gd name="T18" fmla="*/ 9 w 19"/>
                    <a:gd name="T1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9" y="19"/>
                      </a:moveTo>
                      <a:cubicBezTo>
                        <a:pt x="14" y="19"/>
                        <a:pt x="19" y="15"/>
                        <a:pt x="19" y="10"/>
                      </a:cubicBezTo>
                      <a:cubicBezTo>
                        <a:pt x="19" y="4"/>
                        <a:pt x="14" y="0"/>
                        <a:pt x="9" y="0"/>
                      </a:cubicBezTo>
                      <a:cubicBezTo>
                        <a:pt x="4" y="0"/>
                        <a:pt x="0" y="4"/>
                        <a:pt x="0" y="10"/>
                      </a:cubicBezTo>
                      <a:cubicBezTo>
                        <a:pt x="0" y="15"/>
                        <a:pt x="4" y="19"/>
                        <a:pt x="9" y="19"/>
                      </a:cubicBezTo>
                      <a:moveTo>
                        <a:pt x="9" y="4"/>
                      </a:moveTo>
                      <a:cubicBezTo>
                        <a:pt x="12" y="4"/>
                        <a:pt x="14" y="7"/>
                        <a:pt x="14" y="10"/>
                      </a:cubicBezTo>
                      <a:cubicBezTo>
                        <a:pt x="14" y="12"/>
                        <a:pt x="12" y="15"/>
                        <a:pt x="9" y="15"/>
                      </a:cubicBezTo>
                      <a:cubicBezTo>
                        <a:pt x="6" y="15"/>
                        <a:pt x="4" y="12"/>
                        <a:pt x="4" y="10"/>
                      </a:cubicBezTo>
                      <a:cubicBezTo>
                        <a:pt x="4" y="7"/>
                        <a:pt x="6" y="4"/>
                        <a:pt x="9" y="4"/>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32" name="Freeform 200"/>
                <p:cNvSpPr>
                  <a:spLocks noEditPoints="1"/>
                </p:cNvSpPr>
                <p:nvPr/>
              </p:nvSpPr>
              <p:spPr bwMode="auto">
                <a:xfrm>
                  <a:off x="7290098" y="1753674"/>
                  <a:ext cx="27723" cy="27723"/>
                </a:xfrm>
                <a:custGeom>
                  <a:avLst/>
                  <a:gdLst>
                    <a:gd name="T0" fmla="*/ 11 w 23"/>
                    <a:gd name="T1" fmla="*/ 23 h 23"/>
                    <a:gd name="T2" fmla="*/ 0 w 23"/>
                    <a:gd name="T3" fmla="*/ 12 h 23"/>
                    <a:gd name="T4" fmla="*/ 11 w 23"/>
                    <a:gd name="T5" fmla="*/ 0 h 23"/>
                    <a:gd name="T6" fmla="*/ 23 w 23"/>
                    <a:gd name="T7" fmla="*/ 12 h 23"/>
                    <a:gd name="T8" fmla="*/ 11 w 23"/>
                    <a:gd name="T9" fmla="*/ 23 h 23"/>
                    <a:gd name="T10" fmla="*/ 11 w 23"/>
                    <a:gd name="T11" fmla="*/ 4 h 23"/>
                    <a:gd name="T12" fmla="*/ 3 w 23"/>
                    <a:gd name="T13" fmla="*/ 12 h 23"/>
                    <a:gd name="T14" fmla="*/ 11 w 23"/>
                    <a:gd name="T15" fmla="*/ 19 h 23"/>
                    <a:gd name="T16" fmla="*/ 19 w 23"/>
                    <a:gd name="T17" fmla="*/ 12 h 23"/>
                    <a:gd name="T18" fmla="*/ 11 w 23"/>
                    <a:gd name="T19" fmla="*/ 4 h 23"/>
                    <a:gd name="T20" fmla="*/ 11 w 23"/>
                    <a:gd name="T21" fmla="*/ 19 h 23"/>
                    <a:gd name="T22" fmla="*/ 4 w 23"/>
                    <a:gd name="T23" fmla="*/ 12 h 23"/>
                    <a:gd name="T24" fmla="*/ 11 w 23"/>
                    <a:gd name="T25" fmla="*/ 4 h 23"/>
                    <a:gd name="T26" fmla="*/ 18 w 23"/>
                    <a:gd name="T27" fmla="*/ 12 h 23"/>
                    <a:gd name="T28" fmla="*/ 11 w 23"/>
                    <a:gd name="T29" fmla="*/ 19 h 23"/>
                    <a:gd name="T30" fmla="*/ 11 w 23"/>
                    <a:gd name="T31" fmla="*/ 8 h 23"/>
                    <a:gd name="T32" fmla="*/ 8 w 23"/>
                    <a:gd name="T33" fmla="*/ 12 h 23"/>
                    <a:gd name="T34" fmla="*/ 11 w 23"/>
                    <a:gd name="T35" fmla="*/ 15 h 23"/>
                    <a:gd name="T36" fmla="*/ 14 w 23"/>
                    <a:gd name="T37" fmla="*/ 12 h 23"/>
                    <a:gd name="T38" fmla="*/ 11 w 23"/>
                    <a:gd name="T3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moveTo>
                        <a:pt x="11" y="4"/>
                      </a:moveTo>
                      <a:cubicBezTo>
                        <a:pt x="7" y="4"/>
                        <a:pt x="3" y="7"/>
                        <a:pt x="3" y="12"/>
                      </a:cubicBezTo>
                      <a:cubicBezTo>
                        <a:pt x="3" y="16"/>
                        <a:pt x="7" y="19"/>
                        <a:pt x="11" y="19"/>
                      </a:cubicBezTo>
                      <a:cubicBezTo>
                        <a:pt x="15" y="19"/>
                        <a:pt x="19" y="16"/>
                        <a:pt x="19" y="12"/>
                      </a:cubicBezTo>
                      <a:cubicBezTo>
                        <a:pt x="19" y="7"/>
                        <a:pt x="15" y="4"/>
                        <a:pt x="11" y="4"/>
                      </a:cubicBezTo>
                      <a:moveTo>
                        <a:pt x="11" y="19"/>
                      </a:moveTo>
                      <a:cubicBezTo>
                        <a:pt x="7" y="19"/>
                        <a:pt x="4" y="16"/>
                        <a:pt x="4" y="12"/>
                      </a:cubicBezTo>
                      <a:cubicBezTo>
                        <a:pt x="4" y="8"/>
                        <a:pt x="7" y="4"/>
                        <a:pt x="11" y="4"/>
                      </a:cubicBezTo>
                      <a:cubicBezTo>
                        <a:pt x="15" y="4"/>
                        <a:pt x="18" y="8"/>
                        <a:pt x="18" y="12"/>
                      </a:cubicBezTo>
                      <a:cubicBezTo>
                        <a:pt x="18" y="16"/>
                        <a:pt x="15" y="19"/>
                        <a:pt x="11" y="19"/>
                      </a:cubicBezTo>
                      <a:moveTo>
                        <a:pt x="11" y="8"/>
                      </a:moveTo>
                      <a:cubicBezTo>
                        <a:pt x="9" y="8"/>
                        <a:pt x="8" y="10"/>
                        <a:pt x="8" y="12"/>
                      </a:cubicBezTo>
                      <a:cubicBezTo>
                        <a:pt x="8" y="13"/>
                        <a:pt x="9" y="15"/>
                        <a:pt x="11" y="15"/>
                      </a:cubicBezTo>
                      <a:cubicBezTo>
                        <a:pt x="13" y="15"/>
                        <a:pt x="14" y="13"/>
                        <a:pt x="14" y="12"/>
                      </a:cubicBezTo>
                      <a:cubicBezTo>
                        <a:pt x="14" y="10"/>
                        <a:pt x="13" y="8"/>
                        <a:pt x="11" y="8"/>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33" name="Freeform 201"/>
                <p:cNvSpPr>
                  <a:spLocks noEditPoints="1"/>
                </p:cNvSpPr>
                <p:nvPr/>
              </p:nvSpPr>
              <p:spPr bwMode="auto">
                <a:xfrm>
                  <a:off x="7292618" y="1804079"/>
                  <a:ext cx="22682" cy="22178"/>
                </a:xfrm>
                <a:custGeom>
                  <a:avLst/>
                  <a:gdLst>
                    <a:gd name="T0" fmla="*/ 9 w 19"/>
                    <a:gd name="T1" fmla="*/ 19 h 19"/>
                    <a:gd name="T2" fmla="*/ 19 w 19"/>
                    <a:gd name="T3" fmla="*/ 10 h 19"/>
                    <a:gd name="T4" fmla="*/ 9 w 19"/>
                    <a:gd name="T5" fmla="*/ 0 h 19"/>
                    <a:gd name="T6" fmla="*/ 0 w 19"/>
                    <a:gd name="T7" fmla="*/ 10 h 19"/>
                    <a:gd name="T8" fmla="*/ 9 w 19"/>
                    <a:gd name="T9" fmla="*/ 19 h 19"/>
                    <a:gd name="T10" fmla="*/ 9 w 19"/>
                    <a:gd name="T11" fmla="*/ 5 h 19"/>
                    <a:gd name="T12" fmla="*/ 14 w 19"/>
                    <a:gd name="T13" fmla="*/ 10 h 19"/>
                    <a:gd name="T14" fmla="*/ 9 w 19"/>
                    <a:gd name="T15" fmla="*/ 15 h 19"/>
                    <a:gd name="T16" fmla="*/ 4 w 19"/>
                    <a:gd name="T17" fmla="*/ 10 h 19"/>
                    <a:gd name="T18" fmla="*/ 9 w 19"/>
                    <a:gd name="T19"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9" y="19"/>
                      </a:moveTo>
                      <a:cubicBezTo>
                        <a:pt x="14" y="19"/>
                        <a:pt x="19" y="15"/>
                        <a:pt x="19" y="10"/>
                      </a:cubicBezTo>
                      <a:cubicBezTo>
                        <a:pt x="19" y="5"/>
                        <a:pt x="14" y="0"/>
                        <a:pt x="9" y="0"/>
                      </a:cubicBezTo>
                      <a:cubicBezTo>
                        <a:pt x="4" y="0"/>
                        <a:pt x="0" y="5"/>
                        <a:pt x="0" y="10"/>
                      </a:cubicBezTo>
                      <a:cubicBezTo>
                        <a:pt x="0" y="15"/>
                        <a:pt x="4" y="19"/>
                        <a:pt x="9" y="19"/>
                      </a:cubicBezTo>
                      <a:moveTo>
                        <a:pt x="9" y="5"/>
                      </a:moveTo>
                      <a:cubicBezTo>
                        <a:pt x="12" y="5"/>
                        <a:pt x="14" y="7"/>
                        <a:pt x="14" y="10"/>
                      </a:cubicBezTo>
                      <a:cubicBezTo>
                        <a:pt x="14" y="13"/>
                        <a:pt x="12" y="15"/>
                        <a:pt x="9" y="15"/>
                      </a:cubicBezTo>
                      <a:cubicBezTo>
                        <a:pt x="6" y="15"/>
                        <a:pt x="4" y="13"/>
                        <a:pt x="4" y="10"/>
                      </a:cubicBezTo>
                      <a:cubicBezTo>
                        <a:pt x="4" y="7"/>
                        <a:pt x="6" y="5"/>
                        <a:pt x="9" y="5"/>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34" name="Freeform 202"/>
                <p:cNvSpPr>
                  <a:spLocks noEditPoints="1"/>
                </p:cNvSpPr>
                <p:nvPr/>
              </p:nvSpPr>
              <p:spPr bwMode="auto">
                <a:xfrm>
                  <a:off x="7290098" y="1801559"/>
                  <a:ext cx="27723" cy="27219"/>
                </a:xfrm>
                <a:custGeom>
                  <a:avLst/>
                  <a:gdLst>
                    <a:gd name="T0" fmla="*/ 11 w 23"/>
                    <a:gd name="T1" fmla="*/ 23 h 23"/>
                    <a:gd name="T2" fmla="*/ 0 w 23"/>
                    <a:gd name="T3" fmla="*/ 12 h 23"/>
                    <a:gd name="T4" fmla="*/ 11 w 23"/>
                    <a:gd name="T5" fmla="*/ 0 h 23"/>
                    <a:gd name="T6" fmla="*/ 23 w 23"/>
                    <a:gd name="T7" fmla="*/ 12 h 23"/>
                    <a:gd name="T8" fmla="*/ 11 w 23"/>
                    <a:gd name="T9" fmla="*/ 23 h 23"/>
                    <a:gd name="T10" fmla="*/ 11 w 23"/>
                    <a:gd name="T11" fmla="*/ 4 h 23"/>
                    <a:gd name="T12" fmla="*/ 3 w 23"/>
                    <a:gd name="T13" fmla="*/ 12 h 23"/>
                    <a:gd name="T14" fmla="*/ 11 w 23"/>
                    <a:gd name="T15" fmla="*/ 20 h 23"/>
                    <a:gd name="T16" fmla="*/ 19 w 23"/>
                    <a:gd name="T17" fmla="*/ 12 h 23"/>
                    <a:gd name="T18" fmla="*/ 11 w 23"/>
                    <a:gd name="T19" fmla="*/ 4 h 23"/>
                    <a:gd name="T20" fmla="*/ 11 w 23"/>
                    <a:gd name="T21" fmla="*/ 19 h 23"/>
                    <a:gd name="T22" fmla="*/ 4 w 23"/>
                    <a:gd name="T23" fmla="*/ 12 h 23"/>
                    <a:gd name="T24" fmla="*/ 11 w 23"/>
                    <a:gd name="T25" fmla="*/ 5 h 23"/>
                    <a:gd name="T26" fmla="*/ 18 w 23"/>
                    <a:gd name="T27" fmla="*/ 12 h 23"/>
                    <a:gd name="T28" fmla="*/ 11 w 23"/>
                    <a:gd name="T29" fmla="*/ 19 h 23"/>
                    <a:gd name="T30" fmla="*/ 11 w 23"/>
                    <a:gd name="T31" fmla="*/ 9 h 23"/>
                    <a:gd name="T32" fmla="*/ 8 w 23"/>
                    <a:gd name="T33" fmla="*/ 12 h 23"/>
                    <a:gd name="T34" fmla="*/ 11 w 23"/>
                    <a:gd name="T35" fmla="*/ 15 h 23"/>
                    <a:gd name="T36" fmla="*/ 14 w 23"/>
                    <a:gd name="T37" fmla="*/ 12 h 23"/>
                    <a:gd name="T38" fmla="*/ 11 w 23"/>
                    <a:gd name="T39"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23">
                      <a:moveTo>
                        <a:pt x="11" y="23"/>
                      </a:moveTo>
                      <a:cubicBezTo>
                        <a:pt x="5" y="23"/>
                        <a:pt x="0" y="18"/>
                        <a:pt x="0" y="12"/>
                      </a:cubicBezTo>
                      <a:cubicBezTo>
                        <a:pt x="0" y="6"/>
                        <a:pt x="5" y="0"/>
                        <a:pt x="11" y="0"/>
                      </a:cubicBezTo>
                      <a:cubicBezTo>
                        <a:pt x="17" y="0"/>
                        <a:pt x="23" y="6"/>
                        <a:pt x="23" y="12"/>
                      </a:cubicBezTo>
                      <a:cubicBezTo>
                        <a:pt x="23" y="18"/>
                        <a:pt x="17" y="23"/>
                        <a:pt x="11" y="23"/>
                      </a:cubicBezTo>
                      <a:moveTo>
                        <a:pt x="11" y="4"/>
                      </a:moveTo>
                      <a:cubicBezTo>
                        <a:pt x="7" y="4"/>
                        <a:pt x="3" y="8"/>
                        <a:pt x="3" y="12"/>
                      </a:cubicBezTo>
                      <a:cubicBezTo>
                        <a:pt x="3" y="16"/>
                        <a:pt x="7" y="20"/>
                        <a:pt x="11" y="20"/>
                      </a:cubicBezTo>
                      <a:cubicBezTo>
                        <a:pt x="15" y="20"/>
                        <a:pt x="19" y="16"/>
                        <a:pt x="19" y="12"/>
                      </a:cubicBezTo>
                      <a:cubicBezTo>
                        <a:pt x="19" y="8"/>
                        <a:pt x="15" y="4"/>
                        <a:pt x="11" y="4"/>
                      </a:cubicBezTo>
                      <a:moveTo>
                        <a:pt x="11" y="19"/>
                      </a:moveTo>
                      <a:cubicBezTo>
                        <a:pt x="7" y="19"/>
                        <a:pt x="4" y="16"/>
                        <a:pt x="4" y="12"/>
                      </a:cubicBezTo>
                      <a:cubicBezTo>
                        <a:pt x="4" y="8"/>
                        <a:pt x="7" y="5"/>
                        <a:pt x="11" y="5"/>
                      </a:cubicBezTo>
                      <a:cubicBezTo>
                        <a:pt x="15" y="5"/>
                        <a:pt x="18" y="8"/>
                        <a:pt x="18" y="12"/>
                      </a:cubicBezTo>
                      <a:cubicBezTo>
                        <a:pt x="18" y="16"/>
                        <a:pt x="15" y="19"/>
                        <a:pt x="11" y="19"/>
                      </a:cubicBezTo>
                      <a:moveTo>
                        <a:pt x="11" y="9"/>
                      </a:moveTo>
                      <a:cubicBezTo>
                        <a:pt x="9" y="9"/>
                        <a:pt x="8" y="10"/>
                        <a:pt x="8" y="12"/>
                      </a:cubicBezTo>
                      <a:cubicBezTo>
                        <a:pt x="8" y="14"/>
                        <a:pt x="9" y="15"/>
                        <a:pt x="11" y="15"/>
                      </a:cubicBezTo>
                      <a:cubicBezTo>
                        <a:pt x="13" y="15"/>
                        <a:pt x="14" y="14"/>
                        <a:pt x="14" y="12"/>
                      </a:cubicBezTo>
                      <a:cubicBezTo>
                        <a:pt x="14" y="10"/>
                        <a:pt x="13" y="9"/>
                        <a:pt x="11" y="9"/>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35" name="Freeform 203"/>
                <p:cNvSpPr>
                  <a:spLocks/>
                </p:cNvSpPr>
                <p:nvPr/>
              </p:nvSpPr>
              <p:spPr bwMode="auto">
                <a:xfrm>
                  <a:off x="7353609" y="1781397"/>
                  <a:ext cx="224807" cy="151215"/>
                </a:xfrm>
                <a:custGeom>
                  <a:avLst/>
                  <a:gdLst>
                    <a:gd name="T0" fmla="*/ 185 w 189"/>
                    <a:gd name="T1" fmla="*/ 98 h 127"/>
                    <a:gd name="T2" fmla="*/ 178 w 189"/>
                    <a:gd name="T3" fmla="*/ 98 h 127"/>
                    <a:gd name="T4" fmla="*/ 178 w 189"/>
                    <a:gd name="T5" fmla="*/ 12 h 127"/>
                    <a:gd name="T6" fmla="*/ 166 w 189"/>
                    <a:gd name="T7" fmla="*/ 0 h 127"/>
                    <a:gd name="T8" fmla="*/ 23 w 189"/>
                    <a:gd name="T9" fmla="*/ 0 h 127"/>
                    <a:gd name="T10" fmla="*/ 11 w 189"/>
                    <a:gd name="T11" fmla="*/ 12 h 127"/>
                    <a:gd name="T12" fmla="*/ 11 w 189"/>
                    <a:gd name="T13" fmla="*/ 98 h 127"/>
                    <a:gd name="T14" fmla="*/ 3 w 189"/>
                    <a:gd name="T15" fmla="*/ 98 h 127"/>
                    <a:gd name="T16" fmla="*/ 0 w 189"/>
                    <a:gd name="T17" fmla="*/ 101 h 127"/>
                    <a:gd name="T18" fmla="*/ 0 w 189"/>
                    <a:gd name="T19" fmla="*/ 109 h 127"/>
                    <a:gd name="T20" fmla="*/ 18 w 189"/>
                    <a:gd name="T21" fmla="*/ 127 h 127"/>
                    <a:gd name="T22" fmla="*/ 171 w 189"/>
                    <a:gd name="T23" fmla="*/ 127 h 127"/>
                    <a:gd name="T24" fmla="*/ 189 w 189"/>
                    <a:gd name="T25" fmla="*/ 109 h 127"/>
                    <a:gd name="T26" fmla="*/ 189 w 189"/>
                    <a:gd name="T27" fmla="*/ 101 h 127"/>
                    <a:gd name="T28" fmla="*/ 185 w 189"/>
                    <a:gd name="T29" fmla="*/ 9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127">
                      <a:moveTo>
                        <a:pt x="185" y="98"/>
                      </a:moveTo>
                      <a:cubicBezTo>
                        <a:pt x="178" y="98"/>
                        <a:pt x="178" y="98"/>
                        <a:pt x="178" y="98"/>
                      </a:cubicBezTo>
                      <a:cubicBezTo>
                        <a:pt x="178" y="12"/>
                        <a:pt x="178" y="12"/>
                        <a:pt x="178" y="12"/>
                      </a:cubicBezTo>
                      <a:cubicBezTo>
                        <a:pt x="178" y="5"/>
                        <a:pt x="172" y="0"/>
                        <a:pt x="166" y="0"/>
                      </a:cubicBezTo>
                      <a:cubicBezTo>
                        <a:pt x="23" y="0"/>
                        <a:pt x="23" y="0"/>
                        <a:pt x="23" y="0"/>
                      </a:cubicBezTo>
                      <a:cubicBezTo>
                        <a:pt x="16" y="0"/>
                        <a:pt x="11" y="5"/>
                        <a:pt x="11" y="12"/>
                      </a:cubicBezTo>
                      <a:cubicBezTo>
                        <a:pt x="11" y="98"/>
                        <a:pt x="11" y="98"/>
                        <a:pt x="11" y="98"/>
                      </a:cubicBezTo>
                      <a:cubicBezTo>
                        <a:pt x="3" y="98"/>
                        <a:pt x="3" y="98"/>
                        <a:pt x="3" y="98"/>
                      </a:cubicBezTo>
                      <a:cubicBezTo>
                        <a:pt x="1" y="98"/>
                        <a:pt x="0" y="99"/>
                        <a:pt x="0" y="101"/>
                      </a:cubicBezTo>
                      <a:cubicBezTo>
                        <a:pt x="0" y="109"/>
                        <a:pt x="0" y="109"/>
                        <a:pt x="0" y="109"/>
                      </a:cubicBezTo>
                      <a:cubicBezTo>
                        <a:pt x="0" y="119"/>
                        <a:pt x="8" y="127"/>
                        <a:pt x="18" y="127"/>
                      </a:cubicBezTo>
                      <a:cubicBezTo>
                        <a:pt x="171" y="127"/>
                        <a:pt x="171" y="127"/>
                        <a:pt x="171" y="127"/>
                      </a:cubicBezTo>
                      <a:cubicBezTo>
                        <a:pt x="181" y="127"/>
                        <a:pt x="189" y="119"/>
                        <a:pt x="189" y="109"/>
                      </a:cubicBezTo>
                      <a:cubicBezTo>
                        <a:pt x="189" y="101"/>
                        <a:pt x="189" y="101"/>
                        <a:pt x="189" y="101"/>
                      </a:cubicBezTo>
                      <a:cubicBezTo>
                        <a:pt x="189" y="99"/>
                        <a:pt x="187" y="98"/>
                        <a:pt x="185" y="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36" name="Freeform 204"/>
                <p:cNvSpPr>
                  <a:spLocks/>
                </p:cNvSpPr>
                <p:nvPr/>
              </p:nvSpPr>
              <p:spPr bwMode="auto">
                <a:xfrm>
                  <a:off x="7386876" y="1802567"/>
                  <a:ext cx="157264" cy="82160"/>
                </a:xfrm>
                <a:custGeom>
                  <a:avLst/>
                  <a:gdLst>
                    <a:gd name="T0" fmla="*/ 124 w 132"/>
                    <a:gd name="T1" fmla="*/ 65 h 69"/>
                    <a:gd name="T2" fmla="*/ 128 w 132"/>
                    <a:gd name="T3" fmla="*/ 69 h 69"/>
                    <a:gd name="T4" fmla="*/ 132 w 132"/>
                    <a:gd name="T5" fmla="*/ 65 h 69"/>
                    <a:gd name="T6" fmla="*/ 132 w 132"/>
                    <a:gd name="T7" fmla="*/ 4 h 69"/>
                    <a:gd name="T8" fmla="*/ 128 w 132"/>
                    <a:gd name="T9" fmla="*/ 0 h 69"/>
                    <a:gd name="T10" fmla="*/ 5 w 132"/>
                    <a:gd name="T11" fmla="*/ 0 h 69"/>
                    <a:gd name="T12" fmla="*/ 0 w 132"/>
                    <a:gd name="T13" fmla="*/ 4 h 69"/>
                    <a:gd name="T14" fmla="*/ 0 w 132"/>
                    <a:gd name="T15" fmla="*/ 65 h 69"/>
                    <a:gd name="T16" fmla="*/ 5 w 132"/>
                    <a:gd name="T17" fmla="*/ 69 h 69"/>
                    <a:gd name="T18" fmla="*/ 9 w 132"/>
                    <a:gd name="T19" fmla="*/ 65 h 69"/>
                    <a:gd name="T20" fmla="*/ 9 w 132"/>
                    <a:gd name="T21" fmla="*/ 8 h 69"/>
                    <a:gd name="T22" fmla="*/ 124 w 132"/>
                    <a:gd name="T23" fmla="*/ 8 h 69"/>
                    <a:gd name="T24" fmla="*/ 124 w 132"/>
                    <a:gd name="T25" fmla="*/ 6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69">
                      <a:moveTo>
                        <a:pt x="124" y="65"/>
                      </a:moveTo>
                      <a:cubicBezTo>
                        <a:pt x="124" y="68"/>
                        <a:pt x="126" y="69"/>
                        <a:pt x="128" y="69"/>
                      </a:cubicBezTo>
                      <a:cubicBezTo>
                        <a:pt x="130" y="69"/>
                        <a:pt x="132" y="68"/>
                        <a:pt x="132" y="65"/>
                      </a:cubicBezTo>
                      <a:cubicBezTo>
                        <a:pt x="132" y="4"/>
                        <a:pt x="132" y="4"/>
                        <a:pt x="132" y="4"/>
                      </a:cubicBezTo>
                      <a:cubicBezTo>
                        <a:pt x="132" y="1"/>
                        <a:pt x="130" y="0"/>
                        <a:pt x="128" y="0"/>
                      </a:cubicBezTo>
                      <a:cubicBezTo>
                        <a:pt x="5" y="0"/>
                        <a:pt x="5" y="0"/>
                        <a:pt x="5" y="0"/>
                      </a:cubicBezTo>
                      <a:cubicBezTo>
                        <a:pt x="2" y="0"/>
                        <a:pt x="0" y="1"/>
                        <a:pt x="0" y="4"/>
                      </a:cubicBezTo>
                      <a:cubicBezTo>
                        <a:pt x="0" y="65"/>
                        <a:pt x="0" y="65"/>
                        <a:pt x="0" y="65"/>
                      </a:cubicBezTo>
                      <a:cubicBezTo>
                        <a:pt x="0" y="68"/>
                        <a:pt x="2" y="69"/>
                        <a:pt x="5" y="69"/>
                      </a:cubicBezTo>
                      <a:cubicBezTo>
                        <a:pt x="7" y="69"/>
                        <a:pt x="9" y="68"/>
                        <a:pt x="9" y="65"/>
                      </a:cubicBezTo>
                      <a:cubicBezTo>
                        <a:pt x="9" y="8"/>
                        <a:pt x="9" y="8"/>
                        <a:pt x="9" y="8"/>
                      </a:cubicBezTo>
                      <a:cubicBezTo>
                        <a:pt x="124" y="8"/>
                        <a:pt x="124" y="8"/>
                        <a:pt x="124" y="8"/>
                      </a:cubicBezTo>
                      <a:lnTo>
                        <a:pt x="124" y="65"/>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37" name="Freeform 205"/>
                <p:cNvSpPr>
                  <a:spLocks noEditPoints="1"/>
                </p:cNvSpPr>
                <p:nvPr/>
              </p:nvSpPr>
              <p:spPr bwMode="auto">
                <a:xfrm>
                  <a:off x="7353609" y="1781397"/>
                  <a:ext cx="224807" cy="151215"/>
                </a:xfrm>
                <a:custGeom>
                  <a:avLst/>
                  <a:gdLst>
                    <a:gd name="T0" fmla="*/ 185 w 189"/>
                    <a:gd name="T1" fmla="*/ 98 h 127"/>
                    <a:gd name="T2" fmla="*/ 178 w 189"/>
                    <a:gd name="T3" fmla="*/ 98 h 127"/>
                    <a:gd name="T4" fmla="*/ 178 w 189"/>
                    <a:gd name="T5" fmla="*/ 12 h 127"/>
                    <a:gd name="T6" fmla="*/ 166 w 189"/>
                    <a:gd name="T7" fmla="*/ 0 h 127"/>
                    <a:gd name="T8" fmla="*/ 23 w 189"/>
                    <a:gd name="T9" fmla="*/ 0 h 127"/>
                    <a:gd name="T10" fmla="*/ 11 w 189"/>
                    <a:gd name="T11" fmla="*/ 12 h 127"/>
                    <a:gd name="T12" fmla="*/ 11 w 189"/>
                    <a:gd name="T13" fmla="*/ 98 h 127"/>
                    <a:gd name="T14" fmla="*/ 3 w 189"/>
                    <a:gd name="T15" fmla="*/ 98 h 127"/>
                    <a:gd name="T16" fmla="*/ 0 w 189"/>
                    <a:gd name="T17" fmla="*/ 101 h 127"/>
                    <a:gd name="T18" fmla="*/ 0 w 189"/>
                    <a:gd name="T19" fmla="*/ 109 h 127"/>
                    <a:gd name="T20" fmla="*/ 18 w 189"/>
                    <a:gd name="T21" fmla="*/ 127 h 127"/>
                    <a:gd name="T22" fmla="*/ 171 w 189"/>
                    <a:gd name="T23" fmla="*/ 127 h 127"/>
                    <a:gd name="T24" fmla="*/ 189 w 189"/>
                    <a:gd name="T25" fmla="*/ 109 h 127"/>
                    <a:gd name="T26" fmla="*/ 189 w 189"/>
                    <a:gd name="T27" fmla="*/ 101 h 127"/>
                    <a:gd name="T28" fmla="*/ 185 w 189"/>
                    <a:gd name="T29" fmla="*/ 98 h 127"/>
                    <a:gd name="T30" fmla="*/ 19 w 189"/>
                    <a:gd name="T31" fmla="*/ 12 h 127"/>
                    <a:gd name="T32" fmla="*/ 23 w 189"/>
                    <a:gd name="T33" fmla="*/ 8 h 127"/>
                    <a:gd name="T34" fmla="*/ 166 w 189"/>
                    <a:gd name="T35" fmla="*/ 8 h 127"/>
                    <a:gd name="T36" fmla="*/ 170 w 189"/>
                    <a:gd name="T37" fmla="*/ 12 h 127"/>
                    <a:gd name="T38" fmla="*/ 170 w 189"/>
                    <a:gd name="T39" fmla="*/ 98 h 127"/>
                    <a:gd name="T40" fmla="*/ 115 w 189"/>
                    <a:gd name="T41" fmla="*/ 98 h 127"/>
                    <a:gd name="T42" fmla="*/ 114 w 189"/>
                    <a:gd name="T43" fmla="*/ 98 h 127"/>
                    <a:gd name="T44" fmla="*/ 111 w 189"/>
                    <a:gd name="T45" fmla="*/ 101 h 127"/>
                    <a:gd name="T46" fmla="*/ 105 w 189"/>
                    <a:gd name="T47" fmla="*/ 107 h 127"/>
                    <a:gd name="T48" fmla="*/ 84 w 189"/>
                    <a:gd name="T49" fmla="*/ 107 h 127"/>
                    <a:gd name="T50" fmla="*/ 78 w 189"/>
                    <a:gd name="T51" fmla="*/ 101 h 127"/>
                    <a:gd name="T52" fmla="*/ 74 w 189"/>
                    <a:gd name="T53" fmla="*/ 98 h 127"/>
                    <a:gd name="T54" fmla="*/ 19 w 189"/>
                    <a:gd name="T55" fmla="*/ 98 h 127"/>
                    <a:gd name="T56" fmla="*/ 19 w 189"/>
                    <a:gd name="T57" fmla="*/ 12 h 127"/>
                    <a:gd name="T58" fmla="*/ 182 w 189"/>
                    <a:gd name="T59" fmla="*/ 109 h 127"/>
                    <a:gd name="T60" fmla="*/ 171 w 189"/>
                    <a:gd name="T61" fmla="*/ 119 h 127"/>
                    <a:gd name="T62" fmla="*/ 18 w 189"/>
                    <a:gd name="T63" fmla="*/ 119 h 127"/>
                    <a:gd name="T64" fmla="*/ 7 w 189"/>
                    <a:gd name="T65" fmla="*/ 109 h 127"/>
                    <a:gd name="T66" fmla="*/ 7 w 189"/>
                    <a:gd name="T67" fmla="*/ 105 h 127"/>
                    <a:gd name="T68" fmla="*/ 71 w 189"/>
                    <a:gd name="T69" fmla="*/ 105 h 127"/>
                    <a:gd name="T70" fmla="*/ 84 w 189"/>
                    <a:gd name="T71" fmla="*/ 114 h 127"/>
                    <a:gd name="T72" fmla="*/ 105 w 189"/>
                    <a:gd name="T73" fmla="*/ 114 h 127"/>
                    <a:gd name="T74" fmla="*/ 118 w 189"/>
                    <a:gd name="T75" fmla="*/ 105 h 127"/>
                    <a:gd name="T76" fmla="*/ 182 w 189"/>
                    <a:gd name="T77" fmla="*/ 105 h 127"/>
                    <a:gd name="T78" fmla="*/ 182 w 189"/>
                    <a:gd name="T79" fmla="*/ 10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9" h="127">
                      <a:moveTo>
                        <a:pt x="185" y="98"/>
                      </a:moveTo>
                      <a:cubicBezTo>
                        <a:pt x="178" y="98"/>
                        <a:pt x="178" y="98"/>
                        <a:pt x="178" y="98"/>
                      </a:cubicBezTo>
                      <a:cubicBezTo>
                        <a:pt x="178" y="12"/>
                        <a:pt x="178" y="12"/>
                        <a:pt x="178" y="12"/>
                      </a:cubicBezTo>
                      <a:cubicBezTo>
                        <a:pt x="178" y="5"/>
                        <a:pt x="172" y="0"/>
                        <a:pt x="166" y="0"/>
                      </a:cubicBezTo>
                      <a:cubicBezTo>
                        <a:pt x="23" y="0"/>
                        <a:pt x="23" y="0"/>
                        <a:pt x="23" y="0"/>
                      </a:cubicBezTo>
                      <a:cubicBezTo>
                        <a:pt x="16" y="0"/>
                        <a:pt x="11" y="5"/>
                        <a:pt x="11" y="12"/>
                      </a:cubicBezTo>
                      <a:cubicBezTo>
                        <a:pt x="11" y="98"/>
                        <a:pt x="11" y="98"/>
                        <a:pt x="11" y="98"/>
                      </a:cubicBezTo>
                      <a:cubicBezTo>
                        <a:pt x="3" y="98"/>
                        <a:pt x="3" y="98"/>
                        <a:pt x="3" y="98"/>
                      </a:cubicBezTo>
                      <a:cubicBezTo>
                        <a:pt x="1" y="98"/>
                        <a:pt x="0" y="99"/>
                        <a:pt x="0" y="101"/>
                      </a:cubicBezTo>
                      <a:cubicBezTo>
                        <a:pt x="0" y="109"/>
                        <a:pt x="0" y="109"/>
                        <a:pt x="0" y="109"/>
                      </a:cubicBezTo>
                      <a:cubicBezTo>
                        <a:pt x="0" y="119"/>
                        <a:pt x="8" y="127"/>
                        <a:pt x="18" y="127"/>
                      </a:cubicBezTo>
                      <a:cubicBezTo>
                        <a:pt x="171" y="127"/>
                        <a:pt x="171" y="127"/>
                        <a:pt x="171" y="127"/>
                      </a:cubicBezTo>
                      <a:cubicBezTo>
                        <a:pt x="181" y="127"/>
                        <a:pt x="189" y="119"/>
                        <a:pt x="189" y="109"/>
                      </a:cubicBezTo>
                      <a:cubicBezTo>
                        <a:pt x="189" y="101"/>
                        <a:pt x="189" y="101"/>
                        <a:pt x="189" y="101"/>
                      </a:cubicBezTo>
                      <a:cubicBezTo>
                        <a:pt x="189" y="99"/>
                        <a:pt x="187" y="98"/>
                        <a:pt x="185" y="98"/>
                      </a:cubicBezTo>
                      <a:moveTo>
                        <a:pt x="19" y="12"/>
                      </a:moveTo>
                      <a:cubicBezTo>
                        <a:pt x="19" y="10"/>
                        <a:pt x="21" y="8"/>
                        <a:pt x="23" y="8"/>
                      </a:cubicBezTo>
                      <a:cubicBezTo>
                        <a:pt x="166" y="8"/>
                        <a:pt x="166" y="8"/>
                        <a:pt x="166" y="8"/>
                      </a:cubicBezTo>
                      <a:cubicBezTo>
                        <a:pt x="168" y="8"/>
                        <a:pt x="170" y="10"/>
                        <a:pt x="170" y="12"/>
                      </a:cubicBezTo>
                      <a:cubicBezTo>
                        <a:pt x="170" y="98"/>
                        <a:pt x="170" y="98"/>
                        <a:pt x="170" y="98"/>
                      </a:cubicBezTo>
                      <a:cubicBezTo>
                        <a:pt x="115" y="98"/>
                        <a:pt x="115" y="98"/>
                        <a:pt x="115" y="98"/>
                      </a:cubicBezTo>
                      <a:cubicBezTo>
                        <a:pt x="114" y="98"/>
                        <a:pt x="114" y="98"/>
                        <a:pt x="114" y="98"/>
                      </a:cubicBezTo>
                      <a:cubicBezTo>
                        <a:pt x="112" y="98"/>
                        <a:pt x="111" y="100"/>
                        <a:pt x="111" y="101"/>
                      </a:cubicBezTo>
                      <a:cubicBezTo>
                        <a:pt x="111" y="105"/>
                        <a:pt x="108" y="107"/>
                        <a:pt x="105" y="107"/>
                      </a:cubicBezTo>
                      <a:cubicBezTo>
                        <a:pt x="84" y="107"/>
                        <a:pt x="84" y="107"/>
                        <a:pt x="84" y="107"/>
                      </a:cubicBezTo>
                      <a:cubicBezTo>
                        <a:pt x="80" y="107"/>
                        <a:pt x="78" y="105"/>
                        <a:pt x="78" y="101"/>
                      </a:cubicBezTo>
                      <a:cubicBezTo>
                        <a:pt x="78" y="99"/>
                        <a:pt x="76" y="98"/>
                        <a:pt x="74" y="98"/>
                      </a:cubicBezTo>
                      <a:cubicBezTo>
                        <a:pt x="19" y="98"/>
                        <a:pt x="19" y="98"/>
                        <a:pt x="19" y="98"/>
                      </a:cubicBezTo>
                      <a:lnTo>
                        <a:pt x="19" y="12"/>
                      </a:lnTo>
                      <a:close/>
                      <a:moveTo>
                        <a:pt x="182" y="109"/>
                      </a:moveTo>
                      <a:cubicBezTo>
                        <a:pt x="182" y="115"/>
                        <a:pt x="177" y="119"/>
                        <a:pt x="171" y="119"/>
                      </a:cubicBezTo>
                      <a:cubicBezTo>
                        <a:pt x="18" y="119"/>
                        <a:pt x="18" y="119"/>
                        <a:pt x="18" y="119"/>
                      </a:cubicBezTo>
                      <a:cubicBezTo>
                        <a:pt x="12" y="119"/>
                        <a:pt x="7" y="115"/>
                        <a:pt x="7" y="109"/>
                      </a:cubicBezTo>
                      <a:cubicBezTo>
                        <a:pt x="7" y="105"/>
                        <a:pt x="7" y="105"/>
                        <a:pt x="7" y="105"/>
                      </a:cubicBezTo>
                      <a:cubicBezTo>
                        <a:pt x="71" y="105"/>
                        <a:pt x="71" y="105"/>
                        <a:pt x="71" y="105"/>
                      </a:cubicBezTo>
                      <a:cubicBezTo>
                        <a:pt x="73" y="111"/>
                        <a:pt x="78" y="114"/>
                        <a:pt x="84" y="114"/>
                      </a:cubicBezTo>
                      <a:cubicBezTo>
                        <a:pt x="105" y="114"/>
                        <a:pt x="105" y="114"/>
                        <a:pt x="105" y="114"/>
                      </a:cubicBezTo>
                      <a:cubicBezTo>
                        <a:pt x="111" y="114"/>
                        <a:pt x="116" y="111"/>
                        <a:pt x="118" y="105"/>
                      </a:cubicBezTo>
                      <a:cubicBezTo>
                        <a:pt x="182" y="105"/>
                        <a:pt x="182" y="105"/>
                        <a:pt x="182" y="105"/>
                      </a:cubicBezTo>
                      <a:lnTo>
                        <a:pt x="182" y="109"/>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38" name="Freeform 206"/>
                <p:cNvSpPr>
                  <a:spLocks/>
                </p:cNvSpPr>
                <p:nvPr/>
              </p:nvSpPr>
              <p:spPr bwMode="auto">
                <a:xfrm>
                  <a:off x="7433249" y="1828778"/>
                  <a:ext cx="41836" cy="40324"/>
                </a:xfrm>
                <a:custGeom>
                  <a:avLst/>
                  <a:gdLst>
                    <a:gd name="T0" fmla="*/ 33 w 35"/>
                    <a:gd name="T1" fmla="*/ 7 h 34"/>
                    <a:gd name="T2" fmla="*/ 33 w 35"/>
                    <a:gd name="T3" fmla="*/ 1 h 34"/>
                    <a:gd name="T4" fmla="*/ 28 w 35"/>
                    <a:gd name="T5" fmla="*/ 1 h 34"/>
                    <a:gd name="T6" fmla="*/ 2 w 35"/>
                    <a:gd name="T7" fmla="*/ 27 h 34"/>
                    <a:gd name="T8" fmla="*/ 2 w 35"/>
                    <a:gd name="T9" fmla="*/ 33 h 34"/>
                    <a:gd name="T10" fmla="*/ 5 w 35"/>
                    <a:gd name="T11" fmla="*/ 34 h 34"/>
                    <a:gd name="T12" fmla="*/ 8 w 35"/>
                    <a:gd name="T13" fmla="*/ 33 h 34"/>
                    <a:gd name="T14" fmla="*/ 33 w 35"/>
                    <a:gd name="T15" fmla="*/ 7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4">
                      <a:moveTo>
                        <a:pt x="33" y="7"/>
                      </a:moveTo>
                      <a:cubicBezTo>
                        <a:pt x="35" y="5"/>
                        <a:pt x="35" y="3"/>
                        <a:pt x="33" y="1"/>
                      </a:cubicBezTo>
                      <a:cubicBezTo>
                        <a:pt x="32" y="0"/>
                        <a:pt x="29" y="0"/>
                        <a:pt x="28" y="1"/>
                      </a:cubicBezTo>
                      <a:cubicBezTo>
                        <a:pt x="2" y="27"/>
                        <a:pt x="2" y="27"/>
                        <a:pt x="2" y="27"/>
                      </a:cubicBezTo>
                      <a:cubicBezTo>
                        <a:pt x="0" y="29"/>
                        <a:pt x="0" y="31"/>
                        <a:pt x="2" y="33"/>
                      </a:cubicBezTo>
                      <a:cubicBezTo>
                        <a:pt x="3" y="33"/>
                        <a:pt x="4" y="34"/>
                        <a:pt x="5" y="34"/>
                      </a:cubicBezTo>
                      <a:cubicBezTo>
                        <a:pt x="6" y="34"/>
                        <a:pt x="7" y="33"/>
                        <a:pt x="8" y="33"/>
                      </a:cubicBezTo>
                      <a:lnTo>
                        <a:pt x="33" y="7"/>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39" name="Freeform 207"/>
                <p:cNvSpPr>
                  <a:spLocks/>
                </p:cNvSpPr>
                <p:nvPr/>
              </p:nvSpPr>
              <p:spPr bwMode="auto">
                <a:xfrm>
                  <a:off x="7470045" y="1846924"/>
                  <a:ext cx="22682" cy="21170"/>
                </a:xfrm>
                <a:custGeom>
                  <a:avLst/>
                  <a:gdLst>
                    <a:gd name="T0" fmla="*/ 12 w 19"/>
                    <a:gd name="T1" fmla="*/ 1 h 18"/>
                    <a:gd name="T2" fmla="*/ 2 w 19"/>
                    <a:gd name="T3" fmla="*/ 11 h 18"/>
                    <a:gd name="T4" fmla="*/ 2 w 19"/>
                    <a:gd name="T5" fmla="*/ 17 h 18"/>
                    <a:gd name="T6" fmla="*/ 4 w 19"/>
                    <a:gd name="T7" fmla="*/ 18 h 18"/>
                    <a:gd name="T8" fmla="*/ 7 w 19"/>
                    <a:gd name="T9" fmla="*/ 17 h 18"/>
                    <a:gd name="T10" fmla="*/ 18 w 19"/>
                    <a:gd name="T11" fmla="*/ 7 h 18"/>
                    <a:gd name="T12" fmla="*/ 18 w 19"/>
                    <a:gd name="T13" fmla="*/ 1 h 18"/>
                    <a:gd name="T14" fmla="*/ 12 w 19"/>
                    <a:gd name="T15" fmla="*/ 1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12" y="1"/>
                      </a:moveTo>
                      <a:cubicBezTo>
                        <a:pt x="2" y="11"/>
                        <a:pt x="2" y="11"/>
                        <a:pt x="2" y="11"/>
                      </a:cubicBezTo>
                      <a:cubicBezTo>
                        <a:pt x="0" y="13"/>
                        <a:pt x="0" y="16"/>
                        <a:pt x="2" y="17"/>
                      </a:cubicBezTo>
                      <a:cubicBezTo>
                        <a:pt x="2" y="18"/>
                        <a:pt x="3" y="18"/>
                        <a:pt x="4" y="18"/>
                      </a:cubicBezTo>
                      <a:cubicBezTo>
                        <a:pt x="6" y="18"/>
                        <a:pt x="7" y="18"/>
                        <a:pt x="7" y="17"/>
                      </a:cubicBezTo>
                      <a:cubicBezTo>
                        <a:pt x="18" y="7"/>
                        <a:pt x="18" y="7"/>
                        <a:pt x="18" y="7"/>
                      </a:cubicBezTo>
                      <a:cubicBezTo>
                        <a:pt x="19" y="5"/>
                        <a:pt x="19" y="3"/>
                        <a:pt x="18" y="1"/>
                      </a:cubicBezTo>
                      <a:cubicBezTo>
                        <a:pt x="16" y="0"/>
                        <a:pt x="13" y="0"/>
                        <a:pt x="12" y="1"/>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grpSp>
        <p:sp>
          <p:nvSpPr>
            <p:cNvPr id="121" name="TextBox 120"/>
            <p:cNvSpPr txBox="1"/>
            <p:nvPr/>
          </p:nvSpPr>
          <p:spPr>
            <a:xfrm>
              <a:off x="7328248" y="1421047"/>
              <a:ext cx="192360" cy="107722"/>
            </a:xfrm>
            <a:prstGeom prst="rect">
              <a:avLst/>
            </a:prstGeom>
            <a:noFill/>
          </p:spPr>
          <p:txBody>
            <a:bodyPr wrap="none" lIns="0" tIns="0" rIns="0" bIns="0" rtlCol="0" anchor="ctr" anchorCtr="0">
              <a:spAutoFit/>
            </a:bodyPr>
            <a:lstStyle/>
            <a:p>
              <a:pPr algn="ctr">
                <a:spcBef>
                  <a:spcPts val="1800"/>
                </a:spcBef>
              </a:pPr>
              <a:r>
                <a:rPr lang="en-US" sz="1000" dirty="0" err="1">
                  <a:solidFill>
                    <a:srgbClr val="FFFFFF"/>
                  </a:solidFill>
                </a:rPr>
                <a:t>NSO</a:t>
              </a:r>
              <a:endParaRPr lang="en-US" sz="1000" dirty="0">
                <a:solidFill>
                  <a:srgbClr val="FFFFFF"/>
                </a:solidFill>
              </a:endParaRPr>
            </a:p>
          </p:txBody>
        </p:sp>
        <p:sp>
          <p:nvSpPr>
            <p:cNvPr id="122" name="TextBox 121"/>
            <p:cNvSpPr txBox="1"/>
            <p:nvPr/>
          </p:nvSpPr>
          <p:spPr>
            <a:xfrm>
              <a:off x="7323439" y="2096687"/>
              <a:ext cx="201978" cy="107722"/>
            </a:xfrm>
            <a:prstGeom prst="rect">
              <a:avLst/>
            </a:prstGeom>
            <a:noFill/>
          </p:spPr>
          <p:txBody>
            <a:bodyPr wrap="none" lIns="0" tIns="0" rIns="0" bIns="0" rtlCol="0" anchor="ctr" anchorCtr="0">
              <a:spAutoFit/>
            </a:bodyPr>
            <a:lstStyle/>
            <a:p>
              <a:pPr algn="ctr">
                <a:spcBef>
                  <a:spcPts val="1800"/>
                </a:spcBef>
              </a:pPr>
              <a:r>
                <a:rPr lang="en-US" sz="1000" dirty="0" err="1">
                  <a:solidFill>
                    <a:srgbClr val="FFFFFF"/>
                  </a:solidFill>
                </a:rPr>
                <a:t>WAE</a:t>
              </a:r>
              <a:endParaRPr lang="en-US" sz="1000" dirty="0">
                <a:solidFill>
                  <a:srgbClr val="FFFFFF"/>
                </a:solidFill>
              </a:endParaRPr>
            </a:p>
          </p:txBody>
        </p:sp>
        <p:sp>
          <p:nvSpPr>
            <p:cNvPr id="123" name="TextBox 122"/>
            <p:cNvSpPr txBox="1"/>
            <p:nvPr/>
          </p:nvSpPr>
          <p:spPr>
            <a:xfrm>
              <a:off x="7707949" y="1743106"/>
              <a:ext cx="405560" cy="215444"/>
            </a:xfrm>
            <a:prstGeom prst="rect">
              <a:avLst/>
            </a:prstGeom>
            <a:noFill/>
          </p:spPr>
          <p:txBody>
            <a:bodyPr wrap="none" lIns="0" tIns="0" rIns="0" bIns="0" rtlCol="0" anchor="ctr" anchorCtr="0">
              <a:spAutoFit/>
            </a:bodyPr>
            <a:lstStyle/>
            <a:p>
              <a:pPr>
                <a:spcBef>
                  <a:spcPts val="1800"/>
                </a:spcBef>
              </a:pPr>
              <a:r>
                <a:rPr lang="en-US" sz="1000" dirty="0">
                  <a:solidFill>
                    <a:srgbClr val="FFFFFF"/>
                  </a:solidFill>
                </a:rPr>
                <a:t>Ultra-</a:t>
              </a:r>
              <a:br>
                <a:rPr lang="en-US" sz="1000" dirty="0">
                  <a:solidFill>
                    <a:srgbClr val="FFFFFF"/>
                  </a:solidFill>
                </a:rPr>
              </a:br>
              <a:r>
                <a:rPr lang="en-US" sz="1000" dirty="0">
                  <a:solidFill>
                    <a:srgbClr val="FFFFFF"/>
                  </a:solidFill>
                </a:rPr>
                <a:t>Automate</a:t>
              </a:r>
            </a:p>
          </p:txBody>
        </p:sp>
        <p:sp>
          <p:nvSpPr>
            <p:cNvPr id="124" name="TextBox 123"/>
            <p:cNvSpPr txBox="1"/>
            <p:nvPr/>
          </p:nvSpPr>
          <p:spPr>
            <a:xfrm>
              <a:off x="6719678" y="1743106"/>
              <a:ext cx="415177" cy="215444"/>
            </a:xfrm>
            <a:prstGeom prst="rect">
              <a:avLst/>
            </a:prstGeom>
            <a:noFill/>
          </p:spPr>
          <p:txBody>
            <a:bodyPr wrap="none" lIns="0" tIns="0" rIns="0" bIns="0" rtlCol="0" anchor="ctr" anchorCtr="0">
              <a:spAutoFit/>
            </a:bodyPr>
            <a:lstStyle/>
            <a:p>
              <a:pPr algn="r">
                <a:spcBef>
                  <a:spcPts val="1800"/>
                </a:spcBef>
              </a:pPr>
              <a:r>
                <a:rPr lang="en-US" sz="1000" dirty="0">
                  <a:solidFill>
                    <a:srgbClr val="FFFFFF"/>
                  </a:solidFill>
                </a:rPr>
                <a:t>Analytics/</a:t>
              </a:r>
              <a:br>
                <a:rPr lang="en-US" sz="1000" dirty="0">
                  <a:solidFill>
                    <a:srgbClr val="FFFFFF"/>
                  </a:solidFill>
                </a:rPr>
              </a:br>
              <a:r>
                <a:rPr lang="en-US" sz="1000" dirty="0">
                  <a:solidFill>
                    <a:srgbClr val="FFFFFF"/>
                  </a:solidFill>
                </a:rPr>
                <a:t>Telemetry</a:t>
              </a:r>
            </a:p>
          </p:txBody>
        </p:sp>
      </p:grpSp>
      <p:sp>
        <p:nvSpPr>
          <p:cNvPr id="151" name="TextBox 150"/>
          <p:cNvSpPr txBox="1"/>
          <p:nvPr/>
        </p:nvSpPr>
        <p:spPr>
          <a:xfrm>
            <a:off x="441138" y="1030641"/>
            <a:ext cx="2479862" cy="400110"/>
          </a:xfrm>
          <a:prstGeom prst="rect">
            <a:avLst/>
          </a:prstGeom>
          <a:noFill/>
        </p:spPr>
        <p:txBody>
          <a:bodyPr wrap="square" rtlCol="0" anchor="t" anchorCtr="0">
            <a:spAutoFit/>
          </a:bodyPr>
          <a:lstStyle/>
          <a:p>
            <a:r>
              <a:rPr lang="en-US" sz="1000" dirty="0">
                <a:solidFill>
                  <a:srgbClr val="64BBE3"/>
                </a:solidFill>
              </a:rPr>
              <a:t>1) BUILD 5G CAPABILITIES INTO</a:t>
            </a:r>
          </a:p>
          <a:p>
            <a:r>
              <a:rPr lang="en-US" sz="1000" dirty="0">
                <a:solidFill>
                  <a:srgbClr val="64BBE3"/>
                </a:solidFill>
              </a:rPr>
              <a:t>EXISTING IP TRANSPORT NETWORK</a:t>
            </a:r>
            <a:endParaRPr lang="en-US" sz="800" dirty="0">
              <a:solidFill>
                <a:srgbClr val="64BBE3"/>
              </a:solidFill>
            </a:endParaRPr>
          </a:p>
        </p:txBody>
      </p:sp>
      <p:sp>
        <p:nvSpPr>
          <p:cNvPr id="159" name="TextBox 158"/>
          <p:cNvSpPr txBox="1"/>
          <p:nvPr/>
        </p:nvSpPr>
        <p:spPr>
          <a:xfrm>
            <a:off x="441138" y="2070771"/>
            <a:ext cx="2479862" cy="553998"/>
          </a:xfrm>
          <a:prstGeom prst="rect">
            <a:avLst/>
          </a:prstGeom>
          <a:noFill/>
        </p:spPr>
        <p:txBody>
          <a:bodyPr wrap="square" rtlCol="0" anchor="t" anchorCtr="0">
            <a:spAutoFit/>
          </a:bodyPr>
          <a:lstStyle/>
          <a:p>
            <a:pPr>
              <a:spcAft>
                <a:spcPts val="900"/>
              </a:spcAft>
            </a:pPr>
            <a:r>
              <a:rPr lang="en-US" sz="1000" dirty="0">
                <a:solidFill>
                  <a:srgbClr val="64BBE3"/>
                </a:solidFill>
              </a:rPr>
              <a:t>2) EVOLVE TRADITIONAL PACKET CORE TO VIRTUAL (OR HYBRID) SOLUTION</a:t>
            </a:r>
            <a:endParaRPr lang="en-US" sz="800" dirty="0">
              <a:solidFill>
                <a:srgbClr val="64BBE3"/>
              </a:solidFill>
            </a:endParaRPr>
          </a:p>
        </p:txBody>
      </p:sp>
      <p:sp>
        <p:nvSpPr>
          <p:cNvPr id="160" name="TextBox 159"/>
          <p:cNvSpPr txBox="1"/>
          <p:nvPr/>
        </p:nvSpPr>
        <p:spPr>
          <a:xfrm>
            <a:off x="441138" y="3110901"/>
            <a:ext cx="2479862" cy="246221"/>
          </a:xfrm>
          <a:prstGeom prst="rect">
            <a:avLst/>
          </a:prstGeom>
          <a:noFill/>
        </p:spPr>
        <p:txBody>
          <a:bodyPr wrap="square" rtlCol="0" anchor="t" anchorCtr="0">
            <a:spAutoFit/>
          </a:bodyPr>
          <a:lstStyle/>
          <a:p>
            <a:pPr>
              <a:spcAft>
                <a:spcPts val="900"/>
              </a:spcAft>
            </a:pPr>
            <a:r>
              <a:rPr lang="en-US" sz="1000" dirty="0">
                <a:solidFill>
                  <a:srgbClr val="64BBE3"/>
                </a:solidFill>
              </a:rPr>
              <a:t>3) AUTOMATE AND SIMPLIFY</a:t>
            </a:r>
            <a:endParaRPr lang="en-US" sz="800" dirty="0">
              <a:solidFill>
                <a:srgbClr val="64BBE3"/>
              </a:solidFill>
            </a:endParaRPr>
          </a:p>
        </p:txBody>
      </p:sp>
      <p:sp>
        <p:nvSpPr>
          <p:cNvPr id="161" name="TextBox 160"/>
          <p:cNvSpPr txBox="1"/>
          <p:nvPr/>
        </p:nvSpPr>
        <p:spPr>
          <a:xfrm>
            <a:off x="441138" y="4007521"/>
            <a:ext cx="2479862" cy="246221"/>
          </a:xfrm>
          <a:prstGeom prst="rect">
            <a:avLst/>
          </a:prstGeom>
          <a:noFill/>
        </p:spPr>
        <p:txBody>
          <a:bodyPr wrap="square" rtlCol="0" anchor="t" anchorCtr="0">
            <a:spAutoFit/>
          </a:bodyPr>
          <a:lstStyle/>
          <a:p>
            <a:pPr>
              <a:spcAft>
                <a:spcPts val="900"/>
              </a:spcAft>
            </a:pPr>
            <a:r>
              <a:rPr lang="en-US" sz="1000" dirty="0">
                <a:solidFill>
                  <a:srgbClr val="64BBE3"/>
                </a:solidFill>
              </a:rPr>
              <a:t>4) UNIFIED WIRELESS</a:t>
            </a:r>
            <a:endParaRPr lang="en-US" sz="800" dirty="0">
              <a:solidFill>
                <a:srgbClr val="64BBE3"/>
              </a:solidFill>
            </a:endParaRPr>
          </a:p>
        </p:txBody>
      </p:sp>
      <p:sp>
        <p:nvSpPr>
          <p:cNvPr id="163" name="TextBox 162"/>
          <p:cNvSpPr txBox="1"/>
          <p:nvPr/>
        </p:nvSpPr>
        <p:spPr>
          <a:xfrm>
            <a:off x="7462809" y="2319281"/>
            <a:ext cx="787395" cy="207749"/>
          </a:xfrm>
          <a:prstGeom prst="rect">
            <a:avLst/>
          </a:prstGeom>
          <a:noFill/>
        </p:spPr>
        <p:txBody>
          <a:bodyPr wrap="none" rtlCol="0" anchor="t" anchorCtr="0">
            <a:spAutoFit/>
          </a:bodyPr>
          <a:lstStyle/>
          <a:p>
            <a:pPr algn="ctr">
              <a:spcBef>
                <a:spcPts val="1800"/>
              </a:spcBef>
            </a:pPr>
            <a:r>
              <a:rPr lang="en-US" sz="750" dirty="0">
                <a:solidFill>
                  <a:srgbClr val="004990"/>
                </a:solidFill>
              </a:rPr>
              <a:t>Control Plane</a:t>
            </a:r>
          </a:p>
        </p:txBody>
      </p:sp>
      <p:grpSp>
        <p:nvGrpSpPr>
          <p:cNvPr id="164" name="Group 163"/>
          <p:cNvGrpSpPr/>
          <p:nvPr/>
        </p:nvGrpSpPr>
        <p:grpSpPr>
          <a:xfrm>
            <a:off x="7447995" y="1797568"/>
            <a:ext cx="817023" cy="526784"/>
            <a:chOff x="3673024" y="1281378"/>
            <a:chExt cx="889651" cy="573611"/>
          </a:xfrm>
        </p:grpSpPr>
        <p:sp>
          <p:nvSpPr>
            <p:cNvPr id="165" name="Freeform 262"/>
            <p:cNvSpPr>
              <a:spLocks/>
            </p:cNvSpPr>
            <p:nvPr/>
          </p:nvSpPr>
          <p:spPr bwMode="auto">
            <a:xfrm>
              <a:off x="3673024" y="1281378"/>
              <a:ext cx="889651" cy="573611"/>
            </a:xfrm>
            <a:custGeom>
              <a:avLst/>
              <a:gdLst>
                <a:gd name="T0" fmla="*/ 270 w 747"/>
                <a:gd name="T1" fmla="*/ 99 h 482"/>
                <a:gd name="T2" fmla="*/ 210 w 747"/>
                <a:gd name="T3" fmla="*/ 71 h 482"/>
                <a:gd name="T4" fmla="*/ 133 w 747"/>
                <a:gd name="T5" fmla="*/ 148 h 482"/>
                <a:gd name="T6" fmla="*/ 141 w 747"/>
                <a:gd name="T7" fmla="*/ 181 h 482"/>
                <a:gd name="T8" fmla="*/ 0 w 747"/>
                <a:gd name="T9" fmla="*/ 332 h 482"/>
                <a:gd name="T10" fmla="*/ 150 w 747"/>
                <a:gd name="T11" fmla="*/ 482 h 482"/>
                <a:gd name="T12" fmla="*/ 589 w 747"/>
                <a:gd name="T13" fmla="*/ 482 h 482"/>
                <a:gd name="T14" fmla="*/ 747 w 747"/>
                <a:gd name="T15" fmla="*/ 325 h 482"/>
                <a:gd name="T16" fmla="*/ 589 w 747"/>
                <a:gd name="T17" fmla="*/ 167 h 482"/>
                <a:gd name="T18" fmla="*/ 589 w 747"/>
                <a:gd name="T19" fmla="*/ 167 h 482"/>
                <a:gd name="T20" fmla="*/ 422 w 747"/>
                <a:gd name="T21" fmla="*/ 0 h 482"/>
                <a:gd name="T22" fmla="*/ 270 w 747"/>
                <a:gd name="T23" fmla="*/ 99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7" h="482">
                  <a:moveTo>
                    <a:pt x="270" y="99"/>
                  </a:moveTo>
                  <a:cubicBezTo>
                    <a:pt x="255" y="82"/>
                    <a:pt x="234" y="71"/>
                    <a:pt x="210" y="71"/>
                  </a:cubicBezTo>
                  <a:cubicBezTo>
                    <a:pt x="168" y="71"/>
                    <a:pt x="133" y="106"/>
                    <a:pt x="133" y="148"/>
                  </a:cubicBezTo>
                  <a:cubicBezTo>
                    <a:pt x="133" y="160"/>
                    <a:pt x="136" y="171"/>
                    <a:pt x="141" y="181"/>
                  </a:cubicBezTo>
                  <a:cubicBezTo>
                    <a:pt x="62" y="186"/>
                    <a:pt x="0" y="252"/>
                    <a:pt x="0" y="332"/>
                  </a:cubicBezTo>
                  <a:cubicBezTo>
                    <a:pt x="0" y="415"/>
                    <a:pt x="67" y="482"/>
                    <a:pt x="150" y="482"/>
                  </a:cubicBezTo>
                  <a:cubicBezTo>
                    <a:pt x="589" y="482"/>
                    <a:pt x="589" y="482"/>
                    <a:pt x="589" y="482"/>
                  </a:cubicBezTo>
                  <a:cubicBezTo>
                    <a:pt x="676" y="482"/>
                    <a:pt x="747" y="412"/>
                    <a:pt x="747" y="325"/>
                  </a:cubicBezTo>
                  <a:cubicBezTo>
                    <a:pt x="747" y="238"/>
                    <a:pt x="676" y="167"/>
                    <a:pt x="589" y="167"/>
                  </a:cubicBezTo>
                  <a:cubicBezTo>
                    <a:pt x="589" y="167"/>
                    <a:pt x="589" y="167"/>
                    <a:pt x="589" y="167"/>
                  </a:cubicBezTo>
                  <a:cubicBezTo>
                    <a:pt x="589" y="75"/>
                    <a:pt x="514" y="0"/>
                    <a:pt x="422" y="0"/>
                  </a:cubicBezTo>
                  <a:cubicBezTo>
                    <a:pt x="354" y="0"/>
                    <a:pt x="296" y="41"/>
                    <a:pt x="270" y="99"/>
                  </a:cubicBezTo>
                </a:path>
              </a:pathLst>
            </a:custGeom>
            <a:gradFill>
              <a:gsLst>
                <a:gs pos="50000">
                  <a:srgbClr val="097DBC"/>
                </a:gs>
                <a:gs pos="0">
                  <a:srgbClr val="004BAF"/>
                </a:gs>
                <a:gs pos="100000">
                  <a:schemeClr val="accent1"/>
                </a:gs>
              </a:gsLst>
              <a:lin ang="16200000" scaled="1"/>
            </a:gra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700"/>
            </a:p>
          </p:txBody>
        </p:sp>
        <p:grpSp>
          <p:nvGrpSpPr>
            <p:cNvPr id="166" name="Group 165"/>
            <p:cNvGrpSpPr/>
            <p:nvPr/>
          </p:nvGrpSpPr>
          <p:grpSpPr>
            <a:xfrm>
              <a:off x="3976967" y="1492071"/>
              <a:ext cx="280757" cy="277228"/>
              <a:chOff x="3976967" y="1492071"/>
              <a:chExt cx="280757" cy="277228"/>
            </a:xfrm>
          </p:grpSpPr>
          <p:sp>
            <p:nvSpPr>
              <p:cNvPr id="167" name="Freeform 264"/>
              <p:cNvSpPr>
                <a:spLocks noEditPoints="1"/>
              </p:cNvSpPr>
              <p:nvPr/>
            </p:nvSpPr>
            <p:spPr bwMode="auto">
              <a:xfrm>
                <a:off x="4006706" y="1521811"/>
                <a:ext cx="41332" cy="41332"/>
              </a:xfrm>
              <a:custGeom>
                <a:avLst/>
                <a:gdLst>
                  <a:gd name="T0" fmla="*/ 17 w 35"/>
                  <a:gd name="T1" fmla="*/ 0 h 35"/>
                  <a:gd name="T2" fmla="*/ 0 w 35"/>
                  <a:gd name="T3" fmla="*/ 18 h 35"/>
                  <a:gd name="T4" fmla="*/ 17 w 35"/>
                  <a:gd name="T5" fmla="*/ 35 h 35"/>
                  <a:gd name="T6" fmla="*/ 35 w 35"/>
                  <a:gd name="T7" fmla="*/ 18 h 35"/>
                  <a:gd name="T8" fmla="*/ 17 w 35"/>
                  <a:gd name="T9" fmla="*/ 0 h 35"/>
                  <a:gd name="T10" fmla="*/ 17 w 35"/>
                  <a:gd name="T11" fmla="*/ 27 h 35"/>
                  <a:gd name="T12" fmla="*/ 8 w 35"/>
                  <a:gd name="T13" fmla="*/ 18 h 35"/>
                  <a:gd name="T14" fmla="*/ 17 w 35"/>
                  <a:gd name="T15" fmla="*/ 8 h 35"/>
                  <a:gd name="T16" fmla="*/ 27 w 35"/>
                  <a:gd name="T17" fmla="*/ 18 h 35"/>
                  <a:gd name="T18" fmla="*/ 17 w 35"/>
                  <a:gd name="T19"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0"/>
                    </a:moveTo>
                    <a:cubicBezTo>
                      <a:pt x="8" y="0"/>
                      <a:pt x="0" y="8"/>
                      <a:pt x="0" y="18"/>
                    </a:cubicBezTo>
                    <a:cubicBezTo>
                      <a:pt x="0" y="27"/>
                      <a:pt x="8" y="35"/>
                      <a:pt x="17" y="35"/>
                    </a:cubicBezTo>
                    <a:cubicBezTo>
                      <a:pt x="27" y="35"/>
                      <a:pt x="35" y="27"/>
                      <a:pt x="35" y="18"/>
                    </a:cubicBezTo>
                    <a:cubicBezTo>
                      <a:pt x="35" y="8"/>
                      <a:pt x="27" y="0"/>
                      <a:pt x="17" y="0"/>
                    </a:cubicBezTo>
                    <a:moveTo>
                      <a:pt x="17" y="27"/>
                    </a:moveTo>
                    <a:cubicBezTo>
                      <a:pt x="12" y="27"/>
                      <a:pt x="8" y="23"/>
                      <a:pt x="8" y="18"/>
                    </a:cubicBezTo>
                    <a:cubicBezTo>
                      <a:pt x="8" y="12"/>
                      <a:pt x="12" y="8"/>
                      <a:pt x="17" y="8"/>
                    </a:cubicBezTo>
                    <a:cubicBezTo>
                      <a:pt x="23" y="8"/>
                      <a:pt x="27" y="12"/>
                      <a:pt x="27" y="18"/>
                    </a:cubicBezTo>
                    <a:cubicBezTo>
                      <a:pt x="27" y="23"/>
                      <a:pt x="23" y="27"/>
                      <a:pt x="17"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65"/>
              <p:cNvSpPr>
                <a:spLocks noEditPoints="1"/>
              </p:cNvSpPr>
              <p:nvPr/>
            </p:nvSpPr>
            <p:spPr bwMode="auto">
              <a:xfrm>
                <a:off x="4004186" y="1519290"/>
                <a:ext cx="46373" cy="46373"/>
              </a:xfrm>
              <a:custGeom>
                <a:avLst/>
                <a:gdLst>
                  <a:gd name="T0" fmla="*/ 19 w 39"/>
                  <a:gd name="T1" fmla="*/ 39 h 39"/>
                  <a:gd name="T2" fmla="*/ 0 w 39"/>
                  <a:gd name="T3" fmla="*/ 20 h 39"/>
                  <a:gd name="T4" fmla="*/ 19 w 39"/>
                  <a:gd name="T5" fmla="*/ 0 h 39"/>
                  <a:gd name="T6" fmla="*/ 39 w 39"/>
                  <a:gd name="T7" fmla="*/ 20 h 39"/>
                  <a:gd name="T8" fmla="*/ 19 w 39"/>
                  <a:gd name="T9" fmla="*/ 39 h 39"/>
                  <a:gd name="T10" fmla="*/ 19 w 39"/>
                  <a:gd name="T11" fmla="*/ 4 h 39"/>
                  <a:gd name="T12" fmla="*/ 4 w 39"/>
                  <a:gd name="T13" fmla="*/ 20 h 39"/>
                  <a:gd name="T14" fmla="*/ 19 w 39"/>
                  <a:gd name="T15" fmla="*/ 35 h 39"/>
                  <a:gd name="T16" fmla="*/ 35 w 39"/>
                  <a:gd name="T17" fmla="*/ 20 h 39"/>
                  <a:gd name="T18" fmla="*/ 19 w 39"/>
                  <a:gd name="T19" fmla="*/ 4 h 39"/>
                  <a:gd name="T20" fmla="*/ 19 w 39"/>
                  <a:gd name="T21" fmla="*/ 31 h 39"/>
                  <a:gd name="T22" fmla="*/ 8 w 39"/>
                  <a:gd name="T23" fmla="*/ 20 h 39"/>
                  <a:gd name="T24" fmla="*/ 19 w 39"/>
                  <a:gd name="T25" fmla="*/ 8 h 39"/>
                  <a:gd name="T26" fmla="*/ 31 w 39"/>
                  <a:gd name="T27" fmla="*/ 20 h 39"/>
                  <a:gd name="T28" fmla="*/ 19 w 39"/>
                  <a:gd name="T29" fmla="*/ 31 h 39"/>
                  <a:gd name="T30" fmla="*/ 19 w 39"/>
                  <a:gd name="T31" fmla="*/ 12 h 39"/>
                  <a:gd name="T32" fmla="*/ 12 w 39"/>
                  <a:gd name="T33" fmla="*/ 20 h 39"/>
                  <a:gd name="T34" fmla="*/ 19 w 39"/>
                  <a:gd name="T35" fmla="*/ 27 h 39"/>
                  <a:gd name="T36" fmla="*/ 27 w 39"/>
                  <a:gd name="T37" fmla="*/ 20 h 39"/>
                  <a:gd name="T38" fmla="*/ 19 w 39"/>
                  <a:gd name="T39" fmla="*/ 1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9">
                    <a:moveTo>
                      <a:pt x="19" y="39"/>
                    </a:moveTo>
                    <a:cubicBezTo>
                      <a:pt x="9" y="39"/>
                      <a:pt x="0" y="30"/>
                      <a:pt x="0" y="20"/>
                    </a:cubicBezTo>
                    <a:cubicBezTo>
                      <a:pt x="0" y="9"/>
                      <a:pt x="9" y="0"/>
                      <a:pt x="19" y="0"/>
                    </a:cubicBezTo>
                    <a:cubicBezTo>
                      <a:pt x="30" y="0"/>
                      <a:pt x="39" y="9"/>
                      <a:pt x="39" y="20"/>
                    </a:cubicBezTo>
                    <a:cubicBezTo>
                      <a:pt x="39" y="30"/>
                      <a:pt x="30" y="39"/>
                      <a:pt x="19" y="39"/>
                    </a:cubicBezTo>
                    <a:moveTo>
                      <a:pt x="19" y="4"/>
                    </a:moveTo>
                    <a:cubicBezTo>
                      <a:pt x="11" y="4"/>
                      <a:pt x="4" y="11"/>
                      <a:pt x="4" y="20"/>
                    </a:cubicBezTo>
                    <a:cubicBezTo>
                      <a:pt x="4" y="28"/>
                      <a:pt x="11" y="35"/>
                      <a:pt x="19" y="35"/>
                    </a:cubicBezTo>
                    <a:cubicBezTo>
                      <a:pt x="28" y="35"/>
                      <a:pt x="35" y="28"/>
                      <a:pt x="35" y="20"/>
                    </a:cubicBezTo>
                    <a:cubicBezTo>
                      <a:pt x="35" y="11"/>
                      <a:pt x="28" y="4"/>
                      <a:pt x="19" y="4"/>
                    </a:cubicBezTo>
                    <a:moveTo>
                      <a:pt x="19" y="31"/>
                    </a:moveTo>
                    <a:cubicBezTo>
                      <a:pt x="13" y="31"/>
                      <a:pt x="8" y="26"/>
                      <a:pt x="8" y="20"/>
                    </a:cubicBezTo>
                    <a:cubicBezTo>
                      <a:pt x="8" y="13"/>
                      <a:pt x="13" y="8"/>
                      <a:pt x="19" y="8"/>
                    </a:cubicBezTo>
                    <a:cubicBezTo>
                      <a:pt x="26" y="8"/>
                      <a:pt x="31" y="13"/>
                      <a:pt x="31" y="20"/>
                    </a:cubicBezTo>
                    <a:cubicBezTo>
                      <a:pt x="31" y="26"/>
                      <a:pt x="26" y="31"/>
                      <a:pt x="19" y="31"/>
                    </a:cubicBezTo>
                    <a:moveTo>
                      <a:pt x="19" y="12"/>
                    </a:moveTo>
                    <a:cubicBezTo>
                      <a:pt x="15" y="12"/>
                      <a:pt x="12" y="15"/>
                      <a:pt x="12" y="20"/>
                    </a:cubicBezTo>
                    <a:cubicBezTo>
                      <a:pt x="12" y="24"/>
                      <a:pt x="15" y="27"/>
                      <a:pt x="19" y="27"/>
                    </a:cubicBezTo>
                    <a:cubicBezTo>
                      <a:pt x="24" y="27"/>
                      <a:pt x="27" y="24"/>
                      <a:pt x="27" y="20"/>
                    </a:cubicBezTo>
                    <a:cubicBezTo>
                      <a:pt x="27" y="15"/>
                      <a:pt x="24" y="12"/>
                      <a:pt x="19"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66"/>
              <p:cNvSpPr>
                <a:spLocks noEditPoints="1"/>
              </p:cNvSpPr>
              <p:nvPr/>
            </p:nvSpPr>
            <p:spPr bwMode="auto">
              <a:xfrm>
                <a:off x="3978983" y="1494088"/>
                <a:ext cx="276220" cy="272692"/>
              </a:xfrm>
              <a:custGeom>
                <a:avLst/>
                <a:gdLst>
                  <a:gd name="T0" fmla="*/ 232 w 232"/>
                  <a:gd name="T1" fmla="*/ 63 h 229"/>
                  <a:gd name="T2" fmla="*/ 232 w 232"/>
                  <a:gd name="T3" fmla="*/ 18 h 229"/>
                  <a:gd name="T4" fmla="*/ 215 w 232"/>
                  <a:gd name="T5" fmla="*/ 0 h 229"/>
                  <a:gd name="T6" fmla="*/ 18 w 232"/>
                  <a:gd name="T7" fmla="*/ 0 h 229"/>
                  <a:gd name="T8" fmla="*/ 0 w 232"/>
                  <a:gd name="T9" fmla="*/ 18 h 229"/>
                  <a:gd name="T10" fmla="*/ 0 w 232"/>
                  <a:gd name="T11" fmla="*/ 63 h 229"/>
                  <a:gd name="T12" fmla="*/ 7 w 232"/>
                  <a:gd name="T13" fmla="*/ 77 h 229"/>
                  <a:gd name="T14" fmla="*/ 0 w 232"/>
                  <a:gd name="T15" fmla="*/ 91 h 229"/>
                  <a:gd name="T16" fmla="*/ 0 w 232"/>
                  <a:gd name="T17" fmla="*/ 137 h 229"/>
                  <a:gd name="T18" fmla="*/ 7 w 232"/>
                  <a:gd name="T19" fmla="*/ 151 h 229"/>
                  <a:gd name="T20" fmla="*/ 0 w 232"/>
                  <a:gd name="T21" fmla="*/ 165 h 229"/>
                  <a:gd name="T22" fmla="*/ 0 w 232"/>
                  <a:gd name="T23" fmla="*/ 211 h 229"/>
                  <a:gd name="T24" fmla="*/ 18 w 232"/>
                  <a:gd name="T25" fmla="*/ 229 h 229"/>
                  <a:gd name="T26" fmla="*/ 215 w 232"/>
                  <a:gd name="T27" fmla="*/ 229 h 229"/>
                  <a:gd name="T28" fmla="*/ 232 w 232"/>
                  <a:gd name="T29" fmla="*/ 211 h 229"/>
                  <a:gd name="T30" fmla="*/ 232 w 232"/>
                  <a:gd name="T31" fmla="*/ 165 h 229"/>
                  <a:gd name="T32" fmla="*/ 226 w 232"/>
                  <a:gd name="T33" fmla="*/ 151 h 229"/>
                  <a:gd name="T34" fmla="*/ 232 w 232"/>
                  <a:gd name="T35" fmla="*/ 137 h 229"/>
                  <a:gd name="T36" fmla="*/ 232 w 232"/>
                  <a:gd name="T37" fmla="*/ 91 h 229"/>
                  <a:gd name="T38" fmla="*/ 226 w 232"/>
                  <a:gd name="T39" fmla="*/ 77 h 229"/>
                  <a:gd name="T40" fmla="*/ 232 w 232"/>
                  <a:gd name="T41" fmla="*/ 63 h 229"/>
                  <a:gd name="T42" fmla="*/ 225 w 232"/>
                  <a:gd name="T43" fmla="*/ 165 h 229"/>
                  <a:gd name="T44" fmla="*/ 225 w 232"/>
                  <a:gd name="T45" fmla="*/ 211 h 229"/>
                  <a:gd name="T46" fmla="*/ 215 w 232"/>
                  <a:gd name="T47" fmla="*/ 221 h 229"/>
                  <a:gd name="T48" fmla="*/ 18 w 232"/>
                  <a:gd name="T49" fmla="*/ 221 h 229"/>
                  <a:gd name="T50" fmla="*/ 7 w 232"/>
                  <a:gd name="T51" fmla="*/ 211 h 229"/>
                  <a:gd name="T52" fmla="*/ 7 w 232"/>
                  <a:gd name="T53" fmla="*/ 165 h 229"/>
                  <a:gd name="T54" fmla="*/ 18 w 232"/>
                  <a:gd name="T55" fmla="*/ 155 h 229"/>
                  <a:gd name="T56" fmla="*/ 215 w 232"/>
                  <a:gd name="T57" fmla="*/ 155 h 229"/>
                  <a:gd name="T58" fmla="*/ 225 w 232"/>
                  <a:gd name="T59" fmla="*/ 165 h 229"/>
                  <a:gd name="T60" fmla="*/ 225 w 232"/>
                  <a:gd name="T61" fmla="*/ 91 h 229"/>
                  <a:gd name="T62" fmla="*/ 225 w 232"/>
                  <a:gd name="T63" fmla="*/ 137 h 229"/>
                  <a:gd name="T64" fmla="*/ 215 w 232"/>
                  <a:gd name="T65" fmla="*/ 147 h 229"/>
                  <a:gd name="T66" fmla="*/ 18 w 232"/>
                  <a:gd name="T67" fmla="*/ 147 h 229"/>
                  <a:gd name="T68" fmla="*/ 7 w 232"/>
                  <a:gd name="T69" fmla="*/ 137 h 229"/>
                  <a:gd name="T70" fmla="*/ 7 w 232"/>
                  <a:gd name="T71" fmla="*/ 91 h 229"/>
                  <a:gd name="T72" fmla="*/ 18 w 232"/>
                  <a:gd name="T73" fmla="*/ 81 h 229"/>
                  <a:gd name="T74" fmla="*/ 215 w 232"/>
                  <a:gd name="T75" fmla="*/ 81 h 229"/>
                  <a:gd name="T76" fmla="*/ 225 w 232"/>
                  <a:gd name="T77" fmla="*/ 91 h 229"/>
                  <a:gd name="T78" fmla="*/ 18 w 232"/>
                  <a:gd name="T79" fmla="*/ 74 h 229"/>
                  <a:gd name="T80" fmla="*/ 7 w 232"/>
                  <a:gd name="T81" fmla="*/ 63 h 229"/>
                  <a:gd name="T82" fmla="*/ 7 w 232"/>
                  <a:gd name="T83" fmla="*/ 18 h 229"/>
                  <a:gd name="T84" fmla="*/ 18 w 232"/>
                  <a:gd name="T85" fmla="*/ 8 h 229"/>
                  <a:gd name="T86" fmla="*/ 215 w 232"/>
                  <a:gd name="T87" fmla="*/ 8 h 229"/>
                  <a:gd name="T88" fmla="*/ 225 w 232"/>
                  <a:gd name="T89" fmla="*/ 18 h 229"/>
                  <a:gd name="T90" fmla="*/ 225 w 232"/>
                  <a:gd name="T91" fmla="*/ 63 h 229"/>
                  <a:gd name="T92" fmla="*/ 215 w 232"/>
                  <a:gd name="T93" fmla="*/ 74 h 229"/>
                  <a:gd name="T94" fmla="*/ 18 w 232"/>
                  <a:gd name="T95" fmla="*/ 7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229">
                    <a:moveTo>
                      <a:pt x="232" y="63"/>
                    </a:moveTo>
                    <a:cubicBezTo>
                      <a:pt x="232" y="18"/>
                      <a:pt x="232" y="18"/>
                      <a:pt x="232" y="18"/>
                    </a:cubicBezTo>
                    <a:cubicBezTo>
                      <a:pt x="232" y="8"/>
                      <a:pt x="224" y="0"/>
                      <a:pt x="215" y="0"/>
                    </a:cubicBezTo>
                    <a:cubicBezTo>
                      <a:pt x="18" y="0"/>
                      <a:pt x="18" y="0"/>
                      <a:pt x="18" y="0"/>
                    </a:cubicBezTo>
                    <a:cubicBezTo>
                      <a:pt x="8" y="0"/>
                      <a:pt x="0" y="8"/>
                      <a:pt x="0" y="18"/>
                    </a:cubicBezTo>
                    <a:cubicBezTo>
                      <a:pt x="0" y="63"/>
                      <a:pt x="0" y="63"/>
                      <a:pt x="0" y="63"/>
                    </a:cubicBezTo>
                    <a:cubicBezTo>
                      <a:pt x="0" y="69"/>
                      <a:pt x="2" y="74"/>
                      <a:pt x="7" y="77"/>
                    </a:cubicBezTo>
                    <a:cubicBezTo>
                      <a:pt x="2" y="81"/>
                      <a:pt x="0" y="86"/>
                      <a:pt x="0" y="91"/>
                    </a:cubicBezTo>
                    <a:cubicBezTo>
                      <a:pt x="0" y="137"/>
                      <a:pt x="0" y="137"/>
                      <a:pt x="0" y="137"/>
                    </a:cubicBezTo>
                    <a:cubicBezTo>
                      <a:pt x="0" y="143"/>
                      <a:pt x="2" y="148"/>
                      <a:pt x="7" y="151"/>
                    </a:cubicBezTo>
                    <a:cubicBezTo>
                      <a:pt x="2" y="154"/>
                      <a:pt x="0" y="159"/>
                      <a:pt x="0" y="165"/>
                    </a:cubicBezTo>
                    <a:cubicBezTo>
                      <a:pt x="0" y="211"/>
                      <a:pt x="0" y="211"/>
                      <a:pt x="0" y="211"/>
                    </a:cubicBezTo>
                    <a:cubicBezTo>
                      <a:pt x="0" y="221"/>
                      <a:pt x="8" y="229"/>
                      <a:pt x="18" y="229"/>
                    </a:cubicBezTo>
                    <a:cubicBezTo>
                      <a:pt x="215" y="229"/>
                      <a:pt x="215" y="229"/>
                      <a:pt x="215" y="229"/>
                    </a:cubicBezTo>
                    <a:cubicBezTo>
                      <a:pt x="224" y="229"/>
                      <a:pt x="232" y="221"/>
                      <a:pt x="232" y="211"/>
                    </a:cubicBezTo>
                    <a:cubicBezTo>
                      <a:pt x="232" y="165"/>
                      <a:pt x="232" y="165"/>
                      <a:pt x="232" y="165"/>
                    </a:cubicBezTo>
                    <a:cubicBezTo>
                      <a:pt x="232" y="159"/>
                      <a:pt x="230" y="154"/>
                      <a:pt x="226" y="151"/>
                    </a:cubicBezTo>
                    <a:cubicBezTo>
                      <a:pt x="230" y="148"/>
                      <a:pt x="232" y="143"/>
                      <a:pt x="232" y="137"/>
                    </a:cubicBezTo>
                    <a:cubicBezTo>
                      <a:pt x="232" y="91"/>
                      <a:pt x="232" y="91"/>
                      <a:pt x="232" y="91"/>
                    </a:cubicBezTo>
                    <a:cubicBezTo>
                      <a:pt x="232" y="86"/>
                      <a:pt x="230" y="81"/>
                      <a:pt x="226" y="77"/>
                    </a:cubicBezTo>
                    <a:cubicBezTo>
                      <a:pt x="230" y="74"/>
                      <a:pt x="232" y="69"/>
                      <a:pt x="232" y="63"/>
                    </a:cubicBezTo>
                    <a:moveTo>
                      <a:pt x="225" y="165"/>
                    </a:moveTo>
                    <a:cubicBezTo>
                      <a:pt x="225" y="211"/>
                      <a:pt x="225" y="211"/>
                      <a:pt x="225" y="211"/>
                    </a:cubicBezTo>
                    <a:cubicBezTo>
                      <a:pt x="225" y="216"/>
                      <a:pt x="220" y="221"/>
                      <a:pt x="215" y="221"/>
                    </a:cubicBezTo>
                    <a:cubicBezTo>
                      <a:pt x="18" y="221"/>
                      <a:pt x="18" y="221"/>
                      <a:pt x="18" y="221"/>
                    </a:cubicBezTo>
                    <a:cubicBezTo>
                      <a:pt x="12" y="221"/>
                      <a:pt x="7" y="216"/>
                      <a:pt x="7" y="211"/>
                    </a:cubicBezTo>
                    <a:cubicBezTo>
                      <a:pt x="7" y="165"/>
                      <a:pt x="7" y="165"/>
                      <a:pt x="7" y="165"/>
                    </a:cubicBezTo>
                    <a:cubicBezTo>
                      <a:pt x="7" y="159"/>
                      <a:pt x="12" y="155"/>
                      <a:pt x="18" y="155"/>
                    </a:cubicBezTo>
                    <a:cubicBezTo>
                      <a:pt x="215" y="155"/>
                      <a:pt x="215" y="155"/>
                      <a:pt x="215" y="155"/>
                    </a:cubicBezTo>
                    <a:cubicBezTo>
                      <a:pt x="220" y="155"/>
                      <a:pt x="225" y="159"/>
                      <a:pt x="225" y="165"/>
                    </a:cubicBezTo>
                    <a:moveTo>
                      <a:pt x="225" y="91"/>
                    </a:moveTo>
                    <a:cubicBezTo>
                      <a:pt x="225" y="137"/>
                      <a:pt x="225" y="137"/>
                      <a:pt x="225" y="137"/>
                    </a:cubicBezTo>
                    <a:cubicBezTo>
                      <a:pt x="225" y="143"/>
                      <a:pt x="220" y="147"/>
                      <a:pt x="215" y="147"/>
                    </a:cubicBezTo>
                    <a:cubicBezTo>
                      <a:pt x="18" y="147"/>
                      <a:pt x="18" y="147"/>
                      <a:pt x="18" y="147"/>
                    </a:cubicBezTo>
                    <a:cubicBezTo>
                      <a:pt x="12" y="147"/>
                      <a:pt x="7" y="143"/>
                      <a:pt x="7" y="137"/>
                    </a:cubicBezTo>
                    <a:cubicBezTo>
                      <a:pt x="7" y="91"/>
                      <a:pt x="7" y="91"/>
                      <a:pt x="7" y="91"/>
                    </a:cubicBezTo>
                    <a:cubicBezTo>
                      <a:pt x="7" y="86"/>
                      <a:pt x="12" y="81"/>
                      <a:pt x="18" y="81"/>
                    </a:cubicBezTo>
                    <a:cubicBezTo>
                      <a:pt x="215" y="81"/>
                      <a:pt x="215" y="81"/>
                      <a:pt x="215" y="81"/>
                    </a:cubicBezTo>
                    <a:cubicBezTo>
                      <a:pt x="220" y="81"/>
                      <a:pt x="225" y="86"/>
                      <a:pt x="225" y="91"/>
                    </a:cubicBezTo>
                    <a:moveTo>
                      <a:pt x="18" y="74"/>
                    </a:moveTo>
                    <a:cubicBezTo>
                      <a:pt x="12" y="74"/>
                      <a:pt x="7" y="69"/>
                      <a:pt x="7" y="63"/>
                    </a:cubicBezTo>
                    <a:cubicBezTo>
                      <a:pt x="7" y="18"/>
                      <a:pt x="7" y="18"/>
                      <a:pt x="7" y="18"/>
                    </a:cubicBezTo>
                    <a:cubicBezTo>
                      <a:pt x="7" y="12"/>
                      <a:pt x="12" y="8"/>
                      <a:pt x="18" y="8"/>
                    </a:cubicBezTo>
                    <a:cubicBezTo>
                      <a:pt x="215" y="8"/>
                      <a:pt x="215" y="8"/>
                      <a:pt x="215" y="8"/>
                    </a:cubicBezTo>
                    <a:cubicBezTo>
                      <a:pt x="220" y="8"/>
                      <a:pt x="225" y="12"/>
                      <a:pt x="225" y="18"/>
                    </a:cubicBezTo>
                    <a:cubicBezTo>
                      <a:pt x="225" y="63"/>
                      <a:pt x="225" y="63"/>
                      <a:pt x="225" y="63"/>
                    </a:cubicBezTo>
                    <a:cubicBezTo>
                      <a:pt x="225" y="69"/>
                      <a:pt x="220" y="74"/>
                      <a:pt x="215" y="74"/>
                    </a:cubicBezTo>
                    <a:lnTo>
                      <a:pt x="18"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67"/>
              <p:cNvSpPr>
                <a:spLocks noEditPoints="1"/>
              </p:cNvSpPr>
              <p:nvPr/>
            </p:nvSpPr>
            <p:spPr bwMode="auto">
              <a:xfrm>
                <a:off x="3976967" y="1492071"/>
                <a:ext cx="280757" cy="277228"/>
              </a:xfrm>
              <a:custGeom>
                <a:avLst/>
                <a:gdLst>
                  <a:gd name="T0" fmla="*/ 20 w 236"/>
                  <a:gd name="T1" fmla="*/ 233 h 233"/>
                  <a:gd name="T2" fmla="*/ 0 w 236"/>
                  <a:gd name="T3" fmla="*/ 167 h 233"/>
                  <a:gd name="T4" fmla="*/ 0 w 236"/>
                  <a:gd name="T5" fmla="*/ 139 h 233"/>
                  <a:gd name="T6" fmla="*/ 5 w 236"/>
                  <a:gd name="T7" fmla="*/ 79 h 233"/>
                  <a:gd name="T8" fmla="*/ 0 w 236"/>
                  <a:gd name="T9" fmla="*/ 20 h 233"/>
                  <a:gd name="T10" fmla="*/ 217 w 236"/>
                  <a:gd name="T11" fmla="*/ 0 h 233"/>
                  <a:gd name="T12" fmla="*/ 236 w 236"/>
                  <a:gd name="T13" fmla="*/ 65 h 233"/>
                  <a:gd name="T14" fmla="*/ 236 w 236"/>
                  <a:gd name="T15" fmla="*/ 93 h 233"/>
                  <a:gd name="T16" fmla="*/ 231 w 236"/>
                  <a:gd name="T17" fmla="*/ 153 h 233"/>
                  <a:gd name="T18" fmla="*/ 236 w 236"/>
                  <a:gd name="T19" fmla="*/ 213 h 233"/>
                  <a:gd name="T20" fmla="*/ 20 w 236"/>
                  <a:gd name="T21" fmla="*/ 4 h 233"/>
                  <a:gd name="T22" fmla="*/ 4 w 236"/>
                  <a:gd name="T23" fmla="*/ 65 h 233"/>
                  <a:gd name="T24" fmla="*/ 12 w 236"/>
                  <a:gd name="T25" fmla="*/ 79 h 233"/>
                  <a:gd name="T26" fmla="*/ 4 w 236"/>
                  <a:gd name="T27" fmla="*/ 93 h 233"/>
                  <a:gd name="T28" fmla="*/ 10 w 236"/>
                  <a:gd name="T29" fmla="*/ 151 h 233"/>
                  <a:gd name="T30" fmla="*/ 10 w 236"/>
                  <a:gd name="T31" fmla="*/ 155 h 233"/>
                  <a:gd name="T32" fmla="*/ 4 w 236"/>
                  <a:gd name="T33" fmla="*/ 213 h 233"/>
                  <a:gd name="T34" fmla="*/ 217 w 236"/>
                  <a:gd name="T35" fmla="*/ 229 h 233"/>
                  <a:gd name="T36" fmla="*/ 232 w 236"/>
                  <a:gd name="T37" fmla="*/ 167 h 233"/>
                  <a:gd name="T38" fmla="*/ 224 w 236"/>
                  <a:gd name="T39" fmla="*/ 153 h 233"/>
                  <a:gd name="T40" fmla="*/ 232 w 236"/>
                  <a:gd name="T41" fmla="*/ 139 h 233"/>
                  <a:gd name="T42" fmla="*/ 226 w 236"/>
                  <a:gd name="T43" fmla="*/ 81 h 233"/>
                  <a:gd name="T44" fmla="*/ 226 w 236"/>
                  <a:gd name="T45" fmla="*/ 78 h 233"/>
                  <a:gd name="T46" fmla="*/ 232 w 236"/>
                  <a:gd name="T47" fmla="*/ 20 h 233"/>
                  <a:gd name="T48" fmla="*/ 20 w 236"/>
                  <a:gd name="T49" fmla="*/ 4 h 233"/>
                  <a:gd name="T50" fmla="*/ 11 w 236"/>
                  <a:gd name="T51" fmla="*/ 221 h 233"/>
                  <a:gd name="T52" fmla="*/ 7 w 236"/>
                  <a:gd name="T53" fmla="*/ 167 h 233"/>
                  <a:gd name="T54" fmla="*/ 217 w 236"/>
                  <a:gd name="T55" fmla="*/ 155 h 233"/>
                  <a:gd name="T56" fmla="*/ 229 w 236"/>
                  <a:gd name="T57" fmla="*/ 213 h 233"/>
                  <a:gd name="T58" fmla="*/ 20 w 236"/>
                  <a:gd name="T59" fmla="*/ 225 h 233"/>
                  <a:gd name="T60" fmla="*/ 12 w 236"/>
                  <a:gd name="T61" fmla="*/ 167 h 233"/>
                  <a:gd name="T62" fmla="*/ 14 w 236"/>
                  <a:gd name="T63" fmla="*/ 218 h 233"/>
                  <a:gd name="T64" fmla="*/ 20 w 236"/>
                  <a:gd name="T65" fmla="*/ 221 h 233"/>
                  <a:gd name="T66" fmla="*/ 225 w 236"/>
                  <a:gd name="T67" fmla="*/ 213 h 233"/>
                  <a:gd name="T68" fmla="*/ 217 w 236"/>
                  <a:gd name="T69" fmla="*/ 159 h 233"/>
                  <a:gd name="T70" fmla="*/ 217 w 236"/>
                  <a:gd name="T71" fmla="*/ 151 h 233"/>
                  <a:gd name="T72" fmla="*/ 7 w 236"/>
                  <a:gd name="T73" fmla="*/ 139 h 233"/>
                  <a:gd name="T74" fmla="*/ 20 w 236"/>
                  <a:gd name="T75" fmla="*/ 81 h 233"/>
                  <a:gd name="T76" fmla="*/ 229 w 236"/>
                  <a:gd name="T77" fmla="*/ 93 h 233"/>
                  <a:gd name="T78" fmla="*/ 217 w 236"/>
                  <a:gd name="T79" fmla="*/ 151 h 233"/>
                  <a:gd name="T80" fmla="*/ 12 w 236"/>
                  <a:gd name="T81" fmla="*/ 93 h 233"/>
                  <a:gd name="T82" fmla="*/ 20 w 236"/>
                  <a:gd name="T83" fmla="*/ 147 h 233"/>
                  <a:gd name="T84" fmla="*/ 225 w 236"/>
                  <a:gd name="T85" fmla="*/ 139 h 233"/>
                  <a:gd name="T86" fmla="*/ 217 w 236"/>
                  <a:gd name="T87" fmla="*/ 85 h 233"/>
                  <a:gd name="T88" fmla="*/ 217 w 236"/>
                  <a:gd name="T89" fmla="*/ 78 h 233"/>
                  <a:gd name="T90" fmla="*/ 7 w 236"/>
                  <a:gd name="T91" fmla="*/ 65 h 233"/>
                  <a:gd name="T92" fmla="*/ 20 w 236"/>
                  <a:gd name="T93" fmla="*/ 7 h 233"/>
                  <a:gd name="T94" fmla="*/ 229 w 236"/>
                  <a:gd name="T95" fmla="*/ 20 h 233"/>
                  <a:gd name="T96" fmla="*/ 217 w 236"/>
                  <a:gd name="T97" fmla="*/ 78 h 233"/>
                  <a:gd name="T98" fmla="*/ 12 w 236"/>
                  <a:gd name="T99" fmla="*/ 20 h 233"/>
                  <a:gd name="T100" fmla="*/ 20 w 236"/>
                  <a:gd name="T101" fmla="*/ 73 h 233"/>
                  <a:gd name="T102" fmla="*/ 225 w 236"/>
                  <a:gd name="T103" fmla="*/ 65 h 233"/>
                  <a:gd name="T104" fmla="*/ 217 w 236"/>
                  <a:gd name="T105" fmla="*/ 1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6" h="233">
                    <a:moveTo>
                      <a:pt x="217" y="233"/>
                    </a:moveTo>
                    <a:cubicBezTo>
                      <a:pt x="20" y="233"/>
                      <a:pt x="20" y="233"/>
                      <a:pt x="20" y="233"/>
                    </a:cubicBezTo>
                    <a:cubicBezTo>
                      <a:pt x="9" y="233"/>
                      <a:pt x="0" y="224"/>
                      <a:pt x="0" y="213"/>
                    </a:cubicBezTo>
                    <a:cubicBezTo>
                      <a:pt x="0" y="167"/>
                      <a:pt x="0" y="167"/>
                      <a:pt x="0" y="167"/>
                    </a:cubicBezTo>
                    <a:cubicBezTo>
                      <a:pt x="0" y="162"/>
                      <a:pt x="2" y="157"/>
                      <a:pt x="5" y="153"/>
                    </a:cubicBezTo>
                    <a:cubicBezTo>
                      <a:pt x="2" y="149"/>
                      <a:pt x="0" y="144"/>
                      <a:pt x="0" y="139"/>
                    </a:cubicBezTo>
                    <a:cubicBezTo>
                      <a:pt x="0" y="93"/>
                      <a:pt x="0" y="93"/>
                      <a:pt x="0" y="93"/>
                    </a:cubicBezTo>
                    <a:cubicBezTo>
                      <a:pt x="0" y="88"/>
                      <a:pt x="2" y="83"/>
                      <a:pt x="5" y="79"/>
                    </a:cubicBezTo>
                    <a:cubicBezTo>
                      <a:pt x="2" y="76"/>
                      <a:pt x="0" y="71"/>
                      <a:pt x="0" y="65"/>
                    </a:cubicBezTo>
                    <a:cubicBezTo>
                      <a:pt x="0" y="20"/>
                      <a:pt x="0" y="20"/>
                      <a:pt x="0" y="20"/>
                    </a:cubicBezTo>
                    <a:cubicBezTo>
                      <a:pt x="0" y="9"/>
                      <a:pt x="9" y="0"/>
                      <a:pt x="20" y="0"/>
                    </a:cubicBezTo>
                    <a:cubicBezTo>
                      <a:pt x="217" y="0"/>
                      <a:pt x="217" y="0"/>
                      <a:pt x="217" y="0"/>
                    </a:cubicBezTo>
                    <a:cubicBezTo>
                      <a:pt x="228" y="0"/>
                      <a:pt x="236" y="9"/>
                      <a:pt x="236" y="20"/>
                    </a:cubicBezTo>
                    <a:cubicBezTo>
                      <a:pt x="236" y="65"/>
                      <a:pt x="236" y="65"/>
                      <a:pt x="236" y="65"/>
                    </a:cubicBezTo>
                    <a:cubicBezTo>
                      <a:pt x="236" y="71"/>
                      <a:pt x="234" y="76"/>
                      <a:pt x="231" y="79"/>
                    </a:cubicBezTo>
                    <a:cubicBezTo>
                      <a:pt x="234" y="83"/>
                      <a:pt x="236" y="88"/>
                      <a:pt x="236" y="93"/>
                    </a:cubicBezTo>
                    <a:cubicBezTo>
                      <a:pt x="236" y="139"/>
                      <a:pt x="236" y="139"/>
                      <a:pt x="236" y="139"/>
                    </a:cubicBezTo>
                    <a:cubicBezTo>
                      <a:pt x="236" y="144"/>
                      <a:pt x="234" y="149"/>
                      <a:pt x="231" y="153"/>
                    </a:cubicBezTo>
                    <a:cubicBezTo>
                      <a:pt x="234" y="157"/>
                      <a:pt x="236" y="162"/>
                      <a:pt x="236" y="167"/>
                    </a:cubicBezTo>
                    <a:cubicBezTo>
                      <a:pt x="236" y="213"/>
                      <a:pt x="236" y="213"/>
                      <a:pt x="236" y="213"/>
                    </a:cubicBezTo>
                    <a:cubicBezTo>
                      <a:pt x="236" y="224"/>
                      <a:pt x="228" y="233"/>
                      <a:pt x="217" y="233"/>
                    </a:cubicBezTo>
                    <a:moveTo>
                      <a:pt x="20" y="4"/>
                    </a:moveTo>
                    <a:cubicBezTo>
                      <a:pt x="11" y="4"/>
                      <a:pt x="4" y="11"/>
                      <a:pt x="4" y="20"/>
                    </a:cubicBezTo>
                    <a:cubicBezTo>
                      <a:pt x="4" y="65"/>
                      <a:pt x="4" y="65"/>
                      <a:pt x="4" y="65"/>
                    </a:cubicBezTo>
                    <a:cubicBezTo>
                      <a:pt x="4" y="70"/>
                      <a:pt x="6" y="75"/>
                      <a:pt x="10" y="78"/>
                    </a:cubicBezTo>
                    <a:cubicBezTo>
                      <a:pt x="12" y="79"/>
                      <a:pt x="12" y="79"/>
                      <a:pt x="12" y="79"/>
                    </a:cubicBezTo>
                    <a:cubicBezTo>
                      <a:pt x="10" y="81"/>
                      <a:pt x="10" y="81"/>
                      <a:pt x="10" y="81"/>
                    </a:cubicBezTo>
                    <a:cubicBezTo>
                      <a:pt x="6" y="84"/>
                      <a:pt x="4" y="89"/>
                      <a:pt x="4" y="93"/>
                    </a:cubicBezTo>
                    <a:cubicBezTo>
                      <a:pt x="4" y="139"/>
                      <a:pt x="4" y="139"/>
                      <a:pt x="4" y="139"/>
                    </a:cubicBezTo>
                    <a:cubicBezTo>
                      <a:pt x="4" y="144"/>
                      <a:pt x="6" y="148"/>
                      <a:pt x="10" y="151"/>
                    </a:cubicBezTo>
                    <a:cubicBezTo>
                      <a:pt x="12" y="153"/>
                      <a:pt x="12" y="153"/>
                      <a:pt x="12" y="153"/>
                    </a:cubicBezTo>
                    <a:cubicBezTo>
                      <a:pt x="10" y="155"/>
                      <a:pt x="10" y="155"/>
                      <a:pt x="10" y="155"/>
                    </a:cubicBezTo>
                    <a:cubicBezTo>
                      <a:pt x="6" y="158"/>
                      <a:pt x="4" y="162"/>
                      <a:pt x="4" y="167"/>
                    </a:cubicBezTo>
                    <a:cubicBezTo>
                      <a:pt x="4" y="213"/>
                      <a:pt x="4" y="213"/>
                      <a:pt x="4" y="213"/>
                    </a:cubicBezTo>
                    <a:cubicBezTo>
                      <a:pt x="4" y="221"/>
                      <a:pt x="11" y="229"/>
                      <a:pt x="20" y="229"/>
                    </a:cubicBezTo>
                    <a:cubicBezTo>
                      <a:pt x="217" y="229"/>
                      <a:pt x="217" y="229"/>
                      <a:pt x="217" y="229"/>
                    </a:cubicBezTo>
                    <a:cubicBezTo>
                      <a:pt x="225" y="229"/>
                      <a:pt x="232" y="221"/>
                      <a:pt x="232" y="213"/>
                    </a:cubicBezTo>
                    <a:cubicBezTo>
                      <a:pt x="232" y="167"/>
                      <a:pt x="232" y="167"/>
                      <a:pt x="232" y="167"/>
                    </a:cubicBezTo>
                    <a:cubicBezTo>
                      <a:pt x="232" y="162"/>
                      <a:pt x="230" y="158"/>
                      <a:pt x="226" y="155"/>
                    </a:cubicBezTo>
                    <a:cubicBezTo>
                      <a:pt x="224" y="153"/>
                      <a:pt x="224" y="153"/>
                      <a:pt x="224" y="153"/>
                    </a:cubicBezTo>
                    <a:cubicBezTo>
                      <a:pt x="226" y="151"/>
                      <a:pt x="226" y="151"/>
                      <a:pt x="226" y="151"/>
                    </a:cubicBezTo>
                    <a:cubicBezTo>
                      <a:pt x="230" y="148"/>
                      <a:pt x="232" y="144"/>
                      <a:pt x="232" y="139"/>
                    </a:cubicBezTo>
                    <a:cubicBezTo>
                      <a:pt x="232" y="93"/>
                      <a:pt x="232" y="93"/>
                      <a:pt x="232" y="93"/>
                    </a:cubicBezTo>
                    <a:cubicBezTo>
                      <a:pt x="232" y="89"/>
                      <a:pt x="230" y="84"/>
                      <a:pt x="226" y="81"/>
                    </a:cubicBezTo>
                    <a:cubicBezTo>
                      <a:pt x="224" y="79"/>
                      <a:pt x="224" y="79"/>
                      <a:pt x="224" y="79"/>
                    </a:cubicBezTo>
                    <a:cubicBezTo>
                      <a:pt x="226" y="78"/>
                      <a:pt x="226" y="78"/>
                      <a:pt x="226" y="78"/>
                    </a:cubicBezTo>
                    <a:cubicBezTo>
                      <a:pt x="230" y="75"/>
                      <a:pt x="232" y="70"/>
                      <a:pt x="232" y="65"/>
                    </a:cubicBezTo>
                    <a:cubicBezTo>
                      <a:pt x="232" y="20"/>
                      <a:pt x="232" y="20"/>
                      <a:pt x="232" y="20"/>
                    </a:cubicBezTo>
                    <a:cubicBezTo>
                      <a:pt x="232" y="11"/>
                      <a:pt x="225" y="4"/>
                      <a:pt x="217" y="4"/>
                    </a:cubicBezTo>
                    <a:lnTo>
                      <a:pt x="20" y="4"/>
                    </a:lnTo>
                    <a:close/>
                    <a:moveTo>
                      <a:pt x="20" y="225"/>
                    </a:moveTo>
                    <a:cubicBezTo>
                      <a:pt x="16" y="225"/>
                      <a:pt x="13" y="224"/>
                      <a:pt x="11" y="221"/>
                    </a:cubicBezTo>
                    <a:cubicBezTo>
                      <a:pt x="9" y="219"/>
                      <a:pt x="7" y="216"/>
                      <a:pt x="7" y="213"/>
                    </a:cubicBezTo>
                    <a:cubicBezTo>
                      <a:pt x="7" y="167"/>
                      <a:pt x="7" y="167"/>
                      <a:pt x="7" y="167"/>
                    </a:cubicBezTo>
                    <a:cubicBezTo>
                      <a:pt x="7" y="160"/>
                      <a:pt x="13" y="155"/>
                      <a:pt x="20" y="155"/>
                    </a:cubicBezTo>
                    <a:cubicBezTo>
                      <a:pt x="217" y="155"/>
                      <a:pt x="217" y="155"/>
                      <a:pt x="217" y="155"/>
                    </a:cubicBezTo>
                    <a:cubicBezTo>
                      <a:pt x="223" y="155"/>
                      <a:pt x="229" y="160"/>
                      <a:pt x="229" y="167"/>
                    </a:cubicBezTo>
                    <a:cubicBezTo>
                      <a:pt x="229" y="213"/>
                      <a:pt x="229" y="213"/>
                      <a:pt x="229" y="213"/>
                    </a:cubicBezTo>
                    <a:cubicBezTo>
                      <a:pt x="229" y="219"/>
                      <a:pt x="223" y="225"/>
                      <a:pt x="217" y="225"/>
                    </a:cubicBezTo>
                    <a:cubicBezTo>
                      <a:pt x="20" y="225"/>
                      <a:pt x="20" y="225"/>
                      <a:pt x="20" y="225"/>
                    </a:cubicBezTo>
                    <a:close/>
                    <a:moveTo>
                      <a:pt x="20" y="159"/>
                    </a:moveTo>
                    <a:cubicBezTo>
                      <a:pt x="15" y="159"/>
                      <a:pt x="12" y="163"/>
                      <a:pt x="12" y="167"/>
                    </a:cubicBezTo>
                    <a:cubicBezTo>
                      <a:pt x="12" y="213"/>
                      <a:pt x="12" y="213"/>
                      <a:pt x="12" y="213"/>
                    </a:cubicBezTo>
                    <a:cubicBezTo>
                      <a:pt x="12" y="215"/>
                      <a:pt x="12" y="217"/>
                      <a:pt x="14" y="218"/>
                    </a:cubicBezTo>
                    <a:cubicBezTo>
                      <a:pt x="15" y="220"/>
                      <a:pt x="17" y="221"/>
                      <a:pt x="20" y="221"/>
                    </a:cubicBezTo>
                    <a:cubicBezTo>
                      <a:pt x="20" y="221"/>
                      <a:pt x="20" y="221"/>
                      <a:pt x="20" y="221"/>
                    </a:cubicBezTo>
                    <a:cubicBezTo>
                      <a:pt x="217" y="221"/>
                      <a:pt x="217" y="221"/>
                      <a:pt x="217" y="221"/>
                    </a:cubicBezTo>
                    <a:cubicBezTo>
                      <a:pt x="221" y="221"/>
                      <a:pt x="225" y="217"/>
                      <a:pt x="225" y="213"/>
                    </a:cubicBezTo>
                    <a:cubicBezTo>
                      <a:pt x="225" y="167"/>
                      <a:pt x="225" y="167"/>
                      <a:pt x="225" y="167"/>
                    </a:cubicBezTo>
                    <a:cubicBezTo>
                      <a:pt x="225" y="163"/>
                      <a:pt x="221" y="159"/>
                      <a:pt x="217" y="159"/>
                    </a:cubicBezTo>
                    <a:lnTo>
                      <a:pt x="20" y="159"/>
                    </a:lnTo>
                    <a:close/>
                    <a:moveTo>
                      <a:pt x="217" y="151"/>
                    </a:moveTo>
                    <a:cubicBezTo>
                      <a:pt x="20" y="151"/>
                      <a:pt x="20" y="151"/>
                      <a:pt x="20" y="151"/>
                    </a:cubicBezTo>
                    <a:cubicBezTo>
                      <a:pt x="13" y="151"/>
                      <a:pt x="7" y="146"/>
                      <a:pt x="7" y="139"/>
                    </a:cubicBezTo>
                    <a:cubicBezTo>
                      <a:pt x="7" y="93"/>
                      <a:pt x="7" y="93"/>
                      <a:pt x="7" y="93"/>
                    </a:cubicBezTo>
                    <a:cubicBezTo>
                      <a:pt x="7" y="87"/>
                      <a:pt x="13" y="81"/>
                      <a:pt x="20" y="81"/>
                    </a:cubicBezTo>
                    <a:cubicBezTo>
                      <a:pt x="217" y="81"/>
                      <a:pt x="217" y="81"/>
                      <a:pt x="217" y="81"/>
                    </a:cubicBezTo>
                    <a:cubicBezTo>
                      <a:pt x="223" y="81"/>
                      <a:pt x="229" y="87"/>
                      <a:pt x="229" y="93"/>
                    </a:cubicBezTo>
                    <a:cubicBezTo>
                      <a:pt x="229" y="139"/>
                      <a:pt x="229" y="139"/>
                      <a:pt x="229" y="139"/>
                    </a:cubicBezTo>
                    <a:cubicBezTo>
                      <a:pt x="229" y="146"/>
                      <a:pt x="223" y="151"/>
                      <a:pt x="217" y="151"/>
                    </a:cubicBezTo>
                    <a:moveTo>
                      <a:pt x="20" y="85"/>
                    </a:moveTo>
                    <a:cubicBezTo>
                      <a:pt x="15" y="85"/>
                      <a:pt x="12" y="89"/>
                      <a:pt x="12" y="93"/>
                    </a:cubicBezTo>
                    <a:cubicBezTo>
                      <a:pt x="12" y="139"/>
                      <a:pt x="12" y="139"/>
                      <a:pt x="12" y="139"/>
                    </a:cubicBezTo>
                    <a:cubicBezTo>
                      <a:pt x="12" y="143"/>
                      <a:pt x="15" y="147"/>
                      <a:pt x="20" y="147"/>
                    </a:cubicBezTo>
                    <a:cubicBezTo>
                      <a:pt x="217" y="147"/>
                      <a:pt x="217" y="147"/>
                      <a:pt x="217" y="147"/>
                    </a:cubicBezTo>
                    <a:cubicBezTo>
                      <a:pt x="221" y="147"/>
                      <a:pt x="225" y="143"/>
                      <a:pt x="225" y="139"/>
                    </a:cubicBezTo>
                    <a:cubicBezTo>
                      <a:pt x="225" y="93"/>
                      <a:pt x="225" y="93"/>
                      <a:pt x="225" y="93"/>
                    </a:cubicBezTo>
                    <a:cubicBezTo>
                      <a:pt x="225" y="89"/>
                      <a:pt x="221" y="85"/>
                      <a:pt x="217" y="85"/>
                    </a:cubicBezTo>
                    <a:lnTo>
                      <a:pt x="20" y="85"/>
                    </a:lnTo>
                    <a:close/>
                    <a:moveTo>
                      <a:pt x="217" y="78"/>
                    </a:moveTo>
                    <a:cubicBezTo>
                      <a:pt x="20" y="78"/>
                      <a:pt x="20" y="78"/>
                      <a:pt x="20" y="78"/>
                    </a:cubicBezTo>
                    <a:cubicBezTo>
                      <a:pt x="13" y="78"/>
                      <a:pt x="7" y="72"/>
                      <a:pt x="7" y="65"/>
                    </a:cubicBezTo>
                    <a:cubicBezTo>
                      <a:pt x="7" y="20"/>
                      <a:pt x="7" y="20"/>
                      <a:pt x="7" y="20"/>
                    </a:cubicBezTo>
                    <a:cubicBezTo>
                      <a:pt x="7" y="13"/>
                      <a:pt x="13" y="7"/>
                      <a:pt x="20" y="7"/>
                    </a:cubicBezTo>
                    <a:cubicBezTo>
                      <a:pt x="217" y="7"/>
                      <a:pt x="217" y="7"/>
                      <a:pt x="217" y="7"/>
                    </a:cubicBezTo>
                    <a:cubicBezTo>
                      <a:pt x="223" y="7"/>
                      <a:pt x="229" y="13"/>
                      <a:pt x="229" y="20"/>
                    </a:cubicBezTo>
                    <a:cubicBezTo>
                      <a:pt x="229" y="65"/>
                      <a:pt x="229" y="65"/>
                      <a:pt x="229" y="65"/>
                    </a:cubicBezTo>
                    <a:cubicBezTo>
                      <a:pt x="229" y="72"/>
                      <a:pt x="223" y="78"/>
                      <a:pt x="217" y="78"/>
                    </a:cubicBezTo>
                    <a:moveTo>
                      <a:pt x="20" y="12"/>
                    </a:moveTo>
                    <a:cubicBezTo>
                      <a:pt x="15" y="12"/>
                      <a:pt x="12" y="15"/>
                      <a:pt x="12" y="20"/>
                    </a:cubicBezTo>
                    <a:cubicBezTo>
                      <a:pt x="12" y="65"/>
                      <a:pt x="12" y="65"/>
                      <a:pt x="12" y="65"/>
                    </a:cubicBezTo>
                    <a:cubicBezTo>
                      <a:pt x="12" y="70"/>
                      <a:pt x="15" y="73"/>
                      <a:pt x="20" y="73"/>
                    </a:cubicBezTo>
                    <a:cubicBezTo>
                      <a:pt x="217" y="73"/>
                      <a:pt x="217" y="73"/>
                      <a:pt x="217" y="73"/>
                    </a:cubicBezTo>
                    <a:cubicBezTo>
                      <a:pt x="221" y="73"/>
                      <a:pt x="225" y="70"/>
                      <a:pt x="225" y="65"/>
                    </a:cubicBezTo>
                    <a:cubicBezTo>
                      <a:pt x="225" y="20"/>
                      <a:pt x="225" y="20"/>
                      <a:pt x="225" y="20"/>
                    </a:cubicBezTo>
                    <a:cubicBezTo>
                      <a:pt x="225" y="15"/>
                      <a:pt x="221" y="12"/>
                      <a:pt x="217" y="12"/>
                    </a:cubicBezTo>
                    <a:lnTo>
                      <a:pt x="2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68"/>
              <p:cNvSpPr>
                <a:spLocks noEditPoints="1"/>
              </p:cNvSpPr>
              <p:nvPr/>
            </p:nvSpPr>
            <p:spPr bwMode="auto">
              <a:xfrm>
                <a:off x="4006706" y="1609516"/>
                <a:ext cx="41332" cy="41836"/>
              </a:xfrm>
              <a:custGeom>
                <a:avLst/>
                <a:gdLst>
                  <a:gd name="T0" fmla="*/ 17 w 35"/>
                  <a:gd name="T1" fmla="*/ 35 h 35"/>
                  <a:gd name="T2" fmla="*/ 35 w 35"/>
                  <a:gd name="T3" fmla="*/ 17 h 35"/>
                  <a:gd name="T4" fmla="*/ 17 w 35"/>
                  <a:gd name="T5" fmla="*/ 0 h 35"/>
                  <a:gd name="T6" fmla="*/ 0 w 35"/>
                  <a:gd name="T7" fmla="*/ 17 h 35"/>
                  <a:gd name="T8" fmla="*/ 17 w 35"/>
                  <a:gd name="T9" fmla="*/ 35 h 35"/>
                  <a:gd name="T10" fmla="*/ 17 w 35"/>
                  <a:gd name="T11" fmla="*/ 8 h 35"/>
                  <a:gd name="T12" fmla="*/ 27 w 35"/>
                  <a:gd name="T13" fmla="*/ 17 h 35"/>
                  <a:gd name="T14" fmla="*/ 17 w 35"/>
                  <a:gd name="T15" fmla="*/ 27 h 35"/>
                  <a:gd name="T16" fmla="*/ 8 w 35"/>
                  <a:gd name="T17" fmla="*/ 17 h 35"/>
                  <a:gd name="T18" fmla="*/ 17 w 35"/>
                  <a:gd name="T19"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35"/>
                    </a:moveTo>
                    <a:cubicBezTo>
                      <a:pt x="27" y="35"/>
                      <a:pt x="35" y="27"/>
                      <a:pt x="35" y="17"/>
                    </a:cubicBezTo>
                    <a:cubicBezTo>
                      <a:pt x="35" y="8"/>
                      <a:pt x="27" y="0"/>
                      <a:pt x="17" y="0"/>
                    </a:cubicBezTo>
                    <a:cubicBezTo>
                      <a:pt x="8" y="0"/>
                      <a:pt x="0" y="8"/>
                      <a:pt x="0" y="17"/>
                    </a:cubicBezTo>
                    <a:cubicBezTo>
                      <a:pt x="0" y="27"/>
                      <a:pt x="8" y="35"/>
                      <a:pt x="17" y="35"/>
                    </a:cubicBezTo>
                    <a:moveTo>
                      <a:pt x="17" y="8"/>
                    </a:moveTo>
                    <a:cubicBezTo>
                      <a:pt x="23" y="8"/>
                      <a:pt x="27" y="12"/>
                      <a:pt x="27" y="17"/>
                    </a:cubicBezTo>
                    <a:cubicBezTo>
                      <a:pt x="27" y="23"/>
                      <a:pt x="23" y="27"/>
                      <a:pt x="17" y="27"/>
                    </a:cubicBezTo>
                    <a:cubicBezTo>
                      <a:pt x="12" y="27"/>
                      <a:pt x="8" y="23"/>
                      <a:pt x="8" y="17"/>
                    </a:cubicBezTo>
                    <a:cubicBezTo>
                      <a:pt x="8" y="12"/>
                      <a:pt x="12" y="8"/>
                      <a:pt x="17"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69"/>
              <p:cNvSpPr>
                <a:spLocks noEditPoints="1"/>
              </p:cNvSpPr>
              <p:nvPr/>
            </p:nvSpPr>
            <p:spPr bwMode="auto">
              <a:xfrm>
                <a:off x="4004186" y="1607499"/>
                <a:ext cx="46373" cy="46373"/>
              </a:xfrm>
              <a:custGeom>
                <a:avLst/>
                <a:gdLst>
                  <a:gd name="T0" fmla="*/ 19 w 39"/>
                  <a:gd name="T1" fmla="*/ 39 h 39"/>
                  <a:gd name="T2" fmla="*/ 0 w 39"/>
                  <a:gd name="T3" fmla="*/ 19 h 39"/>
                  <a:gd name="T4" fmla="*/ 19 w 39"/>
                  <a:gd name="T5" fmla="*/ 0 h 39"/>
                  <a:gd name="T6" fmla="*/ 39 w 39"/>
                  <a:gd name="T7" fmla="*/ 19 h 39"/>
                  <a:gd name="T8" fmla="*/ 19 w 39"/>
                  <a:gd name="T9" fmla="*/ 39 h 39"/>
                  <a:gd name="T10" fmla="*/ 19 w 39"/>
                  <a:gd name="T11" fmla="*/ 4 h 39"/>
                  <a:gd name="T12" fmla="*/ 4 w 39"/>
                  <a:gd name="T13" fmla="*/ 19 h 39"/>
                  <a:gd name="T14" fmla="*/ 19 w 39"/>
                  <a:gd name="T15" fmla="*/ 35 h 39"/>
                  <a:gd name="T16" fmla="*/ 35 w 39"/>
                  <a:gd name="T17" fmla="*/ 19 h 39"/>
                  <a:gd name="T18" fmla="*/ 19 w 39"/>
                  <a:gd name="T19" fmla="*/ 4 h 39"/>
                  <a:gd name="T20" fmla="*/ 19 w 39"/>
                  <a:gd name="T21" fmla="*/ 31 h 39"/>
                  <a:gd name="T22" fmla="*/ 8 w 39"/>
                  <a:gd name="T23" fmla="*/ 19 h 39"/>
                  <a:gd name="T24" fmla="*/ 19 w 39"/>
                  <a:gd name="T25" fmla="*/ 7 h 39"/>
                  <a:gd name="T26" fmla="*/ 31 w 39"/>
                  <a:gd name="T27" fmla="*/ 19 h 39"/>
                  <a:gd name="T28" fmla="*/ 19 w 39"/>
                  <a:gd name="T29" fmla="*/ 31 h 39"/>
                  <a:gd name="T30" fmla="*/ 19 w 39"/>
                  <a:gd name="T31" fmla="*/ 12 h 39"/>
                  <a:gd name="T32" fmla="*/ 12 w 39"/>
                  <a:gd name="T33" fmla="*/ 19 h 39"/>
                  <a:gd name="T34" fmla="*/ 19 w 39"/>
                  <a:gd name="T35" fmla="*/ 27 h 39"/>
                  <a:gd name="T36" fmla="*/ 27 w 39"/>
                  <a:gd name="T37" fmla="*/ 19 h 39"/>
                  <a:gd name="T38" fmla="*/ 19 w 39"/>
                  <a:gd name="T39" fmla="*/ 1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9">
                    <a:moveTo>
                      <a:pt x="19" y="39"/>
                    </a:moveTo>
                    <a:cubicBezTo>
                      <a:pt x="9" y="39"/>
                      <a:pt x="0" y="30"/>
                      <a:pt x="0" y="19"/>
                    </a:cubicBezTo>
                    <a:cubicBezTo>
                      <a:pt x="0" y="8"/>
                      <a:pt x="9" y="0"/>
                      <a:pt x="19" y="0"/>
                    </a:cubicBezTo>
                    <a:cubicBezTo>
                      <a:pt x="30" y="0"/>
                      <a:pt x="39" y="8"/>
                      <a:pt x="39" y="19"/>
                    </a:cubicBezTo>
                    <a:cubicBezTo>
                      <a:pt x="39" y="30"/>
                      <a:pt x="30" y="39"/>
                      <a:pt x="19" y="39"/>
                    </a:cubicBezTo>
                    <a:moveTo>
                      <a:pt x="19" y="4"/>
                    </a:moveTo>
                    <a:cubicBezTo>
                      <a:pt x="11" y="4"/>
                      <a:pt x="4" y="11"/>
                      <a:pt x="4" y="19"/>
                    </a:cubicBezTo>
                    <a:cubicBezTo>
                      <a:pt x="4" y="28"/>
                      <a:pt x="11" y="35"/>
                      <a:pt x="19" y="35"/>
                    </a:cubicBezTo>
                    <a:cubicBezTo>
                      <a:pt x="28" y="35"/>
                      <a:pt x="35" y="28"/>
                      <a:pt x="35" y="19"/>
                    </a:cubicBezTo>
                    <a:cubicBezTo>
                      <a:pt x="35" y="11"/>
                      <a:pt x="28" y="4"/>
                      <a:pt x="19" y="4"/>
                    </a:cubicBezTo>
                    <a:moveTo>
                      <a:pt x="19" y="31"/>
                    </a:moveTo>
                    <a:cubicBezTo>
                      <a:pt x="13" y="31"/>
                      <a:pt x="8" y="26"/>
                      <a:pt x="8" y="19"/>
                    </a:cubicBezTo>
                    <a:cubicBezTo>
                      <a:pt x="8" y="13"/>
                      <a:pt x="13" y="7"/>
                      <a:pt x="19" y="7"/>
                    </a:cubicBezTo>
                    <a:cubicBezTo>
                      <a:pt x="26" y="7"/>
                      <a:pt x="31" y="13"/>
                      <a:pt x="31" y="19"/>
                    </a:cubicBezTo>
                    <a:cubicBezTo>
                      <a:pt x="31" y="26"/>
                      <a:pt x="26" y="31"/>
                      <a:pt x="19" y="31"/>
                    </a:cubicBezTo>
                    <a:moveTo>
                      <a:pt x="19" y="12"/>
                    </a:moveTo>
                    <a:cubicBezTo>
                      <a:pt x="15" y="12"/>
                      <a:pt x="12" y="15"/>
                      <a:pt x="12" y="19"/>
                    </a:cubicBezTo>
                    <a:cubicBezTo>
                      <a:pt x="12" y="23"/>
                      <a:pt x="15" y="27"/>
                      <a:pt x="19" y="27"/>
                    </a:cubicBezTo>
                    <a:cubicBezTo>
                      <a:pt x="24" y="27"/>
                      <a:pt x="27" y="23"/>
                      <a:pt x="27" y="19"/>
                    </a:cubicBezTo>
                    <a:cubicBezTo>
                      <a:pt x="27" y="15"/>
                      <a:pt x="24" y="12"/>
                      <a:pt x="19"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270"/>
              <p:cNvSpPr>
                <a:spLocks noEditPoints="1"/>
              </p:cNvSpPr>
              <p:nvPr/>
            </p:nvSpPr>
            <p:spPr bwMode="auto">
              <a:xfrm>
                <a:off x="4006706" y="1696716"/>
                <a:ext cx="41332" cy="41836"/>
              </a:xfrm>
              <a:custGeom>
                <a:avLst/>
                <a:gdLst>
                  <a:gd name="T0" fmla="*/ 17 w 35"/>
                  <a:gd name="T1" fmla="*/ 35 h 35"/>
                  <a:gd name="T2" fmla="*/ 35 w 35"/>
                  <a:gd name="T3" fmla="*/ 18 h 35"/>
                  <a:gd name="T4" fmla="*/ 17 w 35"/>
                  <a:gd name="T5" fmla="*/ 0 h 35"/>
                  <a:gd name="T6" fmla="*/ 0 w 35"/>
                  <a:gd name="T7" fmla="*/ 18 h 35"/>
                  <a:gd name="T8" fmla="*/ 17 w 35"/>
                  <a:gd name="T9" fmla="*/ 35 h 35"/>
                  <a:gd name="T10" fmla="*/ 17 w 35"/>
                  <a:gd name="T11" fmla="*/ 8 h 35"/>
                  <a:gd name="T12" fmla="*/ 27 w 35"/>
                  <a:gd name="T13" fmla="*/ 18 h 35"/>
                  <a:gd name="T14" fmla="*/ 17 w 35"/>
                  <a:gd name="T15" fmla="*/ 28 h 35"/>
                  <a:gd name="T16" fmla="*/ 8 w 35"/>
                  <a:gd name="T17" fmla="*/ 18 h 35"/>
                  <a:gd name="T18" fmla="*/ 17 w 35"/>
                  <a:gd name="T19"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35"/>
                    </a:moveTo>
                    <a:cubicBezTo>
                      <a:pt x="27" y="35"/>
                      <a:pt x="35" y="28"/>
                      <a:pt x="35" y="18"/>
                    </a:cubicBezTo>
                    <a:cubicBezTo>
                      <a:pt x="35" y="8"/>
                      <a:pt x="27" y="0"/>
                      <a:pt x="17" y="0"/>
                    </a:cubicBezTo>
                    <a:cubicBezTo>
                      <a:pt x="8" y="0"/>
                      <a:pt x="0" y="8"/>
                      <a:pt x="0" y="18"/>
                    </a:cubicBezTo>
                    <a:cubicBezTo>
                      <a:pt x="0" y="28"/>
                      <a:pt x="8" y="35"/>
                      <a:pt x="17" y="35"/>
                    </a:cubicBezTo>
                    <a:moveTo>
                      <a:pt x="17" y="8"/>
                    </a:moveTo>
                    <a:cubicBezTo>
                      <a:pt x="23" y="8"/>
                      <a:pt x="27" y="13"/>
                      <a:pt x="27" y="18"/>
                    </a:cubicBezTo>
                    <a:cubicBezTo>
                      <a:pt x="27" y="23"/>
                      <a:pt x="23" y="28"/>
                      <a:pt x="17" y="28"/>
                    </a:cubicBezTo>
                    <a:cubicBezTo>
                      <a:pt x="12" y="28"/>
                      <a:pt x="8" y="23"/>
                      <a:pt x="8" y="18"/>
                    </a:cubicBezTo>
                    <a:cubicBezTo>
                      <a:pt x="8" y="13"/>
                      <a:pt x="12" y="8"/>
                      <a:pt x="17"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271"/>
              <p:cNvSpPr>
                <a:spLocks noEditPoints="1"/>
              </p:cNvSpPr>
              <p:nvPr/>
            </p:nvSpPr>
            <p:spPr bwMode="auto">
              <a:xfrm>
                <a:off x="4004186" y="1694196"/>
                <a:ext cx="46373" cy="46373"/>
              </a:xfrm>
              <a:custGeom>
                <a:avLst/>
                <a:gdLst>
                  <a:gd name="T0" fmla="*/ 19 w 39"/>
                  <a:gd name="T1" fmla="*/ 39 h 39"/>
                  <a:gd name="T2" fmla="*/ 0 w 39"/>
                  <a:gd name="T3" fmla="*/ 20 h 39"/>
                  <a:gd name="T4" fmla="*/ 19 w 39"/>
                  <a:gd name="T5" fmla="*/ 0 h 39"/>
                  <a:gd name="T6" fmla="*/ 39 w 39"/>
                  <a:gd name="T7" fmla="*/ 20 h 39"/>
                  <a:gd name="T8" fmla="*/ 19 w 39"/>
                  <a:gd name="T9" fmla="*/ 39 h 39"/>
                  <a:gd name="T10" fmla="*/ 19 w 39"/>
                  <a:gd name="T11" fmla="*/ 5 h 39"/>
                  <a:gd name="T12" fmla="*/ 4 w 39"/>
                  <a:gd name="T13" fmla="*/ 20 h 39"/>
                  <a:gd name="T14" fmla="*/ 19 w 39"/>
                  <a:gd name="T15" fmla="*/ 35 h 39"/>
                  <a:gd name="T16" fmla="*/ 35 w 39"/>
                  <a:gd name="T17" fmla="*/ 20 h 39"/>
                  <a:gd name="T18" fmla="*/ 19 w 39"/>
                  <a:gd name="T19" fmla="*/ 5 h 39"/>
                  <a:gd name="T20" fmla="*/ 19 w 39"/>
                  <a:gd name="T21" fmla="*/ 32 h 39"/>
                  <a:gd name="T22" fmla="*/ 8 w 39"/>
                  <a:gd name="T23" fmla="*/ 20 h 39"/>
                  <a:gd name="T24" fmla="*/ 19 w 39"/>
                  <a:gd name="T25" fmla="*/ 8 h 39"/>
                  <a:gd name="T26" fmla="*/ 31 w 39"/>
                  <a:gd name="T27" fmla="*/ 20 h 39"/>
                  <a:gd name="T28" fmla="*/ 19 w 39"/>
                  <a:gd name="T29" fmla="*/ 32 h 39"/>
                  <a:gd name="T30" fmla="*/ 19 w 39"/>
                  <a:gd name="T31" fmla="*/ 12 h 39"/>
                  <a:gd name="T32" fmla="*/ 12 w 39"/>
                  <a:gd name="T33" fmla="*/ 20 h 39"/>
                  <a:gd name="T34" fmla="*/ 19 w 39"/>
                  <a:gd name="T35" fmla="*/ 28 h 39"/>
                  <a:gd name="T36" fmla="*/ 27 w 39"/>
                  <a:gd name="T37" fmla="*/ 20 h 39"/>
                  <a:gd name="T38" fmla="*/ 19 w 39"/>
                  <a:gd name="T39" fmla="*/ 1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9">
                    <a:moveTo>
                      <a:pt x="19" y="39"/>
                    </a:moveTo>
                    <a:cubicBezTo>
                      <a:pt x="9" y="39"/>
                      <a:pt x="0" y="31"/>
                      <a:pt x="0" y="20"/>
                    </a:cubicBezTo>
                    <a:cubicBezTo>
                      <a:pt x="0" y="9"/>
                      <a:pt x="9" y="0"/>
                      <a:pt x="19" y="0"/>
                    </a:cubicBezTo>
                    <a:cubicBezTo>
                      <a:pt x="30" y="0"/>
                      <a:pt x="39" y="9"/>
                      <a:pt x="39" y="20"/>
                    </a:cubicBezTo>
                    <a:cubicBezTo>
                      <a:pt x="39" y="31"/>
                      <a:pt x="30" y="39"/>
                      <a:pt x="19" y="39"/>
                    </a:cubicBezTo>
                    <a:moveTo>
                      <a:pt x="19" y="5"/>
                    </a:moveTo>
                    <a:cubicBezTo>
                      <a:pt x="11" y="5"/>
                      <a:pt x="4" y="11"/>
                      <a:pt x="4" y="20"/>
                    </a:cubicBezTo>
                    <a:cubicBezTo>
                      <a:pt x="4" y="28"/>
                      <a:pt x="11" y="35"/>
                      <a:pt x="19" y="35"/>
                    </a:cubicBezTo>
                    <a:cubicBezTo>
                      <a:pt x="28" y="35"/>
                      <a:pt x="35" y="28"/>
                      <a:pt x="35" y="20"/>
                    </a:cubicBezTo>
                    <a:cubicBezTo>
                      <a:pt x="35" y="11"/>
                      <a:pt x="28" y="5"/>
                      <a:pt x="19" y="5"/>
                    </a:cubicBezTo>
                    <a:moveTo>
                      <a:pt x="19" y="32"/>
                    </a:moveTo>
                    <a:cubicBezTo>
                      <a:pt x="13" y="32"/>
                      <a:pt x="8" y="26"/>
                      <a:pt x="8" y="20"/>
                    </a:cubicBezTo>
                    <a:cubicBezTo>
                      <a:pt x="8" y="13"/>
                      <a:pt x="13" y="8"/>
                      <a:pt x="19" y="8"/>
                    </a:cubicBezTo>
                    <a:cubicBezTo>
                      <a:pt x="26" y="8"/>
                      <a:pt x="31" y="13"/>
                      <a:pt x="31" y="20"/>
                    </a:cubicBezTo>
                    <a:cubicBezTo>
                      <a:pt x="31" y="26"/>
                      <a:pt x="26" y="32"/>
                      <a:pt x="19" y="32"/>
                    </a:cubicBezTo>
                    <a:moveTo>
                      <a:pt x="19" y="12"/>
                    </a:moveTo>
                    <a:cubicBezTo>
                      <a:pt x="15" y="12"/>
                      <a:pt x="12" y="16"/>
                      <a:pt x="12" y="20"/>
                    </a:cubicBezTo>
                    <a:cubicBezTo>
                      <a:pt x="12" y="24"/>
                      <a:pt x="15" y="28"/>
                      <a:pt x="19" y="28"/>
                    </a:cubicBezTo>
                    <a:cubicBezTo>
                      <a:pt x="24" y="28"/>
                      <a:pt x="27" y="24"/>
                      <a:pt x="27" y="20"/>
                    </a:cubicBezTo>
                    <a:cubicBezTo>
                      <a:pt x="27" y="16"/>
                      <a:pt x="24" y="12"/>
                      <a:pt x="19"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42" name="TextBox 141"/>
          <p:cNvSpPr txBox="1"/>
          <p:nvPr/>
        </p:nvSpPr>
        <p:spPr>
          <a:xfrm>
            <a:off x="441138" y="1334811"/>
            <a:ext cx="2479862" cy="707886"/>
          </a:xfrm>
          <a:prstGeom prst="rect">
            <a:avLst/>
          </a:prstGeom>
          <a:noFill/>
        </p:spPr>
        <p:txBody>
          <a:bodyPr wrap="square" rtlCol="0" anchor="t" anchorCtr="0">
            <a:spAutoFit/>
          </a:bodyPr>
          <a:lstStyle/>
          <a:p>
            <a:pPr marL="228600" indent="-111125">
              <a:buFont typeface="CiscoSans" pitchFamily="34" charset="0"/>
              <a:buChar char="-"/>
            </a:pPr>
            <a:r>
              <a:rPr lang="en-US" sz="1000" dirty="0">
                <a:solidFill>
                  <a:schemeClr val="bg1"/>
                </a:solidFill>
              </a:rPr>
              <a:t>Densification</a:t>
            </a:r>
          </a:p>
          <a:p>
            <a:pPr marL="228600" indent="-111125">
              <a:buFont typeface="CiscoSans" pitchFamily="34" charset="0"/>
              <a:buChar char="-"/>
            </a:pPr>
            <a:r>
              <a:rPr lang="en-US" sz="1000" dirty="0">
                <a:solidFill>
                  <a:schemeClr val="bg1"/>
                </a:solidFill>
              </a:rPr>
              <a:t>Higher Throughout</a:t>
            </a:r>
          </a:p>
          <a:p>
            <a:pPr marL="228600" indent="-111125">
              <a:buFont typeface="CiscoSans" pitchFamily="34" charset="0"/>
              <a:buChar char="-"/>
            </a:pPr>
            <a:r>
              <a:rPr lang="en-US" sz="1000" dirty="0">
                <a:solidFill>
                  <a:schemeClr val="bg1"/>
                </a:solidFill>
              </a:rPr>
              <a:t>Virtualization</a:t>
            </a:r>
          </a:p>
          <a:p>
            <a:pPr marL="228600" indent="-111125">
              <a:buFont typeface="CiscoSans" pitchFamily="34" charset="0"/>
              <a:buChar char="-"/>
            </a:pPr>
            <a:r>
              <a:rPr lang="en-US" sz="1000" dirty="0">
                <a:solidFill>
                  <a:schemeClr val="bg1"/>
                </a:solidFill>
              </a:rPr>
              <a:t>Cloud-scale Simplified</a:t>
            </a:r>
          </a:p>
        </p:txBody>
      </p:sp>
      <p:sp>
        <p:nvSpPr>
          <p:cNvPr id="144" name="TextBox 143"/>
          <p:cNvSpPr txBox="1"/>
          <p:nvPr/>
        </p:nvSpPr>
        <p:spPr>
          <a:xfrm>
            <a:off x="441138" y="2520991"/>
            <a:ext cx="2479862" cy="553998"/>
          </a:xfrm>
          <a:prstGeom prst="rect">
            <a:avLst/>
          </a:prstGeom>
          <a:noFill/>
        </p:spPr>
        <p:txBody>
          <a:bodyPr wrap="square" rtlCol="0" anchor="t" anchorCtr="0">
            <a:spAutoFit/>
          </a:bodyPr>
          <a:lstStyle/>
          <a:p>
            <a:pPr marL="228600" indent="-111125">
              <a:buFont typeface="CiscoSans" pitchFamily="34" charset="0"/>
              <a:buChar char="-"/>
            </a:pPr>
            <a:r>
              <a:rPr lang="en-US" sz="1000" dirty="0">
                <a:solidFill>
                  <a:schemeClr val="bg1"/>
                </a:solidFill>
              </a:rPr>
              <a:t>CUPS</a:t>
            </a:r>
          </a:p>
          <a:p>
            <a:pPr marL="228600" indent="-111125">
              <a:buFont typeface="CiscoSans" pitchFamily="34" charset="0"/>
              <a:buChar char="-"/>
            </a:pPr>
            <a:r>
              <a:rPr lang="en-US" sz="1000" dirty="0">
                <a:solidFill>
                  <a:schemeClr val="bg1"/>
                </a:solidFill>
              </a:rPr>
              <a:t>Distributed Functions</a:t>
            </a:r>
          </a:p>
          <a:p>
            <a:pPr marL="228600" indent="-111125">
              <a:buFont typeface="CiscoSans" pitchFamily="34" charset="0"/>
              <a:buChar char="-"/>
            </a:pPr>
            <a:r>
              <a:rPr lang="en-US" sz="1000" dirty="0">
                <a:solidFill>
                  <a:schemeClr val="bg1"/>
                </a:solidFill>
              </a:rPr>
              <a:t>Edge Compute</a:t>
            </a:r>
          </a:p>
        </p:txBody>
      </p:sp>
      <p:sp>
        <p:nvSpPr>
          <p:cNvPr id="145" name="TextBox 144"/>
          <p:cNvSpPr txBox="1"/>
          <p:nvPr/>
        </p:nvSpPr>
        <p:spPr>
          <a:xfrm>
            <a:off x="441138" y="3270912"/>
            <a:ext cx="2479862" cy="707886"/>
          </a:xfrm>
          <a:prstGeom prst="rect">
            <a:avLst/>
          </a:prstGeom>
          <a:noFill/>
        </p:spPr>
        <p:txBody>
          <a:bodyPr wrap="square" rtlCol="0" anchor="t" anchorCtr="0">
            <a:spAutoFit/>
          </a:bodyPr>
          <a:lstStyle/>
          <a:p>
            <a:pPr marL="228600" indent="-111125">
              <a:buFont typeface="CiscoSans" pitchFamily="34" charset="0"/>
              <a:buChar char="-"/>
            </a:pPr>
            <a:r>
              <a:rPr lang="en-US" sz="1000" dirty="0">
                <a:solidFill>
                  <a:schemeClr val="bg1"/>
                </a:solidFill>
              </a:rPr>
              <a:t>Service Orchestration</a:t>
            </a:r>
          </a:p>
          <a:p>
            <a:pPr marL="228600" indent="-111125">
              <a:buFont typeface="CiscoSans" pitchFamily="34" charset="0"/>
              <a:buChar char="-"/>
            </a:pPr>
            <a:r>
              <a:rPr lang="en-US" sz="1000" dirty="0">
                <a:solidFill>
                  <a:schemeClr val="bg1"/>
                </a:solidFill>
              </a:rPr>
              <a:t>Automation</a:t>
            </a:r>
          </a:p>
          <a:p>
            <a:pPr marL="228600" indent="-111125">
              <a:buFont typeface="CiscoSans" pitchFamily="34" charset="0"/>
              <a:buChar char="-"/>
            </a:pPr>
            <a:r>
              <a:rPr lang="en-US" sz="1000" dirty="0">
                <a:solidFill>
                  <a:schemeClr val="bg1"/>
                </a:solidFill>
              </a:rPr>
              <a:t>Analytics and Telemetry</a:t>
            </a:r>
          </a:p>
          <a:p>
            <a:pPr marL="228600" indent="-111125">
              <a:buFont typeface="CiscoSans" pitchFamily="34" charset="0"/>
              <a:buChar char="-"/>
            </a:pPr>
            <a:r>
              <a:rPr lang="en-US" sz="1000" dirty="0">
                <a:solidFill>
                  <a:schemeClr val="bg1"/>
                </a:solidFill>
              </a:rPr>
              <a:t>Predictive Management</a:t>
            </a:r>
          </a:p>
        </p:txBody>
      </p:sp>
      <p:sp>
        <p:nvSpPr>
          <p:cNvPr id="146" name="TextBox 145"/>
          <p:cNvSpPr txBox="1"/>
          <p:nvPr/>
        </p:nvSpPr>
        <p:spPr>
          <a:xfrm>
            <a:off x="441138" y="4150455"/>
            <a:ext cx="2479862" cy="553998"/>
          </a:xfrm>
          <a:prstGeom prst="rect">
            <a:avLst/>
          </a:prstGeom>
          <a:noFill/>
        </p:spPr>
        <p:txBody>
          <a:bodyPr wrap="square" rtlCol="0" anchor="t" anchorCtr="0">
            <a:spAutoFit/>
          </a:bodyPr>
          <a:lstStyle/>
          <a:p>
            <a:pPr marL="228600" indent="-111125">
              <a:buFont typeface="CiscoSans" pitchFamily="34" charset="0"/>
              <a:buChar char="-"/>
            </a:pPr>
            <a:r>
              <a:rPr lang="en-US" sz="1000" dirty="0">
                <a:solidFill>
                  <a:schemeClr val="bg1"/>
                </a:solidFill>
              </a:rPr>
              <a:t>Seamless </a:t>
            </a:r>
            <a:r>
              <a:rPr lang="en-US" sz="1000" dirty="0" err="1">
                <a:solidFill>
                  <a:schemeClr val="bg1"/>
                </a:solidFill>
              </a:rPr>
              <a:t>HetNet</a:t>
            </a:r>
            <a:endParaRPr lang="en-US" sz="1000" dirty="0">
              <a:solidFill>
                <a:schemeClr val="bg1"/>
              </a:solidFill>
            </a:endParaRPr>
          </a:p>
          <a:p>
            <a:pPr marL="228600" indent="-111125">
              <a:buFont typeface="CiscoSans" pitchFamily="34" charset="0"/>
              <a:buChar char="-"/>
            </a:pPr>
            <a:r>
              <a:rPr lang="en-US" sz="1000" dirty="0">
                <a:solidFill>
                  <a:schemeClr val="bg1"/>
                </a:solidFill>
              </a:rPr>
              <a:t>SON</a:t>
            </a:r>
          </a:p>
          <a:p>
            <a:pPr marL="228600" indent="-111125">
              <a:buFont typeface="CiscoSans" pitchFamily="34" charset="0"/>
              <a:buChar char="-"/>
            </a:pPr>
            <a:r>
              <a:rPr lang="en-US" sz="1000" dirty="0">
                <a:solidFill>
                  <a:schemeClr val="bg1"/>
                </a:solidFill>
              </a:rPr>
              <a:t>Inter-domain Cloud Management</a:t>
            </a:r>
          </a:p>
        </p:txBody>
      </p:sp>
      <p:grpSp>
        <p:nvGrpSpPr>
          <p:cNvPr id="88" name="Group 87"/>
          <p:cNvGrpSpPr/>
          <p:nvPr/>
        </p:nvGrpSpPr>
        <p:grpSpPr>
          <a:xfrm>
            <a:off x="7447995" y="3856584"/>
            <a:ext cx="817023" cy="526784"/>
            <a:chOff x="5603988" y="5001836"/>
            <a:chExt cx="817023" cy="526784"/>
          </a:xfrm>
        </p:grpSpPr>
        <p:sp>
          <p:nvSpPr>
            <p:cNvPr id="89" name="Freeform 88"/>
            <p:cNvSpPr>
              <a:spLocks/>
            </p:cNvSpPr>
            <p:nvPr/>
          </p:nvSpPr>
          <p:spPr bwMode="auto">
            <a:xfrm>
              <a:off x="5603988" y="5001836"/>
              <a:ext cx="817023" cy="526784"/>
            </a:xfrm>
            <a:custGeom>
              <a:avLst/>
              <a:gdLst>
                <a:gd name="T0" fmla="*/ 270 w 747"/>
                <a:gd name="T1" fmla="*/ 99 h 482"/>
                <a:gd name="T2" fmla="*/ 210 w 747"/>
                <a:gd name="T3" fmla="*/ 71 h 482"/>
                <a:gd name="T4" fmla="*/ 133 w 747"/>
                <a:gd name="T5" fmla="*/ 148 h 482"/>
                <a:gd name="T6" fmla="*/ 141 w 747"/>
                <a:gd name="T7" fmla="*/ 181 h 482"/>
                <a:gd name="T8" fmla="*/ 0 w 747"/>
                <a:gd name="T9" fmla="*/ 332 h 482"/>
                <a:gd name="T10" fmla="*/ 150 w 747"/>
                <a:gd name="T11" fmla="*/ 482 h 482"/>
                <a:gd name="T12" fmla="*/ 589 w 747"/>
                <a:gd name="T13" fmla="*/ 482 h 482"/>
                <a:gd name="T14" fmla="*/ 747 w 747"/>
                <a:gd name="T15" fmla="*/ 325 h 482"/>
                <a:gd name="T16" fmla="*/ 589 w 747"/>
                <a:gd name="T17" fmla="*/ 167 h 482"/>
                <a:gd name="T18" fmla="*/ 589 w 747"/>
                <a:gd name="T19" fmla="*/ 167 h 482"/>
                <a:gd name="T20" fmla="*/ 422 w 747"/>
                <a:gd name="T21" fmla="*/ 0 h 482"/>
                <a:gd name="T22" fmla="*/ 270 w 747"/>
                <a:gd name="T23" fmla="*/ 99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7" h="482">
                  <a:moveTo>
                    <a:pt x="270" y="99"/>
                  </a:moveTo>
                  <a:cubicBezTo>
                    <a:pt x="255" y="82"/>
                    <a:pt x="234" y="71"/>
                    <a:pt x="210" y="71"/>
                  </a:cubicBezTo>
                  <a:cubicBezTo>
                    <a:pt x="168" y="71"/>
                    <a:pt x="133" y="106"/>
                    <a:pt x="133" y="148"/>
                  </a:cubicBezTo>
                  <a:cubicBezTo>
                    <a:pt x="133" y="160"/>
                    <a:pt x="136" y="171"/>
                    <a:pt x="141" y="181"/>
                  </a:cubicBezTo>
                  <a:cubicBezTo>
                    <a:pt x="62" y="186"/>
                    <a:pt x="0" y="252"/>
                    <a:pt x="0" y="332"/>
                  </a:cubicBezTo>
                  <a:cubicBezTo>
                    <a:pt x="0" y="415"/>
                    <a:pt x="67" y="482"/>
                    <a:pt x="150" y="482"/>
                  </a:cubicBezTo>
                  <a:cubicBezTo>
                    <a:pt x="589" y="482"/>
                    <a:pt x="589" y="482"/>
                    <a:pt x="589" y="482"/>
                  </a:cubicBezTo>
                  <a:cubicBezTo>
                    <a:pt x="676" y="482"/>
                    <a:pt x="747" y="412"/>
                    <a:pt x="747" y="325"/>
                  </a:cubicBezTo>
                  <a:cubicBezTo>
                    <a:pt x="747" y="238"/>
                    <a:pt x="676" y="167"/>
                    <a:pt x="589" y="167"/>
                  </a:cubicBezTo>
                  <a:cubicBezTo>
                    <a:pt x="589" y="167"/>
                    <a:pt x="589" y="167"/>
                    <a:pt x="589" y="167"/>
                  </a:cubicBezTo>
                  <a:cubicBezTo>
                    <a:pt x="589" y="75"/>
                    <a:pt x="514" y="0"/>
                    <a:pt x="422" y="0"/>
                  </a:cubicBezTo>
                  <a:cubicBezTo>
                    <a:pt x="354" y="0"/>
                    <a:pt x="296" y="41"/>
                    <a:pt x="270" y="99"/>
                  </a:cubicBezTo>
                </a:path>
              </a:pathLst>
            </a:custGeom>
            <a:gradFill>
              <a:gsLst>
                <a:gs pos="50000">
                  <a:srgbClr val="097DBC"/>
                </a:gs>
                <a:gs pos="0">
                  <a:srgbClr val="004BAF"/>
                </a:gs>
                <a:gs pos="100000">
                  <a:schemeClr val="accent1"/>
                </a:gs>
              </a:gsLst>
              <a:lin ang="16200000" scaled="1"/>
            </a:gradFill>
            <a:ln w="9525" cap="flat">
              <a:no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1700"/>
            </a:p>
          </p:txBody>
        </p:sp>
        <p:grpSp>
          <p:nvGrpSpPr>
            <p:cNvPr id="90" name="Group 89"/>
            <p:cNvGrpSpPr/>
            <p:nvPr/>
          </p:nvGrpSpPr>
          <p:grpSpPr>
            <a:xfrm>
              <a:off x="5883118" y="5195329"/>
              <a:ext cx="257837" cy="254596"/>
              <a:chOff x="3976967" y="1492071"/>
              <a:chExt cx="280757" cy="277228"/>
            </a:xfrm>
          </p:grpSpPr>
          <p:sp>
            <p:nvSpPr>
              <p:cNvPr id="91" name="Freeform 90"/>
              <p:cNvSpPr>
                <a:spLocks noEditPoints="1"/>
              </p:cNvSpPr>
              <p:nvPr/>
            </p:nvSpPr>
            <p:spPr bwMode="auto">
              <a:xfrm>
                <a:off x="4006706" y="1521811"/>
                <a:ext cx="41332" cy="41332"/>
              </a:xfrm>
              <a:custGeom>
                <a:avLst/>
                <a:gdLst>
                  <a:gd name="T0" fmla="*/ 17 w 35"/>
                  <a:gd name="T1" fmla="*/ 0 h 35"/>
                  <a:gd name="T2" fmla="*/ 0 w 35"/>
                  <a:gd name="T3" fmla="*/ 18 h 35"/>
                  <a:gd name="T4" fmla="*/ 17 w 35"/>
                  <a:gd name="T5" fmla="*/ 35 h 35"/>
                  <a:gd name="T6" fmla="*/ 35 w 35"/>
                  <a:gd name="T7" fmla="*/ 18 h 35"/>
                  <a:gd name="T8" fmla="*/ 17 w 35"/>
                  <a:gd name="T9" fmla="*/ 0 h 35"/>
                  <a:gd name="T10" fmla="*/ 17 w 35"/>
                  <a:gd name="T11" fmla="*/ 27 h 35"/>
                  <a:gd name="T12" fmla="*/ 8 w 35"/>
                  <a:gd name="T13" fmla="*/ 18 h 35"/>
                  <a:gd name="T14" fmla="*/ 17 w 35"/>
                  <a:gd name="T15" fmla="*/ 8 h 35"/>
                  <a:gd name="T16" fmla="*/ 27 w 35"/>
                  <a:gd name="T17" fmla="*/ 18 h 35"/>
                  <a:gd name="T18" fmla="*/ 17 w 35"/>
                  <a:gd name="T19"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0"/>
                    </a:moveTo>
                    <a:cubicBezTo>
                      <a:pt x="8" y="0"/>
                      <a:pt x="0" y="8"/>
                      <a:pt x="0" y="18"/>
                    </a:cubicBezTo>
                    <a:cubicBezTo>
                      <a:pt x="0" y="27"/>
                      <a:pt x="8" y="35"/>
                      <a:pt x="17" y="35"/>
                    </a:cubicBezTo>
                    <a:cubicBezTo>
                      <a:pt x="27" y="35"/>
                      <a:pt x="35" y="27"/>
                      <a:pt x="35" y="18"/>
                    </a:cubicBezTo>
                    <a:cubicBezTo>
                      <a:pt x="35" y="8"/>
                      <a:pt x="27" y="0"/>
                      <a:pt x="17" y="0"/>
                    </a:cubicBezTo>
                    <a:moveTo>
                      <a:pt x="17" y="27"/>
                    </a:moveTo>
                    <a:cubicBezTo>
                      <a:pt x="12" y="27"/>
                      <a:pt x="8" y="23"/>
                      <a:pt x="8" y="18"/>
                    </a:cubicBezTo>
                    <a:cubicBezTo>
                      <a:pt x="8" y="12"/>
                      <a:pt x="12" y="8"/>
                      <a:pt x="17" y="8"/>
                    </a:cubicBezTo>
                    <a:cubicBezTo>
                      <a:pt x="23" y="8"/>
                      <a:pt x="27" y="12"/>
                      <a:pt x="27" y="18"/>
                    </a:cubicBezTo>
                    <a:cubicBezTo>
                      <a:pt x="27" y="23"/>
                      <a:pt x="23" y="27"/>
                      <a:pt x="17"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1"/>
              <p:cNvSpPr>
                <a:spLocks noEditPoints="1"/>
              </p:cNvSpPr>
              <p:nvPr/>
            </p:nvSpPr>
            <p:spPr bwMode="auto">
              <a:xfrm>
                <a:off x="4004186" y="1519290"/>
                <a:ext cx="46373" cy="46373"/>
              </a:xfrm>
              <a:custGeom>
                <a:avLst/>
                <a:gdLst>
                  <a:gd name="T0" fmla="*/ 19 w 39"/>
                  <a:gd name="T1" fmla="*/ 39 h 39"/>
                  <a:gd name="T2" fmla="*/ 0 w 39"/>
                  <a:gd name="T3" fmla="*/ 20 h 39"/>
                  <a:gd name="T4" fmla="*/ 19 w 39"/>
                  <a:gd name="T5" fmla="*/ 0 h 39"/>
                  <a:gd name="T6" fmla="*/ 39 w 39"/>
                  <a:gd name="T7" fmla="*/ 20 h 39"/>
                  <a:gd name="T8" fmla="*/ 19 w 39"/>
                  <a:gd name="T9" fmla="*/ 39 h 39"/>
                  <a:gd name="T10" fmla="*/ 19 w 39"/>
                  <a:gd name="T11" fmla="*/ 4 h 39"/>
                  <a:gd name="T12" fmla="*/ 4 w 39"/>
                  <a:gd name="T13" fmla="*/ 20 h 39"/>
                  <a:gd name="T14" fmla="*/ 19 w 39"/>
                  <a:gd name="T15" fmla="*/ 35 h 39"/>
                  <a:gd name="T16" fmla="*/ 35 w 39"/>
                  <a:gd name="T17" fmla="*/ 20 h 39"/>
                  <a:gd name="T18" fmla="*/ 19 w 39"/>
                  <a:gd name="T19" fmla="*/ 4 h 39"/>
                  <a:gd name="T20" fmla="*/ 19 w 39"/>
                  <a:gd name="T21" fmla="*/ 31 h 39"/>
                  <a:gd name="T22" fmla="*/ 8 w 39"/>
                  <a:gd name="T23" fmla="*/ 20 h 39"/>
                  <a:gd name="T24" fmla="*/ 19 w 39"/>
                  <a:gd name="T25" fmla="*/ 8 h 39"/>
                  <a:gd name="T26" fmla="*/ 31 w 39"/>
                  <a:gd name="T27" fmla="*/ 20 h 39"/>
                  <a:gd name="T28" fmla="*/ 19 w 39"/>
                  <a:gd name="T29" fmla="*/ 31 h 39"/>
                  <a:gd name="T30" fmla="*/ 19 w 39"/>
                  <a:gd name="T31" fmla="*/ 12 h 39"/>
                  <a:gd name="T32" fmla="*/ 12 w 39"/>
                  <a:gd name="T33" fmla="*/ 20 h 39"/>
                  <a:gd name="T34" fmla="*/ 19 w 39"/>
                  <a:gd name="T35" fmla="*/ 27 h 39"/>
                  <a:gd name="T36" fmla="*/ 27 w 39"/>
                  <a:gd name="T37" fmla="*/ 20 h 39"/>
                  <a:gd name="T38" fmla="*/ 19 w 39"/>
                  <a:gd name="T39" fmla="*/ 1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9">
                    <a:moveTo>
                      <a:pt x="19" y="39"/>
                    </a:moveTo>
                    <a:cubicBezTo>
                      <a:pt x="9" y="39"/>
                      <a:pt x="0" y="30"/>
                      <a:pt x="0" y="20"/>
                    </a:cubicBezTo>
                    <a:cubicBezTo>
                      <a:pt x="0" y="9"/>
                      <a:pt x="9" y="0"/>
                      <a:pt x="19" y="0"/>
                    </a:cubicBezTo>
                    <a:cubicBezTo>
                      <a:pt x="30" y="0"/>
                      <a:pt x="39" y="9"/>
                      <a:pt x="39" y="20"/>
                    </a:cubicBezTo>
                    <a:cubicBezTo>
                      <a:pt x="39" y="30"/>
                      <a:pt x="30" y="39"/>
                      <a:pt x="19" y="39"/>
                    </a:cubicBezTo>
                    <a:moveTo>
                      <a:pt x="19" y="4"/>
                    </a:moveTo>
                    <a:cubicBezTo>
                      <a:pt x="11" y="4"/>
                      <a:pt x="4" y="11"/>
                      <a:pt x="4" y="20"/>
                    </a:cubicBezTo>
                    <a:cubicBezTo>
                      <a:pt x="4" y="28"/>
                      <a:pt x="11" y="35"/>
                      <a:pt x="19" y="35"/>
                    </a:cubicBezTo>
                    <a:cubicBezTo>
                      <a:pt x="28" y="35"/>
                      <a:pt x="35" y="28"/>
                      <a:pt x="35" y="20"/>
                    </a:cubicBezTo>
                    <a:cubicBezTo>
                      <a:pt x="35" y="11"/>
                      <a:pt x="28" y="4"/>
                      <a:pt x="19" y="4"/>
                    </a:cubicBezTo>
                    <a:moveTo>
                      <a:pt x="19" y="31"/>
                    </a:moveTo>
                    <a:cubicBezTo>
                      <a:pt x="13" y="31"/>
                      <a:pt x="8" y="26"/>
                      <a:pt x="8" y="20"/>
                    </a:cubicBezTo>
                    <a:cubicBezTo>
                      <a:pt x="8" y="13"/>
                      <a:pt x="13" y="8"/>
                      <a:pt x="19" y="8"/>
                    </a:cubicBezTo>
                    <a:cubicBezTo>
                      <a:pt x="26" y="8"/>
                      <a:pt x="31" y="13"/>
                      <a:pt x="31" y="20"/>
                    </a:cubicBezTo>
                    <a:cubicBezTo>
                      <a:pt x="31" y="26"/>
                      <a:pt x="26" y="31"/>
                      <a:pt x="19" y="31"/>
                    </a:cubicBezTo>
                    <a:moveTo>
                      <a:pt x="19" y="12"/>
                    </a:moveTo>
                    <a:cubicBezTo>
                      <a:pt x="15" y="12"/>
                      <a:pt x="12" y="15"/>
                      <a:pt x="12" y="20"/>
                    </a:cubicBezTo>
                    <a:cubicBezTo>
                      <a:pt x="12" y="24"/>
                      <a:pt x="15" y="27"/>
                      <a:pt x="19" y="27"/>
                    </a:cubicBezTo>
                    <a:cubicBezTo>
                      <a:pt x="24" y="27"/>
                      <a:pt x="27" y="24"/>
                      <a:pt x="27" y="20"/>
                    </a:cubicBezTo>
                    <a:cubicBezTo>
                      <a:pt x="27" y="15"/>
                      <a:pt x="24" y="12"/>
                      <a:pt x="19"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2"/>
              <p:cNvSpPr>
                <a:spLocks noEditPoints="1"/>
              </p:cNvSpPr>
              <p:nvPr/>
            </p:nvSpPr>
            <p:spPr bwMode="auto">
              <a:xfrm>
                <a:off x="3978983" y="1494088"/>
                <a:ext cx="276220" cy="272692"/>
              </a:xfrm>
              <a:custGeom>
                <a:avLst/>
                <a:gdLst>
                  <a:gd name="T0" fmla="*/ 232 w 232"/>
                  <a:gd name="T1" fmla="*/ 63 h 229"/>
                  <a:gd name="T2" fmla="*/ 232 w 232"/>
                  <a:gd name="T3" fmla="*/ 18 h 229"/>
                  <a:gd name="T4" fmla="*/ 215 w 232"/>
                  <a:gd name="T5" fmla="*/ 0 h 229"/>
                  <a:gd name="T6" fmla="*/ 18 w 232"/>
                  <a:gd name="T7" fmla="*/ 0 h 229"/>
                  <a:gd name="T8" fmla="*/ 0 w 232"/>
                  <a:gd name="T9" fmla="*/ 18 h 229"/>
                  <a:gd name="T10" fmla="*/ 0 w 232"/>
                  <a:gd name="T11" fmla="*/ 63 h 229"/>
                  <a:gd name="T12" fmla="*/ 7 w 232"/>
                  <a:gd name="T13" fmla="*/ 77 h 229"/>
                  <a:gd name="T14" fmla="*/ 0 w 232"/>
                  <a:gd name="T15" fmla="*/ 91 h 229"/>
                  <a:gd name="T16" fmla="*/ 0 w 232"/>
                  <a:gd name="T17" fmla="*/ 137 h 229"/>
                  <a:gd name="T18" fmla="*/ 7 w 232"/>
                  <a:gd name="T19" fmla="*/ 151 h 229"/>
                  <a:gd name="T20" fmla="*/ 0 w 232"/>
                  <a:gd name="T21" fmla="*/ 165 h 229"/>
                  <a:gd name="T22" fmla="*/ 0 w 232"/>
                  <a:gd name="T23" fmla="*/ 211 h 229"/>
                  <a:gd name="T24" fmla="*/ 18 w 232"/>
                  <a:gd name="T25" fmla="*/ 229 h 229"/>
                  <a:gd name="T26" fmla="*/ 215 w 232"/>
                  <a:gd name="T27" fmla="*/ 229 h 229"/>
                  <a:gd name="T28" fmla="*/ 232 w 232"/>
                  <a:gd name="T29" fmla="*/ 211 h 229"/>
                  <a:gd name="T30" fmla="*/ 232 w 232"/>
                  <a:gd name="T31" fmla="*/ 165 h 229"/>
                  <a:gd name="T32" fmla="*/ 226 w 232"/>
                  <a:gd name="T33" fmla="*/ 151 h 229"/>
                  <a:gd name="T34" fmla="*/ 232 w 232"/>
                  <a:gd name="T35" fmla="*/ 137 h 229"/>
                  <a:gd name="T36" fmla="*/ 232 w 232"/>
                  <a:gd name="T37" fmla="*/ 91 h 229"/>
                  <a:gd name="T38" fmla="*/ 226 w 232"/>
                  <a:gd name="T39" fmla="*/ 77 h 229"/>
                  <a:gd name="T40" fmla="*/ 232 w 232"/>
                  <a:gd name="T41" fmla="*/ 63 h 229"/>
                  <a:gd name="T42" fmla="*/ 225 w 232"/>
                  <a:gd name="T43" fmla="*/ 165 h 229"/>
                  <a:gd name="T44" fmla="*/ 225 w 232"/>
                  <a:gd name="T45" fmla="*/ 211 h 229"/>
                  <a:gd name="T46" fmla="*/ 215 w 232"/>
                  <a:gd name="T47" fmla="*/ 221 h 229"/>
                  <a:gd name="T48" fmla="*/ 18 w 232"/>
                  <a:gd name="T49" fmla="*/ 221 h 229"/>
                  <a:gd name="T50" fmla="*/ 7 w 232"/>
                  <a:gd name="T51" fmla="*/ 211 h 229"/>
                  <a:gd name="T52" fmla="*/ 7 w 232"/>
                  <a:gd name="T53" fmla="*/ 165 h 229"/>
                  <a:gd name="T54" fmla="*/ 18 w 232"/>
                  <a:gd name="T55" fmla="*/ 155 h 229"/>
                  <a:gd name="T56" fmla="*/ 215 w 232"/>
                  <a:gd name="T57" fmla="*/ 155 h 229"/>
                  <a:gd name="T58" fmla="*/ 225 w 232"/>
                  <a:gd name="T59" fmla="*/ 165 h 229"/>
                  <a:gd name="T60" fmla="*/ 225 w 232"/>
                  <a:gd name="T61" fmla="*/ 91 h 229"/>
                  <a:gd name="T62" fmla="*/ 225 w 232"/>
                  <a:gd name="T63" fmla="*/ 137 h 229"/>
                  <a:gd name="T64" fmla="*/ 215 w 232"/>
                  <a:gd name="T65" fmla="*/ 147 h 229"/>
                  <a:gd name="T66" fmla="*/ 18 w 232"/>
                  <a:gd name="T67" fmla="*/ 147 h 229"/>
                  <a:gd name="T68" fmla="*/ 7 w 232"/>
                  <a:gd name="T69" fmla="*/ 137 h 229"/>
                  <a:gd name="T70" fmla="*/ 7 w 232"/>
                  <a:gd name="T71" fmla="*/ 91 h 229"/>
                  <a:gd name="T72" fmla="*/ 18 w 232"/>
                  <a:gd name="T73" fmla="*/ 81 h 229"/>
                  <a:gd name="T74" fmla="*/ 215 w 232"/>
                  <a:gd name="T75" fmla="*/ 81 h 229"/>
                  <a:gd name="T76" fmla="*/ 225 w 232"/>
                  <a:gd name="T77" fmla="*/ 91 h 229"/>
                  <a:gd name="T78" fmla="*/ 18 w 232"/>
                  <a:gd name="T79" fmla="*/ 74 h 229"/>
                  <a:gd name="T80" fmla="*/ 7 w 232"/>
                  <a:gd name="T81" fmla="*/ 63 h 229"/>
                  <a:gd name="T82" fmla="*/ 7 w 232"/>
                  <a:gd name="T83" fmla="*/ 18 h 229"/>
                  <a:gd name="T84" fmla="*/ 18 w 232"/>
                  <a:gd name="T85" fmla="*/ 8 h 229"/>
                  <a:gd name="T86" fmla="*/ 215 w 232"/>
                  <a:gd name="T87" fmla="*/ 8 h 229"/>
                  <a:gd name="T88" fmla="*/ 225 w 232"/>
                  <a:gd name="T89" fmla="*/ 18 h 229"/>
                  <a:gd name="T90" fmla="*/ 225 w 232"/>
                  <a:gd name="T91" fmla="*/ 63 h 229"/>
                  <a:gd name="T92" fmla="*/ 215 w 232"/>
                  <a:gd name="T93" fmla="*/ 74 h 229"/>
                  <a:gd name="T94" fmla="*/ 18 w 232"/>
                  <a:gd name="T95" fmla="*/ 7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229">
                    <a:moveTo>
                      <a:pt x="232" y="63"/>
                    </a:moveTo>
                    <a:cubicBezTo>
                      <a:pt x="232" y="18"/>
                      <a:pt x="232" y="18"/>
                      <a:pt x="232" y="18"/>
                    </a:cubicBezTo>
                    <a:cubicBezTo>
                      <a:pt x="232" y="8"/>
                      <a:pt x="224" y="0"/>
                      <a:pt x="215" y="0"/>
                    </a:cubicBezTo>
                    <a:cubicBezTo>
                      <a:pt x="18" y="0"/>
                      <a:pt x="18" y="0"/>
                      <a:pt x="18" y="0"/>
                    </a:cubicBezTo>
                    <a:cubicBezTo>
                      <a:pt x="8" y="0"/>
                      <a:pt x="0" y="8"/>
                      <a:pt x="0" y="18"/>
                    </a:cubicBezTo>
                    <a:cubicBezTo>
                      <a:pt x="0" y="63"/>
                      <a:pt x="0" y="63"/>
                      <a:pt x="0" y="63"/>
                    </a:cubicBezTo>
                    <a:cubicBezTo>
                      <a:pt x="0" y="69"/>
                      <a:pt x="2" y="74"/>
                      <a:pt x="7" y="77"/>
                    </a:cubicBezTo>
                    <a:cubicBezTo>
                      <a:pt x="2" y="81"/>
                      <a:pt x="0" y="86"/>
                      <a:pt x="0" y="91"/>
                    </a:cubicBezTo>
                    <a:cubicBezTo>
                      <a:pt x="0" y="137"/>
                      <a:pt x="0" y="137"/>
                      <a:pt x="0" y="137"/>
                    </a:cubicBezTo>
                    <a:cubicBezTo>
                      <a:pt x="0" y="143"/>
                      <a:pt x="2" y="148"/>
                      <a:pt x="7" y="151"/>
                    </a:cubicBezTo>
                    <a:cubicBezTo>
                      <a:pt x="2" y="154"/>
                      <a:pt x="0" y="159"/>
                      <a:pt x="0" y="165"/>
                    </a:cubicBezTo>
                    <a:cubicBezTo>
                      <a:pt x="0" y="211"/>
                      <a:pt x="0" y="211"/>
                      <a:pt x="0" y="211"/>
                    </a:cubicBezTo>
                    <a:cubicBezTo>
                      <a:pt x="0" y="221"/>
                      <a:pt x="8" y="229"/>
                      <a:pt x="18" y="229"/>
                    </a:cubicBezTo>
                    <a:cubicBezTo>
                      <a:pt x="215" y="229"/>
                      <a:pt x="215" y="229"/>
                      <a:pt x="215" y="229"/>
                    </a:cubicBezTo>
                    <a:cubicBezTo>
                      <a:pt x="224" y="229"/>
                      <a:pt x="232" y="221"/>
                      <a:pt x="232" y="211"/>
                    </a:cubicBezTo>
                    <a:cubicBezTo>
                      <a:pt x="232" y="165"/>
                      <a:pt x="232" y="165"/>
                      <a:pt x="232" y="165"/>
                    </a:cubicBezTo>
                    <a:cubicBezTo>
                      <a:pt x="232" y="159"/>
                      <a:pt x="230" y="154"/>
                      <a:pt x="226" y="151"/>
                    </a:cubicBezTo>
                    <a:cubicBezTo>
                      <a:pt x="230" y="148"/>
                      <a:pt x="232" y="143"/>
                      <a:pt x="232" y="137"/>
                    </a:cubicBezTo>
                    <a:cubicBezTo>
                      <a:pt x="232" y="91"/>
                      <a:pt x="232" y="91"/>
                      <a:pt x="232" y="91"/>
                    </a:cubicBezTo>
                    <a:cubicBezTo>
                      <a:pt x="232" y="86"/>
                      <a:pt x="230" y="81"/>
                      <a:pt x="226" y="77"/>
                    </a:cubicBezTo>
                    <a:cubicBezTo>
                      <a:pt x="230" y="74"/>
                      <a:pt x="232" y="69"/>
                      <a:pt x="232" y="63"/>
                    </a:cubicBezTo>
                    <a:moveTo>
                      <a:pt x="225" y="165"/>
                    </a:moveTo>
                    <a:cubicBezTo>
                      <a:pt x="225" y="211"/>
                      <a:pt x="225" y="211"/>
                      <a:pt x="225" y="211"/>
                    </a:cubicBezTo>
                    <a:cubicBezTo>
                      <a:pt x="225" y="216"/>
                      <a:pt x="220" y="221"/>
                      <a:pt x="215" y="221"/>
                    </a:cubicBezTo>
                    <a:cubicBezTo>
                      <a:pt x="18" y="221"/>
                      <a:pt x="18" y="221"/>
                      <a:pt x="18" y="221"/>
                    </a:cubicBezTo>
                    <a:cubicBezTo>
                      <a:pt x="12" y="221"/>
                      <a:pt x="7" y="216"/>
                      <a:pt x="7" y="211"/>
                    </a:cubicBezTo>
                    <a:cubicBezTo>
                      <a:pt x="7" y="165"/>
                      <a:pt x="7" y="165"/>
                      <a:pt x="7" y="165"/>
                    </a:cubicBezTo>
                    <a:cubicBezTo>
                      <a:pt x="7" y="159"/>
                      <a:pt x="12" y="155"/>
                      <a:pt x="18" y="155"/>
                    </a:cubicBezTo>
                    <a:cubicBezTo>
                      <a:pt x="215" y="155"/>
                      <a:pt x="215" y="155"/>
                      <a:pt x="215" y="155"/>
                    </a:cubicBezTo>
                    <a:cubicBezTo>
                      <a:pt x="220" y="155"/>
                      <a:pt x="225" y="159"/>
                      <a:pt x="225" y="165"/>
                    </a:cubicBezTo>
                    <a:moveTo>
                      <a:pt x="225" y="91"/>
                    </a:moveTo>
                    <a:cubicBezTo>
                      <a:pt x="225" y="137"/>
                      <a:pt x="225" y="137"/>
                      <a:pt x="225" y="137"/>
                    </a:cubicBezTo>
                    <a:cubicBezTo>
                      <a:pt x="225" y="143"/>
                      <a:pt x="220" y="147"/>
                      <a:pt x="215" y="147"/>
                    </a:cubicBezTo>
                    <a:cubicBezTo>
                      <a:pt x="18" y="147"/>
                      <a:pt x="18" y="147"/>
                      <a:pt x="18" y="147"/>
                    </a:cubicBezTo>
                    <a:cubicBezTo>
                      <a:pt x="12" y="147"/>
                      <a:pt x="7" y="143"/>
                      <a:pt x="7" y="137"/>
                    </a:cubicBezTo>
                    <a:cubicBezTo>
                      <a:pt x="7" y="91"/>
                      <a:pt x="7" y="91"/>
                      <a:pt x="7" y="91"/>
                    </a:cubicBezTo>
                    <a:cubicBezTo>
                      <a:pt x="7" y="86"/>
                      <a:pt x="12" y="81"/>
                      <a:pt x="18" y="81"/>
                    </a:cubicBezTo>
                    <a:cubicBezTo>
                      <a:pt x="215" y="81"/>
                      <a:pt x="215" y="81"/>
                      <a:pt x="215" y="81"/>
                    </a:cubicBezTo>
                    <a:cubicBezTo>
                      <a:pt x="220" y="81"/>
                      <a:pt x="225" y="86"/>
                      <a:pt x="225" y="91"/>
                    </a:cubicBezTo>
                    <a:moveTo>
                      <a:pt x="18" y="74"/>
                    </a:moveTo>
                    <a:cubicBezTo>
                      <a:pt x="12" y="74"/>
                      <a:pt x="7" y="69"/>
                      <a:pt x="7" y="63"/>
                    </a:cubicBezTo>
                    <a:cubicBezTo>
                      <a:pt x="7" y="18"/>
                      <a:pt x="7" y="18"/>
                      <a:pt x="7" y="18"/>
                    </a:cubicBezTo>
                    <a:cubicBezTo>
                      <a:pt x="7" y="12"/>
                      <a:pt x="12" y="8"/>
                      <a:pt x="18" y="8"/>
                    </a:cubicBezTo>
                    <a:cubicBezTo>
                      <a:pt x="215" y="8"/>
                      <a:pt x="215" y="8"/>
                      <a:pt x="215" y="8"/>
                    </a:cubicBezTo>
                    <a:cubicBezTo>
                      <a:pt x="220" y="8"/>
                      <a:pt x="225" y="12"/>
                      <a:pt x="225" y="18"/>
                    </a:cubicBezTo>
                    <a:cubicBezTo>
                      <a:pt x="225" y="63"/>
                      <a:pt x="225" y="63"/>
                      <a:pt x="225" y="63"/>
                    </a:cubicBezTo>
                    <a:cubicBezTo>
                      <a:pt x="225" y="69"/>
                      <a:pt x="220" y="74"/>
                      <a:pt x="215" y="74"/>
                    </a:cubicBezTo>
                    <a:lnTo>
                      <a:pt x="18"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93"/>
              <p:cNvSpPr>
                <a:spLocks noEditPoints="1"/>
              </p:cNvSpPr>
              <p:nvPr/>
            </p:nvSpPr>
            <p:spPr bwMode="auto">
              <a:xfrm>
                <a:off x="3976967" y="1492071"/>
                <a:ext cx="280757" cy="277228"/>
              </a:xfrm>
              <a:custGeom>
                <a:avLst/>
                <a:gdLst>
                  <a:gd name="T0" fmla="*/ 20 w 236"/>
                  <a:gd name="T1" fmla="*/ 233 h 233"/>
                  <a:gd name="T2" fmla="*/ 0 w 236"/>
                  <a:gd name="T3" fmla="*/ 167 h 233"/>
                  <a:gd name="T4" fmla="*/ 0 w 236"/>
                  <a:gd name="T5" fmla="*/ 139 h 233"/>
                  <a:gd name="T6" fmla="*/ 5 w 236"/>
                  <a:gd name="T7" fmla="*/ 79 h 233"/>
                  <a:gd name="T8" fmla="*/ 0 w 236"/>
                  <a:gd name="T9" fmla="*/ 20 h 233"/>
                  <a:gd name="T10" fmla="*/ 217 w 236"/>
                  <a:gd name="T11" fmla="*/ 0 h 233"/>
                  <a:gd name="T12" fmla="*/ 236 w 236"/>
                  <a:gd name="T13" fmla="*/ 65 h 233"/>
                  <a:gd name="T14" fmla="*/ 236 w 236"/>
                  <a:gd name="T15" fmla="*/ 93 h 233"/>
                  <a:gd name="T16" fmla="*/ 231 w 236"/>
                  <a:gd name="T17" fmla="*/ 153 h 233"/>
                  <a:gd name="T18" fmla="*/ 236 w 236"/>
                  <a:gd name="T19" fmla="*/ 213 h 233"/>
                  <a:gd name="T20" fmla="*/ 20 w 236"/>
                  <a:gd name="T21" fmla="*/ 4 h 233"/>
                  <a:gd name="T22" fmla="*/ 4 w 236"/>
                  <a:gd name="T23" fmla="*/ 65 h 233"/>
                  <a:gd name="T24" fmla="*/ 12 w 236"/>
                  <a:gd name="T25" fmla="*/ 79 h 233"/>
                  <a:gd name="T26" fmla="*/ 4 w 236"/>
                  <a:gd name="T27" fmla="*/ 93 h 233"/>
                  <a:gd name="T28" fmla="*/ 10 w 236"/>
                  <a:gd name="T29" fmla="*/ 151 h 233"/>
                  <a:gd name="T30" fmla="*/ 10 w 236"/>
                  <a:gd name="T31" fmla="*/ 155 h 233"/>
                  <a:gd name="T32" fmla="*/ 4 w 236"/>
                  <a:gd name="T33" fmla="*/ 213 h 233"/>
                  <a:gd name="T34" fmla="*/ 217 w 236"/>
                  <a:gd name="T35" fmla="*/ 229 h 233"/>
                  <a:gd name="T36" fmla="*/ 232 w 236"/>
                  <a:gd name="T37" fmla="*/ 167 h 233"/>
                  <a:gd name="T38" fmla="*/ 224 w 236"/>
                  <a:gd name="T39" fmla="*/ 153 h 233"/>
                  <a:gd name="T40" fmla="*/ 232 w 236"/>
                  <a:gd name="T41" fmla="*/ 139 h 233"/>
                  <a:gd name="T42" fmla="*/ 226 w 236"/>
                  <a:gd name="T43" fmla="*/ 81 h 233"/>
                  <a:gd name="T44" fmla="*/ 226 w 236"/>
                  <a:gd name="T45" fmla="*/ 78 h 233"/>
                  <a:gd name="T46" fmla="*/ 232 w 236"/>
                  <a:gd name="T47" fmla="*/ 20 h 233"/>
                  <a:gd name="T48" fmla="*/ 20 w 236"/>
                  <a:gd name="T49" fmla="*/ 4 h 233"/>
                  <a:gd name="T50" fmla="*/ 11 w 236"/>
                  <a:gd name="T51" fmla="*/ 221 h 233"/>
                  <a:gd name="T52" fmla="*/ 7 w 236"/>
                  <a:gd name="T53" fmla="*/ 167 h 233"/>
                  <a:gd name="T54" fmla="*/ 217 w 236"/>
                  <a:gd name="T55" fmla="*/ 155 h 233"/>
                  <a:gd name="T56" fmla="*/ 229 w 236"/>
                  <a:gd name="T57" fmla="*/ 213 h 233"/>
                  <a:gd name="T58" fmla="*/ 20 w 236"/>
                  <a:gd name="T59" fmla="*/ 225 h 233"/>
                  <a:gd name="T60" fmla="*/ 12 w 236"/>
                  <a:gd name="T61" fmla="*/ 167 h 233"/>
                  <a:gd name="T62" fmla="*/ 14 w 236"/>
                  <a:gd name="T63" fmla="*/ 218 h 233"/>
                  <a:gd name="T64" fmla="*/ 20 w 236"/>
                  <a:gd name="T65" fmla="*/ 221 h 233"/>
                  <a:gd name="T66" fmla="*/ 225 w 236"/>
                  <a:gd name="T67" fmla="*/ 213 h 233"/>
                  <a:gd name="T68" fmla="*/ 217 w 236"/>
                  <a:gd name="T69" fmla="*/ 159 h 233"/>
                  <a:gd name="T70" fmla="*/ 217 w 236"/>
                  <a:gd name="T71" fmla="*/ 151 h 233"/>
                  <a:gd name="T72" fmla="*/ 7 w 236"/>
                  <a:gd name="T73" fmla="*/ 139 h 233"/>
                  <a:gd name="T74" fmla="*/ 20 w 236"/>
                  <a:gd name="T75" fmla="*/ 81 h 233"/>
                  <a:gd name="T76" fmla="*/ 229 w 236"/>
                  <a:gd name="T77" fmla="*/ 93 h 233"/>
                  <a:gd name="T78" fmla="*/ 217 w 236"/>
                  <a:gd name="T79" fmla="*/ 151 h 233"/>
                  <a:gd name="T80" fmla="*/ 12 w 236"/>
                  <a:gd name="T81" fmla="*/ 93 h 233"/>
                  <a:gd name="T82" fmla="*/ 20 w 236"/>
                  <a:gd name="T83" fmla="*/ 147 h 233"/>
                  <a:gd name="T84" fmla="*/ 225 w 236"/>
                  <a:gd name="T85" fmla="*/ 139 h 233"/>
                  <a:gd name="T86" fmla="*/ 217 w 236"/>
                  <a:gd name="T87" fmla="*/ 85 h 233"/>
                  <a:gd name="T88" fmla="*/ 217 w 236"/>
                  <a:gd name="T89" fmla="*/ 78 h 233"/>
                  <a:gd name="T90" fmla="*/ 7 w 236"/>
                  <a:gd name="T91" fmla="*/ 65 h 233"/>
                  <a:gd name="T92" fmla="*/ 20 w 236"/>
                  <a:gd name="T93" fmla="*/ 7 h 233"/>
                  <a:gd name="T94" fmla="*/ 229 w 236"/>
                  <a:gd name="T95" fmla="*/ 20 h 233"/>
                  <a:gd name="T96" fmla="*/ 217 w 236"/>
                  <a:gd name="T97" fmla="*/ 78 h 233"/>
                  <a:gd name="T98" fmla="*/ 12 w 236"/>
                  <a:gd name="T99" fmla="*/ 20 h 233"/>
                  <a:gd name="T100" fmla="*/ 20 w 236"/>
                  <a:gd name="T101" fmla="*/ 73 h 233"/>
                  <a:gd name="T102" fmla="*/ 225 w 236"/>
                  <a:gd name="T103" fmla="*/ 65 h 233"/>
                  <a:gd name="T104" fmla="*/ 217 w 236"/>
                  <a:gd name="T105" fmla="*/ 1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6" h="233">
                    <a:moveTo>
                      <a:pt x="217" y="233"/>
                    </a:moveTo>
                    <a:cubicBezTo>
                      <a:pt x="20" y="233"/>
                      <a:pt x="20" y="233"/>
                      <a:pt x="20" y="233"/>
                    </a:cubicBezTo>
                    <a:cubicBezTo>
                      <a:pt x="9" y="233"/>
                      <a:pt x="0" y="224"/>
                      <a:pt x="0" y="213"/>
                    </a:cubicBezTo>
                    <a:cubicBezTo>
                      <a:pt x="0" y="167"/>
                      <a:pt x="0" y="167"/>
                      <a:pt x="0" y="167"/>
                    </a:cubicBezTo>
                    <a:cubicBezTo>
                      <a:pt x="0" y="162"/>
                      <a:pt x="2" y="157"/>
                      <a:pt x="5" y="153"/>
                    </a:cubicBezTo>
                    <a:cubicBezTo>
                      <a:pt x="2" y="149"/>
                      <a:pt x="0" y="144"/>
                      <a:pt x="0" y="139"/>
                    </a:cubicBezTo>
                    <a:cubicBezTo>
                      <a:pt x="0" y="93"/>
                      <a:pt x="0" y="93"/>
                      <a:pt x="0" y="93"/>
                    </a:cubicBezTo>
                    <a:cubicBezTo>
                      <a:pt x="0" y="88"/>
                      <a:pt x="2" y="83"/>
                      <a:pt x="5" y="79"/>
                    </a:cubicBezTo>
                    <a:cubicBezTo>
                      <a:pt x="2" y="76"/>
                      <a:pt x="0" y="71"/>
                      <a:pt x="0" y="65"/>
                    </a:cubicBezTo>
                    <a:cubicBezTo>
                      <a:pt x="0" y="20"/>
                      <a:pt x="0" y="20"/>
                      <a:pt x="0" y="20"/>
                    </a:cubicBezTo>
                    <a:cubicBezTo>
                      <a:pt x="0" y="9"/>
                      <a:pt x="9" y="0"/>
                      <a:pt x="20" y="0"/>
                    </a:cubicBezTo>
                    <a:cubicBezTo>
                      <a:pt x="217" y="0"/>
                      <a:pt x="217" y="0"/>
                      <a:pt x="217" y="0"/>
                    </a:cubicBezTo>
                    <a:cubicBezTo>
                      <a:pt x="228" y="0"/>
                      <a:pt x="236" y="9"/>
                      <a:pt x="236" y="20"/>
                    </a:cubicBezTo>
                    <a:cubicBezTo>
                      <a:pt x="236" y="65"/>
                      <a:pt x="236" y="65"/>
                      <a:pt x="236" y="65"/>
                    </a:cubicBezTo>
                    <a:cubicBezTo>
                      <a:pt x="236" y="71"/>
                      <a:pt x="234" y="76"/>
                      <a:pt x="231" y="79"/>
                    </a:cubicBezTo>
                    <a:cubicBezTo>
                      <a:pt x="234" y="83"/>
                      <a:pt x="236" y="88"/>
                      <a:pt x="236" y="93"/>
                    </a:cubicBezTo>
                    <a:cubicBezTo>
                      <a:pt x="236" y="139"/>
                      <a:pt x="236" y="139"/>
                      <a:pt x="236" y="139"/>
                    </a:cubicBezTo>
                    <a:cubicBezTo>
                      <a:pt x="236" y="144"/>
                      <a:pt x="234" y="149"/>
                      <a:pt x="231" y="153"/>
                    </a:cubicBezTo>
                    <a:cubicBezTo>
                      <a:pt x="234" y="157"/>
                      <a:pt x="236" y="162"/>
                      <a:pt x="236" y="167"/>
                    </a:cubicBezTo>
                    <a:cubicBezTo>
                      <a:pt x="236" y="213"/>
                      <a:pt x="236" y="213"/>
                      <a:pt x="236" y="213"/>
                    </a:cubicBezTo>
                    <a:cubicBezTo>
                      <a:pt x="236" y="224"/>
                      <a:pt x="228" y="233"/>
                      <a:pt x="217" y="233"/>
                    </a:cubicBezTo>
                    <a:moveTo>
                      <a:pt x="20" y="4"/>
                    </a:moveTo>
                    <a:cubicBezTo>
                      <a:pt x="11" y="4"/>
                      <a:pt x="4" y="11"/>
                      <a:pt x="4" y="20"/>
                    </a:cubicBezTo>
                    <a:cubicBezTo>
                      <a:pt x="4" y="65"/>
                      <a:pt x="4" y="65"/>
                      <a:pt x="4" y="65"/>
                    </a:cubicBezTo>
                    <a:cubicBezTo>
                      <a:pt x="4" y="70"/>
                      <a:pt x="6" y="75"/>
                      <a:pt x="10" y="78"/>
                    </a:cubicBezTo>
                    <a:cubicBezTo>
                      <a:pt x="12" y="79"/>
                      <a:pt x="12" y="79"/>
                      <a:pt x="12" y="79"/>
                    </a:cubicBezTo>
                    <a:cubicBezTo>
                      <a:pt x="10" y="81"/>
                      <a:pt x="10" y="81"/>
                      <a:pt x="10" y="81"/>
                    </a:cubicBezTo>
                    <a:cubicBezTo>
                      <a:pt x="6" y="84"/>
                      <a:pt x="4" y="89"/>
                      <a:pt x="4" y="93"/>
                    </a:cubicBezTo>
                    <a:cubicBezTo>
                      <a:pt x="4" y="139"/>
                      <a:pt x="4" y="139"/>
                      <a:pt x="4" y="139"/>
                    </a:cubicBezTo>
                    <a:cubicBezTo>
                      <a:pt x="4" y="144"/>
                      <a:pt x="6" y="148"/>
                      <a:pt x="10" y="151"/>
                    </a:cubicBezTo>
                    <a:cubicBezTo>
                      <a:pt x="12" y="153"/>
                      <a:pt x="12" y="153"/>
                      <a:pt x="12" y="153"/>
                    </a:cubicBezTo>
                    <a:cubicBezTo>
                      <a:pt x="10" y="155"/>
                      <a:pt x="10" y="155"/>
                      <a:pt x="10" y="155"/>
                    </a:cubicBezTo>
                    <a:cubicBezTo>
                      <a:pt x="6" y="158"/>
                      <a:pt x="4" y="162"/>
                      <a:pt x="4" y="167"/>
                    </a:cubicBezTo>
                    <a:cubicBezTo>
                      <a:pt x="4" y="213"/>
                      <a:pt x="4" y="213"/>
                      <a:pt x="4" y="213"/>
                    </a:cubicBezTo>
                    <a:cubicBezTo>
                      <a:pt x="4" y="221"/>
                      <a:pt x="11" y="229"/>
                      <a:pt x="20" y="229"/>
                    </a:cubicBezTo>
                    <a:cubicBezTo>
                      <a:pt x="217" y="229"/>
                      <a:pt x="217" y="229"/>
                      <a:pt x="217" y="229"/>
                    </a:cubicBezTo>
                    <a:cubicBezTo>
                      <a:pt x="225" y="229"/>
                      <a:pt x="232" y="221"/>
                      <a:pt x="232" y="213"/>
                    </a:cubicBezTo>
                    <a:cubicBezTo>
                      <a:pt x="232" y="167"/>
                      <a:pt x="232" y="167"/>
                      <a:pt x="232" y="167"/>
                    </a:cubicBezTo>
                    <a:cubicBezTo>
                      <a:pt x="232" y="162"/>
                      <a:pt x="230" y="158"/>
                      <a:pt x="226" y="155"/>
                    </a:cubicBezTo>
                    <a:cubicBezTo>
                      <a:pt x="224" y="153"/>
                      <a:pt x="224" y="153"/>
                      <a:pt x="224" y="153"/>
                    </a:cubicBezTo>
                    <a:cubicBezTo>
                      <a:pt x="226" y="151"/>
                      <a:pt x="226" y="151"/>
                      <a:pt x="226" y="151"/>
                    </a:cubicBezTo>
                    <a:cubicBezTo>
                      <a:pt x="230" y="148"/>
                      <a:pt x="232" y="144"/>
                      <a:pt x="232" y="139"/>
                    </a:cubicBezTo>
                    <a:cubicBezTo>
                      <a:pt x="232" y="93"/>
                      <a:pt x="232" y="93"/>
                      <a:pt x="232" y="93"/>
                    </a:cubicBezTo>
                    <a:cubicBezTo>
                      <a:pt x="232" y="89"/>
                      <a:pt x="230" y="84"/>
                      <a:pt x="226" y="81"/>
                    </a:cubicBezTo>
                    <a:cubicBezTo>
                      <a:pt x="224" y="79"/>
                      <a:pt x="224" y="79"/>
                      <a:pt x="224" y="79"/>
                    </a:cubicBezTo>
                    <a:cubicBezTo>
                      <a:pt x="226" y="78"/>
                      <a:pt x="226" y="78"/>
                      <a:pt x="226" y="78"/>
                    </a:cubicBezTo>
                    <a:cubicBezTo>
                      <a:pt x="230" y="75"/>
                      <a:pt x="232" y="70"/>
                      <a:pt x="232" y="65"/>
                    </a:cubicBezTo>
                    <a:cubicBezTo>
                      <a:pt x="232" y="20"/>
                      <a:pt x="232" y="20"/>
                      <a:pt x="232" y="20"/>
                    </a:cubicBezTo>
                    <a:cubicBezTo>
                      <a:pt x="232" y="11"/>
                      <a:pt x="225" y="4"/>
                      <a:pt x="217" y="4"/>
                    </a:cubicBezTo>
                    <a:lnTo>
                      <a:pt x="20" y="4"/>
                    </a:lnTo>
                    <a:close/>
                    <a:moveTo>
                      <a:pt x="20" y="225"/>
                    </a:moveTo>
                    <a:cubicBezTo>
                      <a:pt x="16" y="225"/>
                      <a:pt x="13" y="224"/>
                      <a:pt x="11" y="221"/>
                    </a:cubicBezTo>
                    <a:cubicBezTo>
                      <a:pt x="9" y="219"/>
                      <a:pt x="7" y="216"/>
                      <a:pt x="7" y="213"/>
                    </a:cubicBezTo>
                    <a:cubicBezTo>
                      <a:pt x="7" y="167"/>
                      <a:pt x="7" y="167"/>
                      <a:pt x="7" y="167"/>
                    </a:cubicBezTo>
                    <a:cubicBezTo>
                      <a:pt x="7" y="160"/>
                      <a:pt x="13" y="155"/>
                      <a:pt x="20" y="155"/>
                    </a:cubicBezTo>
                    <a:cubicBezTo>
                      <a:pt x="217" y="155"/>
                      <a:pt x="217" y="155"/>
                      <a:pt x="217" y="155"/>
                    </a:cubicBezTo>
                    <a:cubicBezTo>
                      <a:pt x="223" y="155"/>
                      <a:pt x="229" y="160"/>
                      <a:pt x="229" y="167"/>
                    </a:cubicBezTo>
                    <a:cubicBezTo>
                      <a:pt x="229" y="213"/>
                      <a:pt x="229" y="213"/>
                      <a:pt x="229" y="213"/>
                    </a:cubicBezTo>
                    <a:cubicBezTo>
                      <a:pt x="229" y="219"/>
                      <a:pt x="223" y="225"/>
                      <a:pt x="217" y="225"/>
                    </a:cubicBezTo>
                    <a:cubicBezTo>
                      <a:pt x="20" y="225"/>
                      <a:pt x="20" y="225"/>
                      <a:pt x="20" y="225"/>
                    </a:cubicBezTo>
                    <a:close/>
                    <a:moveTo>
                      <a:pt x="20" y="159"/>
                    </a:moveTo>
                    <a:cubicBezTo>
                      <a:pt x="15" y="159"/>
                      <a:pt x="12" y="163"/>
                      <a:pt x="12" y="167"/>
                    </a:cubicBezTo>
                    <a:cubicBezTo>
                      <a:pt x="12" y="213"/>
                      <a:pt x="12" y="213"/>
                      <a:pt x="12" y="213"/>
                    </a:cubicBezTo>
                    <a:cubicBezTo>
                      <a:pt x="12" y="215"/>
                      <a:pt x="12" y="217"/>
                      <a:pt x="14" y="218"/>
                    </a:cubicBezTo>
                    <a:cubicBezTo>
                      <a:pt x="15" y="220"/>
                      <a:pt x="17" y="221"/>
                      <a:pt x="20" y="221"/>
                    </a:cubicBezTo>
                    <a:cubicBezTo>
                      <a:pt x="20" y="221"/>
                      <a:pt x="20" y="221"/>
                      <a:pt x="20" y="221"/>
                    </a:cubicBezTo>
                    <a:cubicBezTo>
                      <a:pt x="217" y="221"/>
                      <a:pt x="217" y="221"/>
                      <a:pt x="217" y="221"/>
                    </a:cubicBezTo>
                    <a:cubicBezTo>
                      <a:pt x="221" y="221"/>
                      <a:pt x="225" y="217"/>
                      <a:pt x="225" y="213"/>
                    </a:cubicBezTo>
                    <a:cubicBezTo>
                      <a:pt x="225" y="167"/>
                      <a:pt x="225" y="167"/>
                      <a:pt x="225" y="167"/>
                    </a:cubicBezTo>
                    <a:cubicBezTo>
                      <a:pt x="225" y="163"/>
                      <a:pt x="221" y="159"/>
                      <a:pt x="217" y="159"/>
                    </a:cubicBezTo>
                    <a:lnTo>
                      <a:pt x="20" y="159"/>
                    </a:lnTo>
                    <a:close/>
                    <a:moveTo>
                      <a:pt x="217" y="151"/>
                    </a:moveTo>
                    <a:cubicBezTo>
                      <a:pt x="20" y="151"/>
                      <a:pt x="20" y="151"/>
                      <a:pt x="20" y="151"/>
                    </a:cubicBezTo>
                    <a:cubicBezTo>
                      <a:pt x="13" y="151"/>
                      <a:pt x="7" y="146"/>
                      <a:pt x="7" y="139"/>
                    </a:cubicBezTo>
                    <a:cubicBezTo>
                      <a:pt x="7" y="93"/>
                      <a:pt x="7" y="93"/>
                      <a:pt x="7" y="93"/>
                    </a:cubicBezTo>
                    <a:cubicBezTo>
                      <a:pt x="7" y="87"/>
                      <a:pt x="13" y="81"/>
                      <a:pt x="20" y="81"/>
                    </a:cubicBezTo>
                    <a:cubicBezTo>
                      <a:pt x="217" y="81"/>
                      <a:pt x="217" y="81"/>
                      <a:pt x="217" y="81"/>
                    </a:cubicBezTo>
                    <a:cubicBezTo>
                      <a:pt x="223" y="81"/>
                      <a:pt x="229" y="87"/>
                      <a:pt x="229" y="93"/>
                    </a:cubicBezTo>
                    <a:cubicBezTo>
                      <a:pt x="229" y="139"/>
                      <a:pt x="229" y="139"/>
                      <a:pt x="229" y="139"/>
                    </a:cubicBezTo>
                    <a:cubicBezTo>
                      <a:pt x="229" y="146"/>
                      <a:pt x="223" y="151"/>
                      <a:pt x="217" y="151"/>
                    </a:cubicBezTo>
                    <a:moveTo>
                      <a:pt x="20" y="85"/>
                    </a:moveTo>
                    <a:cubicBezTo>
                      <a:pt x="15" y="85"/>
                      <a:pt x="12" y="89"/>
                      <a:pt x="12" y="93"/>
                    </a:cubicBezTo>
                    <a:cubicBezTo>
                      <a:pt x="12" y="139"/>
                      <a:pt x="12" y="139"/>
                      <a:pt x="12" y="139"/>
                    </a:cubicBezTo>
                    <a:cubicBezTo>
                      <a:pt x="12" y="143"/>
                      <a:pt x="15" y="147"/>
                      <a:pt x="20" y="147"/>
                    </a:cubicBezTo>
                    <a:cubicBezTo>
                      <a:pt x="217" y="147"/>
                      <a:pt x="217" y="147"/>
                      <a:pt x="217" y="147"/>
                    </a:cubicBezTo>
                    <a:cubicBezTo>
                      <a:pt x="221" y="147"/>
                      <a:pt x="225" y="143"/>
                      <a:pt x="225" y="139"/>
                    </a:cubicBezTo>
                    <a:cubicBezTo>
                      <a:pt x="225" y="93"/>
                      <a:pt x="225" y="93"/>
                      <a:pt x="225" y="93"/>
                    </a:cubicBezTo>
                    <a:cubicBezTo>
                      <a:pt x="225" y="89"/>
                      <a:pt x="221" y="85"/>
                      <a:pt x="217" y="85"/>
                    </a:cubicBezTo>
                    <a:lnTo>
                      <a:pt x="20" y="85"/>
                    </a:lnTo>
                    <a:close/>
                    <a:moveTo>
                      <a:pt x="217" y="78"/>
                    </a:moveTo>
                    <a:cubicBezTo>
                      <a:pt x="20" y="78"/>
                      <a:pt x="20" y="78"/>
                      <a:pt x="20" y="78"/>
                    </a:cubicBezTo>
                    <a:cubicBezTo>
                      <a:pt x="13" y="78"/>
                      <a:pt x="7" y="72"/>
                      <a:pt x="7" y="65"/>
                    </a:cubicBezTo>
                    <a:cubicBezTo>
                      <a:pt x="7" y="20"/>
                      <a:pt x="7" y="20"/>
                      <a:pt x="7" y="20"/>
                    </a:cubicBezTo>
                    <a:cubicBezTo>
                      <a:pt x="7" y="13"/>
                      <a:pt x="13" y="7"/>
                      <a:pt x="20" y="7"/>
                    </a:cubicBezTo>
                    <a:cubicBezTo>
                      <a:pt x="217" y="7"/>
                      <a:pt x="217" y="7"/>
                      <a:pt x="217" y="7"/>
                    </a:cubicBezTo>
                    <a:cubicBezTo>
                      <a:pt x="223" y="7"/>
                      <a:pt x="229" y="13"/>
                      <a:pt x="229" y="20"/>
                    </a:cubicBezTo>
                    <a:cubicBezTo>
                      <a:pt x="229" y="65"/>
                      <a:pt x="229" y="65"/>
                      <a:pt x="229" y="65"/>
                    </a:cubicBezTo>
                    <a:cubicBezTo>
                      <a:pt x="229" y="72"/>
                      <a:pt x="223" y="78"/>
                      <a:pt x="217" y="78"/>
                    </a:cubicBezTo>
                    <a:moveTo>
                      <a:pt x="20" y="12"/>
                    </a:moveTo>
                    <a:cubicBezTo>
                      <a:pt x="15" y="12"/>
                      <a:pt x="12" y="15"/>
                      <a:pt x="12" y="20"/>
                    </a:cubicBezTo>
                    <a:cubicBezTo>
                      <a:pt x="12" y="65"/>
                      <a:pt x="12" y="65"/>
                      <a:pt x="12" y="65"/>
                    </a:cubicBezTo>
                    <a:cubicBezTo>
                      <a:pt x="12" y="70"/>
                      <a:pt x="15" y="73"/>
                      <a:pt x="20" y="73"/>
                    </a:cubicBezTo>
                    <a:cubicBezTo>
                      <a:pt x="217" y="73"/>
                      <a:pt x="217" y="73"/>
                      <a:pt x="217" y="73"/>
                    </a:cubicBezTo>
                    <a:cubicBezTo>
                      <a:pt x="221" y="73"/>
                      <a:pt x="225" y="70"/>
                      <a:pt x="225" y="65"/>
                    </a:cubicBezTo>
                    <a:cubicBezTo>
                      <a:pt x="225" y="20"/>
                      <a:pt x="225" y="20"/>
                      <a:pt x="225" y="20"/>
                    </a:cubicBezTo>
                    <a:cubicBezTo>
                      <a:pt x="225" y="15"/>
                      <a:pt x="221" y="12"/>
                      <a:pt x="217" y="12"/>
                    </a:cubicBezTo>
                    <a:lnTo>
                      <a:pt x="2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4"/>
              <p:cNvSpPr>
                <a:spLocks noEditPoints="1"/>
              </p:cNvSpPr>
              <p:nvPr/>
            </p:nvSpPr>
            <p:spPr bwMode="auto">
              <a:xfrm>
                <a:off x="4006706" y="1609516"/>
                <a:ext cx="41332" cy="41836"/>
              </a:xfrm>
              <a:custGeom>
                <a:avLst/>
                <a:gdLst>
                  <a:gd name="T0" fmla="*/ 17 w 35"/>
                  <a:gd name="T1" fmla="*/ 35 h 35"/>
                  <a:gd name="T2" fmla="*/ 35 w 35"/>
                  <a:gd name="T3" fmla="*/ 17 h 35"/>
                  <a:gd name="T4" fmla="*/ 17 w 35"/>
                  <a:gd name="T5" fmla="*/ 0 h 35"/>
                  <a:gd name="T6" fmla="*/ 0 w 35"/>
                  <a:gd name="T7" fmla="*/ 17 h 35"/>
                  <a:gd name="T8" fmla="*/ 17 w 35"/>
                  <a:gd name="T9" fmla="*/ 35 h 35"/>
                  <a:gd name="T10" fmla="*/ 17 w 35"/>
                  <a:gd name="T11" fmla="*/ 8 h 35"/>
                  <a:gd name="T12" fmla="*/ 27 w 35"/>
                  <a:gd name="T13" fmla="*/ 17 h 35"/>
                  <a:gd name="T14" fmla="*/ 17 w 35"/>
                  <a:gd name="T15" fmla="*/ 27 h 35"/>
                  <a:gd name="T16" fmla="*/ 8 w 35"/>
                  <a:gd name="T17" fmla="*/ 17 h 35"/>
                  <a:gd name="T18" fmla="*/ 17 w 35"/>
                  <a:gd name="T19"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35"/>
                    </a:moveTo>
                    <a:cubicBezTo>
                      <a:pt x="27" y="35"/>
                      <a:pt x="35" y="27"/>
                      <a:pt x="35" y="17"/>
                    </a:cubicBezTo>
                    <a:cubicBezTo>
                      <a:pt x="35" y="8"/>
                      <a:pt x="27" y="0"/>
                      <a:pt x="17" y="0"/>
                    </a:cubicBezTo>
                    <a:cubicBezTo>
                      <a:pt x="8" y="0"/>
                      <a:pt x="0" y="8"/>
                      <a:pt x="0" y="17"/>
                    </a:cubicBezTo>
                    <a:cubicBezTo>
                      <a:pt x="0" y="27"/>
                      <a:pt x="8" y="35"/>
                      <a:pt x="17" y="35"/>
                    </a:cubicBezTo>
                    <a:moveTo>
                      <a:pt x="17" y="8"/>
                    </a:moveTo>
                    <a:cubicBezTo>
                      <a:pt x="23" y="8"/>
                      <a:pt x="27" y="12"/>
                      <a:pt x="27" y="17"/>
                    </a:cubicBezTo>
                    <a:cubicBezTo>
                      <a:pt x="27" y="23"/>
                      <a:pt x="23" y="27"/>
                      <a:pt x="17" y="27"/>
                    </a:cubicBezTo>
                    <a:cubicBezTo>
                      <a:pt x="12" y="27"/>
                      <a:pt x="8" y="23"/>
                      <a:pt x="8" y="17"/>
                    </a:cubicBezTo>
                    <a:cubicBezTo>
                      <a:pt x="8" y="12"/>
                      <a:pt x="12" y="8"/>
                      <a:pt x="17"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95"/>
              <p:cNvSpPr>
                <a:spLocks noEditPoints="1"/>
              </p:cNvSpPr>
              <p:nvPr/>
            </p:nvSpPr>
            <p:spPr bwMode="auto">
              <a:xfrm>
                <a:off x="4004186" y="1607499"/>
                <a:ext cx="46373" cy="46373"/>
              </a:xfrm>
              <a:custGeom>
                <a:avLst/>
                <a:gdLst>
                  <a:gd name="T0" fmla="*/ 19 w 39"/>
                  <a:gd name="T1" fmla="*/ 39 h 39"/>
                  <a:gd name="T2" fmla="*/ 0 w 39"/>
                  <a:gd name="T3" fmla="*/ 19 h 39"/>
                  <a:gd name="T4" fmla="*/ 19 w 39"/>
                  <a:gd name="T5" fmla="*/ 0 h 39"/>
                  <a:gd name="T6" fmla="*/ 39 w 39"/>
                  <a:gd name="T7" fmla="*/ 19 h 39"/>
                  <a:gd name="T8" fmla="*/ 19 w 39"/>
                  <a:gd name="T9" fmla="*/ 39 h 39"/>
                  <a:gd name="T10" fmla="*/ 19 w 39"/>
                  <a:gd name="T11" fmla="*/ 4 h 39"/>
                  <a:gd name="T12" fmla="*/ 4 w 39"/>
                  <a:gd name="T13" fmla="*/ 19 h 39"/>
                  <a:gd name="T14" fmla="*/ 19 w 39"/>
                  <a:gd name="T15" fmla="*/ 35 h 39"/>
                  <a:gd name="T16" fmla="*/ 35 w 39"/>
                  <a:gd name="T17" fmla="*/ 19 h 39"/>
                  <a:gd name="T18" fmla="*/ 19 w 39"/>
                  <a:gd name="T19" fmla="*/ 4 h 39"/>
                  <a:gd name="T20" fmla="*/ 19 w 39"/>
                  <a:gd name="T21" fmla="*/ 31 h 39"/>
                  <a:gd name="T22" fmla="*/ 8 w 39"/>
                  <a:gd name="T23" fmla="*/ 19 h 39"/>
                  <a:gd name="T24" fmla="*/ 19 w 39"/>
                  <a:gd name="T25" fmla="*/ 7 h 39"/>
                  <a:gd name="T26" fmla="*/ 31 w 39"/>
                  <a:gd name="T27" fmla="*/ 19 h 39"/>
                  <a:gd name="T28" fmla="*/ 19 w 39"/>
                  <a:gd name="T29" fmla="*/ 31 h 39"/>
                  <a:gd name="T30" fmla="*/ 19 w 39"/>
                  <a:gd name="T31" fmla="*/ 12 h 39"/>
                  <a:gd name="T32" fmla="*/ 12 w 39"/>
                  <a:gd name="T33" fmla="*/ 19 h 39"/>
                  <a:gd name="T34" fmla="*/ 19 w 39"/>
                  <a:gd name="T35" fmla="*/ 27 h 39"/>
                  <a:gd name="T36" fmla="*/ 27 w 39"/>
                  <a:gd name="T37" fmla="*/ 19 h 39"/>
                  <a:gd name="T38" fmla="*/ 19 w 39"/>
                  <a:gd name="T39" fmla="*/ 1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9">
                    <a:moveTo>
                      <a:pt x="19" y="39"/>
                    </a:moveTo>
                    <a:cubicBezTo>
                      <a:pt x="9" y="39"/>
                      <a:pt x="0" y="30"/>
                      <a:pt x="0" y="19"/>
                    </a:cubicBezTo>
                    <a:cubicBezTo>
                      <a:pt x="0" y="8"/>
                      <a:pt x="9" y="0"/>
                      <a:pt x="19" y="0"/>
                    </a:cubicBezTo>
                    <a:cubicBezTo>
                      <a:pt x="30" y="0"/>
                      <a:pt x="39" y="8"/>
                      <a:pt x="39" y="19"/>
                    </a:cubicBezTo>
                    <a:cubicBezTo>
                      <a:pt x="39" y="30"/>
                      <a:pt x="30" y="39"/>
                      <a:pt x="19" y="39"/>
                    </a:cubicBezTo>
                    <a:moveTo>
                      <a:pt x="19" y="4"/>
                    </a:moveTo>
                    <a:cubicBezTo>
                      <a:pt x="11" y="4"/>
                      <a:pt x="4" y="11"/>
                      <a:pt x="4" y="19"/>
                    </a:cubicBezTo>
                    <a:cubicBezTo>
                      <a:pt x="4" y="28"/>
                      <a:pt x="11" y="35"/>
                      <a:pt x="19" y="35"/>
                    </a:cubicBezTo>
                    <a:cubicBezTo>
                      <a:pt x="28" y="35"/>
                      <a:pt x="35" y="28"/>
                      <a:pt x="35" y="19"/>
                    </a:cubicBezTo>
                    <a:cubicBezTo>
                      <a:pt x="35" y="11"/>
                      <a:pt x="28" y="4"/>
                      <a:pt x="19" y="4"/>
                    </a:cubicBezTo>
                    <a:moveTo>
                      <a:pt x="19" y="31"/>
                    </a:moveTo>
                    <a:cubicBezTo>
                      <a:pt x="13" y="31"/>
                      <a:pt x="8" y="26"/>
                      <a:pt x="8" y="19"/>
                    </a:cubicBezTo>
                    <a:cubicBezTo>
                      <a:pt x="8" y="13"/>
                      <a:pt x="13" y="7"/>
                      <a:pt x="19" y="7"/>
                    </a:cubicBezTo>
                    <a:cubicBezTo>
                      <a:pt x="26" y="7"/>
                      <a:pt x="31" y="13"/>
                      <a:pt x="31" y="19"/>
                    </a:cubicBezTo>
                    <a:cubicBezTo>
                      <a:pt x="31" y="26"/>
                      <a:pt x="26" y="31"/>
                      <a:pt x="19" y="31"/>
                    </a:cubicBezTo>
                    <a:moveTo>
                      <a:pt x="19" y="12"/>
                    </a:moveTo>
                    <a:cubicBezTo>
                      <a:pt x="15" y="12"/>
                      <a:pt x="12" y="15"/>
                      <a:pt x="12" y="19"/>
                    </a:cubicBezTo>
                    <a:cubicBezTo>
                      <a:pt x="12" y="23"/>
                      <a:pt x="15" y="27"/>
                      <a:pt x="19" y="27"/>
                    </a:cubicBezTo>
                    <a:cubicBezTo>
                      <a:pt x="24" y="27"/>
                      <a:pt x="27" y="23"/>
                      <a:pt x="27" y="19"/>
                    </a:cubicBezTo>
                    <a:cubicBezTo>
                      <a:pt x="27" y="15"/>
                      <a:pt x="24" y="12"/>
                      <a:pt x="19"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96"/>
              <p:cNvSpPr>
                <a:spLocks noEditPoints="1"/>
              </p:cNvSpPr>
              <p:nvPr/>
            </p:nvSpPr>
            <p:spPr bwMode="auto">
              <a:xfrm>
                <a:off x="4006706" y="1696716"/>
                <a:ext cx="41332" cy="41836"/>
              </a:xfrm>
              <a:custGeom>
                <a:avLst/>
                <a:gdLst>
                  <a:gd name="T0" fmla="*/ 17 w 35"/>
                  <a:gd name="T1" fmla="*/ 35 h 35"/>
                  <a:gd name="T2" fmla="*/ 35 w 35"/>
                  <a:gd name="T3" fmla="*/ 18 h 35"/>
                  <a:gd name="T4" fmla="*/ 17 w 35"/>
                  <a:gd name="T5" fmla="*/ 0 h 35"/>
                  <a:gd name="T6" fmla="*/ 0 w 35"/>
                  <a:gd name="T7" fmla="*/ 18 h 35"/>
                  <a:gd name="T8" fmla="*/ 17 w 35"/>
                  <a:gd name="T9" fmla="*/ 35 h 35"/>
                  <a:gd name="T10" fmla="*/ 17 w 35"/>
                  <a:gd name="T11" fmla="*/ 8 h 35"/>
                  <a:gd name="T12" fmla="*/ 27 w 35"/>
                  <a:gd name="T13" fmla="*/ 18 h 35"/>
                  <a:gd name="T14" fmla="*/ 17 w 35"/>
                  <a:gd name="T15" fmla="*/ 28 h 35"/>
                  <a:gd name="T16" fmla="*/ 8 w 35"/>
                  <a:gd name="T17" fmla="*/ 18 h 35"/>
                  <a:gd name="T18" fmla="*/ 17 w 35"/>
                  <a:gd name="T19"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35"/>
                    </a:moveTo>
                    <a:cubicBezTo>
                      <a:pt x="27" y="35"/>
                      <a:pt x="35" y="28"/>
                      <a:pt x="35" y="18"/>
                    </a:cubicBezTo>
                    <a:cubicBezTo>
                      <a:pt x="35" y="8"/>
                      <a:pt x="27" y="0"/>
                      <a:pt x="17" y="0"/>
                    </a:cubicBezTo>
                    <a:cubicBezTo>
                      <a:pt x="8" y="0"/>
                      <a:pt x="0" y="8"/>
                      <a:pt x="0" y="18"/>
                    </a:cubicBezTo>
                    <a:cubicBezTo>
                      <a:pt x="0" y="28"/>
                      <a:pt x="8" y="35"/>
                      <a:pt x="17" y="35"/>
                    </a:cubicBezTo>
                    <a:moveTo>
                      <a:pt x="17" y="8"/>
                    </a:moveTo>
                    <a:cubicBezTo>
                      <a:pt x="23" y="8"/>
                      <a:pt x="27" y="13"/>
                      <a:pt x="27" y="18"/>
                    </a:cubicBezTo>
                    <a:cubicBezTo>
                      <a:pt x="27" y="23"/>
                      <a:pt x="23" y="28"/>
                      <a:pt x="17" y="28"/>
                    </a:cubicBezTo>
                    <a:cubicBezTo>
                      <a:pt x="12" y="28"/>
                      <a:pt x="8" y="23"/>
                      <a:pt x="8" y="18"/>
                    </a:cubicBezTo>
                    <a:cubicBezTo>
                      <a:pt x="8" y="13"/>
                      <a:pt x="12" y="8"/>
                      <a:pt x="17"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97"/>
              <p:cNvSpPr>
                <a:spLocks noEditPoints="1"/>
              </p:cNvSpPr>
              <p:nvPr/>
            </p:nvSpPr>
            <p:spPr bwMode="auto">
              <a:xfrm>
                <a:off x="4004186" y="1694196"/>
                <a:ext cx="46373" cy="46373"/>
              </a:xfrm>
              <a:custGeom>
                <a:avLst/>
                <a:gdLst>
                  <a:gd name="T0" fmla="*/ 19 w 39"/>
                  <a:gd name="T1" fmla="*/ 39 h 39"/>
                  <a:gd name="T2" fmla="*/ 0 w 39"/>
                  <a:gd name="T3" fmla="*/ 20 h 39"/>
                  <a:gd name="T4" fmla="*/ 19 w 39"/>
                  <a:gd name="T5" fmla="*/ 0 h 39"/>
                  <a:gd name="T6" fmla="*/ 39 w 39"/>
                  <a:gd name="T7" fmla="*/ 20 h 39"/>
                  <a:gd name="T8" fmla="*/ 19 w 39"/>
                  <a:gd name="T9" fmla="*/ 39 h 39"/>
                  <a:gd name="T10" fmla="*/ 19 w 39"/>
                  <a:gd name="T11" fmla="*/ 5 h 39"/>
                  <a:gd name="T12" fmla="*/ 4 w 39"/>
                  <a:gd name="T13" fmla="*/ 20 h 39"/>
                  <a:gd name="T14" fmla="*/ 19 w 39"/>
                  <a:gd name="T15" fmla="*/ 35 h 39"/>
                  <a:gd name="T16" fmla="*/ 35 w 39"/>
                  <a:gd name="T17" fmla="*/ 20 h 39"/>
                  <a:gd name="T18" fmla="*/ 19 w 39"/>
                  <a:gd name="T19" fmla="*/ 5 h 39"/>
                  <a:gd name="T20" fmla="*/ 19 w 39"/>
                  <a:gd name="T21" fmla="*/ 32 h 39"/>
                  <a:gd name="T22" fmla="*/ 8 w 39"/>
                  <a:gd name="T23" fmla="*/ 20 h 39"/>
                  <a:gd name="T24" fmla="*/ 19 w 39"/>
                  <a:gd name="T25" fmla="*/ 8 h 39"/>
                  <a:gd name="T26" fmla="*/ 31 w 39"/>
                  <a:gd name="T27" fmla="*/ 20 h 39"/>
                  <a:gd name="T28" fmla="*/ 19 w 39"/>
                  <a:gd name="T29" fmla="*/ 32 h 39"/>
                  <a:gd name="T30" fmla="*/ 19 w 39"/>
                  <a:gd name="T31" fmla="*/ 12 h 39"/>
                  <a:gd name="T32" fmla="*/ 12 w 39"/>
                  <a:gd name="T33" fmla="*/ 20 h 39"/>
                  <a:gd name="T34" fmla="*/ 19 w 39"/>
                  <a:gd name="T35" fmla="*/ 28 h 39"/>
                  <a:gd name="T36" fmla="*/ 27 w 39"/>
                  <a:gd name="T37" fmla="*/ 20 h 39"/>
                  <a:gd name="T38" fmla="*/ 19 w 39"/>
                  <a:gd name="T39" fmla="*/ 1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9">
                    <a:moveTo>
                      <a:pt x="19" y="39"/>
                    </a:moveTo>
                    <a:cubicBezTo>
                      <a:pt x="9" y="39"/>
                      <a:pt x="0" y="31"/>
                      <a:pt x="0" y="20"/>
                    </a:cubicBezTo>
                    <a:cubicBezTo>
                      <a:pt x="0" y="9"/>
                      <a:pt x="9" y="0"/>
                      <a:pt x="19" y="0"/>
                    </a:cubicBezTo>
                    <a:cubicBezTo>
                      <a:pt x="30" y="0"/>
                      <a:pt x="39" y="9"/>
                      <a:pt x="39" y="20"/>
                    </a:cubicBezTo>
                    <a:cubicBezTo>
                      <a:pt x="39" y="31"/>
                      <a:pt x="30" y="39"/>
                      <a:pt x="19" y="39"/>
                    </a:cubicBezTo>
                    <a:moveTo>
                      <a:pt x="19" y="5"/>
                    </a:moveTo>
                    <a:cubicBezTo>
                      <a:pt x="11" y="5"/>
                      <a:pt x="4" y="11"/>
                      <a:pt x="4" y="20"/>
                    </a:cubicBezTo>
                    <a:cubicBezTo>
                      <a:pt x="4" y="28"/>
                      <a:pt x="11" y="35"/>
                      <a:pt x="19" y="35"/>
                    </a:cubicBezTo>
                    <a:cubicBezTo>
                      <a:pt x="28" y="35"/>
                      <a:pt x="35" y="28"/>
                      <a:pt x="35" y="20"/>
                    </a:cubicBezTo>
                    <a:cubicBezTo>
                      <a:pt x="35" y="11"/>
                      <a:pt x="28" y="5"/>
                      <a:pt x="19" y="5"/>
                    </a:cubicBezTo>
                    <a:moveTo>
                      <a:pt x="19" y="32"/>
                    </a:moveTo>
                    <a:cubicBezTo>
                      <a:pt x="13" y="32"/>
                      <a:pt x="8" y="26"/>
                      <a:pt x="8" y="20"/>
                    </a:cubicBezTo>
                    <a:cubicBezTo>
                      <a:pt x="8" y="13"/>
                      <a:pt x="13" y="8"/>
                      <a:pt x="19" y="8"/>
                    </a:cubicBezTo>
                    <a:cubicBezTo>
                      <a:pt x="26" y="8"/>
                      <a:pt x="31" y="13"/>
                      <a:pt x="31" y="20"/>
                    </a:cubicBezTo>
                    <a:cubicBezTo>
                      <a:pt x="31" y="26"/>
                      <a:pt x="26" y="32"/>
                      <a:pt x="19" y="32"/>
                    </a:cubicBezTo>
                    <a:moveTo>
                      <a:pt x="19" y="12"/>
                    </a:moveTo>
                    <a:cubicBezTo>
                      <a:pt x="15" y="12"/>
                      <a:pt x="12" y="16"/>
                      <a:pt x="12" y="20"/>
                    </a:cubicBezTo>
                    <a:cubicBezTo>
                      <a:pt x="12" y="24"/>
                      <a:pt x="15" y="28"/>
                      <a:pt x="19" y="28"/>
                    </a:cubicBezTo>
                    <a:cubicBezTo>
                      <a:pt x="24" y="28"/>
                      <a:pt x="27" y="24"/>
                      <a:pt x="27" y="20"/>
                    </a:cubicBezTo>
                    <a:cubicBezTo>
                      <a:pt x="27" y="16"/>
                      <a:pt x="24" y="12"/>
                      <a:pt x="19"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47" name="Group 146"/>
          <p:cNvGrpSpPr/>
          <p:nvPr/>
        </p:nvGrpSpPr>
        <p:grpSpPr>
          <a:xfrm>
            <a:off x="6758111" y="4057689"/>
            <a:ext cx="598242" cy="673880"/>
            <a:chOff x="6462214" y="4019589"/>
            <a:chExt cx="598242" cy="673880"/>
          </a:xfrm>
        </p:grpSpPr>
        <p:sp>
          <p:nvSpPr>
            <p:cNvPr id="21" name="Freeform 22"/>
            <p:cNvSpPr>
              <a:spLocks/>
            </p:cNvSpPr>
            <p:nvPr/>
          </p:nvSpPr>
          <p:spPr bwMode="auto">
            <a:xfrm>
              <a:off x="6589103" y="4023118"/>
              <a:ext cx="351305" cy="230843"/>
            </a:xfrm>
            <a:custGeom>
              <a:avLst/>
              <a:gdLst>
                <a:gd name="T0" fmla="*/ 147 w 295"/>
                <a:gd name="T1" fmla="*/ 0 h 194"/>
                <a:gd name="T2" fmla="*/ 0 w 295"/>
                <a:gd name="T3" fmla="*/ 49 h 194"/>
                <a:gd name="T4" fmla="*/ 0 w 295"/>
                <a:gd name="T5" fmla="*/ 146 h 194"/>
                <a:gd name="T6" fmla="*/ 147 w 295"/>
                <a:gd name="T7" fmla="*/ 194 h 194"/>
                <a:gd name="T8" fmla="*/ 295 w 295"/>
                <a:gd name="T9" fmla="*/ 146 h 194"/>
                <a:gd name="T10" fmla="*/ 295 w 295"/>
                <a:gd name="T11" fmla="*/ 49 h 194"/>
                <a:gd name="T12" fmla="*/ 147 w 295"/>
                <a:gd name="T13" fmla="*/ 0 h 194"/>
              </a:gdLst>
              <a:ahLst/>
              <a:cxnLst>
                <a:cxn ang="0">
                  <a:pos x="T0" y="T1"/>
                </a:cxn>
                <a:cxn ang="0">
                  <a:pos x="T2" y="T3"/>
                </a:cxn>
                <a:cxn ang="0">
                  <a:pos x="T4" y="T5"/>
                </a:cxn>
                <a:cxn ang="0">
                  <a:pos x="T6" y="T7"/>
                </a:cxn>
                <a:cxn ang="0">
                  <a:pos x="T8" y="T9"/>
                </a:cxn>
                <a:cxn ang="0">
                  <a:pos x="T10" y="T11"/>
                </a:cxn>
                <a:cxn ang="0">
                  <a:pos x="T12" y="T13"/>
                </a:cxn>
              </a:cxnLst>
              <a:rect l="0" t="0" r="r" b="b"/>
              <a:pathLst>
                <a:path w="295" h="194">
                  <a:moveTo>
                    <a:pt x="147" y="0"/>
                  </a:moveTo>
                  <a:cubicBezTo>
                    <a:pt x="66" y="0"/>
                    <a:pt x="0" y="22"/>
                    <a:pt x="0" y="49"/>
                  </a:cubicBezTo>
                  <a:cubicBezTo>
                    <a:pt x="0" y="146"/>
                    <a:pt x="0" y="146"/>
                    <a:pt x="0" y="146"/>
                  </a:cubicBezTo>
                  <a:cubicBezTo>
                    <a:pt x="0" y="172"/>
                    <a:pt x="66" y="194"/>
                    <a:pt x="147" y="194"/>
                  </a:cubicBezTo>
                  <a:cubicBezTo>
                    <a:pt x="229" y="194"/>
                    <a:pt x="295" y="172"/>
                    <a:pt x="295" y="146"/>
                  </a:cubicBezTo>
                  <a:cubicBezTo>
                    <a:pt x="295" y="49"/>
                    <a:pt x="295" y="49"/>
                    <a:pt x="295" y="49"/>
                  </a:cubicBezTo>
                  <a:cubicBezTo>
                    <a:pt x="295" y="22"/>
                    <a:pt x="229" y="0"/>
                    <a:pt x="147" y="0"/>
                  </a:cubicBezTo>
                </a:path>
              </a:pathLst>
            </a:custGeom>
            <a:solidFill>
              <a:srgbClr val="004BA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2" name="Freeform 23"/>
            <p:cNvSpPr>
              <a:spLocks noEditPoints="1"/>
            </p:cNvSpPr>
            <p:nvPr/>
          </p:nvSpPr>
          <p:spPr bwMode="auto">
            <a:xfrm>
              <a:off x="6584063" y="4019589"/>
              <a:ext cx="359873" cy="239411"/>
            </a:xfrm>
            <a:custGeom>
              <a:avLst/>
              <a:gdLst>
                <a:gd name="T0" fmla="*/ 151 w 302"/>
                <a:gd name="T1" fmla="*/ 201 h 201"/>
                <a:gd name="T2" fmla="*/ 0 w 302"/>
                <a:gd name="T3" fmla="*/ 149 h 201"/>
                <a:gd name="T4" fmla="*/ 0 w 302"/>
                <a:gd name="T5" fmla="*/ 52 h 201"/>
                <a:gd name="T6" fmla="*/ 151 w 302"/>
                <a:gd name="T7" fmla="*/ 0 h 201"/>
                <a:gd name="T8" fmla="*/ 302 w 302"/>
                <a:gd name="T9" fmla="*/ 52 h 201"/>
                <a:gd name="T10" fmla="*/ 302 w 302"/>
                <a:gd name="T11" fmla="*/ 149 h 201"/>
                <a:gd name="T12" fmla="*/ 151 w 302"/>
                <a:gd name="T13" fmla="*/ 201 h 201"/>
                <a:gd name="T14" fmla="*/ 151 w 302"/>
                <a:gd name="T15" fmla="*/ 7 h 201"/>
                <a:gd name="T16" fmla="*/ 7 w 302"/>
                <a:gd name="T17" fmla="*/ 52 h 201"/>
                <a:gd name="T18" fmla="*/ 7 w 302"/>
                <a:gd name="T19" fmla="*/ 149 h 201"/>
                <a:gd name="T20" fmla="*/ 151 w 302"/>
                <a:gd name="T21" fmla="*/ 193 h 201"/>
                <a:gd name="T22" fmla="*/ 295 w 302"/>
                <a:gd name="T23" fmla="*/ 149 h 201"/>
                <a:gd name="T24" fmla="*/ 295 w 302"/>
                <a:gd name="T25" fmla="*/ 52 h 201"/>
                <a:gd name="T26" fmla="*/ 151 w 302"/>
                <a:gd name="T27" fmla="*/ 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2" h="201">
                  <a:moveTo>
                    <a:pt x="151" y="201"/>
                  </a:moveTo>
                  <a:cubicBezTo>
                    <a:pt x="66" y="201"/>
                    <a:pt x="0" y="178"/>
                    <a:pt x="0" y="149"/>
                  </a:cubicBezTo>
                  <a:cubicBezTo>
                    <a:pt x="0" y="52"/>
                    <a:pt x="0" y="52"/>
                    <a:pt x="0" y="52"/>
                  </a:cubicBezTo>
                  <a:cubicBezTo>
                    <a:pt x="0" y="23"/>
                    <a:pt x="66" y="0"/>
                    <a:pt x="151" y="0"/>
                  </a:cubicBezTo>
                  <a:cubicBezTo>
                    <a:pt x="236" y="0"/>
                    <a:pt x="302" y="23"/>
                    <a:pt x="302" y="52"/>
                  </a:cubicBezTo>
                  <a:cubicBezTo>
                    <a:pt x="302" y="149"/>
                    <a:pt x="302" y="149"/>
                    <a:pt x="302" y="149"/>
                  </a:cubicBezTo>
                  <a:cubicBezTo>
                    <a:pt x="302" y="178"/>
                    <a:pt x="236" y="201"/>
                    <a:pt x="151" y="201"/>
                  </a:cubicBezTo>
                  <a:close/>
                  <a:moveTo>
                    <a:pt x="151" y="7"/>
                  </a:moveTo>
                  <a:cubicBezTo>
                    <a:pt x="65" y="7"/>
                    <a:pt x="7" y="30"/>
                    <a:pt x="7" y="52"/>
                  </a:cubicBezTo>
                  <a:cubicBezTo>
                    <a:pt x="7" y="149"/>
                    <a:pt x="7" y="149"/>
                    <a:pt x="7" y="149"/>
                  </a:cubicBezTo>
                  <a:cubicBezTo>
                    <a:pt x="7" y="170"/>
                    <a:pt x="65" y="193"/>
                    <a:pt x="151" y="193"/>
                  </a:cubicBezTo>
                  <a:cubicBezTo>
                    <a:pt x="237" y="193"/>
                    <a:pt x="295" y="170"/>
                    <a:pt x="295" y="149"/>
                  </a:cubicBezTo>
                  <a:cubicBezTo>
                    <a:pt x="295" y="52"/>
                    <a:pt x="295" y="52"/>
                    <a:pt x="295" y="52"/>
                  </a:cubicBezTo>
                  <a:cubicBezTo>
                    <a:pt x="295" y="30"/>
                    <a:pt x="237" y="7"/>
                    <a:pt x="151"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24"/>
            <p:cNvSpPr>
              <a:spLocks noChangeArrowheads="1"/>
            </p:cNvSpPr>
            <p:nvPr/>
          </p:nvSpPr>
          <p:spPr bwMode="auto">
            <a:xfrm>
              <a:off x="6589103" y="4023118"/>
              <a:ext cx="351305" cy="115421"/>
            </a:xfrm>
            <a:prstGeom prst="ellipse">
              <a:avLst/>
            </a:prstGeom>
            <a:solidFill>
              <a:srgbClr val="004BA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4" name="Freeform 25"/>
            <p:cNvSpPr>
              <a:spLocks noEditPoints="1"/>
            </p:cNvSpPr>
            <p:nvPr/>
          </p:nvSpPr>
          <p:spPr bwMode="auto">
            <a:xfrm>
              <a:off x="6584063" y="4019589"/>
              <a:ext cx="359873" cy="123990"/>
            </a:xfrm>
            <a:custGeom>
              <a:avLst/>
              <a:gdLst>
                <a:gd name="T0" fmla="*/ 151 w 302"/>
                <a:gd name="T1" fmla="*/ 104 h 104"/>
                <a:gd name="T2" fmla="*/ 0 w 302"/>
                <a:gd name="T3" fmla="*/ 52 h 104"/>
                <a:gd name="T4" fmla="*/ 151 w 302"/>
                <a:gd name="T5" fmla="*/ 0 h 104"/>
                <a:gd name="T6" fmla="*/ 302 w 302"/>
                <a:gd name="T7" fmla="*/ 52 h 104"/>
                <a:gd name="T8" fmla="*/ 151 w 302"/>
                <a:gd name="T9" fmla="*/ 104 h 104"/>
                <a:gd name="T10" fmla="*/ 151 w 302"/>
                <a:gd name="T11" fmla="*/ 7 h 104"/>
                <a:gd name="T12" fmla="*/ 7 w 302"/>
                <a:gd name="T13" fmla="*/ 52 h 104"/>
                <a:gd name="T14" fmla="*/ 151 w 302"/>
                <a:gd name="T15" fmla="*/ 96 h 104"/>
                <a:gd name="T16" fmla="*/ 295 w 302"/>
                <a:gd name="T17" fmla="*/ 52 h 104"/>
                <a:gd name="T18" fmla="*/ 151 w 302"/>
                <a:gd name="T19" fmla="*/ 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104">
                  <a:moveTo>
                    <a:pt x="151" y="104"/>
                  </a:moveTo>
                  <a:cubicBezTo>
                    <a:pt x="66" y="104"/>
                    <a:pt x="0" y="81"/>
                    <a:pt x="0" y="52"/>
                  </a:cubicBezTo>
                  <a:cubicBezTo>
                    <a:pt x="0" y="23"/>
                    <a:pt x="66" y="0"/>
                    <a:pt x="151" y="0"/>
                  </a:cubicBezTo>
                  <a:cubicBezTo>
                    <a:pt x="236" y="0"/>
                    <a:pt x="302" y="23"/>
                    <a:pt x="302" y="52"/>
                  </a:cubicBezTo>
                  <a:cubicBezTo>
                    <a:pt x="302" y="81"/>
                    <a:pt x="236" y="104"/>
                    <a:pt x="151" y="104"/>
                  </a:cubicBezTo>
                  <a:close/>
                  <a:moveTo>
                    <a:pt x="151" y="7"/>
                  </a:moveTo>
                  <a:cubicBezTo>
                    <a:pt x="65" y="7"/>
                    <a:pt x="7" y="30"/>
                    <a:pt x="7" y="52"/>
                  </a:cubicBezTo>
                  <a:cubicBezTo>
                    <a:pt x="7" y="73"/>
                    <a:pt x="65" y="96"/>
                    <a:pt x="151" y="96"/>
                  </a:cubicBezTo>
                  <a:cubicBezTo>
                    <a:pt x="237" y="96"/>
                    <a:pt x="295" y="73"/>
                    <a:pt x="295" y="52"/>
                  </a:cubicBezTo>
                  <a:cubicBezTo>
                    <a:pt x="295" y="30"/>
                    <a:pt x="237" y="7"/>
                    <a:pt x="151"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TextBox 98"/>
            <p:cNvSpPr txBox="1"/>
            <p:nvPr/>
          </p:nvSpPr>
          <p:spPr>
            <a:xfrm>
              <a:off x="6462214" y="4370304"/>
              <a:ext cx="598242" cy="323165"/>
            </a:xfrm>
            <a:prstGeom prst="rect">
              <a:avLst/>
            </a:prstGeom>
            <a:noFill/>
          </p:spPr>
          <p:txBody>
            <a:bodyPr wrap="none" rtlCol="0" anchor="b" anchorCtr="0">
              <a:spAutoFit/>
            </a:bodyPr>
            <a:lstStyle/>
            <a:p>
              <a:pPr algn="ctr">
                <a:spcBef>
                  <a:spcPts val="1800"/>
                </a:spcBef>
              </a:pPr>
              <a:r>
                <a:rPr lang="en-US" sz="750" dirty="0">
                  <a:solidFill>
                    <a:srgbClr val="004990"/>
                  </a:solidFill>
                </a:rPr>
                <a:t>IP Edge</a:t>
              </a:r>
              <a:br>
                <a:rPr lang="en-US" sz="750" dirty="0">
                  <a:solidFill>
                    <a:srgbClr val="004990"/>
                  </a:solidFill>
                </a:rPr>
              </a:br>
              <a:r>
                <a:rPr lang="en-US" sz="750" dirty="0">
                  <a:solidFill>
                    <a:srgbClr val="004990"/>
                  </a:solidFill>
                </a:rPr>
                <a:t>and Core</a:t>
              </a:r>
            </a:p>
          </p:txBody>
        </p:sp>
        <p:cxnSp>
          <p:nvCxnSpPr>
            <p:cNvPr id="175" name="Straight Connector 174"/>
            <p:cNvCxnSpPr/>
            <p:nvPr/>
          </p:nvCxnSpPr>
          <p:spPr>
            <a:xfrm flipH="1">
              <a:off x="6761336" y="4249471"/>
              <a:ext cx="0" cy="120833"/>
            </a:xfrm>
            <a:prstGeom prst="line">
              <a:avLst/>
            </a:prstGeom>
            <a:ln w="12700" cap="rnd">
              <a:solidFill>
                <a:srgbClr val="004BAF"/>
              </a:solidFill>
            </a:ln>
          </p:spPr>
          <p:style>
            <a:lnRef idx="1">
              <a:schemeClr val="accent1"/>
            </a:lnRef>
            <a:fillRef idx="0">
              <a:schemeClr val="accent1"/>
            </a:fillRef>
            <a:effectRef idx="0">
              <a:schemeClr val="accent1"/>
            </a:effectRef>
            <a:fontRef idx="minor">
              <a:schemeClr val="tx1"/>
            </a:fontRef>
          </p:style>
        </p:cxnSp>
      </p:grpSp>
      <p:cxnSp>
        <p:nvCxnSpPr>
          <p:cNvPr id="192" name="Straight Connector 191"/>
          <p:cNvCxnSpPr/>
          <p:nvPr/>
        </p:nvCxnSpPr>
        <p:spPr>
          <a:xfrm flipH="1">
            <a:off x="4922692" y="3795597"/>
            <a:ext cx="0" cy="262092"/>
          </a:xfrm>
          <a:prstGeom prst="line">
            <a:avLst/>
          </a:prstGeom>
          <a:ln w="12700" cap="rnd">
            <a:solidFill>
              <a:srgbClr val="004BAF"/>
            </a:solidFill>
          </a:ln>
        </p:spPr>
        <p:style>
          <a:lnRef idx="1">
            <a:schemeClr val="accent1"/>
          </a:lnRef>
          <a:fillRef idx="0">
            <a:schemeClr val="accent1"/>
          </a:fillRef>
          <a:effectRef idx="0">
            <a:schemeClr val="accent1"/>
          </a:effectRef>
          <a:fontRef idx="minor">
            <a:schemeClr val="tx1"/>
          </a:fontRef>
        </p:style>
      </p:cxnSp>
      <p:grpSp>
        <p:nvGrpSpPr>
          <p:cNvPr id="193" name="Group 192"/>
          <p:cNvGrpSpPr/>
          <p:nvPr/>
        </p:nvGrpSpPr>
        <p:grpSpPr>
          <a:xfrm>
            <a:off x="6981306" y="3186033"/>
            <a:ext cx="150817" cy="150817"/>
            <a:chOff x="4453050" y="3406192"/>
            <a:chExt cx="351305" cy="351305"/>
          </a:xfrm>
        </p:grpSpPr>
        <p:sp>
          <p:nvSpPr>
            <p:cNvPr id="194" name="Oval 85"/>
            <p:cNvSpPr>
              <a:spLocks noChangeArrowheads="1"/>
            </p:cNvSpPr>
            <p:nvPr/>
          </p:nvSpPr>
          <p:spPr bwMode="auto">
            <a:xfrm>
              <a:off x="4453050" y="3406192"/>
              <a:ext cx="351305" cy="351305"/>
            </a:xfrm>
            <a:prstGeom prst="ellipse">
              <a:avLst/>
            </a:pr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95" name="Group 194"/>
            <p:cNvGrpSpPr/>
            <p:nvPr/>
          </p:nvGrpSpPr>
          <p:grpSpPr>
            <a:xfrm>
              <a:off x="4538734" y="3493389"/>
              <a:ext cx="179937" cy="176408"/>
              <a:chOff x="4538734" y="3493389"/>
              <a:chExt cx="179937" cy="176408"/>
            </a:xfrm>
          </p:grpSpPr>
          <p:sp>
            <p:nvSpPr>
              <p:cNvPr id="196" name="Freeform 86"/>
              <p:cNvSpPr>
                <a:spLocks noEditPoints="1"/>
              </p:cNvSpPr>
              <p:nvPr/>
            </p:nvSpPr>
            <p:spPr bwMode="auto">
              <a:xfrm>
                <a:off x="4557887" y="3512541"/>
                <a:ext cx="27217" cy="27217"/>
              </a:xfrm>
              <a:custGeom>
                <a:avLst/>
                <a:gdLst>
                  <a:gd name="T0" fmla="*/ 12 w 23"/>
                  <a:gd name="T1" fmla="*/ 0 h 23"/>
                  <a:gd name="T2" fmla="*/ 0 w 23"/>
                  <a:gd name="T3" fmla="*/ 12 h 23"/>
                  <a:gd name="T4" fmla="*/ 12 w 23"/>
                  <a:gd name="T5" fmla="*/ 23 h 23"/>
                  <a:gd name="T6" fmla="*/ 23 w 23"/>
                  <a:gd name="T7" fmla="*/ 12 h 23"/>
                  <a:gd name="T8" fmla="*/ 12 w 23"/>
                  <a:gd name="T9" fmla="*/ 0 h 23"/>
                  <a:gd name="T10" fmla="*/ 12 w 23"/>
                  <a:gd name="T11" fmla="*/ 18 h 23"/>
                  <a:gd name="T12" fmla="*/ 5 w 23"/>
                  <a:gd name="T13" fmla="*/ 12 h 23"/>
                  <a:gd name="T14" fmla="*/ 12 w 23"/>
                  <a:gd name="T15" fmla="*/ 5 h 23"/>
                  <a:gd name="T16" fmla="*/ 18 w 23"/>
                  <a:gd name="T17" fmla="*/ 12 h 23"/>
                  <a:gd name="T18" fmla="*/ 12 w 23"/>
                  <a:gd name="T19"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0"/>
                    </a:moveTo>
                    <a:cubicBezTo>
                      <a:pt x="5" y="0"/>
                      <a:pt x="0" y="5"/>
                      <a:pt x="0" y="12"/>
                    </a:cubicBezTo>
                    <a:cubicBezTo>
                      <a:pt x="0" y="18"/>
                      <a:pt x="5" y="23"/>
                      <a:pt x="12" y="23"/>
                    </a:cubicBezTo>
                    <a:cubicBezTo>
                      <a:pt x="18" y="23"/>
                      <a:pt x="23" y="18"/>
                      <a:pt x="23" y="12"/>
                    </a:cubicBezTo>
                    <a:cubicBezTo>
                      <a:pt x="23" y="5"/>
                      <a:pt x="18" y="0"/>
                      <a:pt x="12" y="0"/>
                    </a:cubicBezTo>
                    <a:moveTo>
                      <a:pt x="12" y="18"/>
                    </a:moveTo>
                    <a:cubicBezTo>
                      <a:pt x="8" y="18"/>
                      <a:pt x="5" y="15"/>
                      <a:pt x="5" y="12"/>
                    </a:cubicBezTo>
                    <a:cubicBezTo>
                      <a:pt x="5" y="8"/>
                      <a:pt x="8" y="5"/>
                      <a:pt x="12" y="5"/>
                    </a:cubicBezTo>
                    <a:cubicBezTo>
                      <a:pt x="15" y="5"/>
                      <a:pt x="18" y="8"/>
                      <a:pt x="18" y="12"/>
                    </a:cubicBezTo>
                    <a:cubicBezTo>
                      <a:pt x="18" y="15"/>
                      <a:pt x="15" y="18"/>
                      <a:pt x="12"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87"/>
              <p:cNvSpPr>
                <a:spLocks noEditPoints="1"/>
              </p:cNvSpPr>
              <p:nvPr/>
            </p:nvSpPr>
            <p:spPr bwMode="auto">
              <a:xfrm>
                <a:off x="4556375" y="3511029"/>
                <a:ext cx="29737" cy="29737"/>
              </a:xfrm>
              <a:custGeom>
                <a:avLst/>
                <a:gdLst>
                  <a:gd name="T0" fmla="*/ 13 w 25"/>
                  <a:gd name="T1" fmla="*/ 25 h 25"/>
                  <a:gd name="T2" fmla="*/ 0 w 25"/>
                  <a:gd name="T3" fmla="*/ 13 h 25"/>
                  <a:gd name="T4" fmla="*/ 13 w 25"/>
                  <a:gd name="T5" fmla="*/ 0 h 25"/>
                  <a:gd name="T6" fmla="*/ 25 w 25"/>
                  <a:gd name="T7" fmla="*/ 13 h 25"/>
                  <a:gd name="T8" fmla="*/ 13 w 25"/>
                  <a:gd name="T9" fmla="*/ 25 h 25"/>
                  <a:gd name="T10" fmla="*/ 13 w 25"/>
                  <a:gd name="T11" fmla="*/ 3 h 25"/>
                  <a:gd name="T12" fmla="*/ 3 w 25"/>
                  <a:gd name="T13" fmla="*/ 13 h 25"/>
                  <a:gd name="T14" fmla="*/ 13 w 25"/>
                  <a:gd name="T15" fmla="*/ 22 h 25"/>
                  <a:gd name="T16" fmla="*/ 22 w 25"/>
                  <a:gd name="T17" fmla="*/ 13 h 25"/>
                  <a:gd name="T18" fmla="*/ 13 w 25"/>
                  <a:gd name="T19" fmla="*/ 3 h 25"/>
                  <a:gd name="T20" fmla="*/ 13 w 25"/>
                  <a:gd name="T21" fmla="*/ 20 h 25"/>
                  <a:gd name="T22" fmla="*/ 5 w 25"/>
                  <a:gd name="T23" fmla="*/ 13 h 25"/>
                  <a:gd name="T24" fmla="*/ 13 w 25"/>
                  <a:gd name="T25" fmla="*/ 5 h 25"/>
                  <a:gd name="T26" fmla="*/ 20 w 25"/>
                  <a:gd name="T27" fmla="*/ 13 h 25"/>
                  <a:gd name="T28" fmla="*/ 13 w 25"/>
                  <a:gd name="T29" fmla="*/ 20 h 25"/>
                  <a:gd name="T30" fmla="*/ 13 w 25"/>
                  <a:gd name="T31" fmla="*/ 8 h 25"/>
                  <a:gd name="T32" fmla="*/ 8 w 25"/>
                  <a:gd name="T33" fmla="*/ 13 h 25"/>
                  <a:gd name="T34" fmla="*/ 13 w 25"/>
                  <a:gd name="T35" fmla="*/ 17 h 25"/>
                  <a:gd name="T36" fmla="*/ 17 w 25"/>
                  <a:gd name="T37" fmla="*/ 13 h 25"/>
                  <a:gd name="T38" fmla="*/ 13 w 25"/>
                  <a:gd name="T39"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5">
                    <a:moveTo>
                      <a:pt x="13" y="25"/>
                    </a:moveTo>
                    <a:cubicBezTo>
                      <a:pt x="6" y="25"/>
                      <a:pt x="0" y="19"/>
                      <a:pt x="0" y="13"/>
                    </a:cubicBezTo>
                    <a:cubicBezTo>
                      <a:pt x="0" y="6"/>
                      <a:pt x="6" y="0"/>
                      <a:pt x="13" y="0"/>
                    </a:cubicBezTo>
                    <a:cubicBezTo>
                      <a:pt x="19" y="0"/>
                      <a:pt x="25" y="6"/>
                      <a:pt x="25" y="13"/>
                    </a:cubicBezTo>
                    <a:cubicBezTo>
                      <a:pt x="25" y="19"/>
                      <a:pt x="19" y="25"/>
                      <a:pt x="13" y="25"/>
                    </a:cubicBezTo>
                    <a:moveTo>
                      <a:pt x="13" y="3"/>
                    </a:moveTo>
                    <a:cubicBezTo>
                      <a:pt x="7" y="3"/>
                      <a:pt x="3" y="7"/>
                      <a:pt x="3" y="13"/>
                    </a:cubicBezTo>
                    <a:cubicBezTo>
                      <a:pt x="3" y="18"/>
                      <a:pt x="7" y="22"/>
                      <a:pt x="13" y="22"/>
                    </a:cubicBezTo>
                    <a:cubicBezTo>
                      <a:pt x="18" y="22"/>
                      <a:pt x="22" y="18"/>
                      <a:pt x="22" y="13"/>
                    </a:cubicBezTo>
                    <a:cubicBezTo>
                      <a:pt x="22" y="7"/>
                      <a:pt x="18" y="3"/>
                      <a:pt x="13" y="3"/>
                    </a:cubicBezTo>
                    <a:moveTo>
                      <a:pt x="13" y="20"/>
                    </a:moveTo>
                    <a:cubicBezTo>
                      <a:pt x="8" y="20"/>
                      <a:pt x="5" y="17"/>
                      <a:pt x="5" y="13"/>
                    </a:cubicBezTo>
                    <a:cubicBezTo>
                      <a:pt x="5" y="8"/>
                      <a:pt x="8" y="5"/>
                      <a:pt x="13" y="5"/>
                    </a:cubicBezTo>
                    <a:cubicBezTo>
                      <a:pt x="17" y="5"/>
                      <a:pt x="20" y="8"/>
                      <a:pt x="20" y="13"/>
                    </a:cubicBezTo>
                    <a:cubicBezTo>
                      <a:pt x="20" y="17"/>
                      <a:pt x="17" y="20"/>
                      <a:pt x="13" y="20"/>
                    </a:cubicBezTo>
                    <a:moveTo>
                      <a:pt x="13" y="8"/>
                    </a:moveTo>
                    <a:cubicBezTo>
                      <a:pt x="10" y="8"/>
                      <a:pt x="8" y="10"/>
                      <a:pt x="8" y="13"/>
                    </a:cubicBezTo>
                    <a:cubicBezTo>
                      <a:pt x="8" y="15"/>
                      <a:pt x="10" y="17"/>
                      <a:pt x="13" y="17"/>
                    </a:cubicBezTo>
                    <a:cubicBezTo>
                      <a:pt x="15" y="17"/>
                      <a:pt x="17" y="15"/>
                      <a:pt x="17" y="13"/>
                    </a:cubicBezTo>
                    <a:cubicBezTo>
                      <a:pt x="17" y="10"/>
                      <a:pt x="15" y="8"/>
                      <a:pt x="13"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88"/>
              <p:cNvSpPr>
                <a:spLocks noEditPoints="1"/>
              </p:cNvSpPr>
              <p:nvPr/>
            </p:nvSpPr>
            <p:spPr bwMode="auto">
              <a:xfrm>
                <a:off x="4541255" y="3495909"/>
                <a:ext cx="174896" cy="172376"/>
              </a:xfrm>
              <a:custGeom>
                <a:avLst/>
                <a:gdLst>
                  <a:gd name="T0" fmla="*/ 147 w 147"/>
                  <a:gd name="T1" fmla="*/ 40 h 145"/>
                  <a:gd name="T2" fmla="*/ 147 w 147"/>
                  <a:gd name="T3" fmla="*/ 11 h 145"/>
                  <a:gd name="T4" fmla="*/ 136 w 147"/>
                  <a:gd name="T5" fmla="*/ 0 h 145"/>
                  <a:gd name="T6" fmla="*/ 11 w 147"/>
                  <a:gd name="T7" fmla="*/ 0 h 145"/>
                  <a:gd name="T8" fmla="*/ 0 w 147"/>
                  <a:gd name="T9" fmla="*/ 11 h 145"/>
                  <a:gd name="T10" fmla="*/ 0 w 147"/>
                  <a:gd name="T11" fmla="*/ 40 h 145"/>
                  <a:gd name="T12" fmla="*/ 4 w 147"/>
                  <a:gd name="T13" fmla="*/ 49 h 145"/>
                  <a:gd name="T14" fmla="*/ 0 w 147"/>
                  <a:gd name="T15" fmla="*/ 58 h 145"/>
                  <a:gd name="T16" fmla="*/ 0 w 147"/>
                  <a:gd name="T17" fmla="*/ 87 h 145"/>
                  <a:gd name="T18" fmla="*/ 4 w 147"/>
                  <a:gd name="T19" fmla="*/ 96 h 145"/>
                  <a:gd name="T20" fmla="*/ 0 w 147"/>
                  <a:gd name="T21" fmla="*/ 105 h 145"/>
                  <a:gd name="T22" fmla="*/ 0 w 147"/>
                  <a:gd name="T23" fmla="*/ 134 h 145"/>
                  <a:gd name="T24" fmla="*/ 11 w 147"/>
                  <a:gd name="T25" fmla="*/ 145 h 145"/>
                  <a:gd name="T26" fmla="*/ 136 w 147"/>
                  <a:gd name="T27" fmla="*/ 145 h 145"/>
                  <a:gd name="T28" fmla="*/ 147 w 147"/>
                  <a:gd name="T29" fmla="*/ 134 h 145"/>
                  <a:gd name="T30" fmla="*/ 147 w 147"/>
                  <a:gd name="T31" fmla="*/ 105 h 145"/>
                  <a:gd name="T32" fmla="*/ 143 w 147"/>
                  <a:gd name="T33" fmla="*/ 96 h 145"/>
                  <a:gd name="T34" fmla="*/ 147 w 147"/>
                  <a:gd name="T35" fmla="*/ 87 h 145"/>
                  <a:gd name="T36" fmla="*/ 147 w 147"/>
                  <a:gd name="T37" fmla="*/ 58 h 145"/>
                  <a:gd name="T38" fmla="*/ 143 w 147"/>
                  <a:gd name="T39" fmla="*/ 49 h 145"/>
                  <a:gd name="T40" fmla="*/ 147 w 147"/>
                  <a:gd name="T41" fmla="*/ 40 h 145"/>
                  <a:gd name="T42" fmla="*/ 142 w 147"/>
                  <a:gd name="T43" fmla="*/ 105 h 145"/>
                  <a:gd name="T44" fmla="*/ 142 w 147"/>
                  <a:gd name="T45" fmla="*/ 134 h 145"/>
                  <a:gd name="T46" fmla="*/ 136 w 147"/>
                  <a:gd name="T47" fmla="*/ 140 h 145"/>
                  <a:gd name="T48" fmla="*/ 11 w 147"/>
                  <a:gd name="T49" fmla="*/ 140 h 145"/>
                  <a:gd name="T50" fmla="*/ 5 w 147"/>
                  <a:gd name="T51" fmla="*/ 134 h 145"/>
                  <a:gd name="T52" fmla="*/ 5 w 147"/>
                  <a:gd name="T53" fmla="*/ 105 h 145"/>
                  <a:gd name="T54" fmla="*/ 11 w 147"/>
                  <a:gd name="T55" fmla="*/ 98 h 145"/>
                  <a:gd name="T56" fmla="*/ 136 w 147"/>
                  <a:gd name="T57" fmla="*/ 98 h 145"/>
                  <a:gd name="T58" fmla="*/ 142 w 147"/>
                  <a:gd name="T59" fmla="*/ 105 h 145"/>
                  <a:gd name="T60" fmla="*/ 142 w 147"/>
                  <a:gd name="T61" fmla="*/ 58 h 145"/>
                  <a:gd name="T62" fmla="*/ 142 w 147"/>
                  <a:gd name="T63" fmla="*/ 87 h 145"/>
                  <a:gd name="T64" fmla="*/ 136 w 147"/>
                  <a:gd name="T65" fmla="*/ 93 h 145"/>
                  <a:gd name="T66" fmla="*/ 11 w 147"/>
                  <a:gd name="T67" fmla="*/ 93 h 145"/>
                  <a:gd name="T68" fmla="*/ 5 w 147"/>
                  <a:gd name="T69" fmla="*/ 87 h 145"/>
                  <a:gd name="T70" fmla="*/ 5 w 147"/>
                  <a:gd name="T71" fmla="*/ 58 h 145"/>
                  <a:gd name="T72" fmla="*/ 11 w 147"/>
                  <a:gd name="T73" fmla="*/ 51 h 145"/>
                  <a:gd name="T74" fmla="*/ 136 w 147"/>
                  <a:gd name="T75" fmla="*/ 51 h 145"/>
                  <a:gd name="T76" fmla="*/ 142 w 147"/>
                  <a:gd name="T77" fmla="*/ 58 h 145"/>
                  <a:gd name="T78" fmla="*/ 11 w 147"/>
                  <a:gd name="T79" fmla="*/ 46 h 145"/>
                  <a:gd name="T80" fmla="*/ 5 w 147"/>
                  <a:gd name="T81" fmla="*/ 40 h 145"/>
                  <a:gd name="T82" fmla="*/ 5 w 147"/>
                  <a:gd name="T83" fmla="*/ 11 h 145"/>
                  <a:gd name="T84" fmla="*/ 11 w 147"/>
                  <a:gd name="T85" fmla="*/ 5 h 145"/>
                  <a:gd name="T86" fmla="*/ 136 w 147"/>
                  <a:gd name="T87" fmla="*/ 5 h 145"/>
                  <a:gd name="T88" fmla="*/ 142 w 147"/>
                  <a:gd name="T89" fmla="*/ 11 h 145"/>
                  <a:gd name="T90" fmla="*/ 142 w 147"/>
                  <a:gd name="T91" fmla="*/ 40 h 145"/>
                  <a:gd name="T92" fmla="*/ 136 w 147"/>
                  <a:gd name="T93" fmla="*/ 46 h 145"/>
                  <a:gd name="T94" fmla="*/ 11 w 147"/>
                  <a:gd name="T95" fmla="*/ 4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 h="145">
                    <a:moveTo>
                      <a:pt x="147" y="40"/>
                    </a:moveTo>
                    <a:cubicBezTo>
                      <a:pt x="147" y="11"/>
                      <a:pt x="147" y="11"/>
                      <a:pt x="147" y="11"/>
                    </a:cubicBezTo>
                    <a:cubicBezTo>
                      <a:pt x="147" y="5"/>
                      <a:pt x="142" y="0"/>
                      <a:pt x="136" y="0"/>
                    </a:cubicBezTo>
                    <a:cubicBezTo>
                      <a:pt x="11" y="0"/>
                      <a:pt x="11" y="0"/>
                      <a:pt x="11" y="0"/>
                    </a:cubicBezTo>
                    <a:cubicBezTo>
                      <a:pt x="5" y="0"/>
                      <a:pt x="0" y="5"/>
                      <a:pt x="0" y="11"/>
                    </a:cubicBezTo>
                    <a:cubicBezTo>
                      <a:pt x="0" y="40"/>
                      <a:pt x="0" y="40"/>
                      <a:pt x="0" y="40"/>
                    </a:cubicBezTo>
                    <a:cubicBezTo>
                      <a:pt x="0" y="44"/>
                      <a:pt x="1" y="47"/>
                      <a:pt x="4" y="49"/>
                    </a:cubicBezTo>
                    <a:cubicBezTo>
                      <a:pt x="1" y="51"/>
                      <a:pt x="0" y="54"/>
                      <a:pt x="0" y="58"/>
                    </a:cubicBezTo>
                    <a:cubicBezTo>
                      <a:pt x="0" y="87"/>
                      <a:pt x="0" y="87"/>
                      <a:pt x="0" y="87"/>
                    </a:cubicBezTo>
                    <a:cubicBezTo>
                      <a:pt x="0" y="90"/>
                      <a:pt x="1" y="94"/>
                      <a:pt x="4" y="96"/>
                    </a:cubicBezTo>
                    <a:cubicBezTo>
                      <a:pt x="1" y="98"/>
                      <a:pt x="0" y="101"/>
                      <a:pt x="0" y="105"/>
                    </a:cubicBezTo>
                    <a:cubicBezTo>
                      <a:pt x="0" y="134"/>
                      <a:pt x="0" y="134"/>
                      <a:pt x="0" y="134"/>
                    </a:cubicBezTo>
                    <a:cubicBezTo>
                      <a:pt x="0" y="140"/>
                      <a:pt x="5" y="145"/>
                      <a:pt x="11" y="145"/>
                    </a:cubicBezTo>
                    <a:cubicBezTo>
                      <a:pt x="136" y="145"/>
                      <a:pt x="136" y="145"/>
                      <a:pt x="136" y="145"/>
                    </a:cubicBezTo>
                    <a:cubicBezTo>
                      <a:pt x="142" y="145"/>
                      <a:pt x="147" y="140"/>
                      <a:pt x="147" y="134"/>
                    </a:cubicBezTo>
                    <a:cubicBezTo>
                      <a:pt x="147" y="105"/>
                      <a:pt x="147" y="105"/>
                      <a:pt x="147" y="105"/>
                    </a:cubicBezTo>
                    <a:cubicBezTo>
                      <a:pt x="147" y="101"/>
                      <a:pt x="146" y="98"/>
                      <a:pt x="143" y="96"/>
                    </a:cubicBezTo>
                    <a:cubicBezTo>
                      <a:pt x="146" y="94"/>
                      <a:pt x="147" y="90"/>
                      <a:pt x="147" y="87"/>
                    </a:cubicBezTo>
                    <a:cubicBezTo>
                      <a:pt x="147" y="58"/>
                      <a:pt x="147" y="58"/>
                      <a:pt x="147" y="58"/>
                    </a:cubicBezTo>
                    <a:cubicBezTo>
                      <a:pt x="147" y="54"/>
                      <a:pt x="146" y="51"/>
                      <a:pt x="143" y="49"/>
                    </a:cubicBezTo>
                    <a:cubicBezTo>
                      <a:pt x="146" y="47"/>
                      <a:pt x="147" y="44"/>
                      <a:pt x="147" y="40"/>
                    </a:cubicBezTo>
                    <a:moveTo>
                      <a:pt x="142" y="105"/>
                    </a:moveTo>
                    <a:cubicBezTo>
                      <a:pt x="142" y="134"/>
                      <a:pt x="142" y="134"/>
                      <a:pt x="142" y="134"/>
                    </a:cubicBezTo>
                    <a:cubicBezTo>
                      <a:pt x="142" y="137"/>
                      <a:pt x="140" y="140"/>
                      <a:pt x="136" y="140"/>
                    </a:cubicBezTo>
                    <a:cubicBezTo>
                      <a:pt x="11" y="140"/>
                      <a:pt x="11" y="140"/>
                      <a:pt x="11" y="140"/>
                    </a:cubicBezTo>
                    <a:cubicBezTo>
                      <a:pt x="7" y="140"/>
                      <a:pt x="5" y="137"/>
                      <a:pt x="5" y="134"/>
                    </a:cubicBezTo>
                    <a:cubicBezTo>
                      <a:pt x="5" y="105"/>
                      <a:pt x="5" y="105"/>
                      <a:pt x="5" y="105"/>
                    </a:cubicBezTo>
                    <a:cubicBezTo>
                      <a:pt x="5" y="101"/>
                      <a:pt x="7" y="98"/>
                      <a:pt x="11" y="98"/>
                    </a:cubicBezTo>
                    <a:cubicBezTo>
                      <a:pt x="136" y="98"/>
                      <a:pt x="136" y="98"/>
                      <a:pt x="136" y="98"/>
                    </a:cubicBezTo>
                    <a:cubicBezTo>
                      <a:pt x="140" y="98"/>
                      <a:pt x="142" y="101"/>
                      <a:pt x="142" y="105"/>
                    </a:cubicBezTo>
                    <a:moveTo>
                      <a:pt x="142" y="58"/>
                    </a:moveTo>
                    <a:cubicBezTo>
                      <a:pt x="142" y="87"/>
                      <a:pt x="142" y="87"/>
                      <a:pt x="142" y="87"/>
                    </a:cubicBezTo>
                    <a:cubicBezTo>
                      <a:pt x="142" y="90"/>
                      <a:pt x="140" y="93"/>
                      <a:pt x="136" y="93"/>
                    </a:cubicBezTo>
                    <a:cubicBezTo>
                      <a:pt x="11" y="93"/>
                      <a:pt x="11" y="93"/>
                      <a:pt x="11" y="93"/>
                    </a:cubicBezTo>
                    <a:cubicBezTo>
                      <a:pt x="7" y="93"/>
                      <a:pt x="5" y="90"/>
                      <a:pt x="5" y="87"/>
                    </a:cubicBezTo>
                    <a:cubicBezTo>
                      <a:pt x="5" y="58"/>
                      <a:pt x="5" y="58"/>
                      <a:pt x="5" y="58"/>
                    </a:cubicBezTo>
                    <a:cubicBezTo>
                      <a:pt x="5" y="54"/>
                      <a:pt x="7" y="51"/>
                      <a:pt x="11" y="51"/>
                    </a:cubicBezTo>
                    <a:cubicBezTo>
                      <a:pt x="136" y="51"/>
                      <a:pt x="136" y="51"/>
                      <a:pt x="136" y="51"/>
                    </a:cubicBezTo>
                    <a:cubicBezTo>
                      <a:pt x="140" y="51"/>
                      <a:pt x="142" y="54"/>
                      <a:pt x="142" y="58"/>
                    </a:cubicBezTo>
                    <a:moveTo>
                      <a:pt x="11" y="46"/>
                    </a:moveTo>
                    <a:cubicBezTo>
                      <a:pt x="7" y="46"/>
                      <a:pt x="5" y="44"/>
                      <a:pt x="5" y="40"/>
                    </a:cubicBezTo>
                    <a:cubicBezTo>
                      <a:pt x="5" y="11"/>
                      <a:pt x="5" y="11"/>
                      <a:pt x="5" y="11"/>
                    </a:cubicBezTo>
                    <a:cubicBezTo>
                      <a:pt x="5" y="8"/>
                      <a:pt x="7" y="5"/>
                      <a:pt x="11" y="5"/>
                    </a:cubicBezTo>
                    <a:cubicBezTo>
                      <a:pt x="136" y="5"/>
                      <a:pt x="136" y="5"/>
                      <a:pt x="136" y="5"/>
                    </a:cubicBezTo>
                    <a:cubicBezTo>
                      <a:pt x="140" y="5"/>
                      <a:pt x="142" y="8"/>
                      <a:pt x="142" y="11"/>
                    </a:cubicBezTo>
                    <a:cubicBezTo>
                      <a:pt x="142" y="40"/>
                      <a:pt x="142" y="40"/>
                      <a:pt x="142" y="40"/>
                    </a:cubicBezTo>
                    <a:cubicBezTo>
                      <a:pt x="142" y="44"/>
                      <a:pt x="140" y="46"/>
                      <a:pt x="136" y="46"/>
                    </a:cubicBezTo>
                    <a:lnTo>
                      <a:pt x="11"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89"/>
              <p:cNvSpPr>
                <a:spLocks noEditPoints="1"/>
              </p:cNvSpPr>
              <p:nvPr/>
            </p:nvSpPr>
            <p:spPr bwMode="auto">
              <a:xfrm>
                <a:off x="4538734" y="3493389"/>
                <a:ext cx="179937" cy="176408"/>
              </a:xfrm>
              <a:custGeom>
                <a:avLst/>
                <a:gdLst>
                  <a:gd name="T0" fmla="*/ 13 w 151"/>
                  <a:gd name="T1" fmla="*/ 148 h 148"/>
                  <a:gd name="T2" fmla="*/ 0 w 151"/>
                  <a:gd name="T3" fmla="*/ 107 h 148"/>
                  <a:gd name="T4" fmla="*/ 0 w 151"/>
                  <a:gd name="T5" fmla="*/ 89 h 148"/>
                  <a:gd name="T6" fmla="*/ 4 w 151"/>
                  <a:gd name="T7" fmla="*/ 51 h 148"/>
                  <a:gd name="T8" fmla="*/ 0 w 151"/>
                  <a:gd name="T9" fmla="*/ 13 h 148"/>
                  <a:gd name="T10" fmla="*/ 138 w 151"/>
                  <a:gd name="T11" fmla="*/ 0 h 148"/>
                  <a:gd name="T12" fmla="*/ 151 w 151"/>
                  <a:gd name="T13" fmla="*/ 42 h 148"/>
                  <a:gd name="T14" fmla="*/ 151 w 151"/>
                  <a:gd name="T15" fmla="*/ 60 h 148"/>
                  <a:gd name="T16" fmla="*/ 147 w 151"/>
                  <a:gd name="T17" fmla="*/ 98 h 148"/>
                  <a:gd name="T18" fmla="*/ 151 w 151"/>
                  <a:gd name="T19" fmla="*/ 136 h 148"/>
                  <a:gd name="T20" fmla="*/ 13 w 151"/>
                  <a:gd name="T21" fmla="*/ 3 h 148"/>
                  <a:gd name="T22" fmla="*/ 3 w 151"/>
                  <a:gd name="T23" fmla="*/ 42 h 148"/>
                  <a:gd name="T24" fmla="*/ 8 w 151"/>
                  <a:gd name="T25" fmla="*/ 51 h 148"/>
                  <a:gd name="T26" fmla="*/ 3 w 151"/>
                  <a:gd name="T27" fmla="*/ 60 h 148"/>
                  <a:gd name="T28" fmla="*/ 7 w 151"/>
                  <a:gd name="T29" fmla="*/ 97 h 148"/>
                  <a:gd name="T30" fmla="*/ 7 w 151"/>
                  <a:gd name="T31" fmla="*/ 99 h 148"/>
                  <a:gd name="T32" fmla="*/ 3 w 151"/>
                  <a:gd name="T33" fmla="*/ 136 h 148"/>
                  <a:gd name="T34" fmla="*/ 138 w 151"/>
                  <a:gd name="T35" fmla="*/ 146 h 148"/>
                  <a:gd name="T36" fmla="*/ 148 w 151"/>
                  <a:gd name="T37" fmla="*/ 107 h 148"/>
                  <a:gd name="T38" fmla="*/ 143 w 151"/>
                  <a:gd name="T39" fmla="*/ 98 h 148"/>
                  <a:gd name="T40" fmla="*/ 148 w 151"/>
                  <a:gd name="T41" fmla="*/ 89 h 148"/>
                  <a:gd name="T42" fmla="*/ 144 w 151"/>
                  <a:gd name="T43" fmla="*/ 52 h 148"/>
                  <a:gd name="T44" fmla="*/ 144 w 151"/>
                  <a:gd name="T45" fmla="*/ 50 h 148"/>
                  <a:gd name="T46" fmla="*/ 148 w 151"/>
                  <a:gd name="T47" fmla="*/ 13 h 148"/>
                  <a:gd name="T48" fmla="*/ 13 w 151"/>
                  <a:gd name="T49" fmla="*/ 3 h 148"/>
                  <a:gd name="T50" fmla="*/ 8 w 151"/>
                  <a:gd name="T51" fmla="*/ 141 h 148"/>
                  <a:gd name="T52" fmla="*/ 5 w 151"/>
                  <a:gd name="T53" fmla="*/ 107 h 148"/>
                  <a:gd name="T54" fmla="*/ 138 w 151"/>
                  <a:gd name="T55" fmla="*/ 99 h 148"/>
                  <a:gd name="T56" fmla="*/ 146 w 151"/>
                  <a:gd name="T57" fmla="*/ 136 h 148"/>
                  <a:gd name="T58" fmla="*/ 13 w 151"/>
                  <a:gd name="T59" fmla="*/ 143 h 148"/>
                  <a:gd name="T60" fmla="*/ 8 w 151"/>
                  <a:gd name="T61" fmla="*/ 107 h 148"/>
                  <a:gd name="T62" fmla="*/ 9 w 151"/>
                  <a:gd name="T63" fmla="*/ 139 h 148"/>
                  <a:gd name="T64" fmla="*/ 13 w 151"/>
                  <a:gd name="T65" fmla="*/ 141 h 148"/>
                  <a:gd name="T66" fmla="*/ 143 w 151"/>
                  <a:gd name="T67" fmla="*/ 136 h 148"/>
                  <a:gd name="T68" fmla="*/ 138 w 151"/>
                  <a:gd name="T69" fmla="*/ 101 h 148"/>
                  <a:gd name="T70" fmla="*/ 138 w 151"/>
                  <a:gd name="T71" fmla="*/ 97 h 148"/>
                  <a:gd name="T72" fmla="*/ 5 w 151"/>
                  <a:gd name="T73" fmla="*/ 89 h 148"/>
                  <a:gd name="T74" fmla="*/ 13 w 151"/>
                  <a:gd name="T75" fmla="*/ 52 h 148"/>
                  <a:gd name="T76" fmla="*/ 146 w 151"/>
                  <a:gd name="T77" fmla="*/ 60 h 148"/>
                  <a:gd name="T78" fmla="*/ 138 w 151"/>
                  <a:gd name="T79" fmla="*/ 97 h 148"/>
                  <a:gd name="T80" fmla="*/ 8 w 151"/>
                  <a:gd name="T81" fmla="*/ 60 h 148"/>
                  <a:gd name="T82" fmla="*/ 13 w 151"/>
                  <a:gd name="T83" fmla="*/ 94 h 148"/>
                  <a:gd name="T84" fmla="*/ 143 w 151"/>
                  <a:gd name="T85" fmla="*/ 89 h 148"/>
                  <a:gd name="T86" fmla="*/ 138 w 151"/>
                  <a:gd name="T87" fmla="*/ 55 h 148"/>
                  <a:gd name="T88" fmla="*/ 138 w 151"/>
                  <a:gd name="T89" fmla="*/ 50 h 148"/>
                  <a:gd name="T90" fmla="*/ 5 w 151"/>
                  <a:gd name="T91" fmla="*/ 42 h 148"/>
                  <a:gd name="T92" fmla="*/ 13 w 151"/>
                  <a:gd name="T93" fmla="*/ 5 h 148"/>
                  <a:gd name="T94" fmla="*/ 146 w 151"/>
                  <a:gd name="T95" fmla="*/ 13 h 148"/>
                  <a:gd name="T96" fmla="*/ 138 w 151"/>
                  <a:gd name="T97" fmla="*/ 50 h 148"/>
                  <a:gd name="T98" fmla="*/ 8 w 151"/>
                  <a:gd name="T99" fmla="*/ 13 h 148"/>
                  <a:gd name="T100" fmla="*/ 13 w 151"/>
                  <a:gd name="T101" fmla="*/ 47 h 148"/>
                  <a:gd name="T102" fmla="*/ 143 w 151"/>
                  <a:gd name="T103" fmla="*/ 42 h 148"/>
                  <a:gd name="T104" fmla="*/ 138 w 151"/>
                  <a:gd name="T105" fmla="*/ 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1" h="148">
                    <a:moveTo>
                      <a:pt x="138" y="148"/>
                    </a:moveTo>
                    <a:cubicBezTo>
                      <a:pt x="13" y="148"/>
                      <a:pt x="13" y="148"/>
                      <a:pt x="13" y="148"/>
                    </a:cubicBezTo>
                    <a:cubicBezTo>
                      <a:pt x="6" y="148"/>
                      <a:pt x="0" y="143"/>
                      <a:pt x="0" y="136"/>
                    </a:cubicBezTo>
                    <a:cubicBezTo>
                      <a:pt x="0" y="107"/>
                      <a:pt x="0" y="107"/>
                      <a:pt x="0" y="107"/>
                    </a:cubicBezTo>
                    <a:cubicBezTo>
                      <a:pt x="0" y="103"/>
                      <a:pt x="2" y="100"/>
                      <a:pt x="4" y="98"/>
                    </a:cubicBezTo>
                    <a:cubicBezTo>
                      <a:pt x="2" y="95"/>
                      <a:pt x="0" y="92"/>
                      <a:pt x="0" y="89"/>
                    </a:cubicBezTo>
                    <a:cubicBezTo>
                      <a:pt x="0" y="60"/>
                      <a:pt x="0" y="60"/>
                      <a:pt x="0" y="60"/>
                    </a:cubicBezTo>
                    <a:cubicBezTo>
                      <a:pt x="0" y="56"/>
                      <a:pt x="2" y="53"/>
                      <a:pt x="4" y="51"/>
                    </a:cubicBezTo>
                    <a:cubicBezTo>
                      <a:pt x="2" y="49"/>
                      <a:pt x="0" y="45"/>
                      <a:pt x="0" y="42"/>
                    </a:cubicBezTo>
                    <a:cubicBezTo>
                      <a:pt x="0" y="13"/>
                      <a:pt x="0" y="13"/>
                      <a:pt x="0" y="13"/>
                    </a:cubicBezTo>
                    <a:cubicBezTo>
                      <a:pt x="0" y="6"/>
                      <a:pt x="6" y="0"/>
                      <a:pt x="13" y="0"/>
                    </a:cubicBezTo>
                    <a:cubicBezTo>
                      <a:pt x="138" y="0"/>
                      <a:pt x="138" y="0"/>
                      <a:pt x="138" y="0"/>
                    </a:cubicBezTo>
                    <a:cubicBezTo>
                      <a:pt x="145" y="0"/>
                      <a:pt x="151" y="6"/>
                      <a:pt x="151" y="13"/>
                    </a:cubicBezTo>
                    <a:cubicBezTo>
                      <a:pt x="151" y="42"/>
                      <a:pt x="151" y="42"/>
                      <a:pt x="151" y="42"/>
                    </a:cubicBezTo>
                    <a:cubicBezTo>
                      <a:pt x="151" y="45"/>
                      <a:pt x="149" y="49"/>
                      <a:pt x="147" y="51"/>
                    </a:cubicBezTo>
                    <a:cubicBezTo>
                      <a:pt x="149" y="53"/>
                      <a:pt x="151" y="56"/>
                      <a:pt x="151" y="60"/>
                    </a:cubicBezTo>
                    <a:cubicBezTo>
                      <a:pt x="151" y="89"/>
                      <a:pt x="151" y="89"/>
                      <a:pt x="151" y="89"/>
                    </a:cubicBezTo>
                    <a:cubicBezTo>
                      <a:pt x="151" y="92"/>
                      <a:pt x="149" y="95"/>
                      <a:pt x="147" y="98"/>
                    </a:cubicBezTo>
                    <a:cubicBezTo>
                      <a:pt x="149" y="100"/>
                      <a:pt x="151" y="103"/>
                      <a:pt x="151" y="107"/>
                    </a:cubicBezTo>
                    <a:cubicBezTo>
                      <a:pt x="151" y="136"/>
                      <a:pt x="151" y="136"/>
                      <a:pt x="151" y="136"/>
                    </a:cubicBezTo>
                    <a:cubicBezTo>
                      <a:pt x="151" y="143"/>
                      <a:pt x="145" y="148"/>
                      <a:pt x="138" y="148"/>
                    </a:cubicBezTo>
                    <a:moveTo>
                      <a:pt x="13" y="3"/>
                    </a:moveTo>
                    <a:cubicBezTo>
                      <a:pt x="7" y="3"/>
                      <a:pt x="3" y="8"/>
                      <a:pt x="3" y="13"/>
                    </a:cubicBezTo>
                    <a:cubicBezTo>
                      <a:pt x="3" y="42"/>
                      <a:pt x="3" y="42"/>
                      <a:pt x="3" y="42"/>
                    </a:cubicBezTo>
                    <a:cubicBezTo>
                      <a:pt x="3" y="45"/>
                      <a:pt x="4" y="48"/>
                      <a:pt x="7" y="50"/>
                    </a:cubicBezTo>
                    <a:cubicBezTo>
                      <a:pt x="8" y="51"/>
                      <a:pt x="8" y="51"/>
                      <a:pt x="8" y="51"/>
                    </a:cubicBezTo>
                    <a:cubicBezTo>
                      <a:pt x="7" y="52"/>
                      <a:pt x="7" y="52"/>
                      <a:pt x="7" y="52"/>
                    </a:cubicBezTo>
                    <a:cubicBezTo>
                      <a:pt x="4" y="54"/>
                      <a:pt x="3" y="57"/>
                      <a:pt x="3" y="60"/>
                    </a:cubicBezTo>
                    <a:cubicBezTo>
                      <a:pt x="3" y="89"/>
                      <a:pt x="3" y="89"/>
                      <a:pt x="3" y="89"/>
                    </a:cubicBezTo>
                    <a:cubicBezTo>
                      <a:pt x="3" y="92"/>
                      <a:pt x="4" y="95"/>
                      <a:pt x="7" y="97"/>
                    </a:cubicBezTo>
                    <a:cubicBezTo>
                      <a:pt x="8" y="98"/>
                      <a:pt x="8" y="98"/>
                      <a:pt x="8" y="98"/>
                    </a:cubicBezTo>
                    <a:cubicBezTo>
                      <a:pt x="7" y="99"/>
                      <a:pt x="7" y="99"/>
                      <a:pt x="7" y="99"/>
                    </a:cubicBezTo>
                    <a:cubicBezTo>
                      <a:pt x="4" y="101"/>
                      <a:pt x="3" y="104"/>
                      <a:pt x="3" y="107"/>
                    </a:cubicBezTo>
                    <a:cubicBezTo>
                      <a:pt x="3" y="136"/>
                      <a:pt x="3" y="136"/>
                      <a:pt x="3" y="136"/>
                    </a:cubicBezTo>
                    <a:cubicBezTo>
                      <a:pt x="3" y="141"/>
                      <a:pt x="7" y="146"/>
                      <a:pt x="13" y="146"/>
                    </a:cubicBezTo>
                    <a:cubicBezTo>
                      <a:pt x="138" y="146"/>
                      <a:pt x="138" y="146"/>
                      <a:pt x="138" y="146"/>
                    </a:cubicBezTo>
                    <a:cubicBezTo>
                      <a:pt x="144" y="146"/>
                      <a:pt x="148" y="141"/>
                      <a:pt x="148" y="136"/>
                    </a:cubicBezTo>
                    <a:cubicBezTo>
                      <a:pt x="148" y="107"/>
                      <a:pt x="148" y="107"/>
                      <a:pt x="148" y="107"/>
                    </a:cubicBezTo>
                    <a:cubicBezTo>
                      <a:pt x="148" y="104"/>
                      <a:pt x="147" y="101"/>
                      <a:pt x="144" y="99"/>
                    </a:cubicBezTo>
                    <a:cubicBezTo>
                      <a:pt x="143" y="98"/>
                      <a:pt x="143" y="98"/>
                      <a:pt x="143" y="98"/>
                    </a:cubicBezTo>
                    <a:cubicBezTo>
                      <a:pt x="144" y="97"/>
                      <a:pt x="144" y="97"/>
                      <a:pt x="144" y="97"/>
                    </a:cubicBezTo>
                    <a:cubicBezTo>
                      <a:pt x="147" y="95"/>
                      <a:pt x="148" y="92"/>
                      <a:pt x="148" y="89"/>
                    </a:cubicBezTo>
                    <a:cubicBezTo>
                      <a:pt x="148" y="60"/>
                      <a:pt x="148" y="60"/>
                      <a:pt x="148" y="60"/>
                    </a:cubicBezTo>
                    <a:cubicBezTo>
                      <a:pt x="148" y="57"/>
                      <a:pt x="147" y="54"/>
                      <a:pt x="144" y="52"/>
                    </a:cubicBezTo>
                    <a:cubicBezTo>
                      <a:pt x="143" y="51"/>
                      <a:pt x="143" y="51"/>
                      <a:pt x="143" y="51"/>
                    </a:cubicBezTo>
                    <a:cubicBezTo>
                      <a:pt x="144" y="50"/>
                      <a:pt x="144" y="50"/>
                      <a:pt x="144" y="50"/>
                    </a:cubicBezTo>
                    <a:cubicBezTo>
                      <a:pt x="147" y="48"/>
                      <a:pt x="148" y="45"/>
                      <a:pt x="148" y="42"/>
                    </a:cubicBezTo>
                    <a:cubicBezTo>
                      <a:pt x="148" y="13"/>
                      <a:pt x="148" y="13"/>
                      <a:pt x="148" y="13"/>
                    </a:cubicBezTo>
                    <a:cubicBezTo>
                      <a:pt x="148" y="8"/>
                      <a:pt x="144" y="3"/>
                      <a:pt x="138" y="3"/>
                    </a:cubicBezTo>
                    <a:lnTo>
                      <a:pt x="13" y="3"/>
                    </a:lnTo>
                    <a:close/>
                    <a:moveTo>
                      <a:pt x="13" y="143"/>
                    </a:moveTo>
                    <a:cubicBezTo>
                      <a:pt x="11" y="143"/>
                      <a:pt x="9" y="143"/>
                      <a:pt x="8" y="141"/>
                    </a:cubicBezTo>
                    <a:cubicBezTo>
                      <a:pt x="6" y="140"/>
                      <a:pt x="5" y="138"/>
                      <a:pt x="5" y="136"/>
                    </a:cubicBezTo>
                    <a:cubicBezTo>
                      <a:pt x="5" y="107"/>
                      <a:pt x="5" y="107"/>
                      <a:pt x="5" y="107"/>
                    </a:cubicBezTo>
                    <a:cubicBezTo>
                      <a:pt x="5" y="102"/>
                      <a:pt x="9" y="99"/>
                      <a:pt x="13" y="99"/>
                    </a:cubicBezTo>
                    <a:cubicBezTo>
                      <a:pt x="138" y="99"/>
                      <a:pt x="138" y="99"/>
                      <a:pt x="138" y="99"/>
                    </a:cubicBezTo>
                    <a:cubicBezTo>
                      <a:pt x="142" y="99"/>
                      <a:pt x="146" y="102"/>
                      <a:pt x="146" y="107"/>
                    </a:cubicBezTo>
                    <a:cubicBezTo>
                      <a:pt x="146" y="136"/>
                      <a:pt x="146" y="136"/>
                      <a:pt x="146" y="136"/>
                    </a:cubicBezTo>
                    <a:cubicBezTo>
                      <a:pt x="146" y="140"/>
                      <a:pt x="142" y="143"/>
                      <a:pt x="138" y="143"/>
                    </a:cubicBezTo>
                    <a:cubicBezTo>
                      <a:pt x="13" y="143"/>
                      <a:pt x="13" y="143"/>
                      <a:pt x="13" y="143"/>
                    </a:cubicBezTo>
                    <a:close/>
                    <a:moveTo>
                      <a:pt x="13" y="101"/>
                    </a:moveTo>
                    <a:cubicBezTo>
                      <a:pt x="10" y="101"/>
                      <a:pt x="8" y="104"/>
                      <a:pt x="8" y="107"/>
                    </a:cubicBezTo>
                    <a:cubicBezTo>
                      <a:pt x="8" y="136"/>
                      <a:pt x="8" y="136"/>
                      <a:pt x="8" y="136"/>
                    </a:cubicBezTo>
                    <a:cubicBezTo>
                      <a:pt x="8" y="137"/>
                      <a:pt x="8" y="138"/>
                      <a:pt x="9" y="139"/>
                    </a:cubicBezTo>
                    <a:cubicBezTo>
                      <a:pt x="10" y="140"/>
                      <a:pt x="12" y="141"/>
                      <a:pt x="13" y="141"/>
                    </a:cubicBezTo>
                    <a:cubicBezTo>
                      <a:pt x="13" y="141"/>
                      <a:pt x="13" y="141"/>
                      <a:pt x="13" y="141"/>
                    </a:cubicBezTo>
                    <a:cubicBezTo>
                      <a:pt x="138" y="141"/>
                      <a:pt x="138" y="141"/>
                      <a:pt x="138" y="141"/>
                    </a:cubicBezTo>
                    <a:cubicBezTo>
                      <a:pt x="141" y="141"/>
                      <a:pt x="143" y="138"/>
                      <a:pt x="143" y="136"/>
                    </a:cubicBezTo>
                    <a:cubicBezTo>
                      <a:pt x="143" y="107"/>
                      <a:pt x="143" y="107"/>
                      <a:pt x="143" y="107"/>
                    </a:cubicBezTo>
                    <a:cubicBezTo>
                      <a:pt x="143" y="104"/>
                      <a:pt x="141" y="101"/>
                      <a:pt x="138" y="101"/>
                    </a:cubicBezTo>
                    <a:lnTo>
                      <a:pt x="13" y="101"/>
                    </a:lnTo>
                    <a:close/>
                    <a:moveTo>
                      <a:pt x="138" y="97"/>
                    </a:moveTo>
                    <a:cubicBezTo>
                      <a:pt x="13" y="97"/>
                      <a:pt x="13" y="97"/>
                      <a:pt x="13" y="97"/>
                    </a:cubicBezTo>
                    <a:cubicBezTo>
                      <a:pt x="9" y="97"/>
                      <a:pt x="5" y="93"/>
                      <a:pt x="5" y="89"/>
                    </a:cubicBezTo>
                    <a:cubicBezTo>
                      <a:pt x="5" y="60"/>
                      <a:pt x="5" y="60"/>
                      <a:pt x="5" y="60"/>
                    </a:cubicBezTo>
                    <a:cubicBezTo>
                      <a:pt x="5" y="56"/>
                      <a:pt x="9" y="52"/>
                      <a:pt x="13" y="52"/>
                    </a:cubicBezTo>
                    <a:cubicBezTo>
                      <a:pt x="138" y="52"/>
                      <a:pt x="138" y="52"/>
                      <a:pt x="138" y="52"/>
                    </a:cubicBezTo>
                    <a:cubicBezTo>
                      <a:pt x="142" y="52"/>
                      <a:pt x="146" y="56"/>
                      <a:pt x="146" y="60"/>
                    </a:cubicBezTo>
                    <a:cubicBezTo>
                      <a:pt x="146" y="89"/>
                      <a:pt x="146" y="89"/>
                      <a:pt x="146" y="89"/>
                    </a:cubicBezTo>
                    <a:cubicBezTo>
                      <a:pt x="146" y="93"/>
                      <a:pt x="142" y="97"/>
                      <a:pt x="138" y="97"/>
                    </a:cubicBezTo>
                    <a:moveTo>
                      <a:pt x="13" y="55"/>
                    </a:moveTo>
                    <a:cubicBezTo>
                      <a:pt x="10" y="55"/>
                      <a:pt x="8" y="57"/>
                      <a:pt x="8" y="60"/>
                    </a:cubicBezTo>
                    <a:cubicBezTo>
                      <a:pt x="8" y="89"/>
                      <a:pt x="8" y="89"/>
                      <a:pt x="8" y="89"/>
                    </a:cubicBezTo>
                    <a:cubicBezTo>
                      <a:pt x="8" y="92"/>
                      <a:pt x="10" y="94"/>
                      <a:pt x="13" y="94"/>
                    </a:cubicBezTo>
                    <a:cubicBezTo>
                      <a:pt x="138" y="94"/>
                      <a:pt x="138" y="94"/>
                      <a:pt x="138" y="94"/>
                    </a:cubicBezTo>
                    <a:cubicBezTo>
                      <a:pt x="141" y="94"/>
                      <a:pt x="143" y="92"/>
                      <a:pt x="143" y="89"/>
                    </a:cubicBezTo>
                    <a:cubicBezTo>
                      <a:pt x="143" y="60"/>
                      <a:pt x="143" y="60"/>
                      <a:pt x="143" y="60"/>
                    </a:cubicBezTo>
                    <a:cubicBezTo>
                      <a:pt x="143" y="57"/>
                      <a:pt x="141" y="55"/>
                      <a:pt x="138" y="55"/>
                    </a:cubicBezTo>
                    <a:lnTo>
                      <a:pt x="13" y="55"/>
                    </a:lnTo>
                    <a:close/>
                    <a:moveTo>
                      <a:pt x="138" y="50"/>
                    </a:moveTo>
                    <a:cubicBezTo>
                      <a:pt x="13" y="50"/>
                      <a:pt x="13" y="50"/>
                      <a:pt x="13" y="50"/>
                    </a:cubicBezTo>
                    <a:cubicBezTo>
                      <a:pt x="9" y="50"/>
                      <a:pt x="5" y="46"/>
                      <a:pt x="5" y="42"/>
                    </a:cubicBezTo>
                    <a:cubicBezTo>
                      <a:pt x="5" y="13"/>
                      <a:pt x="5" y="13"/>
                      <a:pt x="5" y="13"/>
                    </a:cubicBezTo>
                    <a:cubicBezTo>
                      <a:pt x="5" y="9"/>
                      <a:pt x="9" y="5"/>
                      <a:pt x="13" y="5"/>
                    </a:cubicBezTo>
                    <a:cubicBezTo>
                      <a:pt x="138" y="5"/>
                      <a:pt x="138" y="5"/>
                      <a:pt x="138" y="5"/>
                    </a:cubicBezTo>
                    <a:cubicBezTo>
                      <a:pt x="142" y="5"/>
                      <a:pt x="146" y="9"/>
                      <a:pt x="146" y="13"/>
                    </a:cubicBezTo>
                    <a:cubicBezTo>
                      <a:pt x="146" y="42"/>
                      <a:pt x="146" y="42"/>
                      <a:pt x="146" y="42"/>
                    </a:cubicBezTo>
                    <a:cubicBezTo>
                      <a:pt x="146" y="46"/>
                      <a:pt x="142" y="50"/>
                      <a:pt x="138" y="50"/>
                    </a:cubicBezTo>
                    <a:moveTo>
                      <a:pt x="13" y="8"/>
                    </a:moveTo>
                    <a:cubicBezTo>
                      <a:pt x="10" y="8"/>
                      <a:pt x="8" y="10"/>
                      <a:pt x="8" y="13"/>
                    </a:cubicBezTo>
                    <a:cubicBezTo>
                      <a:pt x="8" y="42"/>
                      <a:pt x="8" y="42"/>
                      <a:pt x="8" y="42"/>
                    </a:cubicBezTo>
                    <a:cubicBezTo>
                      <a:pt x="8" y="45"/>
                      <a:pt x="10" y="47"/>
                      <a:pt x="13" y="47"/>
                    </a:cubicBezTo>
                    <a:cubicBezTo>
                      <a:pt x="138" y="47"/>
                      <a:pt x="138" y="47"/>
                      <a:pt x="138" y="47"/>
                    </a:cubicBezTo>
                    <a:cubicBezTo>
                      <a:pt x="141" y="47"/>
                      <a:pt x="143" y="45"/>
                      <a:pt x="143" y="42"/>
                    </a:cubicBezTo>
                    <a:cubicBezTo>
                      <a:pt x="143" y="13"/>
                      <a:pt x="143" y="13"/>
                      <a:pt x="143" y="13"/>
                    </a:cubicBezTo>
                    <a:cubicBezTo>
                      <a:pt x="143" y="10"/>
                      <a:pt x="141" y="8"/>
                      <a:pt x="138" y="8"/>
                    </a:cubicBezTo>
                    <a:lnTo>
                      <a:pt x="1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90"/>
              <p:cNvSpPr>
                <a:spLocks noEditPoints="1"/>
              </p:cNvSpPr>
              <p:nvPr/>
            </p:nvSpPr>
            <p:spPr bwMode="auto">
              <a:xfrm>
                <a:off x="4557887" y="3568488"/>
                <a:ext cx="27217" cy="26209"/>
              </a:xfrm>
              <a:custGeom>
                <a:avLst/>
                <a:gdLst>
                  <a:gd name="T0" fmla="*/ 12 w 23"/>
                  <a:gd name="T1" fmla="*/ 22 h 22"/>
                  <a:gd name="T2" fmla="*/ 23 w 23"/>
                  <a:gd name="T3" fmla="*/ 11 h 22"/>
                  <a:gd name="T4" fmla="*/ 12 w 23"/>
                  <a:gd name="T5" fmla="*/ 0 h 22"/>
                  <a:gd name="T6" fmla="*/ 0 w 23"/>
                  <a:gd name="T7" fmla="*/ 11 h 22"/>
                  <a:gd name="T8" fmla="*/ 12 w 23"/>
                  <a:gd name="T9" fmla="*/ 22 h 22"/>
                  <a:gd name="T10" fmla="*/ 12 w 23"/>
                  <a:gd name="T11" fmla="*/ 5 h 22"/>
                  <a:gd name="T12" fmla="*/ 18 w 23"/>
                  <a:gd name="T13" fmla="*/ 11 h 22"/>
                  <a:gd name="T14" fmla="*/ 12 w 23"/>
                  <a:gd name="T15" fmla="*/ 17 h 22"/>
                  <a:gd name="T16" fmla="*/ 5 w 23"/>
                  <a:gd name="T17" fmla="*/ 11 h 22"/>
                  <a:gd name="T18" fmla="*/ 12 w 23"/>
                  <a:gd name="T19"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12" y="22"/>
                    </a:moveTo>
                    <a:cubicBezTo>
                      <a:pt x="18" y="22"/>
                      <a:pt x="23" y="17"/>
                      <a:pt x="23" y="11"/>
                    </a:cubicBezTo>
                    <a:cubicBezTo>
                      <a:pt x="23" y="5"/>
                      <a:pt x="18" y="0"/>
                      <a:pt x="12" y="0"/>
                    </a:cubicBezTo>
                    <a:cubicBezTo>
                      <a:pt x="5" y="0"/>
                      <a:pt x="0" y="5"/>
                      <a:pt x="0" y="11"/>
                    </a:cubicBezTo>
                    <a:cubicBezTo>
                      <a:pt x="0" y="17"/>
                      <a:pt x="5" y="22"/>
                      <a:pt x="12" y="22"/>
                    </a:cubicBezTo>
                    <a:moveTo>
                      <a:pt x="12" y="5"/>
                    </a:moveTo>
                    <a:cubicBezTo>
                      <a:pt x="15" y="5"/>
                      <a:pt x="18" y="8"/>
                      <a:pt x="18" y="11"/>
                    </a:cubicBezTo>
                    <a:cubicBezTo>
                      <a:pt x="18" y="15"/>
                      <a:pt x="15" y="17"/>
                      <a:pt x="12" y="17"/>
                    </a:cubicBezTo>
                    <a:cubicBezTo>
                      <a:pt x="8" y="17"/>
                      <a:pt x="5" y="15"/>
                      <a:pt x="5" y="11"/>
                    </a:cubicBezTo>
                    <a:cubicBezTo>
                      <a:pt x="5" y="8"/>
                      <a:pt x="8" y="5"/>
                      <a:pt x="12"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91"/>
              <p:cNvSpPr>
                <a:spLocks noEditPoints="1"/>
              </p:cNvSpPr>
              <p:nvPr/>
            </p:nvSpPr>
            <p:spPr bwMode="auto">
              <a:xfrm>
                <a:off x="4556375" y="3566976"/>
                <a:ext cx="29737" cy="29737"/>
              </a:xfrm>
              <a:custGeom>
                <a:avLst/>
                <a:gdLst>
                  <a:gd name="T0" fmla="*/ 13 w 25"/>
                  <a:gd name="T1" fmla="*/ 25 h 25"/>
                  <a:gd name="T2" fmla="*/ 0 w 25"/>
                  <a:gd name="T3" fmla="*/ 12 h 25"/>
                  <a:gd name="T4" fmla="*/ 13 w 25"/>
                  <a:gd name="T5" fmla="*/ 0 h 25"/>
                  <a:gd name="T6" fmla="*/ 25 w 25"/>
                  <a:gd name="T7" fmla="*/ 12 h 25"/>
                  <a:gd name="T8" fmla="*/ 13 w 25"/>
                  <a:gd name="T9" fmla="*/ 25 h 25"/>
                  <a:gd name="T10" fmla="*/ 13 w 25"/>
                  <a:gd name="T11" fmla="*/ 3 h 25"/>
                  <a:gd name="T12" fmla="*/ 3 w 25"/>
                  <a:gd name="T13" fmla="*/ 12 h 25"/>
                  <a:gd name="T14" fmla="*/ 13 w 25"/>
                  <a:gd name="T15" fmla="*/ 22 h 25"/>
                  <a:gd name="T16" fmla="*/ 22 w 25"/>
                  <a:gd name="T17" fmla="*/ 12 h 25"/>
                  <a:gd name="T18" fmla="*/ 13 w 25"/>
                  <a:gd name="T19" fmla="*/ 3 h 25"/>
                  <a:gd name="T20" fmla="*/ 13 w 25"/>
                  <a:gd name="T21" fmla="*/ 20 h 25"/>
                  <a:gd name="T22" fmla="*/ 5 w 25"/>
                  <a:gd name="T23" fmla="*/ 12 h 25"/>
                  <a:gd name="T24" fmla="*/ 13 w 25"/>
                  <a:gd name="T25" fmla="*/ 5 h 25"/>
                  <a:gd name="T26" fmla="*/ 20 w 25"/>
                  <a:gd name="T27" fmla="*/ 12 h 25"/>
                  <a:gd name="T28" fmla="*/ 13 w 25"/>
                  <a:gd name="T29" fmla="*/ 20 h 25"/>
                  <a:gd name="T30" fmla="*/ 13 w 25"/>
                  <a:gd name="T31" fmla="*/ 7 h 25"/>
                  <a:gd name="T32" fmla="*/ 8 w 25"/>
                  <a:gd name="T33" fmla="*/ 12 h 25"/>
                  <a:gd name="T34" fmla="*/ 13 w 25"/>
                  <a:gd name="T35" fmla="*/ 17 h 25"/>
                  <a:gd name="T36" fmla="*/ 17 w 25"/>
                  <a:gd name="T37" fmla="*/ 12 h 25"/>
                  <a:gd name="T38" fmla="*/ 13 w 25"/>
                  <a:gd name="T39"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5">
                    <a:moveTo>
                      <a:pt x="13" y="25"/>
                    </a:moveTo>
                    <a:cubicBezTo>
                      <a:pt x="6" y="25"/>
                      <a:pt x="0" y="19"/>
                      <a:pt x="0" y="12"/>
                    </a:cubicBezTo>
                    <a:cubicBezTo>
                      <a:pt x="0" y="5"/>
                      <a:pt x="6" y="0"/>
                      <a:pt x="13" y="0"/>
                    </a:cubicBezTo>
                    <a:cubicBezTo>
                      <a:pt x="19" y="0"/>
                      <a:pt x="25" y="5"/>
                      <a:pt x="25" y="12"/>
                    </a:cubicBezTo>
                    <a:cubicBezTo>
                      <a:pt x="25" y="19"/>
                      <a:pt x="19" y="25"/>
                      <a:pt x="13" y="25"/>
                    </a:cubicBezTo>
                    <a:moveTo>
                      <a:pt x="13" y="3"/>
                    </a:moveTo>
                    <a:cubicBezTo>
                      <a:pt x="7" y="3"/>
                      <a:pt x="3" y="7"/>
                      <a:pt x="3" y="12"/>
                    </a:cubicBezTo>
                    <a:cubicBezTo>
                      <a:pt x="3" y="18"/>
                      <a:pt x="7" y="22"/>
                      <a:pt x="13" y="22"/>
                    </a:cubicBezTo>
                    <a:cubicBezTo>
                      <a:pt x="18" y="22"/>
                      <a:pt x="22" y="18"/>
                      <a:pt x="22" y="12"/>
                    </a:cubicBezTo>
                    <a:cubicBezTo>
                      <a:pt x="22" y="7"/>
                      <a:pt x="18" y="3"/>
                      <a:pt x="13" y="3"/>
                    </a:cubicBezTo>
                    <a:moveTo>
                      <a:pt x="13" y="20"/>
                    </a:moveTo>
                    <a:cubicBezTo>
                      <a:pt x="8" y="20"/>
                      <a:pt x="5" y="16"/>
                      <a:pt x="5" y="12"/>
                    </a:cubicBezTo>
                    <a:cubicBezTo>
                      <a:pt x="5" y="8"/>
                      <a:pt x="8" y="5"/>
                      <a:pt x="13" y="5"/>
                    </a:cubicBezTo>
                    <a:cubicBezTo>
                      <a:pt x="17" y="5"/>
                      <a:pt x="20" y="8"/>
                      <a:pt x="20" y="12"/>
                    </a:cubicBezTo>
                    <a:cubicBezTo>
                      <a:pt x="20" y="16"/>
                      <a:pt x="17" y="20"/>
                      <a:pt x="13" y="20"/>
                    </a:cubicBezTo>
                    <a:moveTo>
                      <a:pt x="13" y="7"/>
                    </a:moveTo>
                    <a:cubicBezTo>
                      <a:pt x="10" y="7"/>
                      <a:pt x="8" y="10"/>
                      <a:pt x="8" y="12"/>
                    </a:cubicBezTo>
                    <a:cubicBezTo>
                      <a:pt x="8" y="15"/>
                      <a:pt x="10" y="17"/>
                      <a:pt x="13" y="17"/>
                    </a:cubicBezTo>
                    <a:cubicBezTo>
                      <a:pt x="15" y="17"/>
                      <a:pt x="17" y="15"/>
                      <a:pt x="17" y="12"/>
                    </a:cubicBezTo>
                    <a:cubicBezTo>
                      <a:pt x="17" y="10"/>
                      <a:pt x="15" y="7"/>
                      <a:pt x="13"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92"/>
              <p:cNvSpPr>
                <a:spLocks noEditPoints="1"/>
              </p:cNvSpPr>
              <p:nvPr/>
            </p:nvSpPr>
            <p:spPr bwMode="auto">
              <a:xfrm>
                <a:off x="4557887" y="3624435"/>
                <a:ext cx="27217" cy="26209"/>
              </a:xfrm>
              <a:custGeom>
                <a:avLst/>
                <a:gdLst>
                  <a:gd name="T0" fmla="*/ 12 w 23"/>
                  <a:gd name="T1" fmla="*/ 22 h 22"/>
                  <a:gd name="T2" fmla="*/ 23 w 23"/>
                  <a:gd name="T3" fmla="*/ 11 h 22"/>
                  <a:gd name="T4" fmla="*/ 12 w 23"/>
                  <a:gd name="T5" fmla="*/ 0 h 22"/>
                  <a:gd name="T6" fmla="*/ 0 w 23"/>
                  <a:gd name="T7" fmla="*/ 11 h 22"/>
                  <a:gd name="T8" fmla="*/ 12 w 23"/>
                  <a:gd name="T9" fmla="*/ 22 h 22"/>
                  <a:gd name="T10" fmla="*/ 12 w 23"/>
                  <a:gd name="T11" fmla="*/ 5 h 22"/>
                  <a:gd name="T12" fmla="*/ 18 w 23"/>
                  <a:gd name="T13" fmla="*/ 11 h 22"/>
                  <a:gd name="T14" fmla="*/ 12 w 23"/>
                  <a:gd name="T15" fmla="*/ 17 h 22"/>
                  <a:gd name="T16" fmla="*/ 5 w 23"/>
                  <a:gd name="T17" fmla="*/ 11 h 22"/>
                  <a:gd name="T18" fmla="*/ 12 w 23"/>
                  <a:gd name="T19"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12" y="22"/>
                    </a:moveTo>
                    <a:cubicBezTo>
                      <a:pt x="18" y="22"/>
                      <a:pt x="23" y="17"/>
                      <a:pt x="23" y="11"/>
                    </a:cubicBezTo>
                    <a:cubicBezTo>
                      <a:pt x="23" y="5"/>
                      <a:pt x="18" y="0"/>
                      <a:pt x="12" y="0"/>
                    </a:cubicBezTo>
                    <a:cubicBezTo>
                      <a:pt x="5" y="0"/>
                      <a:pt x="0" y="5"/>
                      <a:pt x="0" y="11"/>
                    </a:cubicBezTo>
                    <a:cubicBezTo>
                      <a:pt x="0" y="17"/>
                      <a:pt x="5" y="22"/>
                      <a:pt x="12" y="22"/>
                    </a:cubicBezTo>
                    <a:moveTo>
                      <a:pt x="12" y="5"/>
                    </a:moveTo>
                    <a:cubicBezTo>
                      <a:pt x="15" y="5"/>
                      <a:pt x="18" y="8"/>
                      <a:pt x="18" y="11"/>
                    </a:cubicBezTo>
                    <a:cubicBezTo>
                      <a:pt x="18" y="14"/>
                      <a:pt x="15" y="17"/>
                      <a:pt x="12" y="17"/>
                    </a:cubicBezTo>
                    <a:cubicBezTo>
                      <a:pt x="8" y="17"/>
                      <a:pt x="5" y="14"/>
                      <a:pt x="5" y="11"/>
                    </a:cubicBezTo>
                    <a:cubicBezTo>
                      <a:pt x="5" y="8"/>
                      <a:pt x="8" y="5"/>
                      <a:pt x="12"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93"/>
              <p:cNvSpPr>
                <a:spLocks noEditPoints="1"/>
              </p:cNvSpPr>
              <p:nvPr/>
            </p:nvSpPr>
            <p:spPr bwMode="auto">
              <a:xfrm>
                <a:off x="4556375" y="3622923"/>
                <a:ext cx="29737" cy="28729"/>
              </a:xfrm>
              <a:custGeom>
                <a:avLst/>
                <a:gdLst>
                  <a:gd name="T0" fmla="*/ 13 w 25"/>
                  <a:gd name="T1" fmla="*/ 24 h 24"/>
                  <a:gd name="T2" fmla="*/ 0 w 25"/>
                  <a:gd name="T3" fmla="*/ 12 h 24"/>
                  <a:gd name="T4" fmla="*/ 13 w 25"/>
                  <a:gd name="T5" fmla="*/ 0 h 24"/>
                  <a:gd name="T6" fmla="*/ 25 w 25"/>
                  <a:gd name="T7" fmla="*/ 12 h 24"/>
                  <a:gd name="T8" fmla="*/ 13 w 25"/>
                  <a:gd name="T9" fmla="*/ 24 h 24"/>
                  <a:gd name="T10" fmla="*/ 13 w 25"/>
                  <a:gd name="T11" fmla="*/ 2 h 24"/>
                  <a:gd name="T12" fmla="*/ 3 w 25"/>
                  <a:gd name="T13" fmla="*/ 12 h 24"/>
                  <a:gd name="T14" fmla="*/ 13 w 25"/>
                  <a:gd name="T15" fmla="*/ 22 h 24"/>
                  <a:gd name="T16" fmla="*/ 22 w 25"/>
                  <a:gd name="T17" fmla="*/ 12 h 24"/>
                  <a:gd name="T18" fmla="*/ 13 w 25"/>
                  <a:gd name="T19" fmla="*/ 2 h 24"/>
                  <a:gd name="T20" fmla="*/ 13 w 25"/>
                  <a:gd name="T21" fmla="*/ 20 h 24"/>
                  <a:gd name="T22" fmla="*/ 5 w 25"/>
                  <a:gd name="T23" fmla="*/ 12 h 24"/>
                  <a:gd name="T24" fmla="*/ 13 w 25"/>
                  <a:gd name="T25" fmla="*/ 5 h 24"/>
                  <a:gd name="T26" fmla="*/ 20 w 25"/>
                  <a:gd name="T27" fmla="*/ 12 h 24"/>
                  <a:gd name="T28" fmla="*/ 13 w 25"/>
                  <a:gd name="T29" fmla="*/ 20 h 24"/>
                  <a:gd name="T30" fmla="*/ 13 w 25"/>
                  <a:gd name="T31" fmla="*/ 7 h 24"/>
                  <a:gd name="T32" fmla="*/ 8 w 25"/>
                  <a:gd name="T33" fmla="*/ 12 h 24"/>
                  <a:gd name="T34" fmla="*/ 13 w 25"/>
                  <a:gd name="T35" fmla="*/ 17 h 24"/>
                  <a:gd name="T36" fmla="*/ 17 w 25"/>
                  <a:gd name="T37" fmla="*/ 12 h 24"/>
                  <a:gd name="T38" fmla="*/ 13 w 25"/>
                  <a:gd name="T39"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4">
                    <a:moveTo>
                      <a:pt x="13" y="24"/>
                    </a:moveTo>
                    <a:cubicBezTo>
                      <a:pt x="6" y="24"/>
                      <a:pt x="0" y="19"/>
                      <a:pt x="0" y="12"/>
                    </a:cubicBezTo>
                    <a:cubicBezTo>
                      <a:pt x="0" y="5"/>
                      <a:pt x="6" y="0"/>
                      <a:pt x="13" y="0"/>
                    </a:cubicBezTo>
                    <a:cubicBezTo>
                      <a:pt x="19" y="0"/>
                      <a:pt x="25" y="5"/>
                      <a:pt x="25" y="12"/>
                    </a:cubicBezTo>
                    <a:cubicBezTo>
                      <a:pt x="25" y="19"/>
                      <a:pt x="19" y="24"/>
                      <a:pt x="13" y="24"/>
                    </a:cubicBezTo>
                    <a:moveTo>
                      <a:pt x="13" y="2"/>
                    </a:moveTo>
                    <a:cubicBezTo>
                      <a:pt x="7" y="2"/>
                      <a:pt x="3" y="7"/>
                      <a:pt x="3" y="12"/>
                    </a:cubicBezTo>
                    <a:cubicBezTo>
                      <a:pt x="3" y="17"/>
                      <a:pt x="7" y="22"/>
                      <a:pt x="13" y="22"/>
                    </a:cubicBezTo>
                    <a:cubicBezTo>
                      <a:pt x="18" y="22"/>
                      <a:pt x="22" y="17"/>
                      <a:pt x="22" y="12"/>
                    </a:cubicBezTo>
                    <a:cubicBezTo>
                      <a:pt x="22" y="7"/>
                      <a:pt x="18" y="2"/>
                      <a:pt x="13" y="2"/>
                    </a:cubicBezTo>
                    <a:moveTo>
                      <a:pt x="13" y="20"/>
                    </a:moveTo>
                    <a:cubicBezTo>
                      <a:pt x="8" y="20"/>
                      <a:pt x="5" y="16"/>
                      <a:pt x="5" y="12"/>
                    </a:cubicBezTo>
                    <a:cubicBezTo>
                      <a:pt x="5" y="8"/>
                      <a:pt x="8" y="5"/>
                      <a:pt x="13" y="5"/>
                    </a:cubicBezTo>
                    <a:cubicBezTo>
                      <a:pt x="17" y="5"/>
                      <a:pt x="20" y="8"/>
                      <a:pt x="20" y="12"/>
                    </a:cubicBezTo>
                    <a:cubicBezTo>
                      <a:pt x="20" y="16"/>
                      <a:pt x="17" y="20"/>
                      <a:pt x="13" y="20"/>
                    </a:cubicBezTo>
                    <a:moveTo>
                      <a:pt x="13" y="7"/>
                    </a:moveTo>
                    <a:cubicBezTo>
                      <a:pt x="10" y="7"/>
                      <a:pt x="8" y="9"/>
                      <a:pt x="8" y="12"/>
                    </a:cubicBezTo>
                    <a:cubicBezTo>
                      <a:pt x="8" y="15"/>
                      <a:pt x="10" y="17"/>
                      <a:pt x="13" y="17"/>
                    </a:cubicBezTo>
                    <a:cubicBezTo>
                      <a:pt x="15" y="17"/>
                      <a:pt x="17" y="15"/>
                      <a:pt x="17" y="12"/>
                    </a:cubicBezTo>
                    <a:cubicBezTo>
                      <a:pt x="17" y="9"/>
                      <a:pt x="15" y="7"/>
                      <a:pt x="13"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04" name="Group 203"/>
          <p:cNvGrpSpPr>
            <a:grpSpLocks noChangeAspect="1"/>
          </p:cNvGrpSpPr>
          <p:nvPr/>
        </p:nvGrpSpPr>
        <p:grpSpPr>
          <a:xfrm>
            <a:off x="6944971" y="3181461"/>
            <a:ext cx="229026" cy="147667"/>
            <a:chOff x="3673024" y="1281378"/>
            <a:chExt cx="889651" cy="573611"/>
          </a:xfrm>
        </p:grpSpPr>
        <p:sp>
          <p:nvSpPr>
            <p:cNvPr id="205" name="Freeform 262"/>
            <p:cNvSpPr>
              <a:spLocks/>
            </p:cNvSpPr>
            <p:nvPr/>
          </p:nvSpPr>
          <p:spPr bwMode="auto">
            <a:xfrm>
              <a:off x="3673024" y="1281378"/>
              <a:ext cx="889651" cy="573611"/>
            </a:xfrm>
            <a:custGeom>
              <a:avLst/>
              <a:gdLst>
                <a:gd name="T0" fmla="*/ 270 w 747"/>
                <a:gd name="T1" fmla="*/ 99 h 482"/>
                <a:gd name="T2" fmla="*/ 210 w 747"/>
                <a:gd name="T3" fmla="*/ 71 h 482"/>
                <a:gd name="T4" fmla="*/ 133 w 747"/>
                <a:gd name="T5" fmla="*/ 148 h 482"/>
                <a:gd name="T6" fmla="*/ 141 w 747"/>
                <a:gd name="T7" fmla="*/ 181 h 482"/>
                <a:gd name="T8" fmla="*/ 0 w 747"/>
                <a:gd name="T9" fmla="*/ 332 h 482"/>
                <a:gd name="T10" fmla="*/ 150 w 747"/>
                <a:gd name="T11" fmla="*/ 482 h 482"/>
                <a:gd name="T12" fmla="*/ 589 w 747"/>
                <a:gd name="T13" fmla="*/ 482 h 482"/>
                <a:gd name="T14" fmla="*/ 747 w 747"/>
                <a:gd name="T15" fmla="*/ 325 h 482"/>
                <a:gd name="T16" fmla="*/ 589 w 747"/>
                <a:gd name="T17" fmla="*/ 167 h 482"/>
                <a:gd name="T18" fmla="*/ 589 w 747"/>
                <a:gd name="T19" fmla="*/ 167 h 482"/>
                <a:gd name="T20" fmla="*/ 422 w 747"/>
                <a:gd name="T21" fmla="*/ 0 h 482"/>
                <a:gd name="T22" fmla="*/ 270 w 747"/>
                <a:gd name="T23" fmla="*/ 99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7" h="482">
                  <a:moveTo>
                    <a:pt x="270" y="99"/>
                  </a:moveTo>
                  <a:cubicBezTo>
                    <a:pt x="255" y="82"/>
                    <a:pt x="234" y="71"/>
                    <a:pt x="210" y="71"/>
                  </a:cubicBezTo>
                  <a:cubicBezTo>
                    <a:pt x="168" y="71"/>
                    <a:pt x="133" y="106"/>
                    <a:pt x="133" y="148"/>
                  </a:cubicBezTo>
                  <a:cubicBezTo>
                    <a:pt x="133" y="160"/>
                    <a:pt x="136" y="171"/>
                    <a:pt x="141" y="181"/>
                  </a:cubicBezTo>
                  <a:cubicBezTo>
                    <a:pt x="62" y="186"/>
                    <a:pt x="0" y="252"/>
                    <a:pt x="0" y="332"/>
                  </a:cubicBezTo>
                  <a:cubicBezTo>
                    <a:pt x="0" y="415"/>
                    <a:pt x="67" y="482"/>
                    <a:pt x="150" y="482"/>
                  </a:cubicBezTo>
                  <a:cubicBezTo>
                    <a:pt x="589" y="482"/>
                    <a:pt x="589" y="482"/>
                    <a:pt x="589" y="482"/>
                  </a:cubicBezTo>
                  <a:cubicBezTo>
                    <a:pt x="676" y="482"/>
                    <a:pt x="747" y="412"/>
                    <a:pt x="747" y="325"/>
                  </a:cubicBezTo>
                  <a:cubicBezTo>
                    <a:pt x="747" y="238"/>
                    <a:pt x="676" y="167"/>
                    <a:pt x="589" y="167"/>
                  </a:cubicBezTo>
                  <a:cubicBezTo>
                    <a:pt x="589" y="167"/>
                    <a:pt x="589" y="167"/>
                    <a:pt x="589" y="167"/>
                  </a:cubicBezTo>
                  <a:cubicBezTo>
                    <a:pt x="589" y="75"/>
                    <a:pt x="514" y="0"/>
                    <a:pt x="422" y="0"/>
                  </a:cubicBezTo>
                  <a:cubicBezTo>
                    <a:pt x="354" y="0"/>
                    <a:pt x="296" y="41"/>
                    <a:pt x="270" y="99"/>
                  </a:cubicBezTo>
                </a:path>
              </a:pathLst>
            </a:custGeom>
            <a:gradFill>
              <a:gsLst>
                <a:gs pos="50000">
                  <a:srgbClr val="097DBC"/>
                </a:gs>
                <a:gs pos="0">
                  <a:srgbClr val="004BAF"/>
                </a:gs>
                <a:gs pos="100000">
                  <a:schemeClr val="accent1"/>
                </a:gs>
              </a:gsLst>
              <a:lin ang="16200000" scaled="1"/>
            </a:gra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700"/>
            </a:p>
          </p:txBody>
        </p:sp>
        <p:grpSp>
          <p:nvGrpSpPr>
            <p:cNvPr id="206" name="Group 205"/>
            <p:cNvGrpSpPr/>
            <p:nvPr/>
          </p:nvGrpSpPr>
          <p:grpSpPr>
            <a:xfrm>
              <a:off x="3976967" y="1492071"/>
              <a:ext cx="280757" cy="277228"/>
              <a:chOff x="3976967" y="1492071"/>
              <a:chExt cx="280757" cy="277228"/>
            </a:xfrm>
          </p:grpSpPr>
          <p:sp>
            <p:nvSpPr>
              <p:cNvPr id="207" name="Freeform 264"/>
              <p:cNvSpPr>
                <a:spLocks noEditPoints="1"/>
              </p:cNvSpPr>
              <p:nvPr/>
            </p:nvSpPr>
            <p:spPr bwMode="auto">
              <a:xfrm>
                <a:off x="4006706" y="1521811"/>
                <a:ext cx="41332" cy="41332"/>
              </a:xfrm>
              <a:custGeom>
                <a:avLst/>
                <a:gdLst>
                  <a:gd name="T0" fmla="*/ 17 w 35"/>
                  <a:gd name="T1" fmla="*/ 0 h 35"/>
                  <a:gd name="T2" fmla="*/ 0 w 35"/>
                  <a:gd name="T3" fmla="*/ 18 h 35"/>
                  <a:gd name="T4" fmla="*/ 17 w 35"/>
                  <a:gd name="T5" fmla="*/ 35 h 35"/>
                  <a:gd name="T6" fmla="*/ 35 w 35"/>
                  <a:gd name="T7" fmla="*/ 18 h 35"/>
                  <a:gd name="T8" fmla="*/ 17 w 35"/>
                  <a:gd name="T9" fmla="*/ 0 h 35"/>
                  <a:gd name="T10" fmla="*/ 17 w 35"/>
                  <a:gd name="T11" fmla="*/ 27 h 35"/>
                  <a:gd name="T12" fmla="*/ 8 w 35"/>
                  <a:gd name="T13" fmla="*/ 18 h 35"/>
                  <a:gd name="T14" fmla="*/ 17 w 35"/>
                  <a:gd name="T15" fmla="*/ 8 h 35"/>
                  <a:gd name="T16" fmla="*/ 27 w 35"/>
                  <a:gd name="T17" fmla="*/ 18 h 35"/>
                  <a:gd name="T18" fmla="*/ 17 w 35"/>
                  <a:gd name="T19"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0"/>
                    </a:moveTo>
                    <a:cubicBezTo>
                      <a:pt x="8" y="0"/>
                      <a:pt x="0" y="8"/>
                      <a:pt x="0" y="18"/>
                    </a:cubicBezTo>
                    <a:cubicBezTo>
                      <a:pt x="0" y="27"/>
                      <a:pt x="8" y="35"/>
                      <a:pt x="17" y="35"/>
                    </a:cubicBezTo>
                    <a:cubicBezTo>
                      <a:pt x="27" y="35"/>
                      <a:pt x="35" y="27"/>
                      <a:pt x="35" y="18"/>
                    </a:cubicBezTo>
                    <a:cubicBezTo>
                      <a:pt x="35" y="8"/>
                      <a:pt x="27" y="0"/>
                      <a:pt x="17" y="0"/>
                    </a:cubicBezTo>
                    <a:moveTo>
                      <a:pt x="17" y="27"/>
                    </a:moveTo>
                    <a:cubicBezTo>
                      <a:pt x="12" y="27"/>
                      <a:pt x="8" y="23"/>
                      <a:pt x="8" y="18"/>
                    </a:cubicBezTo>
                    <a:cubicBezTo>
                      <a:pt x="8" y="12"/>
                      <a:pt x="12" y="8"/>
                      <a:pt x="17" y="8"/>
                    </a:cubicBezTo>
                    <a:cubicBezTo>
                      <a:pt x="23" y="8"/>
                      <a:pt x="27" y="12"/>
                      <a:pt x="27" y="18"/>
                    </a:cubicBezTo>
                    <a:cubicBezTo>
                      <a:pt x="27" y="23"/>
                      <a:pt x="23" y="27"/>
                      <a:pt x="17"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265"/>
              <p:cNvSpPr>
                <a:spLocks noEditPoints="1"/>
              </p:cNvSpPr>
              <p:nvPr/>
            </p:nvSpPr>
            <p:spPr bwMode="auto">
              <a:xfrm>
                <a:off x="4004186" y="1519290"/>
                <a:ext cx="46373" cy="46373"/>
              </a:xfrm>
              <a:custGeom>
                <a:avLst/>
                <a:gdLst>
                  <a:gd name="T0" fmla="*/ 19 w 39"/>
                  <a:gd name="T1" fmla="*/ 39 h 39"/>
                  <a:gd name="T2" fmla="*/ 0 w 39"/>
                  <a:gd name="T3" fmla="*/ 20 h 39"/>
                  <a:gd name="T4" fmla="*/ 19 w 39"/>
                  <a:gd name="T5" fmla="*/ 0 h 39"/>
                  <a:gd name="T6" fmla="*/ 39 w 39"/>
                  <a:gd name="T7" fmla="*/ 20 h 39"/>
                  <a:gd name="T8" fmla="*/ 19 w 39"/>
                  <a:gd name="T9" fmla="*/ 39 h 39"/>
                  <a:gd name="T10" fmla="*/ 19 w 39"/>
                  <a:gd name="T11" fmla="*/ 4 h 39"/>
                  <a:gd name="T12" fmla="*/ 4 w 39"/>
                  <a:gd name="T13" fmla="*/ 20 h 39"/>
                  <a:gd name="T14" fmla="*/ 19 w 39"/>
                  <a:gd name="T15" fmla="*/ 35 h 39"/>
                  <a:gd name="T16" fmla="*/ 35 w 39"/>
                  <a:gd name="T17" fmla="*/ 20 h 39"/>
                  <a:gd name="T18" fmla="*/ 19 w 39"/>
                  <a:gd name="T19" fmla="*/ 4 h 39"/>
                  <a:gd name="T20" fmla="*/ 19 w 39"/>
                  <a:gd name="T21" fmla="*/ 31 h 39"/>
                  <a:gd name="T22" fmla="*/ 8 w 39"/>
                  <a:gd name="T23" fmla="*/ 20 h 39"/>
                  <a:gd name="T24" fmla="*/ 19 w 39"/>
                  <a:gd name="T25" fmla="*/ 8 h 39"/>
                  <a:gd name="T26" fmla="*/ 31 w 39"/>
                  <a:gd name="T27" fmla="*/ 20 h 39"/>
                  <a:gd name="T28" fmla="*/ 19 w 39"/>
                  <a:gd name="T29" fmla="*/ 31 h 39"/>
                  <a:gd name="T30" fmla="*/ 19 w 39"/>
                  <a:gd name="T31" fmla="*/ 12 h 39"/>
                  <a:gd name="T32" fmla="*/ 12 w 39"/>
                  <a:gd name="T33" fmla="*/ 20 h 39"/>
                  <a:gd name="T34" fmla="*/ 19 w 39"/>
                  <a:gd name="T35" fmla="*/ 27 h 39"/>
                  <a:gd name="T36" fmla="*/ 27 w 39"/>
                  <a:gd name="T37" fmla="*/ 20 h 39"/>
                  <a:gd name="T38" fmla="*/ 19 w 39"/>
                  <a:gd name="T39" fmla="*/ 1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9">
                    <a:moveTo>
                      <a:pt x="19" y="39"/>
                    </a:moveTo>
                    <a:cubicBezTo>
                      <a:pt x="9" y="39"/>
                      <a:pt x="0" y="30"/>
                      <a:pt x="0" y="20"/>
                    </a:cubicBezTo>
                    <a:cubicBezTo>
                      <a:pt x="0" y="9"/>
                      <a:pt x="9" y="0"/>
                      <a:pt x="19" y="0"/>
                    </a:cubicBezTo>
                    <a:cubicBezTo>
                      <a:pt x="30" y="0"/>
                      <a:pt x="39" y="9"/>
                      <a:pt x="39" y="20"/>
                    </a:cubicBezTo>
                    <a:cubicBezTo>
                      <a:pt x="39" y="30"/>
                      <a:pt x="30" y="39"/>
                      <a:pt x="19" y="39"/>
                    </a:cubicBezTo>
                    <a:moveTo>
                      <a:pt x="19" y="4"/>
                    </a:moveTo>
                    <a:cubicBezTo>
                      <a:pt x="11" y="4"/>
                      <a:pt x="4" y="11"/>
                      <a:pt x="4" y="20"/>
                    </a:cubicBezTo>
                    <a:cubicBezTo>
                      <a:pt x="4" y="28"/>
                      <a:pt x="11" y="35"/>
                      <a:pt x="19" y="35"/>
                    </a:cubicBezTo>
                    <a:cubicBezTo>
                      <a:pt x="28" y="35"/>
                      <a:pt x="35" y="28"/>
                      <a:pt x="35" y="20"/>
                    </a:cubicBezTo>
                    <a:cubicBezTo>
                      <a:pt x="35" y="11"/>
                      <a:pt x="28" y="4"/>
                      <a:pt x="19" y="4"/>
                    </a:cubicBezTo>
                    <a:moveTo>
                      <a:pt x="19" y="31"/>
                    </a:moveTo>
                    <a:cubicBezTo>
                      <a:pt x="13" y="31"/>
                      <a:pt x="8" y="26"/>
                      <a:pt x="8" y="20"/>
                    </a:cubicBezTo>
                    <a:cubicBezTo>
                      <a:pt x="8" y="13"/>
                      <a:pt x="13" y="8"/>
                      <a:pt x="19" y="8"/>
                    </a:cubicBezTo>
                    <a:cubicBezTo>
                      <a:pt x="26" y="8"/>
                      <a:pt x="31" y="13"/>
                      <a:pt x="31" y="20"/>
                    </a:cubicBezTo>
                    <a:cubicBezTo>
                      <a:pt x="31" y="26"/>
                      <a:pt x="26" y="31"/>
                      <a:pt x="19" y="31"/>
                    </a:cubicBezTo>
                    <a:moveTo>
                      <a:pt x="19" y="12"/>
                    </a:moveTo>
                    <a:cubicBezTo>
                      <a:pt x="15" y="12"/>
                      <a:pt x="12" y="15"/>
                      <a:pt x="12" y="20"/>
                    </a:cubicBezTo>
                    <a:cubicBezTo>
                      <a:pt x="12" y="24"/>
                      <a:pt x="15" y="27"/>
                      <a:pt x="19" y="27"/>
                    </a:cubicBezTo>
                    <a:cubicBezTo>
                      <a:pt x="24" y="27"/>
                      <a:pt x="27" y="24"/>
                      <a:pt x="27" y="20"/>
                    </a:cubicBezTo>
                    <a:cubicBezTo>
                      <a:pt x="27" y="15"/>
                      <a:pt x="24" y="12"/>
                      <a:pt x="19"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266"/>
              <p:cNvSpPr>
                <a:spLocks noEditPoints="1"/>
              </p:cNvSpPr>
              <p:nvPr/>
            </p:nvSpPr>
            <p:spPr bwMode="auto">
              <a:xfrm>
                <a:off x="3978983" y="1494088"/>
                <a:ext cx="276220" cy="272692"/>
              </a:xfrm>
              <a:custGeom>
                <a:avLst/>
                <a:gdLst>
                  <a:gd name="T0" fmla="*/ 232 w 232"/>
                  <a:gd name="T1" fmla="*/ 63 h 229"/>
                  <a:gd name="T2" fmla="*/ 232 w 232"/>
                  <a:gd name="T3" fmla="*/ 18 h 229"/>
                  <a:gd name="T4" fmla="*/ 215 w 232"/>
                  <a:gd name="T5" fmla="*/ 0 h 229"/>
                  <a:gd name="T6" fmla="*/ 18 w 232"/>
                  <a:gd name="T7" fmla="*/ 0 h 229"/>
                  <a:gd name="T8" fmla="*/ 0 w 232"/>
                  <a:gd name="T9" fmla="*/ 18 h 229"/>
                  <a:gd name="T10" fmla="*/ 0 w 232"/>
                  <a:gd name="T11" fmla="*/ 63 h 229"/>
                  <a:gd name="T12" fmla="*/ 7 w 232"/>
                  <a:gd name="T13" fmla="*/ 77 h 229"/>
                  <a:gd name="T14" fmla="*/ 0 w 232"/>
                  <a:gd name="T15" fmla="*/ 91 h 229"/>
                  <a:gd name="T16" fmla="*/ 0 w 232"/>
                  <a:gd name="T17" fmla="*/ 137 h 229"/>
                  <a:gd name="T18" fmla="*/ 7 w 232"/>
                  <a:gd name="T19" fmla="*/ 151 h 229"/>
                  <a:gd name="T20" fmla="*/ 0 w 232"/>
                  <a:gd name="T21" fmla="*/ 165 h 229"/>
                  <a:gd name="T22" fmla="*/ 0 w 232"/>
                  <a:gd name="T23" fmla="*/ 211 h 229"/>
                  <a:gd name="T24" fmla="*/ 18 w 232"/>
                  <a:gd name="T25" fmla="*/ 229 h 229"/>
                  <a:gd name="T26" fmla="*/ 215 w 232"/>
                  <a:gd name="T27" fmla="*/ 229 h 229"/>
                  <a:gd name="T28" fmla="*/ 232 w 232"/>
                  <a:gd name="T29" fmla="*/ 211 h 229"/>
                  <a:gd name="T30" fmla="*/ 232 w 232"/>
                  <a:gd name="T31" fmla="*/ 165 h 229"/>
                  <a:gd name="T32" fmla="*/ 226 w 232"/>
                  <a:gd name="T33" fmla="*/ 151 h 229"/>
                  <a:gd name="T34" fmla="*/ 232 w 232"/>
                  <a:gd name="T35" fmla="*/ 137 h 229"/>
                  <a:gd name="T36" fmla="*/ 232 w 232"/>
                  <a:gd name="T37" fmla="*/ 91 h 229"/>
                  <a:gd name="T38" fmla="*/ 226 w 232"/>
                  <a:gd name="T39" fmla="*/ 77 h 229"/>
                  <a:gd name="T40" fmla="*/ 232 w 232"/>
                  <a:gd name="T41" fmla="*/ 63 h 229"/>
                  <a:gd name="T42" fmla="*/ 225 w 232"/>
                  <a:gd name="T43" fmla="*/ 165 h 229"/>
                  <a:gd name="T44" fmla="*/ 225 w 232"/>
                  <a:gd name="T45" fmla="*/ 211 h 229"/>
                  <a:gd name="T46" fmla="*/ 215 w 232"/>
                  <a:gd name="T47" fmla="*/ 221 h 229"/>
                  <a:gd name="T48" fmla="*/ 18 w 232"/>
                  <a:gd name="T49" fmla="*/ 221 h 229"/>
                  <a:gd name="T50" fmla="*/ 7 w 232"/>
                  <a:gd name="T51" fmla="*/ 211 h 229"/>
                  <a:gd name="T52" fmla="*/ 7 w 232"/>
                  <a:gd name="T53" fmla="*/ 165 h 229"/>
                  <a:gd name="T54" fmla="*/ 18 w 232"/>
                  <a:gd name="T55" fmla="*/ 155 h 229"/>
                  <a:gd name="T56" fmla="*/ 215 w 232"/>
                  <a:gd name="T57" fmla="*/ 155 h 229"/>
                  <a:gd name="T58" fmla="*/ 225 w 232"/>
                  <a:gd name="T59" fmla="*/ 165 h 229"/>
                  <a:gd name="T60" fmla="*/ 225 w 232"/>
                  <a:gd name="T61" fmla="*/ 91 h 229"/>
                  <a:gd name="T62" fmla="*/ 225 w 232"/>
                  <a:gd name="T63" fmla="*/ 137 h 229"/>
                  <a:gd name="T64" fmla="*/ 215 w 232"/>
                  <a:gd name="T65" fmla="*/ 147 h 229"/>
                  <a:gd name="T66" fmla="*/ 18 w 232"/>
                  <a:gd name="T67" fmla="*/ 147 h 229"/>
                  <a:gd name="T68" fmla="*/ 7 w 232"/>
                  <a:gd name="T69" fmla="*/ 137 h 229"/>
                  <a:gd name="T70" fmla="*/ 7 w 232"/>
                  <a:gd name="T71" fmla="*/ 91 h 229"/>
                  <a:gd name="T72" fmla="*/ 18 w 232"/>
                  <a:gd name="T73" fmla="*/ 81 h 229"/>
                  <a:gd name="T74" fmla="*/ 215 w 232"/>
                  <a:gd name="T75" fmla="*/ 81 h 229"/>
                  <a:gd name="T76" fmla="*/ 225 w 232"/>
                  <a:gd name="T77" fmla="*/ 91 h 229"/>
                  <a:gd name="T78" fmla="*/ 18 w 232"/>
                  <a:gd name="T79" fmla="*/ 74 h 229"/>
                  <a:gd name="T80" fmla="*/ 7 w 232"/>
                  <a:gd name="T81" fmla="*/ 63 h 229"/>
                  <a:gd name="T82" fmla="*/ 7 w 232"/>
                  <a:gd name="T83" fmla="*/ 18 h 229"/>
                  <a:gd name="T84" fmla="*/ 18 w 232"/>
                  <a:gd name="T85" fmla="*/ 8 h 229"/>
                  <a:gd name="T86" fmla="*/ 215 w 232"/>
                  <a:gd name="T87" fmla="*/ 8 h 229"/>
                  <a:gd name="T88" fmla="*/ 225 w 232"/>
                  <a:gd name="T89" fmla="*/ 18 h 229"/>
                  <a:gd name="T90" fmla="*/ 225 w 232"/>
                  <a:gd name="T91" fmla="*/ 63 h 229"/>
                  <a:gd name="T92" fmla="*/ 215 w 232"/>
                  <a:gd name="T93" fmla="*/ 74 h 229"/>
                  <a:gd name="T94" fmla="*/ 18 w 232"/>
                  <a:gd name="T95" fmla="*/ 7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229">
                    <a:moveTo>
                      <a:pt x="232" y="63"/>
                    </a:moveTo>
                    <a:cubicBezTo>
                      <a:pt x="232" y="18"/>
                      <a:pt x="232" y="18"/>
                      <a:pt x="232" y="18"/>
                    </a:cubicBezTo>
                    <a:cubicBezTo>
                      <a:pt x="232" y="8"/>
                      <a:pt x="224" y="0"/>
                      <a:pt x="215" y="0"/>
                    </a:cubicBezTo>
                    <a:cubicBezTo>
                      <a:pt x="18" y="0"/>
                      <a:pt x="18" y="0"/>
                      <a:pt x="18" y="0"/>
                    </a:cubicBezTo>
                    <a:cubicBezTo>
                      <a:pt x="8" y="0"/>
                      <a:pt x="0" y="8"/>
                      <a:pt x="0" y="18"/>
                    </a:cubicBezTo>
                    <a:cubicBezTo>
                      <a:pt x="0" y="63"/>
                      <a:pt x="0" y="63"/>
                      <a:pt x="0" y="63"/>
                    </a:cubicBezTo>
                    <a:cubicBezTo>
                      <a:pt x="0" y="69"/>
                      <a:pt x="2" y="74"/>
                      <a:pt x="7" y="77"/>
                    </a:cubicBezTo>
                    <a:cubicBezTo>
                      <a:pt x="2" y="81"/>
                      <a:pt x="0" y="86"/>
                      <a:pt x="0" y="91"/>
                    </a:cubicBezTo>
                    <a:cubicBezTo>
                      <a:pt x="0" y="137"/>
                      <a:pt x="0" y="137"/>
                      <a:pt x="0" y="137"/>
                    </a:cubicBezTo>
                    <a:cubicBezTo>
                      <a:pt x="0" y="143"/>
                      <a:pt x="2" y="148"/>
                      <a:pt x="7" y="151"/>
                    </a:cubicBezTo>
                    <a:cubicBezTo>
                      <a:pt x="2" y="154"/>
                      <a:pt x="0" y="159"/>
                      <a:pt x="0" y="165"/>
                    </a:cubicBezTo>
                    <a:cubicBezTo>
                      <a:pt x="0" y="211"/>
                      <a:pt x="0" y="211"/>
                      <a:pt x="0" y="211"/>
                    </a:cubicBezTo>
                    <a:cubicBezTo>
                      <a:pt x="0" y="221"/>
                      <a:pt x="8" y="229"/>
                      <a:pt x="18" y="229"/>
                    </a:cubicBezTo>
                    <a:cubicBezTo>
                      <a:pt x="215" y="229"/>
                      <a:pt x="215" y="229"/>
                      <a:pt x="215" y="229"/>
                    </a:cubicBezTo>
                    <a:cubicBezTo>
                      <a:pt x="224" y="229"/>
                      <a:pt x="232" y="221"/>
                      <a:pt x="232" y="211"/>
                    </a:cubicBezTo>
                    <a:cubicBezTo>
                      <a:pt x="232" y="165"/>
                      <a:pt x="232" y="165"/>
                      <a:pt x="232" y="165"/>
                    </a:cubicBezTo>
                    <a:cubicBezTo>
                      <a:pt x="232" y="159"/>
                      <a:pt x="230" y="154"/>
                      <a:pt x="226" y="151"/>
                    </a:cubicBezTo>
                    <a:cubicBezTo>
                      <a:pt x="230" y="148"/>
                      <a:pt x="232" y="143"/>
                      <a:pt x="232" y="137"/>
                    </a:cubicBezTo>
                    <a:cubicBezTo>
                      <a:pt x="232" y="91"/>
                      <a:pt x="232" y="91"/>
                      <a:pt x="232" y="91"/>
                    </a:cubicBezTo>
                    <a:cubicBezTo>
                      <a:pt x="232" y="86"/>
                      <a:pt x="230" y="81"/>
                      <a:pt x="226" y="77"/>
                    </a:cubicBezTo>
                    <a:cubicBezTo>
                      <a:pt x="230" y="74"/>
                      <a:pt x="232" y="69"/>
                      <a:pt x="232" y="63"/>
                    </a:cubicBezTo>
                    <a:moveTo>
                      <a:pt x="225" y="165"/>
                    </a:moveTo>
                    <a:cubicBezTo>
                      <a:pt x="225" y="211"/>
                      <a:pt x="225" y="211"/>
                      <a:pt x="225" y="211"/>
                    </a:cubicBezTo>
                    <a:cubicBezTo>
                      <a:pt x="225" y="216"/>
                      <a:pt x="220" y="221"/>
                      <a:pt x="215" y="221"/>
                    </a:cubicBezTo>
                    <a:cubicBezTo>
                      <a:pt x="18" y="221"/>
                      <a:pt x="18" y="221"/>
                      <a:pt x="18" y="221"/>
                    </a:cubicBezTo>
                    <a:cubicBezTo>
                      <a:pt x="12" y="221"/>
                      <a:pt x="7" y="216"/>
                      <a:pt x="7" y="211"/>
                    </a:cubicBezTo>
                    <a:cubicBezTo>
                      <a:pt x="7" y="165"/>
                      <a:pt x="7" y="165"/>
                      <a:pt x="7" y="165"/>
                    </a:cubicBezTo>
                    <a:cubicBezTo>
                      <a:pt x="7" y="159"/>
                      <a:pt x="12" y="155"/>
                      <a:pt x="18" y="155"/>
                    </a:cubicBezTo>
                    <a:cubicBezTo>
                      <a:pt x="215" y="155"/>
                      <a:pt x="215" y="155"/>
                      <a:pt x="215" y="155"/>
                    </a:cubicBezTo>
                    <a:cubicBezTo>
                      <a:pt x="220" y="155"/>
                      <a:pt x="225" y="159"/>
                      <a:pt x="225" y="165"/>
                    </a:cubicBezTo>
                    <a:moveTo>
                      <a:pt x="225" y="91"/>
                    </a:moveTo>
                    <a:cubicBezTo>
                      <a:pt x="225" y="137"/>
                      <a:pt x="225" y="137"/>
                      <a:pt x="225" y="137"/>
                    </a:cubicBezTo>
                    <a:cubicBezTo>
                      <a:pt x="225" y="143"/>
                      <a:pt x="220" y="147"/>
                      <a:pt x="215" y="147"/>
                    </a:cubicBezTo>
                    <a:cubicBezTo>
                      <a:pt x="18" y="147"/>
                      <a:pt x="18" y="147"/>
                      <a:pt x="18" y="147"/>
                    </a:cubicBezTo>
                    <a:cubicBezTo>
                      <a:pt x="12" y="147"/>
                      <a:pt x="7" y="143"/>
                      <a:pt x="7" y="137"/>
                    </a:cubicBezTo>
                    <a:cubicBezTo>
                      <a:pt x="7" y="91"/>
                      <a:pt x="7" y="91"/>
                      <a:pt x="7" y="91"/>
                    </a:cubicBezTo>
                    <a:cubicBezTo>
                      <a:pt x="7" y="86"/>
                      <a:pt x="12" y="81"/>
                      <a:pt x="18" y="81"/>
                    </a:cubicBezTo>
                    <a:cubicBezTo>
                      <a:pt x="215" y="81"/>
                      <a:pt x="215" y="81"/>
                      <a:pt x="215" y="81"/>
                    </a:cubicBezTo>
                    <a:cubicBezTo>
                      <a:pt x="220" y="81"/>
                      <a:pt x="225" y="86"/>
                      <a:pt x="225" y="91"/>
                    </a:cubicBezTo>
                    <a:moveTo>
                      <a:pt x="18" y="74"/>
                    </a:moveTo>
                    <a:cubicBezTo>
                      <a:pt x="12" y="74"/>
                      <a:pt x="7" y="69"/>
                      <a:pt x="7" y="63"/>
                    </a:cubicBezTo>
                    <a:cubicBezTo>
                      <a:pt x="7" y="18"/>
                      <a:pt x="7" y="18"/>
                      <a:pt x="7" y="18"/>
                    </a:cubicBezTo>
                    <a:cubicBezTo>
                      <a:pt x="7" y="12"/>
                      <a:pt x="12" y="8"/>
                      <a:pt x="18" y="8"/>
                    </a:cubicBezTo>
                    <a:cubicBezTo>
                      <a:pt x="215" y="8"/>
                      <a:pt x="215" y="8"/>
                      <a:pt x="215" y="8"/>
                    </a:cubicBezTo>
                    <a:cubicBezTo>
                      <a:pt x="220" y="8"/>
                      <a:pt x="225" y="12"/>
                      <a:pt x="225" y="18"/>
                    </a:cubicBezTo>
                    <a:cubicBezTo>
                      <a:pt x="225" y="63"/>
                      <a:pt x="225" y="63"/>
                      <a:pt x="225" y="63"/>
                    </a:cubicBezTo>
                    <a:cubicBezTo>
                      <a:pt x="225" y="69"/>
                      <a:pt x="220" y="74"/>
                      <a:pt x="215" y="74"/>
                    </a:cubicBezTo>
                    <a:lnTo>
                      <a:pt x="18"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267"/>
              <p:cNvSpPr>
                <a:spLocks noEditPoints="1"/>
              </p:cNvSpPr>
              <p:nvPr/>
            </p:nvSpPr>
            <p:spPr bwMode="auto">
              <a:xfrm>
                <a:off x="3976967" y="1492071"/>
                <a:ext cx="280757" cy="277228"/>
              </a:xfrm>
              <a:custGeom>
                <a:avLst/>
                <a:gdLst>
                  <a:gd name="T0" fmla="*/ 20 w 236"/>
                  <a:gd name="T1" fmla="*/ 233 h 233"/>
                  <a:gd name="T2" fmla="*/ 0 w 236"/>
                  <a:gd name="T3" fmla="*/ 167 h 233"/>
                  <a:gd name="T4" fmla="*/ 0 w 236"/>
                  <a:gd name="T5" fmla="*/ 139 h 233"/>
                  <a:gd name="T6" fmla="*/ 5 w 236"/>
                  <a:gd name="T7" fmla="*/ 79 h 233"/>
                  <a:gd name="T8" fmla="*/ 0 w 236"/>
                  <a:gd name="T9" fmla="*/ 20 h 233"/>
                  <a:gd name="T10" fmla="*/ 217 w 236"/>
                  <a:gd name="T11" fmla="*/ 0 h 233"/>
                  <a:gd name="T12" fmla="*/ 236 w 236"/>
                  <a:gd name="T13" fmla="*/ 65 h 233"/>
                  <a:gd name="T14" fmla="*/ 236 w 236"/>
                  <a:gd name="T15" fmla="*/ 93 h 233"/>
                  <a:gd name="T16" fmla="*/ 231 w 236"/>
                  <a:gd name="T17" fmla="*/ 153 h 233"/>
                  <a:gd name="T18" fmla="*/ 236 w 236"/>
                  <a:gd name="T19" fmla="*/ 213 h 233"/>
                  <a:gd name="T20" fmla="*/ 20 w 236"/>
                  <a:gd name="T21" fmla="*/ 4 h 233"/>
                  <a:gd name="T22" fmla="*/ 4 w 236"/>
                  <a:gd name="T23" fmla="*/ 65 h 233"/>
                  <a:gd name="T24" fmla="*/ 12 w 236"/>
                  <a:gd name="T25" fmla="*/ 79 h 233"/>
                  <a:gd name="T26" fmla="*/ 4 w 236"/>
                  <a:gd name="T27" fmla="*/ 93 h 233"/>
                  <a:gd name="T28" fmla="*/ 10 w 236"/>
                  <a:gd name="T29" fmla="*/ 151 h 233"/>
                  <a:gd name="T30" fmla="*/ 10 w 236"/>
                  <a:gd name="T31" fmla="*/ 155 h 233"/>
                  <a:gd name="T32" fmla="*/ 4 w 236"/>
                  <a:gd name="T33" fmla="*/ 213 h 233"/>
                  <a:gd name="T34" fmla="*/ 217 w 236"/>
                  <a:gd name="T35" fmla="*/ 229 h 233"/>
                  <a:gd name="T36" fmla="*/ 232 w 236"/>
                  <a:gd name="T37" fmla="*/ 167 h 233"/>
                  <a:gd name="T38" fmla="*/ 224 w 236"/>
                  <a:gd name="T39" fmla="*/ 153 h 233"/>
                  <a:gd name="T40" fmla="*/ 232 w 236"/>
                  <a:gd name="T41" fmla="*/ 139 h 233"/>
                  <a:gd name="T42" fmla="*/ 226 w 236"/>
                  <a:gd name="T43" fmla="*/ 81 h 233"/>
                  <a:gd name="T44" fmla="*/ 226 w 236"/>
                  <a:gd name="T45" fmla="*/ 78 h 233"/>
                  <a:gd name="T46" fmla="*/ 232 w 236"/>
                  <a:gd name="T47" fmla="*/ 20 h 233"/>
                  <a:gd name="T48" fmla="*/ 20 w 236"/>
                  <a:gd name="T49" fmla="*/ 4 h 233"/>
                  <a:gd name="T50" fmla="*/ 11 w 236"/>
                  <a:gd name="T51" fmla="*/ 221 h 233"/>
                  <a:gd name="T52" fmla="*/ 7 w 236"/>
                  <a:gd name="T53" fmla="*/ 167 h 233"/>
                  <a:gd name="T54" fmla="*/ 217 w 236"/>
                  <a:gd name="T55" fmla="*/ 155 h 233"/>
                  <a:gd name="T56" fmla="*/ 229 w 236"/>
                  <a:gd name="T57" fmla="*/ 213 h 233"/>
                  <a:gd name="T58" fmla="*/ 20 w 236"/>
                  <a:gd name="T59" fmla="*/ 225 h 233"/>
                  <a:gd name="T60" fmla="*/ 12 w 236"/>
                  <a:gd name="T61" fmla="*/ 167 h 233"/>
                  <a:gd name="T62" fmla="*/ 14 w 236"/>
                  <a:gd name="T63" fmla="*/ 218 h 233"/>
                  <a:gd name="T64" fmla="*/ 20 w 236"/>
                  <a:gd name="T65" fmla="*/ 221 h 233"/>
                  <a:gd name="T66" fmla="*/ 225 w 236"/>
                  <a:gd name="T67" fmla="*/ 213 h 233"/>
                  <a:gd name="T68" fmla="*/ 217 w 236"/>
                  <a:gd name="T69" fmla="*/ 159 h 233"/>
                  <a:gd name="T70" fmla="*/ 217 w 236"/>
                  <a:gd name="T71" fmla="*/ 151 h 233"/>
                  <a:gd name="T72" fmla="*/ 7 w 236"/>
                  <a:gd name="T73" fmla="*/ 139 h 233"/>
                  <a:gd name="T74" fmla="*/ 20 w 236"/>
                  <a:gd name="T75" fmla="*/ 81 h 233"/>
                  <a:gd name="T76" fmla="*/ 229 w 236"/>
                  <a:gd name="T77" fmla="*/ 93 h 233"/>
                  <a:gd name="T78" fmla="*/ 217 w 236"/>
                  <a:gd name="T79" fmla="*/ 151 h 233"/>
                  <a:gd name="T80" fmla="*/ 12 w 236"/>
                  <a:gd name="T81" fmla="*/ 93 h 233"/>
                  <a:gd name="T82" fmla="*/ 20 w 236"/>
                  <a:gd name="T83" fmla="*/ 147 h 233"/>
                  <a:gd name="T84" fmla="*/ 225 w 236"/>
                  <a:gd name="T85" fmla="*/ 139 h 233"/>
                  <a:gd name="T86" fmla="*/ 217 w 236"/>
                  <a:gd name="T87" fmla="*/ 85 h 233"/>
                  <a:gd name="T88" fmla="*/ 217 w 236"/>
                  <a:gd name="T89" fmla="*/ 78 h 233"/>
                  <a:gd name="T90" fmla="*/ 7 w 236"/>
                  <a:gd name="T91" fmla="*/ 65 h 233"/>
                  <a:gd name="T92" fmla="*/ 20 w 236"/>
                  <a:gd name="T93" fmla="*/ 7 h 233"/>
                  <a:gd name="T94" fmla="*/ 229 w 236"/>
                  <a:gd name="T95" fmla="*/ 20 h 233"/>
                  <a:gd name="T96" fmla="*/ 217 w 236"/>
                  <a:gd name="T97" fmla="*/ 78 h 233"/>
                  <a:gd name="T98" fmla="*/ 12 w 236"/>
                  <a:gd name="T99" fmla="*/ 20 h 233"/>
                  <a:gd name="T100" fmla="*/ 20 w 236"/>
                  <a:gd name="T101" fmla="*/ 73 h 233"/>
                  <a:gd name="T102" fmla="*/ 225 w 236"/>
                  <a:gd name="T103" fmla="*/ 65 h 233"/>
                  <a:gd name="T104" fmla="*/ 217 w 236"/>
                  <a:gd name="T105" fmla="*/ 1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6" h="233">
                    <a:moveTo>
                      <a:pt x="217" y="233"/>
                    </a:moveTo>
                    <a:cubicBezTo>
                      <a:pt x="20" y="233"/>
                      <a:pt x="20" y="233"/>
                      <a:pt x="20" y="233"/>
                    </a:cubicBezTo>
                    <a:cubicBezTo>
                      <a:pt x="9" y="233"/>
                      <a:pt x="0" y="224"/>
                      <a:pt x="0" y="213"/>
                    </a:cubicBezTo>
                    <a:cubicBezTo>
                      <a:pt x="0" y="167"/>
                      <a:pt x="0" y="167"/>
                      <a:pt x="0" y="167"/>
                    </a:cubicBezTo>
                    <a:cubicBezTo>
                      <a:pt x="0" y="162"/>
                      <a:pt x="2" y="157"/>
                      <a:pt x="5" y="153"/>
                    </a:cubicBezTo>
                    <a:cubicBezTo>
                      <a:pt x="2" y="149"/>
                      <a:pt x="0" y="144"/>
                      <a:pt x="0" y="139"/>
                    </a:cubicBezTo>
                    <a:cubicBezTo>
                      <a:pt x="0" y="93"/>
                      <a:pt x="0" y="93"/>
                      <a:pt x="0" y="93"/>
                    </a:cubicBezTo>
                    <a:cubicBezTo>
                      <a:pt x="0" y="88"/>
                      <a:pt x="2" y="83"/>
                      <a:pt x="5" y="79"/>
                    </a:cubicBezTo>
                    <a:cubicBezTo>
                      <a:pt x="2" y="76"/>
                      <a:pt x="0" y="71"/>
                      <a:pt x="0" y="65"/>
                    </a:cubicBezTo>
                    <a:cubicBezTo>
                      <a:pt x="0" y="20"/>
                      <a:pt x="0" y="20"/>
                      <a:pt x="0" y="20"/>
                    </a:cubicBezTo>
                    <a:cubicBezTo>
                      <a:pt x="0" y="9"/>
                      <a:pt x="9" y="0"/>
                      <a:pt x="20" y="0"/>
                    </a:cubicBezTo>
                    <a:cubicBezTo>
                      <a:pt x="217" y="0"/>
                      <a:pt x="217" y="0"/>
                      <a:pt x="217" y="0"/>
                    </a:cubicBezTo>
                    <a:cubicBezTo>
                      <a:pt x="228" y="0"/>
                      <a:pt x="236" y="9"/>
                      <a:pt x="236" y="20"/>
                    </a:cubicBezTo>
                    <a:cubicBezTo>
                      <a:pt x="236" y="65"/>
                      <a:pt x="236" y="65"/>
                      <a:pt x="236" y="65"/>
                    </a:cubicBezTo>
                    <a:cubicBezTo>
                      <a:pt x="236" y="71"/>
                      <a:pt x="234" y="76"/>
                      <a:pt x="231" y="79"/>
                    </a:cubicBezTo>
                    <a:cubicBezTo>
                      <a:pt x="234" y="83"/>
                      <a:pt x="236" y="88"/>
                      <a:pt x="236" y="93"/>
                    </a:cubicBezTo>
                    <a:cubicBezTo>
                      <a:pt x="236" y="139"/>
                      <a:pt x="236" y="139"/>
                      <a:pt x="236" y="139"/>
                    </a:cubicBezTo>
                    <a:cubicBezTo>
                      <a:pt x="236" y="144"/>
                      <a:pt x="234" y="149"/>
                      <a:pt x="231" y="153"/>
                    </a:cubicBezTo>
                    <a:cubicBezTo>
                      <a:pt x="234" y="157"/>
                      <a:pt x="236" y="162"/>
                      <a:pt x="236" y="167"/>
                    </a:cubicBezTo>
                    <a:cubicBezTo>
                      <a:pt x="236" y="213"/>
                      <a:pt x="236" y="213"/>
                      <a:pt x="236" y="213"/>
                    </a:cubicBezTo>
                    <a:cubicBezTo>
                      <a:pt x="236" y="224"/>
                      <a:pt x="228" y="233"/>
                      <a:pt x="217" y="233"/>
                    </a:cubicBezTo>
                    <a:moveTo>
                      <a:pt x="20" y="4"/>
                    </a:moveTo>
                    <a:cubicBezTo>
                      <a:pt x="11" y="4"/>
                      <a:pt x="4" y="11"/>
                      <a:pt x="4" y="20"/>
                    </a:cubicBezTo>
                    <a:cubicBezTo>
                      <a:pt x="4" y="65"/>
                      <a:pt x="4" y="65"/>
                      <a:pt x="4" y="65"/>
                    </a:cubicBezTo>
                    <a:cubicBezTo>
                      <a:pt x="4" y="70"/>
                      <a:pt x="6" y="75"/>
                      <a:pt x="10" y="78"/>
                    </a:cubicBezTo>
                    <a:cubicBezTo>
                      <a:pt x="12" y="79"/>
                      <a:pt x="12" y="79"/>
                      <a:pt x="12" y="79"/>
                    </a:cubicBezTo>
                    <a:cubicBezTo>
                      <a:pt x="10" y="81"/>
                      <a:pt x="10" y="81"/>
                      <a:pt x="10" y="81"/>
                    </a:cubicBezTo>
                    <a:cubicBezTo>
                      <a:pt x="6" y="84"/>
                      <a:pt x="4" y="89"/>
                      <a:pt x="4" y="93"/>
                    </a:cubicBezTo>
                    <a:cubicBezTo>
                      <a:pt x="4" y="139"/>
                      <a:pt x="4" y="139"/>
                      <a:pt x="4" y="139"/>
                    </a:cubicBezTo>
                    <a:cubicBezTo>
                      <a:pt x="4" y="144"/>
                      <a:pt x="6" y="148"/>
                      <a:pt x="10" y="151"/>
                    </a:cubicBezTo>
                    <a:cubicBezTo>
                      <a:pt x="12" y="153"/>
                      <a:pt x="12" y="153"/>
                      <a:pt x="12" y="153"/>
                    </a:cubicBezTo>
                    <a:cubicBezTo>
                      <a:pt x="10" y="155"/>
                      <a:pt x="10" y="155"/>
                      <a:pt x="10" y="155"/>
                    </a:cubicBezTo>
                    <a:cubicBezTo>
                      <a:pt x="6" y="158"/>
                      <a:pt x="4" y="162"/>
                      <a:pt x="4" y="167"/>
                    </a:cubicBezTo>
                    <a:cubicBezTo>
                      <a:pt x="4" y="213"/>
                      <a:pt x="4" y="213"/>
                      <a:pt x="4" y="213"/>
                    </a:cubicBezTo>
                    <a:cubicBezTo>
                      <a:pt x="4" y="221"/>
                      <a:pt x="11" y="229"/>
                      <a:pt x="20" y="229"/>
                    </a:cubicBezTo>
                    <a:cubicBezTo>
                      <a:pt x="217" y="229"/>
                      <a:pt x="217" y="229"/>
                      <a:pt x="217" y="229"/>
                    </a:cubicBezTo>
                    <a:cubicBezTo>
                      <a:pt x="225" y="229"/>
                      <a:pt x="232" y="221"/>
                      <a:pt x="232" y="213"/>
                    </a:cubicBezTo>
                    <a:cubicBezTo>
                      <a:pt x="232" y="167"/>
                      <a:pt x="232" y="167"/>
                      <a:pt x="232" y="167"/>
                    </a:cubicBezTo>
                    <a:cubicBezTo>
                      <a:pt x="232" y="162"/>
                      <a:pt x="230" y="158"/>
                      <a:pt x="226" y="155"/>
                    </a:cubicBezTo>
                    <a:cubicBezTo>
                      <a:pt x="224" y="153"/>
                      <a:pt x="224" y="153"/>
                      <a:pt x="224" y="153"/>
                    </a:cubicBezTo>
                    <a:cubicBezTo>
                      <a:pt x="226" y="151"/>
                      <a:pt x="226" y="151"/>
                      <a:pt x="226" y="151"/>
                    </a:cubicBezTo>
                    <a:cubicBezTo>
                      <a:pt x="230" y="148"/>
                      <a:pt x="232" y="144"/>
                      <a:pt x="232" y="139"/>
                    </a:cubicBezTo>
                    <a:cubicBezTo>
                      <a:pt x="232" y="93"/>
                      <a:pt x="232" y="93"/>
                      <a:pt x="232" y="93"/>
                    </a:cubicBezTo>
                    <a:cubicBezTo>
                      <a:pt x="232" y="89"/>
                      <a:pt x="230" y="84"/>
                      <a:pt x="226" y="81"/>
                    </a:cubicBezTo>
                    <a:cubicBezTo>
                      <a:pt x="224" y="79"/>
                      <a:pt x="224" y="79"/>
                      <a:pt x="224" y="79"/>
                    </a:cubicBezTo>
                    <a:cubicBezTo>
                      <a:pt x="226" y="78"/>
                      <a:pt x="226" y="78"/>
                      <a:pt x="226" y="78"/>
                    </a:cubicBezTo>
                    <a:cubicBezTo>
                      <a:pt x="230" y="75"/>
                      <a:pt x="232" y="70"/>
                      <a:pt x="232" y="65"/>
                    </a:cubicBezTo>
                    <a:cubicBezTo>
                      <a:pt x="232" y="20"/>
                      <a:pt x="232" y="20"/>
                      <a:pt x="232" y="20"/>
                    </a:cubicBezTo>
                    <a:cubicBezTo>
                      <a:pt x="232" y="11"/>
                      <a:pt x="225" y="4"/>
                      <a:pt x="217" y="4"/>
                    </a:cubicBezTo>
                    <a:lnTo>
                      <a:pt x="20" y="4"/>
                    </a:lnTo>
                    <a:close/>
                    <a:moveTo>
                      <a:pt x="20" y="225"/>
                    </a:moveTo>
                    <a:cubicBezTo>
                      <a:pt x="16" y="225"/>
                      <a:pt x="13" y="224"/>
                      <a:pt x="11" y="221"/>
                    </a:cubicBezTo>
                    <a:cubicBezTo>
                      <a:pt x="9" y="219"/>
                      <a:pt x="7" y="216"/>
                      <a:pt x="7" y="213"/>
                    </a:cubicBezTo>
                    <a:cubicBezTo>
                      <a:pt x="7" y="167"/>
                      <a:pt x="7" y="167"/>
                      <a:pt x="7" y="167"/>
                    </a:cubicBezTo>
                    <a:cubicBezTo>
                      <a:pt x="7" y="160"/>
                      <a:pt x="13" y="155"/>
                      <a:pt x="20" y="155"/>
                    </a:cubicBezTo>
                    <a:cubicBezTo>
                      <a:pt x="217" y="155"/>
                      <a:pt x="217" y="155"/>
                      <a:pt x="217" y="155"/>
                    </a:cubicBezTo>
                    <a:cubicBezTo>
                      <a:pt x="223" y="155"/>
                      <a:pt x="229" y="160"/>
                      <a:pt x="229" y="167"/>
                    </a:cubicBezTo>
                    <a:cubicBezTo>
                      <a:pt x="229" y="213"/>
                      <a:pt x="229" y="213"/>
                      <a:pt x="229" y="213"/>
                    </a:cubicBezTo>
                    <a:cubicBezTo>
                      <a:pt x="229" y="219"/>
                      <a:pt x="223" y="225"/>
                      <a:pt x="217" y="225"/>
                    </a:cubicBezTo>
                    <a:cubicBezTo>
                      <a:pt x="20" y="225"/>
                      <a:pt x="20" y="225"/>
                      <a:pt x="20" y="225"/>
                    </a:cubicBezTo>
                    <a:close/>
                    <a:moveTo>
                      <a:pt x="20" y="159"/>
                    </a:moveTo>
                    <a:cubicBezTo>
                      <a:pt x="15" y="159"/>
                      <a:pt x="12" y="163"/>
                      <a:pt x="12" y="167"/>
                    </a:cubicBezTo>
                    <a:cubicBezTo>
                      <a:pt x="12" y="213"/>
                      <a:pt x="12" y="213"/>
                      <a:pt x="12" y="213"/>
                    </a:cubicBezTo>
                    <a:cubicBezTo>
                      <a:pt x="12" y="215"/>
                      <a:pt x="12" y="217"/>
                      <a:pt x="14" y="218"/>
                    </a:cubicBezTo>
                    <a:cubicBezTo>
                      <a:pt x="15" y="220"/>
                      <a:pt x="17" y="221"/>
                      <a:pt x="20" y="221"/>
                    </a:cubicBezTo>
                    <a:cubicBezTo>
                      <a:pt x="20" y="221"/>
                      <a:pt x="20" y="221"/>
                      <a:pt x="20" y="221"/>
                    </a:cubicBezTo>
                    <a:cubicBezTo>
                      <a:pt x="217" y="221"/>
                      <a:pt x="217" y="221"/>
                      <a:pt x="217" y="221"/>
                    </a:cubicBezTo>
                    <a:cubicBezTo>
                      <a:pt x="221" y="221"/>
                      <a:pt x="225" y="217"/>
                      <a:pt x="225" y="213"/>
                    </a:cubicBezTo>
                    <a:cubicBezTo>
                      <a:pt x="225" y="167"/>
                      <a:pt x="225" y="167"/>
                      <a:pt x="225" y="167"/>
                    </a:cubicBezTo>
                    <a:cubicBezTo>
                      <a:pt x="225" y="163"/>
                      <a:pt x="221" y="159"/>
                      <a:pt x="217" y="159"/>
                    </a:cubicBezTo>
                    <a:lnTo>
                      <a:pt x="20" y="159"/>
                    </a:lnTo>
                    <a:close/>
                    <a:moveTo>
                      <a:pt x="217" y="151"/>
                    </a:moveTo>
                    <a:cubicBezTo>
                      <a:pt x="20" y="151"/>
                      <a:pt x="20" y="151"/>
                      <a:pt x="20" y="151"/>
                    </a:cubicBezTo>
                    <a:cubicBezTo>
                      <a:pt x="13" y="151"/>
                      <a:pt x="7" y="146"/>
                      <a:pt x="7" y="139"/>
                    </a:cubicBezTo>
                    <a:cubicBezTo>
                      <a:pt x="7" y="93"/>
                      <a:pt x="7" y="93"/>
                      <a:pt x="7" y="93"/>
                    </a:cubicBezTo>
                    <a:cubicBezTo>
                      <a:pt x="7" y="87"/>
                      <a:pt x="13" y="81"/>
                      <a:pt x="20" y="81"/>
                    </a:cubicBezTo>
                    <a:cubicBezTo>
                      <a:pt x="217" y="81"/>
                      <a:pt x="217" y="81"/>
                      <a:pt x="217" y="81"/>
                    </a:cubicBezTo>
                    <a:cubicBezTo>
                      <a:pt x="223" y="81"/>
                      <a:pt x="229" y="87"/>
                      <a:pt x="229" y="93"/>
                    </a:cubicBezTo>
                    <a:cubicBezTo>
                      <a:pt x="229" y="139"/>
                      <a:pt x="229" y="139"/>
                      <a:pt x="229" y="139"/>
                    </a:cubicBezTo>
                    <a:cubicBezTo>
                      <a:pt x="229" y="146"/>
                      <a:pt x="223" y="151"/>
                      <a:pt x="217" y="151"/>
                    </a:cubicBezTo>
                    <a:moveTo>
                      <a:pt x="20" y="85"/>
                    </a:moveTo>
                    <a:cubicBezTo>
                      <a:pt x="15" y="85"/>
                      <a:pt x="12" y="89"/>
                      <a:pt x="12" y="93"/>
                    </a:cubicBezTo>
                    <a:cubicBezTo>
                      <a:pt x="12" y="139"/>
                      <a:pt x="12" y="139"/>
                      <a:pt x="12" y="139"/>
                    </a:cubicBezTo>
                    <a:cubicBezTo>
                      <a:pt x="12" y="143"/>
                      <a:pt x="15" y="147"/>
                      <a:pt x="20" y="147"/>
                    </a:cubicBezTo>
                    <a:cubicBezTo>
                      <a:pt x="217" y="147"/>
                      <a:pt x="217" y="147"/>
                      <a:pt x="217" y="147"/>
                    </a:cubicBezTo>
                    <a:cubicBezTo>
                      <a:pt x="221" y="147"/>
                      <a:pt x="225" y="143"/>
                      <a:pt x="225" y="139"/>
                    </a:cubicBezTo>
                    <a:cubicBezTo>
                      <a:pt x="225" y="93"/>
                      <a:pt x="225" y="93"/>
                      <a:pt x="225" y="93"/>
                    </a:cubicBezTo>
                    <a:cubicBezTo>
                      <a:pt x="225" y="89"/>
                      <a:pt x="221" y="85"/>
                      <a:pt x="217" y="85"/>
                    </a:cubicBezTo>
                    <a:lnTo>
                      <a:pt x="20" y="85"/>
                    </a:lnTo>
                    <a:close/>
                    <a:moveTo>
                      <a:pt x="217" y="78"/>
                    </a:moveTo>
                    <a:cubicBezTo>
                      <a:pt x="20" y="78"/>
                      <a:pt x="20" y="78"/>
                      <a:pt x="20" y="78"/>
                    </a:cubicBezTo>
                    <a:cubicBezTo>
                      <a:pt x="13" y="78"/>
                      <a:pt x="7" y="72"/>
                      <a:pt x="7" y="65"/>
                    </a:cubicBezTo>
                    <a:cubicBezTo>
                      <a:pt x="7" y="20"/>
                      <a:pt x="7" y="20"/>
                      <a:pt x="7" y="20"/>
                    </a:cubicBezTo>
                    <a:cubicBezTo>
                      <a:pt x="7" y="13"/>
                      <a:pt x="13" y="7"/>
                      <a:pt x="20" y="7"/>
                    </a:cubicBezTo>
                    <a:cubicBezTo>
                      <a:pt x="217" y="7"/>
                      <a:pt x="217" y="7"/>
                      <a:pt x="217" y="7"/>
                    </a:cubicBezTo>
                    <a:cubicBezTo>
                      <a:pt x="223" y="7"/>
                      <a:pt x="229" y="13"/>
                      <a:pt x="229" y="20"/>
                    </a:cubicBezTo>
                    <a:cubicBezTo>
                      <a:pt x="229" y="65"/>
                      <a:pt x="229" y="65"/>
                      <a:pt x="229" y="65"/>
                    </a:cubicBezTo>
                    <a:cubicBezTo>
                      <a:pt x="229" y="72"/>
                      <a:pt x="223" y="78"/>
                      <a:pt x="217" y="78"/>
                    </a:cubicBezTo>
                    <a:moveTo>
                      <a:pt x="20" y="12"/>
                    </a:moveTo>
                    <a:cubicBezTo>
                      <a:pt x="15" y="12"/>
                      <a:pt x="12" y="15"/>
                      <a:pt x="12" y="20"/>
                    </a:cubicBezTo>
                    <a:cubicBezTo>
                      <a:pt x="12" y="65"/>
                      <a:pt x="12" y="65"/>
                      <a:pt x="12" y="65"/>
                    </a:cubicBezTo>
                    <a:cubicBezTo>
                      <a:pt x="12" y="70"/>
                      <a:pt x="15" y="73"/>
                      <a:pt x="20" y="73"/>
                    </a:cubicBezTo>
                    <a:cubicBezTo>
                      <a:pt x="217" y="73"/>
                      <a:pt x="217" y="73"/>
                      <a:pt x="217" y="73"/>
                    </a:cubicBezTo>
                    <a:cubicBezTo>
                      <a:pt x="221" y="73"/>
                      <a:pt x="225" y="70"/>
                      <a:pt x="225" y="65"/>
                    </a:cubicBezTo>
                    <a:cubicBezTo>
                      <a:pt x="225" y="20"/>
                      <a:pt x="225" y="20"/>
                      <a:pt x="225" y="20"/>
                    </a:cubicBezTo>
                    <a:cubicBezTo>
                      <a:pt x="225" y="15"/>
                      <a:pt x="221" y="12"/>
                      <a:pt x="217" y="12"/>
                    </a:cubicBezTo>
                    <a:lnTo>
                      <a:pt x="2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268"/>
              <p:cNvSpPr>
                <a:spLocks noEditPoints="1"/>
              </p:cNvSpPr>
              <p:nvPr/>
            </p:nvSpPr>
            <p:spPr bwMode="auto">
              <a:xfrm>
                <a:off x="4006706" y="1609516"/>
                <a:ext cx="41332" cy="41836"/>
              </a:xfrm>
              <a:custGeom>
                <a:avLst/>
                <a:gdLst>
                  <a:gd name="T0" fmla="*/ 17 w 35"/>
                  <a:gd name="T1" fmla="*/ 35 h 35"/>
                  <a:gd name="T2" fmla="*/ 35 w 35"/>
                  <a:gd name="T3" fmla="*/ 17 h 35"/>
                  <a:gd name="T4" fmla="*/ 17 w 35"/>
                  <a:gd name="T5" fmla="*/ 0 h 35"/>
                  <a:gd name="T6" fmla="*/ 0 w 35"/>
                  <a:gd name="T7" fmla="*/ 17 h 35"/>
                  <a:gd name="T8" fmla="*/ 17 w 35"/>
                  <a:gd name="T9" fmla="*/ 35 h 35"/>
                  <a:gd name="T10" fmla="*/ 17 w 35"/>
                  <a:gd name="T11" fmla="*/ 8 h 35"/>
                  <a:gd name="T12" fmla="*/ 27 w 35"/>
                  <a:gd name="T13" fmla="*/ 17 h 35"/>
                  <a:gd name="T14" fmla="*/ 17 w 35"/>
                  <a:gd name="T15" fmla="*/ 27 h 35"/>
                  <a:gd name="T16" fmla="*/ 8 w 35"/>
                  <a:gd name="T17" fmla="*/ 17 h 35"/>
                  <a:gd name="T18" fmla="*/ 17 w 35"/>
                  <a:gd name="T19"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35"/>
                    </a:moveTo>
                    <a:cubicBezTo>
                      <a:pt x="27" y="35"/>
                      <a:pt x="35" y="27"/>
                      <a:pt x="35" y="17"/>
                    </a:cubicBezTo>
                    <a:cubicBezTo>
                      <a:pt x="35" y="8"/>
                      <a:pt x="27" y="0"/>
                      <a:pt x="17" y="0"/>
                    </a:cubicBezTo>
                    <a:cubicBezTo>
                      <a:pt x="8" y="0"/>
                      <a:pt x="0" y="8"/>
                      <a:pt x="0" y="17"/>
                    </a:cubicBezTo>
                    <a:cubicBezTo>
                      <a:pt x="0" y="27"/>
                      <a:pt x="8" y="35"/>
                      <a:pt x="17" y="35"/>
                    </a:cubicBezTo>
                    <a:moveTo>
                      <a:pt x="17" y="8"/>
                    </a:moveTo>
                    <a:cubicBezTo>
                      <a:pt x="23" y="8"/>
                      <a:pt x="27" y="12"/>
                      <a:pt x="27" y="17"/>
                    </a:cubicBezTo>
                    <a:cubicBezTo>
                      <a:pt x="27" y="23"/>
                      <a:pt x="23" y="27"/>
                      <a:pt x="17" y="27"/>
                    </a:cubicBezTo>
                    <a:cubicBezTo>
                      <a:pt x="12" y="27"/>
                      <a:pt x="8" y="23"/>
                      <a:pt x="8" y="17"/>
                    </a:cubicBezTo>
                    <a:cubicBezTo>
                      <a:pt x="8" y="12"/>
                      <a:pt x="12" y="8"/>
                      <a:pt x="17"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269"/>
              <p:cNvSpPr>
                <a:spLocks noEditPoints="1"/>
              </p:cNvSpPr>
              <p:nvPr/>
            </p:nvSpPr>
            <p:spPr bwMode="auto">
              <a:xfrm>
                <a:off x="4004186" y="1607499"/>
                <a:ext cx="46373" cy="46373"/>
              </a:xfrm>
              <a:custGeom>
                <a:avLst/>
                <a:gdLst>
                  <a:gd name="T0" fmla="*/ 19 w 39"/>
                  <a:gd name="T1" fmla="*/ 39 h 39"/>
                  <a:gd name="T2" fmla="*/ 0 w 39"/>
                  <a:gd name="T3" fmla="*/ 19 h 39"/>
                  <a:gd name="T4" fmla="*/ 19 w 39"/>
                  <a:gd name="T5" fmla="*/ 0 h 39"/>
                  <a:gd name="T6" fmla="*/ 39 w 39"/>
                  <a:gd name="T7" fmla="*/ 19 h 39"/>
                  <a:gd name="T8" fmla="*/ 19 w 39"/>
                  <a:gd name="T9" fmla="*/ 39 h 39"/>
                  <a:gd name="T10" fmla="*/ 19 w 39"/>
                  <a:gd name="T11" fmla="*/ 4 h 39"/>
                  <a:gd name="T12" fmla="*/ 4 w 39"/>
                  <a:gd name="T13" fmla="*/ 19 h 39"/>
                  <a:gd name="T14" fmla="*/ 19 w 39"/>
                  <a:gd name="T15" fmla="*/ 35 h 39"/>
                  <a:gd name="T16" fmla="*/ 35 w 39"/>
                  <a:gd name="T17" fmla="*/ 19 h 39"/>
                  <a:gd name="T18" fmla="*/ 19 w 39"/>
                  <a:gd name="T19" fmla="*/ 4 h 39"/>
                  <a:gd name="T20" fmla="*/ 19 w 39"/>
                  <a:gd name="T21" fmla="*/ 31 h 39"/>
                  <a:gd name="T22" fmla="*/ 8 w 39"/>
                  <a:gd name="T23" fmla="*/ 19 h 39"/>
                  <a:gd name="T24" fmla="*/ 19 w 39"/>
                  <a:gd name="T25" fmla="*/ 7 h 39"/>
                  <a:gd name="T26" fmla="*/ 31 w 39"/>
                  <a:gd name="T27" fmla="*/ 19 h 39"/>
                  <a:gd name="T28" fmla="*/ 19 w 39"/>
                  <a:gd name="T29" fmla="*/ 31 h 39"/>
                  <a:gd name="T30" fmla="*/ 19 w 39"/>
                  <a:gd name="T31" fmla="*/ 12 h 39"/>
                  <a:gd name="T32" fmla="*/ 12 w 39"/>
                  <a:gd name="T33" fmla="*/ 19 h 39"/>
                  <a:gd name="T34" fmla="*/ 19 w 39"/>
                  <a:gd name="T35" fmla="*/ 27 h 39"/>
                  <a:gd name="T36" fmla="*/ 27 w 39"/>
                  <a:gd name="T37" fmla="*/ 19 h 39"/>
                  <a:gd name="T38" fmla="*/ 19 w 39"/>
                  <a:gd name="T39" fmla="*/ 1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9">
                    <a:moveTo>
                      <a:pt x="19" y="39"/>
                    </a:moveTo>
                    <a:cubicBezTo>
                      <a:pt x="9" y="39"/>
                      <a:pt x="0" y="30"/>
                      <a:pt x="0" y="19"/>
                    </a:cubicBezTo>
                    <a:cubicBezTo>
                      <a:pt x="0" y="8"/>
                      <a:pt x="9" y="0"/>
                      <a:pt x="19" y="0"/>
                    </a:cubicBezTo>
                    <a:cubicBezTo>
                      <a:pt x="30" y="0"/>
                      <a:pt x="39" y="8"/>
                      <a:pt x="39" y="19"/>
                    </a:cubicBezTo>
                    <a:cubicBezTo>
                      <a:pt x="39" y="30"/>
                      <a:pt x="30" y="39"/>
                      <a:pt x="19" y="39"/>
                    </a:cubicBezTo>
                    <a:moveTo>
                      <a:pt x="19" y="4"/>
                    </a:moveTo>
                    <a:cubicBezTo>
                      <a:pt x="11" y="4"/>
                      <a:pt x="4" y="11"/>
                      <a:pt x="4" y="19"/>
                    </a:cubicBezTo>
                    <a:cubicBezTo>
                      <a:pt x="4" y="28"/>
                      <a:pt x="11" y="35"/>
                      <a:pt x="19" y="35"/>
                    </a:cubicBezTo>
                    <a:cubicBezTo>
                      <a:pt x="28" y="35"/>
                      <a:pt x="35" y="28"/>
                      <a:pt x="35" y="19"/>
                    </a:cubicBezTo>
                    <a:cubicBezTo>
                      <a:pt x="35" y="11"/>
                      <a:pt x="28" y="4"/>
                      <a:pt x="19" y="4"/>
                    </a:cubicBezTo>
                    <a:moveTo>
                      <a:pt x="19" y="31"/>
                    </a:moveTo>
                    <a:cubicBezTo>
                      <a:pt x="13" y="31"/>
                      <a:pt x="8" y="26"/>
                      <a:pt x="8" y="19"/>
                    </a:cubicBezTo>
                    <a:cubicBezTo>
                      <a:pt x="8" y="13"/>
                      <a:pt x="13" y="7"/>
                      <a:pt x="19" y="7"/>
                    </a:cubicBezTo>
                    <a:cubicBezTo>
                      <a:pt x="26" y="7"/>
                      <a:pt x="31" y="13"/>
                      <a:pt x="31" y="19"/>
                    </a:cubicBezTo>
                    <a:cubicBezTo>
                      <a:pt x="31" y="26"/>
                      <a:pt x="26" y="31"/>
                      <a:pt x="19" y="31"/>
                    </a:cubicBezTo>
                    <a:moveTo>
                      <a:pt x="19" y="12"/>
                    </a:moveTo>
                    <a:cubicBezTo>
                      <a:pt x="15" y="12"/>
                      <a:pt x="12" y="15"/>
                      <a:pt x="12" y="19"/>
                    </a:cubicBezTo>
                    <a:cubicBezTo>
                      <a:pt x="12" y="23"/>
                      <a:pt x="15" y="27"/>
                      <a:pt x="19" y="27"/>
                    </a:cubicBezTo>
                    <a:cubicBezTo>
                      <a:pt x="24" y="27"/>
                      <a:pt x="27" y="23"/>
                      <a:pt x="27" y="19"/>
                    </a:cubicBezTo>
                    <a:cubicBezTo>
                      <a:pt x="27" y="15"/>
                      <a:pt x="24" y="12"/>
                      <a:pt x="19"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270"/>
              <p:cNvSpPr>
                <a:spLocks noEditPoints="1"/>
              </p:cNvSpPr>
              <p:nvPr/>
            </p:nvSpPr>
            <p:spPr bwMode="auto">
              <a:xfrm>
                <a:off x="4006706" y="1696716"/>
                <a:ext cx="41332" cy="41836"/>
              </a:xfrm>
              <a:custGeom>
                <a:avLst/>
                <a:gdLst>
                  <a:gd name="T0" fmla="*/ 17 w 35"/>
                  <a:gd name="T1" fmla="*/ 35 h 35"/>
                  <a:gd name="T2" fmla="*/ 35 w 35"/>
                  <a:gd name="T3" fmla="*/ 18 h 35"/>
                  <a:gd name="T4" fmla="*/ 17 w 35"/>
                  <a:gd name="T5" fmla="*/ 0 h 35"/>
                  <a:gd name="T6" fmla="*/ 0 w 35"/>
                  <a:gd name="T7" fmla="*/ 18 h 35"/>
                  <a:gd name="T8" fmla="*/ 17 w 35"/>
                  <a:gd name="T9" fmla="*/ 35 h 35"/>
                  <a:gd name="T10" fmla="*/ 17 w 35"/>
                  <a:gd name="T11" fmla="*/ 8 h 35"/>
                  <a:gd name="T12" fmla="*/ 27 w 35"/>
                  <a:gd name="T13" fmla="*/ 18 h 35"/>
                  <a:gd name="T14" fmla="*/ 17 w 35"/>
                  <a:gd name="T15" fmla="*/ 28 h 35"/>
                  <a:gd name="T16" fmla="*/ 8 w 35"/>
                  <a:gd name="T17" fmla="*/ 18 h 35"/>
                  <a:gd name="T18" fmla="*/ 17 w 35"/>
                  <a:gd name="T19"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35"/>
                    </a:moveTo>
                    <a:cubicBezTo>
                      <a:pt x="27" y="35"/>
                      <a:pt x="35" y="28"/>
                      <a:pt x="35" y="18"/>
                    </a:cubicBezTo>
                    <a:cubicBezTo>
                      <a:pt x="35" y="8"/>
                      <a:pt x="27" y="0"/>
                      <a:pt x="17" y="0"/>
                    </a:cubicBezTo>
                    <a:cubicBezTo>
                      <a:pt x="8" y="0"/>
                      <a:pt x="0" y="8"/>
                      <a:pt x="0" y="18"/>
                    </a:cubicBezTo>
                    <a:cubicBezTo>
                      <a:pt x="0" y="28"/>
                      <a:pt x="8" y="35"/>
                      <a:pt x="17" y="35"/>
                    </a:cubicBezTo>
                    <a:moveTo>
                      <a:pt x="17" y="8"/>
                    </a:moveTo>
                    <a:cubicBezTo>
                      <a:pt x="23" y="8"/>
                      <a:pt x="27" y="13"/>
                      <a:pt x="27" y="18"/>
                    </a:cubicBezTo>
                    <a:cubicBezTo>
                      <a:pt x="27" y="23"/>
                      <a:pt x="23" y="28"/>
                      <a:pt x="17" y="28"/>
                    </a:cubicBezTo>
                    <a:cubicBezTo>
                      <a:pt x="12" y="28"/>
                      <a:pt x="8" y="23"/>
                      <a:pt x="8" y="18"/>
                    </a:cubicBezTo>
                    <a:cubicBezTo>
                      <a:pt x="8" y="13"/>
                      <a:pt x="12" y="8"/>
                      <a:pt x="17"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271"/>
              <p:cNvSpPr>
                <a:spLocks noEditPoints="1"/>
              </p:cNvSpPr>
              <p:nvPr/>
            </p:nvSpPr>
            <p:spPr bwMode="auto">
              <a:xfrm>
                <a:off x="4004186" y="1694196"/>
                <a:ext cx="46373" cy="46373"/>
              </a:xfrm>
              <a:custGeom>
                <a:avLst/>
                <a:gdLst>
                  <a:gd name="T0" fmla="*/ 19 w 39"/>
                  <a:gd name="T1" fmla="*/ 39 h 39"/>
                  <a:gd name="T2" fmla="*/ 0 w 39"/>
                  <a:gd name="T3" fmla="*/ 20 h 39"/>
                  <a:gd name="T4" fmla="*/ 19 w 39"/>
                  <a:gd name="T5" fmla="*/ 0 h 39"/>
                  <a:gd name="T6" fmla="*/ 39 w 39"/>
                  <a:gd name="T7" fmla="*/ 20 h 39"/>
                  <a:gd name="T8" fmla="*/ 19 w 39"/>
                  <a:gd name="T9" fmla="*/ 39 h 39"/>
                  <a:gd name="T10" fmla="*/ 19 w 39"/>
                  <a:gd name="T11" fmla="*/ 5 h 39"/>
                  <a:gd name="T12" fmla="*/ 4 w 39"/>
                  <a:gd name="T13" fmla="*/ 20 h 39"/>
                  <a:gd name="T14" fmla="*/ 19 w 39"/>
                  <a:gd name="T15" fmla="*/ 35 h 39"/>
                  <a:gd name="T16" fmla="*/ 35 w 39"/>
                  <a:gd name="T17" fmla="*/ 20 h 39"/>
                  <a:gd name="T18" fmla="*/ 19 w 39"/>
                  <a:gd name="T19" fmla="*/ 5 h 39"/>
                  <a:gd name="T20" fmla="*/ 19 w 39"/>
                  <a:gd name="T21" fmla="*/ 32 h 39"/>
                  <a:gd name="T22" fmla="*/ 8 w 39"/>
                  <a:gd name="T23" fmla="*/ 20 h 39"/>
                  <a:gd name="T24" fmla="*/ 19 w 39"/>
                  <a:gd name="T25" fmla="*/ 8 h 39"/>
                  <a:gd name="T26" fmla="*/ 31 w 39"/>
                  <a:gd name="T27" fmla="*/ 20 h 39"/>
                  <a:gd name="T28" fmla="*/ 19 w 39"/>
                  <a:gd name="T29" fmla="*/ 32 h 39"/>
                  <a:gd name="T30" fmla="*/ 19 w 39"/>
                  <a:gd name="T31" fmla="*/ 12 h 39"/>
                  <a:gd name="T32" fmla="*/ 12 w 39"/>
                  <a:gd name="T33" fmla="*/ 20 h 39"/>
                  <a:gd name="T34" fmla="*/ 19 w 39"/>
                  <a:gd name="T35" fmla="*/ 28 h 39"/>
                  <a:gd name="T36" fmla="*/ 27 w 39"/>
                  <a:gd name="T37" fmla="*/ 20 h 39"/>
                  <a:gd name="T38" fmla="*/ 19 w 39"/>
                  <a:gd name="T39" fmla="*/ 1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39">
                    <a:moveTo>
                      <a:pt x="19" y="39"/>
                    </a:moveTo>
                    <a:cubicBezTo>
                      <a:pt x="9" y="39"/>
                      <a:pt x="0" y="31"/>
                      <a:pt x="0" y="20"/>
                    </a:cubicBezTo>
                    <a:cubicBezTo>
                      <a:pt x="0" y="9"/>
                      <a:pt x="9" y="0"/>
                      <a:pt x="19" y="0"/>
                    </a:cubicBezTo>
                    <a:cubicBezTo>
                      <a:pt x="30" y="0"/>
                      <a:pt x="39" y="9"/>
                      <a:pt x="39" y="20"/>
                    </a:cubicBezTo>
                    <a:cubicBezTo>
                      <a:pt x="39" y="31"/>
                      <a:pt x="30" y="39"/>
                      <a:pt x="19" y="39"/>
                    </a:cubicBezTo>
                    <a:moveTo>
                      <a:pt x="19" y="5"/>
                    </a:moveTo>
                    <a:cubicBezTo>
                      <a:pt x="11" y="5"/>
                      <a:pt x="4" y="11"/>
                      <a:pt x="4" y="20"/>
                    </a:cubicBezTo>
                    <a:cubicBezTo>
                      <a:pt x="4" y="28"/>
                      <a:pt x="11" y="35"/>
                      <a:pt x="19" y="35"/>
                    </a:cubicBezTo>
                    <a:cubicBezTo>
                      <a:pt x="28" y="35"/>
                      <a:pt x="35" y="28"/>
                      <a:pt x="35" y="20"/>
                    </a:cubicBezTo>
                    <a:cubicBezTo>
                      <a:pt x="35" y="11"/>
                      <a:pt x="28" y="5"/>
                      <a:pt x="19" y="5"/>
                    </a:cubicBezTo>
                    <a:moveTo>
                      <a:pt x="19" y="32"/>
                    </a:moveTo>
                    <a:cubicBezTo>
                      <a:pt x="13" y="32"/>
                      <a:pt x="8" y="26"/>
                      <a:pt x="8" y="20"/>
                    </a:cubicBezTo>
                    <a:cubicBezTo>
                      <a:pt x="8" y="13"/>
                      <a:pt x="13" y="8"/>
                      <a:pt x="19" y="8"/>
                    </a:cubicBezTo>
                    <a:cubicBezTo>
                      <a:pt x="26" y="8"/>
                      <a:pt x="31" y="13"/>
                      <a:pt x="31" y="20"/>
                    </a:cubicBezTo>
                    <a:cubicBezTo>
                      <a:pt x="31" y="26"/>
                      <a:pt x="26" y="32"/>
                      <a:pt x="19" y="32"/>
                    </a:cubicBezTo>
                    <a:moveTo>
                      <a:pt x="19" y="12"/>
                    </a:moveTo>
                    <a:cubicBezTo>
                      <a:pt x="15" y="12"/>
                      <a:pt x="12" y="16"/>
                      <a:pt x="12" y="20"/>
                    </a:cubicBezTo>
                    <a:cubicBezTo>
                      <a:pt x="12" y="24"/>
                      <a:pt x="15" y="28"/>
                      <a:pt x="19" y="28"/>
                    </a:cubicBezTo>
                    <a:cubicBezTo>
                      <a:pt x="24" y="28"/>
                      <a:pt x="27" y="24"/>
                      <a:pt x="27" y="20"/>
                    </a:cubicBezTo>
                    <a:cubicBezTo>
                      <a:pt x="27" y="16"/>
                      <a:pt x="24" y="12"/>
                      <a:pt x="19"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5" name="Group 44"/>
          <p:cNvGrpSpPr/>
          <p:nvPr/>
        </p:nvGrpSpPr>
        <p:grpSpPr>
          <a:xfrm>
            <a:off x="6879960" y="3075347"/>
            <a:ext cx="359873" cy="354833"/>
            <a:chOff x="6584063" y="3037247"/>
            <a:chExt cx="359873" cy="354833"/>
          </a:xfrm>
        </p:grpSpPr>
        <p:sp>
          <p:nvSpPr>
            <p:cNvPr id="67" name="Freeform 137"/>
            <p:cNvSpPr>
              <a:spLocks/>
            </p:cNvSpPr>
            <p:nvPr/>
          </p:nvSpPr>
          <p:spPr bwMode="auto">
            <a:xfrm>
              <a:off x="6589103" y="3042287"/>
              <a:ext cx="351305" cy="345256"/>
            </a:xfrm>
            <a:custGeom>
              <a:avLst/>
              <a:gdLst>
                <a:gd name="T0" fmla="*/ 295 w 295"/>
                <a:gd name="T1" fmla="*/ 48 h 290"/>
                <a:gd name="T2" fmla="*/ 273 w 295"/>
                <a:gd name="T3" fmla="*/ 23 h 290"/>
                <a:gd name="T4" fmla="*/ 269 w 295"/>
                <a:gd name="T5" fmla="*/ 21 h 290"/>
                <a:gd name="T6" fmla="*/ 147 w 295"/>
                <a:gd name="T7" fmla="*/ 0 h 290"/>
                <a:gd name="T8" fmla="*/ 25 w 295"/>
                <a:gd name="T9" fmla="*/ 21 h 290"/>
                <a:gd name="T10" fmla="*/ 21 w 295"/>
                <a:gd name="T11" fmla="*/ 23 h 290"/>
                <a:gd name="T12" fmla="*/ 0 w 295"/>
                <a:gd name="T13" fmla="*/ 48 h 290"/>
                <a:gd name="T14" fmla="*/ 0 w 295"/>
                <a:gd name="T15" fmla="*/ 145 h 290"/>
                <a:gd name="T16" fmla="*/ 0 w 295"/>
                <a:gd name="T17" fmla="*/ 242 h 290"/>
                <a:gd name="T18" fmla="*/ 147 w 295"/>
                <a:gd name="T19" fmla="*/ 290 h 290"/>
                <a:gd name="T20" fmla="*/ 295 w 295"/>
                <a:gd name="T21" fmla="*/ 242 h 290"/>
                <a:gd name="T22" fmla="*/ 295 w 295"/>
                <a:gd name="T23" fmla="*/ 145 h 290"/>
                <a:gd name="T24" fmla="*/ 295 w 295"/>
                <a:gd name="T25" fmla="*/ 4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5" h="290">
                  <a:moveTo>
                    <a:pt x="295" y="48"/>
                  </a:moveTo>
                  <a:cubicBezTo>
                    <a:pt x="295" y="39"/>
                    <a:pt x="287" y="30"/>
                    <a:pt x="273" y="23"/>
                  </a:cubicBezTo>
                  <a:cubicBezTo>
                    <a:pt x="272" y="22"/>
                    <a:pt x="271" y="22"/>
                    <a:pt x="269" y="21"/>
                  </a:cubicBezTo>
                  <a:cubicBezTo>
                    <a:pt x="243" y="8"/>
                    <a:pt x="198" y="0"/>
                    <a:pt x="147" y="0"/>
                  </a:cubicBezTo>
                  <a:cubicBezTo>
                    <a:pt x="96" y="0"/>
                    <a:pt x="51" y="8"/>
                    <a:pt x="25" y="21"/>
                  </a:cubicBezTo>
                  <a:cubicBezTo>
                    <a:pt x="24" y="22"/>
                    <a:pt x="22" y="22"/>
                    <a:pt x="21" y="23"/>
                  </a:cubicBezTo>
                  <a:cubicBezTo>
                    <a:pt x="7" y="30"/>
                    <a:pt x="0" y="39"/>
                    <a:pt x="0" y="48"/>
                  </a:cubicBezTo>
                  <a:cubicBezTo>
                    <a:pt x="0" y="145"/>
                    <a:pt x="0" y="145"/>
                    <a:pt x="0" y="145"/>
                  </a:cubicBezTo>
                  <a:cubicBezTo>
                    <a:pt x="0" y="242"/>
                    <a:pt x="0" y="242"/>
                    <a:pt x="0" y="242"/>
                  </a:cubicBezTo>
                  <a:cubicBezTo>
                    <a:pt x="0" y="268"/>
                    <a:pt x="66" y="290"/>
                    <a:pt x="147" y="290"/>
                  </a:cubicBezTo>
                  <a:cubicBezTo>
                    <a:pt x="229" y="290"/>
                    <a:pt x="295" y="268"/>
                    <a:pt x="295" y="242"/>
                  </a:cubicBezTo>
                  <a:cubicBezTo>
                    <a:pt x="295" y="145"/>
                    <a:pt x="295" y="145"/>
                    <a:pt x="295" y="145"/>
                  </a:cubicBezTo>
                  <a:lnTo>
                    <a:pt x="295" y="48"/>
                  </a:lnTo>
                  <a:close/>
                </a:path>
              </a:pathLst>
            </a:custGeom>
            <a:solidFill>
              <a:srgbClr val="004BA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8" name="Freeform 138"/>
            <p:cNvSpPr>
              <a:spLocks noEditPoints="1"/>
            </p:cNvSpPr>
            <p:nvPr/>
          </p:nvSpPr>
          <p:spPr bwMode="auto">
            <a:xfrm>
              <a:off x="6584063" y="3037247"/>
              <a:ext cx="359873" cy="354833"/>
            </a:xfrm>
            <a:custGeom>
              <a:avLst/>
              <a:gdLst>
                <a:gd name="T0" fmla="*/ 151 w 302"/>
                <a:gd name="T1" fmla="*/ 298 h 298"/>
                <a:gd name="T2" fmla="*/ 0 w 302"/>
                <a:gd name="T3" fmla="*/ 246 h 298"/>
                <a:gd name="T4" fmla="*/ 0 w 302"/>
                <a:gd name="T5" fmla="*/ 52 h 298"/>
                <a:gd name="T6" fmla="*/ 23 w 302"/>
                <a:gd name="T7" fmla="*/ 24 h 298"/>
                <a:gd name="T8" fmla="*/ 27 w 302"/>
                <a:gd name="T9" fmla="*/ 22 h 298"/>
                <a:gd name="T10" fmla="*/ 151 w 302"/>
                <a:gd name="T11" fmla="*/ 0 h 298"/>
                <a:gd name="T12" fmla="*/ 275 w 302"/>
                <a:gd name="T13" fmla="*/ 22 h 298"/>
                <a:gd name="T14" fmla="*/ 279 w 302"/>
                <a:gd name="T15" fmla="*/ 24 h 298"/>
                <a:gd name="T16" fmla="*/ 302 w 302"/>
                <a:gd name="T17" fmla="*/ 52 h 298"/>
                <a:gd name="T18" fmla="*/ 302 w 302"/>
                <a:gd name="T19" fmla="*/ 246 h 298"/>
                <a:gd name="T20" fmla="*/ 151 w 302"/>
                <a:gd name="T21" fmla="*/ 298 h 298"/>
                <a:gd name="T22" fmla="*/ 151 w 302"/>
                <a:gd name="T23" fmla="*/ 8 h 298"/>
                <a:gd name="T24" fmla="*/ 31 w 302"/>
                <a:gd name="T25" fmla="*/ 28 h 298"/>
                <a:gd name="T26" fmla="*/ 27 w 302"/>
                <a:gd name="T27" fmla="*/ 30 h 298"/>
                <a:gd name="T28" fmla="*/ 7 w 302"/>
                <a:gd name="T29" fmla="*/ 52 h 298"/>
                <a:gd name="T30" fmla="*/ 7 w 302"/>
                <a:gd name="T31" fmla="*/ 246 h 298"/>
                <a:gd name="T32" fmla="*/ 151 w 302"/>
                <a:gd name="T33" fmla="*/ 290 h 298"/>
                <a:gd name="T34" fmla="*/ 295 w 302"/>
                <a:gd name="T35" fmla="*/ 246 h 298"/>
                <a:gd name="T36" fmla="*/ 295 w 302"/>
                <a:gd name="T37" fmla="*/ 52 h 298"/>
                <a:gd name="T38" fmla="*/ 275 w 302"/>
                <a:gd name="T39" fmla="*/ 30 h 298"/>
                <a:gd name="T40" fmla="*/ 272 w 302"/>
                <a:gd name="T41" fmla="*/ 28 h 298"/>
                <a:gd name="T42" fmla="*/ 151 w 302"/>
                <a:gd name="T43" fmla="*/ 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2" h="298">
                  <a:moveTo>
                    <a:pt x="151" y="298"/>
                  </a:moveTo>
                  <a:cubicBezTo>
                    <a:pt x="66" y="298"/>
                    <a:pt x="0" y="275"/>
                    <a:pt x="0" y="246"/>
                  </a:cubicBezTo>
                  <a:cubicBezTo>
                    <a:pt x="0" y="52"/>
                    <a:pt x="0" y="52"/>
                    <a:pt x="0" y="52"/>
                  </a:cubicBezTo>
                  <a:cubicBezTo>
                    <a:pt x="0" y="42"/>
                    <a:pt x="8" y="32"/>
                    <a:pt x="23" y="24"/>
                  </a:cubicBezTo>
                  <a:cubicBezTo>
                    <a:pt x="24" y="23"/>
                    <a:pt x="26" y="22"/>
                    <a:pt x="27" y="22"/>
                  </a:cubicBezTo>
                  <a:cubicBezTo>
                    <a:pt x="55" y="8"/>
                    <a:pt x="102" y="0"/>
                    <a:pt x="151" y="0"/>
                  </a:cubicBezTo>
                  <a:cubicBezTo>
                    <a:pt x="201" y="0"/>
                    <a:pt x="247" y="8"/>
                    <a:pt x="275" y="22"/>
                  </a:cubicBezTo>
                  <a:cubicBezTo>
                    <a:pt x="277" y="22"/>
                    <a:pt x="278" y="23"/>
                    <a:pt x="279" y="24"/>
                  </a:cubicBezTo>
                  <a:cubicBezTo>
                    <a:pt x="294" y="32"/>
                    <a:pt x="302" y="42"/>
                    <a:pt x="302" y="52"/>
                  </a:cubicBezTo>
                  <a:cubicBezTo>
                    <a:pt x="302" y="246"/>
                    <a:pt x="302" y="246"/>
                    <a:pt x="302" y="246"/>
                  </a:cubicBezTo>
                  <a:cubicBezTo>
                    <a:pt x="302" y="275"/>
                    <a:pt x="236" y="298"/>
                    <a:pt x="151" y="298"/>
                  </a:cubicBezTo>
                  <a:close/>
                  <a:moveTo>
                    <a:pt x="151" y="8"/>
                  </a:moveTo>
                  <a:cubicBezTo>
                    <a:pt x="103" y="8"/>
                    <a:pt x="58" y="15"/>
                    <a:pt x="31" y="28"/>
                  </a:cubicBezTo>
                  <a:cubicBezTo>
                    <a:pt x="29" y="29"/>
                    <a:pt x="28" y="30"/>
                    <a:pt x="27" y="30"/>
                  </a:cubicBezTo>
                  <a:cubicBezTo>
                    <a:pt x="18" y="35"/>
                    <a:pt x="7" y="43"/>
                    <a:pt x="7" y="52"/>
                  </a:cubicBezTo>
                  <a:cubicBezTo>
                    <a:pt x="7" y="246"/>
                    <a:pt x="7" y="246"/>
                    <a:pt x="7" y="246"/>
                  </a:cubicBezTo>
                  <a:cubicBezTo>
                    <a:pt x="7" y="267"/>
                    <a:pt x="65" y="290"/>
                    <a:pt x="151" y="290"/>
                  </a:cubicBezTo>
                  <a:cubicBezTo>
                    <a:pt x="237" y="290"/>
                    <a:pt x="295" y="267"/>
                    <a:pt x="295" y="246"/>
                  </a:cubicBezTo>
                  <a:cubicBezTo>
                    <a:pt x="295" y="52"/>
                    <a:pt x="295" y="52"/>
                    <a:pt x="295" y="52"/>
                  </a:cubicBezTo>
                  <a:cubicBezTo>
                    <a:pt x="295" y="43"/>
                    <a:pt x="284" y="35"/>
                    <a:pt x="275" y="30"/>
                  </a:cubicBezTo>
                  <a:cubicBezTo>
                    <a:pt x="274" y="30"/>
                    <a:pt x="273" y="29"/>
                    <a:pt x="272" y="28"/>
                  </a:cubicBezTo>
                  <a:cubicBezTo>
                    <a:pt x="245" y="15"/>
                    <a:pt x="200" y="8"/>
                    <a:pt x="15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139"/>
            <p:cNvSpPr>
              <a:spLocks noChangeArrowheads="1"/>
            </p:cNvSpPr>
            <p:nvPr/>
          </p:nvSpPr>
          <p:spPr bwMode="auto">
            <a:xfrm>
              <a:off x="6589103" y="3042287"/>
              <a:ext cx="351305" cy="113909"/>
            </a:xfrm>
            <a:prstGeom prst="ellipse">
              <a:avLst/>
            </a:prstGeom>
            <a:solidFill>
              <a:srgbClr val="004BA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0" name="Freeform 140"/>
            <p:cNvSpPr>
              <a:spLocks noEditPoints="1"/>
            </p:cNvSpPr>
            <p:nvPr/>
          </p:nvSpPr>
          <p:spPr bwMode="auto">
            <a:xfrm>
              <a:off x="6584063" y="3037247"/>
              <a:ext cx="359873" cy="123990"/>
            </a:xfrm>
            <a:custGeom>
              <a:avLst/>
              <a:gdLst>
                <a:gd name="T0" fmla="*/ 151 w 302"/>
                <a:gd name="T1" fmla="*/ 104 h 104"/>
                <a:gd name="T2" fmla="*/ 0 w 302"/>
                <a:gd name="T3" fmla="*/ 52 h 104"/>
                <a:gd name="T4" fmla="*/ 151 w 302"/>
                <a:gd name="T5" fmla="*/ 0 h 104"/>
                <a:gd name="T6" fmla="*/ 302 w 302"/>
                <a:gd name="T7" fmla="*/ 52 h 104"/>
                <a:gd name="T8" fmla="*/ 151 w 302"/>
                <a:gd name="T9" fmla="*/ 104 h 104"/>
                <a:gd name="T10" fmla="*/ 151 w 302"/>
                <a:gd name="T11" fmla="*/ 8 h 104"/>
                <a:gd name="T12" fmla="*/ 7 w 302"/>
                <a:gd name="T13" fmla="*/ 52 h 104"/>
                <a:gd name="T14" fmla="*/ 151 w 302"/>
                <a:gd name="T15" fmla="*/ 97 h 104"/>
                <a:gd name="T16" fmla="*/ 295 w 302"/>
                <a:gd name="T17" fmla="*/ 52 h 104"/>
                <a:gd name="T18" fmla="*/ 151 w 302"/>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104">
                  <a:moveTo>
                    <a:pt x="151" y="104"/>
                  </a:moveTo>
                  <a:cubicBezTo>
                    <a:pt x="66" y="104"/>
                    <a:pt x="0" y="81"/>
                    <a:pt x="0" y="52"/>
                  </a:cubicBezTo>
                  <a:cubicBezTo>
                    <a:pt x="0" y="23"/>
                    <a:pt x="66" y="0"/>
                    <a:pt x="151" y="0"/>
                  </a:cubicBezTo>
                  <a:cubicBezTo>
                    <a:pt x="236" y="0"/>
                    <a:pt x="302" y="23"/>
                    <a:pt x="302" y="52"/>
                  </a:cubicBezTo>
                  <a:cubicBezTo>
                    <a:pt x="302" y="81"/>
                    <a:pt x="236" y="104"/>
                    <a:pt x="151" y="104"/>
                  </a:cubicBezTo>
                  <a:close/>
                  <a:moveTo>
                    <a:pt x="151" y="8"/>
                  </a:moveTo>
                  <a:cubicBezTo>
                    <a:pt x="65" y="8"/>
                    <a:pt x="7" y="31"/>
                    <a:pt x="7" y="52"/>
                  </a:cubicBezTo>
                  <a:cubicBezTo>
                    <a:pt x="7" y="74"/>
                    <a:pt x="65" y="97"/>
                    <a:pt x="151" y="97"/>
                  </a:cubicBezTo>
                  <a:cubicBezTo>
                    <a:pt x="237" y="97"/>
                    <a:pt x="295" y="74"/>
                    <a:pt x="295" y="52"/>
                  </a:cubicBezTo>
                  <a:cubicBezTo>
                    <a:pt x="295" y="31"/>
                    <a:pt x="237" y="8"/>
                    <a:pt x="15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9" name="Group 188"/>
          <p:cNvGrpSpPr/>
          <p:nvPr/>
        </p:nvGrpSpPr>
        <p:grpSpPr>
          <a:xfrm>
            <a:off x="3600497" y="3583039"/>
            <a:ext cx="546053" cy="547090"/>
            <a:chOff x="3638597" y="3777956"/>
            <a:chExt cx="796358" cy="797870"/>
          </a:xfrm>
        </p:grpSpPr>
        <p:sp>
          <p:nvSpPr>
            <p:cNvPr id="190" name="Oval 159"/>
            <p:cNvSpPr>
              <a:spLocks noChangeArrowheads="1"/>
            </p:cNvSpPr>
            <p:nvPr/>
          </p:nvSpPr>
          <p:spPr bwMode="auto">
            <a:xfrm>
              <a:off x="3638597" y="3777956"/>
              <a:ext cx="796358" cy="797870"/>
            </a:xfrm>
            <a:prstGeom prst="ellipse">
              <a:avLst/>
            </a:prstGeom>
            <a:solidFill>
              <a:srgbClr val="9E9EA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91" name="Freeform 160"/>
            <p:cNvSpPr>
              <a:spLocks noEditPoints="1"/>
            </p:cNvSpPr>
            <p:nvPr/>
          </p:nvSpPr>
          <p:spPr bwMode="auto">
            <a:xfrm>
              <a:off x="3830126" y="3978054"/>
              <a:ext cx="414308" cy="425900"/>
            </a:xfrm>
            <a:custGeom>
              <a:avLst/>
              <a:gdLst>
                <a:gd name="T0" fmla="*/ 165 w 348"/>
                <a:gd name="T1" fmla="*/ 356 h 358"/>
                <a:gd name="T2" fmla="*/ 178 w 348"/>
                <a:gd name="T3" fmla="*/ 356 h 358"/>
                <a:gd name="T4" fmla="*/ 271 w 348"/>
                <a:gd name="T5" fmla="*/ 289 h 358"/>
                <a:gd name="T6" fmla="*/ 197 w 348"/>
                <a:gd name="T7" fmla="*/ 96 h 358"/>
                <a:gd name="T8" fmla="*/ 147 w 348"/>
                <a:gd name="T9" fmla="*/ 96 h 358"/>
                <a:gd name="T10" fmla="*/ 76 w 348"/>
                <a:gd name="T11" fmla="*/ 289 h 358"/>
                <a:gd name="T12" fmla="*/ 139 w 348"/>
                <a:gd name="T13" fmla="*/ 217 h 358"/>
                <a:gd name="T14" fmla="*/ 173 w 348"/>
                <a:gd name="T15" fmla="*/ 234 h 358"/>
                <a:gd name="T16" fmla="*/ 206 w 348"/>
                <a:gd name="T17" fmla="*/ 216 h 358"/>
                <a:gd name="T18" fmla="*/ 214 w 348"/>
                <a:gd name="T19" fmla="*/ 247 h 358"/>
                <a:gd name="T20" fmla="*/ 127 w 348"/>
                <a:gd name="T21" fmla="*/ 245 h 358"/>
                <a:gd name="T22" fmla="*/ 139 w 348"/>
                <a:gd name="T23" fmla="*/ 217 h 358"/>
                <a:gd name="T24" fmla="*/ 172 w 348"/>
                <a:gd name="T25" fmla="*/ 148 h 358"/>
                <a:gd name="T26" fmla="*/ 172 w 348"/>
                <a:gd name="T27" fmla="*/ 207 h 358"/>
                <a:gd name="T28" fmla="*/ 114 w 348"/>
                <a:gd name="T29" fmla="*/ 267 h 358"/>
                <a:gd name="T30" fmla="*/ 167 w 348"/>
                <a:gd name="T31" fmla="*/ 296 h 358"/>
                <a:gd name="T32" fmla="*/ 180 w 348"/>
                <a:gd name="T33" fmla="*/ 296 h 358"/>
                <a:gd name="T34" fmla="*/ 231 w 348"/>
                <a:gd name="T35" fmla="*/ 265 h 358"/>
                <a:gd name="T36" fmla="*/ 172 w 348"/>
                <a:gd name="T37" fmla="*/ 331 h 358"/>
                <a:gd name="T38" fmla="*/ 114 w 348"/>
                <a:gd name="T39" fmla="*/ 267 h 358"/>
                <a:gd name="T40" fmla="*/ 323 w 348"/>
                <a:gd name="T41" fmla="*/ 101 h 358"/>
                <a:gd name="T42" fmla="*/ 293 w 348"/>
                <a:gd name="T43" fmla="*/ 4 h 358"/>
                <a:gd name="T44" fmla="*/ 348 w 348"/>
                <a:gd name="T45" fmla="*/ 101 h 358"/>
                <a:gd name="T46" fmla="*/ 301 w 348"/>
                <a:gd name="T47" fmla="*/ 201 h 358"/>
                <a:gd name="T48" fmla="*/ 292 w 348"/>
                <a:gd name="T49" fmla="*/ 181 h 358"/>
                <a:gd name="T50" fmla="*/ 262 w 348"/>
                <a:gd name="T51" fmla="*/ 158 h 358"/>
                <a:gd name="T52" fmla="*/ 244 w 348"/>
                <a:gd name="T53" fmla="*/ 158 h 358"/>
                <a:gd name="T54" fmla="*/ 259 w 348"/>
                <a:gd name="T55" fmla="*/ 101 h 358"/>
                <a:gd name="T56" fmla="*/ 244 w 348"/>
                <a:gd name="T57" fmla="*/ 44 h 358"/>
                <a:gd name="T58" fmla="*/ 284 w 348"/>
                <a:gd name="T59" fmla="*/ 101 h 358"/>
                <a:gd name="T60" fmla="*/ 0 w 348"/>
                <a:gd name="T61" fmla="*/ 101 h 358"/>
                <a:gd name="T62" fmla="*/ 54 w 348"/>
                <a:gd name="T63" fmla="*/ 4 h 358"/>
                <a:gd name="T64" fmla="*/ 24 w 348"/>
                <a:gd name="T65" fmla="*/ 101 h 358"/>
                <a:gd name="T66" fmla="*/ 55 w 348"/>
                <a:gd name="T67" fmla="*/ 198 h 358"/>
                <a:gd name="T68" fmla="*/ 37 w 348"/>
                <a:gd name="T69" fmla="*/ 198 h 358"/>
                <a:gd name="T70" fmla="*/ 88 w 348"/>
                <a:gd name="T71" fmla="*/ 101 h 358"/>
                <a:gd name="T72" fmla="*/ 103 w 348"/>
                <a:gd name="T73" fmla="*/ 158 h 358"/>
                <a:gd name="T74" fmla="*/ 85 w 348"/>
                <a:gd name="T75" fmla="*/ 158 h 358"/>
                <a:gd name="T76" fmla="*/ 85 w 348"/>
                <a:gd name="T77" fmla="*/ 46 h 358"/>
                <a:gd name="T78" fmla="*/ 103 w 348"/>
                <a:gd name="T79"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8" h="358">
                  <a:moveTo>
                    <a:pt x="81" y="305"/>
                  </a:moveTo>
                  <a:cubicBezTo>
                    <a:pt x="165" y="356"/>
                    <a:pt x="165" y="356"/>
                    <a:pt x="165" y="356"/>
                  </a:cubicBezTo>
                  <a:cubicBezTo>
                    <a:pt x="167" y="357"/>
                    <a:pt x="170" y="358"/>
                    <a:pt x="172" y="358"/>
                  </a:cubicBezTo>
                  <a:cubicBezTo>
                    <a:pt x="174" y="358"/>
                    <a:pt x="176" y="357"/>
                    <a:pt x="178" y="356"/>
                  </a:cubicBezTo>
                  <a:cubicBezTo>
                    <a:pt x="266" y="305"/>
                    <a:pt x="266" y="305"/>
                    <a:pt x="266" y="305"/>
                  </a:cubicBezTo>
                  <a:cubicBezTo>
                    <a:pt x="272" y="302"/>
                    <a:pt x="274" y="295"/>
                    <a:pt x="271" y="289"/>
                  </a:cubicBezTo>
                  <a:cubicBezTo>
                    <a:pt x="185" y="118"/>
                    <a:pt x="185" y="118"/>
                    <a:pt x="185" y="118"/>
                  </a:cubicBezTo>
                  <a:cubicBezTo>
                    <a:pt x="192" y="113"/>
                    <a:pt x="197" y="105"/>
                    <a:pt x="197" y="96"/>
                  </a:cubicBezTo>
                  <a:cubicBezTo>
                    <a:pt x="197" y="83"/>
                    <a:pt x="186" y="71"/>
                    <a:pt x="172" y="71"/>
                  </a:cubicBezTo>
                  <a:cubicBezTo>
                    <a:pt x="158" y="71"/>
                    <a:pt x="147" y="83"/>
                    <a:pt x="147" y="96"/>
                  </a:cubicBezTo>
                  <a:cubicBezTo>
                    <a:pt x="147" y="105"/>
                    <a:pt x="152" y="113"/>
                    <a:pt x="159" y="118"/>
                  </a:cubicBezTo>
                  <a:cubicBezTo>
                    <a:pt x="76" y="289"/>
                    <a:pt x="76" y="289"/>
                    <a:pt x="76" y="289"/>
                  </a:cubicBezTo>
                  <a:cubicBezTo>
                    <a:pt x="73" y="295"/>
                    <a:pt x="75" y="302"/>
                    <a:pt x="81" y="305"/>
                  </a:cubicBezTo>
                  <a:moveTo>
                    <a:pt x="139" y="217"/>
                  </a:moveTo>
                  <a:cubicBezTo>
                    <a:pt x="167" y="232"/>
                    <a:pt x="167" y="232"/>
                    <a:pt x="167" y="232"/>
                  </a:cubicBezTo>
                  <a:cubicBezTo>
                    <a:pt x="169" y="233"/>
                    <a:pt x="171" y="234"/>
                    <a:pt x="173" y="234"/>
                  </a:cubicBezTo>
                  <a:cubicBezTo>
                    <a:pt x="175" y="234"/>
                    <a:pt x="177" y="233"/>
                    <a:pt x="179" y="232"/>
                  </a:cubicBezTo>
                  <a:cubicBezTo>
                    <a:pt x="206" y="216"/>
                    <a:pt x="206" y="216"/>
                    <a:pt x="206" y="216"/>
                  </a:cubicBezTo>
                  <a:cubicBezTo>
                    <a:pt x="221" y="245"/>
                    <a:pt x="221" y="245"/>
                    <a:pt x="221" y="245"/>
                  </a:cubicBezTo>
                  <a:cubicBezTo>
                    <a:pt x="219" y="245"/>
                    <a:pt x="216" y="246"/>
                    <a:pt x="214" y="247"/>
                  </a:cubicBezTo>
                  <a:cubicBezTo>
                    <a:pt x="173" y="271"/>
                    <a:pt x="173" y="271"/>
                    <a:pt x="173" y="271"/>
                  </a:cubicBezTo>
                  <a:cubicBezTo>
                    <a:pt x="127" y="245"/>
                    <a:pt x="127" y="245"/>
                    <a:pt x="127" y="245"/>
                  </a:cubicBezTo>
                  <a:cubicBezTo>
                    <a:pt x="126" y="245"/>
                    <a:pt x="126" y="245"/>
                    <a:pt x="125" y="244"/>
                  </a:cubicBezTo>
                  <a:lnTo>
                    <a:pt x="139" y="217"/>
                  </a:lnTo>
                  <a:close/>
                  <a:moveTo>
                    <a:pt x="150" y="194"/>
                  </a:moveTo>
                  <a:cubicBezTo>
                    <a:pt x="172" y="148"/>
                    <a:pt x="172" y="148"/>
                    <a:pt x="172" y="148"/>
                  </a:cubicBezTo>
                  <a:cubicBezTo>
                    <a:pt x="195" y="194"/>
                    <a:pt x="195" y="194"/>
                    <a:pt x="195" y="194"/>
                  </a:cubicBezTo>
                  <a:cubicBezTo>
                    <a:pt x="172" y="207"/>
                    <a:pt x="172" y="207"/>
                    <a:pt x="172" y="207"/>
                  </a:cubicBezTo>
                  <a:lnTo>
                    <a:pt x="150" y="194"/>
                  </a:lnTo>
                  <a:close/>
                  <a:moveTo>
                    <a:pt x="114" y="267"/>
                  </a:moveTo>
                  <a:cubicBezTo>
                    <a:pt x="115" y="267"/>
                    <a:pt x="115" y="267"/>
                    <a:pt x="115" y="267"/>
                  </a:cubicBezTo>
                  <a:cubicBezTo>
                    <a:pt x="167" y="296"/>
                    <a:pt x="167" y="296"/>
                    <a:pt x="167" y="296"/>
                  </a:cubicBezTo>
                  <a:cubicBezTo>
                    <a:pt x="169" y="297"/>
                    <a:pt x="171" y="298"/>
                    <a:pt x="174" y="298"/>
                  </a:cubicBezTo>
                  <a:cubicBezTo>
                    <a:pt x="176" y="298"/>
                    <a:pt x="178" y="297"/>
                    <a:pt x="180" y="296"/>
                  </a:cubicBezTo>
                  <a:cubicBezTo>
                    <a:pt x="227" y="268"/>
                    <a:pt x="227" y="268"/>
                    <a:pt x="227" y="268"/>
                  </a:cubicBezTo>
                  <a:cubicBezTo>
                    <a:pt x="228" y="267"/>
                    <a:pt x="230" y="266"/>
                    <a:pt x="231" y="265"/>
                  </a:cubicBezTo>
                  <a:cubicBezTo>
                    <a:pt x="243" y="290"/>
                    <a:pt x="243" y="290"/>
                    <a:pt x="243" y="290"/>
                  </a:cubicBezTo>
                  <a:cubicBezTo>
                    <a:pt x="172" y="331"/>
                    <a:pt x="172" y="331"/>
                    <a:pt x="172" y="331"/>
                  </a:cubicBezTo>
                  <a:cubicBezTo>
                    <a:pt x="103" y="290"/>
                    <a:pt x="103" y="290"/>
                    <a:pt x="103" y="290"/>
                  </a:cubicBezTo>
                  <a:lnTo>
                    <a:pt x="114" y="267"/>
                  </a:lnTo>
                  <a:close/>
                  <a:moveTo>
                    <a:pt x="292" y="181"/>
                  </a:moveTo>
                  <a:cubicBezTo>
                    <a:pt x="312" y="159"/>
                    <a:pt x="323" y="131"/>
                    <a:pt x="323" y="101"/>
                  </a:cubicBezTo>
                  <a:cubicBezTo>
                    <a:pt x="323" y="72"/>
                    <a:pt x="312" y="44"/>
                    <a:pt x="292" y="22"/>
                  </a:cubicBezTo>
                  <a:cubicBezTo>
                    <a:pt x="288" y="17"/>
                    <a:pt x="288" y="9"/>
                    <a:pt x="293" y="4"/>
                  </a:cubicBezTo>
                  <a:cubicBezTo>
                    <a:pt x="298" y="0"/>
                    <a:pt x="306" y="0"/>
                    <a:pt x="311" y="5"/>
                  </a:cubicBezTo>
                  <a:cubicBezTo>
                    <a:pt x="335" y="32"/>
                    <a:pt x="348" y="66"/>
                    <a:pt x="348" y="101"/>
                  </a:cubicBezTo>
                  <a:cubicBezTo>
                    <a:pt x="348" y="137"/>
                    <a:pt x="334" y="171"/>
                    <a:pt x="310" y="198"/>
                  </a:cubicBezTo>
                  <a:cubicBezTo>
                    <a:pt x="308" y="200"/>
                    <a:pt x="304" y="201"/>
                    <a:pt x="301" y="201"/>
                  </a:cubicBezTo>
                  <a:cubicBezTo>
                    <a:pt x="298" y="201"/>
                    <a:pt x="295" y="200"/>
                    <a:pt x="293" y="198"/>
                  </a:cubicBezTo>
                  <a:cubicBezTo>
                    <a:pt x="287" y="194"/>
                    <a:pt x="287" y="186"/>
                    <a:pt x="292" y="181"/>
                  </a:cubicBezTo>
                  <a:moveTo>
                    <a:pt x="284" y="101"/>
                  </a:moveTo>
                  <a:cubicBezTo>
                    <a:pt x="284" y="122"/>
                    <a:pt x="276" y="142"/>
                    <a:pt x="262" y="158"/>
                  </a:cubicBezTo>
                  <a:cubicBezTo>
                    <a:pt x="259" y="160"/>
                    <a:pt x="256" y="161"/>
                    <a:pt x="253" y="161"/>
                  </a:cubicBezTo>
                  <a:cubicBezTo>
                    <a:pt x="249" y="161"/>
                    <a:pt x="246" y="160"/>
                    <a:pt x="244" y="158"/>
                  </a:cubicBezTo>
                  <a:cubicBezTo>
                    <a:pt x="239" y="154"/>
                    <a:pt x="239" y="146"/>
                    <a:pt x="243" y="140"/>
                  </a:cubicBezTo>
                  <a:cubicBezTo>
                    <a:pt x="253" y="130"/>
                    <a:pt x="259" y="116"/>
                    <a:pt x="259" y="101"/>
                  </a:cubicBezTo>
                  <a:cubicBezTo>
                    <a:pt x="259" y="87"/>
                    <a:pt x="253" y="73"/>
                    <a:pt x="243" y="62"/>
                  </a:cubicBezTo>
                  <a:cubicBezTo>
                    <a:pt x="239" y="57"/>
                    <a:pt x="239" y="49"/>
                    <a:pt x="244" y="44"/>
                  </a:cubicBezTo>
                  <a:cubicBezTo>
                    <a:pt x="249" y="40"/>
                    <a:pt x="257" y="40"/>
                    <a:pt x="262" y="45"/>
                  </a:cubicBezTo>
                  <a:cubicBezTo>
                    <a:pt x="276" y="61"/>
                    <a:pt x="284" y="81"/>
                    <a:pt x="284" y="101"/>
                  </a:cubicBezTo>
                  <a:moveTo>
                    <a:pt x="37" y="198"/>
                  </a:moveTo>
                  <a:cubicBezTo>
                    <a:pt x="13" y="171"/>
                    <a:pt x="0" y="137"/>
                    <a:pt x="0" y="101"/>
                  </a:cubicBezTo>
                  <a:cubicBezTo>
                    <a:pt x="0" y="66"/>
                    <a:pt x="13" y="32"/>
                    <a:pt x="36" y="5"/>
                  </a:cubicBezTo>
                  <a:cubicBezTo>
                    <a:pt x="41" y="0"/>
                    <a:pt x="49" y="0"/>
                    <a:pt x="54" y="4"/>
                  </a:cubicBezTo>
                  <a:cubicBezTo>
                    <a:pt x="59" y="9"/>
                    <a:pt x="59" y="17"/>
                    <a:pt x="55" y="22"/>
                  </a:cubicBezTo>
                  <a:cubicBezTo>
                    <a:pt x="35" y="44"/>
                    <a:pt x="24" y="72"/>
                    <a:pt x="24" y="101"/>
                  </a:cubicBezTo>
                  <a:cubicBezTo>
                    <a:pt x="24" y="131"/>
                    <a:pt x="35" y="159"/>
                    <a:pt x="56" y="181"/>
                  </a:cubicBezTo>
                  <a:cubicBezTo>
                    <a:pt x="60" y="186"/>
                    <a:pt x="60" y="194"/>
                    <a:pt x="55" y="198"/>
                  </a:cubicBezTo>
                  <a:cubicBezTo>
                    <a:pt x="52" y="201"/>
                    <a:pt x="49" y="202"/>
                    <a:pt x="46" y="202"/>
                  </a:cubicBezTo>
                  <a:cubicBezTo>
                    <a:pt x="43" y="202"/>
                    <a:pt x="40" y="200"/>
                    <a:pt x="37" y="198"/>
                  </a:cubicBezTo>
                  <a:moveTo>
                    <a:pt x="103" y="62"/>
                  </a:moveTo>
                  <a:cubicBezTo>
                    <a:pt x="94" y="73"/>
                    <a:pt x="88" y="87"/>
                    <a:pt x="88" y="101"/>
                  </a:cubicBezTo>
                  <a:cubicBezTo>
                    <a:pt x="88" y="116"/>
                    <a:pt x="94" y="130"/>
                    <a:pt x="104" y="141"/>
                  </a:cubicBezTo>
                  <a:cubicBezTo>
                    <a:pt x="108" y="146"/>
                    <a:pt x="108" y="154"/>
                    <a:pt x="103" y="158"/>
                  </a:cubicBezTo>
                  <a:cubicBezTo>
                    <a:pt x="100" y="161"/>
                    <a:pt x="97" y="162"/>
                    <a:pt x="94" y="162"/>
                  </a:cubicBezTo>
                  <a:cubicBezTo>
                    <a:pt x="91" y="162"/>
                    <a:pt x="88" y="160"/>
                    <a:pt x="85" y="158"/>
                  </a:cubicBezTo>
                  <a:cubicBezTo>
                    <a:pt x="71" y="142"/>
                    <a:pt x="63" y="122"/>
                    <a:pt x="63" y="102"/>
                  </a:cubicBezTo>
                  <a:cubicBezTo>
                    <a:pt x="63" y="81"/>
                    <a:pt x="71" y="61"/>
                    <a:pt x="85" y="46"/>
                  </a:cubicBezTo>
                  <a:cubicBezTo>
                    <a:pt x="89" y="41"/>
                    <a:pt x="97" y="40"/>
                    <a:pt x="102" y="45"/>
                  </a:cubicBezTo>
                  <a:cubicBezTo>
                    <a:pt x="108" y="49"/>
                    <a:pt x="108" y="57"/>
                    <a:pt x="103" y="6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3" name="TextBox 222"/>
          <p:cNvSpPr txBox="1"/>
          <p:nvPr/>
        </p:nvSpPr>
        <p:spPr>
          <a:xfrm>
            <a:off x="3148558" y="3752710"/>
            <a:ext cx="349776" cy="207749"/>
          </a:xfrm>
          <a:prstGeom prst="rect">
            <a:avLst/>
          </a:prstGeom>
          <a:noFill/>
        </p:spPr>
        <p:txBody>
          <a:bodyPr wrap="none" rtlCol="0" anchor="ctr" anchorCtr="0">
            <a:spAutoFit/>
          </a:bodyPr>
          <a:lstStyle/>
          <a:p>
            <a:pPr algn="ctr">
              <a:spcBef>
                <a:spcPts val="1800"/>
              </a:spcBef>
            </a:pPr>
            <a:r>
              <a:rPr lang="en-US" sz="750" dirty="0" err="1">
                <a:solidFill>
                  <a:srgbClr val="004990"/>
                </a:solidFill>
              </a:rPr>
              <a:t>LTE</a:t>
            </a:r>
            <a:endParaRPr lang="en-US" sz="750" dirty="0">
              <a:solidFill>
                <a:srgbClr val="004990"/>
              </a:solidFill>
            </a:endParaRPr>
          </a:p>
        </p:txBody>
      </p:sp>
      <p:grpSp>
        <p:nvGrpSpPr>
          <p:cNvPr id="73" name="Group 72"/>
          <p:cNvGrpSpPr/>
          <p:nvPr/>
        </p:nvGrpSpPr>
        <p:grpSpPr>
          <a:xfrm>
            <a:off x="3008296" y="2978244"/>
            <a:ext cx="1227154" cy="1756680"/>
            <a:chOff x="3008296" y="2978244"/>
            <a:chExt cx="1227154" cy="1756680"/>
          </a:xfrm>
        </p:grpSpPr>
        <p:grpSp>
          <p:nvGrpSpPr>
            <p:cNvPr id="72" name="Group 71"/>
            <p:cNvGrpSpPr/>
            <p:nvPr/>
          </p:nvGrpSpPr>
          <p:grpSpPr>
            <a:xfrm>
              <a:off x="4146550" y="3199337"/>
              <a:ext cx="88900" cy="1341415"/>
              <a:chOff x="4146550" y="3199337"/>
              <a:chExt cx="88900" cy="1341415"/>
            </a:xfrm>
          </p:grpSpPr>
          <p:cxnSp>
            <p:nvCxnSpPr>
              <p:cNvPr id="39" name="Straight Connector 38"/>
              <p:cNvCxnSpPr/>
              <p:nvPr/>
            </p:nvCxnSpPr>
            <p:spPr>
              <a:xfrm>
                <a:off x="4235450" y="3199337"/>
                <a:ext cx="0" cy="1341415"/>
              </a:xfrm>
              <a:prstGeom prst="line">
                <a:avLst/>
              </a:prstGeom>
              <a:ln w="12700" cap="rnd">
                <a:solidFill>
                  <a:srgbClr val="004BA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4146550" y="3202865"/>
                <a:ext cx="88900" cy="0"/>
              </a:xfrm>
              <a:prstGeom prst="line">
                <a:avLst/>
              </a:prstGeom>
              <a:ln w="12700" cap="rnd">
                <a:solidFill>
                  <a:srgbClr val="004BAF"/>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flipH="1">
                <a:off x="4146550" y="4540752"/>
                <a:ext cx="88900" cy="0"/>
              </a:xfrm>
              <a:prstGeom prst="line">
                <a:avLst/>
              </a:prstGeom>
              <a:ln w="12700" cap="rnd">
                <a:solidFill>
                  <a:srgbClr val="004BAF"/>
                </a:solidFill>
              </a:ln>
            </p:spPr>
            <p:style>
              <a:lnRef idx="1">
                <a:schemeClr val="accent1"/>
              </a:lnRef>
              <a:fillRef idx="0">
                <a:schemeClr val="accent1"/>
              </a:fillRef>
              <a:effectRef idx="0">
                <a:schemeClr val="accent1"/>
              </a:effectRef>
              <a:fontRef idx="minor">
                <a:schemeClr val="tx1"/>
              </a:fontRef>
            </p:style>
          </p:cxnSp>
        </p:grpSp>
        <p:sp>
          <p:nvSpPr>
            <p:cNvPr id="221" name="TextBox 220"/>
            <p:cNvSpPr txBox="1"/>
            <p:nvPr/>
          </p:nvSpPr>
          <p:spPr>
            <a:xfrm>
              <a:off x="3008296" y="3147915"/>
              <a:ext cx="630301" cy="207749"/>
            </a:xfrm>
            <a:prstGeom prst="rect">
              <a:avLst/>
            </a:prstGeom>
            <a:noFill/>
          </p:spPr>
          <p:txBody>
            <a:bodyPr wrap="none" rtlCol="0" anchor="ctr" anchorCtr="0">
              <a:spAutoFit/>
            </a:bodyPr>
            <a:lstStyle/>
            <a:p>
              <a:pPr algn="ctr">
                <a:spcBef>
                  <a:spcPts val="1800"/>
                </a:spcBef>
              </a:pPr>
              <a:r>
                <a:rPr lang="en-US" sz="750" dirty="0">
                  <a:solidFill>
                    <a:srgbClr val="004990"/>
                  </a:solidFill>
                </a:rPr>
                <a:t>Small Cell</a:t>
              </a:r>
            </a:p>
          </p:txBody>
        </p:sp>
        <p:grpSp>
          <p:nvGrpSpPr>
            <p:cNvPr id="6" name="Group 5"/>
            <p:cNvGrpSpPr/>
            <p:nvPr/>
          </p:nvGrpSpPr>
          <p:grpSpPr>
            <a:xfrm>
              <a:off x="3600497" y="2978244"/>
              <a:ext cx="546053" cy="547090"/>
              <a:chOff x="3638597" y="3777956"/>
              <a:chExt cx="796358" cy="797870"/>
            </a:xfrm>
          </p:grpSpPr>
          <p:sp>
            <p:nvSpPr>
              <p:cNvPr id="75" name="Oval 159"/>
              <p:cNvSpPr>
                <a:spLocks noChangeArrowheads="1"/>
              </p:cNvSpPr>
              <p:nvPr/>
            </p:nvSpPr>
            <p:spPr bwMode="auto">
              <a:xfrm>
                <a:off x="3638597" y="3777956"/>
                <a:ext cx="796358" cy="797870"/>
              </a:xfrm>
              <a:prstGeom prst="ellipse">
                <a:avLst/>
              </a:prstGeom>
              <a:solidFill>
                <a:srgbClr val="9E9EA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6" name="Freeform 160"/>
              <p:cNvSpPr>
                <a:spLocks noEditPoints="1"/>
              </p:cNvSpPr>
              <p:nvPr/>
            </p:nvSpPr>
            <p:spPr bwMode="auto">
              <a:xfrm>
                <a:off x="3830126" y="3978054"/>
                <a:ext cx="414308" cy="425900"/>
              </a:xfrm>
              <a:custGeom>
                <a:avLst/>
                <a:gdLst>
                  <a:gd name="T0" fmla="*/ 165 w 348"/>
                  <a:gd name="T1" fmla="*/ 356 h 358"/>
                  <a:gd name="T2" fmla="*/ 178 w 348"/>
                  <a:gd name="T3" fmla="*/ 356 h 358"/>
                  <a:gd name="T4" fmla="*/ 271 w 348"/>
                  <a:gd name="T5" fmla="*/ 289 h 358"/>
                  <a:gd name="T6" fmla="*/ 197 w 348"/>
                  <a:gd name="T7" fmla="*/ 96 h 358"/>
                  <a:gd name="T8" fmla="*/ 147 w 348"/>
                  <a:gd name="T9" fmla="*/ 96 h 358"/>
                  <a:gd name="T10" fmla="*/ 76 w 348"/>
                  <a:gd name="T11" fmla="*/ 289 h 358"/>
                  <a:gd name="T12" fmla="*/ 139 w 348"/>
                  <a:gd name="T13" fmla="*/ 217 h 358"/>
                  <a:gd name="T14" fmla="*/ 173 w 348"/>
                  <a:gd name="T15" fmla="*/ 234 h 358"/>
                  <a:gd name="T16" fmla="*/ 206 w 348"/>
                  <a:gd name="T17" fmla="*/ 216 h 358"/>
                  <a:gd name="T18" fmla="*/ 214 w 348"/>
                  <a:gd name="T19" fmla="*/ 247 h 358"/>
                  <a:gd name="T20" fmla="*/ 127 w 348"/>
                  <a:gd name="T21" fmla="*/ 245 h 358"/>
                  <a:gd name="T22" fmla="*/ 139 w 348"/>
                  <a:gd name="T23" fmla="*/ 217 h 358"/>
                  <a:gd name="T24" fmla="*/ 172 w 348"/>
                  <a:gd name="T25" fmla="*/ 148 h 358"/>
                  <a:gd name="T26" fmla="*/ 172 w 348"/>
                  <a:gd name="T27" fmla="*/ 207 h 358"/>
                  <a:gd name="T28" fmla="*/ 114 w 348"/>
                  <a:gd name="T29" fmla="*/ 267 h 358"/>
                  <a:gd name="T30" fmla="*/ 167 w 348"/>
                  <a:gd name="T31" fmla="*/ 296 h 358"/>
                  <a:gd name="T32" fmla="*/ 180 w 348"/>
                  <a:gd name="T33" fmla="*/ 296 h 358"/>
                  <a:gd name="T34" fmla="*/ 231 w 348"/>
                  <a:gd name="T35" fmla="*/ 265 h 358"/>
                  <a:gd name="T36" fmla="*/ 172 w 348"/>
                  <a:gd name="T37" fmla="*/ 331 h 358"/>
                  <a:gd name="T38" fmla="*/ 114 w 348"/>
                  <a:gd name="T39" fmla="*/ 267 h 358"/>
                  <a:gd name="T40" fmla="*/ 323 w 348"/>
                  <a:gd name="T41" fmla="*/ 101 h 358"/>
                  <a:gd name="T42" fmla="*/ 293 w 348"/>
                  <a:gd name="T43" fmla="*/ 4 h 358"/>
                  <a:gd name="T44" fmla="*/ 348 w 348"/>
                  <a:gd name="T45" fmla="*/ 101 h 358"/>
                  <a:gd name="T46" fmla="*/ 301 w 348"/>
                  <a:gd name="T47" fmla="*/ 201 h 358"/>
                  <a:gd name="T48" fmla="*/ 292 w 348"/>
                  <a:gd name="T49" fmla="*/ 181 h 358"/>
                  <a:gd name="T50" fmla="*/ 262 w 348"/>
                  <a:gd name="T51" fmla="*/ 158 h 358"/>
                  <a:gd name="T52" fmla="*/ 244 w 348"/>
                  <a:gd name="T53" fmla="*/ 158 h 358"/>
                  <a:gd name="T54" fmla="*/ 259 w 348"/>
                  <a:gd name="T55" fmla="*/ 101 h 358"/>
                  <a:gd name="T56" fmla="*/ 244 w 348"/>
                  <a:gd name="T57" fmla="*/ 44 h 358"/>
                  <a:gd name="T58" fmla="*/ 284 w 348"/>
                  <a:gd name="T59" fmla="*/ 101 h 358"/>
                  <a:gd name="T60" fmla="*/ 0 w 348"/>
                  <a:gd name="T61" fmla="*/ 101 h 358"/>
                  <a:gd name="T62" fmla="*/ 54 w 348"/>
                  <a:gd name="T63" fmla="*/ 4 h 358"/>
                  <a:gd name="T64" fmla="*/ 24 w 348"/>
                  <a:gd name="T65" fmla="*/ 101 h 358"/>
                  <a:gd name="T66" fmla="*/ 55 w 348"/>
                  <a:gd name="T67" fmla="*/ 198 h 358"/>
                  <a:gd name="T68" fmla="*/ 37 w 348"/>
                  <a:gd name="T69" fmla="*/ 198 h 358"/>
                  <a:gd name="T70" fmla="*/ 88 w 348"/>
                  <a:gd name="T71" fmla="*/ 101 h 358"/>
                  <a:gd name="T72" fmla="*/ 103 w 348"/>
                  <a:gd name="T73" fmla="*/ 158 h 358"/>
                  <a:gd name="T74" fmla="*/ 85 w 348"/>
                  <a:gd name="T75" fmla="*/ 158 h 358"/>
                  <a:gd name="T76" fmla="*/ 85 w 348"/>
                  <a:gd name="T77" fmla="*/ 46 h 358"/>
                  <a:gd name="T78" fmla="*/ 103 w 348"/>
                  <a:gd name="T79"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8" h="358">
                    <a:moveTo>
                      <a:pt x="81" y="305"/>
                    </a:moveTo>
                    <a:cubicBezTo>
                      <a:pt x="165" y="356"/>
                      <a:pt x="165" y="356"/>
                      <a:pt x="165" y="356"/>
                    </a:cubicBezTo>
                    <a:cubicBezTo>
                      <a:pt x="167" y="357"/>
                      <a:pt x="170" y="358"/>
                      <a:pt x="172" y="358"/>
                    </a:cubicBezTo>
                    <a:cubicBezTo>
                      <a:pt x="174" y="358"/>
                      <a:pt x="176" y="357"/>
                      <a:pt x="178" y="356"/>
                    </a:cubicBezTo>
                    <a:cubicBezTo>
                      <a:pt x="266" y="305"/>
                      <a:pt x="266" y="305"/>
                      <a:pt x="266" y="305"/>
                    </a:cubicBezTo>
                    <a:cubicBezTo>
                      <a:pt x="272" y="302"/>
                      <a:pt x="274" y="295"/>
                      <a:pt x="271" y="289"/>
                    </a:cubicBezTo>
                    <a:cubicBezTo>
                      <a:pt x="185" y="118"/>
                      <a:pt x="185" y="118"/>
                      <a:pt x="185" y="118"/>
                    </a:cubicBezTo>
                    <a:cubicBezTo>
                      <a:pt x="192" y="113"/>
                      <a:pt x="197" y="105"/>
                      <a:pt x="197" y="96"/>
                    </a:cubicBezTo>
                    <a:cubicBezTo>
                      <a:pt x="197" y="83"/>
                      <a:pt x="186" y="71"/>
                      <a:pt x="172" y="71"/>
                    </a:cubicBezTo>
                    <a:cubicBezTo>
                      <a:pt x="158" y="71"/>
                      <a:pt x="147" y="83"/>
                      <a:pt x="147" y="96"/>
                    </a:cubicBezTo>
                    <a:cubicBezTo>
                      <a:pt x="147" y="105"/>
                      <a:pt x="152" y="113"/>
                      <a:pt x="159" y="118"/>
                    </a:cubicBezTo>
                    <a:cubicBezTo>
                      <a:pt x="76" y="289"/>
                      <a:pt x="76" y="289"/>
                      <a:pt x="76" y="289"/>
                    </a:cubicBezTo>
                    <a:cubicBezTo>
                      <a:pt x="73" y="295"/>
                      <a:pt x="75" y="302"/>
                      <a:pt x="81" y="305"/>
                    </a:cubicBezTo>
                    <a:moveTo>
                      <a:pt x="139" y="217"/>
                    </a:moveTo>
                    <a:cubicBezTo>
                      <a:pt x="167" y="232"/>
                      <a:pt x="167" y="232"/>
                      <a:pt x="167" y="232"/>
                    </a:cubicBezTo>
                    <a:cubicBezTo>
                      <a:pt x="169" y="233"/>
                      <a:pt x="171" y="234"/>
                      <a:pt x="173" y="234"/>
                    </a:cubicBezTo>
                    <a:cubicBezTo>
                      <a:pt x="175" y="234"/>
                      <a:pt x="177" y="233"/>
                      <a:pt x="179" y="232"/>
                    </a:cubicBezTo>
                    <a:cubicBezTo>
                      <a:pt x="206" y="216"/>
                      <a:pt x="206" y="216"/>
                      <a:pt x="206" y="216"/>
                    </a:cubicBezTo>
                    <a:cubicBezTo>
                      <a:pt x="221" y="245"/>
                      <a:pt x="221" y="245"/>
                      <a:pt x="221" y="245"/>
                    </a:cubicBezTo>
                    <a:cubicBezTo>
                      <a:pt x="219" y="245"/>
                      <a:pt x="216" y="246"/>
                      <a:pt x="214" y="247"/>
                    </a:cubicBezTo>
                    <a:cubicBezTo>
                      <a:pt x="173" y="271"/>
                      <a:pt x="173" y="271"/>
                      <a:pt x="173" y="271"/>
                    </a:cubicBezTo>
                    <a:cubicBezTo>
                      <a:pt x="127" y="245"/>
                      <a:pt x="127" y="245"/>
                      <a:pt x="127" y="245"/>
                    </a:cubicBezTo>
                    <a:cubicBezTo>
                      <a:pt x="126" y="245"/>
                      <a:pt x="126" y="245"/>
                      <a:pt x="125" y="244"/>
                    </a:cubicBezTo>
                    <a:lnTo>
                      <a:pt x="139" y="217"/>
                    </a:lnTo>
                    <a:close/>
                    <a:moveTo>
                      <a:pt x="150" y="194"/>
                    </a:moveTo>
                    <a:cubicBezTo>
                      <a:pt x="172" y="148"/>
                      <a:pt x="172" y="148"/>
                      <a:pt x="172" y="148"/>
                    </a:cubicBezTo>
                    <a:cubicBezTo>
                      <a:pt x="195" y="194"/>
                      <a:pt x="195" y="194"/>
                      <a:pt x="195" y="194"/>
                    </a:cubicBezTo>
                    <a:cubicBezTo>
                      <a:pt x="172" y="207"/>
                      <a:pt x="172" y="207"/>
                      <a:pt x="172" y="207"/>
                    </a:cubicBezTo>
                    <a:lnTo>
                      <a:pt x="150" y="194"/>
                    </a:lnTo>
                    <a:close/>
                    <a:moveTo>
                      <a:pt x="114" y="267"/>
                    </a:moveTo>
                    <a:cubicBezTo>
                      <a:pt x="115" y="267"/>
                      <a:pt x="115" y="267"/>
                      <a:pt x="115" y="267"/>
                    </a:cubicBezTo>
                    <a:cubicBezTo>
                      <a:pt x="167" y="296"/>
                      <a:pt x="167" y="296"/>
                      <a:pt x="167" y="296"/>
                    </a:cubicBezTo>
                    <a:cubicBezTo>
                      <a:pt x="169" y="297"/>
                      <a:pt x="171" y="298"/>
                      <a:pt x="174" y="298"/>
                    </a:cubicBezTo>
                    <a:cubicBezTo>
                      <a:pt x="176" y="298"/>
                      <a:pt x="178" y="297"/>
                      <a:pt x="180" y="296"/>
                    </a:cubicBezTo>
                    <a:cubicBezTo>
                      <a:pt x="227" y="268"/>
                      <a:pt x="227" y="268"/>
                      <a:pt x="227" y="268"/>
                    </a:cubicBezTo>
                    <a:cubicBezTo>
                      <a:pt x="228" y="267"/>
                      <a:pt x="230" y="266"/>
                      <a:pt x="231" y="265"/>
                    </a:cubicBezTo>
                    <a:cubicBezTo>
                      <a:pt x="243" y="290"/>
                      <a:pt x="243" y="290"/>
                      <a:pt x="243" y="290"/>
                    </a:cubicBezTo>
                    <a:cubicBezTo>
                      <a:pt x="172" y="331"/>
                      <a:pt x="172" y="331"/>
                      <a:pt x="172" y="331"/>
                    </a:cubicBezTo>
                    <a:cubicBezTo>
                      <a:pt x="103" y="290"/>
                      <a:pt x="103" y="290"/>
                      <a:pt x="103" y="290"/>
                    </a:cubicBezTo>
                    <a:lnTo>
                      <a:pt x="114" y="267"/>
                    </a:lnTo>
                    <a:close/>
                    <a:moveTo>
                      <a:pt x="292" y="181"/>
                    </a:moveTo>
                    <a:cubicBezTo>
                      <a:pt x="312" y="159"/>
                      <a:pt x="323" y="131"/>
                      <a:pt x="323" y="101"/>
                    </a:cubicBezTo>
                    <a:cubicBezTo>
                      <a:pt x="323" y="72"/>
                      <a:pt x="312" y="44"/>
                      <a:pt x="292" y="22"/>
                    </a:cubicBezTo>
                    <a:cubicBezTo>
                      <a:pt x="288" y="17"/>
                      <a:pt x="288" y="9"/>
                      <a:pt x="293" y="4"/>
                    </a:cubicBezTo>
                    <a:cubicBezTo>
                      <a:pt x="298" y="0"/>
                      <a:pt x="306" y="0"/>
                      <a:pt x="311" y="5"/>
                    </a:cubicBezTo>
                    <a:cubicBezTo>
                      <a:pt x="335" y="32"/>
                      <a:pt x="348" y="66"/>
                      <a:pt x="348" y="101"/>
                    </a:cubicBezTo>
                    <a:cubicBezTo>
                      <a:pt x="348" y="137"/>
                      <a:pt x="334" y="171"/>
                      <a:pt x="310" y="198"/>
                    </a:cubicBezTo>
                    <a:cubicBezTo>
                      <a:pt x="308" y="200"/>
                      <a:pt x="304" y="201"/>
                      <a:pt x="301" y="201"/>
                    </a:cubicBezTo>
                    <a:cubicBezTo>
                      <a:pt x="298" y="201"/>
                      <a:pt x="295" y="200"/>
                      <a:pt x="293" y="198"/>
                    </a:cubicBezTo>
                    <a:cubicBezTo>
                      <a:pt x="287" y="194"/>
                      <a:pt x="287" y="186"/>
                      <a:pt x="292" y="181"/>
                    </a:cubicBezTo>
                    <a:moveTo>
                      <a:pt x="284" y="101"/>
                    </a:moveTo>
                    <a:cubicBezTo>
                      <a:pt x="284" y="122"/>
                      <a:pt x="276" y="142"/>
                      <a:pt x="262" y="158"/>
                    </a:cubicBezTo>
                    <a:cubicBezTo>
                      <a:pt x="259" y="160"/>
                      <a:pt x="256" y="161"/>
                      <a:pt x="253" y="161"/>
                    </a:cubicBezTo>
                    <a:cubicBezTo>
                      <a:pt x="249" y="161"/>
                      <a:pt x="246" y="160"/>
                      <a:pt x="244" y="158"/>
                    </a:cubicBezTo>
                    <a:cubicBezTo>
                      <a:pt x="239" y="154"/>
                      <a:pt x="239" y="146"/>
                      <a:pt x="243" y="140"/>
                    </a:cubicBezTo>
                    <a:cubicBezTo>
                      <a:pt x="253" y="130"/>
                      <a:pt x="259" y="116"/>
                      <a:pt x="259" y="101"/>
                    </a:cubicBezTo>
                    <a:cubicBezTo>
                      <a:pt x="259" y="87"/>
                      <a:pt x="253" y="73"/>
                      <a:pt x="243" y="62"/>
                    </a:cubicBezTo>
                    <a:cubicBezTo>
                      <a:pt x="239" y="57"/>
                      <a:pt x="239" y="49"/>
                      <a:pt x="244" y="44"/>
                    </a:cubicBezTo>
                    <a:cubicBezTo>
                      <a:pt x="249" y="40"/>
                      <a:pt x="257" y="40"/>
                      <a:pt x="262" y="45"/>
                    </a:cubicBezTo>
                    <a:cubicBezTo>
                      <a:pt x="276" y="61"/>
                      <a:pt x="284" y="81"/>
                      <a:pt x="284" y="101"/>
                    </a:cubicBezTo>
                    <a:moveTo>
                      <a:pt x="37" y="198"/>
                    </a:moveTo>
                    <a:cubicBezTo>
                      <a:pt x="13" y="171"/>
                      <a:pt x="0" y="137"/>
                      <a:pt x="0" y="101"/>
                    </a:cubicBezTo>
                    <a:cubicBezTo>
                      <a:pt x="0" y="66"/>
                      <a:pt x="13" y="32"/>
                      <a:pt x="36" y="5"/>
                    </a:cubicBezTo>
                    <a:cubicBezTo>
                      <a:pt x="41" y="0"/>
                      <a:pt x="49" y="0"/>
                      <a:pt x="54" y="4"/>
                    </a:cubicBezTo>
                    <a:cubicBezTo>
                      <a:pt x="59" y="9"/>
                      <a:pt x="59" y="17"/>
                      <a:pt x="55" y="22"/>
                    </a:cubicBezTo>
                    <a:cubicBezTo>
                      <a:pt x="35" y="44"/>
                      <a:pt x="24" y="72"/>
                      <a:pt x="24" y="101"/>
                    </a:cubicBezTo>
                    <a:cubicBezTo>
                      <a:pt x="24" y="131"/>
                      <a:pt x="35" y="159"/>
                      <a:pt x="56" y="181"/>
                    </a:cubicBezTo>
                    <a:cubicBezTo>
                      <a:pt x="60" y="186"/>
                      <a:pt x="60" y="194"/>
                      <a:pt x="55" y="198"/>
                    </a:cubicBezTo>
                    <a:cubicBezTo>
                      <a:pt x="52" y="201"/>
                      <a:pt x="49" y="202"/>
                      <a:pt x="46" y="202"/>
                    </a:cubicBezTo>
                    <a:cubicBezTo>
                      <a:pt x="43" y="202"/>
                      <a:pt x="40" y="200"/>
                      <a:pt x="37" y="198"/>
                    </a:cubicBezTo>
                    <a:moveTo>
                      <a:pt x="103" y="62"/>
                    </a:moveTo>
                    <a:cubicBezTo>
                      <a:pt x="94" y="73"/>
                      <a:pt x="88" y="87"/>
                      <a:pt x="88" y="101"/>
                    </a:cubicBezTo>
                    <a:cubicBezTo>
                      <a:pt x="88" y="116"/>
                      <a:pt x="94" y="130"/>
                      <a:pt x="104" y="141"/>
                    </a:cubicBezTo>
                    <a:cubicBezTo>
                      <a:pt x="108" y="146"/>
                      <a:pt x="108" y="154"/>
                      <a:pt x="103" y="158"/>
                    </a:cubicBezTo>
                    <a:cubicBezTo>
                      <a:pt x="100" y="161"/>
                      <a:pt x="97" y="162"/>
                      <a:pt x="94" y="162"/>
                    </a:cubicBezTo>
                    <a:cubicBezTo>
                      <a:pt x="91" y="162"/>
                      <a:pt x="88" y="160"/>
                      <a:pt x="85" y="158"/>
                    </a:cubicBezTo>
                    <a:cubicBezTo>
                      <a:pt x="71" y="142"/>
                      <a:pt x="63" y="122"/>
                      <a:pt x="63" y="102"/>
                    </a:cubicBezTo>
                    <a:cubicBezTo>
                      <a:pt x="63" y="81"/>
                      <a:pt x="71" y="61"/>
                      <a:pt x="85" y="46"/>
                    </a:cubicBezTo>
                    <a:cubicBezTo>
                      <a:pt x="89" y="41"/>
                      <a:pt x="97" y="40"/>
                      <a:pt x="102" y="45"/>
                    </a:cubicBezTo>
                    <a:cubicBezTo>
                      <a:pt x="108" y="49"/>
                      <a:pt x="108" y="57"/>
                      <a:pt x="103" y="6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7" name="Group 216"/>
            <p:cNvGrpSpPr/>
            <p:nvPr/>
          </p:nvGrpSpPr>
          <p:grpSpPr>
            <a:xfrm>
              <a:off x="3600497" y="4187834"/>
              <a:ext cx="546053" cy="547090"/>
              <a:chOff x="3638597" y="3777956"/>
              <a:chExt cx="796358" cy="797870"/>
            </a:xfrm>
          </p:grpSpPr>
          <p:sp>
            <p:nvSpPr>
              <p:cNvPr id="218" name="Oval 159"/>
              <p:cNvSpPr>
                <a:spLocks noChangeArrowheads="1"/>
              </p:cNvSpPr>
              <p:nvPr/>
            </p:nvSpPr>
            <p:spPr bwMode="auto">
              <a:xfrm>
                <a:off x="3638597" y="3777956"/>
                <a:ext cx="796358" cy="797870"/>
              </a:xfrm>
              <a:prstGeom prst="ellipse">
                <a:avLst/>
              </a:prstGeom>
              <a:solidFill>
                <a:srgbClr val="9E9EA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19" name="Freeform 160"/>
              <p:cNvSpPr>
                <a:spLocks noEditPoints="1"/>
              </p:cNvSpPr>
              <p:nvPr/>
            </p:nvSpPr>
            <p:spPr bwMode="auto">
              <a:xfrm>
                <a:off x="3830126" y="3978054"/>
                <a:ext cx="414308" cy="425900"/>
              </a:xfrm>
              <a:custGeom>
                <a:avLst/>
                <a:gdLst>
                  <a:gd name="T0" fmla="*/ 165 w 348"/>
                  <a:gd name="T1" fmla="*/ 356 h 358"/>
                  <a:gd name="T2" fmla="*/ 178 w 348"/>
                  <a:gd name="T3" fmla="*/ 356 h 358"/>
                  <a:gd name="T4" fmla="*/ 271 w 348"/>
                  <a:gd name="T5" fmla="*/ 289 h 358"/>
                  <a:gd name="T6" fmla="*/ 197 w 348"/>
                  <a:gd name="T7" fmla="*/ 96 h 358"/>
                  <a:gd name="T8" fmla="*/ 147 w 348"/>
                  <a:gd name="T9" fmla="*/ 96 h 358"/>
                  <a:gd name="T10" fmla="*/ 76 w 348"/>
                  <a:gd name="T11" fmla="*/ 289 h 358"/>
                  <a:gd name="T12" fmla="*/ 139 w 348"/>
                  <a:gd name="T13" fmla="*/ 217 h 358"/>
                  <a:gd name="T14" fmla="*/ 173 w 348"/>
                  <a:gd name="T15" fmla="*/ 234 h 358"/>
                  <a:gd name="T16" fmla="*/ 206 w 348"/>
                  <a:gd name="T17" fmla="*/ 216 h 358"/>
                  <a:gd name="T18" fmla="*/ 214 w 348"/>
                  <a:gd name="T19" fmla="*/ 247 h 358"/>
                  <a:gd name="T20" fmla="*/ 127 w 348"/>
                  <a:gd name="T21" fmla="*/ 245 h 358"/>
                  <a:gd name="T22" fmla="*/ 139 w 348"/>
                  <a:gd name="T23" fmla="*/ 217 h 358"/>
                  <a:gd name="T24" fmla="*/ 172 w 348"/>
                  <a:gd name="T25" fmla="*/ 148 h 358"/>
                  <a:gd name="T26" fmla="*/ 172 w 348"/>
                  <a:gd name="T27" fmla="*/ 207 h 358"/>
                  <a:gd name="T28" fmla="*/ 114 w 348"/>
                  <a:gd name="T29" fmla="*/ 267 h 358"/>
                  <a:gd name="T30" fmla="*/ 167 w 348"/>
                  <a:gd name="T31" fmla="*/ 296 h 358"/>
                  <a:gd name="T32" fmla="*/ 180 w 348"/>
                  <a:gd name="T33" fmla="*/ 296 h 358"/>
                  <a:gd name="T34" fmla="*/ 231 w 348"/>
                  <a:gd name="T35" fmla="*/ 265 h 358"/>
                  <a:gd name="T36" fmla="*/ 172 w 348"/>
                  <a:gd name="T37" fmla="*/ 331 h 358"/>
                  <a:gd name="T38" fmla="*/ 114 w 348"/>
                  <a:gd name="T39" fmla="*/ 267 h 358"/>
                  <a:gd name="T40" fmla="*/ 323 w 348"/>
                  <a:gd name="T41" fmla="*/ 101 h 358"/>
                  <a:gd name="T42" fmla="*/ 293 w 348"/>
                  <a:gd name="T43" fmla="*/ 4 h 358"/>
                  <a:gd name="T44" fmla="*/ 348 w 348"/>
                  <a:gd name="T45" fmla="*/ 101 h 358"/>
                  <a:gd name="T46" fmla="*/ 301 w 348"/>
                  <a:gd name="T47" fmla="*/ 201 h 358"/>
                  <a:gd name="T48" fmla="*/ 292 w 348"/>
                  <a:gd name="T49" fmla="*/ 181 h 358"/>
                  <a:gd name="T50" fmla="*/ 262 w 348"/>
                  <a:gd name="T51" fmla="*/ 158 h 358"/>
                  <a:gd name="T52" fmla="*/ 244 w 348"/>
                  <a:gd name="T53" fmla="*/ 158 h 358"/>
                  <a:gd name="T54" fmla="*/ 259 w 348"/>
                  <a:gd name="T55" fmla="*/ 101 h 358"/>
                  <a:gd name="T56" fmla="*/ 244 w 348"/>
                  <a:gd name="T57" fmla="*/ 44 h 358"/>
                  <a:gd name="T58" fmla="*/ 284 w 348"/>
                  <a:gd name="T59" fmla="*/ 101 h 358"/>
                  <a:gd name="T60" fmla="*/ 0 w 348"/>
                  <a:gd name="T61" fmla="*/ 101 h 358"/>
                  <a:gd name="T62" fmla="*/ 54 w 348"/>
                  <a:gd name="T63" fmla="*/ 4 h 358"/>
                  <a:gd name="T64" fmla="*/ 24 w 348"/>
                  <a:gd name="T65" fmla="*/ 101 h 358"/>
                  <a:gd name="T66" fmla="*/ 55 w 348"/>
                  <a:gd name="T67" fmla="*/ 198 h 358"/>
                  <a:gd name="T68" fmla="*/ 37 w 348"/>
                  <a:gd name="T69" fmla="*/ 198 h 358"/>
                  <a:gd name="T70" fmla="*/ 88 w 348"/>
                  <a:gd name="T71" fmla="*/ 101 h 358"/>
                  <a:gd name="T72" fmla="*/ 103 w 348"/>
                  <a:gd name="T73" fmla="*/ 158 h 358"/>
                  <a:gd name="T74" fmla="*/ 85 w 348"/>
                  <a:gd name="T75" fmla="*/ 158 h 358"/>
                  <a:gd name="T76" fmla="*/ 85 w 348"/>
                  <a:gd name="T77" fmla="*/ 46 h 358"/>
                  <a:gd name="T78" fmla="*/ 103 w 348"/>
                  <a:gd name="T79"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8" h="358">
                    <a:moveTo>
                      <a:pt x="81" y="305"/>
                    </a:moveTo>
                    <a:cubicBezTo>
                      <a:pt x="165" y="356"/>
                      <a:pt x="165" y="356"/>
                      <a:pt x="165" y="356"/>
                    </a:cubicBezTo>
                    <a:cubicBezTo>
                      <a:pt x="167" y="357"/>
                      <a:pt x="170" y="358"/>
                      <a:pt x="172" y="358"/>
                    </a:cubicBezTo>
                    <a:cubicBezTo>
                      <a:pt x="174" y="358"/>
                      <a:pt x="176" y="357"/>
                      <a:pt x="178" y="356"/>
                    </a:cubicBezTo>
                    <a:cubicBezTo>
                      <a:pt x="266" y="305"/>
                      <a:pt x="266" y="305"/>
                      <a:pt x="266" y="305"/>
                    </a:cubicBezTo>
                    <a:cubicBezTo>
                      <a:pt x="272" y="302"/>
                      <a:pt x="274" y="295"/>
                      <a:pt x="271" y="289"/>
                    </a:cubicBezTo>
                    <a:cubicBezTo>
                      <a:pt x="185" y="118"/>
                      <a:pt x="185" y="118"/>
                      <a:pt x="185" y="118"/>
                    </a:cubicBezTo>
                    <a:cubicBezTo>
                      <a:pt x="192" y="113"/>
                      <a:pt x="197" y="105"/>
                      <a:pt x="197" y="96"/>
                    </a:cubicBezTo>
                    <a:cubicBezTo>
                      <a:pt x="197" y="83"/>
                      <a:pt x="186" y="71"/>
                      <a:pt x="172" y="71"/>
                    </a:cubicBezTo>
                    <a:cubicBezTo>
                      <a:pt x="158" y="71"/>
                      <a:pt x="147" y="83"/>
                      <a:pt x="147" y="96"/>
                    </a:cubicBezTo>
                    <a:cubicBezTo>
                      <a:pt x="147" y="105"/>
                      <a:pt x="152" y="113"/>
                      <a:pt x="159" y="118"/>
                    </a:cubicBezTo>
                    <a:cubicBezTo>
                      <a:pt x="76" y="289"/>
                      <a:pt x="76" y="289"/>
                      <a:pt x="76" y="289"/>
                    </a:cubicBezTo>
                    <a:cubicBezTo>
                      <a:pt x="73" y="295"/>
                      <a:pt x="75" y="302"/>
                      <a:pt x="81" y="305"/>
                    </a:cubicBezTo>
                    <a:moveTo>
                      <a:pt x="139" y="217"/>
                    </a:moveTo>
                    <a:cubicBezTo>
                      <a:pt x="167" y="232"/>
                      <a:pt x="167" y="232"/>
                      <a:pt x="167" y="232"/>
                    </a:cubicBezTo>
                    <a:cubicBezTo>
                      <a:pt x="169" y="233"/>
                      <a:pt x="171" y="234"/>
                      <a:pt x="173" y="234"/>
                    </a:cubicBezTo>
                    <a:cubicBezTo>
                      <a:pt x="175" y="234"/>
                      <a:pt x="177" y="233"/>
                      <a:pt x="179" y="232"/>
                    </a:cubicBezTo>
                    <a:cubicBezTo>
                      <a:pt x="206" y="216"/>
                      <a:pt x="206" y="216"/>
                      <a:pt x="206" y="216"/>
                    </a:cubicBezTo>
                    <a:cubicBezTo>
                      <a:pt x="221" y="245"/>
                      <a:pt x="221" y="245"/>
                      <a:pt x="221" y="245"/>
                    </a:cubicBezTo>
                    <a:cubicBezTo>
                      <a:pt x="219" y="245"/>
                      <a:pt x="216" y="246"/>
                      <a:pt x="214" y="247"/>
                    </a:cubicBezTo>
                    <a:cubicBezTo>
                      <a:pt x="173" y="271"/>
                      <a:pt x="173" y="271"/>
                      <a:pt x="173" y="271"/>
                    </a:cubicBezTo>
                    <a:cubicBezTo>
                      <a:pt x="127" y="245"/>
                      <a:pt x="127" y="245"/>
                      <a:pt x="127" y="245"/>
                    </a:cubicBezTo>
                    <a:cubicBezTo>
                      <a:pt x="126" y="245"/>
                      <a:pt x="126" y="245"/>
                      <a:pt x="125" y="244"/>
                    </a:cubicBezTo>
                    <a:lnTo>
                      <a:pt x="139" y="217"/>
                    </a:lnTo>
                    <a:close/>
                    <a:moveTo>
                      <a:pt x="150" y="194"/>
                    </a:moveTo>
                    <a:cubicBezTo>
                      <a:pt x="172" y="148"/>
                      <a:pt x="172" y="148"/>
                      <a:pt x="172" y="148"/>
                    </a:cubicBezTo>
                    <a:cubicBezTo>
                      <a:pt x="195" y="194"/>
                      <a:pt x="195" y="194"/>
                      <a:pt x="195" y="194"/>
                    </a:cubicBezTo>
                    <a:cubicBezTo>
                      <a:pt x="172" y="207"/>
                      <a:pt x="172" y="207"/>
                      <a:pt x="172" y="207"/>
                    </a:cubicBezTo>
                    <a:lnTo>
                      <a:pt x="150" y="194"/>
                    </a:lnTo>
                    <a:close/>
                    <a:moveTo>
                      <a:pt x="114" y="267"/>
                    </a:moveTo>
                    <a:cubicBezTo>
                      <a:pt x="115" y="267"/>
                      <a:pt x="115" y="267"/>
                      <a:pt x="115" y="267"/>
                    </a:cubicBezTo>
                    <a:cubicBezTo>
                      <a:pt x="167" y="296"/>
                      <a:pt x="167" y="296"/>
                      <a:pt x="167" y="296"/>
                    </a:cubicBezTo>
                    <a:cubicBezTo>
                      <a:pt x="169" y="297"/>
                      <a:pt x="171" y="298"/>
                      <a:pt x="174" y="298"/>
                    </a:cubicBezTo>
                    <a:cubicBezTo>
                      <a:pt x="176" y="298"/>
                      <a:pt x="178" y="297"/>
                      <a:pt x="180" y="296"/>
                    </a:cubicBezTo>
                    <a:cubicBezTo>
                      <a:pt x="227" y="268"/>
                      <a:pt x="227" y="268"/>
                      <a:pt x="227" y="268"/>
                    </a:cubicBezTo>
                    <a:cubicBezTo>
                      <a:pt x="228" y="267"/>
                      <a:pt x="230" y="266"/>
                      <a:pt x="231" y="265"/>
                    </a:cubicBezTo>
                    <a:cubicBezTo>
                      <a:pt x="243" y="290"/>
                      <a:pt x="243" y="290"/>
                      <a:pt x="243" y="290"/>
                    </a:cubicBezTo>
                    <a:cubicBezTo>
                      <a:pt x="172" y="331"/>
                      <a:pt x="172" y="331"/>
                      <a:pt x="172" y="331"/>
                    </a:cubicBezTo>
                    <a:cubicBezTo>
                      <a:pt x="103" y="290"/>
                      <a:pt x="103" y="290"/>
                      <a:pt x="103" y="290"/>
                    </a:cubicBezTo>
                    <a:lnTo>
                      <a:pt x="114" y="267"/>
                    </a:lnTo>
                    <a:close/>
                    <a:moveTo>
                      <a:pt x="292" y="181"/>
                    </a:moveTo>
                    <a:cubicBezTo>
                      <a:pt x="312" y="159"/>
                      <a:pt x="323" y="131"/>
                      <a:pt x="323" y="101"/>
                    </a:cubicBezTo>
                    <a:cubicBezTo>
                      <a:pt x="323" y="72"/>
                      <a:pt x="312" y="44"/>
                      <a:pt x="292" y="22"/>
                    </a:cubicBezTo>
                    <a:cubicBezTo>
                      <a:pt x="288" y="17"/>
                      <a:pt x="288" y="9"/>
                      <a:pt x="293" y="4"/>
                    </a:cubicBezTo>
                    <a:cubicBezTo>
                      <a:pt x="298" y="0"/>
                      <a:pt x="306" y="0"/>
                      <a:pt x="311" y="5"/>
                    </a:cubicBezTo>
                    <a:cubicBezTo>
                      <a:pt x="335" y="32"/>
                      <a:pt x="348" y="66"/>
                      <a:pt x="348" y="101"/>
                    </a:cubicBezTo>
                    <a:cubicBezTo>
                      <a:pt x="348" y="137"/>
                      <a:pt x="334" y="171"/>
                      <a:pt x="310" y="198"/>
                    </a:cubicBezTo>
                    <a:cubicBezTo>
                      <a:pt x="308" y="200"/>
                      <a:pt x="304" y="201"/>
                      <a:pt x="301" y="201"/>
                    </a:cubicBezTo>
                    <a:cubicBezTo>
                      <a:pt x="298" y="201"/>
                      <a:pt x="295" y="200"/>
                      <a:pt x="293" y="198"/>
                    </a:cubicBezTo>
                    <a:cubicBezTo>
                      <a:pt x="287" y="194"/>
                      <a:pt x="287" y="186"/>
                      <a:pt x="292" y="181"/>
                    </a:cubicBezTo>
                    <a:moveTo>
                      <a:pt x="284" y="101"/>
                    </a:moveTo>
                    <a:cubicBezTo>
                      <a:pt x="284" y="122"/>
                      <a:pt x="276" y="142"/>
                      <a:pt x="262" y="158"/>
                    </a:cubicBezTo>
                    <a:cubicBezTo>
                      <a:pt x="259" y="160"/>
                      <a:pt x="256" y="161"/>
                      <a:pt x="253" y="161"/>
                    </a:cubicBezTo>
                    <a:cubicBezTo>
                      <a:pt x="249" y="161"/>
                      <a:pt x="246" y="160"/>
                      <a:pt x="244" y="158"/>
                    </a:cubicBezTo>
                    <a:cubicBezTo>
                      <a:pt x="239" y="154"/>
                      <a:pt x="239" y="146"/>
                      <a:pt x="243" y="140"/>
                    </a:cubicBezTo>
                    <a:cubicBezTo>
                      <a:pt x="253" y="130"/>
                      <a:pt x="259" y="116"/>
                      <a:pt x="259" y="101"/>
                    </a:cubicBezTo>
                    <a:cubicBezTo>
                      <a:pt x="259" y="87"/>
                      <a:pt x="253" y="73"/>
                      <a:pt x="243" y="62"/>
                    </a:cubicBezTo>
                    <a:cubicBezTo>
                      <a:pt x="239" y="57"/>
                      <a:pt x="239" y="49"/>
                      <a:pt x="244" y="44"/>
                    </a:cubicBezTo>
                    <a:cubicBezTo>
                      <a:pt x="249" y="40"/>
                      <a:pt x="257" y="40"/>
                      <a:pt x="262" y="45"/>
                    </a:cubicBezTo>
                    <a:cubicBezTo>
                      <a:pt x="276" y="61"/>
                      <a:pt x="284" y="81"/>
                      <a:pt x="284" y="101"/>
                    </a:cubicBezTo>
                    <a:moveTo>
                      <a:pt x="37" y="198"/>
                    </a:moveTo>
                    <a:cubicBezTo>
                      <a:pt x="13" y="171"/>
                      <a:pt x="0" y="137"/>
                      <a:pt x="0" y="101"/>
                    </a:cubicBezTo>
                    <a:cubicBezTo>
                      <a:pt x="0" y="66"/>
                      <a:pt x="13" y="32"/>
                      <a:pt x="36" y="5"/>
                    </a:cubicBezTo>
                    <a:cubicBezTo>
                      <a:pt x="41" y="0"/>
                      <a:pt x="49" y="0"/>
                      <a:pt x="54" y="4"/>
                    </a:cubicBezTo>
                    <a:cubicBezTo>
                      <a:pt x="59" y="9"/>
                      <a:pt x="59" y="17"/>
                      <a:pt x="55" y="22"/>
                    </a:cubicBezTo>
                    <a:cubicBezTo>
                      <a:pt x="35" y="44"/>
                      <a:pt x="24" y="72"/>
                      <a:pt x="24" y="101"/>
                    </a:cubicBezTo>
                    <a:cubicBezTo>
                      <a:pt x="24" y="131"/>
                      <a:pt x="35" y="159"/>
                      <a:pt x="56" y="181"/>
                    </a:cubicBezTo>
                    <a:cubicBezTo>
                      <a:pt x="60" y="186"/>
                      <a:pt x="60" y="194"/>
                      <a:pt x="55" y="198"/>
                    </a:cubicBezTo>
                    <a:cubicBezTo>
                      <a:pt x="52" y="201"/>
                      <a:pt x="49" y="202"/>
                      <a:pt x="46" y="202"/>
                    </a:cubicBezTo>
                    <a:cubicBezTo>
                      <a:pt x="43" y="202"/>
                      <a:pt x="40" y="200"/>
                      <a:pt x="37" y="198"/>
                    </a:cubicBezTo>
                    <a:moveTo>
                      <a:pt x="103" y="62"/>
                    </a:moveTo>
                    <a:cubicBezTo>
                      <a:pt x="94" y="73"/>
                      <a:pt x="88" y="87"/>
                      <a:pt x="88" y="101"/>
                    </a:cubicBezTo>
                    <a:cubicBezTo>
                      <a:pt x="88" y="116"/>
                      <a:pt x="94" y="130"/>
                      <a:pt x="104" y="141"/>
                    </a:cubicBezTo>
                    <a:cubicBezTo>
                      <a:pt x="108" y="146"/>
                      <a:pt x="108" y="154"/>
                      <a:pt x="103" y="158"/>
                    </a:cubicBezTo>
                    <a:cubicBezTo>
                      <a:pt x="100" y="161"/>
                      <a:pt x="97" y="162"/>
                      <a:pt x="94" y="162"/>
                    </a:cubicBezTo>
                    <a:cubicBezTo>
                      <a:pt x="91" y="162"/>
                      <a:pt x="88" y="160"/>
                      <a:pt x="85" y="158"/>
                    </a:cubicBezTo>
                    <a:cubicBezTo>
                      <a:pt x="71" y="142"/>
                      <a:pt x="63" y="122"/>
                      <a:pt x="63" y="102"/>
                    </a:cubicBezTo>
                    <a:cubicBezTo>
                      <a:pt x="63" y="81"/>
                      <a:pt x="71" y="61"/>
                      <a:pt x="85" y="46"/>
                    </a:cubicBezTo>
                    <a:cubicBezTo>
                      <a:pt x="89" y="41"/>
                      <a:pt x="97" y="40"/>
                      <a:pt x="102" y="45"/>
                    </a:cubicBezTo>
                    <a:cubicBezTo>
                      <a:pt x="108" y="49"/>
                      <a:pt x="108" y="57"/>
                      <a:pt x="103" y="6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4" name="TextBox 223"/>
            <p:cNvSpPr txBox="1"/>
            <p:nvPr/>
          </p:nvSpPr>
          <p:spPr>
            <a:xfrm>
              <a:off x="3033142" y="4357505"/>
              <a:ext cx="580608" cy="207749"/>
            </a:xfrm>
            <a:prstGeom prst="rect">
              <a:avLst/>
            </a:prstGeom>
            <a:noFill/>
          </p:spPr>
          <p:txBody>
            <a:bodyPr wrap="none" rtlCol="0" anchor="ctr" anchorCtr="0">
              <a:spAutoFit/>
            </a:bodyPr>
            <a:lstStyle/>
            <a:p>
              <a:pPr algn="ctr">
                <a:spcBef>
                  <a:spcPts val="1800"/>
                </a:spcBef>
              </a:pPr>
              <a:r>
                <a:rPr lang="en-US" sz="750" dirty="0" err="1">
                  <a:solidFill>
                    <a:srgbClr val="004990"/>
                  </a:solidFill>
                </a:rPr>
                <a:t>SP</a:t>
              </a:r>
              <a:r>
                <a:rPr lang="en-US" sz="750" dirty="0">
                  <a:solidFill>
                    <a:srgbClr val="004990"/>
                  </a:solidFill>
                </a:rPr>
                <a:t> Wi-Fi</a:t>
              </a:r>
            </a:p>
          </p:txBody>
        </p:sp>
      </p:grpSp>
      <p:cxnSp>
        <p:nvCxnSpPr>
          <p:cNvPr id="225" name="Straight Connector 224"/>
          <p:cNvCxnSpPr/>
          <p:nvPr/>
        </p:nvCxnSpPr>
        <p:spPr>
          <a:xfrm flipH="1">
            <a:off x="4146550" y="3856584"/>
            <a:ext cx="88900" cy="0"/>
          </a:xfrm>
          <a:prstGeom prst="line">
            <a:avLst/>
          </a:prstGeom>
          <a:ln w="12700" cap="rnd">
            <a:solidFill>
              <a:srgbClr val="004BAF"/>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a:off x="4235450" y="3856584"/>
            <a:ext cx="0" cy="315822"/>
          </a:xfrm>
          <a:prstGeom prst="line">
            <a:avLst/>
          </a:prstGeom>
          <a:ln w="12700" cap="rnd">
            <a:solidFill>
              <a:srgbClr val="004BAF"/>
            </a:solidFill>
          </a:ln>
        </p:spPr>
        <p:style>
          <a:lnRef idx="1">
            <a:schemeClr val="accent1"/>
          </a:lnRef>
          <a:fillRef idx="0">
            <a:schemeClr val="accent1"/>
          </a:fillRef>
          <a:effectRef idx="0">
            <a:schemeClr val="accent1"/>
          </a:effectRef>
          <a:fontRef idx="minor">
            <a:schemeClr val="tx1"/>
          </a:fontRef>
        </p:style>
      </p:cxnSp>
      <p:sp>
        <p:nvSpPr>
          <p:cNvPr id="216" name="TextBox 215"/>
          <p:cNvSpPr txBox="1"/>
          <p:nvPr/>
        </p:nvSpPr>
        <p:spPr>
          <a:xfrm>
            <a:off x="6695596" y="2856005"/>
            <a:ext cx="734496" cy="207749"/>
          </a:xfrm>
          <a:prstGeom prst="rect">
            <a:avLst/>
          </a:prstGeom>
          <a:solidFill>
            <a:srgbClr val="FFFFFF"/>
          </a:solidFill>
        </p:spPr>
        <p:txBody>
          <a:bodyPr wrap="none" rtlCol="0" anchor="b" anchorCtr="0">
            <a:spAutoFit/>
          </a:bodyPr>
          <a:lstStyle/>
          <a:p>
            <a:pPr algn="ctr">
              <a:spcBef>
                <a:spcPts val="1800"/>
              </a:spcBef>
            </a:pPr>
            <a:r>
              <a:rPr lang="en-US" sz="750" dirty="0">
                <a:solidFill>
                  <a:srgbClr val="004990"/>
                </a:solidFill>
              </a:rPr>
              <a:t>Packet Core</a:t>
            </a:r>
          </a:p>
        </p:txBody>
      </p:sp>
      <p:cxnSp>
        <p:nvCxnSpPr>
          <p:cNvPr id="115" name="Straight Connector 114"/>
          <p:cNvCxnSpPr/>
          <p:nvPr/>
        </p:nvCxnSpPr>
        <p:spPr>
          <a:xfrm flipV="1">
            <a:off x="7030163" y="2303486"/>
            <a:ext cx="482351" cy="548286"/>
          </a:xfrm>
          <a:prstGeom prst="line">
            <a:avLst/>
          </a:prstGeom>
          <a:ln w="25400" cap="sq">
            <a:solidFill>
              <a:srgbClr val="049FD9"/>
            </a:solidFill>
            <a:prstDash val="dash"/>
          </a:ln>
        </p:spPr>
        <p:style>
          <a:lnRef idx="1">
            <a:schemeClr val="accent1"/>
          </a:lnRef>
          <a:fillRef idx="0">
            <a:schemeClr val="accent1"/>
          </a:fillRef>
          <a:effectRef idx="0">
            <a:schemeClr val="accent1"/>
          </a:effectRef>
          <a:fontRef idx="minor">
            <a:schemeClr val="tx1"/>
          </a:fontRef>
        </p:style>
      </p:cxnSp>
      <p:sp>
        <p:nvSpPr>
          <p:cNvPr id="222" name="TextBox 221"/>
          <p:cNvSpPr txBox="1"/>
          <p:nvPr/>
        </p:nvSpPr>
        <p:spPr>
          <a:xfrm>
            <a:off x="7514104" y="2448457"/>
            <a:ext cx="684804" cy="207749"/>
          </a:xfrm>
          <a:prstGeom prst="rect">
            <a:avLst/>
          </a:prstGeom>
          <a:noFill/>
        </p:spPr>
        <p:txBody>
          <a:bodyPr wrap="none" rtlCol="0" anchor="t" anchorCtr="0">
            <a:spAutoFit/>
          </a:bodyPr>
          <a:lstStyle/>
          <a:p>
            <a:pPr algn="ctr">
              <a:spcBef>
                <a:spcPts val="1800"/>
              </a:spcBef>
            </a:pPr>
            <a:r>
              <a:rPr lang="en-US" sz="750" dirty="0" smtClean="0">
                <a:solidFill>
                  <a:srgbClr val="004990"/>
                </a:solidFill>
              </a:rPr>
              <a:t>Policy Suite</a:t>
            </a:r>
            <a:endParaRPr lang="en-US" sz="750" dirty="0">
              <a:solidFill>
                <a:srgbClr val="004990"/>
              </a:solidFill>
            </a:endParaRPr>
          </a:p>
        </p:txBody>
      </p:sp>
      <p:pic>
        <p:nvPicPr>
          <p:cNvPr id="228" name="Picture 227"/>
          <p:cNvPicPr>
            <a:picLocks noChangeAspect="1"/>
          </p:cNvPicPr>
          <p:nvPr/>
        </p:nvPicPr>
        <p:blipFill>
          <a:blip r:embed="rId3"/>
          <a:stretch>
            <a:fillRect/>
          </a:stretch>
        </p:blipFill>
        <p:spPr>
          <a:xfrm>
            <a:off x="6248596" y="4056806"/>
            <a:ext cx="359695" cy="237765"/>
          </a:xfrm>
          <a:prstGeom prst="rect">
            <a:avLst/>
          </a:prstGeom>
        </p:spPr>
      </p:pic>
      <p:grpSp>
        <p:nvGrpSpPr>
          <p:cNvPr id="231" name="Group 230"/>
          <p:cNvGrpSpPr/>
          <p:nvPr/>
        </p:nvGrpSpPr>
        <p:grpSpPr>
          <a:xfrm>
            <a:off x="4622770" y="3922107"/>
            <a:ext cx="599844" cy="789626"/>
            <a:chOff x="4622770" y="3922107"/>
            <a:chExt cx="599844" cy="789626"/>
          </a:xfrm>
        </p:grpSpPr>
        <p:cxnSp>
          <p:nvCxnSpPr>
            <p:cNvPr id="232" name="Straight Connector 231"/>
            <p:cNvCxnSpPr/>
            <p:nvPr/>
          </p:nvCxnSpPr>
          <p:spPr>
            <a:xfrm flipH="1">
              <a:off x="4922692" y="4267735"/>
              <a:ext cx="0" cy="253181"/>
            </a:xfrm>
            <a:prstGeom prst="line">
              <a:avLst/>
            </a:prstGeom>
            <a:noFill/>
            <a:ln w="12700" cap="rnd" cmpd="sng" algn="ctr">
              <a:solidFill>
                <a:srgbClr val="004BAF"/>
              </a:solidFill>
              <a:prstDash val="solid"/>
            </a:ln>
            <a:effectLst/>
          </p:spPr>
        </p:cxnSp>
        <p:sp>
          <p:nvSpPr>
            <p:cNvPr id="233" name="TextBox 232"/>
            <p:cNvSpPr txBox="1"/>
            <p:nvPr/>
          </p:nvSpPr>
          <p:spPr>
            <a:xfrm>
              <a:off x="4622770" y="4503984"/>
              <a:ext cx="599844" cy="207749"/>
            </a:xfrm>
            <a:prstGeom prst="rect">
              <a:avLst/>
            </a:prstGeom>
            <a:noFill/>
          </p:spPr>
          <p:txBody>
            <a:bodyPr wrap="none" rtlCol="0" anchor="b" anchorCtr="0">
              <a:spAutoFit/>
            </a:bodyPr>
            <a:lstStyle/>
            <a:p>
              <a:pPr marL="0" marR="0" lvl="0" indent="0" algn="ctr" defTabSz="914400" eaLnBrk="1" fontAlgn="auto" latinLnBrk="0" hangingPunct="1">
                <a:lnSpc>
                  <a:spcPct val="100000"/>
                </a:lnSpc>
                <a:spcBef>
                  <a:spcPts val="1800"/>
                </a:spcBef>
                <a:spcAft>
                  <a:spcPts val="0"/>
                </a:spcAft>
                <a:buClrTx/>
                <a:buSzTx/>
                <a:buFontTx/>
                <a:buNone/>
                <a:tabLst/>
                <a:defRPr/>
              </a:pPr>
              <a:r>
                <a:rPr kumimoji="0" lang="en-US" sz="750" b="0" i="0" u="none" strike="noStrike" kern="0" cap="none" spc="0" normalizeH="0" baseline="0" noProof="0" dirty="0" err="1" smtClean="0">
                  <a:ln>
                    <a:noFill/>
                  </a:ln>
                  <a:solidFill>
                    <a:srgbClr val="004990"/>
                  </a:solidFill>
                  <a:effectLst/>
                  <a:uLnTx/>
                  <a:uFillTx/>
                </a:rPr>
                <a:t>Fronthaul</a:t>
              </a:r>
              <a:endParaRPr kumimoji="0" lang="en-US" sz="750" b="0" i="0" u="none" strike="noStrike" kern="0" cap="none" spc="0" normalizeH="0" baseline="0" noProof="0" dirty="0" smtClean="0">
                <a:ln>
                  <a:noFill/>
                </a:ln>
                <a:solidFill>
                  <a:srgbClr val="004990"/>
                </a:solidFill>
                <a:effectLst/>
                <a:uLnTx/>
                <a:uFillTx/>
              </a:endParaRPr>
            </a:p>
          </p:txBody>
        </p:sp>
        <p:pic>
          <p:nvPicPr>
            <p:cNvPr id="234" name="Picture 233"/>
            <p:cNvPicPr>
              <a:picLocks noChangeAspect="1"/>
            </p:cNvPicPr>
            <p:nvPr/>
          </p:nvPicPr>
          <p:blipFill>
            <a:blip r:embed="rId3"/>
            <a:stretch>
              <a:fillRect/>
            </a:stretch>
          </p:blipFill>
          <p:spPr>
            <a:xfrm>
              <a:off x="4742844" y="4029212"/>
              <a:ext cx="359695" cy="237765"/>
            </a:xfrm>
            <a:prstGeom prst="rect">
              <a:avLst/>
            </a:prstGeom>
          </p:spPr>
        </p:pic>
        <p:sp>
          <p:nvSpPr>
            <p:cNvPr id="235" name="Oval 32"/>
            <p:cNvSpPr>
              <a:spLocks noChangeArrowheads="1"/>
            </p:cNvSpPr>
            <p:nvPr/>
          </p:nvSpPr>
          <p:spPr bwMode="auto">
            <a:xfrm>
              <a:off x="4992895" y="3922107"/>
              <a:ext cx="214210" cy="214210"/>
            </a:xfrm>
            <a:prstGeom prst="ellipse">
              <a:avLst/>
            </a:prstGeom>
            <a:solidFill>
              <a:srgbClr val="19A9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prstClr val="white"/>
                  </a:solidFill>
                  <a:effectLst/>
                  <a:uLnTx/>
                  <a:uFillTx/>
                </a:rPr>
                <a:t>SR</a:t>
              </a:r>
            </a:p>
          </p:txBody>
        </p:sp>
      </p:grpSp>
      <p:pic>
        <p:nvPicPr>
          <p:cNvPr id="236" name="Picture 235"/>
          <p:cNvPicPr>
            <a:picLocks noChangeAspect="1"/>
          </p:cNvPicPr>
          <p:nvPr/>
        </p:nvPicPr>
        <p:blipFill>
          <a:blip r:embed="rId3"/>
          <a:stretch>
            <a:fillRect/>
          </a:stretch>
        </p:blipFill>
        <p:spPr>
          <a:xfrm>
            <a:off x="6888055" y="4062898"/>
            <a:ext cx="359695" cy="237765"/>
          </a:xfrm>
          <a:prstGeom prst="rect">
            <a:avLst/>
          </a:prstGeom>
        </p:spPr>
      </p:pic>
      <p:sp>
        <p:nvSpPr>
          <p:cNvPr id="26" name="Oval 33"/>
          <p:cNvSpPr>
            <a:spLocks noChangeArrowheads="1"/>
          </p:cNvSpPr>
          <p:nvPr/>
        </p:nvSpPr>
        <p:spPr bwMode="auto">
          <a:xfrm>
            <a:off x="6492870" y="3922107"/>
            <a:ext cx="213202" cy="214210"/>
          </a:xfrm>
          <a:prstGeom prst="ellipse">
            <a:avLst/>
          </a:prstGeom>
          <a:solidFill>
            <a:srgbClr val="00AD0B"/>
          </a:solidFill>
          <a:ln>
            <a:noFill/>
          </a:ln>
          <a:extLst/>
        </p:spPr>
        <p:txBody>
          <a:bodyPr vert="horz" wrap="none" lIns="91440" tIns="45720" rIns="91440" bIns="45720" numCol="1" anchor="ctr" anchorCtr="0" compatLnSpc="1">
            <a:prstTxWarp prst="textNoShape">
              <a:avLst/>
            </a:prstTxWarp>
          </a:bodyPr>
          <a:lstStyle/>
          <a:p>
            <a:pPr algn="ctr"/>
            <a:r>
              <a:rPr lang="en-US" sz="800" dirty="0"/>
              <a:t>SR</a:t>
            </a:r>
          </a:p>
        </p:txBody>
      </p:sp>
      <p:sp>
        <p:nvSpPr>
          <p:cNvPr id="27" name="Oval 35"/>
          <p:cNvSpPr>
            <a:spLocks noChangeArrowheads="1"/>
          </p:cNvSpPr>
          <p:nvPr/>
        </p:nvSpPr>
        <p:spPr bwMode="auto">
          <a:xfrm>
            <a:off x="7128948" y="3922107"/>
            <a:ext cx="213202" cy="214210"/>
          </a:xfrm>
          <a:prstGeom prst="ellipse">
            <a:avLst/>
          </a:prstGeom>
          <a:solidFill>
            <a:srgbClr val="00AD0B"/>
          </a:solidFill>
          <a:ln>
            <a:noFill/>
          </a:ln>
          <a:extLst/>
        </p:spPr>
        <p:txBody>
          <a:bodyPr vert="horz" wrap="none" lIns="91440" tIns="45720" rIns="91440" bIns="45720" numCol="1" anchor="ctr" anchorCtr="0" compatLnSpc="1">
            <a:prstTxWarp prst="textNoShape">
              <a:avLst/>
            </a:prstTxWarp>
          </a:bodyPr>
          <a:lstStyle/>
          <a:p>
            <a:pPr algn="ctr"/>
            <a:r>
              <a:rPr lang="en-US" sz="800" dirty="0"/>
              <a:t>SR</a:t>
            </a:r>
          </a:p>
        </p:txBody>
      </p:sp>
    </p:spTree>
    <p:extLst>
      <p:ext uri="{BB962C8B-B14F-4D97-AF65-F5344CB8AC3E}">
        <p14:creationId xmlns:p14="http://schemas.microsoft.com/office/powerpoint/2010/main" val="645237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235298"/>
            <a:ext cx="8345488" cy="731837"/>
          </a:xfrm>
        </p:spPr>
        <p:txBody>
          <a:bodyPr/>
          <a:lstStyle/>
          <a:p>
            <a:r>
              <a:rPr lang="en-US" dirty="0" smtClean="0"/>
              <a:t>Real Products, Solving Real Problems</a:t>
            </a:r>
            <a:endParaRPr lang="en-US" dirty="0"/>
          </a:p>
        </p:txBody>
      </p:sp>
      <p:sp>
        <p:nvSpPr>
          <p:cNvPr id="3" name="Text Placeholder 2"/>
          <p:cNvSpPr>
            <a:spLocks noGrp="1"/>
          </p:cNvSpPr>
          <p:nvPr>
            <p:ph type="body" sz="quarter" idx="10"/>
          </p:nvPr>
        </p:nvSpPr>
        <p:spPr>
          <a:xfrm>
            <a:off x="286877" y="1108136"/>
            <a:ext cx="8637468" cy="3546559"/>
          </a:xfrm>
        </p:spPr>
        <p:txBody>
          <a:bodyPr/>
          <a:lstStyle/>
          <a:p>
            <a:pPr>
              <a:lnSpc>
                <a:spcPct val="85000"/>
              </a:lnSpc>
            </a:pPr>
            <a:r>
              <a:rPr lang="en-US" dirty="0" smtClean="0"/>
              <a:t>Delivering below 1ms latency</a:t>
            </a:r>
          </a:p>
          <a:p>
            <a:pPr marL="0" indent="0">
              <a:lnSpc>
                <a:spcPct val="85000"/>
              </a:lnSpc>
              <a:buNone/>
            </a:pPr>
            <a:r>
              <a:rPr lang="en-US" dirty="0"/>
              <a:t>	</a:t>
            </a:r>
            <a:r>
              <a:rPr lang="en-US" b="1" i="1" dirty="0" smtClean="0"/>
              <a:t>Cloud Native Ultra Service Platform</a:t>
            </a:r>
            <a:br>
              <a:rPr lang="en-US" b="1" i="1" dirty="0" smtClean="0"/>
            </a:br>
            <a:endParaRPr lang="en-US" dirty="0" smtClean="0"/>
          </a:p>
          <a:p>
            <a:pPr>
              <a:lnSpc>
                <a:spcPct val="85000"/>
              </a:lnSpc>
            </a:pPr>
            <a:r>
              <a:rPr lang="en-US" dirty="0" smtClean="0"/>
              <a:t>Total Automation of multi-vendor, physical and virtual networks</a:t>
            </a:r>
          </a:p>
          <a:p>
            <a:pPr marL="0" indent="0">
              <a:lnSpc>
                <a:spcPct val="85000"/>
              </a:lnSpc>
              <a:buNone/>
            </a:pPr>
            <a:r>
              <a:rPr lang="en-US" dirty="0"/>
              <a:t>	</a:t>
            </a:r>
            <a:r>
              <a:rPr lang="en-US" b="1" i="1" dirty="0" smtClean="0"/>
              <a:t>Network Service Orchestration and Automation</a:t>
            </a:r>
            <a:br>
              <a:rPr lang="en-US" b="1" i="1" dirty="0" smtClean="0"/>
            </a:br>
            <a:endParaRPr lang="en-US" dirty="0" smtClean="0"/>
          </a:p>
          <a:p>
            <a:pPr>
              <a:lnSpc>
                <a:spcPct val="85000"/>
              </a:lnSpc>
            </a:pPr>
            <a:r>
              <a:rPr lang="en-US" dirty="0" smtClean="0"/>
              <a:t>Simplification, Real-time Visibility And Control</a:t>
            </a:r>
            <a:endParaRPr lang="en-US" dirty="0"/>
          </a:p>
          <a:p>
            <a:pPr marL="404802" lvl="4" indent="0">
              <a:lnSpc>
                <a:spcPct val="85000"/>
              </a:lnSpc>
              <a:buNone/>
            </a:pPr>
            <a:r>
              <a:rPr lang="en-US" sz="1500" b="1" i="1" dirty="0" smtClean="0"/>
              <a:t>	Cloud-Scale Segment Routing, </a:t>
            </a:r>
            <a:r>
              <a:rPr lang="en-US" sz="1500" b="1" i="1" dirty="0" err="1" smtClean="0"/>
              <a:t>xHaul</a:t>
            </a:r>
            <a:r>
              <a:rPr lang="en-US" sz="1500" b="1" i="1" dirty="0" smtClean="0"/>
              <a:t> and Model-driven Telemetry</a:t>
            </a:r>
            <a:br>
              <a:rPr lang="en-US" sz="1500" b="1" i="1" dirty="0" smtClean="0"/>
            </a:br>
            <a:endParaRPr lang="en-US" dirty="0" smtClean="0"/>
          </a:p>
          <a:p>
            <a:pPr>
              <a:lnSpc>
                <a:spcPct val="85000"/>
              </a:lnSpc>
            </a:pPr>
            <a:r>
              <a:rPr lang="en-US" dirty="0" smtClean="0"/>
              <a:t>5G Innovations for simplifications, automation and Virtualization</a:t>
            </a:r>
            <a:endParaRPr lang="en-US" dirty="0"/>
          </a:p>
          <a:p>
            <a:pPr marL="692393" lvl="5" indent="0">
              <a:lnSpc>
                <a:spcPct val="85000"/>
              </a:lnSpc>
              <a:buNone/>
            </a:pPr>
            <a:r>
              <a:rPr lang="en-US" sz="1500" b="1" i="1" dirty="0" smtClean="0"/>
              <a:t>Hybrid Information Centric Networking</a:t>
            </a:r>
            <a:endParaRPr lang="en-US" sz="1500" b="1" i="1" dirty="0"/>
          </a:p>
        </p:txBody>
      </p:sp>
      <p:grpSp>
        <p:nvGrpSpPr>
          <p:cNvPr id="6" name="Group 5"/>
          <p:cNvGrpSpPr/>
          <p:nvPr/>
        </p:nvGrpSpPr>
        <p:grpSpPr>
          <a:xfrm>
            <a:off x="5110480" y="4359139"/>
            <a:ext cx="3876382" cy="461665"/>
            <a:chOff x="5110480" y="4359139"/>
            <a:chExt cx="3876382" cy="461665"/>
          </a:xfrm>
        </p:grpSpPr>
        <p:sp>
          <p:nvSpPr>
            <p:cNvPr id="10" name="TextBox 9"/>
            <p:cNvSpPr txBox="1"/>
            <p:nvPr/>
          </p:nvSpPr>
          <p:spPr>
            <a:xfrm>
              <a:off x="5110480" y="4359139"/>
              <a:ext cx="3876382" cy="461665"/>
            </a:xfrm>
            <a:prstGeom prst="rect">
              <a:avLst/>
            </a:prstGeom>
            <a:noFill/>
          </p:spPr>
          <p:txBody>
            <a:bodyPr wrap="none" rtlCol="0" anchor="ctr" anchorCtr="0">
              <a:spAutoFit/>
            </a:bodyPr>
            <a:lstStyle/>
            <a:p>
              <a:r>
                <a:rPr lang="en-US" sz="2400" b="1" dirty="0" smtClean="0">
                  <a:solidFill>
                    <a:schemeClr val="accent4"/>
                  </a:solidFill>
                </a:rPr>
                <a:t>5G </a:t>
              </a:r>
              <a:r>
                <a:rPr lang="en-US" sz="2400" b="1" smtClean="0">
                  <a:solidFill>
                    <a:schemeClr val="accent4"/>
                  </a:solidFill>
                </a:rPr>
                <a:t>Ready F     </a:t>
              </a:r>
              <a:r>
                <a:rPr lang="en-US" sz="2400" b="1" dirty="0" smtClean="0">
                  <a:solidFill>
                    <a:schemeClr val="accent4"/>
                  </a:solidFill>
                </a:rPr>
                <a:t>r Business</a:t>
              </a:r>
            </a:p>
          </p:txBody>
        </p:sp>
        <p:grpSp>
          <p:nvGrpSpPr>
            <p:cNvPr id="5" name="Group 4"/>
            <p:cNvGrpSpPr/>
            <p:nvPr/>
          </p:nvGrpSpPr>
          <p:grpSpPr>
            <a:xfrm>
              <a:off x="6921288" y="4359890"/>
              <a:ext cx="284480" cy="370840"/>
              <a:chOff x="6921288" y="4359890"/>
              <a:chExt cx="284480" cy="370840"/>
            </a:xfrm>
          </p:grpSpPr>
          <p:sp>
            <p:nvSpPr>
              <p:cNvPr id="11" name="Oval 10"/>
              <p:cNvSpPr/>
              <p:nvPr/>
            </p:nvSpPr>
            <p:spPr>
              <a:xfrm>
                <a:off x="6921288" y="4446250"/>
                <a:ext cx="284480" cy="284480"/>
              </a:xfrm>
              <a:prstGeom prst="ellipse">
                <a:avLst/>
              </a:prstGeom>
              <a:noFill/>
              <a:ln w="57150" cap="rnd">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14" name="Rounded Rectangle 13"/>
              <p:cNvSpPr/>
              <p:nvPr/>
            </p:nvSpPr>
            <p:spPr>
              <a:xfrm>
                <a:off x="7022888" y="4359890"/>
                <a:ext cx="81280" cy="295411"/>
              </a:xfrm>
              <a:prstGeom prst="roundRect">
                <a:avLst>
                  <a:gd name="adj" fmla="val 50000"/>
                </a:avLst>
              </a:prstGeom>
              <a:solidFill>
                <a:srgbClr val="00FF00"/>
              </a:solidFill>
              <a:ln w="12700" cap="rnd">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grpSp>
      </p:grpSp>
    </p:spTree>
    <p:extLst>
      <p:ext uri="{BB962C8B-B14F-4D97-AF65-F5344CB8AC3E}">
        <p14:creationId xmlns:p14="http://schemas.microsoft.com/office/powerpoint/2010/main" val="267649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257" y="152929"/>
            <a:ext cx="8345488" cy="731837"/>
          </a:xfrm>
        </p:spPr>
        <p:txBody>
          <a:bodyPr/>
          <a:lstStyle/>
          <a:p>
            <a:r>
              <a:rPr lang="en-US" dirty="0"/>
              <a:t>Verizon and Cisco </a:t>
            </a:r>
            <a:r>
              <a:rPr lang="en-US" dirty="0" smtClean="0"/>
              <a:t/>
            </a:r>
            <a:br>
              <a:rPr lang="en-US" dirty="0" smtClean="0"/>
            </a:br>
            <a:r>
              <a:rPr lang="en-US" dirty="0" smtClean="0"/>
              <a:t>Bring </a:t>
            </a:r>
            <a:r>
              <a:rPr lang="en-US" dirty="0"/>
              <a:t>5G Innovations to the Enterprise</a:t>
            </a:r>
          </a:p>
        </p:txBody>
      </p:sp>
      <p:pic>
        <p:nvPicPr>
          <p:cNvPr id="4" name="Picture 3"/>
          <p:cNvPicPr>
            <a:picLocks noChangeAspect="1"/>
          </p:cNvPicPr>
          <p:nvPr/>
        </p:nvPicPr>
        <p:blipFill>
          <a:blip r:embed="rId2"/>
          <a:stretch>
            <a:fillRect/>
          </a:stretch>
        </p:blipFill>
        <p:spPr>
          <a:xfrm>
            <a:off x="5227059" y="1130760"/>
            <a:ext cx="3517686" cy="3200301"/>
          </a:xfrm>
          <a:prstGeom prst="rect">
            <a:avLst/>
          </a:prstGeom>
          <a:ln>
            <a:solidFill>
              <a:schemeClr val="tx1">
                <a:lumMod val="50000"/>
              </a:schemeClr>
            </a:solidFill>
          </a:ln>
        </p:spPr>
      </p:pic>
      <p:sp>
        <p:nvSpPr>
          <p:cNvPr id="5" name="Text Placeholder 2"/>
          <p:cNvSpPr>
            <a:spLocks noGrp="1"/>
          </p:cNvSpPr>
          <p:nvPr>
            <p:ph type="body" sz="quarter" idx="10"/>
          </p:nvPr>
        </p:nvSpPr>
        <p:spPr>
          <a:xfrm>
            <a:off x="250257" y="1417020"/>
            <a:ext cx="4831882" cy="989296"/>
          </a:xfrm>
        </p:spPr>
        <p:txBody>
          <a:bodyPr/>
          <a:lstStyle/>
          <a:p>
            <a:pPr marL="0" indent="0">
              <a:lnSpc>
                <a:spcPct val="85000"/>
              </a:lnSpc>
              <a:buNone/>
            </a:pPr>
            <a:r>
              <a:rPr lang="en-US" sz="1600" dirty="0"/>
              <a:t>Verizon is seizing the opportunity by building one of the largest 5G proving grounds in the world with collaboration from </a:t>
            </a:r>
            <a:r>
              <a:rPr lang="en-US" sz="1600" dirty="0" smtClean="0"/>
              <a:t>Cisco.</a:t>
            </a:r>
          </a:p>
          <a:p>
            <a:pPr marL="0" indent="0">
              <a:lnSpc>
                <a:spcPct val="85000"/>
              </a:lnSpc>
              <a:buNone/>
            </a:pPr>
            <a:endParaRPr lang="en-US" sz="1600" dirty="0"/>
          </a:p>
        </p:txBody>
      </p:sp>
      <p:sp>
        <p:nvSpPr>
          <p:cNvPr id="6" name="Rounded Rectangle 5"/>
          <p:cNvSpPr/>
          <p:nvPr/>
        </p:nvSpPr>
        <p:spPr>
          <a:xfrm>
            <a:off x="250256" y="2849079"/>
            <a:ext cx="6333423" cy="1549668"/>
          </a:xfrm>
          <a:prstGeom prst="roundRect">
            <a:avLst/>
          </a:prstGeom>
          <a:solidFill>
            <a:schemeClr val="bg1"/>
          </a:solidFill>
          <a:ln>
            <a:solidFill>
              <a:schemeClr val="tx1">
                <a:lumMod val="50000"/>
              </a:schemeClr>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lnSpc>
                <a:spcPct val="85000"/>
              </a:lnSpc>
              <a:buNone/>
            </a:pPr>
            <a:r>
              <a:rPr lang="en-US" dirty="0">
                <a:solidFill>
                  <a:schemeClr val="accent5">
                    <a:lumMod val="75000"/>
                  </a:schemeClr>
                </a:solidFill>
              </a:rPr>
              <a:t>“The technology partnership with Cisco is helping us accelerate the deployment of new enterprise 5G services to support our enterprise customers with improved security, scalability, and agility in their digitization </a:t>
            </a:r>
            <a:r>
              <a:rPr lang="en-US" dirty="0" smtClean="0">
                <a:solidFill>
                  <a:schemeClr val="accent5">
                    <a:lumMod val="75000"/>
                  </a:schemeClr>
                </a:solidFill>
              </a:rPr>
              <a:t>journey.” </a:t>
            </a:r>
            <a:endParaRPr lang="en-US" dirty="0">
              <a:solidFill>
                <a:schemeClr val="accent5">
                  <a:lumMod val="75000"/>
                </a:schemeClr>
              </a:solidFill>
            </a:endParaRPr>
          </a:p>
        </p:txBody>
      </p:sp>
      <p:sp>
        <p:nvSpPr>
          <p:cNvPr id="7" name="TextBox 6"/>
          <p:cNvSpPr txBox="1"/>
          <p:nvPr/>
        </p:nvSpPr>
        <p:spPr>
          <a:xfrm>
            <a:off x="952902" y="4466122"/>
            <a:ext cx="4284699" cy="276999"/>
          </a:xfrm>
          <a:prstGeom prst="rect">
            <a:avLst/>
          </a:prstGeom>
          <a:noFill/>
        </p:spPr>
        <p:txBody>
          <a:bodyPr wrap="none" rtlCol="0">
            <a:spAutoFit/>
          </a:bodyPr>
          <a:lstStyle/>
          <a:p>
            <a:r>
              <a:rPr lang="en-US" sz="1200" dirty="0" smtClean="0"/>
              <a:t>Ed </a:t>
            </a:r>
            <a:r>
              <a:rPr lang="en-US" sz="1200" dirty="0"/>
              <a:t>Chan, </a:t>
            </a:r>
            <a:r>
              <a:rPr lang="en-US" sz="1200" dirty="0" smtClean="0"/>
              <a:t>SVP </a:t>
            </a:r>
            <a:r>
              <a:rPr lang="en-US" sz="1200" dirty="0"/>
              <a:t>of Technology Strategy &amp; Planning at </a:t>
            </a:r>
            <a:r>
              <a:rPr lang="en-US" sz="1200" dirty="0" smtClean="0"/>
              <a:t>Verizon</a:t>
            </a:r>
            <a:endParaRPr lang="en-US" sz="1200" dirty="0"/>
          </a:p>
        </p:txBody>
      </p:sp>
    </p:spTree>
    <p:extLst>
      <p:ext uri="{BB962C8B-B14F-4D97-AF65-F5344CB8AC3E}">
        <p14:creationId xmlns:p14="http://schemas.microsoft.com/office/powerpoint/2010/main" val="34492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5G Transformation  – More Info</a:t>
            </a:r>
            <a:endParaRPr lang="en-US" dirty="0"/>
          </a:p>
        </p:txBody>
      </p:sp>
      <p:sp>
        <p:nvSpPr>
          <p:cNvPr id="5" name="TextBox 4"/>
          <p:cNvSpPr txBox="1"/>
          <p:nvPr/>
        </p:nvSpPr>
        <p:spPr>
          <a:xfrm>
            <a:off x="437766" y="1160504"/>
            <a:ext cx="7712321" cy="3170099"/>
          </a:xfrm>
          <a:prstGeom prst="rect">
            <a:avLst/>
          </a:prstGeom>
          <a:noFill/>
        </p:spPr>
        <p:txBody>
          <a:bodyPr wrap="square" rtlCol="0">
            <a:spAutoFit/>
          </a:bodyPr>
          <a:lstStyle/>
          <a:p>
            <a:r>
              <a:rPr lang="en-US" sz="2000" b="1" dirty="0" smtClean="0"/>
              <a:t>Cisco Blogs, Releases, etc.</a:t>
            </a:r>
            <a:endParaRPr lang="en-US" sz="2000" b="1" dirty="0"/>
          </a:p>
          <a:p>
            <a:pPr marL="285750" indent="-285750">
              <a:buFont typeface="Arial" charset="0"/>
              <a:buChar char="•"/>
            </a:pPr>
            <a:r>
              <a:rPr lang="en-US" dirty="0">
                <a:hlinkClick r:id="rId2"/>
              </a:rPr>
              <a:t>Verizon and Cisco Bring 5G Innovations to the </a:t>
            </a:r>
            <a:r>
              <a:rPr lang="en-US" dirty="0" smtClean="0">
                <a:hlinkClick r:id="rId2"/>
              </a:rPr>
              <a:t>Enterprise</a:t>
            </a:r>
            <a:endParaRPr lang="en-US" dirty="0" smtClean="0"/>
          </a:p>
          <a:p>
            <a:pPr marL="285750" indent="-285750">
              <a:buFont typeface="Arial" charset="0"/>
              <a:buChar char="•"/>
            </a:pPr>
            <a:r>
              <a:rPr lang="en-US" dirty="0" smtClean="0">
                <a:hlinkClick r:id="rId3"/>
              </a:rPr>
              <a:t>5G Security</a:t>
            </a:r>
            <a:endParaRPr lang="en-US" dirty="0"/>
          </a:p>
          <a:p>
            <a:pPr marL="285750" indent="-285750">
              <a:buFont typeface="Arial" charset="0"/>
              <a:buChar char="•"/>
            </a:pPr>
            <a:endParaRPr lang="en-US" sz="1400" dirty="0" smtClean="0"/>
          </a:p>
          <a:p>
            <a:r>
              <a:rPr lang="en-US" sz="2000" b="1" dirty="0" smtClean="0"/>
              <a:t>For </a:t>
            </a:r>
            <a:r>
              <a:rPr lang="en-US" sz="2000" b="1" dirty="0"/>
              <a:t>more information, visit</a:t>
            </a:r>
            <a:r>
              <a:rPr lang="en-US" sz="2000" b="1" dirty="0" smtClean="0"/>
              <a:t>:</a:t>
            </a:r>
          </a:p>
          <a:p>
            <a:pPr marL="342900" indent="-342900">
              <a:buFont typeface="Arial" charset="0"/>
              <a:buChar char="•"/>
            </a:pPr>
            <a:r>
              <a:rPr lang="en-US" dirty="0" smtClean="0">
                <a:hlinkClick r:id="rId4"/>
              </a:rPr>
              <a:t>Cisco Mobile Internet</a:t>
            </a:r>
            <a:endParaRPr lang="en-US" dirty="0" smtClean="0">
              <a:hlinkClick r:id=""/>
            </a:endParaRPr>
          </a:p>
          <a:p>
            <a:pPr marL="342900" indent="-342900">
              <a:buFont typeface="Arial" charset="0"/>
              <a:buChar char="•"/>
            </a:pPr>
            <a:r>
              <a:rPr lang="en-US" dirty="0" smtClean="0">
                <a:hlinkClick r:id=""/>
              </a:rPr>
              <a:t>Cisco 5G Infographic</a:t>
            </a:r>
            <a:endParaRPr lang="en-US" dirty="0"/>
          </a:p>
          <a:p>
            <a:pPr marL="342900" indent="-342900">
              <a:buFont typeface="Arial" charset="0"/>
              <a:buChar char="•"/>
            </a:pPr>
            <a:r>
              <a:rPr lang="en-US" dirty="0" smtClean="0">
                <a:hlinkClick r:id="rId5"/>
              </a:rPr>
              <a:t>Mobile </a:t>
            </a:r>
            <a:r>
              <a:rPr lang="en-US" dirty="0">
                <a:hlinkClick r:id="rId5"/>
              </a:rPr>
              <a:t>Video Delivery with Hybrid </a:t>
            </a:r>
            <a:r>
              <a:rPr lang="en-US" dirty="0" smtClean="0">
                <a:hlinkClick r:id="rId5"/>
              </a:rPr>
              <a:t>ICN</a:t>
            </a:r>
            <a:endParaRPr lang="en-US" dirty="0"/>
          </a:p>
          <a:p>
            <a:pPr marL="342900" indent="-342900">
              <a:buFont typeface="Arial" charset="0"/>
              <a:buChar char="•"/>
            </a:pPr>
            <a:r>
              <a:rPr lang="en-US" dirty="0" smtClean="0">
                <a:hlinkClick r:id="rId6"/>
              </a:rPr>
              <a:t>5G </a:t>
            </a:r>
            <a:r>
              <a:rPr lang="en-US" dirty="0">
                <a:hlinkClick r:id="rId6"/>
              </a:rPr>
              <a:t>Security (white </a:t>
            </a:r>
            <a:r>
              <a:rPr lang="en-US" dirty="0" smtClean="0">
                <a:hlinkClick r:id="rId6"/>
              </a:rPr>
              <a:t>paper)</a:t>
            </a:r>
            <a:endParaRPr lang="en-US" dirty="0"/>
          </a:p>
          <a:p>
            <a:pPr marL="342900" indent="-342900">
              <a:buFont typeface="Arial" charset="0"/>
              <a:buChar char="•"/>
            </a:pPr>
            <a:r>
              <a:rPr lang="en-US" dirty="0" smtClean="0">
                <a:hlinkClick r:id="rId7"/>
              </a:rPr>
              <a:t>5G </a:t>
            </a:r>
            <a:r>
              <a:rPr lang="en-US" dirty="0">
                <a:hlinkClick r:id="rId7"/>
              </a:rPr>
              <a:t>Papers and other </a:t>
            </a:r>
            <a:r>
              <a:rPr lang="en-US" dirty="0" smtClean="0">
                <a:hlinkClick r:id="rId7"/>
              </a:rPr>
              <a:t>information</a:t>
            </a:r>
            <a:endParaRPr lang="en-US" dirty="0" smtClean="0"/>
          </a:p>
          <a:p>
            <a:r>
              <a:rPr lang="en-US" sz="2000" dirty="0" smtClean="0"/>
              <a:t> </a:t>
            </a:r>
          </a:p>
        </p:txBody>
      </p:sp>
    </p:spTree>
    <p:extLst>
      <p:ext uri="{BB962C8B-B14F-4D97-AF65-F5344CB8AC3E}">
        <p14:creationId xmlns:p14="http://schemas.microsoft.com/office/powerpoint/2010/main" val="1107288402"/>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437766" y="912505"/>
            <a:ext cx="8179484" cy="4138623"/>
          </a:xfrm>
          <a:prstGeom prst="rect">
            <a:avLst/>
          </a:prstGeom>
        </p:spPr>
      </p:pic>
      <p:sp>
        <p:nvSpPr>
          <p:cNvPr id="17" name="Rounded Rectangle 16"/>
          <p:cNvSpPr/>
          <p:nvPr/>
        </p:nvSpPr>
        <p:spPr>
          <a:xfrm>
            <a:off x="3216905" y="2782206"/>
            <a:ext cx="1037853" cy="455339"/>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p:txBody>
          <a:bodyPr/>
          <a:lstStyle/>
          <a:p>
            <a:r>
              <a:rPr lang="en-US" sz="2800" dirty="0" smtClean="0"/>
              <a:t>MWC2017 </a:t>
            </a:r>
            <a:r>
              <a:rPr lang="en-US" sz="2800" dirty="0"/>
              <a:t>Demo </a:t>
            </a:r>
            <a:r>
              <a:rPr lang="en-US" sz="2800" dirty="0" smtClean="0"/>
              <a:t>Zone 2 – </a:t>
            </a:r>
            <a:r>
              <a:rPr lang="en-US" sz="2800" dirty="0"/>
              <a:t>Create Video </a:t>
            </a:r>
            <a:r>
              <a:rPr lang="en-US" sz="2800" dirty="0" smtClean="0"/>
              <a:t>Services</a:t>
            </a:r>
            <a:endParaRPr lang="en-US" sz="2800" dirty="0"/>
          </a:p>
        </p:txBody>
      </p:sp>
      <p:grpSp>
        <p:nvGrpSpPr>
          <p:cNvPr id="19" name="Group 18"/>
          <p:cNvGrpSpPr/>
          <p:nvPr/>
        </p:nvGrpSpPr>
        <p:grpSpPr>
          <a:xfrm>
            <a:off x="6674284" y="2462320"/>
            <a:ext cx="1541152" cy="369332"/>
            <a:chOff x="6692946" y="2462320"/>
            <a:chExt cx="1541152" cy="369332"/>
          </a:xfrm>
        </p:grpSpPr>
        <p:sp>
          <p:nvSpPr>
            <p:cNvPr id="11" name="Rounded Rectangle 10"/>
            <p:cNvSpPr/>
            <p:nvPr/>
          </p:nvSpPr>
          <p:spPr>
            <a:xfrm>
              <a:off x="7023284" y="2462320"/>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 name="TextBox 3"/>
            <p:cNvSpPr txBox="1"/>
            <p:nvPr/>
          </p:nvSpPr>
          <p:spPr>
            <a:xfrm>
              <a:off x="6692946" y="2462320"/>
              <a:ext cx="1541152" cy="369332"/>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3 </a:t>
              </a: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 </a:t>
              </a: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Create </a:t>
              </a:r>
              <a:b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IoT  Services</a:t>
              </a:r>
              <a:endPar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endParaRPr>
            </a:p>
          </p:txBody>
        </p:sp>
      </p:grpSp>
      <p:grpSp>
        <p:nvGrpSpPr>
          <p:cNvPr id="20" name="Group 19"/>
          <p:cNvGrpSpPr/>
          <p:nvPr/>
        </p:nvGrpSpPr>
        <p:grpSpPr>
          <a:xfrm>
            <a:off x="5095808" y="1851807"/>
            <a:ext cx="1541152" cy="507831"/>
            <a:chOff x="5095808" y="1851807"/>
            <a:chExt cx="1541152" cy="507831"/>
          </a:xfrm>
        </p:grpSpPr>
        <p:sp>
          <p:nvSpPr>
            <p:cNvPr id="15" name="Rounded Rectangle 14"/>
            <p:cNvSpPr/>
            <p:nvPr/>
          </p:nvSpPr>
          <p:spPr>
            <a:xfrm>
              <a:off x="5411430" y="1921055"/>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TextBox 4"/>
            <p:cNvSpPr txBox="1"/>
            <p:nvPr/>
          </p:nvSpPr>
          <p:spPr>
            <a:xfrm>
              <a:off x="5095808" y="1851807"/>
              <a:ext cx="1541152" cy="507831"/>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4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Create </a:t>
              </a:r>
              <a:r>
                <a:rPr lang="en-US" sz="900" smtClean="0">
                  <a:solidFill>
                    <a:srgbClr val="C00000"/>
                  </a:solidFill>
                  <a:effectLst>
                    <a:outerShdw blurRad="50800" dist="76200" dir="2700000" algn="tl" rotWithShape="0">
                      <a:prstClr val="black">
                        <a:alpha val="40000"/>
                      </a:prstClr>
                    </a:outerShdw>
                  </a:effectLst>
                  <a:ea typeface="Courier" charset="0"/>
                  <a:cs typeface="Courier" charset="0"/>
                </a:rPr>
                <a:t>Business </a:t>
              </a:r>
              <a:br>
                <a:rPr lang="en-US" sz="900" smtClean="0">
                  <a:solidFill>
                    <a:srgbClr val="C00000"/>
                  </a:solidFill>
                  <a:effectLst>
                    <a:outerShdw blurRad="50800" dist="76200" dir="2700000" algn="tl" rotWithShape="0">
                      <a:prstClr val="black">
                        <a:alpha val="40000"/>
                      </a:prstClr>
                    </a:outerShdw>
                  </a:effectLst>
                  <a:ea typeface="Courier" charset="0"/>
                  <a:cs typeface="Courier" charset="0"/>
                </a:rPr>
              </a:br>
              <a:r>
                <a:rPr lang="en-US" sz="900" smtClean="0">
                  <a:solidFill>
                    <a:srgbClr val="C00000"/>
                  </a:solidFill>
                  <a:effectLst>
                    <a:outerShdw blurRad="50800" dist="76200" dir="2700000" algn="tl" rotWithShape="0">
                      <a:prstClr val="black">
                        <a:alpha val="40000"/>
                      </a:prstClr>
                    </a:outerShdw>
                  </a:effectLst>
                  <a:ea typeface="Courier" charset="0"/>
                  <a:cs typeface="Courier" charset="0"/>
                </a:rPr>
                <a:t>Services</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grpSp>
        <p:nvGrpSpPr>
          <p:cNvPr id="21" name="Group 20"/>
          <p:cNvGrpSpPr/>
          <p:nvPr/>
        </p:nvGrpSpPr>
        <p:grpSpPr>
          <a:xfrm>
            <a:off x="4371250" y="1275010"/>
            <a:ext cx="909908" cy="413674"/>
            <a:chOff x="4371250" y="1275010"/>
            <a:chExt cx="909908" cy="413674"/>
          </a:xfrm>
        </p:grpSpPr>
        <p:sp>
          <p:nvSpPr>
            <p:cNvPr id="16" name="Rounded Rectangle 15"/>
            <p:cNvSpPr/>
            <p:nvPr/>
          </p:nvSpPr>
          <p:spPr>
            <a:xfrm>
              <a:off x="4371250" y="1319352"/>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TextBox 5"/>
            <p:cNvSpPr txBox="1"/>
            <p:nvPr/>
          </p:nvSpPr>
          <p:spPr>
            <a:xfrm>
              <a:off x="4458154" y="1275010"/>
              <a:ext cx="736100" cy="369332"/>
            </a:xfrm>
            <a:prstGeom prst="rect">
              <a:avLst/>
            </a:prstGeom>
            <a:noFill/>
          </p:spPr>
          <p:txBody>
            <a:bodyPr wrap="non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5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Protect</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sp>
        <p:nvSpPr>
          <p:cNvPr id="7" name="TextBox 6"/>
          <p:cNvSpPr txBox="1"/>
          <p:nvPr/>
        </p:nvSpPr>
        <p:spPr>
          <a:xfrm>
            <a:off x="3125231" y="2762847"/>
            <a:ext cx="1210588" cy="507831"/>
          </a:xfrm>
          <a:prstGeom prst="rect">
            <a:avLst/>
          </a:prstGeom>
          <a:noFill/>
        </p:spPr>
        <p:txBody>
          <a:bodyPr wrap="none" rtlCol="0">
            <a:spAutoFit/>
          </a:bodyPr>
          <a:lstStyle/>
          <a:p>
            <a:pPr algn="ct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Zone 1 –</a:t>
            </a:r>
            <a:b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Simplify, Automate, </a:t>
            </a:r>
            <a:b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Virtualize</a:t>
            </a:r>
            <a:endPar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endParaRPr>
          </a:p>
        </p:txBody>
      </p:sp>
      <p:grpSp>
        <p:nvGrpSpPr>
          <p:cNvPr id="18" name="Group 17"/>
          <p:cNvGrpSpPr/>
          <p:nvPr/>
        </p:nvGrpSpPr>
        <p:grpSpPr>
          <a:xfrm>
            <a:off x="5166510" y="3046920"/>
            <a:ext cx="1541152" cy="507831"/>
            <a:chOff x="5166510" y="3046920"/>
            <a:chExt cx="1541152" cy="507831"/>
          </a:xfrm>
        </p:grpSpPr>
        <p:sp>
          <p:nvSpPr>
            <p:cNvPr id="12" name="Rounded Rectangle 11"/>
            <p:cNvSpPr/>
            <p:nvPr/>
          </p:nvSpPr>
          <p:spPr>
            <a:xfrm>
              <a:off x="5530940" y="3116169"/>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 name="TextBox 9"/>
            <p:cNvSpPr txBox="1"/>
            <p:nvPr/>
          </p:nvSpPr>
          <p:spPr>
            <a:xfrm>
              <a:off x="5166510" y="3046920"/>
              <a:ext cx="1541152" cy="507831"/>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2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Create Video </a:t>
              </a:r>
              <a:b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Services</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sp>
        <p:nvSpPr>
          <p:cNvPr id="28" name="Rounded Rectangle 27"/>
          <p:cNvSpPr/>
          <p:nvPr/>
        </p:nvSpPr>
        <p:spPr>
          <a:xfrm rot="5400000">
            <a:off x="5627030" y="2547246"/>
            <a:ext cx="971699" cy="1402901"/>
          </a:xfrm>
          <a:prstGeom prst="roundRect">
            <a:avLst/>
          </a:prstGeom>
          <a:noFill/>
          <a:ln>
            <a:solidFill>
              <a:srgbClr val="FF00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3" name="Rectangle 32"/>
          <p:cNvSpPr/>
          <p:nvPr/>
        </p:nvSpPr>
        <p:spPr bwMode="auto">
          <a:xfrm>
            <a:off x="536052" y="1061687"/>
            <a:ext cx="4808181" cy="3970466"/>
          </a:xfrm>
          <a:prstGeom prst="rect">
            <a:avLst/>
          </a:prstGeom>
          <a:solidFill>
            <a:schemeClr val="bg1">
              <a:lumMod val="8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defTabSz="914378">
              <a:spcBef>
                <a:spcPct val="50000"/>
              </a:spcBef>
            </a:pPr>
            <a:endParaRPr lang="en-US" sz="2000">
              <a:solidFill>
                <a:srgbClr val="58585B"/>
              </a:solidFill>
              <a:latin typeface="Arial"/>
            </a:endParaRPr>
          </a:p>
        </p:txBody>
      </p:sp>
      <p:pic>
        <p:nvPicPr>
          <p:cNvPr id="34" name="Picture 4" descr="big dots"/>
          <p:cNvPicPr>
            <a:picLocks noChangeAspect="1" noChangeArrowheads="1"/>
          </p:cNvPicPr>
          <p:nvPr/>
        </p:nvPicPr>
        <p:blipFill>
          <a:blip r:embed="rId3">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36051" y="4119138"/>
            <a:ext cx="4950867" cy="497128"/>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p:cNvSpPr/>
          <p:nvPr/>
        </p:nvSpPr>
        <p:spPr>
          <a:xfrm>
            <a:off x="721082" y="1924177"/>
            <a:ext cx="4327120" cy="1908215"/>
          </a:xfrm>
          <a:prstGeom prst="rect">
            <a:avLst/>
          </a:prstGeom>
        </p:spPr>
        <p:txBody>
          <a:bodyPr wrap="square">
            <a:spAutoFit/>
          </a:bodyPr>
          <a:lstStyle/>
          <a:p>
            <a:r>
              <a:rPr lang="en-US" sz="2000" dirty="0" smtClean="0"/>
              <a:t>Cisco’s </a:t>
            </a:r>
            <a:r>
              <a:rPr lang="en-US" sz="2000" dirty="0"/>
              <a:t>Infinite Video Platform helps SPs deliver enhanced video experiences to users on any device, including optimized user experiences over mobile networks</a:t>
            </a:r>
          </a:p>
          <a:p>
            <a:endParaRPr lang="en-US" dirty="0" smtClean="0"/>
          </a:p>
        </p:txBody>
      </p:sp>
      <p:sp>
        <p:nvSpPr>
          <p:cNvPr id="36" name="Rectangle 35"/>
          <p:cNvSpPr/>
          <p:nvPr/>
        </p:nvSpPr>
        <p:spPr>
          <a:xfrm>
            <a:off x="642026" y="1132245"/>
            <a:ext cx="3088203" cy="369126"/>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Key Takeaway…</a:t>
            </a:r>
          </a:p>
        </p:txBody>
      </p:sp>
    </p:spTree>
    <p:extLst>
      <p:ext uri="{BB962C8B-B14F-4D97-AF65-F5344CB8AC3E}">
        <p14:creationId xmlns:p14="http://schemas.microsoft.com/office/powerpoint/2010/main" val="961055478"/>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t="-1" b="21976"/>
          <a:stretch/>
        </p:blipFill>
        <p:spPr>
          <a:xfrm>
            <a:off x="0" y="1130301"/>
            <a:ext cx="9144000" cy="4013199"/>
          </a:xfrm>
          <a:prstGeom prst="rect">
            <a:avLst/>
          </a:prstGeom>
        </p:spPr>
      </p:pic>
      <p:sp>
        <p:nvSpPr>
          <p:cNvPr id="4" name="Title 1"/>
          <p:cNvSpPr>
            <a:spLocks noGrp="1"/>
          </p:cNvSpPr>
          <p:nvPr>
            <p:ph type="title"/>
          </p:nvPr>
        </p:nvSpPr>
        <p:spPr>
          <a:xfrm>
            <a:off x="437766" y="341314"/>
            <a:ext cx="8345488" cy="731837"/>
          </a:xfrm>
        </p:spPr>
        <p:txBody>
          <a:bodyPr/>
          <a:lstStyle/>
          <a:p>
            <a:r>
              <a:rPr lang="en-US" dirty="0" smtClean="0"/>
              <a:t>Mobile Video – An Integrated Solution</a:t>
            </a:r>
            <a:endParaRPr lang="en-US" dirty="0"/>
          </a:p>
        </p:txBody>
      </p:sp>
    </p:spTree>
    <p:extLst>
      <p:ext uri="{BB962C8B-B14F-4D97-AF65-F5344CB8AC3E}">
        <p14:creationId xmlns:p14="http://schemas.microsoft.com/office/powerpoint/2010/main" val="1234909659"/>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37766" y="341314"/>
            <a:ext cx="8345488" cy="731837"/>
          </a:xfrm>
        </p:spPr>
        <p:txBody>
          <a:bodyPr/>
          <a:lstStyle/>
          <a:p>
            <a:r>
              <a:rPr lang="en-US" dirty="0" smtClean="0"/>
              <a:t>Holistic Security and Protection</a:t>
            </a:r>
            <a:endParaRPr lang="en-US" dirty="0"/>
          </a:p>
        </p:txBody>
      </p:sp>
      <p:pic>
        <p:nvPicPr>
          <p:cNvPr id="5" name="Picture 4"/>
          <p:cNvPicPr>
            <a:picLocks noChangeAspect="1"/>
          </p:cNvPicPr>
          <p:nvPr/>
        </p:nvPicPr>
        <p:blipFill rotWithShape="1">
          <a:blip r:embed="rId2"/>
          <a:srcRect l="10167" t="6389" r="9834" b="29100"/>
          <a:stretch/>
        </p:blipFill>
        <p:spPr>
          <a:xfrm>
            <a:off x="0" y="1130301"/>
            <a:ext cx="9144000" cy="3997959"/>
          </a:xfrm>
          <a:prstGeom prst="rect">
            <a:avLst/>
          </a:prstGeom>
        </p:spPr>
      </p:pic>
    </p:spTree>
    <p:extLst>
      <p:ext uri="{BB962C8B-B14F-4D97-AF65-F5344CB8AC3E}">
        <p14:creationId xmlns:p14="http://schemas.microsoft.com/office/powerpoint/2010/main" val="1844674205"/>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37766" y="341314"/>
            <a:ext cx="8345488" cy="731837"/>
          </a:xfrm>
        </p:spPr>
        <p:txBody>
          <a:bodyPr/>
          <a:lstStyle/>
          <a:p>
            <a:r>
              <a:rPr lang="en-US" dirty="0" smtClean="0"/>
              <a:t>Support for Multiple Business Models</a:t>
            </a:r>
            <a:endParaRPr lang="en-US" dirty="0"/>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14222" b="6963"/>
          <a:stretch/>
        </p:blipFill>
        <p:spPr>
          <a:xfrm>
            <a:off x="0" y="1089660"/>
            <a:ext cx="9144000" cy="4053840"/>
          </a:xfrm>
          <a:prstGeom prst="rect">
            <a:avLst/>
          </a:prstGeom>
        </p:spPr>
      </p:pic>
    </p:spTree>
    <p:extLst>
      <p:ext uri="{BB962C8B-B14F-4D97-AF65-F5344CB8AC3E}">
        <p14:creationId xmlns:p14="http://schemas.microsoft.com/office/powerpoint/2010/main" val="217951696"/>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37766" y="341314"/>
            <a:ext cx="8345488" cy="731837"/>
          </a:xfrm>
        </p:spPr>
        <p:txBody>
          <a:bodyPr/>
          <a:lstStyle/>
          <a:p>
            <a:r>
              <a:rPr lang="en-US" dirty="0" smtClean="0"/>
              <a:t>Simple </a:t>
            </a:r>
            <a:r>
              <a:rPr lang="en-US" dirty="0" err="1" smtClean="0"/>
              <a:t>Monetisation</a:t>
            </a:r>
            <a:r>
              <a:rPr lang="en-US" dirty="0" smtClean="0"/>
              <a:t> capability</a:t>
            </a:r>
            <a:endParaRPr lang="en-US" dirty="0"/>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1779" b="20641"/>
          <a:stretch/>
        </p:blipFill>
        <p:spPr>
          <a:xfrm>
            <a:off x="0" y="1130301"/>
            <a:ext cx="9144000" cy="3990339"/>
          </a:xfrm>
          <a:prstGeom prst="rect">
            <a:avLst/>
          </a:prstGeom>
        </p:spPr>
      </p:pic>
    </p:spTree>
    <p:extLst>
      <p:ext uri="{BB962C8B-B14F-4D97-AF65-F5344CB8AC3E}">
        <p14:creationId xmlns:p14="http://schemas.microsoft.com/office/powerpoint/2010/main" val="1654536537"/>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70506" y="1050717"/>
            <a:ext cx="6331975" cy="3861786"/>
          </a:xfrm>
        </p:spPr>
        <p:txBody>
          <a:bodyPr/>
          <a:lstStyle/>
          <a:p>
            <a:r>
              <a:rPr lang="en-US" dirty="0" smtClean="0"/>
              <a:t>Introduction / Show Overview</a:t>
            </a:r>
          </a:p>
          <a:p>
            <a:r>
              <a:rPr lang="en-US" dirty="0" smtClean="0"/>
              <a:t>Demonstration/Solution Highlights:</a:t>
            </a:r>
          </a:p>
          <a:p>
            <a:pPr lvl="1"/>
            <a:r>
              <a:rPr lang="en-US" dirty="0" smtClean="0"/>
              <a:t>Simplify, Automate, Virtualize</a:t>
            </a:r>
          </a:p>
          <a:p>
            <a:pPr lvl="1"/>
            <a:r>
              <a:rPr lang="en-US" dirty="0" smtClean="0"/>
              <a:t>Create Video Services</a:t>
            </a:r>
          </a:p>
          <a:p>
            <a:pPr lvl="1"/>
            <a:r>
              <a:rPr lang="en-US" dirty="0" smtClean="0"/>
              <a:t>Create IoT Services</a:t>
            </a:r>
          </a:p>
          <a:p>
            <a:pPr lvl="1"/>
            <a:r>
              <a:rPr lang="en-US" dirty="0" smtClean="0"/>
              <a:t>Create Business Services</a:t>
            </a:r>
          </a:p>
          <a:p>
            <a:pPr lvl="1"/>
            <a:r>
              <a:rPr lang="en-US" dirty="0" smtClean="0"/>
              <a:t>Protect/Secure</a:t>
            </a:r>
          </a:p>
        </p:txBody>
      </p:sp>
      <p:sp>
        <p:nvSpPr>
          <p:cNvPr id="3" name="Title 2"/>
          <p:cNvSpPr>
            <a:spLocks noGrp="1"/>
          </p:cNvSpPr>
          <p:nvPr>
            <p:ph type="ctrTitle"/>
          </p:nvPr>
        </p:nvSpPr>
        <p:spPr>
          <a:xfrm>
            <a:off x="486268" y="144487"/>
            <a:ext cx="8345488" cy="731837"/>
          </a:xfrm>
        </p:spPr>
        <p:txBody>
          <a:bodyPr/>
          <a:lstStyle/>
          <a:p>
            <a:r>
              <a:rPr lang="en-US" dirty="0" smtClean="0"/>
              <a:t>Agenda</a:t>
            </a:r>
            <a:endParaRPr lang="en-US" dirty="0"/>
          </a:p>
        </p:txBody>
      </p:sp>
      <p:pic>
        <p:nvPicPr>
          <p:cNvPr id="6" name="Picture 5"/>
          <p:cNvPicPr>
            <a:picLocks noChangeAspect="1"/>
          </p:cNvPicPr>
          <p:nvPr/>
        </p:nvPicPr>
        <p:blipFill>
          <a:blip r:embed="rId2"/>
          <a:stretch>
            <a:fillRect/>
          </a:stretch>
        </p:blipFill>
        <p:spPr>
          <a:xfrm>
            <a:off x="4972321" y="399245"/>
            <a:ext cx="4072069" cy="4267176"/>
          </a:xfrm>
          <a:prstGeom prst="rect">
            <a:avLst/>
          </a:prstGeom>
        </p:spPr>
      </p:pic>
    </p:spTree>
    <p:extLst>
      <p:ext uri="{BB962C8B-B14F-4D97-AF65-F5344CB8AC3E}">
        <p14:creationId xmlns:p14="http://schemas.microsoft.com/office/powerpoint/2010/main" val="1448724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37766" y="341314"/>
            <a:ext cx="8345488" cy="731837"/>
          </a:xfrm>
        </p:spPr>
        <p:txBody>
          <a:bodyPr/>
          <a:lstStyle/>
          <a:p>
            <a:r>
              <a:rPr lang="en-US" dirty="0" smtClean="0"/>
              <a:t>Quality Assured Video Delivery</a:t>
            </a:r>
            <a:endParaRPr lang="en-US" dirty="0"/>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b="22272"/>
          <a:stretch/>
        </p:blipFill>
        <p:spPr>
          <a:xfrm>
            <a:off x="0" y="1130301"/>
            <a:ext cx="9144000" cy="3997959"/>
          </a:xfrm>
          <a:prstGeom prst="rect">
            <a:avLst/>
          </a:prstGeom>
        </p:spPr>
      </p:pic>
    </p:spTree>
    <p:extLst>
      <p:ext uri="{BB962C8B-B14F-4D97-AF65-F5344CB8AC3E}">
        <p14:creationId xmlns:p14="http://schemas.microsoft.com/office/powerpoint/2010/main" val="29832356"/>
      </p:ext>
    </p:extLst>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37766" y="341314"/>
            <a:ext cx="8345488" cy="731837"/>
          </a:xfrm>
        </p:spPr>
        <p:txBody>
          <a:bodyPr/>
          <a:lstStyle/>
          <a:p>
            <a:r>
              <a:rPr lang="en-US" dirty="0" smtClean="0"/>
              <a:t>End to end platform</a:t>
            </a:r>
            <a:endParaRPr lang="en-US" dirty="0"/>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12445" b="9827"/>
          <a:stretch/>
        </p:blipFill>
        <p:spPr>
          <a:xfrm>
            <a:off x="0" y="1130301"/>
            <a:ext cx="9144000" cy="3997959"/>
          </a:xfrm>
          <a:prstGeom prst="rect">
            <a:avLst/>
          </a:prstGeom>
        </p:spPr>
      </p:pic>
    </p:spTree>
    <p:extLst>
      <p:ext uri="{BB962C8B-B14F-4D97-AF65-F5344CB8AC3E}">
        <p14:creationId xmlns:p14="http://schemas.microsoft.com/office/powerpoint/2010/main" val="1028717541"/>
      </p:ext>
    </p:extLst>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257" y="152929"/>
            <a:ext cx="8345488" cy="731837"/>
          </a:xfrm>
        </p:spPr>
        <p:txBody>
          <a:bodyPr/>
          <a:lstStyle/>
          <a:p>
            <a:r>
              <a:rPr lang="en-US" dirty="0"/>
              <a:t>Vodafone Launches </a:t>
            </a:r>
            <a:r>
              <a:rPr lang="en-US" dirty="0" err="1"/>
              <a:t>GigaTV</a:t>
            </a:r>
            <a:r>
              <a:rPr lang="en-US" dirty="0"/>
              <a:t> with Cisco</a:t>
            </a:r>
          </a:p>
        </p:txBody>
      </p:sp>
      <p:sp>
        <p:nvSpPr>
          <p:cNvPr id="6" name="Text Placeholder 1"/>
          <p:cNvSpPr txBox="1">
            <a:spLocks/>
          </p:cNvSpPr>
          <p:nvPr/>
        </p:nvSpPr>
        <p:spPr>
          <a:xfrm>
            <a:off x="399257" y="1232777"/>
            <a:ext cx="3793659" cy="32648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800"/>
              </a:spcBef>
              <a:spcAft>
                <a:spcPts val="600"/>
              </a:spcAft>
              <a:buNone/>
            </a:pPr>
            <a:r>
              <a:rPr lang="en-US" sz="1600" b="1" dirty="0" smtClean="0"/>
              <a:t>About Vodafone</a:t>
            </a:r>
          </a:p>
          <a:p>
            <a:pPr marL="228600" lvl="1" indent="-136525">
              <a:spcBef>
                <a:spcPts val="0"/>
              </a:spcBef>
            </a:pPr>
            <a:r>
              <a:rPr lang="en-US" sz="1100" dirty="0" smtClean="0"/>
              <a:t>8M+ Pay TV Homes in Germany </a:t>
            </a:r>
          </a:p>
          <a:p>
            <a:pPr marL="228600" lvl="1" indent="-136525">
              <a:spcBef>
                <a:spcPts val="0"/>
              </a:spcBef>
            </a:pPr>
            <a:r>
              <a:rPr lang="en-US" sz="1100" dirty="0" smtClean="0"/>
              <a:t>Wanted </a:t>
            </a:r>
            <a:r>
              <a:rPr lang="en-US" sz="1100" dirty="0"/>
              <a:t>to launch transformative service to become main hub for digital content in the home.</a:t>
            </a:r>
          </a:p>
          <a:p>
            <a:pPr marL="228600" lvl="1" indent="-136525">
              <a:spcBef>
                <a:spcPts val="0"/>
              </a:spcBef>
            </a:pPr>
            <a:endParaRPr lang="en-US" sz="1100" dirty="0" smtClean="0"/>
          </a:p>
          <a:p>
            <a:pPr marL="92075" lvl="1" indent="0">
              <a:spcBef>
                <a:spcPts val="0"/>
              </a:spcBef>
              <a:buNone/>
            </a:pPr>
            <a:endParaRPr lang="en-US" sz="1100" dirty="0" smtClean="0">
              <a:solidFill>
                <a:srgbClr val="FF0000"/>
              </a:solidFill>
            </a:endParaRPr>
          </a:p>
          <a:p>
            <a:pPr marL="0" indent="0">
              <a:spcBef>
                <a:spcPts val="800"/>
              </a:spcBef>
              <a:spcAft>
                <a:spcPts val="600"/>
              </a:spcAft>
              <a:buNone/>
            </a:pPr>
            <a:r>
              <a:rPr lang="en-US" sz="1600" b="1" dirty="0" smtClean="0"/>
              <a:t>Customer </a:t>
            </a:r>
            <a:r>
              <a:rPr lang="en-US" sz="1600" b="1" dirty="0"/>
              <a:t>Business Need </a:t>
            </a:r>
          </a:p>
          <a:p>
            <a:pPr marL="228600" lvl="1" indent="-136525">
              <a:spcBef>
                <a:spcPts val="0"/>
              </a:spcBef>
              <a:spcAft>
                <a:spcPts val="300"/>
              </a:spcAft>
            </a:pPr>
            <a:r>
              <a:rPr lang="en-US" sz="1100" dirty="0" smtClean="0"/>
              <a:t>Increase ARPU in a predominantly Free-to-Air Market</a:t>
            </a:r>
            <a:endParaRPr lang="en-US" sz="1100" dirty="0"/>
          </a:p>
          <a:p>
            <a:pPr marL="228600" lvl="1" indent="-136525">
              <a:spcBef>
                <a:spcPts val="0"/>
              </a:spcBef>
              <a:spcAft>
                <a:spcPts val="300"/>
              </a:spcAft>
            </a:pPr>
            <a:r>
              <a:rPr lang="en-US" sz="1100" dirty="0" smtClean="0"/>
              <a:t>Increase subscriber stickiness </a:t>
            </a:r>
            <a:endParaRPr lang="en-US" sz="1100" dirty="0"/>
          </a:p>
          <a:p>
            <a:pPr marL="228600" lvl="1" indent="-136525">
              <a:spcBef>
                <a:spcPts val="0"/>
              </a:spcBef>
              <a:spcAft>
                <a:spcPts val="300"/>
              </a:spcAft>
            </a:pPr>
            <a:r>
              <a:rPr lang="en-US" sz="1100" dirty="0" smtClean="0"/>
              <a:t>Service Velocity</a:t>
            </a:r>
          </a:p>
          <a:p>
            <a:pPr marL="228600" lvl="1" indent="-136525">
              <a:spcBef>
                <a:spcPts val="0"/>
              </a:spcBef>
              <a:spcAft>
                <a:spcPts val="300"/>
              </a:spcAft>
            </a:pPr>
            <a:endParaRPr lang="en-US" sz="1100" dirty="0"/>
          </a:p>
          <a:p>
            <a:pPr marL="0" indent="0">
              <a:spcBef>
                <a:spcPts val="800"/>
              </a:spcBef>
              <a:spcAft>
                <a:spcPts val="600"/>
              </a:spcAft>
              <a:buNone/>
            </a:pPr>
            <a:r>
              <a:rPr lang="en-US" sz="1600" b="1" dirty="0"/>
              <a:t>Solution Scope</a:t>
            </a:r>
          </a:p>
          <a:p>
            <a:pPr marL="228600" lvl="1" indent="-136525">
              <a:spcBef>
                <a:spcPts val="0"/>
              </a:spcBef>
              <a:spcAft>
                <a:spcPts val="300"/>
              </a:spcAft>
            </a:pPr>
            <a:r>
              <a:rPr lang="en-US" sz="1100" dirty="0"/>
              <a:t>Transformational move to Cloud, As-a-Service, &amp; DevOps for speed &amp; agility</a:t>
            </a:r>
          </a:p>
          <a:p>
            <a:pPr marL="228600" lvl="1" indent="-136525">
              <a:spcBef>
                <a:spcPts val="0"/>
              </a:spcBef>
              <a:spcAft>
                <a:spcPts val="300"/>
              </a:spcAft>
            </a:pPr>
            <a:r>
              <a:rPr lang="en-US" sz="1100" dirty="0" smtClean="0"/>
              <a:t>Hybrid Gateway </a:t>
            </a:r>
            <a:endParaRPr lang="en-US" sz="1100" dirty="0"/>
          </a:p>
          <a:p>
            <a:pPr marL="228600" lvl="1" indent="-136525">
              <a:spcBef>
                <a:spcPts val="0"/>
              </a:spcBef>
              <a:spcAft>
                <a:spcPts val="300"/>
              </a:spcAft>
            </a:pPr>
            <a:r>
              <a:rPr lang="en-US" sz="1100" dirty="0"/>
              <a:t>Multiscreen OTT TV </a:t>
            </a:r>
            <a:r>
              <a:rPr lang="en-US" sz="1100" dirty="0" smtClean="0"/>
              <a:t>Everywhere</a:t>
            </a:r>
            <a:endParaRPr lang="en-US" sz="1100" dirty="0"/>
          </a:p>
        </p:txBody>
      </p:sp>
      <p:grpSp>
        <p:nvGrpSpPr>
          <p:cNvPr id="7" name="Group 6"/>
          <p:cNvGrpSpPr/>
          <p:nvPr/>
        </p:nvGrpSpPr>
        <p:grpSpPr>
          <a:xfrm>
            <a:off x="4231078" y="1566692"/>
            <a:ext cx="4760906" cy="2615649"/>
            <a:chOff x="120436" y="1686232"/>
            <a:chExt cx="4043132" cy="2221303"/>
          </a:xfrm>
        </p:grpSpPr>
        <p:sp>
          <p:nvSpPr>
            <p:cNvPr id="8" name="Rectangle 7"/>
            <p:cNvSpPr/>
            <p:nvPr/>
          </p:nvSpPr>
          <p:spPr bwMode="auto">
            <a:xfrm>
              <a:off x="120436" y="1686232"/>
              <a:ext cx="4043132" cy="2221303"/>
            </a:xfrm>
            <a:prstGeom prst="rect">
              <a:avLst/>
            </a:prstGeom>
            <a:solidFill>
              <a:schemeClr val="bg1"/>
            </a:solidFill>
            <a:ln w="12700" cap="flat">
              <a:solidFill>
                <a:schemeClr val="bg1">
                  <a:lumMod val="50000"/>
                </a:schemeClr>
              </a:solidFill>
              <a:miter lim="800000"/>
              <a:headEnd type="none" w="med" len="med"/>
              <a:tailEnd type="none" w="med" len="med"/>
            </a:ln>
            <a:effectLst>
              <a:outerShdw blurRad="50800" dist="76200" dir="2700000" algn="tl" rotWithShape="0">
                <a:prstClr val="black">
                  <a:alpha val="40000"/>
                </a:prstClr>
              </a:outerShdw>
            </a:effectLst>
          </p:spPr>
          <p:txBody>
            <a:bodyPr lIns="91440" tIns="45720" rIns="91440" bIns="4572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4147" y="1760170"/>
              <a:ext cx="3679748" cy="2043751"/>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a:ext>
              </a:extLst>
            </a:blip>
            <a:stretch>
              <a:fillRect/>
            </a:stretch>
          </p:blipFill>
          <p:spPr>
            <a:xfrm rot="16200000">
              <a:off x="-599239" y="2625641"/>
              <a:ext cx="1783381" cy="297231"/>
            </a:xfrm>
            <a:prstGeom prst="rect">
              <a:avLst/>
            </a:prstGeom>
            <a:effectLst/>
          </p:spPr>
        </p:pic>
      </p:grpSp>
    </p:spTree>
    <p:extLst>
      <p:ext uri="{BB962C8B-B14F-4D97-AF65-F5344CB8AC3E}">
        <p14:creationId xmlns:p14="http://schemas.microsoft.com/office/powerpoint/2010/main" val="264869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deo Services – More Info</a:t>
            </a:r>
            <a:endParaRPr lang="en-US" dirty="0"/>
          </a:p>
        </p:txBody>
      </p:sp>
      <p:sp>
        <p:nvSpPr>
          <p:cNvPr id="12" name="Text Placeholder 1"/>
          <p:cNvSpPr txBox="1">
            <a:spLocks/>
          </p:cNvSpPr>
          <p:nvPr/>
        </p:nvSpPr>
        <p:spPr>
          <a:xfrm>
            <a:off x="1142999" y="908294"/>
            <a:ext cx="7798870" cy="3854744"/>
          </a:xfrm>
          <a:prstGeom prst="rect">
            <a:avLst/>
          </a:prstGeom>
        </p:spPr>
        <p:txBody>
          <a:bodyPr wrap="none">
            <a:noAutofit/>
          </a:bodyPr>
          <a:lst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nSpc>
                <a:spcPct val="100000"/>
              </a:lnSpc>
              <a:spcBef>
                <a:spcPts val="600"/>
              </a:spcBef>
              <a:spcAft>
                <a:spcPts val="600"/>
              </a:spcAft>
              <a:buNone/>
            </a:pPr>
            <a:r>
              <a:rPr lang="en-GB" sz="2000" dirty="0" smtClean="0">
                <a:hlinkClick r:id="rId2"/>
              </a:rPr>
              <a:t>http://www.cisco.com/go/infinitevideo</a:t>
            </a:r>
            <a:endParaRPr lang="en-GB" sz="2000" dirty="0" smtClean="0"/>
          </a:p>
          <a:p>
            <a:pPr marL="0" indent="0">
              <a:lnSpc>
                <a:spcPct val="100000"/>
              </a:lnSpc>
              <a:spcBef>
                <a:spcPts val="600"/>
              </a:spcBef>
              <a:spcAft>
                <a:spcPts val="600"/>
              </a:spcAft>
              <a:buNone/>
            </a:pPr>
            <a:r>
              <a:rPr lang="en-GB" sz="2000" dirty="0" smtClean="0"/>
              <a:t/>
            </a:r>
            <a:br>
              <a:rPr lang="en-GB" sz="2000" dirty="0" smtClean="0"/>
            </a:br>
            <a:r>
              <a:rPr lang="en-GB" sz="2000" dirty="0" smtClean="0"/>
              <a:t>Visit us at TV Connect, </a:t>
            </a:r>
            <a:r>
              <a:rPr lang="en-GB" sz="2000" dirty="0" err="1" smtClean="0"/>
              <a:t>Anga</a:t>
            </a:r>
            <a:r>
              <a:rPr lang="en-GB" sz="2000" dirty="0" smtClean="0"/>
              <a:t>, NAB</a:t>
            </a:r>
          </a:p>
          <a:p>
            <a:pPr marL="0" indent="0">
              <a:lnSpc>
                <a:spcPct val="100000"/>
              </a:lnSpc>
              <a:spcBef>
                <a:spcPts val="600"/>
              </a:spcBef>
              <a:spcAft>
                <a:spcPts val="600"/>
              </a:spcAft>
              <a:buNone/>
            </a:pPr>
            <a:r>
              <a:rPr lang="en-GB" sz="2000" dirty="0" smtClean="0">
                <a:hlinkClick r:id="rId3"/>
              </a:rPr>
              <a:t/>
            </a:r>
            <a:br>
              <a:rPr lang="en-GB" sz="2000" dirty="0" smtClean="0">
                <a:hlinkClick r:id="rId3"/>
              </a:rPr>
            </a:br>
            <a:r>
              <a:rPr lang="en-GB" sz="2000" dirty="0" smtClean="0">
                <a:hlinkClick r:id="rId3"/>
              </a:rPr>
              <a:t>http://blogs.cisco.com/sp</a:t>
            </a:r>
            <a:endParaRPr lang="en-GB" sz="2000" dirty="0" smtClean="0"/>
          </a:p>
          <a:p>
            <a:pPr marL="57136" indent="0">
              <a:lnSpc>
                <a:spcPct val="100000"/>
              </a:lnSpc>
              <a:spcBef>
                <a:spcPts val="600"/>
              </a:spcBef>
              <a:spcAft>
                <a:spcPts val="600"/>
              </a:spcAft>
              <a:buFont typeface="Arial" charset="0"/>
              <a:buNone/>
            </a:pPr>
            <a:r>
              <a:rPr lang="en-GB" sz="2000" dirty="0" smtClean="0"/>
              <a:t/>
            </a:r>
            <a:br>
              <a:rPr lang="en-GB" sz="2000" dirty="0" smtClean="0"/>
            </a:br>
            <a:r>
              <a:rPr lang="en-GB" sz="2000" dirty="0" smtClean="0"/>
              <a:t>@</a:t>
            </a:r>
            <a:r>
              <a:rPr lang="en-GB" sz="2000" dirty="0" err="1" smtClean="0"/>
              <a:t>CiscoSPVideo</a:t>
            </a:r>
            <a:endParaRPr lang="en-GB" sz="2000" dirty="0" smtClean="0"/>
          </a:p>
          <a:p>
            <a:pPr marL="0" indent="0">
              <a:lnSpc>
                <a:spcPct val="100000"/>
              </a:lnSpc>
              <a:spcBef>
                <a:spcPts val="600"/>
              </a:spcBef>
              <a:buNone/>
            </a:pPr>
            <a:r>
              <a:rPr lang="en-GB" sz="2000" dirty="0" smtClean="0">
                <a:hlinkClick r:id="rId4"/>
              </a:rPr>
              <a:t/>
            </a:r>
            <a:br>
              <a:rPr lang="en-GB" sz="2000" dirty="0" smtClean="0">
                <a:hlinkClick r:id="rId4"/>
              </a:rPr>
            </a:br>
            <a:r>
              <a:rPr lang="en-GB" sz="2000" dirty="0" smtClean="0">
                <a:hlinkClick r:id="rId5"/>
              </a:rPr>
              <a:t>addavies@cisco.com</a:t>
            </a:r>
            <a:r>
              <a:rPr lang="en-GB" sz="2000" dirty="0" smtClean="0"/>
              <a:t>, </a:t>
            </a:r>
            <a:r>
              <a:rPr lang="en-GB" sz="2000" dirty="0" smtClean="0">
                <a:hlinkClick r:id="rId6"/>
              </a:rPr>
              <a:t>jafield@cisco.com</a:t>
            </a:r>
            <a:r>
              <a:rPr lang="en-GB" sz="2000" dirty="0" smtClean="0"/>
              <a:t> </a:t>
            </a:r>
          </a:p>
        </p:txBody>
      </p:sp>
      <p:sp>
        <p:nvSpPr>
          <p:cNvPr id="13" name="Oval 143"/>
          <p:cNvSpPr/>
          <p:nvPr/>
        </p:nvSpPr>
        <p:spPr>
          <a:xfrm>
            <a:off x="359457" y="955750"/>
            <a:ext cx="642894" cy="331915"/>
          </a:xfrm>
          <a:custGeom>
            <a:avLst/>
            <a:gdLst/>
            <a:ahLst/>
            <a:cxnLst/>
            <a:rect l="l" t="t" r="r" b="b"/>
            <a:pathLst>
              <a:path w="5382339" h="2377925">
                <a:moveTo>
                  <a:pt x="2351284" y="0"/>
                </a:moveTo>
                <a:cubicBezTo>
                  <a:pt x="2669163" y="0"/>
                  <a:pt x="2953186" y="144952"/>
                  <a:pt x="3140863" y="372363"/>
                </a:cubicBezTo>
                <a:lnTo>
                  <a:pt x="3178701" y="422964"/>
                </a:lnTo>
                <a:lnTo>
                  <a:pt x="3214369" y="403604"/>
                </a:lnTo>
                <a:cubicBezTo>
                  <a:pt x="3294823" y="369575"/>
                  <a:pt x="3383279" y="350757"/>
                  <a:pt x="3476130" y="350757"/>
                </a:cubicBezTo>
                <a:cubicBezTo>
                  <a:pt x="3754682" y="350757"/>
                  <a:pt x="3993679" y="520115"/>
                  <a:pt x="4095767" y="761480"/>
                </a:cubicBezTo>
                <a:lnTo>
                  <a:pt x="4123717" y="851519"/>
                </a:lnTo>
                <a:lnTo>
                  <a:pt x="4254973" y="785349"/>
                </a:lnTo>
                <a:cubicBezTo>
                  <a:pt x="4348628" y="748418"/>
                  <a:pt x="4450666" y="728131"/>
                  <a:pt x="4557442" y="728131"/>
                </a:cubicBezTo>
                <a:cubicBezTo>
                  <a:pt x="5013020" y="728131"/>
                  <a:pt x="5382339" y="1097450"/>
                  <a:pt x="5382339" y="1553028"/>
                </a:cubicBezTo>
                <a:cubicBezTo>
                  <a:pt x="5382339" y="1894712"/>
                  <a:pt x="5174597" y="2187874"/>
                  <a:pt x="4878529" y="2313101"/>
                </a:cubicBezTo>
                <a:lnTo>
                  <a:pt x="4863629" y="2318554"/>
                </a:lnTo>
                <a:lnTo>
                  <a:pt x="4829783" y="2336925"/>
                </a:lnTo>
                <a:cubicBezTo>
                  <a:pt x="4778412" y="2358653"/>
                  <a:pt x="4721933" y="2370668"/>
                  <a:pt x="4662648" y="2370668"/>
                </a:cubicBezTo>
                <a:lnTo>
                  <a:pt x="4661428" y="2370668"/>
                </a:lnTo>
                <a:lnTo>
                  <a:pt x="4641783" y="2373666"/>
                </a:lnTo>
                <a:cubicBezTo>
                  <a:pt x="4614053" y="2376482"/>
                  <a:pt x="4585916" y="2377925"/>
                  <a:pt x="4557442" y="2377925"/>
                </a:cubicBezTo>
                <a:cubicBezTo>
                  <a:pt x="4528969" y="2377925"/>
                  <a:pt x="4500832" y="2376482"/>
                  <a:pt x="4473101" y="2373666"/>
                </a:cubicBezTo>
                <a:lnTo>
                  <a:pt x="4453456" y="2370668"/>
                </a:lnTo>
                <a:lnTo>
                  <a:pt x="949467" y="2370667"/>
                </a:lnTo>
                <a:lnTo>
                  <a:pt x="888183" y="2365260"/>
                </a:lnTo>
                <a:lnTo>
                  <a:pt x="879895" y="2366525"/>
                </a:lnTo>
                <a:cubicBezTo>
                  <a:pt x="853059" y="2369250"/>
                  <a:pt x="825831" y="2370646"/>
                  <a:pt x="798276" y="2370646"/>
                </a:cubicBezTo>
                <a:cubicBezTo>
                  <a:pt x="357400" y="2370646"/>
                  <a:pt x="0" y="2013246"/>
                  <a:pt x="0" y="1572370"/>
                </a:cubicBezTo>
                <a:cubicBezTo>
                  <a:pt x="0" y="1186604"/>
                  <a:pt x="273634" y="864748"/>
                  <a:pt x="637395" y="790312"/>
                </a:cubicBezTo>
                <a:lnTo>
                  <a:pt x="697594" y="781125"/>
                </a:lnTo>
                <a:lnTo>
                  <a:pt x="702629" y="731177"/>
                </a:lnTo>
                <a:cubicBezTo>
                  <a:pt x="752140" y="489221"/>
                  <a:pt x="966222" y="307214"/>
                  <a:pt x="1222814" y="307214"/>
                </a:cubicBezTo>
                <a:cubicBezTo>
                  <a:pt x="1332782" y="307214"/>
                  <a:pt x="1434942" y="340644"/>
                  <a:pt x="1519685" y="397896"/>
                </a:cubicBezTo>
                <a:lnTo>
                  <a:pt x="1533864" y="409594"/>
                </a:lnTo>
                <a:lnTo>
                  <a:pt x="1561704" y="372363"/>
                </a:lnTo>
                <a:cubicBezTo>
                  <a:pt x="1749381" y="144952"/>
                  <a:pt x="2033405" y="0"/>
                  <a:pt x="2351284" y="0"/>
                </a:cubicBezTo>
                <a:close/>
              </a:path>
            </a:pathLst>
          </a:custGeom>
          <a:solidFill>
            <a:schemeClr val="bg2"/>
          </a:solidFill>
          <a:ln w="38100" cap="flat">
            <a:solidFill>
              <a:schemeClr val="bg1">
                <a:lumMod val="85000"/>
              </a:schemeClr>
            </a:solidFill>
            <a:prstDash val="solid"/>
            <a:miter lim="800000"/>
            <a:headEnd/>
            <a:tailEnd/>
          </a:ln>
          <a:effectLst>
            <a:innerShdw blurRad="206375" dist="114300" dir="5400000">
              <a:schemeClr val="bg1">
                <a:lumMod val="50000"/>
              </a:schemeClr>
            </a:innerShdw>
          </a:effectLst>
        </p:spPr>
        <p:txBody>
          <a:bodyPr vert="horz" wrap="square" lIns="91440" tIns="45720" rIns="91440" bIns="45720" numCol="1" anchor="t" anchorCtr="0" compatLnSpc="1">
            <a:prstTxWarp prst="textNoShape">
              <a:avLst/>
            </a:prstTxWarp>
          </a:bodyPr>
          <a:lstStyle/>
          <a:p>
            <a:pPr defTabSz="684723"/>
            <a:endParaRPr lang="en-US" sz="1400" dirty="0">
              <a:solidFill>
                <a:srgbClr val="FFFFFF"/>
              </a:solidFill>
            </a:endParaRPr>
          </a:p>
        </p:txBody>
      </p:sp>
      <p:pic>
        <p:nvPicPr>
          <p:cNvPr id="14" name="Picture 4" descr="https://www.hallaminternet.com/assets/blog-post.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92411" y="2384655"/>
            <a:ext cx="642894" cy="47530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https://lh3.ggpht.com/lSLM0xhCA1RZOwaQcjhlwmsvaIQYaP3c5qbDKCgLALhydrgExnaSKZdGa8S3YtRuVA=w300"/>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38416" y="3194639"/>
            <a:ext cx="489194" cy="48919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https://ifttt.com/images/channels/email_lrg.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63509" y="4018515"/>
            <a:ext cx="434791" cy="43479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p:nvPicPr>
        <p:blipFill rotWithShape="1">
          <a:blip r:embed="rId10">
            <a:extLst>
              <a:ext uri="{28A0092B-C50C-407E-A947-70E740481C1C}">
                <a14:useLocalDpi xmlns:a14="http://schemas.microsoft.com/office/drawing/2010/main" val="0"/>
              </a:ext>
            </a:extLst>
          </a:blip>
          <a:srcRect r="7931" b="10498"/>
          <a:stretch/>
        </p:blipFill>
        <p:spPr>
          <a:xfrm>
            <a:off x="359457" y="1560252"/>
            <a:ext cx="724595" cy="528294"/>
          </a:xfrm>
          <a:prstGeom prst="rect">
            <a:avLst/>
          </a:prstGeom>
        </p:spPr>
      </p:pic>
    </p:spTree>
    <p:extLst>
      <p:ext uri="{BB962C8B-B14F-4D97-AF65-F5344CB8AC3E}">
        <p14:creationId xmlns:p14="http://schemas.microsoft.com/office/powerpoint/2010/main" val="32184990"/>
      </p:ext>
    </p:extLst>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437766" y="912505"/>
            <a:ext cx="8179484" cy="4138623"/>
          </a:xfrm>
          <a:prstGeom prst="rect">
            <a:avLst/>
          </a:prstGeom>
        </p:spPr>
      </p:pic>
      <p:sp>
        <p:nvSpPr>
          <p:cNvPr id="17" name="Rounded Rectangle 16"/>
          <p:cNvSpPr/>
          <p:nvPr/>
        </p:nvSpPr>
        <p:spPr>
          <a:xfrm>
            <a:off x="3216905" y="2782206"/>
            <a:ext cx="1037853" cy="455339"/>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p:txBody>
          <a:bodyPr/>
          <a:lstStyle/>
          <a:p>
            <a:r>
              <a:rPr lang="en-US" sz="2800" dirty="0" smtClean="0"/>
              <a:t>MWC2017 </a:t>
            </a:r>
            <a:r>
              <a:rPr lang="en-US" sz="2800" dirty="0"/>
              <a:t>Demo </a:t>
            </a:r>
            <a:r>
              <a:rPr lang="en-US" sz="2800" dirty="0" smtClean="0"/>
              <a:t>Zone 3 – </a:t>
            </a:r>
            <a:r>
              <a:rPr lang="en-US" sz="2800" dirty="0"/>
              <a:t>Create IoT </a:t>
            </a:r>
            <a:r>
              <a:rPr lang="en-US" sz="2800" dirty="0" smtClean="0"/>
              <a:t>Services</a:t>
            </a:r>
            <a:endParaRPr lang="en-US" sz="2800" dirty="0"/>
          </a:p>
        </p:txBody>
      </p:sp>
      <p:grpSp>
        <p:nvGrpSpPr>
          <p:cNvPr id="19" name="Group 18"/>
          <p:cNvGrpSpPr/>
          <p:nvPr/>
        </p:nvGrpSpPr>
        <p:grpSpPr>
          <a:xfrm>
            <a:off x="6674284" y="2462320"/>
            <a:ext cx="1541152" cy="369332"/>
            <a:chOff x="6692946" y="2462320"/>
            <a:chExt cx="1541152" cy="369332"/>
          </a:xfrm>
        </p:grpSpPr>
        <p:sp>
          <p:nvSpPr>
            <p:cNvPr id="11" name="Rounded Rectangle 10"/>
            <p:cNvSpPr/>
            <p:nvPr/>
          </p:nvSpPr>
          <p:spPr>
            <a:xfrm>
              <a:off x="7023284" y="2462320"/>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 name="TextBox 3"/>
            <p:cNvSpPr txBox="1"/>
            <p:nvPr/>
          </p:nvSpPr>
          <p:spPr>
            <a:xfrm>
              <a:off x="6692946" y="2462320"/>
              <a:ext cx="1541152" cy="369332"/>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3 </a:t>
              </a: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 </a:t>
              </a: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Create </a:t>
              </a:r>
              <a:b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IoT  Services</a:t>
              </a:r>
              <a:endPar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endParaRPr>
            </a:p>
          </p:txBody>
        </p:sp>
      </p:grpSp>
      <p:grpSp>
        <p:nvGrpSpPr>
          <p:cNvPr id="20" name="Group 19"/>
          <p:cNvGrpSpPr/>
          <p:nvPr/>
        </p:nvGrpSpPr>
        <p:grpSpPr>
          <a:xfrm>
            <a:off x="5095808" y="1851807"/>
            <a:ext cx="1541152" cy="507831"/>
            <a:chOff x="5095808" y="1851807"/>
            <a:chExt cx="1541152" cy="507831"/>
          </a:xfrm>
        </p:grpSpPr>
        <p:sp>
          <p:nvSpPr>
            <p:cNvPr id="15" name="Rounded Rectangle 14"/>
            <p:cNvSpPr/>
            <p:nvPr/>
          </p:nvSpPr>
          <p:spPr>
            <a:xfrm>
              <a:off x="5411430" y="1921055"/>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TextBox 4"/>
            <p:cNvSpPr txBox="1"/>
            <p:nvPr/>
          </p:nvSpPr>
          <p:spPr>
            <a:xfrm>
              <a:off x="5095808" y="1851807"/>
              <a:ext cx="1541152" cy="507831"/>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4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Create </a:t>
              </a:r>
              <a:r>
                <a:rPr lang="en-US" sz="900" smtClean="0">
                  <a:solidFill>
                    <a:srgbClr val="C00000"/>
                  </a:solidFill>
                  <a:effectLst>
                    <a:outerShdw blurRad="50800" dist="76200" dir="2700000" algn="tl" rotWithShape="0">
                      <a:prstClr val="black">
                        <a:alpha val="40000"/>
                      </a:prstClr>
                    </a:outerShdw>
                  </a:effectLst>
                  <a:ea typeface="Courier" charset="0"/>
                  <a:cs typeface="Courier" charset="0"/>
                </a:rPr>
                <a:t>Business </a:t>
              </a:r>
              <a:br>
                <a:rPr lang="en-US" sz="900" smtClean="0">
                  <a:solidFill>
                    <a:srgbClr val="C00000"/>
                  </a:solidFill>
                  <a:effectLst>
                    <a:outerShdw blurRad="50800" dist="76200" dir="2700000" algn="tl" rotWithShape="0">
                      <a:prstClr val="black">
                        <a:alpha val="40000"/>
                      </a:prstClr>
                    </a:outerShdw>
                  </a:effectLst>
                  <a:ea typeface="Courier" charset="0"/>
                  <a:cs typeface="Courier" charset="0"/>
                </a:rPr>
              </a:br>
              <a:r>
                <a:rPr lang="en-US" sz="900" smtClean="0">
                  <a:solidFill>
                    <a:srgbClr val="C00000"/>
                  </a:solidFill>
                  <a:effectLst>
                    <a:outerShdw blurRad="50800" dist="76200" dir="2700000" algn="tl" rotWithShape="0">
                      <a:prstClr val="black">
                        <a:alpha val="40000"/>
                      </a:prstClr>
                    </a:outerShdw>
                  </a:effectLst>
                  <a:ea typeface="Courier" charset="0"/>
                  <a:cs typeface="Courier" charset="0"/>
                </a:rPr>
                <a:t>Services</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grpSp>
        <p:nvGrpSpPr>
          <p:cNvPr id="21" name="Group 20"/>
          <p:cNvGrpSpPr/>
          <p:nvPr/>
        </p:nvGrpSpPr>
        <p:grpSpPr>
          <a:xfrm>
            <a:off x="4371250" y="1275010"/>
            <a:ext cx="909908" cy="413674"/>
            <a:chOff x="4371250" y="1275010"/>
            <a:chExt cx="909908" cy="413674"/>
          </a:xfrm>
        </p:grpSpPr>
        <p:sp>
          <p:nvSpPr>
            <p:cNvPr id="16" name="Rounded Rectangle 15"/>
            <p:cNvSpPr/>
            <p:nvPr/>
          </p:nvSpPr>
          <p:spPr>
            <a:xfrm>
              <a:off x="4371250" y="1319352"/>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TextBox 5"/>
            <p:cNvSpPr txBox="1"/>
            <p:nvPr/>
          </p:nvSpPr>
          <p:spPr>
            <a:xfrm>
              <a:off x="4458154" y="1275010"/>
              <a:ext cx="736100" cy="369332"/>
            </a:xfrm>
            <a:prstGeom prst="rect">
              <a:avLst/>
            </a:prstGeom>
            <a:noFill/>
          </p:spPr>
          <p:txBody>
            <a:bodyPr wrap="non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5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Protect</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sp>
        <p:nvSpPr>
          <p:cNvPr id="7" name="TextBox 6"/>
          <p:cNvSpPr txBox="1"/>
          <p:nvPr/>
        </p:nvSpPr>
        <p:spPr>
          <a:xfrm>
            <a:off x="3125231" y="2762847"/>
            <a:ext cx="1210588" cy="507831"/>
          </a:xfrm>
          <a:prstGeom prst="rect">
            <a:avLst/>
          </a:prstGeom>
          <a:noFill/>
        </p:spPr>
        <p:txBody>
          <a:bodyPr wrap="none" rtlCol="0">
            <a:spAutoFit/>
          </a:bodyPr>
          <a:lstStyle/>
          <a:p>
            <a:pPr algn="ct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Zone 1 –</a:t>
            </a:r>
            <a:b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Simplify, Automate, </a:t>
            </a:r>
            <a:b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Virtualize</a:t>
            </a:r>
            <a:endPar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endParaRPr>
          </a:p>
        </p:txBody>
      </p:sp>
      <p:grpSp>
        <p:nvGrpSpPr>
          <p:cNvPr id="18" name="Group 17"/>
          <p:cNvGrpSpPr/>
          <p:nvPr/>
        </p:nvGrpSpPr>
        <p:grpSpPr>
          <a:xfrm>
            <a:off x="5166510" y="3046920"/>
            <a:ext cx="1541152" cy="507831"/>
            <a:chOff x="5166510" y="3046920"/>
            <a:chExt cx="1541152" cy="507831"/>
          </a:xfrm>
        </p:grpSpPr>
        <p:sp>
          <p:nvSpPr>
            <p:cNvPr id="12" name="Rounded Rectangle 11"/>
            <p:cNvSpPr/>
            <p:nvPr/>
          </p:nvSpPr>
          <p:spPr>
            <a:xfrm>
              <a:off x="5530940" y="3116169"/>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 name="TextBox 9"/>
            <p:cNvSpPr txBox="1"/>
            <p:nvPr/>
          </p:nvSpPr>
          <p:spPr>
            <a:xfrm>
              <a:off x="5166510" y="3046920"/>
              <a:ext cx="1541152" cy="507831"/>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2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Create Video </a:t>
              </a:r>
              <a:b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Services</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sp>
        <p:nvSpPr>
          <p:cNvPr id="24" name="Rounded Rectangle 23"/>
          <p:cNvSpPr/>
          <p:nvPr/>
        </p:nvSpPr>
        <p:spPr>
          <a:xfrm rot="5400000">
            <a:off x="6992415" y="2093224"/>
            <a:ext cx="853237" cy="1123404"/>
          </a:xfrm>
          <a:prstGeom prst="roundRect">
            <a:avLst/>
          </a:prstGeom>
          <a:noFill/>
          <a:ln>
            <a:solidFill>
              <a:srgbClr val="FF00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2" name="Rectangle 31"/>
          <p:cNvSpPr/>
          <p:nvPr/>
        </p:nvSpPr>
        <p:spPr bwMode="auto">
          <a:xfrm>
            <a:off x="1824649" y="989045"/>
            <a:ext cx="4808181" cy="3908397"/>
          </a:xfrm>
          <a:prstGeom prst="rect">
            <a:avLst/>
          </a:prstGeom>
          <a:solidFill>
            <a:schemeClr val="bg1">
              <a:lumMod val="8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defTabSz="914378">
              <a:spcBef>
                <a:spcPct val="50000"/>
              </a:spcBef>
            </a:pPr>
            <a:endParaRPr lang="en-US" sz="2000">
              <a:solidFill>
                <a:srgbClr val="58585B"/>
              </a:solidFill>
              <a:latin typeface="Arial"/>
            </a:endParaRPr>
          </a:p>
        </p:txBody>
      </p:sp>
      <p:pic>
        <p:nvPicPr>
          <p:cNvPr id="33" name="Picture 4" descr="big dots"/>
          <p:cNvPicPr>
            <a:picLocks noChangeAspect="1" noChangeArrowheads="1"/>
          </p:cNvPicPr>
          <p:nvPr/>
        </p:nvPicPr>
        <p:blipFill>
          <a:blip r:embed="rId3">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822955" y="4276051"/>
            <a:ext cx="4950867" cy="497128"/>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a:xfrm>
            <a:off x="2064737" y="1825839"/>
            <a:ext cx="4327120" cy="2215991"/>
          </a:xfrm>
          <a:prstGeom prst="rect">
            <a:avLst/>
          </a:prstGeom>
        </p:spPr>
        <p:txBody>
          <a:bodyPr wrap="square">
            <a:spAutoFit/>
          </a:bodyPr>
          <a:lstStyle/>
          <a:p>
            <a:r>
              <a:rPr lang="en-US" sz="2000" dirty="0"/>
              <a:t>Cisco’s </a:t>
            </a:r>
            <a:r>
              <a:rPr lang="en-US" sz="2000" dirty="0" smtClean="0"/>
              <a:t>solutions for IoT, Multi-Access Networks, Virtualized Mobile Core, and Connectivity Management create new SP opportunities to drive </a:t>
            </a:r>
            <a:r>
              <a:rPr lang="en-US" sz="2000" dirty="0"/>
              <a:t>Digital </a:t>
            </a:r>
            <a:r>
              <a:rPr lang="en-US" sz="2000" dirty="0" smtClean="0"/>
              <a:t>Transformation </a:t>
            </a:r>
            <a:r>
              <a:rPr lang="en-US" sz="2000" dirty="0"/>
              <a:t>for their </a:t>
            </a:r>
            <a:r>
              <a:rPr lang="en-US" sz="2000" dirty="0" smtClean="0"/>
              <a:t>customers.</a:t>
            </a:r>
          </a:p>
          <a:p>
            <a:endParaRPr lang="en-US" dirty="0"/>
          </a:p>
        </p:txBody>
      </p:sp>
      <p:sp>
        <p:nvSpPr>
          <p:cNvPr id="35" name="Rectangle 34"/>
          <p:cNvSpPr/>
          <p:nvPr/>
        </p:nvSpPr>
        <p:spPr>
          <a:xfrm>
            <a:off x="1909807" y="1101656"/>
            <a:ext cx="3088203" cy="369126"/>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Key Takeaway…</a:t>
            </a:r>
          </a:p>
        </p:txBody>
      </p:sp>
    </p:spTree>
    <p:extLst>
      <p:ext uri="{BB962C8B-B14F-4D97-AF65-F5344CB8AC3E}">
        <p14:creationId xmlns:p14="http://schemas.microsoft.com/office/powerpoint/2010/main" val="1005958779"/>
      </p:ext>
    </p:extLst>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0" name="Freeform 6"/>
          <p:cNvSpPr>
            <a:spLocks noEditPoints="1"/>
          </p:cNvSpPr>
          <p:nvPr/>
        </p:nvSpPr>
        <p:spPr bwMode="auto">
          <a:xfrm>
            <a:off x="273049" y="1611313"/>
            <a:ext cx="8595360" cy="2589212"/>
          </a:xfrm>
          <a:custGeom>
            <a:avLst/>
            <a:gdLst/>
            <a:ahLst/>
            <a:cxnLst>
              <a:cxn ang="0">
                <a:pos x="3437" y="824"/>
              </a:cxn>
              <a:cxn ang="0">
                <a:pos x="3240" y="956"/>
              </a:cxn>
              <a:cxn ang="0">
                <a:pos x="2664" y="781"/>
              </a:cxn>
              <a:cxn ang="0">
                <a:pos x="2420" y="456"/>
              </a:cxn>
              <a:cxn ang="0">
                <a:pos x="2152" y="781"/>
              </a:cxn>
              <a:cxn ang="0">
                <a:pos x="2113" y="290"/>
              </a:cxn>
              <a:cxn ang="0">
                <a:pos x="1908" y="817"/>
              </a:cxn>
              <a:cxn ang="0">
                <a:pos x="1734" y="654"/>
              </a:cxn>
              <a:cxn ang="0">
                <a:pos x="1237" y="91"/>
              </a:cxn>
              <a:cxn ang="0">
                <a:pos x="1028" y="522"/>
              </a:cxn>
              <a:cxn ang="0">
                <a:pos x="763" y="917"/>
              </a:cxn>
              <a:cxn ang="0">
                <a:pos x="615" y="811"/>
              </a:cxn>
              <a:cxn ang="0">
                <a:pos x="341" y="812"/>
              </a:cxn>
              <a:cxn ang="0">
                <a:pos x="2507" y="1283"/>
              </a:cxn>
              <a:cxn ang="0">
                <a:pos x="3816" y="1035"/>
              </a:cxn>
              <a:cxn ang="0">
                <a:pos x="51" y="1143"/>
              </a:cxn>
              <a:cxn ang="0">
                <a:pos x="228" y="1180"/>
              </a:cxn>
              <a:cxn ang="0">
                <a:pos x="555" y="825"/>
              </a:cxn>
              <a:cxn ang="0">
                <a:pos x="414" y="1011"/>
              </a:cxn>
              <a:cxn ang="0">
                <a:pos x="430" y="825"/>
              </a:cxn>
              <a:cxn ang="0">
                <a:pos x="545" y="1214"/>
              </a:cxn>
              <a:cxn ang="0">
                <a:pos x="697" y="986"/>
              </a:cxn>
              <a:cxn ang="0">
                <a:pos x="848" y="1059"/>
              </a:cxn>
              <a:cxn ang="0">
                <a:pos x="1052" y="597"/>
              </a:cxn>
              <a:cxn ang="0">
                <a:pos x="1052" y="1113"/>
              </a:cxn>
              <a:cxn ang="0">
                <a:pos x="983" y="972"/>
              </a:cxn>
              <a:cxn ang="0">
                <a:pos x="1052" y="863"/>
              </a:cxn>
              <a:cxn ang="0">
                <a:pos x="1052" y="738"/>
              </a:cxn>
              <a:cxn ang="0">
                <a:pos x="900" y="629"/>
              </a:cxn>
              <a:cxn ang="0">
                <a:pos x="1230" y="811"/>
              </a:cxn>
              <a:cxn ang="0">
                <a:pos x="1334" y="155"/>
              </a:cxn>
              <a:cxn ang="0">
                <a:pos x="1294" y="1045"/>
              </a:cxn>
              <a:cxn ang="0">
                <a:pos x="1393" y="866"/>
              </a:cxn>
              <a:cxn ang="0">
                <a:pos x="1478" y="1153"/>
              </a:cxn>
              <a:cxn ang="0">
                <a:pos x="1694" y="773"/>
              </a:cxn>
              <a:cxn ang="0">
                <a:pos x="1541" y="1135"/>
              </a:cxn>
              <a:cxn ang="0">
                <a:pos x="1645" y="890"/>
              </a:cxn>
              <a:cxn ang="0">
                <a:pos x="1748" y="1226"/>
              </a:cxn>
              <a:cxn ang="0">
                <a:pos x="1800" y="708"/>
              </a:cxn>
              <a:cxn ang="0">
                <a:pos x="1816" y="708"/>
              </a:cxn>
              <a:cxn ang="0">
                <a:pos x="1901" y="901"/>
              </a:cxn>
              <a:cxn ang="0">
                <a:pos x="2270" y="497"/>
              </a:cxn>
              <a:cxn ang="0">
                <a:pos x="2387" y="606"/>
              </a:cxn>
              <a:cxn ang="0">
                <a:pos x="2270" y="686"/>
              </a:cxn>
              <a:cxn ang="0">
                <a:pos x="2082" y="368"/>
              </a:cxn>
              <a:cxn ang="0">
                <a:pos x="2199" y="1230"/>
              </a:cxn>
              <a:cxn ang="0">
                <a:pos x="2216" y="927"/>
              </a:cxn>
              <a:cxn ang="0">
                <a:pos x="2307" y="874"/>
              </a:cxn>
              <a:cxn ang="0">
                <a:pos x="2430" y="910"/>
              </a:cxn>
              <a:cxn ang="0">
                <a:pos x="2505" y="1053"/>
              </a:cxn>
              <a:cxn ang="0">
                <a:pos x="2550" y="1146"/>
              </a:cxn>
              <a:cxn ang="0">
                <a:pos x="2556" y="842"/>
              </a:cxn>
              <a:cxn ang="0">
                <a:pos x="2621" y="927"/>
              </a:cxn>
              <a:cxn ang="0">
                <a:pos x="2942" y="1081"/>
              </a:cxn>
              <a:cxn ang="0">
                <a:pos x="3240" y="1161"/>
              </a:cxn>
              <a:cxn ang="0">
                <a:pos x="3514" y="899"/>
              </a:cxn>
              <a:cxn ang="0">
                <a:pos x="3448" y="1057"/>
              </a:cxn>
              <a:cxn ang="0">
                <a:pos x="3357" y="998"/>
              </a:cxn>
              <a:cxn ang="0">
                <a:pos x="3272" y="1149"/>
              </a:cxn>
              <a:cxn ang="0">
                <a:pos x="3357" y="1149"/>
              </a:cxn>
              <a:cxn ang="0">
                <a:pos x="3425" y="899"/>
              </a:cxn>
              <a:cxn ang="0">
                <a:pos x="3621" y="1085"/>
              </a:cxn>
              <a:cxn ang="0">
                <a:pos x="3814" y="1154"/>
              </a:cxn>
            </a:cxnLst>
            <a:rect l="0" t="0" r="r" b="b"/>
            <a:pathLst>
              <a:path w="3836" h="1283">
                <a:moveTo>
                  <a:pt x="3816" y="1035"/>
                </a:moveTo>
                <a:cubicBezTo>
                  <a:pt x="3699" y="1035"/>
                  <a:pt x="3699" y="1035"/>
                  <a:pt x="3699" y="1035"/>
                </a:cubicBezTo>
                <a:cubicBezTo>
                  <a:pt x="3699" y="1006"/>
                  <a:pt x="3699" y="1006"/>
                  <a:pt x="3699" y="1006"/>
                </a:cubicBezTo>
                <a:cubicBezTo>
                  <a:pt x="3720" y="1006"/>
                  <a:pt x="3720" y="1006"/>
                  <a:pt x="3720" y="1006"/>
                </a:cubicBezTo>
                <a:cubicBezTo>
                  <a:pt x="3687" y="938"/>
                  <a:pt x="3687" y="938"/>
                  <a:pt x="3687" y="938"/>
                </a:cubicBezTo>
                <a:cubicBezTo>
                  <a:pt x="3581" y="938"/>
                  <a:pt x="3581" y="938"/>
                  <a:pt x="3581" y="938"/>
                </a:cubicBezTo>
                <a:cubicBezTo>
                  <a:pt x="3557" y="881"/>
                  <a:pt x="3557" y="881"/>
                  <a:pt x="3557" y="881"/>
                </a:cubicBezTo>
                <a:cubicBezTo>
                  <a:pt x="3536" y="881"/>
                  <a:pt x="3536" y="881"/>
                  <a:pt x="3536" y="881"/>
                </a:cubicBezTo>
                <a:cubicBezTo>
                  <a:pt x="3536" y="864"/>
                  <a:pt x="3536" y="864"/>
                  <a:pt x="3536" y="864"/>
                </a:cubicBezTo>
                <a:cubicBezTo>
                  <a:pt x="3543" y="863"/>
                  <a:pt x="3543" y="863"/>
                  <a:pt x="3543" y="863"/>
                </a:cubicBezTo>
                <a:cubicBezTo>
                  <a:pt x="3514" y="824"/>
                  <a:pt x="3514" y="824"/>
                  <a:pt x="3514" y="824"/>
                </a:cubicBezTo>
                <a:cubicBezTo>
                  <a:pt x="3437" y="824"/>
                  <a:pt x="3437" y="824"/>
                  <a:pt x="3437" y="824"/>
                </a:cubicBezTo>
                <a:cubicBezTo>
                  <a:pt x="3437" y="822"/>
                  <a:pt x="3437" y="822"/>
                  <a:pt x="3437" y="822"/>
                </a:cubicBezTo>
                <a:cubicBezTo>
                  <a:pt x="3437" y="822"/>
                  <a:pt x="3437" y="822"/>
                  <a:pt x="3437" y="822"/>
                </a:cubicBezTo>
                <a:cubicBezTo>
                  <a:pt x="3412" y="802"/>
                  <a:pt x="3412" y="802"/>
                  <a:pt x="3412" y="802"/>
                </a:cubicBezTo>
                <a:cubicBezTo>
                  <a:pt x="3389" y="820"/>
                  <a:pt x="3389" y="820"/>
                  <a:pt x="3389" y="820"/>
                </a:cubicBezTo>
                <a:cubicBezTo>
                  <a:pt x="3389" y="823"/>
                  <a:pt x="3389" y="823"/>
                  <a:pt x="3389" y="823"/>
                </a:cubicBezTo>
                <a:cubicBezTo>
                  <a:pt x="3389" y="824"/>
                  <a:pt x="3389" y="824"/>
                  <a:pt x="3389" y="824"/>
                </a:cubicBezTo>
                <a:cubicBezTo>
                  <a:pt x="3310" y="824"/>
                  <a:pt x="3310" y="824"/>
                  <a:pt x="3310" y="824"/>
                </a:cubicBezTo>
                <a:cubicBezTo>
                  <a:pt x="3285" y="863"/>
                  <a:pt x="3285" y="863"/>
                  <a:pt x="3285" y="863"/>
                </a:cubicBezTo>
                <a:cubicBezTo>
                  <a:pt x="3295" y="863"/>
                  <a:pt x="3295" y="863"/>
                  <a:pt x="3295" y="863"/>
                </a:cubicBezTo>
                <a:cubicBezTo>
                  <a:pt x="3295" y="880"/>
                  <a:pt x="3295" y="880"/>
                  <a:pt x="3295" y="880"/>
                </a:cubicBezTo>
                <a:cubicBezTo>
                  <a:pt x="3281" y="881"/>
                  <a:pt x="3281" y="881"/>
                  <a:pt x="3281" y="881"/>
                </a:cubicBezTo>
                <a:cubicBezTo>
                  <a:pt x="3240" y="956"/>
                  <a:pt x="3240" y="956"/>
                  <a:pt x="3240" y="956"/>
                </a:cubicBezTo>
                <a:cubicBezTo>
                  <a:pt x="3168" y="955"/>
                  <a:pt x="3168" y="955"/>
                  <a:pt x="3168" y="955"/>
                </a:cubicBezTo>
                <a:cubicBezTo>
                  <a:pt x="3145" y="895"/>
                  <a:pt x="3145" y="895"/>
                  <a:pt x="3145" y="895"/>
                </a:cubicBezTo>
                <a:cubicBezTo>
                  <a:pt x="2840" y="895"/>
                  <a:pt x="2840" y="895"/>
                  <a:pt x="2840" y="895"/>
                </a:cubicBezTo>
                <a:cubicBezTo>
                  <a:pt x="2810" y="942"/>
                  <a:pt x="2810" y="942"/>
                  <a:pt x="2810" y="942"/>
                </a:cubicBezTo>
                <a:cubicBezTo>
                  <a:pt x="2706" y="944"/>
                  <a:pt x="2706" y="944"/>
                  <a:pt x="2706" y="944"/>
                </a:cubicBezTo>
                <a:cubicBezTo>
                  <a:pt x="2706" y="850"/>
                  <a:pt x="2706" y="850"/>
                  <a:pt x="2706" y="850"/>
                </a:cubicBezTo>
                <a:cubicBezTo>
                  <a:pt x="2734" y="850"/>
                  <a:pt x="2734" y="850"/>
                  <a:pt x="2734" y="850"/>
                </a:cubicBezTo>
                <a:cubicBezTo>
                  <a:pt x="2706" y="783"/>
                  <a:pt x="2706" y="783"/>
                  <a:pt x="2706" y="783"/>
                </a:cubicBezTo>
                <a:cubicBezTo>
                  <a:pt x="2670" y="782"/>
                  <a:pt x="2670" y="782"/>
                  <a:pt x="2670" y="782"/>
                </a:cubicBezTo>
                <a:cubicBezTo>
                  <a:pt x="2670" y="746"/>
                  <a:pt x="2670" y="746"/>
                  <a:pt x="2670" y="746"/>
                </a:cubicBezTo>
                <a:cubicBezTo>
                  <a:pt x="2664" y="746"/>
                  <a:pt x="2664" y="746"/>
                  <a:pt x="2664" y="746"/>
                </a:cubicBezTo>
                <a:cubicBezTo>
                  <a:pt x="2664" y="781"/>
                  <a:pt x="2664" y="781"/>
                  <a:pt x="2664" y="781"/>
                </a:cubicBezTo>
                <a:cubicBezTo>
                  <a:pt x="2578" y="777"/>
                  <a:pt x="2578" y="777"/>
                  <a:pt x="2578" y="777"/>
                </a:cubicBezTo>
                <a:cubicBezTo>
                  <a:pt x="2578" y="755"/>
                  <a:pt x="2578" y="755"/>
                  <a:pt x="2578" y="755"/>
                </a:cubicBezTo>
                <a:cubicBezTo>
                  <a:pt x="2571" y="755"/>
                  <a:pt x="2571" y="755"/>
                  <a:pt x="2571" y="755"/>
                </a:cubicBezTo>
                <a:cubicBezTo>
                  <a:pt x="2571" y="777"/>
                  <a:pt x="2571" y="777"/>
                  <a:pt x="2571" y="777"/>
                </a:cubicBezTo>
                <a:cubicBezTo>
                  <a:pt x="2553" y="776"/>
                  <a:pt x="2553" y="776"/>
                  <a:pt x="2553" y="776"/>
                </a:cubicBezTo>
                <a:cubicBezTo>
                  <a:pt x="2553" y="742"/>
                  <a:pt x="2553" y="742"/>
                  <a:pt x="2553" y="742"/>
                </a:cubicBezTo>
                <a:cubicBezTo>
                  <a:pt x="2547" y="742"/>
                  <a:pt x="2547" y="742"/>
                  <a:pt x="2547" y="742"/>
                </a:cubicBezTo>
                <a:cubicBezTo>
                  <a:pt x="2547" y="776"/>
                  <a:pt x="2547" y="776"/>
                  <a:pt x="2547" y="776"/>
                </a:cubicBezTo>
                <a:cubicBezTo>
                  <a:pt x="2478" y="773"/>
                  <a:pt x="2478" y="773"/>
                  <a:pt x="2478" y="773"/>
                </a:cubicBezTo>
                <a:cubicBezTo>
                  <a:pt x="2438" y="743"/>
                  <a:pt x="2438" y="743"/>
                  <a:pt x="2438" y="743"/>
                </a:cubicBezTo>
                <a:cubicBezTo>
                  <a:pt x="2432" y="743"/>
                  <a:pt x="2426" y="743"/>
                  <a:pt x="2420" y="743"/>
                </a:cubicBezTo>
                <a:cubicBezTo>
                  <a:pt x="2420" y="456"/>
                  <a:pt x="2420" y="456"/>
                  <a:pt x="2420" y="456"/>
                </a:cubicBezTo>
                <a:cubicBezTo>
                  <a:pt x="2395" y="433"/>
                  <a:pt x="2362" y="422"/>
                  <a:pt x="2328" y="422"/>
                </a:cubicBezTo>
                <a:cubicBezTo>
                  <a:pt x="2295" y="422"/>
                  <a:pt x="2261" y="433"/>
                  <a:pt x="2237" y="456"/>
                </a:cubicBezTo>
                <a:cubicBezTo>
                  <a:pt x="2237" y="777"/>
                  <a:pt x="2237" y="777"/>
                  <a:pt x="2237" y="777"/>
                </a:cubicBezTo>
                <a:cubicBezTo>
                  <a:pt x="2194" y="779"/>
                  <a:pt x="2194" y="779"/>
                  <a:pt x="2194" y="779"/>
                </a:cubicBezTo>
                <a:cubicBezTo>
                  <a:pt x="2194" y="735"/>
                  <a:pt x="2194" y="735"/>
                  <a:pt x="2194" y="735"/>
                </a:cubicBezTo>
                <a:cubicBezTo>
                  <a:pt x="2187" y="735"/>
                  <a:pt x="2187" y="735"/>
                  <a:pt x="2187" y="735"/>
                </a:cubicBezTo>
                <a:cubicBezTo>
                  <a:pt x="2187" y="780"/>
                  <a:pt x="2187" y="780"/>
                  <a:pt x="2187" y="780"/>
                </a:cubicBezTo>
                <a:cubicBezTo>
                  <a:pt x="2168" y="780"/>
                  <a:pt x="2168" y="780"/>
                  <a:pt x="2168" y="780"/>
                </a:cubicBezTo>
                <a:cubicBezTo>
                  <a:pt x="2168" y="754"/>
                  <a:pt x="2168" y="754"/>
                  <a:pt x="2168" y="754"/>
                </a:cubicBezTo>
                <a:cubicBezTo>
                  <a:pt x="2162" y="754"/>
                  <a:pt x="2162" y="754"/>
                  <a:pt x="2162" y="754"/>
                </a:cubicBezTo>
                <a:cubicBezTo>
                  <a:pt x="2162" y="781"/>
                  <a:pt x="2162" y="781"/>
                  <a:pt x="2162" y="781"/>
                </a:cubicBezTo>
                <a:cubicBezTo>
                  <a:pt x="2152" y="781"/>
                  <a:pt x="2152" y="781"/>
                  <a:pt x="2152" y="781"/>
                </a:cubicBezTo>
                <a:cubicBezTo>
                  <a:pt x="2152" y="317"/>
                  <a:pt x="2152" y="317"/>
                  <a:pt x="2152" y="317"/>
                </a:cubicBezTo>
                <a:cubicBezTo>
                  <a:pt x="2120" y="317"/>
                  <a:pt x="2120" y="317"/>
                  <a:pt x="2120" y="317"/>
                </a:cubicBezTo>
                <a:cubicBezTo>
                  <a:pt x="2120" y="290"/>
                  <a:pt x="2120" y="290"/>
                  <a:pt x="2120" y="290"/>
                </a:cubicBezTo>
                <a:cubicBezTo>
                  <a:pt x="2129" y="290"/>
                  <a:pt x="2129" y="290"/>
                  <a:pt x="2129" y="290"/>
                </a:cubicBezTo>
                <a:cubicBezTo>
                  <a:pt x="2129" y="283"/>
                  <a:pt x="2129" y="283"/>
                  <a:pt x="2129" y="283"/>
                </a:cubicBezTo>
                <a:cubicBezTo>
                  <a:pt x="2120" y="283"/>
                  <a:pt x="2120" y="283"/>
                  <a:pt x="2120" y="283"/>
                </a:cubicBezTo>
                <a:cubicBezTo>
                  <a:pt x="2120" y="217"/>
                  <a:pt x="2120" y="217"/>
                  <a:pt x="2120" y="217"/>
                </a:cubicBezTo>
                <a:cubicBezTo>
                  <a:pt x="2113" y="217"/>
                  <a:pt x="2113" y="217"/>
                  <a:pt x="2113" y="217"/>
                </a:cubicBezTo>
                <a:cubicBezTo>
                  <a:pt x="2113" y="283"/>
                  <a:pt x="2113" y="283"/>
                  <a:pt x="2113" y="283"/>
                </a:cubicBezTo>
                <a:cubicBezTo>
                  <a:pt x="2104" y="283"/>
                  <a:pt x="2104" y="283"/>
                  <a:pt x="2104" y="283"/>
                </a:cubicBezTo>
                <a:cubicBezTo>
                  <a:pt x="2104" y="290"/>
                  <a:pt x="2104" y="290"/>
                  <a:pt x="2104" y="290"/>
                </a:cubicBezTo>
                <a:cubicBezTo>
                  <a:pt x="2113" y="290"/>
                  <a:pt x="2113" y="290"/>
                  <a:pt x="2113" y="290"/>
                </a:cubicBezTo>
                <a:cubicBezTo>
                  <a:pt x="2113" y="317"/>
                  <a:pt x="2113" y="317"/>
                  <a:pt x="2113" y="317"/>
                </a:cubicBezTo>
                <a:cubicBezTo>
                  <a:pt x="2007" y="317"/>
                  <a:pt x="2007" y="317"/>
                  <a:pt x="2007" y="317"/>
                </a:cubicBezTo>
                <a:cubicBezTo>
                  <a:pt x="2007" y="287"/>
                  <a:pt x="2007" y="287"/>
                  <a:pt x="2007" y="287"/>
                </a:cubicBezTo>
                <a:cubicBezTo>
                  <a:pt x="1962" y="287"/>
                  <a:pt x="1962" y="287"/>
                  <a:pt x="1962" y="287"/>
                </a:cubicBezTo>
                <a:cubicBezTo>
                  <a:pt x="1962" y="317"/>
                  <a:pt x="1962" y="317"/>
                  <a:pt x="1962" y="317"/>
                </a:cubicBezTo>
                <a:cubicBezTo>
                  <a:pt x="1946" y="317"/>
                  <a:pt x="1946" y="317"/>
                  <a:pt x="1946" y="317"/>
                </a:cubicBezTo>
                <a:cubicBezTo>
                  <a:pt x="1946" y="254"/>
                  <a:pt x="1946" y="254"/>
                  <a:pt x="1946" y="254"/>
                </a:cubicBezTo>
                <a:cubicBezTo>
                  <a:pt x="1940" y="254"/>
                  <a:pt x="1940" y="254"/>
                  <a:pt x="1940" y="254"/>
                </a:cubicBezTo>
                <a:cubicBezTo>
                  <a:pt x="1940" y="317"/>
                  <a:pt x="1940" y="317"/>
                  <a:pt x="1940" y="317"/>
                </a:cubicBezTo>
                <a:cubicBezTo>
                  <a:pt x="1919" y="317"/>
                  <a:pt x="1919" y="317"/>
                  <a:pt x="1919" y="317"/>
                </a:cubicBezTo>
                <a:cubicBezTo>
                  <a:pt x="1919" y="831"/>
                  <a:pt x="1919" y="831"/>
                  <a:pt x="1919" y="831"/>
                </a:cubicBezTo>
                <a:cubicBezTo>
                  <a:pt x="1908" y="817"/>
                  <a:pt x="1908" y="817"/>
                  <a:pt x="1908" y="817"/>
                </a:cubicBezTo>
                <a:cubicBezTo>
                  <a:pt x="1872" y="817"/>
                  <a:pt x="1872" y="817"/>
                  <a:pt x="1872" y="817"/>
                </a:cubicBezTo>
                <a:cubicBezTo>
                  <a:pt x="1872" y="655"/>
                  <a:pt x="1872" y="655"/>
                  <a:pt x="1872" y="655"/>
                </a:cubicBezTo>
                <a:cubicBezTo>
                  <a:pt x="1867" y="654"/>
                  <a:pt x="1861" y="654"/>
                  <a:pt x="1856" y="654"/>
                </a:cubicBezTo>
                <a:cubicBezTo>
                  <a:pt x="1856" y="637"/>
                  <a:pt x="1856" y="637"/>
                  <a:pt x="1856" y="637"/>
                </a:cubicBezTo>
                <a:cubicBezTo>
                  <a:pt x="1830" y="637"/>
                  <a:pt x="1830" y="637"/>
                  <a:pt x="1830" y="637"/>
                </a:cubicBezTo>
                <a:cubicBezTo>
                  <a:pt x="1830" y="653"/>
                  <a:pt x="1830" y="653"/>
                  <a:pt x="1830" y="653"/>
                </a:cubicBezTo>
                <a:cubicBezTo>
                  <a:pt x="1810" y="653"/>
                  <a:pt x="1789" y="653"/>
                  <a:pt x="1768" y="653"/>
                </a:cubicBezTo>
                <a:cubicBezTo>
                  <a:pt x="1768" y="618"/>
                  <a:pt x="1768" y="618"/>
                  <a:pt x="1768" y="618"/>
                </a:cubicBezTo>
                <a:cubicBezTo>
                  <a:pt x="1764" y="618"/>
                  <a:pt x="1764" y="618"/>
                  <a:pt x="1764" y="618"/>
                </a:cubicBezTo>
                <a:cubicBezTo>
                  <a:pt x="1764" y="653"/>
                  <a:pt x="1764" y="653"/>
                  <a:pt x="1764" y="653"/>
                </a:cubicBezTo>
                <a:cubicBezTo>
                  <a:pt x="1767" y="653"/>
                  <a:pt x="1767" y="653"/>
                  <a:pt x="1767" y="653"/>
                </a:cubicBezTo>
                <a:cubicBezTo>
                  <a:pt x="1756" y="653"/>
                  <a:pt x="1745" y="653"/>
                  <a:pt x="1734" y="654"/>
                </a:cubicBezTo>
                <a:cubicBezTo>
                  <a:pt x="1734" y="637"/>
                  <a:pt x="1734" y="637"/>
                  <a:pt x="1734" y="637"/>
                </a:cubicBezTo>
                <a:cubicBezTo>
                  <a:pt x="1726" y="637"/>
                  <a:pt x="1726" y="637"/>
                  <a:pt x="1726" y="637"/>
                </a:cubicBezTo>
                <a:cubicBezTo>
                  <a:pt x="1726" y="551"/>
                  <a:pt x="1726" y="551"/>
                  <a:pt x="1726" y="551"/>
                </a:cubicBezTo>
                <a:cubicBezTo>
                  <a:pt x="1514" y="618"/>
                  <a:pt x="1514" y="618"/>
                  <a:pt x="1514" y="618"/>
                </a:cubicBezTo>
                <a:cubicBezTo>
                  <a:pt x="1514" y="660"/>
                  <a:pt x="1514" y="660"/>
                  <a:pt x="1514" y="660"/>
                </a:cubicBezTo>
                <a:cubicBezTo>
                  <a:pt x="1489" y="660"/>
                  <a:pt x="1489" y="660"/>
                  <a:pt x="1489" y="660"/>
                </a:cubicBezTo>
                <a:cubicBezTo>
                  <a:pt x="1489" y="91"/>
                  <a:pt x="1489" y="91"/>
                  <a:pt x="1489" y="91"/>
                </a:cubicBezTo>
                <a:cubicBezTo>
                  <a:pt x="1452" y="91"/>
                  <a:pt x="1452" y="91"/>
                  <a:pt x="1452" y="91"/>
                </a:cubicBezTo>
                <a:cubicBezTo>
                  <a:pt x="1452" y="0"/>
                  <a:pt x="1452" y="0"/>
                  <a:pt x="1452" y="0"/>
                </a:cubicBezTo>
                <a:cubicBezTo>
                  <a:pt x="1394" y="0"/>
                  <a:pt x="1331" y="0"/>
                  <a:pt x="1274" y="0"/>
                </a:cubicBezTo>
                <a:cubicBezTo>
                  <a:pt x="1274" y="91"/>
                  <a:pt x="1274" y="91"/>
                  <a:pt x="1274" y="91"/>
                </a:cubicBezTo>
                <a:cubicBezTo>
                  <a:pt x="1237" y="91"/>
                  <a:pt x="1237" y="91"/>
                  <a:pt x="1237" y="91"/>
                </a:cubicBezTo>
                <a:cubicBezTo>
                  <a:pt x="1237" y="660"/>
                  <a:pt x="1237" y="660"/>
                  <a:pt x="1237" y="660"/>
                </a:cubicBezTo>
                <a:cubicBezTo>
                  <a:pt x="1130" y="660"/>
                  <a:pt x="1130" y="660"/>
                  <a:pt x="1130" y="660"/>
                </a:cubicBezTo>
                <a:cubicBezTo>
                  <a:pt x="1101" y="728"/>
                  <a:pt x="1101" y="728"/>
                  <a:pt x="1101" y="728"/>
                </a:cubicBezTo>
                <a:cubicBezTo>
                  <a:pt x="1118" y="727"/>
                  <a:pt x="1118" y="727"/>
                  <a:pt x="1118" y="727"/>
                </a:cubicBezTo>
                <a:cubicBezTo>
                  <a:pt x="1118" y="806"/>
                  <a:pt x="1118" y="886"/>
                  <a:pt x="1118" y="965"/>
                </a:cubicBezTo>
                <a:cubicBezTo>
                  <a:pt x="1097" y="981"/>
                  <a:pt x="1097" y="981"/>
                  <a:pt x="1097" y="981"/>
                </a:cubicBezTo>
                <a:cubicBezTo>
                  <a:pt x="1096" y="981"/>
                  <a:pt x="1096" y="981"/>
                  <a:pt x="1096" y="981"/>
                </a:cubicBezTo>
                <a:cubicBezTo>
                  <a:pt x="1096" y="522"/>
                  <a:pt x="1096" y="522"/>
                  <a:pt x="1096" y="522"/>
                </a:cubicBezTo>
                <a:cubicBezTo>
                  <a:pt x="1070" y="522"/>
                  <a:pt x="1070" y="522"/>
                  <a:pt x="1070" y="522"/>
                </a:cubicBezTo>
                <a:cubicBezTo>
                  <a:pt x="1070" y="500"/>
                  <a:pt x="1070" y="500"/>
                  <a:pt x="1070" y="500"/>
                </a:cubicBezTo>
                <a:cubicBezTo>
                  <a:pt x="1028" y="500"/>
                  <a:pt x="1028" y="500"/>
                  <a:pt x="1028" y="500"/>
                </a:cubicBezTo>
                <a:cubicBezTo>
                  <a:pt x="1028" y="522"/>
                  <a:pt x="1028" y="522"/>
                  <a:pt x="1028" y="522"/>
                </a:cubicBezTo>
                <a:cubicBezTo>
                  <a:pt x="954" y="522"/>
                  <a:pt x="954" y="522"/>
                  <a:pt x="954" y="522"/>
                </a:cubicBezTo>
                <a:cubicBezTo>
                  <a:pt x="954" y="468"/>
                  <a:pt x="954" y="468"/>
                  <a:pt x="954" y="468"/>
                </a:cubicBezTo>
                <a:cubicBezTo>
                  <a:pt x="947" y="468"/>
                  <a:pt x="947" y="468"/>
                  <a:pt x="947" y="468"/>
                </a:cubicBezTo>
                <a:cubicBezTo>
                  <a:pt x="947" y="522"/>
                  <a:pt x="947" y="522"/>
                  <a:pt x="947" y="522"/>
                </a:cubicBezTo>
                <a:cubicBezTo>
                  <a:pt x="918" y="522"/>
                  <a:pt x="918" y="522"/>
                  <a:pt x="918" y="522"/>
                </a:cubicBezTo>
                <a:cubicBezTo>
                  <a:pt x="918" y="495"/>
                  <a:pt x="918" y="495"/>
                  <a:pt x="918" y="495"/>
                </a:cubicBezTo>
                <a:cubicBezTo>
                  <a:pt x="911" y="495"/>
                  <a:pt x="911" y="495"/>
                  <a:pt x="911" y="495"/>
                </a:cubicBezTo>
                <a:cubicBezTo>
                  <a:pt x="911" y="522"/>
                  <a:pt x="911" y="522"/>
                  <a:pt x="911" y="522"/>
                </a:cubicBezTo>
                <a:cubicBezTo>
                  <a:pt x="861" y="522"/>
                  <a:pt x="861" y="522"/>
                  <a:pt x="861" y="522"/>
                </a:cubicBezTo>
                <a:cubicBezTo>
                  <a:pt x="861" y="926"/>
                  <a:pt x="861" y="926"/>
                  <a:pt x="861" y="926"/>
                </a:cubicBezTo>
                <a:cubicBezTo>
                  <a:pt x="763" y="926"/>
                  <a:pt x="763" y="926"/>
                  <a:pt x="763" y="926"/>
                </a:cubicBezTo>
                <a:cubicBezTo>
                  <a:pt x="763" y="917"/>
                  <a:pt x="763" y="917"/>
                  <a:pt x="763" y="917"/>
                </a:cubicBezTo>
                <a:cubicBezTo>
                  <a:pt x="726" y="917"/>
                  <a:pt x="726" y="917"/>
                  <a:pt x="726" y="917"/>
                </a:cubicBezTo>
                <a:cubicBezTo>
                  <a:pt x="726" y="926"/>
                  <a:pt x="726" y="926"/>
                  <a:pt x="726" y="926"/>
                </a:cubicBezTo>
                <a:cubicBezTo>
                  <a:pt x="695" y="926"/>
                  <a:pt x="695" y="926"/>
                  <a:pt x="695" y="926"/>
                </a:cubicBezTo>
                <a:cubicBezTo>
                  <a:pt x="695" y="883"/>
                  <a:pt x="695" y="883"/>
                  <a:pt x="695" y="883"/>
                </a:cubicBezTo>
                <a:cubicBezTo>
                  <a:pt x="690" y="883"/>
                  <a:pt x="690" y="883"/>
                  <a:pt x="690" y="883"/>
                </a:cubicBezTo>
                <a:cubicBezTo>
                  <a:pt x="690" y="926"/>
                  <a:pt x="690" y="926"/>
                  <a:pt x="690" y="926"/>
                </a:cubicBezTo>
                <a:cubicBezTo>
                  <a:pt x="653" y="926"/>
                  <a:pt x="653" y="926"/>
                  <a:pt x="653" y="926"/>
                </a:cubicBezTo>
                <a:cubicBezTo>
                  <a:pt x="653" y="926"/>
                  <a:pt x="653" y="926"/>
                  <a:pt x="653" y="926"/>
                </a:cubicBezTo>
                <a:cubicBezTo>
                  <a:pt x="681" y="924"/>
                  <a:pt x="681" y="924"/>
                  <a:pt x="681" y="924"/>
                </a:cubicBezTo>
                <a:cubicBezTo>
                  <a:pt x="631" y="831"/>
                  <a:pt x="631" y="831"/>
                  <a:pt x="631" y="831"/>
                </a:cubicBezTo>
                <a:cubicBezTo>
                  <a:pt x="616" y="831"/>
                  <a:pt x="616" y="831"/>
                  <a:pt x="616" y="831"/>
                </a:cubicBezTo>
                <a:cubicBezTo>
                  <a:pt x="615" y="811"/>
                  <a:pt x="615" y="811"/>
                  <a:pt x="615" y="811"/>
                </a:cubicBezTo>
                <a:cubicBezTo>
                  <a:pt x="627" y="811"/>
                  <a:pt x="627" y="811"/>
                  <a:pt x="627" y="811"/>
                </a:cubicBezTo>
                <a:cubicBezTo>
                  <a:pt x="599" y="767"/>
                  <a:pt x="599" y="767"/>
                  <a:pt x="599" y="767"/>
                </a:cubicBezTo>
                <a:cubicBezTo>
                  <a:pt x="509" y="767"/>
                  <a:pt x="509" y="767"/>
                  <a:pt x="509" y="767"/>
                </a:cubicBezTo>
                <a:cubicBezTo>
                  <a:pt x="509" y="766"/>
                  <a:pt x="509" y="766"/>
                  <a:pt x="509" y="766"/>
                </a:cubicBezTo>
                <a:cubicBezTo>
                  <a:pt x="509" y="763"/>
                  <a:pt x="509" y="763"/>
                  <a:pt x="509" y="763"/>
                </a:cubicBezTo>
                <a:cubicBezTo>
                  <a:pt x="483" y="742"/>
                  <a:pt x="483" y="742"/>
                  <a:pt x="483" y="742"/>
                </a:cubicBezTo>
                <a:cubicBezTo>
                  <a:pt x="454" y="765"/>
                  <a:pt x="454" y="765"/>
                  <a:pt x="454" y="765"/>
                </a:cubicBezTo>
                <a:cubicBezTo>
                  <a:pt x="454" y="765"/>
                  <a:pt x="454" y="765"/>
                  <a:pt x="454" y="765"/>
                </a:cubicBezTo>
                <a:cubicBezTo>
                  <a:pt x="454" y="767"/>
                  <a:pt x="454" y="767"/>
                  <a:pt x="454" y="767"/>
                </a:cubicBezTo>
                <a:cubicBezTo>
                  <a:pt x="366" y="767"/>
                  <a:pt x="366" y="767"/>
                  <a:pt x="366" y="767"/>
                </a:cubicBezTo>
                <a:cubicBezTo>
                  <a:pt x="334" y="811"/>
                  <a:pt x="334" y="811"/>
                  <a:pt x="334" y="811"/>
                </a:cubicBezTo>
                <a:cubicBezTo>
                  <a:pt x="341" y="812"/>
                  <a:pt x="341" y="812"/>
                  <a:pt x="341" y="812"/>
                </a:cubicBezTo>
                <a:cubicBezTo>
                  <a:pt x="341" y="832"/>
                  <a:pt x="341" y="832"/>
                  <a:pt x="341" y="832"/>
                </a:cubicBezTo>
                <a:cubicBezTo>
                  <a:pt x="317" y="832"/>
                  <a:pt x="317" y="832"/>
                  <a:pt x="317" y="832"/>
                </a:cubicBezTo>
                <a:cubicBezTo>
                  <a:pt x="290" y="897"/>
                  <a:pt x="290" y="897"/>
                  <a:pt x="290" y="897"/>
                </a:cubicBezTo>
                <a:cubicBezTo>
                  <a:pt x="170" y="897"/>
                  <a:pt x="170" y="897"/>
                  <a:pt x="170" y="897"/>
                </a:cubicBezTo>
                <a:cubicBezTo>
                  <a:pt x="132" y="975"/>
                  <a:pt x="132" y="975"/>
                  <a:pt x="132" y="975"/>
                </a:cubicBezTo>
                <a:cubicBezTo>
                  <a:pt x="156" y="975"/>
                  <a:pt x="156" y="975"/>
                  <a:pt x="156" y="975"/>
                </a:cubicBezTo>
                <a:cubicBezTo>
                  <a:pt x="156" y="1007"/>
                  <a:pt x="156" y="1007"/>
                  <a:pt x="156" y="1007"/>
                </a:cubicBezTo>
                <a:cubicBezTo>
                  <a:pt x="24" y="1007"/>
                  <a:pt x="24" y="1007"/>
                  <a:pt x="24" y="1007"/>
                </a:cubicBezTo>
                <a:cubicBezTo>
                  <a:pt x="0" y="1037"/>
                  <a:pt x="0" y="1037"/>
                  <a:pt x="0" y="1037"/>
                </a:cubicBezTo>
                <a:cubicBezTo>
                  <a:pt x="0" y="1064"/>
                  <a:pt x="0" y="1064"/>
                  <a:pt x="0" y="1064"/>
                </a:cubicBezTo>
                <a:cubicBezTo>
                  <a:pt x="0" y="1283"/>
                  <a:pt x="0" y="1283"/>
                  <a:pt x="0" y="1283"/>
                </a:cubicBezTo>
                <a:cubicBezTo>
                  <a:pt x="844" y="1283"/>
                  <a:pt x="1680" y="1283"/>
                  <a:pt x="2507" y="1283"/>
                </a:cubicBezTo>
                <a:cubicBezTo>
                  <a:pt x="2507" y="1282"/>
                  <a:pt x="2507" y="1280"/>
                  <a:pt x="2507" y="1279"/>
                </a:cubicBezTo>
                <a:cubicBezTo>
                  <a:pt x="2514" y="1279"/>
                  <a:pt x="2521" y="1279"/>
                  <a:pt x="2528" y="1279"/>
                </a:cubicBezTo>
                <a:cubicBezTo>
                  <a:pt x="2528" y="1280"/>
                  <a:pt x="2528" y="1282"/>
                  <a:pt x="2528" y="1283"/>
                </a:cubicBezTo>
                <a:cubicBezTo>
                  <a:pt x="2787" y="1283"/>
                  <a:pt x="3045" y="1283"/>
                  <a:pt x="3302" y="1283"/>
                </a:cubicBezTo>
                <a:cubicBezTo>
                  <a:pt x="3302" y="1245"/>
                  <a:pt x="3302" y="1207"/>
                  <a:pt x="3302" y="1170"/>
                </a:cubicBezTo>
                <a:cubicBezTo>
                  <a:pt x="3306" y="1170"/>
                  <a:pt x="3311" y="1170"/>
                  <a:pt x="3315" y="1170"/>
                </a:cubicBezTo>
                <a:cubicBezTo>
                  <a:pt x="3315" y="1207"/>
                  <a:pt x="3315" y="1245"/>
                  <a:pt x="3315" y="1283"/>
                </a:cubicBezTo>
                <a:cubicBezTo>
                  <a:pt x="3489" y="1283"/>
                  <a:pt x="3663" y="1283"/>
                  <a:pt x="3836" y="1283"/>
                </a:cubicBezTo>
                <a:cubicBezTo>
                  <a:pt x="3836" y="1221"/>
                  <a:pt x="3836" y="1221"/>
                  <a:pt x="3836" y="1221"/>
                </a:cubicBezTo>
                <a:cubicBezTo>
                  <a:pt x="3836" y="1085"/>
                  <a:pt x="3836" y="1085"/>
                  <a:pt x="3836" y="1085"/>
                </a:cubicBezTo>
                <a:cubicBezTo>
                  <a:pt x="3836" y="1062"/>
                  <a:pt x="3836" y="1062"/>
                  <a:pt x="3836" y="1062"/>
                </a:cubicBezTo>
                <a:lnTo>
                  <a:pt x="3816" y="1035"/>
                </a:lnTo>
                <a:close/>
                <a:moveTo>
                  <a:pt x="25" y="1090"/>
                </a:moveTo>
                <a:cubicBezTo>
                  <a:pt x="150" y="1090"/>
                  <a:pt x="150" y="1090"/>
                  <a:pt x="150" y="1090"/>
                </a:cubicBezTo>
                <a:cubicBezTo>
                  <a:pt x="150" y="1107"/>
                  <a:pt x="150" y="1107"/>
                  <a:pt x="150" y="1107"/>
                </a:cubicBezTo>
                <a:cubicBezTo>
                  <a:pt x="25" y="1107"/>
                  <a:pt x="25" y="1107"/>
                  <a:pt x="25" y="1107"/>
                </a:cubicBezTo>
                <a:lnTo>
                  <a:pt x="25" y="1090"/>
                </a:lnTo>
                <a:close/>
                <a:moveTo>
                  <a:pt x="150" y="1178"/>
                </a:moveTo>
                <a:cubicBezTo>
                  <a:pt x="132" y="1178"/>
                  <a:pt x="114" y="1178"/>
                  <a:pt x="96" y="1178"/>
                </a:cubicBezTo>
                <a:cubicBezTo>
                  <a:pt x="96" y="1173"/>
                  <a:pt x="96" y="1167"/>
                  <a:pt x="96" y="1161"/>
                </a:cubicBezTo>
                <a:cubicBezTo>
                  <a:pt x="114" y="1161"/>
                  <a:pt x="132" y="1161"/>
                  <a:pt x="150" y="1161"/>
                </a:cubicBezTo>
                <a:cubicBezTo>
                  <a:pt x="150" y="1167"/>
                  <a:pt x="150" y="1173"/>
                  <a:pt x="150" y="1178"/>
                </a:cubicBezTo>
                <a:close/>
                <a:moveTo>
                  <a:pt x="150" y="1143"/>
                </a:moveTo>
                <a:cubicBezTo>
                  <a:pt x="117" y="1143"/>
                  <a:pt x="84" y="1143"/>
                  <a:pt x="51" y="1143"/>
                </a:cubicBezTo>
                <a:cubicBezTo>
                  <a:pt x="51" y="1137"/>
                  <a:pt x="51" y="1131"/>
                  <a:pt x="51" y="1125"/>
                </a:cubicBezTo>
                <a:cubicBezTo>
                  <a:pt x="84" y="1125"/>
                  <a:pt x="117" y="1125"/>
                  <a:pt x="150" y="1125"/>
                </a:cubicBezTo>
                <a:cubicBezTo>
                  <a:pt x="150" y="1131"/>
                  <a:pt x="150" y="1137"/>
                  <a:pt x="150" y="1143"/>
                </a:cubicBezTo>
                <a:close/>
                <a:moveTo>
                  <a:pt x="181" y="1007"/>
                </a:moveTo>
                <a:cubicBezTo>
                  <a:pt x="228" y="1007"/>
                  <a:pt x="228" y="1007"/>
                  <a:pt x="228" y="1007"/>
                </a:cubicBezTo>
                <a:cubicBezTo>
                  <a:pt x="228" y="1041"/>
                  <a:pt x="228" y="1041"/>
                  <a:pt x="228" y="1041"/>
                </a:cubicBezTo>
                <a:cubicBezTo>
                  <a:pt x="181" y="1041"/>
                  <a:pt x="181" y="1041"/>
                  <a:pt x="181" y="1041"/>
                </a:cubicBezTo>
                <a:lnTo>
                  <a:pt x="181" y="1007"/>
                </a:lnTo>
                <a:close/>
                <a:moveTo>
                  <a:pt x="228" y="1214"/>
                </a:moveTo>
                <a:cubicBezTo>
                  <a:pt x="181" y="1214"/>
                  <a:pt x="181" y="1214"/>
                  <a:pt x="181" y="1214"/>
                </a:cubicBezTo>
                <a:cubicBezTo>
                  <a:pt x="181" y="1180"/>
                  <a:pt x="181" y="1180"/>
                  <a:pt x="181" y="1180"/>
                </a:cubicBezTo>
                <a:cubicBezTo>
                  <a:pt x="228" y="1180"/>
                  <a:pt x="228" y="1180"/>
                  <a:pt x="228" y="1180"/>
                </a:cubicBezTo>
                <a:lnTo>
                  <a:pt x="228" y="1214"/>
                </a:lnTo>
                <a:close/>
                <a:moveTo>
                  <a:pt x="228" y="1099"/>
                </a:moveTo>
                <a:cubicBezTo>
                  <a:pt x="212" y="1099"/>
                  <a:pt x="197" y="1099"/>
                  <a:pt x="181" y="1099"/>
                </a:cubicBezTo>
                <a:cubicBezTo>
                  <a:pt x="181" y="1087"/>
                  <a:pt x="181" y="1076"/>
                  <a:pt x="181" y="1064"/>
                </a:cubicBezTo>
                <a:cubicBezTo>
                  <a:pt x="197" y="1064"/>
                  <a:pt x="212" y="1064"/>
                  <a:pt x="228" y="1064"/>
                </a:cubicBezTo>
                <a:cubicBezTo>
                  <a:pt x="228" y="1076"/>
                  <a:pt x="228" y="1087"/>
                  <a:pt x="228" y="1099"/>
                </a:cubicBezTo>
                <a:close/>
                <a:moveTo>
                  <a:pt x="290" y="1041"/>
                </a:moveTo>
                <a:cubicBezTo>
                  <a:pt x="244" y="1041"/>
                  <a:pt x="244" y="1041"/>
                  <a:pt x="244" y="1041"/>
                </a:cubicBezTo>
                <a:cubicBezTo>
                  <a:pt x="244" y="1007"/>
                  <a:pt x="244" y="1007"/>
                  <a:pt x="244" y="1007"/>
                </a:cubicBezTo>
                <a:cubicBezTo>
                  <a:pt x="290" y="1007"/>
                  <a:pt x="290" y="1007"/>
                  <a:pt x="290" y="1007"/>
                </a:cubicBezTo>
                <a:lnTo>
                  <a:pt x="290" y="1041"/>
                </a:lnTo>
                <a:close/>
                <a:moveTo>
                  <a:pt x="555" y="825"/>
                </a:moveTo>
                <a:cubicBezTo>
                  <a:pt x="567" y="825"/>
                  <a:pt x="580" y="825"/>
                  <a:pt x="592" y="825"/>
                </a:cubicBezTo>
                <a:cubicBezTo>
                  <a:pt x="592" y="834"/>
                  <a:pt x="592" y="843"/>
                  <a:pt x="592" y="853"/>
                </a:cubicBezTo>
                <a:cubicBezTo>
                  <a:pt x="580" y="853"/>
                  <a:pt x="567" y="853"/>
                  <a:pt x="555" y="853"/>
                </a:cubicBezTo>
                <a:cubicBezTo>
                  <a:pt x="555" y="843"/>
                  <a:pt x="555" y="834"/>
                  <a:pt x="555" y="825"/>
                </a:cubicBezTo>
                <a:close/>
                <a:moveTo>
                  <a:pt x="468" y="764"/>
                </a:moveTo>
                <a:cubicBezTo>
                  <a:pt x="478" y="764"/>
                  <a:pt x="487" y="764"/>
                  <a:pt x="496" y="764"/>
                </a:cubicBezTo>
                <a:cubicBezTo>
                  <a:pt x="496" y="771"/>
                  <a:pt x="496" y="777"/>
                  <a:pt x="496" y="784"/>
                </a:cubicBezTo>
                <a:cubicBezTo>
                  <a:pt x="487" y="784"/>
                  <a:pt x="478" y="784"/>
                  <a:pt x="468" y="784"/>
                </a:cubicBezTo>
                <a:cubicBezTo>
                  <a:pt x="468" y="777"/>
                  <a:pt x="468" y="771"/>
                  <a:pt x="468" y="764"/>
                </a:cubicBezTo>
                <a:close/>
                <a:moveTo>
                  <a:pt x="339" y="965"/>
                </a:moveTo>
                <a:cubicBezTo>
                  <a:pt x="364" y="965"/>
                  <a:pt x="389" y="965"/>
                  <a:pt x="414" y="965"/>
                </a:cubicBezTo>
                <a:cubicBezTo>
                  <a:pt x="414" y="980"/>
                  <a:pt x="414" y="996"/>
                  <a:pt x="414" y="1011"/>
                </a:cubicBezTo>
                <a:cubicBezTo>
                  <a:pt x="389" y="1011"/>
                  <a:pt x="364" y="1011"/>
                  <a:pt x="339" y="1011"/>
                </a:cubicBezTo>
                <a:cubicBezTo>
                  <a:pt x="339" y="996"/>
                  <a:pt x="339" y="980"/>
                  <a:pt x="339" y="965"/>
                </a:cubicBezTo>
                <a:close/>
                <a:moveTo>
                  <a:pt x="414" y="1079"/>
                </a:moveTo>
                <a:cubicBezTo>
                  <a:pt x="389" y="1079"/>
                  <a:pt x="364" y="1079"/>
                  <a:pt x="339" y="1079"/>
                </a:cubicBezTo>
                <a:cubicBezTo>
                  <a:pt x="339" y="1063"/>
                  <a:pt x="339" y="1048"/>
                  <a:pt x="339" y="1032"/>
                </a:cubicBezTo>
                <a:cubicBezTo>
                  <a:pt x="364" y="1032"/>
                  <a:pt x="389" y="1032"/>
                  <a:pt x="414" y="1032"/>
                </a:cubicBezTo>
                <a:cubicBezTo>
                  <a:pt x="414" y="1048"/>
                  <a:pt x="414" y="1063"/>
                  <a:pt x="414" y="1079"/>
                </a:cubicBezTo>
                <a:close/>
                <a:moveTo>
                  <a:pt x="430" y="825"/>
                </a:moveTo>
                <a:cubicBezTo>
                  <a:pt x="442" y="825"/>
                  <a:pt x="455" y="825"/>
                  <a:pt x="467" y="825"/>
                </a:cubicBezTo>
                <a:cubicBezTo>
                  <a:pt x="467" y="834"/>
                  <a:pt x="467" y="843"/>
                  <a:pt x="467" y="853"/>
                </a:cubicBezTo>
                <a:cubicBezTo>
                  <a:pt x="455" y="853"/>
                  <a:pt x="442" y="853"/>
                  <a:pt x="430" y="853"/>
                </a:cubicBezTo>
                <a:cubicBezTo>
                  <a:pt x="430" y="843"/>
                  <a:pt x="430" y="834"/>
                  <a:pt x="430" y="825"/>
                </a:cubicBezTo>
                <a:close/>
                <a:moveTo>
                  <a:pt x="442" y="965"/>
                </a:moveTo>
                <a:cubicBezTo>
                  <a:pt x="467" y="965"/>
                  <a:pt x="492" y="965"/>
                  <a:pt x="517" y="965"/>
                </a:cubicBezTo>
                <a:cubicBezTo>
                  <a:pt x="517" y="980"/>
                  <a:pt x="517" y="996"/>
                  <a:pt x="517" y="1011"/>
                </a:cubicBezTo>
                <a:cubicBezTo>
                  <a:pt x="492" y="1011"/>
                  <a:pt x="467" y="1011"/>
                  <a:pt x="442" y="1011"/>
                </a:cubicBezTo>
                <a:cubicBezTo>
                  <a:pt x="442" y="996"/>
                  <a:pt x="442" y="980"/>
                  <a:pt x="442" y="965"/>
                </a:cubicBezTo>
                <a:close/>
                <a:moveTo>
                  <a:pt x="517" y="1146"/>
                </a:moveTo>
                <a:cubicBezTo>
                  <a:pt x="492" y="1146"/>
                  <a:pt x="467" y="1146"/>
                  <a:pt x="442" y="1146"/>
                </a:cubicBezTo>
                <a:cubicBezTo>
                  <a:pt x="442" y="1131"/>
                  <a:pt x="442" y="1115"/>
                  <a:pt x="442" y="1100"/>
                </a:cubicBezTo>
                <a:cubicBezTo>
                  <a:pt x="467" y="1100"/>
                  <a:pt x="492" y="1100"/>
                  <a:pt x="517" y="1100"/>
                </a:cubicBezTo>
                <a:cubicBezTo>
                  <a:pt x="517" y="1115"/>
                  <a:pt x="517" y="1131"/>
                  <a:pt x="517" y="1146"/>
                </a:cubicBezTo>
                <a:close/>
                <a:moveTo>
                  <a:pt x="620" y="1214"/>
                </a:moveTo>
                <a:cubicBezTo>
                  <a:pt x="595" y="1214"/>
                  <a:pt x="570" y="1214"/>
                  <a:pt x="545" y="1214"/>
                </a:cubicBezTo>
                <a:cubicBezTo>
                  <a:pt x="545" y="1198"/>
                  <a:pt x="545" y="1183"/>
                  <a:pt x="545" y="1167"/>
                </a:cubicBezTo>
                <a:cubicBezTo>
                  <a:pt x="570" y="1167"/>
                  <a:pt x="595" y="1167"/>
                  <a:pt x="620" y="1167"/>
                </a:cubicBezTo>
                <a:cubicBezTo>
                  <a:pt x="620" y="1183"/>
                  <a:pt x="620" y="1198"/>
                  <a:pt x="620" y="1214"/>
                </a:cubicBezTo>
                <a:close/>
                <a:moveTo>
                  <a:pt x="620" y="1079"/>
                </a:moveTo>
                <a:cubicBezTo>
                  <a:pt x="595" y="1079"/>
                  <a:pt x="570" y="1079"/>
                  <a:pt x="545" y="1079"/>
                </a:cubicBezTo>
                <a:cubicBezTo>
                  <a:pt x="545" y="1063"/>
                  <a:pt x="545" y="1048"/>
                  <a:pt x="545" y="1032"/>
                </a:cubicBezTo>
                <a:cubicBezTo>
                  <a:pt x="570" y="1032"/>
                  <a:pt x="595" y="1032"/>
                  <a:pt x="620" y="1032"/>
                </a:cubicBezTo>
                <a:cubicBezTo>
                  <a:pt x="620" y="1048"/>
                  <a:pt x="620" y="1063"/>
                  <a:pt x="620" y="1079"/>
                </a:cubicBezTo>
                <a:close/>
                <a:moveTo>
                  <a:pt x="697" y="1009"/>
                </a:moveTo>
                <a:cubicBezTo>
                  <a:pt x="684" y="1009"/>
                  <a:pt x="671" y="1009"/>
                  <a:pt x="658" y="1009"/>
                </a:cubicBezTo>
                <a:cubicBezTo>
                  <a:pt x="658" y="1001"/>
                  <a:pt x="658" y="994"/>
                  <a:pt x="658" y="986"/>
                </a:cubicBezTo>
                <a:cubicBezTo>
                  <a:pt x="671" y="986"/>
                  <a:pt x="684" y="986"/>
                  <a:pt x="697" y="986"/>
                </a:cubicBezTo>
                <a:cubicBezTo>
                  <a:pt x="697" y="994"/>
                  <a:pt x="697" y="1001"/>
                  <a:pt x="697" y="1009"/>
                </a:cubicBezTo>
                <a:close/>
                <a:moveTo>
                  <a:pt x="766" y="1109"/>
                </a:moveTo>
                <a:cubicBezTo>
                  <a:pt x="753" y="1109"/>
                  <a:pt x="740" y="1109"/>
                  <a:pt x="727" y="1109"/>
                </a:cubicBezTo>
                <a:cubicBezTo>
                  <a:pt x="727" y="1101"/>
                  <a:pt x="727" y="1094"/>
                  <a:pt x="727" y="1086"/>
                </a:cubicBezTo>
                <a:cubicBezTo>
                  <a:pt x="740" y="1086"/>
                  <a:pt x="753" y="1086"/>
                  <a:pt x="766" y="1086"/>
                </a:cubicBezTo>
                <a:cubicBezTo>
                  <a:pt x="766" y="1094"/>
                  <a:pt x="766" y="1101"/>
                  <a:pt x="766" y="1109"/>
                </a:cubicBezTo>
                <a:close/>
                <a:moveTo>
                  <a:pt x="848" y="1159"/>
                </a:moveTo>
                <a:cubicBezTo>
                  <a:pt x="835" y="1159"/>
                  <a:pt x="822" y="1159"/>
                  <a:pt x="810" y="1159"/>
                </a:cubicBezTo>
                <a:cubicBezTo>
                  <a:pt x="810" y="1151"/>
                  <a:pt x="810" y="1144"/>
                  <a:pt x="810" y="1136"/>
                </a:cubicBezTo>
                <a:cubicBezTo>
                  <a:pt x="822" y="1136"/>
                  <a:pt x="835" y="1136"/>
                  <a:pt x="848" y="1136"/>
                </a:cubicBezTo>
                <a:cubicBezTo>
                  <a:pt x="848" y="1144"/>
                  <a:pt x="848" y="1151"/>
                  <a:pt x="848" y="1159"/>
                </a:cubicBezTo>
                <a:close/>
                <a:moveTo>
                  <a:pt x="848" y="1059"/>
                </a:moveTo>
                <a:cubicBezTo>
                  <a:pt x="835" y="1059"/>
                  <a:pt x="822" y="1059"/>
                  <a:pt x="810" y="1059"/>
                </a:cubicBezTo>
                <a:cubicBezTo>
                  <a:pt x="810" y="1051"/>
                  <a:pt x="810" y="1044"/>
                  <a:pt x="810" y="1036"/>
                </a:cubicBezTo>
                <a:cubicBezTo>
                  <a:pt x="822" y="1036"/>
                  <a:pt x="835" y="1036"/>
                  <a:pt x="848" y="1036"/>
                </a:cubicBezTo>
                <a:cubicBezTo>
                  <a:pt x="848" y="1044"/>
                  <a:pt x="848" y="1051"/>
                  <a:pt x="848" y="1059"/>
                </a:cubicBezTo>
                <a:close/>
                <a:moveTo>
                  <a:pt x="848" y="1009"/>
                </a:moveTo>
                <a:cubicBezTo>
                  <a:pt x="810" y="1009"/>
                  <a:pt x="810" y="1009"/>
                  <a:pt x="810" y="1009"/>
                </a:cubicBezTo>
                <a:cubicBezTo>
                  <a:pt x="810" y="986"/>
                  <a:pt x="810" y="986"/>
                  <a:pt x="810" y="986"/>
                </a:cubicBezTo>
                <a:cubicBezTo>
                  <a:pt x="848" y="986"/>
                  <a:pt x="848" y="986"/>
                  <a:pt x="848" y="986"/>
                </a:cubicBezTo>
                <a:lnTo>
                  <a:pt x="848" y="1009"/>
                </a:lnTo>
                <a:close/>
                <a:moveTo>
                  <a:pt x="900" y="582"/>
                </a:moveTo>
                <a:cubicBezTo>
                  <a:pt x="1052" y="582"/>
                  <a:pt x="1052" y="582"/>
                  <a:pt x="1052" y="582"/>
                </a:cubicBezTo>
                <a:cubicBezTo>
                  <a:pt x="1052" y="597"/>
                  <a:pt x="1052" y="597"/>
                  <a:pt x="1052" y="597"/>
                </a:cubicBezTo>
                <a:cubicBezTo>
                  <a:pt x="900" y="597"/>
                  <a:pt x="900" y="597"/>
                  <a:pt x="900" y="597"/>
                </a:cubicBezTo>
                <a:lnTo>
                  <a:pt x="900" y="582"/>
                </a:lnTo>
                <a:close/>
                <a:moveTo>
                  <a:pt x="1052" y="1160"/>
                </a:moveTo>
                <a:cubicBezTo>
                  <a:pt x="1023" y="1160"/>
                  <a:pt x="1023" y="1160"/>
                  <a:pt x="1023" y="1160"/>
                </a:cubicBezTo>
                <a:cubicBezTo>
                  <a:pt x="1023" y="1145"/>
                  <a:pt x="1023" y="1145"/>
                  <a:pt x="1023" y="1145"/>
                </a:cubicBezTo>
                <a:cubicBezTo>
                  <a:pt x="1052" y="1145"/>
                  <a:pt x="1052" y="1145"/>
                  <a:pt x="1052" y="1145"/>
                </a:cubicBezTo>
                <a:cubicBezTo>
                  <a:pt x="1052" y="1150"/>
                  <a:pt x="1052" y="1155"/>
                  <a:pt x="1052" y="1160"/>
                </a:cubicBezTo>
                <a:close/>
                <a:moveTo>
                  <a:pt x="1052" y="1113"/>
                </a:moveTo>
                <a:cubicBezTo>
                  <a:pt x="1023" y="1113"/>
                  <a:pt x="1023" y="1113"/>
                  <a:pt x="1023" y="1113"/>
                </a:cubicBezTo>
                <a:cubicBezTo>
                  <a:pt x="1023" y="1098"/>
                  <a:pt x="1023" y="1098"/>
                  <a:pt x="1023" y="1098"/>
                </a:cubicBezTo>
                <a:cubicBezTo>
                  <a:pt x="1052" y="1098"/>
                  <a:pt x="1052" y="1098"/>
                  <a:pt x="1052" y="1098"/>
                </a:cubicBezTo>
                <a:cubicBezTo>
                  <a:pt x="1052" y="1103"/>
                  <a:pt x="1052" y="1108"/>
                  <a:pt x="1052" y="1113"/>
                </a:cubicBezTo>
                <a:close/>
                <a:moveTo>
                  <a:pt x="1052" y="1066"/>
                </a:moveTo>
                <a:cubicBezTo>
                  <a:pt x="1023" y="1066"/>
                  <a:pt x="1023" y="1066"/>
                  <a:pt x="1023" y="1066"/>
                </a:cubicBezTo>
                <a:cubicBezTo>
                  <a:pt x="1023" y="1051"/>
                  <a:pt x="1023" y="1051"/>
                  <a:pt x="1023" y="1051"/>
                </a:cubicBezTo>
                <a:cubicBezTo>
                  <a:pt x="1052" y="1051"/>
                  <a:pt x="1052" y="1051"/>
                  <a:pt x="1052" y="1051"/>
                </a:cubicBezTo>
                <a:cubicBezTo>
                  <a:pt x="1052" y="1056"/>
                  <a:pt x="1052" y="1061"/>
                  <a:pt x="1052" y="1066"/>
                </a:cubicBezTo>
                <a:close/>
                <a:moveTo>
                  <a:pt x="1052" y="1019"/>
                </a:moveTo>
                <a:cubicBezTo>
                  <a:pt x="1023" y="1019"/>
                  <a:pt x="1023" y="1019"/>
                  <a:pt x="1023" y="1019"/>
                </a:cubicBezTo>
                <a:cubicBezTo>
                  <a:pt x="1023" y="1004"/>
                  <a:pt x="1023" y="1004"/>
                  <a:pt x="1023" y="1004"/>
                </a:cubicBezTo>
                <a:cubicBezTo>
                  <a:pt x="1052" y="1004"/>
                  <a:pt x="1052" y="1004"/>
                  <a:pt x="1052" y="1004"/>
                </a:cubicBezTo>
                <a:cubicBezTo>
                  <a:pt x="1052" y="1009"/>
                  <a:pt x="1052" y="1014"/>
                  <a:pt x="1052" y="1019"/>
                </a:cubicBezTo>
                <a:close/>
                <a:moveTo>
                  <a:pt x="1052" y="972"/>
                </a:moveTo>
                <a:cubicBezTo>
                  <a:pt x="1029" y="972"/>
                  <a:pt x="1006" y="972"/>
                  <a:pt x="983" y="972"/>
                </a:cubicBezTo>
                <a:cubicBezTo>
                  <a:pt x="983" y="967"/>
                  <a:pt x="983" y="962"/>
                  <a:pt x="983" y="957"/>
                </a:cubicBezTo>
                <a:cubicBezTo>
                  <a:pt x="1006" y="957"/>
                  <a:pt x="1029" y="957"/>
                  <a:pt x="1052" y="957"/>
                </a:cubicBezTo>
                <a:cubicBezTo>
                  <a:pt x="1052" y="962"/>
                  <a:pt x="1052" y="967"/>
                  <a:pt x="1052" y="972"/>
                </a:cubicBezTo>
                <a:close/>
                <a:moveTo>
                  <a:pt x="1052" y="925"/>
                </a:moveTo>
                <a:cubicBezTo>
                  <a:pt x="1020" y="925"/>
                  <a:pt x="987" y="925"/>
                  <a:pt x="954" y="925"/>
                </a:cubicBezTo>
                <a:cubicBezTo>
                  <a:pt x="954" y="920"/>
                  <a:pt x="954" y="915"/>
                  <a:pt x="954" y="910"/>
                </a:cubicBezTo>
                <a:cubicBezTo>
                  <a:pt x="987" y="910"/>
                  <a:pt x="1020" y="910"/>
                  <a:pt x="1052" y="910"/>
                </a:cubicBezTo>
                <a:cubicBezTo>
                  <a:pt x="1052" y="915"/>
                  <a:pt x="1052" y="920"/>
                  <a:pt x="1052" y="925"/>
                </a:cubicBezTo>
                <a:close/>
                <a:moveTo>
                  <a:pt x="1052" y="878"/>
                </a:moveTo>
                <a:cubicBezTo>
                  <a:pt x="1009" y="878"/>
                  <a:pt x="966" y="878"/>
                  <a:pt x="923" y="878"/>
                </a:cubicBezTo>
                <a:cubicBezTo>
                  <a:pt x="923" y="873"/>
                  <a:pt x="923" y="868"/>
                  <a:pt x="923" y="863"/>
                </a:cubicBezTo>
                <a:cubicBezTo>
                  <a:pt x="966" y="863"/>
                  <a:pt x="1009" y="863"/>
                  <a:pt x="1052" y="863"/>
                </a:cubicBezTo>
                <a:cubicBezTo>
                  <a:pt x="1052" y="868"/>
                  <a:pt x="1052" y="873"/>
                  <a:pt x="1052" y="878"/>
                </a:cubicBezTo>
                <a:close/>
                <a:moveTo>
                  <a:pt x="1052" y="832"/>
                </a:moveTo>
                <a:cubicBezTo>
                  <a:pt x="1002" y="832"/>
                  <a:pt x="951" y="832"/>
                  <a:pt x="900" y="832"/>
                </a:cubicBezTo>
                <a:cubicBezTo>
                  <a:pt x="900" y="827"/>
                  <a:pt x="900" y="822"/>
                  <a:pt x="900" y="816"/>
                </a:cubicBezTo>
                <a:cubicBezTo>
                  <a:pt x="951" y="816"/>
                  <a:pt x="1002" y="816"/>
                  <a:pt x="1052" y="816"/>
                </a:cubicBezTo>
                <a:cubicBezTo>
                  <a:pt x="1052" y="822"/>
                  <a:pt x="1052" y="827"/>
                  <a:pt x="1052" y="832"/>
                </a:cubicBezTo>
                <a:close/>
                <a:moveTo>
                  <a:pt x="1052" y="785"/>
                </a:moveTo>
                <a:cubicBezTo>
                  <a:pt x="1002" y="785"/>
                  <a:pt x="951" y="785"/>
                  <a:pt x="900" y="785"/>
                </a:cubicBezTo>
                <a:cubicBezTo>
                  <a:pt x="900" y="780"/>
                  <a:pt x="900" y="775"/>
                  <a:pt x="900" y="770"/>
                </a:cubicBezTo>
                <a:cubicBezTo>
                  <a:pt x="951" y="770"/>
                  <a:pt x="1002" y="770"/>
                  <a:pt x="1052" y="770"/>
                </a:cubicBezTo>
                <a:cubicBezTo>
                  <a:pt x="1052" y="775"/>
                  <a:pt x="1052" y="780"/>
                  <a:pt x="1052" y="785"/>
                </a:cubicBezTo>
                <a:close/>
                <a:moveTo>
                  <a:pt x="1052" y="738"/>
                </a:moveTo>
                <a:cubicBezTo>
                  <a:pt x="1002" y="738"/>
                  <a:pt x="951" y="738"/>
                  <a:pt x="900" y="738"/>
                </a:cubicBezTo>
                <a:cubicBezTo>
                  <a:pt x="900" y="733"/>
                  <a:pt x="900" y="728"/>
                  <a:pt x="900" y="723"/>
                </a:cubicBezTo>
                <a:cubicBezTo>
                  <a:pt x="951" y="723"/>
                  <a:pt x="1002" y="723"/>
                  <a:pt x="1052" y="723"/>
                </a:cubicBezTo>
                <a:cubicBezTo>
                  <a:pt x="1052" y="728"/>
                  <a:pt x="1052" y="733"/>
                  <a:pt x="1052" y="738"/>
                </a:cubicBezTo>
                <a:close/>
                <a:moveTo>
                  <a:pt x="1052" y="691"/>
                </a:moveTo>
                <a:cubicBezTo>
                  <a:pt x="1002" y="691"/>
                  <a:pt x="951" y="691"/>
                  <a:pt x="900" y="691"/>
                </a:cubicBezTo>
                <a:cubicBezTo>
                  <a:pt x="900" y="686"/>
                  <a:pt x="900" y="681"/>
                  <a:pt x="900" y="676"/>
                </a:cubicBezTo>
                <a:cubicBezTo>
                  <a:pt x="951" y="676"/>
                  <a:pt x="1002" y="676"/>
                  <a:pt x="1052" y="676"/>
                </a:cubicBezTo>
                <a:cubicBezTo>
                  <a:pt x="1052" y="681"/>
                  <a:pt x="1052" y="686"/>
                  <a:pt x="1052" y="691"/>
                </a:cubicBezTo>
                <a:close/>
                <a:moveTo>
                  <a:pt x="1052" y="644"/>
                </a:moveTo>
                <a:cubicBezTo>
                  <a:pt x="1002" y="644"/>
                  <a:pt x="951" y="644"/>
                  <a:pt x="900" y="644"/>
                </a:cubicBezTo>
                <a:cubicBezTo>
                  <a:pt x="900" y="639"/>
                  <a:pt x="900" y="634"/>
                  <a:pt x="900" y="629"/>
                </a:cubicBezTo>
                <a:cubicBezTo>
                  <a:pt x="951" y="629"/>
                  <a:pt x="1002" y="629"/>
                  <a:pt x="1052" y="629"/>
                </a:cubicBezTo>
                <a:cubicBezTo>
                  <a:pt x="1052" y="634"/>
                  <a:pt x="1052" y="639"/>
                  <a:pt x="1052" y="644"/>
                </a:cubicBezTo>
                <a:close/>
                <a:moveTo>
                  <a:pt x="1151" y="1135"/>
                </a:moveTo>
                <a:cubicBezTo>
                  <a:pt x="1105" y="1135"/>
                  <a:pt x="1105" y="1135"/>
                  <a:pt x="1105" y="1135"/>
                </a:cubicBezTo>
                <a:cubicBezTo>
                  <a:pt x="1105" y="1071"/>
                  <a:pt x="1105" y="1071"/>
                  <a:pt x="1105" y="1071"/>
                </a:cubicBezTo>
                <a:cubicBezTo>
                  <a:pt x="1151" y="1071"/>
                  <a:pt x="1151" y="1071"/>
                  <a:pt x="1151" y="1071"/>
                </a:cubicBezTo>
                <a:lnTo>
                  <a:pt x="1151" y="1135"/>
                </a:lnTo>
                <a:close/>
                <a:moveTo>
                  <a:pt x="1230" y="811"/>
                </a:moveTo>
                <a:cubicBezTo>
                  <a:pt x="1206" y="811"/>
                  <a:pt x="1182" y="811"/>
                  <a:pt x="1158" y="811"/>
                </a:cubicBezTo>
                <a:cubicBezTo>
                  <a:pt x="1158" y="805"/>
                  <a:pt x="1158" y="800"/>
                  <a:pt x="1158" y="794"/>
                </a:cubicBezTo>
                <a:cubicBezTo>
                  <a:pt x="1182" y="794"/>
                  <a:pt x="1206" y="794"/>
                  <a:pt x="1230" y="794"/>
                </a:cubicBezTo>
                <a:cubicBezTo>
                  <a:pt x="1230" y="800"/>
                  <a:pt x="1230" y="805"/>
                  <a:pt x="1230" y="811"/>
                </a:cubicBezTo>
                <a:close/>
                <a:moveTo>
                  <a:pt x="1230" y="775"/>
                </a:moveTo>
                <a:cubicBezTo>
                  <a:pt x="1158" y="775"/>
                  <a:pt x="1158" y="775"/>
                  <a:pt x="1158" y="775"/>
                </a:cubicBezTo>
                <a:cubicBezTo>
                  <a:pt x="1158" y="758"/>
                  <a:pt x="1158" y="758"/>
                  <a:pt x="1158" y="758"/>
                </a:cubicBezTo>
                <a:cubicBezTo>
                  <a:pt x="1230" y="758"/>
                  <a:pt x="1230" y="758"/>
                  <a:pt x="1230" y="758"/>
                </a:cubicBezTo>
                <a:lnTo>
                  <a:pt x="1230" y="775"/>
                </a:lnTo>
                <a:close/>
                <a:moveTo>
                  <a:pt x="1355" y="155"/>
                </a:moveTo>
                <a:cubicBezTo>
                  <a:pt x="1360" y="155"/>
                  <a:pt x="1366" y="155"/>
                  <a:pt x="1372" y="155"/>
                </a:cubicBezTo>
                <a:cubicBezTo>
                  <a:pt x="1372" y="345"/>
                  <a:pt x="1372" y="536"/>
                  <a:pt x="1372" y="726"/>
                </a:cubicBezTo>
                <a:cubicBezTo>
                  <a:pt x="1366" y="726"/>
                  <a:pt x="1360" y="726"/>
                  <a:pt x="1355" y="726"/>
                </a:cubicBezTo>
                <a:cubicBezTo>
                  <a:pt x="1355" y="536"/>
                  <a:pt x="1355" y="345"/>
                  <a:pt x="1355" y="155"/>
                </a:cubicBezTo>
                <a:close/>
                <a:moveTo>
                  <a:pt x="1316" y="155"/>
                </a:moveTo>
                <a:cubicBezTo>
                  <a:pt x="1322" y="155"/>
                  <a:pt x="1328" y="155"/>
                  <a:pt x="1334" y="155"/>
                </a:cubicBezTo>
                <a:cubicBezTo>
                  <a:pt x="1334" y="307"/>
                  <a:pt x="1334" y="458"/>
                  <a:pt x="1334" y="610"/>
                </a:cubicBezTo>
                <a:cubicBezTo>
                  <a:pt x="1328" y="610"/>
                  <a:pt x="1322" y="610"/>
                  <a:pt x="1316" y="610"/>
                </a:cubicBezTo>
                <a:cubicBezTo>
                  <a:pt x="1316" y="458"/>
                  <a:pt x="1316" y="307"/>
                  <a:pt x="1316" y="155"/>
                </a:cubicBezTo>
                <a:close/>
                <a:moveTo>
                  <a:pt x="1278" y="155"/>
                </a:moveTo>
                <a:cubicBezTo>
                  <a:pt x="1296" y="155"/>
                  <a:pt x="1296" y="155"/>
                  <a:pt x="1296" y="155"/>
                </a:cubicBezTo>
                <a:cubicBezTo>
                  <a:pt x="1296" y="510"/>
                  <a:pt x="1296" y="510"/>
                  <a:pt x="1296" y="510"/>
                </a:cubicBezTo>
                <a:cubicBezTo>
                  <a:pt x="1278" y="510"/>
                  <a:pt x="1278" y="510"/>
                  <a:pt x="1278" y="510"/>
                </a:cubicBezTo>
                <a:lnTo>
                  <a:pt x="1278" y="155"/>
                </a:lnTo>
                <a:close/>
                <a:moveTo>
                  <a:pt x="1294" y="1136"/>
                </a:moveTo>
                <a:cubicBezTo>
                  <a:pt x="1267" y="1136"/>
                  <a:pt x="1267" y="1136"/>
                  <a:pt x="1267" y="1136"/>
                </a:cubicBezTo>
                <a:cubicBezTo>
                  <a:pt x="1267" y="1045"/>
                  <a:pt x="1267" y="1045"/>
                  <a:pt x="1267" y="1045"/>
                </a:cubicBezTo>
                <a:cubicBezTo>
                  <a:pt x="1294" y="1045"/>
                  <a:pt x="1294" y="1045"/>
                  <a:pt x="1294" y="1045"/>
                </a:cubicBezTo>
                <a:lnTo>
                  <a:pt x="1294" y="1136"/>
                </a:lnTo>
                <a:close/>
                <a:moveTo>
                  <a:pt x="1337" y="1136"/>
                </a:moveTo>
                <a:cubicBezTo>
                  <a:pt x="1328" y="1136"/>
                  <a:pt x="1318" y="1136"/>
                  <a:pt x="1309" y="1136"/>
                </a:cubicBezTo>
                <a:cubicBezTo>
                  <a:pt x="1309" y="1105"/>
                  <a:pt x="1309" y="1075"/>
                  <a:pt x="1309" y="1045"/>
                </a:cubicBezTo>
                <a:cubicBezTo>
                  <a:pt x="1318" y="1045"/>
                  <a:pt x="1328" y="1045"/>
                  <a:pt x="1337" y="1045"/>
                </a:cubicBezTo>
                <a:cubicBezTo>
                  <a:pt x="1337" y="1075"/>
                  <a:pt x="1337" y="1105"/>
                  <a:pt x="1337" y="1136"/>
                </a:cubicBezTo>
                <a:close/>
                <a:moveTo>
                  <a:pt x="1267" y="1021"/>
                </a:moveTo>
                <a:cubicBezTo>
                  <a:pt x="1267" y="990"/>
                  <a:pt x="1292" y="965"/>
                  <a:pt x="1323" y="965"/>
                </a:cubicBezTo>
                <a:cubicBezTo>
                  <a:pt x="1354" y="965"/>
                  <a:pt x="1379" y="990"/>
                  <a:pt x="1379" y="1021"/>
                </a:cubicBezTo>
                <a:lnTo>
                  <a:pt x="1267" y="1021"/>
                </a:lnTo>
                <a:close/>
                <a:moveTo>
                  <a:pt x="1410" y="866"/>
                </a:moveTo>
                <a:cubicBezTo>
                  <a:pt x="1405" y="866"/>
                  <a:pt x="1399" y="866"/>
                  <a:pt x="1393" y="866"/>
                </a:cubicBezTo>
                <a:cubicBezTo>
                  <a:pt x="1393" y="629"/>
                  <a:pt x="1393" y="392"/>
                  <a:pt x="1393" y="155"/>
                </a:cubicBezTo>
                <a:cubicBezTo>
                  <a:pt x="1399" y="155"/>
                  <a:pt x="1405" y="155"/>
                  <a:pt x="1410" y="155"/>
                </a:cubicBezTo>
                <a:cubicBezTo>
                  <a:pt x="1410" y="392"/>
                  <a:pt x="1410" y="629"/>
                  <a:pt x="1410" y="866"/>
                </a:cubicBezTo>
                <a:close/>
                <a:moveTo>
                  <a:pt x="1431" y="155"/>
                </a:moveTo>
                <a:cubicBezTo>
                  <a:pt x="1449" y="155"/>
                  <a:pt x="1449" y="155"/>
                  <a:pt x="1449" y="155"/>
                </a:cubicBezTo>
                <a:cubicBezTo>
                  <a:pt x="1449" y="866"/>
                  <a:pt x="1449" y="866"/>
                  <a:pt x="1449" y="866"/>
                </a:cubicBezTo>
                <a:cubicBezTo>
                  <a:pt x="1431" y="866"/>
                  <a:pt x="1431" y="866"/>
                  <a:pt x="1431" y="866"/>
                </a:cubicBezTo>
                <a:lnTo>
                  <a:pt x="1431" y="155"/>
                </a:lnTo>
                <a:close/>
                <a:moveTo>
                  <a:pt x="1478" y="1218"/>
                </a:moveTo>
                <a:cubicBezTo>
                  <a:pt x="1433" y="1218"/>
                  <a:pt x="1433" y="1218"/>
                  <a:pt x="1433" y="1218"/>
                </a:cubicBezTo>
                <a:cubicBezTo>
                  <a:pt x="1433" y="1153"/>
                  <a:pt x="1433" y="1153"/>
                  <a:pt x="1433" y="1153"/>
                </a:cubicBezTo>
                <a:cubicBezTo>
                  <a:pt x="1478" y="1153"/>
                  <a:pt x="1478" y="1153"/>
                  <a:pt x="1478" y="1153"/>
                </a:cubicBezTo>
                <a:lnTo>
                  <a:pt x="1478" y="1218"/>
                </a:lnTo>
                <a:close/>
                <a:moveTo>
                  <a:pt x="1478" y="1135"/>
                </a:moveTo>
                <a:cubicBezTo>
                  <a:pt x="1433" y="1135"/>
                  <a:pt x="1433" y="1135"/>
                  <a:pt x="1433" y="1135"/>
                </a:cubicBezTo>
                <a:cubicBezTo>
                  <a:pt x="1433" y="1071"/>
                  <a:pt x="1433" y="1071"/>
                  <a:pt x="1433" y="1071"/>
                </a:cubicBezTo>
                <a:cubicBezTo>
                  <a:pt x="1478" y="1071"/>
                  <a:pt x="1478" y="1071"/>
                  <a:pt x="1478" y="1071"/>
                </a:cubicBezTo>
                <a:lnTo>
                  <a:pt x="1478" y="1135"/>
                </a:lnTo>
                <a:close/>
                <a:moveTo>
                  <a:pt x="1546" y="737"/>
                </a:moveTo>
                <a:cubicBezTo>
                  <a:pt x="1546" y="730"/>
                  <a:pt x="1546" y="723"/>
                  <a:pt x="1546" y="715"/>
                </a:cubicBezTo>
                <a:cubicBezTo>
                  <a:pt x="1595" y="715"/>
                  <a:pt x="1645" y="715"/>
                  <a:pt x="1694" y="715"/>
                </a:cubicBezTo>
                <a:cubicBezTo>
                  <a:pt x="1694" y="723"/>
                  <a:pt x="1694" y="730"/>
                  <a:pt x="1694" y="737"/>
                </a:cubicBezTo>
                <a:cubicBezTo>
                  <a:pt x="1645" y="737"/>
                  <a:pt x="1595" y="737"/>
                  <a:pt x="1546" y="737"/>
                </a:cubicBezTo>
                <a:close/>
                <a:moveTo>
                  <a:pt x="1694" y="773"/>
                </a:moveTo>
                <a:cubicBezTo>
                  <a:pt x="1694" y="780"/>
                  <a:pt x="1694" y="788"/>
                  <a:pt x="1694" y="795"/>
                </a:cubicBezTo>
                <a:cubicBezTo>
                  <a:pt x="1645" y="795"/>
                  <a:pt x="1595" y="795"/>
                  <a:pt x="1546" y="795"/>
                </a:cubicBezTo>
                <a:cubicBezTo>
                  <a:pt x="1546" y="788"/>
                  <a:pt x="1546" y="780"/>
                  <a:pt x="1546" y="773"/>
                </a:cubicBezTo>
                <a:cubicBezTo>
                  <a:pt x="1595" y="773"/>
                  <a:pt x="1645" y="773"/>
                  <a:pt x="1694" y="773"/>
                </a:cubicBezTo>
                <a:close/>
                <a:moveTo>
                  <a:pt x="1546" y="658"/>
                </a:moveTo>
                <a:cubicBezTo>
                  <a:pt x="1694" y="658"/>
                  <a:pt x="1694" y="658"/>
                  <a:pt x="1694" y="658"/>
                </a:cubicBezTo>
                <a:cubicBezTo>
                  <a:pt x="1694" y="680"/>
                  <a:pt x="1694" y="680"/>
                  <a:pt x="1694" y="680"/>
                </a:cubicBezTo>
                <a:cubicBezTo>
                  <a:pt x="1546" y="680"/>
                  <a:pt x="1546" y="680"/>
                  <a:pt x="1546" y="680"/>
                </a:cubicBezTo>
                <a:lnTo>
                  <a:pt x="1546" y="658"/>
                </a:lnTo>
                <a:close/>
                <a:moveTo>
                  <a:pt x="1554" y="1255"/>
                </a:moveTo>
                <a:cubicBezTo>
                  <a:pt x="1541" y="1255"/>
                  <a:pt x="1541" y="1255"/>
                  <a:pt x="1541" y="1255"/>
                </a:cubicBezTo>
                <a:cubicBezTo>
                  <a:pt x="1541" y="1135"/>
                  <a:pt x="1541" y="1135"/>
                  <a:pt x="1541" y="1135"/>
                </a:cubicBezTo>
                <a:cubicBezTo>
                  <a:pt x="1496" y="1135"/>
                  <a:pt x="1496" y="1135"/>
                  <a:pt x="1496" y="1135"/>
                </a:cubicBezTo>
                <a:cubicBezTo>
                  <a:pt x="1496" y="1071"/>
                  <a:pt x="1496" y="1071"/>
                  <a:pt x="1496" y="1071"/>
                </a:cubicBezTo>
                <a:cubicBezTo>
                  <a:pt x="1541" y="1071"/>
                  <a:pt x="1541" y="1071"/>
                  <a:pt x="1541" y="1071"/>
                </a:cubicBezTo>
                <a:cubicBezTo>
                  <a:pt x="1541" y="1113"/>
                  <a:pt x="1541" y="1113"/>
                  <a:pt x="1541" y="1113"/>
                </a:cubicBezTo>
                <a:cubicBezTo>
                  <a:pt x="1554" y="1113"/>
                  <a:pt x="1554" y="1113"/>
                  <a:pt x="1554" y="1113"/>
                </a:cubicBezTo>
                <a:lnTo>
                  <a:pt x="1554" y="1255"/>
                </a:lnTo>
                <a:close/>
                <a:moveTo>
                  <a:pt x="1597" y="831"/>
                </a:moveTo>
                <a:cubicBezTo>
                  <a:pt x="1629" y="831"/>
                  <a:pt x="1661" y="831"/>
                  <a:pt x="1694" y="831"/>
                </a:cubicBezTo>
                <a:cubicBezTo>
                  <a:pt x="1694" y="839"/>
                  <a:pt x="1694" y="846"/>
                  <a:pt x="1694" y="854"/>
                </a:cubicBezTo>
                <a:cubicBezTo>
                  <a:pt x="1661" y="854"/>
                  <a:pt x="1629" y="854"/>
                  <a:pt x="1597" y="854"/>
                </a:cubicBezTo>
                <a:cubicBezTo>
                  <a:pt x="1597" y="846"/>
                  <a:pt x="1597" y="839"/>
                  <a:pt x="1597" y="831"/>
                </a:cubicBezTo>
                <a:close/>
                <a:moveTo>
                  <a:pt x="1645" y="890"/>
                </a:moveTo>
                <a:cubicBezTo>
                  <a:pt x="1661" y="890"/>
                  <a:pt x="1678" y="890"/>
                  <a:pt x="1694" y="890"/>
                </a:cubicBezTo>
                <a:cubicBezTo>
                  <a:pt x="1694" y="898"/>
                  <a:pt x="1694" y="905"/>
                  <a:pt x="1694" y="912"/>
                </a:cubicBezTo>
                <a:cubicBezTo>
                  <a:pt x="1678" y="912"/>
                  <a:pt x="1661" y="912"/>
                  <a:pt x="1645" y="912"/>
                </a:cubicBezTo>
                <a:cubicBezTo>
                  <a:pt x="1645" y="905"/>
                  <a:pt x="1645" y="898"/>
                  <a:pt x="1645" y="890"/>
                </a:cubicBezTo>
                <a:close/>
                <a:moveTo>
                  <a:pt x="1721" y="1250"/>
                </a:moveTo>
                <a:cubicBezTo>
                  <a:pt x="1686" y="1250"/>
                  <a:pt x="1686" y="1250"/>
                  <a:pt x="1686" y="1250"/>
                </a:cubicBezTo>
                <a:cubicBezTo>
                  <a:pt x="1686" y="1226"/>
                  <a:pt x="1686" y="1226"/>
                  <a:pt x="1686" y="1226"/>
                </a:cubicBezTo>
                <a:cubicBezTo>
                  <a:pt x="1721" y="1226"/>
                  <a:pt x="1721" y="1226"/>
                  <a:pt x="1721" y="1226"/>
                </a:cubicBezTo>
                <a:lnTo>
                  <a:pt x="1721" y="1250"/>
                </a:lnTo>
                <a:close/>
                <a:moveTo>
                  <a:pt x="1782" y="1250"/>
                </a:moveTo>
                <a:cubicBezTo>
                  <a:pt x="1771" y="1250"/>
                  <a:pt x="1759" y="1250"/>
                  <a:pt x="1748" y="1250"/>
                </a:cubicBezTo>
                <a:cubicBezTo>
                  <a:pt x="1748" y="1242"/>
                  <a:pt x="1748" y="1234"/>
                  <a:pt x="1748" y="1226"/>
                </a:cubicBezTo>
                <a:cubicBezTo>
                  <a:pt x="1759" y="1226"/>
                  <a:pt x="1771" y="1226"/>
                  <a:pt x="1782" y="1226"/>
                </a:cubicBezTo>
                <a:cubicBezTo>
                  <a:pt x="1782" y="1234"/>
                  <a:pt x="1782" y="1242"/>
                  <a:pt x="1782" y="1250"/>
                </a:cubicBezTo>
                <a:close/>
                <a:moveTo>
                  <a:pt x="1785" y="982"/>
                </a:moveTo>
                <a:cubicBezTo>
                  <a:pt x="1758" y="982"/>
                  <a:pt x="1758" y="982"/>
                  <a:pt x="1758" y="982"/>
                </a:cubicBezTo>
                <a:cubicBezTo>
                  <a:pt x="1758" y="901"/>
                  <a:pt x="1758" y="901"/>
                  <a:pt x="1758" y="901"/>
                </a:cubicBezTo>
                <a:cubicBezTo>
                  <a:pt x="1785" y="901"/>
                  <a:pt x="1785" y="901"/>
                  <a:pt x="1785" y="901"/>
                </a:cubicBezTo>
                <a:lnTo>
                  <a:pt x="1785" y="982"/>
                </a:lnTo>
                <a:close/>
                <a:moveTo>
                  <a:pt x="1800" y="708"/>
                </a:moveTo>
                <a:cubicBezTo>
                  <a:pt x="1789" y="708"/>
                  <a:pt x="1777" y="708"/>
                  <a:pt x="1765" y="708"/>
                </a:cubicBezTo>
                <a:cubicBezTo>
                  <a:pt x="1765" y="700"/>
                  <a:pt x="1765" y="693"/>
                  <a:pt x="1765" y="685"/>
                </a:cubicBezTo>
                <a:cubicBezTo>
                  <a:pt x="1777" y="685"/>
                  <a:pt x="1789" y="685"/>
                  <a:pt x="1800" y="685"/>
                </a:cubicBezTo>
                <a:cubicBezTo>
                  <a:pt x="1800" y="693"/>
                  <a:pt x="1800" y="700"/>
                  <a:pt x="1800" y="708"/>
                </a:cubicBezTo>
                <a:close/>
                <a:moveTo>
                  <a:pt x="1843" y="1094"/>
                </a:moveTo>
                <a:cubicBezTo>
                  <a:pt x="1834" y="1094"/>
                  <a:pt x="1825" y="1094"/>
                  <a:pt x="1815" y="1094"/>
                </a:cubicBezTo>
                <a:cubicBezTo>
                  <a:pt x="1815" y="1067"/>
                  <a:pt x="1815" y="1040"/>
                  <a:pt x="1815" y="1013"/>
                </a:cubicBezTo>
                <a:cubicBezTo>
                  <a:pt x="1825" y="1013"/>
                  <a:pt x="1834" y="1013"/>
                  <a:pt x="1843" y="1013"/>
                </a:cubicBezTo>
                <a:cubicBezTo>
                  <a:pt x="1843" y="1040"/>
                  <a:pt x="1843" y="1067"/>
                  <a:pt x="1843" y="1094"/>
                </a:cubicBezTo>
                <a:close/>
                <a:moveTo>
                  <a:pt x="1851" y="753"/>
                </a:moveTo>
                <a:cubicBezTo>
                  <a:pt x="1839" y="753"/>
                  <a:pt x="1827" y="753"/>
                  <a:pt x="1816" y="753"/>
                </a:cubicBezTo>
                <a:cubicBezTo>
                  <a:pt x="1816" y="745"/>
                  <a:pt x="1816" y="737"/>
                  <a:pt x="1816" y="729"/>
                </a:cubicBezTo>
                <a:cubicBezTo>
                  <a:pt x="1827" y="729"/>
                  <a:pt x="1839" y="729"/>
                  <a:pt x="1851" y="729"/>
                </a:cubicBezTo>
                <a:cubicBezTo>
                  <a:pt x="1851" y="737"/>
                  <a:pt x="1851" y="745"/>
                  <a:pt x="1851" y="753"/>
                </a:cubicBezTo>
                <a:close/>
                <a:moveTo>
                  <a:pt x="1851" y="708"/>
                </a:moveTo>
                <a:cubicBezTo>
                  <a:pt x="1816" y="708"/>
                  <a:pt x="1816" y="708"/>
                  <a:pt x="1816" y="708"/>
                </a:cubicBezTo>
                <a:cubicBezTo>
                  <a:pt x="1816" y="685"/>
                  <a:pt x="1816" y="685"/>
                  <a:pt x="1816" y="685"/>
                </a:cubicBezTo>
                <a:cubicBezTo>
                  <a:pt x="1851" y="685"/>
                  <a:pt x="1851" y="685"/>
                  <a:pt x="1851" y="685"/>
                </a:cubicBezTo>
                <a:lnTo>
                  <a:pt x="1851" y="708"/>
                </a:lnTo>
                <a:close/>
                <a:moveTo>
                  <a:pt x="1901" y="1207"/>
                </a:moveTo>
                <a:cubicBezTo>
                  <a:pt x="1874" y="1207"/>
                  <a:pt x="1874" y="1207"/>
                  <a:pt x="1874" y="1207"/>
                </a:cubicBezTo>
                <a:cubicBezTo>
                  <a:pt x="1874" y="1126"/>
                  <a:pt x="1874" y="1126"/>
                  <a:pt x="1874" y="1126"/>
                </a:cubicBezTo>
                <a:cubicBezTo>
                  <a:pt x="1901" y="1126"/>
                  <a:pt x="1901" y="1126"/>
                  <a:pt x="1901" y="1126"/>
                </a:cubicBezTo>
                <a:lnTo>
                  <a:pt x="1901" y="1207"/>
                </a:lnTo>
                <a:close/>
                <a:moveTo>
                  <a:pt x="1901" y="982"/>
                </a:moveTo>
                <a:cubicBezTo>
                  <a:pt x="1874" y="982"/>
                  <a:pt x="1874" y="982"/>
                  <a:pt x="1874" y="982"/>
                </a:cubicBezTo>
                <a:cubicBezTo>
                  <a:pt x="1874" y="901"/>
                  <a:pt x="1874" y="901"/>
                  <a:pt x="1874" y="901"/>
                </a:cubicBezTo>
                <a:cubicBezTo>
                  <a:pt x="1901" y="901"/>
                  <a:pt x="1901" y="901"/>
                  <a:pt x="1901" y="901"/>
                </a:cubicBezTo>
                <a:lnTo>
                  <a:pt x="1901" y="982"/>
                </a:lnTo>
                <a:close/>
                <a:moveTo>
                  <a:pt x="1970" y="591"/>
                </a:moveTo>
                <a:cubicBezTo>
                  <a:pt x="1952" y="591"/>
                  <a:pt x="1952" y="591"/>
                  <a:pt x="1952" y="591"/>
                </a:cubicBezTo>
                <a:cubicBezTo>
                  <a:pt x="1952" y="368"/>
                  <a:pt x="1952" y="368"/>
                  <a:pt x="1952" y="368"/>
                </a:cubicBezTo>
                <a:cubicBezTo>
                  <a:pt x="1970" y="368"/>
                  <a:pt x="1970" y="368"/>
                  <a:pt x="1970" y="368"/>
                </a:cubicBezTo>
                <a:lnTo>
                  <a:pt x="1970" y="591"/>
                </a:lnTo>
                <a:close/>
                <a:moveTo>
                  <a:pt x="2007" y="743"/>
                </a:moveTo>
                <a:cubicBezTo>
                  <a:pt x="2001" y="743"/>
                  <a:pt x="1995" y="743"/>
                  <a:pt x="1990" y="743"/>
                </a:cubicBezTo>
                <a:cubicBezTo>
                  <a:pt x="1990" y="618"/>
                  <a:pt x="1990" y="493"/>
                  <a:pt x="1990" y="368"/>
                </a:cubicBezTo>
                <a:cubicBezTo>
                  <a:pt x="1995" y="368"/>
                  <a:pt x="2001" y="368"/>
                  <a:pt x="2007" y="368"/>
                </a:cubicBezTo>
                <a:cubicBezTo>
                  <a:pt x="2007" y="493"/>
                  <a:pt x="2007" y="618"/>
                  <a:pt x="2007" y="743"/>
                </a:cubicBezTo>
                <a:close/>
                <a:moveTo>
                  <a:pt x="2270" y="497"/>
                </a:moveTo>
                <a:cubicBezTo>
                  <a:pt x="2387" y="497"/>
                  <a:pt x="2387" y="497"/>
                  <a:pt x="2387" y="497"/>
                </a:cubicBezTo>
                <a:cubicBezTo>
                  <a:pt x="2387" y="511"/>
                  <a:pt x="2387" y="511"/>
                  <a:pt x="2387" y="511"/>
                </a:cubicBezTo>
                <a:cubicBezTo>
                  <a:pt x="2270" y="511"/>
                  <a:pt x="2270" y="511"/>
                  <a:pt x="2270" y="511"/>
                </a:cubicBezTo>
                <a:lnTo>
                  <a:pt x="2270" y="497"/>
                </a:lnTo>
                <a:close/>
                <a:moveTo>
                  <a:pt x="2270" y="544"/>
                </a:moveTo>
                <a:cubicBezTo>
                  <a:pt x="2309" y="544"/>
                  <a:pt x="2348" y="544"/>
                  <a:pt x="2387" y="544"/>
                </a:cubicBezTo>
                <a:cubicBezTo>
                  <a:pt x="2387" y="549"/>
                  <a:pt x="2387" y="554"/>
                  <a:pt x="2387" y="559"/>
                </a:cubicBezTo>
                <a:cubicBezTo>
                  <a:pt x="2348" y="559"/>
                  <a:pt x="2309" y="559"/>
                  <a:pt x="2270" y="559"/>
                </a:cubicBezTo>
                <a:cubicBezTo>
                  <a:pt x="2270" y="554"/>
                  <a:pt x="2270" y="549"/>
                  <a:pt x="2270" y="544"/>
                </a:cubicBezTo>
                <a:close/>
                <a:moveTo>
                  <a:pt x="2270" y="591"/>
                </a:moveTo>
                <a:cubicBezTo>
                  <a:pt x="2309" y="591"/>
                  <a:pt x="2348" y="591"/>
                  <a:pt x="2387" y="591"/>
                </a:cubicBezTo>
                <a:cubicBezTo>
                  <a:pt x="2387" y="596"/>
                  <a:pt x="2387" y="601"/>
                  <a:pt x="2387" y="606"/>
                </a:cubicBezTo>
                <a:cubicBezTo>
                  <a:pt x="2348" y="606"/>
                  <a:pt x="2309" y="606"/>
                  <a:pt x="2270" y="606"/>
                </a:cubicBezTo>
                <a:cubicBezTo>
                  <a:pt x="2270" y="601"/>
                  <a:pt x="2270" y="596"/>
                  <a:pt x="2270" y="591"/>
                </a:cubicBezTo>
                <a:close/>
                <a:moveTo>
                  <a:pt x="2270" y="639"/>
                </a:moveTo>
                <a:cubicBezTo>
                  <a:pt x="2309" y="639"/>
                  <a:pt x="2348" y="639"/>
                  <a:pt x="2387" y="639"/>
                </a:cubicBezTo>
                <a:cubicBezTo>
                  <a:pt x="2387" y="643"/>
                  <a:pt x="2387" y="648"/>
                  <a:pt x="2387" y="653"/>
                </a:cubicBezTo>
                <a:cubicBezTo>
                  <a:pt x="2348" y="653"/>
                  <a:pt x="2309" y="653"/>
                  <a:pt x="2270" y="653"/>
                </a:cubicBezTo>
                <a:cubicBezTo>
                  <a:pt x="2270" y="648"/>
                  <a:pt x="2270" y="643"/>
                  <a:pt x="2270" y="639"/>
                </a:cubicBezTo>
                <a:close/>
                <a:moveTo>
                  <a:pt x="2270" y="686"/>
                </a:moveTo>
                <a:cubicBezTo>
                  <a:pt x="2309" y="686"/>
                  <a:pt x="2348" y="686"/>
                  <a:pt x="2387" y="686"/>
                </a:cubicBezTo>
                <a:cubicBezTo>
                  <a:pt x="2387" y="691"/>
                  <a:pt x="2387" y="696"/>
                  <a:pt x="2387" y="700"/>
                </a:cubicBezTo>
                <a:cubicBezTo>
                  <a:pt x="2348" y="700"/>
                  <a:pt x="2309" y="700"/>
                  <a:pt x="2270" y="700"/>
                </a:cubicBezTo>
                <a:cubicBezTo>
                  <a:pt x="2270" y="696"/>
                  <a:pt x="2270" y="691"/>
                  <a:pt x="2270" y="686"/>
                </a:cubicBezTo>
                <a:close/>
                <a:moveTo>
                  <a:pt x="2144" y="1170"/>
                </a:moveTo>
                <a:cubicBezTo>
                  <a:pt x="2191" y="1170"/>
                  <a:pt x="2191" y="1170"/>
                  <a:pt x="2191" y="1170"/>
                </a:cubicBezTo>
                <a:cubicBezTo>
                  <a:pt x="2191" y="1205"/>
                  <a:pt x="2191" y="1205"/>
                  <a:pt x="2191" y="1205"/>
                </a:cubicBezTo>
                <a:cubicBezTo>
                  <a:pt x="2144" y="1205"/>
                  <a:pt x="2144" y="1205"/>
                  <a:pt x="2144" y="1205"/>
                </a:cubicBezTo>
                <a:lnTo>
                  <a:pt x="2144" y="1170"/>
                </a:lnTo>
                <a:close/>
                <a:moveTo>
                  <a:pt x="2044" y="895"/>
                </a:moveTo>
                <a:cubicBezTo>
                  <a:pt x="2039" y="895"/>
                  <a:pt x="2033" y="895"/>
                  <a:pt x="2027" y="895"/>
                </a:cubicBezTo>
                <a:cubicBezTo>
                  <a:pt x="2027" y="720"/>
                  <a:pt x="2027" y="544"/>
                  <a:pt x="2027" y="368"/>
                </a:cubicBezTo>
                <a:cubicBezTo>
                  <a:pt x="2033" y="368"/>
                  <a:pt x="2039" y="368"/>
                  <a:pt x="2044" y="368"/>
                </a:cubicBezTo>
                <a:cubicBezTo>
                  <a:pt x="2044" y="544"/>
                  <a:pt x="2044" y="720"/>
                  <a:pt x="2044" y="895"/>
                </a:cubicBezTo>
                <a:close/>
                <a:moveTo>
                  <a:pt x="2064" y="368"/>
                </a:moveTo>
                <a:cubicBezTo>
                  <a:pt x="2070" y="368"/>
                  <a:pt x="2076" y="368"/>
                  <a:pt x="2082" y="368"/>
                </a:cubicBezTo>
                <a:cubicBezTo>
                  <a:pt x="2082" y="595"/>
                  <a:pt x="2082" y="821"/>
                  <a:pt x="2082" y="1048"/>
                </a:cubicBezTo>
                <a:cubicBezTo>
                  <a:pt x="2076" y="1048"/>
                  <a:pt x="2070" y="1048"/>
                  <a:pt x="2064" y="1048"/>
                </a:cubicBezTo>
                <a:cubicBezTo>
                  <a:pt x="2064" y="821"/>
                  <a:pt x="2064" y="595"/>
                  <a:pt x="2064" y="368"/>
                </a:cubicBezTo>
                <a:close/>
                <a:moveTo>
                  <a:pt x="2199" y="1275"/>
                </a:moveTo>
                <a:cubicBezTo>
                  <a:pt x="2164" y="1275"/>
                  <a:pt x="2129" y="1275"/>
                  <a:pt x="2093" y="1275"/>
                </a:cubicBezTo>
                <a:cubicBezTo>
                  <a:pt x="2093" y="1272"/>
                  <a:pt x="2093" y="1269"/>
                  <a:pt x="2093" y="1265"/>
                </a:cubicBezTo>
                <a:cubicBezTo>
                  <a:pt x="2129" y="1265"/>
                  <a:pt x="2164" y="1265"/>
                  <a:pt x="2199" y="1265"/>
                </a:cubicBezTo>
                <a:cubicBezTo>
                  <a:pt x="2199" y="1269"/>
                  <a:pt x="2199" y="1272"/>
                  <a:pt x="2199" y="1275"/>
                </a:cubicBezTo>
                <a:close/>
                <a:moveTo>
                  <a:pt x="2199" y="1240"/>
                </a:moveTo>
                <a:cubicBezTo>
                  <a:pt x="2081" y="1240"/>
                  <a:pt x="2081" y="1240"/>
                  <a:pt x="2081" y="1240"/>
                </a:cubicBezTo>
                <a:cubicBezTo>
                  <a:pt x="2081" y="1230"/>
                  <a:pt x="2081" y="1230"/>
                  <a:pt x="2081" y="1230"/>
                </a:cubicBezTo>
                <a:cubicBezTo>
                  <a:pt x="2199" y="1230"/>
                  <a:pt x="2199" y="1230"/>
                  <a:pt x="2199" y="1230"/>
                </a:cubicBezTo>
                <a:lnTo>
                  <a:pt x="2199" y="1240"/>
                </a:lnTo>
                <a:close/>
                <a:moveTo>
                  <a:pt x="2235" y="811"/>
                </a:moveTo>
                <a:cubicBezTo>
                  <a:pt x="2249" y="811"/>
                  <a:pt x="2257" y="825"/>
                  <a:pt x="2257" y="842"/>
                </a:cubicBezTo>
                <a:cubicBezTo>
                  <a:pt x="2242" y="842"/>
                  <a:pt x="2228" y="842"/>
                  <a:pt x="2214" y="842"/>
                </a:cubicBezTo>
                <a:cubicBezTo>
                  <a:pt x="2214" y="825"/>
                  <a:pt x="2221" y="811"/>
                  <a:pt x="2235" y="811"/>
                </a:cubicBezTo>
                <a:close/>
                <a:moveTo>
                  <a:pt x="2263" y="1088"/>
                </a:moveTo>
                <a:cubicBezTo>
                  <a:pt x="2216" y="1088"/>
                  <a:pt x="2216" y="1088"/>
                  <a:pt x="2216" y="1088"/>
                </a:cubicBezTo>
                <a:cubicBezTo>
                  <a:pt x="2216" y="1053"/>
                  <a:pt x="2216" y="1053"/>
                  <a:pt x="2216" y="1053"/>
                </a:cubicBezTo>
                <a:cubicBezTo>
                  <a:pt x="2263" y="1053"/>
                  <a:pt x="2263" y="1053"/>
                  <a:pt x="2263" y="1053"/>
                </a:cubicBezTo>
                <a:lnTo>
                  <a:pt x="2263" y="1088"/>
                </a:lnTo>
                <a:close/>
                <a:moveTo>
                  <a:pt x="2263" y="927"/>
                </a:moveTo>
                <a:cubicBezTo>
                  <a:pt x="2216" y="927"/>
                  <a:pt x="2216" y="927"/>
                  <a:pt x="2216" y="927"/>
                </a:cubicBezTo>
                <a:cubicBezTo>
                  <a:pt x="2216" y="892"/>
                  <a:pt x="2216" y="892"/>
                  <a:pt x="2216" y="892"/>
                </a:cubicBezTo>
                <a:cubicBezTo>
                  <a:pt x="2263" y="892"/>
                  <a:pt x="2263" y="892"/>
                  <a:pt x="2263" y="892"/>
                </a:cubicBezTo>
                <a:lnTo>
                  <a:pt x="2263" y="927"/>
                </a:lnTo>
                <a:close/>
                <a:moveTo>
                  <a:pt x="2270" y="733"/>
                </a:moveTo>
                <a:cubicBezTo>
                  <a:pt x="2309" y="733"/>
                  <a:pt x="2348" y="733"/>
                  <a:pt x="2387" y="733"/>
                </a:cubicBezTo>
                <a:cubicBezTo>
                  <a:pt x="2387" y="738"/>
                  <a:pt x="2387" y="743"/>
                  <a:pt x="2387" y="748"/>
                </a:cubicBezTo>
                <a:cubicBezTo>
                  <a:pt x="2348" y="748"/>
                  <a:pt x="2309" y="748"/>
                  <a:pt x="2270" y="748"/>
                </a:cubicBezTo>
                <a:cubicBezTo>
                  <a:pt x="2270" y="743"/>
                  <a:pt x="2270" y="738"/>
                  <a:pt x="2270" y="733"/>
                </a:cubicBezTo>
                <a:close/>
                <a:moveTo>
                  <a:pt x="2355" y="874"/>
                </a:moveTo>
                <a:cubicBezTo>
                  <a:pt x="2355" y="910"/>
                  <a:pt x="2355" y="910"/>
                  <a:pt x="2355" y="910"/>
                </a:cubicBezTo>
                <a:cubicBezTo>
                  <a:pt x="2307" y="910"/>
                  <a:pt x="2307" y="910"/>
                  <a:pt x="2307" y="910"/>
                </a:cubicBezTo>
                <a:cubicBezTo>
                  <a:pt x="2307" y="874"/>
                  <a:pt x="2307" y="874"/>
                  <a:pt x="2307" y="874"/>
                </a:cubicBezTo>
                <a:lnTo>
                  <a:pt x="2355" y="874"/>
                </a:lnTo>
                <a:close/>
                <a:moveTo>
                  <a:pt x="2355" y="969"/>
                </a:moveTo>
                <a:cubicBezTo>
                  <a:pt x="2339" y="969"/>
                  <a:pt x="2323" y="969"/>
                  <a:pt x="2307" y="969"/>
                </a:cubicBezTo>
                <a:cubicBezTo>
                  <a:pt x="2307" y="957"/>
                  <a:pt x="2307" y="946"/>
                  <a:pt x="2307" y="934"/>
                </a:cubicBezTo>
                <a:cubicBezTo>
                  <a:pt x="2323" y="934"/>
                  <a:pt x="2339" y="934"/>
                  <a:pt x="2355" y="934"/>
                </a:cubicBezTo>
                <a:cubicBezTo>
                  <a:pt x="2355" y="946"/>
                  <a:pt x="2355" y="957"/>
                  <a:pt x="2355" y="969"/>
                </a:cubicBezTo>
                <a:close/>
                <a:moveTo>
                  <a:pt x="2430" y="1028"/>
                </a:moveTo>
                <a:cubicBezTo>
                  <a:pt x="2414" y="1028"/>
                  <a:pt x="2398" y="1028"/>
                  <a:pt x="2383" y="1028"/>
                </a:cubicBezTo>
                <a:cubicBezTo>
                  <a:pt x="2383" y="1017"/>
                  <a:pt x="2383" y="1005"/>
                  <a:pt x="2383" y="993"/>
                </a:cubicBezTo>
                <a:cubicBezTo>
                  <a:pt x="2398" y="993"/>
                  <a:pt x="2414" y="993"/>
                  <a:pt x="2430" y="993"/>
                </a:cubicBezTo>
                <a:cubicBezTo>
                  <a:pt x="2430" y="1005"/>
                  <a:pt x="2430" y="1017"/>
                  <a:pt x="2430" y="1028"/>
                </a:cubicBezTo>
                <a:close/>
                <a:moveTo>
                  <a:pt x="2430" y="910"/>
                </a:moveTo>
                <a:cubicBezTo>
                  <a:pt x="2414" y="910"/>
                  <a:pt x="2398" y="910"/>
                  <a:pt x="2383" y="910"/>
                </a:cubicBezTo>
                <a:cubicBezTo>
                  <a:pt x="2383" y="898"/>
                  <a:pt x="2383" y="886"/>
                  <a:pt x="2383" y="874"/>
                </a:cubicBezTo>
                <a:cubicBezTo>
                  <a:pt x="2398" y="874"/>
                  <a:pt x="2414" y="874"/>
                  <a:pt x="2430" y="874"/>
                </a:cubicBezTo>
                <a:cubicBezTo>
                  <a:pt x="2430" y="886"/>
                  <a:pt x="2430" y="898"/>
                  <a:pt x="2430" y="910"/>
                </a:cubicBezTo>
                <a:close/>
                <a:moveTo>
                  <a:pt x="2361" y="842"/>
                </a:moveTo>
                <a:cubicBezTo>
                  <a:pt x="2361" y="809"/>
                  <a:pt x="2377" y="783"/>
                  <a:pt x="2406" y="783"/>
                </a:cubicBezTo>
                <a:cubicBezTo>
                  <a:pt x="2434" y="783"/>
                  <a:pt x="2452" y="809"/>
                  <a:pt x="2452" y="842"/>
                </a:cubicBezTo>
                <a:lnTo>
                  <a:pt x="2361" y="842"/>
                </a:lnTo>
                <a:close/>
                <a:moveTo>
                  <a:pt x="2505" y="1088"/>
                </a:moveTo>
                <a:cubicBezTo>
                  <a:pt x="2458" y="1088"/>
                  <a:pt x="2458" y="1088"/>
                  <a:pt x="2458" y="1088"/>
                </a:cubicBezTo>
                <a:cubicBezTo>
                  <a:pt x="2458" y="1053"/>
                  <a:pt x="2458" y="1053"/>
                  <a:pt x="2458" y="1053"/>
                </a:cubicBezTo>
                <a:cubicBezTo>
                  <a:pt x="2505" y="1053"/>
                  <a:pt x="2505" y="1053"/>
                  <a:pt x="2505" y="1053"/>
                </a:cubicBezTo>
                <a:lnTo>
                  <a:pt x="2505" y="1088"/>
                </a:lnTo>
                <a:close/>
                <a:moveTo>
                  <a:pt x="2505" y="969"/>
                </a:moveTo>
                <a:cubicBezTo>
                  <a:pt x="2489" y="969"/>
                  <a:pt x="2474" y="969"/>
                  <a:pt x="2458" y="969"/>
                </a:cubicBezTo>
                <a:cubicBezTo>
                  <a:pt x="2458" y="957"/>
                  <a:pt x="2458" y="946"/>
                  <a:pt x="2458" y="934"/>
                </a:cubicBezTo>
                <a:cubicBezTo>
                  <a:pt x="2474" y="934"/>
                  <a:pt x="2489" y="934"/>
                  <a:pt x="2505" y="934"/>
                </a:cubicBezTo>
                <a:cubicBezTo>
                  <a:pt x="2505" y="946"/>
                  <a:pt x="2505" y="957"/>
                  <a:pt x="2505" y="969"/>
                </a:cubicBezTo>
                <a:close/>
                <a:moveTo>
                  <a:pt x="2644" y="811"/>
                </a:moveTo>
                <a:cubicBezTo>
                  <a:pt x="2658" y="811"/>
                  <a:pt x="2666" y="825"/>
                  <a:pt x="2666" y="842"/>
                </a:cubicBezTo>
                <a:cubicBezTo>
                  <a:pt x="2622" y="842"/>
                  <a:pt x="2622" y="842"/>
                  <a:pt x="2622" y="842"/>
                </a:cubicBezTo>
                <a:cubicBezTo>
                  <a:pt x="2622" y="825"/>
                  <a:pt x="2631" y="811"/>
                  <a:pt x="2644" y="811"/>
                </a:cubicBezTo>
                <a:close/>
                <a:moveTo>
                  <a:pt x="2597" y="1146"/>
                </a:moveTo>
                <a:cubicBezTo>
                  <a:pt x="2581" y="1146"/>
                  <a:pt x="2565" y="1146"/>
                  <a:pt x="2550" y="1146"/>
                </a:cubicBezTo>
                <a:cubicBezTo>
                  <a:pt x="2550" y="1135"/>
                  <a:pt x="2550" y="1123"/>
                  <a:pt x="2550" y="1111"/>
                </a:cubicBezTo>
                <a:cubicBezTo>
                  <a:pt x="2565" y="1111"/>
                  <a:pt x="2581" y="1111"/>
                  <a:pt x="2597" y="1111"/>
                </a:cubicBezTo>
                <a:cubicBezTo>
                  <a:pt x="2597" y="1123"/>
                  <a:pt x="2597" y="1135"/>
                  <a:pt x="2597" y="1146"/>
                </a:cubicBezTo>
                <a:close/>
                <a:moveTo>
                  <a:pt x="2597" y="988"/>
                </a:moveTo>
                <a:cubicBezTo>
                  <a:pt x="2550" y="988"/>
                  <a:pt x="2550" y="988"/>
                  <a:pt x="2550" y="988"/>
                </a:cubicBezTo>
                <a:cubicBezTo>
                  <a:pt x="2550" y="953"/>
                  <a:pt x="2550" y="953"/>
                  <a:pt x="2550" y="953"/>
                </a:cubicBezTo>
                <a:cubicBezTo>
                  <a:pt x="2597" y="953"/>
                  <a:pt x="2597" y="953"/>
                  <a:pt x="2597" y="953"/>
                </a:cubicBezTo>
                <a:lnTo>
                  <a:pt x="2597" y="988"/>
                </a:lnTo>
                <a:close/>
                <a:moveTo>
                  <a:pt x="2556" y="842"/>
                </a:moveTo>
                <a:cubicBezTo>
                  <a:pt x="2556" y="825"/>
                  <a:pt x="2564" y="811"/>
                  <a:pt x="2577" y="811"/>
                </a:cubicBezTo>
                <a:cubicBezTo>
                  <a:pt x="2591" y="811"/>
                  <a:pt x="2599" y="825"/>
                  <a:pt x="2599" y="842"/>
                </a:cubicBezTo>
                <a:cubicBezTo>
                  <a:pt x="2584" y="842"/>
                  <a:pt x="2570" y="842"/>
                  <a:pt x="2556" y="842"/>
                </a:cubicBezTo>
                <a:close/>
                <a:moveTo>
                  <a:pt x="2669" y="1205"/>
                </a:moveTo>
                <a:cubicBezTo>
                  <a:pt x="2621" y="1205"/>
                  <a:pt x="2621" y="1205"/>
                  <a:pt x="2621" y="1205"/>
                </a:cubicBezTo>
                <a:cubicBezTo>
                  <a:pt x="2621" y="1170"/>
                  <a:pt x="2621" y="1170"/>
                  <a:pt x="2621" y="1170"/>
                </a:cubicBezTo>
                <a:cubicBezTo>
                  <a:pt x="2669" y="1170"/>
                  <a:pt x="2669" y="1170"/>
                  <a:pt x="2669" y="1170"/>
                </a:cubicBezTo>
                <a:lnTo>
                  <a:pt x="2669" y="1205"/>
                </a:lnTo>
                <a:close/>
                <a:moveTo>
                  <a:pt x="2669" y="1088"/>
                </a:moveTo>
                <a:cubicBezTo>
                  <a:pt x="2621" y="1088"/>
                  <a:pt x="2621" y="1088"/>
                  <a:pt x="2621" y="1088"/>
                </a:cubicBezTo>
                <a:cubicBezTo>
                  <a:pt x="2621" y="1053"/>
                  <a:pt x="2621" y="1053"/>
                  <a:pt x="2621" y="1053"/>
                </a:cubicBezTo>
                <a:cubicBezTo>
                  <a:pt x="2669" y="1053"/>
                  <a:pt x="2669" y="1053"/>
                  <a:pt x="2669" y="1053"/>
                </a:cubicBezTo>
                <a:lnTo>
                  <a:pt x="2669" y="1088"/>
                </a:lnTo>
                <a:close/>
                <a:moveTo>
                  <a:pt x="2669" y="927"/>
                </a:moveTo>
                <a:cubicBezTo>
                  <a:pt x="2621" y="927"/>
                  <a:pt x="2621" y="927"/>
                  <a:pt x="2621" y="927"/>
                </a:cubicBezTo>
                <a:cubicBezTo>
                  <a:pt x="2621" y="892"/>
                  <a:pt x="2621" y="892"/>
                  <a:pt x="2621" y="892"/>
                </a:cubicBezTo>
                <a:cubicBezTo>
                  <a:pt x="2669" y="892"/>
                  <a:pt x="2669" y="892"/>
                  <a:pt x="2669" y="892"/>
                </a:cubicBezTo>
                <a:lnTo>
                  <a:pt x="2669" y="927"/>
                </a:lnTo>
                <a:close/>
                <a:moveTo>
                  <a:pt x="2785" y="1068"/>
                </a:moveTo>
                <a:cubicBezTo>
                  <a:pt x="2732" y="1068"/>
                  <a:pt x="2732" y="1068"/>
                  <a:pt x="2732" y="1068"/>
                </a:cubicBezTo>
                <a:cubicBezTo>
                  <a:pt x="2732" y="1034"/>
                  <a:pt x="2732" y="1034"/>
                  <a:pt x="2732" y="1034"/>
                </a:cubicBezTo>
                <a:cubicBezTo>
                  <a:pt x="2785" y="1034"/>
                  <a:pt x="2785" y="1034"/>
                  <a:pt x="2785" y="1034"/>
                </a:cubicBezTo>
                <a:lnTo>
                  <a:pt x="2785" y="1068"/>
                </a:lnTo>
                <a:close/>
                <a:moveTo>
                  <a:pt x="2942" y="1130"/>
                </a:moveTo>
                <a:cubicBezTo>
                  <a:pt x="2916" y="1130"/>
                  <a:pt x="2890" y="1130"/>
                  <a:pt x="2865" y="1130"/>
                </a:cubicBezTo>
                <a:cubicBezTo>
                  <a:pt x="2865" y="1114"/>
                  <a:pt x="2865" y="1097"/>
                  <a:pt x="2865" y="1081"/>
                </a:cubicBezTo>
                <a:cubicBezTo>
                  <a:pt x="2890" y="1081"/>
                  <a:pt x="2916" y="1081"/>
                  <a:pt x="2942" y="1081"/>
                </a:cubicBezTo>
                <a:cubicBezTo>
                  <a:pt x="2942" y="1097"/>
                  <a:pt x="2942" y="1114"/>
                  <a:pt x="2942" y="1130"/>
                </a:cubicBezTo>
                <a:close/>
                <a:moveTo>
                  <a:pt x="2942" y="1052"/>
                </a:moveTo>
                <a:cubicBezTo>
                  <a:pt x="2916" y="1052"/>
                  <a:pt x="2890" y="1052"/>
                  <a:pt x="2865" y="1052"/>
                </a:cubicBezTo>
                <a:cubicBezTo>
                  <a:pt x="2865" y="1035"/>
                  <a:pt x="2865" y="1019"/>
                  <a:pt x="2865" y="1003"/>
                </a:cubicBezTo>
                <a:cubicBezTo>
                  <a:pt x="2890" y="1003"/>
                  <a:pt x="2916" y="1003"/>
                  <a:pt x="2942" y="1003"/>
                </a:cubicBezTo>
                <a:cubicBezTo>
                  <a:pt x="2942" y="1019"/>
                  <a:pt x="2942" y="1035"/>
                  <a:pt x="2942" y="1052"/>
                </a:cubicBezTo>
                <a:close/>
                <a:moveTo>
                  <a:pt x="3120" y="1130"/>
                </a:moveTo>
                <a:cubicBezTo>
                  <a:pt x="3095" y="1130"/>
                  <a:pt x="3069" y="1130"/>
                  <a:pt x="3043" y="1130"/>
                </a:cubicBezTo>
                <a:cubicBezTo>
                  <a:pt x="3043" y="1114"/>
                  <a:pt x="3043" y="1097"/>
                  <a:pt x="3043" y="1081"/>
                </a:cubicBezTo>
                <a:cubicBezTo>
                  <a:pt x="3069" y="1081"/>
                  <a:pt x="3095" y="1081"/>
                  <a:pt x="3120" y="1081"/>
                </a:cubicBezTo>
                <a:cubicBezTo>
                  <a:pt x="3120" y="1097"/>
                  <a:pt x="3120" y="1114"/>
                  <a:pt x="3120" y="1130"/>
                </a:cubicBezTo>
                <a:close/>
                <a:moveTo>
                  <a:pt x="3240" y="1161"/>
                </a:moveTo>
                <a:cubicBezTo>
                  <a:pt x="3222" y="1161"/>
                  <a:pt x="3204" y="1161"/>
                  <a:pt x="3186" y="1161"/>
                </a:cubicBezTo>
                <a:cubicBezTo>
                  <a:pt x="3186" y="1149"/>
                  <a:pt x="3186" y="1138"/>
                  <a:pt x="3186" y="1127"/>
                </a:cubicBezTo>
                <a:cubicBezTo>
                  <a:pt x="3204" y="1127"/>
                  <a:pt x="3222" y="1127"/>
                  <a:pt x="3240" y="1127"/>
                </a:cubicBezTo>
                <a:cubicBezTo>
                  <a:pt x="3240" y="1138"/>
                  <a:pt x="3240" y="1149"/>
                  <a:pt x="3240" y="1161"/>
                </a:cubicBezTo>
                <a:close/>
                <a:moveTo>
                  <a:pt x="3240" y="1058"/>
                </a:moveTo>
                <a:cubicBezTo>
                  <a:pt x="3186" y="1058"/>
                  <a:pt x="3186" y="1058"/>
                  <a:pt x="3186" y="1058"/>
                </a:cubicBezTo>
                <a:cubicBezTo>
                  <a:pt x="3186" y="1024"/>
                  <a:pt x="3186" y="1024"/>
                  <a:pt x="3186" y="1024"/>
                </a:cubicBezTo>
                <a:cubicBezTo>
                  <a:pt x="3240" y="1024"/>
                  <a:pt x="3240" y="1024"/>
                  <a:pt x="3240" y="1024"/>
                </a:cubicBezTo>
                <a:lnTo>
                  <a:pt x="3240" y="1058"/>
                </a:lnTo>
                <a:close/>
                <a:moveTo>
                  <a:pt x="3481" y="875"/>
                </a:moveTo>
                <a:cubicBezTo>
                  <a:pt x="3492" y="875"/>
                  <a:pt x="3503" y="875"/>
                  <a:pt x="3514" y="875"/>
                </a:cubicBezTo>
                <a:cubicBezTo>
                  <a:pt x="3514" y="883"/>
                  <a:pt x="3514" y="891"/>
                  <a:pt x="3514" y="899"/>
                </a:cubicBezTo>
                <a:cubicBezTo>
                  <a:pt x="3503" y="899"/>
                  <a:pt x="3492" y="899"/>
                  <a:pt x="3481" y="899"/>
                </a:cubicBezTo>
                <a:cubicBezTo>
                  <a:pt x="3481" y="891"/>
                  <a:pt x="3481" y="883"/>
                  <a:pt x="3481" y="875"/>
                </a:cubicBezTo>
                <a:close/>
                <a:moveTo>
                  <a:pt x="3400" y="821"/>
                </a:moveTo>
                <a:cubicBezTo>
                  <a:pt x="3408" y="821"/>
                  <a:pt x="3416" y="821"/>
                  <a:pt x="3424" y="821"/>
                </a:cubicBezTo>
                <a:cubicBezTo>
                  <a:pt x="3424" y="827"/>
                  <a:pt x="3424" y="833"/>
                  <a:pt x="3424" y="839"/>
                </a:cubicBezTo>
                <a:cubicBezTo>
                  <a:pt x="3416" y="839"/>
                  <a:pt x="3408" y="839"/>
                  <a:pt x="3400" y="839"/>
                </a:cubicBezTo>
                <a:cubicBezTo>
                  <a:pt x="3400" y="833"/>
                  <a:pt x="3400" y="827"/>
                  <a:pt x="3400" y="821"/>
                </a:cubicBezTo>
                <a:close/>
                <a:moveTo>
                  <a:pt x="3448" y="1057"/>
                </a:moveTo>
                <a:cubicBezTo>
                  <a:pt x="3448" y="1071"/>
                  <a:pt x="3448" y="1084"/>
                  <a:pt x="3448" y="1098"/>
                </a:cubicBezTo>
                <a:cubicBezTo>
                  <a:pt x="3426" y="1098"/>
                  <a:pt x="3404" y="1098"/>
                  <a:pt x="3381" y="1098"/>
                </a:cubicBezTo>
                <a:cubicBezTo>
                  <a:pt x="3381" y="1084"/>
                  <a:pt x="3381" y="1071"/>
                  <a:pt x="3381" y="1057"/>
                </a:cubicBezTo>
                <a:cubicBezTo>
                  <a:pt x="3404" y="1057"/>
                  <a:pt x="3426" y="1057"/>
                  <a:pt x="3448" y="1057"/>
                </a:cubicBezTo>
                <a:close/>
                <a:moveTo>
                  <a:pt x="3370" y="875"/>
                </a:moveTo>
                <a:cubicBezTo>
                  <a:pt x="3381" y="875"/>
                  <a:pt x="3392" y="875"/>
                  <a:pt x="3403" y="875"/>
                </a:cubicBezTo>
                <a:cubicBezTo>
                  <a:pt x="3403" y="883"/>
                  <a:pt x="3403" y="891"/>
                  <a:pt x="3403" y="899"/>
                </a:cubicBezTo>
                <a:cubicBezTo>
                  <a:pt x="3392" y="899"/>
                  <a:pt x="3381" y="899"/>
                  <a:pt x="3370" y="899"/>
                </a:cubicBezTo>
                <a:cubicBezTo>
                  <a:pt x="3370" y="891"/>
                  <a:pt x="3370" y="883"/>
                  <a:pt x="3370" y="875"/>
                </a:cubicBezTo>
                <a:close/>
                <a:moveTo>
                  <a:pt x="3315" y="875"/>
                </a:moveTo>
                <a:cubicBezTo>
                  <a:pt x="3326" y="875"/>
                  <a:pt x="3337" y="875"/>
                  <a:pt x="3348" y="875"/>
                </a:cubicBezTo>
                <a:cubicBezTo>
                  <a:pt x="3348" y="883"/>
                  <a:pt x="3348" y="891"/>
                  <a:pt x="3348" y="899"/>
                </a:cubicBezTo>
                <a:cubicBezTo>
                  <a:pt x="3337" y="899"/>
                  <a:pt x="3326" y="899"/>
                  <a:pt x="3315" y="899"/>
                </a:cubicBezTo>
                <a:cubicBezTo>
                  <a:pt x="3315" y="891"/>
                  <a:pt x="3315" y="883"/>
                  <a:pt x="3315" y="875"/>
                </a:cubicBezTo>
                <a:close/>
                <a:moveTo>
                  <a:pt x="3291" y="998"/>
                </a:moveTo>
                <a:cubicBezTo>
                  <a:pt x="3313" y="998"/>
                  <a:pt x="3335" y="998"/>
                  <a:pt x="3357" y="998"/>
                </a:cubicBezTo>
                <a:cubicBezTo>
                  <a:pt x="3357" y="1011"/>
                  <a:pt x="3357" y="1025"/>
                  <a:pt x="3357" y="1039"/>
                </a:cubicBezTo>
                <a:cubicBezTo>
                  <a:pt x="3335" y="1039"/>
                  <a:pt x="3313" y="1039"/>
                  <a:pt x="3291" y="1039"/>
                </a:cubicBezTo>
                <a:cubicBezTo>
                  <a:pt x="3291" y="1025"/>
                  <a:pt x="3291" y="1011"/>
                  <a:pt x="3291" y="998"/>
                </a:cubicBezTo>
                <a:close/>
                <a:moveTo>
                  <a:pt x="3290" y="1251"/>
                </a:moveTo>
                <a:cubicBezTo>
                  <a:pt x="3277" y="1251"/>
                  <a:pt x="3277" y="1251"/>
                  <a:pt x="3277" y="1251"/>
                </a:cubicBezTo>
                <a:cubicBezTo>
                  <a:pt x="3277" y="1170"/>
                  <a:pt x="3277" y="1170"/>
                  <a:pt x="3277" y="1170"/>
                </a:cubicBezTo>
                <a:cubicBezTo>
                  <a:pt x="3290" y="1170"/>
                  <a:pt x="3290" y="1170"/>
                  <a:pt x="3290" y="1170"/>
                </a:cubicBezTo>
                <a:lnTo>
                  <a:pt x="3290" y="1251"/>
                </a:lnTo>
                <a:close/>
                <a:moveTo>
                  <a:pt x="3291" y="1157"/>
                </a:moveTo>
                <a:cubicBezTo>
                  <a:pt x="3291" y="1157"/>
                  <a:pt x="3291" y="1157"/>
                  <a:pt x="3291" y="1157"/>
                </a:cubicBezTo>
                <a:cubicBezTo>
                  <a:pt x="3272" y="1157"/>
                  <a:pt x="3272" y="1157"/>
                  <a:pt x="3272" y="1157"/>
                </a:cubicBezTo>
                <a:cubicBezTo>
                  <a:pt x="3272" y="1149"/>
                  <a:pt x="3272" y="1149"/>
                  <a:pt x="3272" y="1149"/>
                </a:cubicBezTo>
                <a:cubicBezTo>
                  <a:pt x="3291" y="1149"/>
                  <a:pt x="3291" y="1149"/>
                  <a:pt x="3291" y="1149"/>
                </a:cubicBezTo>
                <a:cubicBezTo>
                  <a:pt x="3291" y="1146"/>
                  <a:pt x="3291" y="1144"/>
                  <a:pt x="3291" y="1142"/>
                </a:cubicBezTo>
                <a:cubicBezTo>
                  <a:pt x="3272" y="1142"/>
                  <a:pt x="3272" y="1142"/>
                  <a:pt x="3272" y="1142"/>
                </a:cubicBezTo>
                <a:cubicBezTo>
                  <a:pt x="3272" y="1133"/>
                  <a:pt x="3272" y="1133"/>
                  <a:pt x="3272" y="1133"/>
                </a:cubicBezTo>
                <a:cubicBezTo>
                  <a:pt x="3291" y="1133"/>
                  <a:pt x="3291" y="1133"/>
                  <a:pt x="3291" y="1133"/>
                </a:cubicBezTo>
                <a:cubicBezTo>
                  <a:pt x="3291" y="1128"/>
                  <a:pt x="3291" y="1122"/>
                  <a:pt x="3291" y="1117"/>
                </a:cubicBezTo>
                <a:cubicBezTo>
                  <a:pt x="3313" y="1117"/>
                  <a:pt x="3335" y="1117"/>
                  <a:pt x="3357" y="1117"/>
                </a:cubicBezTo>
                <a:cubicBezTo>
                  <a:pt x="3357" y="1122"/>
                  <a:pt x="3357" y="1128"/>
                  <a:pt x="3357" y="1133"/>
                </a:cubicBezTo>
                <a:cubicBezTo>
                  <a:pt x="3395" y="1133"/>
                  <a:pt x="3395" y="1133"/>
                  <a:pt x="3395" y="1133"/>
                </a:cubicBezTo>
                <a:cubicBezTo>
                  <a:pt x="3395" y="1142"/>
                  <a:pt x="3395" y="1142"/>
                  <a:pt x="3395" y="1142"/>
                </a:cubicBezTo>
                <a:cubicBezTo>
                  <a:pt x="3357" y="1142"/>
                  <a:pt x="3357" y="1142"/>
                  <a:pt x="3357" y="1142"/>
                </a:cubicBezTo>
                <a:cubicBezTo>
                  <a:pt x="3357" y="1144"/>
                  <a:pt x="3357" y="1146"/>
                  <a:pt x="3357" y="1149"/>
                </a:cubicBezTo>
                <a:cubicBezTo>
                  <a:pt x="3395" y="1149"/>
                  <a:pt x="3395" y="1149"/>
                  <a:pt x="3395" y="1149"/>
                </a:cubicBezTo>
                <a:cubicBezTo>
                  <a:pt x="3395" y="1157"/>
                  <a:pt x="3395" y="1157"/>
                  <a:pt x="3395" y="1157"/>
                </a:cubicBezTo>
                <a:cubicBezTo>
                  <a:pt x="3357" y="1157"/>
                  <a:pt x="3357" y="1157"/>
                  <a:pt x="3357" y="1157"/>
                </a:cubicBezTo>
                <a:cubicBezTo>
                  <a:pt x="3357" y="1157"/>
                  <a:pt x="3357" y="1157"/>
                  <a:pt x="3357" y="1157"/>
                </a:cubicBezTo>
                <a:cubicBezTo>
                  <a:pt x="3335" y="1157"/>
                  <a:pt x="3313" y="1157"/>
                  <a:pt x="3291" y="1157"/>
                </a:cubicBezTo>
                <a:close/>
                <a:moveTo>
                  <a:pt x="3448" y="1217"/>
                </a:moveTo>
                <a:cubicBezTo>
                  <a:pt x="3426" y="1217"/>
                  <a:pt x="3404" y="1217"/>
                  <a:pt x="3381" y="1217"/>
                </a:cubicBezTo>
                <a:cubicBezTo>
                  <a:pt x="3381" y="1203"/>
                  <a:pt x="3381" y="1190"/>
                  <a:pt x="3381" y="1176"/>
                </a:cubicBezTo>
                <a:cubicBezTo>
                  <a:pt x="3404" y="1176"/>
                  <a:pt x="3426" y="1176"/>
                  <a:pt x="3448" y="1176"/>
                </a:cubicBezTo>
                <a:cubicBezTo>
                  <a:pt x="3448" y="1190"/>
                  <a:pt x="3448" y="1203"/>
                  <a:pt x="3448" y="1217"/>
                </a:cubicBezTo>
                <a:close/>
                <a:moveTo>
                  <a:pt x="3458" y="899"/>
                </a:moveTo>
                <a:cubicBezTo>
                  <a:pt x="3447" y="899"/>
                  <a:pt x="3436" y="899"/>
                  <a:pt x="3425" y="899"/>
                </a:cubicBezTo>
                <a:cubicBezTo>
                  <a:pt x="3425" y="891"/>
                  <a:pt x="3425" y="883"/>
                  <a:pt x="3425" y="875"/>
                </a:cubicBezTo>
                <a:cubicBezTo>
                  <a:pt x="3436" y="875"/>
                  <a:pt x="3447" y="875"/>
                  <a:pt x="3458" y="875"/>
                </a:cubicBezTo>
                <a:cubicBezTo>
                  <a:pt x="3458" y="883"/>
                  <a:pt x="3458" y="891"/>
                  <a:pt x="3458" y="899"/>
                </a:cubicBezTo>
                <a:close/>
                <a:moveTo>
                  <a:pt x="3538" y="1039"/>
                </a:moveTo>
                <a:cubicBezTo>
                  <a:pt x="3516" y="1039"/>
                  <a:pt x="3494" y="1039"/>
                  <a:pt x="3472" y="1039"/>
                </a:cubicBezTo>
                <a:cubicBezTo>
                  <a:pt x="3472" y="1025"/>
                  <a:pt x="3472" y="1011"/>
                  <a:pt x="3472" y="998"/>
                </a:cubicBezTo>
                <a:cubicBezTo>
                  <a:pt x="3494" y="998"/>
                  <a:pt x="3516" y="998"/>
                  <a:pt x="3538" y="998"/>
                </a:cubicBezTo>
                <a:cubicBezTo>
                  <a:pt x="3538" y="1011"/>
                  <a:pt x="3538" y="1025"/>
                  <a:pt x="3538" y="1039"/>
                </a:cubicBezTo>
                <a:close/>
                <a:moveTo>
                  <a:pt x="3621" y="1115"/>
                </a:moveTo>
                <a:cubicBezTo>
                  <a:pt x="3608" y="1115"/>
                  <a:pt x="3594" y="1115"/>
                  <a:pt x="3581" y="1115"/>
                </a:cubicBezTo>
                <a:cubicBezTo>
                  <a:pt x="3581" y="1105"/>
                  <a:pt x="3581" y="1095"/>
                  <a:pt x="3581" y="1085"/>
                </a:cubicBezTo>
                <a:cubicBezTo>
                  <a:pt x="3594" y="1085"/>
                  <a:pt x="3608" y="1085"/>
                  <a:pt x="3621" y="1085"/>
                </a:cubicBezTo>
                <a:cubicBezTo>
                  <a:pt x="3621" y="1095"/>
                  <a:pt x="3621" y="1105"/>
                  <a:pt x="3621" y="1115"/>
                </a:cubicBezTo>
                <a:close/>
                <a:moveTo>
                  <a:pt x="3677" y="1217"/>
                </a:moveTo>
                <a:cubicBezTo>
                  <a:pt x="3636" y="1217"/>
                  <a:pt x="3636" y="1217"/>
                  <a:pt x="3636" y="1217"/>
                </a:cubicBezTo>
                <a:cubicBezTo>
                  <a:pt x="3636" y="1187"/>
                  <a:pt x="3636" y="1187"/>
                  <a:pt x="3636" y="1187"/>
                </a:cubicBezTo>
                <a:cubicBezTo>
                  <a:pt x="3677" y="1187"/>
                  <a:pt x="3677" y="1187"/>
                  <a:pt x="3677" y="1187"/>
                </a:cubicBezTo>
                <a:lnTo>
                  <a:pt x="3677" y="1217"/>
                </a:lnTo>
                <a:close/>
                <a:moveTo>
                  <a:pt x="3677" y="1065"/>
                </a:moveTo>
                <a:cubicBezTo>
                  <a:pt x="3636" y="1065"/>
                  <a:pt x="3636" y="1065"/>
                  <a:pt x="3636" y="1065"/>
                </a:cubicBezTo>
                <a:cubicBezTo>
                  <a:pt x="3636" y="1035"/>
                  <a:pt x="3636" y="1035"/>
                  <a:pt x="3636" y="1035"/>
                </a:cubicBezTo>
                <a:cubicBezTo>
                  <a:pt x="3677" y="1035"/>
                  <a:pt x="3677" y="1035"/>
                  <a:pt x="3677" y="1035"/>
                </a:cubicBezTo>
                <a:lnTo>
                  <a:pt x="3677" y="1065"/>
                </a:lnTo>
                <a:close/>
                <a:moveTo>
                  <a:pt x="3814" y="1154"/>
                </a:moveTo>
                <a:cubicBezTo>
                  <a:pt x="3793" y="1154"/>
                  <a:pt x="3772" y="1154"/>
                  <a:pt x="3750" y="1154"/>
                </a:cubicBezTo>
                <a:cubicBezTo>
                  <a:pt x="3750" y="1149"/>
                  <a:pt x="3750" y="1144"/>
                  <a:pt x="3750" y="1139"/>
                </a:cubicBezTo>
                <a:cubicBezTo>
                  <a:pt x="3772" y="1139"/>
                  <a:pt x="3793" y="1139"/>
                  <a:pt x="3814" y="1139"/>
                </a:cubicBezTo>
                <a:cubicBezTo>
                  <a:pt x="3814" y="1144"/>
                  <a:pt x="3814" y="1149"/>
                  <a:pt x="3814" y="1154"/>
                </a:cubicBezTo>
                <a:close/>
                <a:moveTo>
                  <a:pt x="3814" y="1123"/>
                </a:moveTo>
                <a:cubicBezTo>
                  <a:pt x="3705" y="1123"/>
                  <a:pt x="3705" y="1123"/>
                  <a:pt x="3705" y="1123"/>
                </a:cubicBezTo>
                <a:cubicBezTo>
                  <a:pt x="3705" y="1108"/>
                  <a:pt x="3705" y="1108"/>
                  <a:pt x="3705" y="1108"/>
                </a:cubicBezTo>
                <a:cubicBezTo>
                  <a:pt x="3814" y="1108"/>
                  <a:pt x="3814" y="1108"/>
                  <a:pt x="3814" y="1108"/>
                </a:cubicBezTo>
                <a:lnTo>
                  <a:pt x="3814" y="1123"/>
                </a:lnTo>
                <a:close/>
              </a:path>
            </a:pathLst>
          </a:custGeom>
          <a:solidFill>
            <a:schemeClr val="accent2">
              <a:lumMod val="20000"/>
              <a:lumOff val="80000"/>
              <a:alpha val="6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5" name="Title 104"/>
          <p:cNvSpPr>
            <a:spLocks noGrp="1"/>
          </p:cNvSpPr>
          <p:nvPr>
            <p:ph type="title"/>
          </p:nvPr>
        </p:nvSpPr>
        <p:spPr/>
        <p:txBody>
          <a:bodyPr/>
          <a:lstStyle/>
          <a:p>
            <a:r>
              <a:rPr lang="en-US" dirty="0" smtClean="0"/>
              <a:t>What Role Can SPs Play to </a:t>
            </a:r>
            <a:br>
              <a:rPr lang="en-US" dirty="0" smtClean="0"/>
            </a:br>
            <a:r>
              <a:rPr lang="en-US" dirty="0" smtClean="0"/>
              <a:t>Help Enterprise Customers?</a:t>
            </a:r>
            <a:endParaRPr lang="en-US" dirty="0"/>
          </a:p>
        </p:txBody>
      </p:sp>
      <p:grpSp>
        <p:nvGrpSpPr>
          <p:cNvPr id="101" name="Group 100"/>
          <p:cNvGrpSpPr/>
          <p:nvPr/>
        </p:nvGrpSpPr>
        <p:grpSpPr>
          <a:xfrm>
            <a:off x="451344" y="2198688"/>
            <a:ext cx="8416431" cy="1819830"/>
            <a:chOff x="451344" y="2198688"/>
            <a:chExt cx="8416431" cy="1819830"/>
          </a:xfrm>
        </p:grpSpPr>
        <p:sp>
          <p:nvSpPr>
            <p:cNvPr id="93" name="Rectangle 92"/>
            <p:cNvSpPr/>
            <p:nvPr/>
          </p:nvSpPr>
          <p:spPr>
            <a:xfrm>
              <a:off x="7858125" y="3913920"/>
              <a:ext cx="1009650" cy="104598"/>
            </a:xfrm>
            <a:prstGeom prst="rect">
              <a:avLst/>
            </a:prstGeom>
            <a:solidFill>
              <a:srgbClr val="6F8F3C"/>
            </a:solidFill>
            <a:ln w="9525">
              <a:noFill/>
              <a:round/>
              <a:headEnd/>
              <a:tailEnd/>
            </a:ln>
          </p:spPr>
          <p:txBody>
            <a:bodyPr vert="horz" wrap="square" lIns="91440" tIns="45720" rIns="91440" bIns="45720" numCol="1" anchor="t" anchorCtr="0" compatLnSpc="1">
              <a:prstTxWarp prst="textNoShape">
                <a:avLst/>
              </a:prstTxWarp>
            </a:bodyPr>
            <a:lstStyle/>
            <a:p>
              <a:endParaRPr lang="en-US" dirty="0" smtClean="0">
                <a:solidFill>
                  <a:schemeClr val="tx1"/>
                </a:solidFill>
                <a:latin typeface="+mj-lt"/>
                <a:ea typeface="ＭＳ Ｐゴシック" pitchFamily="34" charset="-128"/>
              </a:endParaRPr>
            </a:p>
          </p:txBody>
        </p:sp>
        <p:sp>
          <p:nvSpPr>
            <p:cNvPr id="1053" name="Freeform 29"/>
            <p:cNvSpPr>
              <a:spLocks noEditPoints="1"/>
            </p:cNvSpPr>
            <p:nvPr/>
          </p:nvSpPr>
          <p:spPr bwMode="auto">
            <a:xfrm>
              <a:off x="1138724" y="2762852"/>
              <a:ext cx="365599" cy="125566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solidFill>
              <a:schemeClr val="accent6">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2" name="Group 28"/>
            <p:cNvGrpSpPr/>
            <p:nvPr/>
          </p:nvGrpSpPr>
          <p:grpSpPr>
            <a:xfrm>
              <a:off x="907732" y="3301639"/>
              <a:ext cx="301657" cy="716879"/>
              <a:chOff x="1790700" y="2979738"/>
              <a:chExt cx="539750" cy="1282700"/>
            </a:xfrm>
          </p:grpSpPr>
          <p:sp>
            <p:nvSpPr>
              <p:cNvPr id="1047" name="Rectangle 23"/>
              <p:cNvSpPr>
                <a:spLocks noChangeArrowheads="1"/>
              </p:cNvSpPr>
              <p:nvPr/>
            </p:nvSpPr>
            <p:spPr bwMode="auto">
              <a:xfrm>
                <a:off x="1790700" y="2986088"/>
                <a:ext cx="525463" cy="12763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8"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solidFill>
                <a:schemeClr val="accent1">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3" name="Group 58"/>
            <p:cNvGrpSpPr/>
            <p:nvPr/>
          </p:nvGrpSpPr>
          <p:grpSpPr>
            <a:xfrm>
              <a:off x="451344" y="2900624"/>
              <a:ext cx="502539" cy="1117894"/>
              <a:chOff x="50589" y="3098960"/>
              <a:chExt cx="550863" cy="1225389"/>
            </a:xfrm>
          </p:grpSpPr>
          <p:sp>
            <p:nvSpPr>
              <p:cNvPr id="1041"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solidFill>
                <a:schemeClr val="accent4">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0"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4" name="Group 56"/>
            <p:cNvGrpSpPr/>
            <p:nvPr/>
          </p:nvGrpSpPr>
          <p:grpSpPr>
            <a:xfrm>
              <a:off x="1436339" y="3284261"/>
              <a:ext cx="2870409" cy="734257"/>
              <a:chOff x="1130300" y="3522663"/>
              <a:chExt cx="3146425" cy="804862"/>
            </a:xfrm>
          </p:grpSpPr>
          <p:sp>
            <p:nvSpPr>
              <p:cNvPr id="1065"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solidFill>
                <a:srgbClr val="8DB54C"/>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66"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solidFill>
                <a:srgbClr val="049FD9"/>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5" name="Group 55"/>
            <p:cNvGrpSpPr/>
            <p:nvPr/>
          </p:nvGrpSpPr>
          <p:grpSpPr>
            <a:xfrm>
              <a:off x="4213209" y="3314674"/>
              <a:ext cx="1135885" cy="703844"/>
              <a:chOff x="4127500" y="2292350"/>
              <a:chExt cx="889000" cy="550863"/>
            </a:xfrm>
          </p:grpSpPr>
          <p:sp>
            <p:nvSpPr>
              <p:cNvPr id="52"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solidFill>
                <a:srgbClr val="63656A"/>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3"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solidFill>
                <a:srgbClr val="C6C7C9"/>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4"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solidFill>
                <a:srgbClr val="9D9DA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solidFill>
                <a:srgbClr val="E8EBF0"/>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094" name="Freeform 70"/>
            <p:cNvSpPr>
              <a:spLocks noEditPoints="1"/>
            </p:cNvSpPr>
            <p:nvPr/>
          </p:nvSpPr>
          <p:spPr bwMode="auto">
            <a:xfrm>
              <a:off x="6846414" y="2467529"/>
              <a:ext cx="442573" cy="1550989"/>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solidFill>
              <a:schemeClr val="accent4">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6" name="Group 89"/>
            <p:cNvGrpSpPr/>
            <p:nvPr/>
          </p:nvGrpSpPr>
          <p:grpSpPr>
            <a:xfrm>
              <a:off x="5349095" y="2909493"/>
              <a:ext cx="1542753" cy="1109025"/>
              <a:chOff x="5820057" y="3111857"/>
              <a:chExt cx="1691103" cy="1215668"/>
            </a:xfrm>
          </p:grpSpPr>
          <p:grpSp>
            <p:nvGrpSpPr>
              <p:cNvPr id="7" name="Group 81"/>
              <p:cNvGrpSpPr/>
              <p:nvPr/>
            </p:nvGrpSpPr>
            <p:grpSpPr>
              <a:xfrm>
                <a:off x="5850148" y="3367629"/>
                <a:ext cx="1642959" cy="959896"/>
                <a:chOff x="9172575" y="1344613"/>
                <a:chExt cx="1733551" cy="1012825"/>
              </a:xfrm>
              <a:solidFill>
                <a:schemeClr val="bg1"/>
              </a:solidFill>
            </p:grpSpPr>
            <p:sp>
              <p:nvSpPr>
                <p:cNvPr id="81" name="Rectangle 80"/>
                <p:cNvSpPr/>
                <p:nvPr/>
              </p:nvSpPr>
              <p:spPr>
                <a:xfrm>
                  <a:off x="9527381" y="1344613"/>
                  <a:ext cx="1226344" cy="32702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8" name="Group 79"/>
                <p:cNvGrpSpPr/>
                <p:nvPr/>
              </p:nvGrpSpPr>
              <p:grpSpPr>
                <a:xfrm>
                  <a:off x="9172575" y="1344613"/>
                  <a:ext cx="1733551" cy="1012825"/>
                  <a:chOff x="9172575" y="1344613"/>
                  <a:chExt cx="1733551" cy="1012825"/>
                </a:xfrm>
                <a:grpFill/>
              </p:grpSpPr>
              <p:sp>
                <p:nvSpPr>
                  <p:cNvPr id="1089"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9" name="Rectangle 78"/>
                  <p:cNvSpPr/>
                  <p:nvPr/>
                </p:nvSpPr>
                <p:spPr>
                  <a:xfrm>
                    <a:off x="9172575" y="1985963"/>
                    <a:ext cx="1454944" cy="37147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grpSp>
          <p:sp>
            <p:nvSpPr>
              <p:cNvPr id="89"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9" name="Group 116"/>
            <p:cNvGrpSpPr/>
            <p:nvPr/>
          </p:nvGrpSpPr>
          <p:grpSpPr>
            <a:xfrm>
              <a:off x="7291388" y="2198688"/>
              <a:ext cx="655637" cy="1819275"/>
              <a:chOff x="7291388" y="2198688"/>
              <a:chExt cx="655637" cy="1819275"/>
            </a:xfrm>
          </p:grpSpPr>
          <p:sp>
            <p:nvSpPr>
              <p:cNvPr id="55302"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solidFill>
                <a:srgbClr val="14A79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303"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solidFill>
                <a:srgbClr val="22C6AA"/>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sp>
        <p:nvSpPr>
          <p:cNvPr id="90" name="Rectangle 89"/>
          <p:cNvSpPr/>
          <p:nvPr/>
        </p:nvSpPr>
        <p:spPr>
          <a:xfrm>
            <a:off x="265430" y="1152009"/>
            <a:ext cx="2936509" cy="584775"/>
          </a:xfrm>
          <a:prstGeom prst="rect">
            <a:avLst/>
          </a:prstGeom>
          <a:solidFill>
            <a:schemeClr val="accent1"/>
          </a:solidFill>
        </p:spPr>
        <p:txBody>
          <a:bodyPr wrap="none">
            <a:spAutoFit/>
          </a:bodyPr>
          <a:lstStyle/>
          <a:p>
            <a:pPr algn="ctr"/>
            <a:r>
              <a:rPr lang="en-US" sz="1600" dirty="0" smtClean="0">
                <a:solidFill>
                  <a:schemeClr val="bg1"/>
                </a:solidFill>
                <a:latin typeface="+mj-lt"/>
              </a:rPr>
              <a:t>Securely Connect New Things</a:t>
            </a:r>
            <a:br>
              <a:rPr lang="en-US" sz="1600" dirty="0" smtClean="0">
                <a:solidFill>
                  <a:schemeClr val="bg1"/>
                </a:solidFill>
                <a:latin typeface="+mj-lt"/>
              </a:rPr>
            </a:br>
            <a:r>
              <a:rPr lang="en-US" sz="1600" dirty="0" smtClean="0">
                <a:solidFill>
                  <a:schemeClr val="bg1"/>
                </a:solidFill>
                <a:latin typeface="+mj-lt"/>
              </a:rPr>
              <a:t>with Cisco Access Solutions</a:t>
            </a:r>
          </a:p>
        </p:txBody>
      </p:sp>
      <p:sp>
        <p:nvSpPr>
          <p:cNvPr id="198" name="Rectangle 11"/>
          <p:cNvSpPr>
            <a:spLocks noChangeArrowheads="1"/>
          </p:cNvSpPr>
          <p:nvPr/>
        </p:nvSpPr>
        <p:spPr bwMode="auto">
          <a:xfrm>
            <a:off x="273050" y="4021515"/>
            <a:ext cx="8594723" cy="699710"/>
          </a:xfrm>
          <a:prstGeom prst="rect">
            <a:avLst/>
          </a:prstGeom>
          <a:solidFill>
            <a:schemeClr val="bg1"/>
          </a:solidFill>
          <a:ln w="9525">
            <a:noFill/>
            <a:miter lim="800000"/>
            <a:headEnd/>
            <a:tailEnd/>
          </a:ln>
        </p:spPr>
        <p:txBody>
          <a:bodyPr vert="horz" wrap="square" lIns="91440" tIns="45720" rIns="91440" bIns="45720" numCol="2" anchor="t" anchorCtr="0" compatLnSpc="1">
            <a:prstTxWarp prst="textNoShape">
              <a:avLst/>
            </a:prstTxWarp>
          </a:bodyPr>
          <a:lstStyle/>
          <a:p>
            <a:pPr marL="173736" indent="-173736">
              <a:lnSpc>
                <a:spcPct val="110000"/>
              </a:lnSpc>
              <a:spcBef>
                <a:spcPts val="200"/>
              </a:spcBef>
              <a:buFont typeface="Wingdings" panose="05000000000000000000" pitchFamily="2" charset="2"/>
              <a:buChar char="§"/>
            </a:pPr>
            <a:endParaRPr lang="en-US" sz="1400" dirty="0" smtClean="0">
              <a:solidFill>
                <a:schemeClr val="bg1"/>
              </a:solidFill>
              <a:latin typeface="+mj-lt"/>
            </a:endParaRPr>
          </a:p>
        </p:txBody>
      </p:sp>
      <p:grpSp>
        <p:nvGrpSpPr>
          <p:cNvPr id="10" name="Group 109"/>
          <p:cNvGrpSpPr/>
          <p:nvPr/>
        </p:nvGrpSpPr>
        <p:grpSpPr>
          <a:xfrm>
            <a:off x="451344" y="2198688"/>
            <a:ext cx="8416431" cy="1819830"/>
            <a:chOff x="603744" y="2351088"/>
            <a:chExt cx="8416431" cy="1819830"/>
          </a:xfrm>
          <a:solidFill>
            <a:schemeClr val="accent1">
              <a:lumMod val="20000"/>
              <a:lumOff val="80000"/>
              <a:alpha val="77000"/>
            </a:schemeClr>
          </a:solidFill>
        </p:grpSpPr>
        <p:sp>
          <p:nvSpPr>
            <p:cNvPr id="74" name="Rectangle 73"/>
            <p:cNvSpPr/>
            <p:nvPr/>
          </p:nvSpPr>
          <p:spPr>
            <a:xfrm>
              <a:off x="8010525" y="4066320"/>
              <a:ext cx="1009650" cy="104598"/>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smtClean="0">
                <a:solidFill>
                  <a:schemeClr val="tx1"/>
                </a:solidFill>
                <a:latin typeface="+mj-lt"/>
                <a:ea typeface="ＭＳ Ｐゴシック" pitchFamily="34" charset="-128"/>
              </a:endParaRPr>
            </a:p>
          </p:txBody>
        </p:sp>
        <p:sp>
          <p:nvSpPr>
            <p:cNvPr id="75" name="Freeform 29"/>
            <p:cNvSpPr>
              <a:spLocks noEditPoints="1"/>
            </p:cNvSpPr>
            <p:nvPr/>
          </p:nvSpPr>
          <p:spPr bwMode="auto">
            <a:xfrm>
              <a:off x="1291124" y="2915252"/>
              <a:ext cx="365599" cy="125566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1" name="Group 28"/>
            <p:cNvGrpSpPr/>
            <p:nvPr/>
          </p:nvGrpSpPr>
          <p:grpSpPr>
            <a:xfrm>
              <a:off x="1060132" y="3454039"/>
              <a:ext cx="301657" cy="716879"/>
              <a:chOff x="1790700" y="2979738"/>
              <a:chExt cx="539750" cy="1282700"/>
            </a:xfrm>
            <a:grpFill/>
          </p:grpSpPr>
          <p:sp>
            <p:nvSpPr>
              <p:cNvPr id="77" name="Rectangle 23"/>
              <p:cNvSpPr>
                <a:spLocks noChangeArrowheads="1"/>
              </p:cNvSpPr>
              <p:nvPr/>
            </p:nvSpPr>
            <p:spPr bwMode="auto">
              <a:xfrm>
                <a:off x="1790700" y="2986088"/>
                <a:ext cx="525463" cy="12763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8"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2" name="Group 58"/>
            <p:cNvGrpSpPr/>
            <p:nvPr/>
          </p:nvGrpSpPr>
          <p:grpSpPr>
            <a:xfrm>
              <a:off x="603744" y="3053024"/>
              <a:ext cx="502539" cy="1117894"/>
              <a:chOff x="50589" y="3098960"/>
              <a:chExt cx="550863" cy="1225389"/>
            </a:xfrm>
            <a:grpFill/>
          </p:grpSpPr>
          <p:sp>
            <p:nvSpPr>
              <p:cNvPr id="82"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3"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3" name="Group 56"/>
            <p:cNvGrpSpPr/>
            <p:nvPr/>
          </p:nvGrpSpPr>
          <p:grpSpPr>
            <a:xfrm>
              <a:off x="1588739" y="3436661"/>
              <a:ext cx="2870409" cy="734257"/>
              <a:chOff x="1130300" y="3522663"/>
              <a:chExt cx="3146425" cy="804862"/>
            </a:xfrm>
            <a:grpFill/>
          </p:grpSpPr>
          <p:sp>
            <p:nvSpPr>
              <p:cNvPr id="85"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6"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4" name="Group 55"/>
            <p:cNvGrpSpPr/>
            <p:nvPr/>
          </p:nvGrpSpPr>
          <p:grpSpPr>
            <a:xfrm>
              <a:off x="4365609" y="3467074"/>
              <a:ext cx="1135885" cy="703844"/>
              <a:chOff x="4127500" y="2292350"/>
              <a:chExt cx="889000" cy="550863"/>
            </a:xfrm>
            <a:grpFill/>
          </p:grpSpPr>
          <p:sp>
            <p:nvSpPr>
              <p:cNvPr id="88"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1"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2"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4"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96" name="Freeform 70"/>
            <p:cNvSpPr>
              <a:spLocks noEditPoints="1"/>
            </p:cNvSpPr>
            <p:nvPr/>
          </p:nvSpPr>
          <p:spPr bwMode="auto">
            <a:xfrm>
              <a:off x="6998814" y="2619929"/>
              <a:ext cx="442573" cy="1550989"/>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5" name="Group 89"/>
            <p:cNvGrpSpPr/>
            <p:nvPr/>
          </p:nvGrpSpPr>
          <p:grpSpPr>
            <a:xfrm>
              <a:off x="5501495" y="3061893"/>
              <a:ext cx="1542753" cy="1109025"/>
              <a:chOff x="5820057" y="3111857"/>
              <a:chExt cx="1691103" cy="1215668"/>
            </a:xfrm>
            <a:grpFill/>
          </p:grpSpPr>
          <p:grpSp>
            <p:nvGrpSpPr>
              <p:cNvPr id="16" name="Group 81"/>
              <p:cNvGrpSpPr/>
              <p:nvPr/>
            </p:nvGrpSpPr>
            <p:grpSpPr>
              <a:xfrm>
                <a:off x="5850148" y="3367629"/>
                <a:ext cx="1642959" cy="959896"/>
                <a:chOff x="9172575" y="1344613"/>
                <a:chExt cx="1733551" cy="1012825"/>
              </a:xfrm>
              <a:grpFill/>
            </p:grpSpPr>
            <p:sp>
              <p:nvSpPr>
                <p:cNvPr id="100" name="Rectangle 99"/>
                <p:cNvSpPr/>
                <p:nvPr/>
              </p:nvSpPr>
              <p:spPr>
                <a:xfrm>
                  <a:off x="9527381" y="1344613"/>
                  <a:ext cx="1226344" cy="32702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17" name="Group 79"/>
                <p:cNvGrpSpPr/>
                <p:nvPr/>
              </p:nvGrpSpPr>
              <p:grpSpPr>
                <a:xfrm>
                  <a:off x="9172575" y="1344613"/>
                  <a:ext cx="1733551" cy="1012825"/>
                  <a:chOff x="9172575" y="1344613"/>
                  <a:chExt cx="1733551" cy="1012825"/>
                </a:xfrm>
                <a:grpFill/>
              </p:grpSpPr>
              <p:sp>
                <p:nvSpPr>
                  <p:cNvPr id="102"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 name="Rectangle 103"/>
                  <p:cNvSpPr/>
                  <p:nvPr/>
                </p:nvSpPr>
                <p:spPr>
                  <a:xfrm>
                    <a:off x="9172575" y="1985963"/>
                    <a:ext cx="1454944" cy="37147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grpSp>
          <p:sp>
            <p:nvSpPr>
              <p:cNvPr id="99"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8" name="Group 116"/>
            <p:cNvGrpSpPr/>
            <p:nvPr/>
          </p:nvGrpSpPr>
          <p:grpSpPr>
            <a:xfrm>
              <a:off x="7443788" y="2351088"/>
              <a:ext cx="655637" cy="1819275"/>
              <a:chOff x="7291388" y="2198688"/>
              <a:chExt cx="655637" cy="1819275"/>
            </a:xfrm>
            <a:grpFill/>
          </p:grpSpPr>
          <p:sp>
            <p:nvSpPr>
              <p:cNvPr id="108"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sp>
        <p:nvSpPr>
          <p:cNvPr id="112" name="Oval 2"/>
          <p:cNvSpPr/>
          <p:nvPr/>
        </p:nvSpPr>
        <p:spPr>
          <a:xfrm>
            <a:off x="305857" y="3238486"/>
            <a:ext cx="1691133" cy="845567"/>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3" name="Oval 2"/>
          <p:cNvSpPr/>
          <p:nvPr/>
        </p:nvSpPr>
        <p:spPr>
          <a:xfrm>
            <a:off x="2727960" y="1672668"/>
            <a:ext cx="5608320" cy="2411385"/>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4" name="Oval 2"/>
          <p:cNvSpPr/>
          <p:nvPr/>
        </p:nvSpPr>
        <p:spPr>
          <a:xfrm>
            <a:off x="1173545" y="2621605"/>
            <a:ext cx="2924894" cy="1462448"/>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5" name="Oval 2"/>
          <p:cNvSpPr/>
          <p:nvPr/>
        </p:nvSpPr>
        <p:spPr>
          <a:xfrm>
            <a:off x="6323146" y="3314674"/>
            <a:ext cx="1538757" cy="769379"/>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6" name="Oval 2"/>
          <p:cNvSpPr/>
          <p:nvPr/>
        </p:nvSpPr>
        <p:spPr>
          <a:xfrm>
            <a:off x="7649227" y="3472873"/>
            <a:ext cx="1222357" cy="611179"/>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2" name="Group 131"/>
          <p:cNvGrpSpPr/>
          <p:nvPr/>
        </p:nvGrpSpPr>
        <p:grpSpPr>
          <a:xfrm>
            <a:off x="682652" y="2522287"/>
            <a:ext cx="679152" cy="679152"/>
            <a:chOff x="682652" y="2569917"/>
            <a:chExt cx="679152" cy="679152"/>
          </a:xfrm>
        </p:grpSpPr>
        <p:sp>
          <p:nvSpPr>
            <p:cNvPr id="133" name="Teardrop 132"/>
            <p:cNvSpPr/>
            <p:nvPr/>
          </p:nvSpPr>
          <p:spPr>
            <a:xfrm rot="8100000">
              <a:off x="682652" y="2569917"/>
              <a:ext cx="679152" cy="679152"/>
            </a:xfrm>
            <a:prstGeom prst="teardrop">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36" name="Rectangle 135"/>
            <p:cNvSpPr/>
            <p:nvPr/>
          </p:nvSpPr>
          <p:spPr>
            <a:xfrm>
              <a:off x="737676" y="2694049"/>
              <a:ext cx="569105" cy="430887"/>
            </a:xfrm>
            <a:prstGeom prst="rect">
              <a:avLst/>
            </a:prstGeom>
          </p:spPr>
          <p:txBody>
            <a:bodyPr wrap="square">
              <a:spAutoFit/>
            </a:bodyPr>
            <a:lstStyle/>
            <a:p>
              <a:pPr algn="ctr"/>
              <a:r>
                <a:rPr lang="en-US" sz="1100" b="1" dirty="0" err="1" smtClean="0">
                  <a:solidFill>
                    <a:schemeClr val="bg1"/>
                  </a:solidFill>
                  <a:latin typeface="+mj-lt"/>
                </a:rPr>
                <a:t>LoRa</a:t>
              </a:r>
              <a:endParaRPr lang="en-US" sz="1100" b="1" dirty="0" smtClean="0">
                <a:solidFill>
                  <a:schemeClr val="bg1"/>
                </a:solidFill>
                <a:latin typeface="+mj-lt"/>
              </a:endParaRPr>
            </a:p>
            <a:p>
              <a:pPr algn="ctr"/>
              <a:r>
                <a:rPr lang="en-US" sz="1100" b="1" dirty="0" smtClean="0">
                  <a:solidFill>
                    <a:schemeClr val="bg1"/>
                  </a:solidFill>
                  <a:latin typeface="+mj-lt"/>
                </a:rPr>
                <a:t>WAN</a:t>
              </a:r>
              <a:endParaRPr lang="en-US" sz="1100" b="1" dirty="0">
                <a:solidFill>
                  <a:schemeClr val="bg1"/>
                </a:solidFill>
                <a:latin typeface="+mj-lt"/>
              </a:endParaRPr>
            </a:p>
          </p:txBody>
        </p:sp>
      </p:grpSp>
      <p:grpSp>
        <p:nvGrpSpPr>
          <p:cNvPr id="23" name="Group 138"/>
          <p:cNvGrpSpPr/>
          <p:nvPr/>
        </p:nvGrpSpPr>
        <p:grpSpPr>
          <a:xfrm>
            <a:off x="2200275" y="2232174"/>
            <a:ext cx="679152" cy="679152"/>
            <a:chOff x="2209800" y="1885950"/>
            <a:chExt cx="679152" cy="679152"/>
          </a:xfrm>
        </p:grpSpPr>
        <p:sp>
          <p:nvSpPr>
            <p:cNvPr id="142" name="Teardrop 141"/>
            <p:cNvSpPr/>
            <p:nvPr/>
          </p:nvSpPr>
          <p:spPr>
            <a:xfrm rot="8100000">
              <a:off x="2209800" y="1885950"/>
              <a:ext cx="679152" cy="679152"/>
            </a:xfrm>
            <a:prstGeom prst="teardrop">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45" name="Rectangle 144"/>
            <p:cNvSpPr/>
            <p:nvPr/>
          </p:nvSpPr>
          <p:spPr>
            <a:xfrm>
              <a:off x="2264824" y="2094721"/>
              <a:ext cx="569105" cy="261610"/>
            </a:xfrm>
            <a:prstGeom prst="rect">
              <a:avLst/>
            </a:prstGeom>
          </p:spPr>
          <p:txBody>
            <a:bodyPr wrap="square">
              <a:spAutoFit/>
            </a:bodyPr>
            <a:lstStyle/>
            <a:p>
              <a:pPr algn="ctr"/>
              <a:r>
                <a:rPr lang="en-US" sz="1100" b="1" dirty="0" smtClean="0">
                  <a:solidFill>
                    <a:schemeClr val="bg1"/>
                  </a:solidFill>
                  <a:latin typeface="+mj-lt"/>
                </a:rPr>
                <a:t>Wi-Fi</a:t>
              </a:r>
            </a:p>
          </p:txBody>
        </p:sp>
      </p:grpSp>
      <p:grpSp>
        <p:nvGrpSpPr>
          <p:cNvPr id="24" name="Group 145"/>
          <p:cNvGrpSpPr/>
          <p:nvPr/>
        </p:nvGrpSpPr>
        <p:grpSpPr>
          <a:xfrm>
            <a:off x="5117803" y="1336675"/>
            <a:ext cx="692448" cy="679152"/>
            <a:chOff x="2203153" y="1885950"/>
            <a:chExt cx="692448" cy="679152"/>
          </a:xfrm>
        </p:grpSpPr>
        <p:sp>
          <p:nvSpPr>
            <p:cNvPr id="148" name="Teardrop 147"/>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49" name="Rectangle 148"/>
            <p:cNvSpPr/>
            <p:nvPr/>
          </p:nvSpPr>
          <p:spPr>
            <a:xfrm>
              <a:off x="2203153" y="2051854"/>
              <a:ext cx="692448" cy="430887"/>
            </a:xfrm>
            <a:prstGeom prst="rect">
              <a:avLst/>
            </a:prstGeom>
          </p:spPr>
          <p:txBody>
            <a:bodyPr wrap="square">
              <a:spAutoFit/>
            </a:bodyPr>
            <a:lstStyle/>
            <a:p>
              <a:pPr algn="ctr"/>
              <a:r>
                <a:rPr lang="en-US" sz="1100" b="1" dirty="0" smtClean="0">
                  <a:solidFill>
                    <a:schemeClr val="bg1"/>
                  </a:solidFill>
                  <a:latin typeface="+mj-lt"/>
                </a:rPr>
                <a:t>2G, 3G,</a:t>
              </a:r>
              <a:br>
                <a:rPr lang="en-US" sz="1100" b="1" dirty="0" smtClean="0">
                  <a:solidFill>
                    <a:schemeClr val="bg1"/>
                  </a:solidFill>
                  <a:latin typeface="+mj-lt"/>
                </a:rPr>
              </a:br>
              <a:r>
                <a:rPr lang="en-US" sz="1100" b="1" dirty="0" smtClean="0">
                  <a:solidFill>
                    <a:schemeClr val="bg1"/>
                  </a:solidFill>
                  <a:latin typeface="+mj-lt"/>
                </a:rPr>
                <a:t>LTE</a:t>
              </a:r>
            </a:p>
          </p:txBody>
        </p:sp>
      </p:grpSp>
      <p:grpSp>
        <p:nvGrpSpPr>
          <p:cNvPr id="25" name="Group 149"/>
          <p:cNvGrpSpPr/>
          <p:nvPr/>
        </p:nvGrpSpPr>
        <p:grpSpPr>
          <a:xfrm>
            <a:off x="6753225" y="2499360"/>
            <a:ext cx="692448" cy="679152"/>
            <a:chOff x="2203153" y="1885950"/>
            <a:chExt cx="692448" cy="679152"/>
          </a:xfrm>
        </p:grpSpPr>
        <p:sp>
          <p:nvSpPr>
            <p:cNvPr id="151" name="Teardrop 150"/>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52" name="Rectangle 151"/>
            <p:cNvSpPr/>
            <p:nvPr/>
          </p:nvSpPr>
          <p:spPr>
            <a:xfrm>
              <a:off x="2203153" y="2006134"/>
              <a:ext cx="692448" cy="430887"/>
            </a:xfrm>
            <a:prstGeom prst="rect">
              <a:avLst/>
            </a:prstGeom>
          </p:spPr>
          <p:txBody>
            <a:bodyPr wrap="square">
              <a:spAutoFit/>
            </a:bodyPr>
            <a:lstStyle/>
            <a:p>
              <a:pPr algn="ctr"/>
              <a:r>
                <a:rPr lang="en-US" sz="1100" b="1" spc="-30" dirty="0" smtClean="0">
                  <a:solidFill>
                    <a:schemeClr val="bg1"/>
                  </a:solidFill>
                  <a:latin typeface="+mj-lt"/>
                </a:rPr>
                <a:t>LTE/</a:t>
              </a:r>
              <a:br>
                <a:rPr lang="en-US" sz="1100" b="1" spc="-30" dirty="0" smtClean="0">
                  <a:solidFill>
                    <a:schemeClr val="bg1"/>
                  </a:solidFill>
                  <a:latin typeface="+mj-lt"/>
                </a:rPr>
              </a:br>
              <a:r>
                <a:rPr lang="en-US" sz="1100" b="1" spc="-30" dirty="0" smtClean="0">
                  <a:solidFill>
                    <a:schemeClr val="bg1"/>
                  </a:solidFill>
                  <a:latin typeface="+mj-lt"/>
                </a:rPr>
                <a:t>CAT-M1</a:t>
              </a:r>
            </a:p>
          </p:txBody>
        </p:sp>
      </p:grpSp>
      <p:grpSp>
        <p:nvGrpSpPr>
          <p:cNvPr id="26" name="Group 152"/>
          <p:cNvGrpSpPr/>
          <p:nvPr/>
        </p:nvGrpSpPr>
        <p:grpSpPr>
          <a:xfrm>
            <a:off x="7941648" y="2659380"/>
            <a:ext cx="692448" cy="679152"/>
            <a:chOff x="2203153" y="1885950"/>
            <a:chExt cx="692448" cy="679152"/>
          </a:xfrm>
        </p:grpSpPr>
        <p:sp>
          <p:nvSpPr>
            <p:cNvPr id="155" name="Teardrop 154"/>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56" name="Rectangle 155"/>
            <p:cNvSpPr/>
            <p:nvPr/>
          </p:nvSpPr>
          <p:spPr>
            <a:xfrm>
              <a:off x="2203153" y="2112814"/>
              <a:ext cx="692448" cy="261610"/>
            </a:xfrm>
            <a:prstGeom prst="rect">
              <a:avLst/>
            </a:prstGeom>
          </p:spPr>
          <p:txBody>
            <a:bodyPr wrap="square">
              <a:spAutoFit/>
            </a:bodyPr>
            <a:lstStyle/>
            <a:p>
              <a:pPr algn="ctr"/>
              <a:r>
                <a:rPr lang="en-US" sz="1100" b="1" spc="-30" dirty="0" smtClean="0">
                  <a:solidFill>
                    <a:schemeClr val="bg1"/>
                  </a:solidFill>
                  <a:latin typeface="+mj-lt"/>
                </a:rPr>
                <a:t>NB-</a:t>
              </a:r>
              <a:r>
                <a:rPr lang="en-US" sz="1100" b="1" spc="-30" dirty="0" err="1" smtClean="0">
                  <a:solidFill>
                    <a:schemeClr val="bg1"/>
                  </a:solidFill>
                  <a:latin typeface="+mj-lt"/>
                </a:rPr>
                <a:t>IoT</a:t>
              </a:r>
              <a:endParaRPr lang="en-US" sz="1100" b="1" spc="-30" dirty="0" smtClean="0">
                <a:solidFill>
                  <a:schemeClr val="bg1"/>
                </a:solidFill>
                <a:latin typeface="+mj-lt"/>
              </a:endParaRPr>
            </a:p>
          </p:txBody>
        </p:sp>
      </p:grpSp>
      <p:grpSp>
        <p:nvGrpSpPr>
          <p:cNvPr id="29" name="Group 198"/>
          <p:cNvGrpSpPr/>
          <p:nvPr/>
        </p:nvGrpSpPr>
        <p:grpSpPr>
          <a:xfrm>
            <a:off x="167034" y="4021515"/>
            <a:ext cx="8870950" cy="712232"/>
            <a:chOff x="273050" y="4008993"/>
            <a:chExt cx="8507034" cy="712232"/>
          </a:xfrm>
          <a:solidFill>
            <a:schemeClr val="accent1"/>
          </a:solidFill>
        </p:grpSpPr>
        <p:sp>
          <p:nvSpPr>
            <p:cNvPr id="103" name="Rectangle 11"/>
            <p:cNvSpPr>
              <a:spLocks noChangeArrowheads="1"/>
            </p:cNvSpPr>
            <p:nvPr/>
          </p:nvSpPr>
          <p:spPr bwMode="auto">
            <a:xfrm>
              <a:off x="273050" y="4008993"/>
              <a:ext cx="8507034" cy="712232"/>
            </a:xfrm>
            <a:prstGeom prst="rect">
              <a:avLst/>
            </a:prstGeom>
            <a:grpFill/>
            <a:ln w="9525">
              <a:noFill/>
              <a:miter lim="800000"/>
              <a:headEnd/>
              <a:tailEnd/>
            </a:ln>
          </p:spPr>
          <p:txBody>
            <a:bodyPr vert="horz" wrap="square" lIns="91440" tIns="45720" rIns="91440" bIns="45720" numCol="2" anchor="t" anchorCtr="0" compatLnSpc="1">
              <a:prstTxWarp prst="textNoShape">
                <a:avLst/>
              </a:prstTxWarp>
            </a:bodyPr>
            <a:lstStyle/>
            <a:p>
              <a:pPr marL="173736" indent="-173736">
                <a:lnSpc>
                  <a:spcPct val="110000"/>
                </a:lnSpc>
                <a:spcBef>
                  <a:spcPts val="200"/>
                </a:spcBef>
                <a:buFont typeface="Wingdings" panose="05000000000000000000" pitchFamily="2" charset="2"/>
                <a:buChar char="§"/>
              </a:pPr>
              <a:endParaRPr lang="en-US" sz="1400" dirty="0" smtClean="0">
                <a:solidFill>
                  <a:schemeClr val="bg1"/>
                </a:solidFill>
                <a:latin typeface="+mj-lt"/>
              </a:endParaRPr>
            </a:p>
          </p:txBody>
        </p:sp>
        <p:sp>
          <p:nvSpPr>
            <p:cNvPr id="106" name="Rectangle 105"/>
            <p:cNvSpPr/>
            <p:nvPr/>
          </p:nvSpPr>
          <p:spPr>
            <a:xfrm>
              <a:off x="530318" y="4255079"/>
              <a:ext cx="8037771" cy="236988"/>
            </a:xfrm>
            <a:prstGeom prst="rect">
              <a:avLst/>
            </a:prstGeom>
            <a:grpFill/>
          </p:spPr>
          <p:txBody>
            <a:bodyPr wrap="square" lIns="0" tIns="0" rIns="0" bIns="0" numCol="2" spcCol="45720">
              <a:spAutoFit/>
            </a:bodyPr>
            <a:lstStyle/>
            <a:p>
              <a:pPr marL="173736" indent="-173736">
                <a:lnSpc>
                  <a:spcPct val="110000"/>
                </a:lnSpc>
                <a:spcBef>
                  <a:spcPts val="200"/>
                </a:spcBef>
                <a:buFont typeface="Wingdings" panose="05000000000000000000" pitchFamily="2" charset="2"/>
                <a:buChar char="§"/>
              </a:pPr>
              <a:r>
                <a:rPr lang="en-US" sz="1400" dirty="0" smtClean="0">
                  <a:solidFill>
                    <a:schemeClr val="bg1"/>
                  </a:solidFill>
                  <a:latin typeface="+mj-lt"/>
                </a:rPr>
                <a:t>Access Network Fragmentation a Reality</a:t>
              </a:r>
            </a:p>
            <a:p>
              <a:pPr marL="173736" indent="-173736">
                <a:lnSpc>
                  <a:spcPct val="110000"/>
                </a:lnSpc>
                <a:spcBef>
                  <a:spcPts val="200"/>
                </a:spcBef>
                <a:buFont typeface="Wingdings" panose="05000000000000000000" pitchFamily="2" charset="2"/>
                <a:buChar char="§"/>
              </a:pPr>
              <a:r>
                <a:rPr lang="en-US" sz="1400" dirty="0" smtClean="0">
                  <a:solidFill>
                    <a:schemeClr val="bg1"/>
                  </a:solidFill>
                  <a:latin typeface="+mj-lt"/>
                </a:rPr>
                <a:t>SPs Must Offer Customers Choices</a:t>
              </a:r>
            </a:p>
          </p:txBody>
        </p:sp>
      </p:grpSp>
      <p:grpSp>
        <p:nvGrpSpPr>
          <p:cNvPr id="110" name="Group 109"/>
          <p:cNvGrpSpPr/>
          <p:nvPr/>
        </p:nvGrpSpPr>
        <p:grpSpPr>
          <a:xfrm>
            <a:off x="2965904" y="3429940"/>
            <a:ext cx="548640" cy="548640"/>
            <a:chOff x="2965904" y="3429940"/>
            <a:chExt cx="548640" cy="548640"/>
          </a:xfrm>
        </p:grpSpPr>
        <p:sp>
          <p:nvSpPr>
            <p:cNvPr id="165" name="Oval 164"/>
            <p:cNvSpPr/>
            <p:nvPr/>
          </p:nvSpPr>
          <p:spPr>
            <a:xfrm>
              <a:off x="2965904" y="3429940"/>
              <a:ext cx="548640" cy="548640"/>
            </a:xfrm>
            <a:prstGeom prst="ellipse">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07" name="Freeform 5"/>
            <p:cNvSpPr>
              <a:spLocks noEditPoints="1"/>
            </p:cNvSpPr>
            <p:nvPr/>
          </p:nvSpPr>
          <p:spPr bwMode="auto">
            <a:xfrm>
              <a:off x="3080284" y="3571038"/>
              <a:ext cx="319880" cy="266445"/>
            </a:xfrm>
            <a:custGeom>
              <a:avLst/>
              <a:gdLst/>
              <a:ahLst/>
              <a:cxnLst>
                <a:cxn ang="0">
                  <a:pos x="1365" y="442"/>
                </a:cxn>
                <a:cxn ang="0">
                  <a:pos x="1451" y="213"/>
                </a:cxn>
                <a:cxn ang="0">
                  <a:pos x="1536" y="128"/>
                </a:cxn>
                <a:cxn ang="0">
                  <a:pos x="1365" y="85"/>
                </a:cxn>
                <a:cxn ang="0">
                  <a:pos x="1280" y="42"/>
                </a:cxn>
                <a:cxn ang="0">
                  <a:pos x="768" y="435"/>
                </a:cxn>
                <a:cxn ang="0">
                  <a:pos x="853" y="213"/>
                </a:cxn>
                <a:cxn ang="0">
                  <a:pos x="939" y="128"/>
                </a:cxn>
                <a:cxn ang="0">
                  <a:pos x="768" y="85"/>
                </a:cxn>
                <a:cxn ang="0">
                  <a:pos x="683" y="42"/>
                </a:cxn>
                <a:cxn ang="0">
                  <a:pos x="97" y="589"/>
                </a:cxn>
                <a:cxn ang="0">
                  <a:pos x="97" y="1544"/>
                </a:cxn>
                <a:cxn ang="0">
                  <a:pos x="1150" y="1704"/>
                </a:cxn>
                <a:cxn ang="0">
                  <a:pos x="1729" y="1630"/>
                </a:cxn>
                <a:cxn ang="0">
                  <a:pos x="2048" y="725"/>
                </a:cxn>
                <a:cxn ang="0">
                  <a:pos x="1707" y="585"/>
                </a:cxn>
                <a:cxn ang="0">
                  <a:pos x="1334" y="793"/>
                </a:cxn>
                <a:cxn ang="0">
                  <a:pos x="1024" y="512"/>
                </a:cxn>
                <a:cxn ang="0">
                  <a:pos x="1024" y="768"/>
                </a:cxn>
                <a:cxn ang="0">
                  <a:pos x="1024" y="512"/>
                </a:cxn>
                <a:cxn ang="0">
                  <a:pos x="829" y="777"/>
                </a:cxn>
                <a:cxn ang="0">
                  <a:pos x="274" y="605"/>
                </a:cxn>
                <a:cxn ang="0">
                  <a:pos x="85" y="1408"/>
                </a:cxn>
                <a:cxn ang="0">
                  <a:pos x="299" y="1291"/>
                </a:cxn>
                <a:cxn ang="0">
                  <a:pos x="208" y="1168"/>
                </a:cxn>
                <a:cxn ang="0">
                  <a:pos x="146" y="891"/>
                </a:cxn>
                <a:cxn ang="0">
                  <a:pos x="208" y="826"/>
                </a:cxn>
                <a:cxn ang="0">
                  <a:pos x="563" y="864"/>
                </a:cxn>
                <a:cxn ang="0">
                  <a:pos x="208" y="826"/>
                </a:cxn>
                <a:cxn ang="0">
                  <a:pos x="384" y="1312"/>
                </a:cxn>
                <a:cxn ang="0">
                  <a:pos x="725" y="1270"/>
                </a:cxn>
                <a:cxn ang="0">
                  <a:pos x="725" y="1015"/>
                </a:cxn>
                <a:cxn ang="0">
                  <a:pos x="811" y="1615"/>
                </a:cxn>
                <a:cxn ang="0">
                  <a:pos x="853" y="1617"/>
                </a:cxn>
                <a:cxn ang="0">
                  <a:pos x="939" y="1620"/>
                </a:cxn>
                <a:cxn ang="0">
                  <a:pos x="1109" y="1364"/>
                </a:cxn>
                <a:cxn ang="0">
                  <a:pos x="1195" y="1617"/>
                </a:cxn>
                <a:cxn ang="0">
                  <a:pos x="1237" y="1615"/>
                </a:cxn>
                <a:cxn ang="0">
                  <a:pos x="811" y="1275"/>
                </a:cxn>
                <a:cxn ang="0">
                  <a:pos x="1237" y="1019"/>
                </a:cxn>
                <a:cxn ang="0">
                  <a:pos x="758" y="919"/>
                </a:cxn>
                <a:cxn ang="0">
                  <a:pos x="1024" y="853"/>
                </a:cxn>
                <a:cxn ang="0">
                  <a:pos x="1290" y="919"/>
                </a:cxn>
                <a:cxn ang="0">
                  <a:pos x="1323" y="1609"/>
                </a:cxn>
                <a:cxn ang="0">
                  <a:pos x="1664" y="1558"/>
                </a:cxn>
                <a:cxn ang="0">
                  <a:pos x="1323" y="1015"/>
                </a:cxn>
                <a:cxn ang="0">
                  <a:pos x="1698" y="875"/>
                </a:cxn>
                <a:cxn ang="0">
                  <a:pos x="1493" y="896"/>
                </a:cxn>
                <a:cxn ang="0">
                  <a:pos x="1963" y="725"/>
                </a:cxn>
                <a:cxn ang="0">
                  <a:pos x="1749" y="949"/>
                </a:cxn>
                <a:cxn ang="0">
                  <a:pos x="1963" y="1066"/>
                </a:cxn>
                <a:cxn ang="0">
                  <a:pos x="1749" y="949"/>
                </a:cxn>
                <a:cxn ang="0">
                  <a:pos x="1749" y="1291"/>
                </a:cxn>
                <a:cxn ang="0">
                  <a:pos x="1963" y="1408"/>
                </a:cxn>
              </a:cxnLst>
              <a:rect l="0" t="0" r="r" b="b"/>
              <a:pathLst>
                <a:path w="2048" h="1706">
                  <a:moveTo>
                    <a:pt x="1951" y="589"/>
                  </a:moveTo>
                  <a:cubicBezTo>
                    <a:pt x="1898" y="556"/>
                    <a:pt x="1823" y="527"/>
                    <a:pt x="1729" y="503"/>
                  </a:cubicBezTo>
                  <a:cubicBezTo>
                    <a:pt x="1624" y="475"/>
                    <a:pt x="1500" y="455"/>
                    <a:pt x="1365" y="442"/>
                  </a:cubicBezTo>
                  <a:cubicBezTo>
                    <a:pt x="1365" y="170"/>
                    <a:pt x="1365" y="170"/>
                    <a:pt x="1365" y="170"/>
                  </a:cubicBezTo>
                  <a:cubicBezTo>
                    <a:pt x="1408" y="170"/>
                    <a:pt x="1408" y="170"/>
                    <a:pt x="1408" y="170"/>
                  </a:cubicBezTo>
                  <a:cubicBezTo>
                    <a:pt x="1408" y="194"/>
                    <a:pt x="1427" y="213"/>
                    <a:pt x="1451" y="213"/>
                  </a:cubicBezTo>
                  <a:cubicBezTo>
                    <a:pt x="1536" y="213"/>
                    <a:pt x="1536" y="213"/>
                    <a:pt x="1536" y="213"/>
                  </a:cubicBezTo>
                  <a:cubicBezTo>
                    <a:pt x="1560" y="213"/>
                    <a:pt x="1579" y="194"/>
                    <a:pt x="1579" y="170"/>
                  </a:cubicBezTo>
                  <a:cubicBezTo>
                    <a:pt x="1579" y="147"/>
                    <a:pt x="1560" y="128"/>
                    <a:pt x="1536" y="128"/>
                  </a:cubicBezTo>
                  <a:cubicBezTo>
                    <a:pt x="1493" y="128"/>
                    <a:pt x="1493" y="128"/>
                    <a:pt x="1493" y="128"/>
                  </a:cubicBezTo>
                  <a:cubicBezTo>
                    <a:pt x="1493" y="104"/>
                    <a:pt x="1474" y="85"/>
                    <a:pt x="1451" y="85"/>
                  </a:cubicBezTo>
                  <a:cubicBezTo>
                    <a:pt x="1365" y="85"/>
                    <a:pt x="1365" y="85"/>
                    <a:pt x="1365" y="85"/>
                  </a:cubicBezTo>
                  <a:cubicBezTo>
                    <a:pt x="1365" y="42"/>
                    <a:pt x="1365" y="42"/>
                    <a:pt x="1365" y="42"/>
                  </a:cubicBezTo>
                  <a:cubicBezTo>
                    <a:pt x="1365" y="19"/>
                    <a:pt x="1346" y="0"/>
                    <a:pt x="1323" y="0"/>
                  </a:cubicBezTo>
                  <a:cubicBezTo>
                    <a:pt x="1299" y="0"/>
                    <a:pt x="1280" y="19"/>
                    <a:pt x="1280" y="42"/>
                  </a:cubicBezTo>
                  <a:cubicBezTo>
                    <a:pt x="1280" y="435"/>
                    <a:pt x="1280" y="435"/>
                    <a:pt x="1280" y="435"/>
                  </a:cubicBezTo>
                  <a:cubicBezTo>
                    <a:pt x="1197" y="429"/>
                    <a:pt x="1112" y="426"/>
                    <a:pt x="1024" y="426"/>
                  </a:cubicBezTo>
                  <a:cubicBezTo>
                    <a:pt x="936" y="426"/>
                    <a:pt x="851" y="429"/>
                    <a:pt x="768" y="435"/>
                  </a:cubicBezTo>
                  <a:cubicBezTo>
                    <a:pt x="768" y="170"/>
                    <a:pt x="768" y="170"/>
                    <a:pt x="768" y="170"/>
                  </a:cubicBezTo>
                  <a:cubicBezTo>
                    <a:pt x="811" y="170"/>
                    <a:pt x="811" y="170"/>
                    <a:pt x="811" y="170"/>
                  </a:cubicBezTo>
                  <a:cubicBezTo>
                    <a:pt x="811" y="194"/>
                    <a:pt x="830" y="213"/>
                    <a:pt x="853" y="213"/>
                  </a:cubicBezTo>
                  <a:cubicBezTo>
                    <a:pt x="939" y="213"/>
                    <a:pt x="939" y="213"/>
                    <a:pt x="939" y="213"/>
                  </a:cubicBezTo>
                  <a:cubicBezTo>
                    <a:pt x="962" y="213"/>
                    <a:pt x="981" y="194"/>
                    <a:pt x="981" y="170"/>
                  </a:cubicBezTo>
                  <a:cubicBezTo>
                    <a:pt x="981" y="147"/>
                    <a:pt x="962" y="128"/>
                    <a:pt x="939" y="128"/>
                  </a:cubicBezTo>
                  <a:cubicBezTo>
                    <a:pt x="896" y="128"/>
                    <a:pt x="896" y="128"/>
                    <a:pt x="896" y="128"/>
                  </a:cubicBezTo>
                  <a:cubicBezTo>
                    <a:pt x="896" y="104"/>
                    <a:pt x="877" y="85"/>
                    <a:pt x="853" y="85"/>
                  </a:cubicBezTo>
                  <a:cubicBezTo>
                    <a:pt x="768" y="85"/>
                    <a:pt x="768" y="85"/>
                    <a:pt x="768" y="85"/>
                  </a:cubicBezTo>
                  <a:cubicBezTo>
                    <a:pt x="768" y="42"/>
                    <a:pt x="768" y="42"/>
                    <a:pt x="768" y="42"/>
                  </a:cubicBezTo>
                  <a:cubicBezTo>
                    <a:pt x="768" y="19"/>
                    <a:pt x="749" y="0"/>
                    <a:pt x="725" y="0"/>
                  </a:cubicBezTo>
                  <a:cubicBezTo>
                    <a:pt x="702" y="0"/>
                    <a:pt x="683" y="19"/>
                    <a:pt x="683" y="42"/>
                  </a:cubicBezTo>
                  <a:cubicBezTo>
                    <a:pt x="683" y="442"/>
                    <a:pt x="683" y="442"/>
                    <a:pt x="683" y="442"/>
                  </a:cubicBezTo>
                  <a:cubicBezTo>
                    <a:pt x="548" y="455"/>
                    <a:pt x="424" y="475"/>
                    <a:pt x="319" y="503"/>
                  </a:cubicBezTo>
                  <a:cubicBezTo>
                    <a:pt x="225" y="527"/>
                    <a:pt x="150" y="556"/>
                    <a:pt x="97" y="589"/>
                  </a:cubicBezTo>
                  <a:cubicBezTo>
                    <a:pt x="33" y="629"/>
                    <a:pt x="0" y="675"/>
                    <a:pt x="0" y="725"/>
                  </a:cubicBezTo>
                  <a:cubicBezTo>
                    <a:pt x="0" y="1408"/>
                    <a:pt x="0" y="1408"/>
                    <a:pt x="0" y="1408"/>
                  </a:cubicBezTo>
                  <a:cubicBezTo>
                    <a:pt x="0" y="1458"/>
                    <a:pt x="33" y="1504"/>
                    <a:pt x="97" y="1544"/>
                  </a:cubicBezTo>
                  <a:cubicBezTo>
                    <a:pt x="150" y="1576"/>
                    <a:pt x="225" y="1605"/>
                    <a:pt x="319" y="1630"/>
                  </a:cubicBezTo>
                  <a:cubicBezTo>
                    <a:pt x="508" y="1679"/>
                    <a:pt x="758" y="1706"/>
                    <a:pt x="1024" y="1706"/>
                  </a:cubicBezTo>
                  <a:cubicBezTo>
                    <a:pt x="1066" y="1706"/>
                    <a:pt x="1108" y="1706"/>
                    <a:pt x="1150" y="1704"/>
                  </a:cubicBezTo>
                  <a:cubicBezTo>
                    <a:pt x="1151" y="1704"/>
                    <a:pt x="1151" y="1704"/>
                    <a:pt x="1152" y="1704"/>
                  </a:cubicBezTo>
                  <a:cubicBezTo>
                    <a:pt x="1154" y="1704"/>
                    <a:pt x="1155" y="1704"/>
                    <a:pt x="1157" y="1704"/>
                  </a:cubicBezTo>
                  <a:cubicBezTo>
                    <a:pt x="1373" y="1696"/>
                    <a:pt x="1572" y="1671"/>
                    <a:pt x="1729" y="1630"/>
                  </a:cubicBezTo>
                  <a:cubicBezTo>
                    <a:pt x="1823" y="1605"/>
                    <a:pt x="1898" y="1576"/>
                    <a:pt x="1951" y="1544"/>
                  </a:cubicBezTo>
                  <a:cubicBezTo>
                    <a:pt x="2015" y="1504"/>
                    <a:pt x="2048" y="1458"/>
                    <a:pt x="2048" y="1408"/>
                  </a:cubicBezTo>
                  <a:cubicBezTo>
                    <a:pt x="2048" y="725"/>
                    <a:pt x="2048" y="725"/>
                    <a:pt x="2048" y="725"/>
                  </a:cubicBezTo>
                  <a:cubicBezTo>
                    <a:pt x="2048" y="675"/>
                    <a:pt x="2015" y="629"/>
                    <a:pt x="1951" y="589"/>
                  </a:cubicBezTo>
                  <a:close/>
                  <a:moveTo>
                    <a:pt x="1348" y="526"/>
                  </a:moveTo>
                  <a:cubicBezTo>
                    <a:pt x="1481" y="538"/>
                    <a:pt x="1604" y="558"/>
                    <a:pt x="1707" y="585"/>
                  </a:cubicBezTo>
                  <a:cubicBezTo>
                    <a:pt x="1731" y="592"/>
                    <a:pt x="1754" y="598"/>
                    <a:pt x="1774" y="605"/>
                  </a:cubicBezTo>
                  <a:cubicBezTo>
                    <a:pt x="1405" y="811"/>
                    <a:pt x="1405" y="811"/>
                    <a:pt x="1405" y="811"/>
                  </a:cubicBezTo>
                  <a:cubicBezTo>
                    <a:pt x="1382" y="804"/>
                    <a:pt x="1357" y="798"/>
                    <a:pt x="1334" y="793"/>
                  </a:cubicBezTo>
                  <a:cubicBezTo>
                    <a:pt x="1300" y="787"/>
                    <a:pt x="1261" y="781"/>
                    <a:pt x="1219" y="777"/>
                  </a:cubicBezTo>
                  <a:lnTo>
                    <a:pt x="1348" y="526"/>
                  </a:lnTo>
                  <a:close/>
                  <a:moveTo>
                    <a:pt x="1024" y="512"/>
                  </a:moveTo>
                  <a:cubicBezTo>
                    <a:pt x="1103" y="512"/>
                    <a:pt x="1181" y="514"/>
                    <a:pt x="1255" y="519"/>
                  </a:cubicBezTo>
                  <a:cubicBezTo>
                    <a:pt x="1127" y="770"/>
                    <a:pt x="1127" y="770"/>
                    <a:pt x="1127" y="770"/>
                  </a:cubicBezTo>
                  <a:cubicBezTo>
                    <a:pt x="1093" y="768"/>
                    <a:pt x="1059" y="768"/>
                    <a:pt x="1024" y="768"/>
                  </a:cubicBezTo>
                  <a:cubicBezTo>
                    <a:pt x="989" y="768"/>
                    <a:pt x="955" y="768"/>
                    <a:pt x="921" y="770"/>
                  </a:cubicBezTo>
                  <a:cubicBezTo>
                    <a:pt x="793" y="519"/>
                    <a:pt x="793" y="519"/>
                    <a:pt x="793" y="519"/>
                  </a:cubicBezTo>
                  <a:cubicBezTo>
                    <a:pt x="867" y="514"/>
                    <a:pt x="945" y="512"/>
                    <a:pt x="1024" y="512"/>
                  </a:cubicBezTo>
                  <a:close/>
                  <a:moveTo>
                    <a:pt x="341" y="585"/>
                  </a:moveTo>
                  <a:cubicBezTo>
                    <a:pt x="444" y="558"/>
                    <a:pt x="566" y="538"/>
                    <a:pt x="700" y="526"/>
                  </a:cubicBezTo>
                  <a:cubicBezTo>
                    <a:pt x="829" y="777"/>
                    <a:pt x="829" y="777"/>
                    <a:pt x="829" y="777"/>
                  </a:cubicBezTo>
                  <a:cubicBezTo>
                    <a:pt x="787" y="781"/>
                    <a:pt x="748" y="787"/>
                    <a:pt x="714" y="793"/>
                  </a:cubicBezTo>
                  <a:cubicBezTo>
                    <a:pt x="691" y="798"/>
                    <a:pt x="666" y="804"/>
                    <a:pt x="643" y="811"/>
                  </a:cubicBezTo>
                  <a:cubicBezTo>
                    <a:pt x="274" y="605"/>
                    <a:pt x="274" y="605"/>
                    <a:pt x="274" y="605"/>
                  </a:cubicBezTo>
                  <a:cubicBezTo>
                    <a:pt x="294" y="598"/>
                    <a:pt x="316" y="592"/>
                    <a:pt x="341" y="585"/>
                  </a:cubicBezTo>
                  <a:close/>
                  <a:moveTo>
                    <a:pt x="299" y="1536"/>
                  </a:moveTo>
                  <a:cubicBezTo>
                    <a:pt x="131" y="1486"/>
                    <a:pt x="85" y="1433"/>
                    <a:pt x="85" y="1408"/>
                  </a:cubicBezTo>
                  <a:cubicBezTo>
                    <a:pt x="85" y="1195"/>
                    <a:pt x="85" y="1195"/>
                    <a:pt x="85" y="1195"/>
                  </a:cubicBezTo>
                  <a:cubicBezTo>
                    <a:pt x="102" y="1207"/>
                    <a:pt x="122" y="1220"/>
                    <a:pt x="146" y="1232"/>
                  </a:cubicBezTo>
                  <a:cubicBezTo>
                    <a:pt x="188" y="1254"/>
                    <a:pt x="240" y="1274"/>
                    <a:pt x="299" y="1291"/>
                  </a:cubicBezTo>
                  <a:lnTo>
                    <a:pt x="299" y="1536"/>
                  </a:lnTo>
                  <a:close/>
                  <a:moveTo>
                    <a:pt x="299" y="1202"/>
                  </a:moveTo>
                  <a:cubicBezTo>
                    <a:pt x="262" y="1190"/>
                    <a:pt x="232" y="1179"/>
                    <a:pt x="208" y="1168"/>
                  </a:cubicBezTo>
                  <a:cubicBezTo>
                    <a:pt x="99" y="1118"/>
                    <a:pt x="86" y="1070"/>
                    <a:pt x="85" y="1064"/>
                  </a:cubicBezTo>
                  <a:cubicBezTo>
                    <a:pt x="85" y="853"/>
                    <a:pt x="85" y="853"/>
                    <a:pt x="85" y="853"/>
                  </a:cubicBezTo>
                  <a:cubicBezTo>
                    <a:pt x="102" y="866"/>
                    <a:pt x="122" y="878"/>
                    <a:pt x="146" y="891"/>
                  </a:cubicBezTo>
                  <a:cubicBezTo>
                    <a:pt x="188" y="913"/>
                    <a:pt x="240" y="933"/>
                    <a:pt x="299" y="949"/>
                  </a:cubicBezTo>
                  <a:lnTo>
                    <a:pt x="299" y="1202"/>
                  </a:lnTo>
                  <a:close/>
                  <a:moveTo>
                    <a:pt x="208" y="826"/>
                  </a:moveTo>
                  <a:cubicBezTo>
                    <a:pt x="101" y="777"/>
                    <a:pt x="87" y="730"/>
                    <a:pt x="85" y="723"/>
                  </a:cubicBezTo>
                  <a:cubicBezTo>
                    <a:pt x="87" y="706"/>
                    <a:pt x="108" y="677"/>
                    <a:pt x="172" y="645"/>
                  </a:cubicBezTo>
                  <a:cubicBezTo>
                    <a:pt x="563" y="864"/>
                    <a:pt x="563" y="864"/>
                    <a:pt x="563" y="864"/>
                  </a:cubicBezTo>
                  <a:cubicBezTo>
                    <a:pt x="558" y="874"/>
                    <a:pt x="555" y="884"/>
                    <a:pt x="555" y="896"/>
                  </a:cubicBezTo>
                  <a:cubicBezTo>
                    <a:pt x="555" y="902"/>
                    <a:pt x="555" y="907"/>
                    <a:pt x="557" y="913"/>
                  </a:cubicBezTo>
                  <a:cubicBezTo>
                    <a:pt x="382" y="890"/>
                    <a:pt x="274" y="857"/>
                    <a:pt x="208" y="826"/>
                  </a:cubicBezTo>
                  <a:close/>
                  <a:moveTo>
                    <a:pt x="725" y="1609"/>
                  </a:moveTo>
                  <a:cubicBezTo>
                    <a:pt x="600" y="1598"/>
                    <a:pt x="484" y="1581"/>
                    <a:pt x="384" y="1558"/>
                  </a:cubicBezTo>
                  <a:cubicBezTo>
                    <a:pt x="384" y="1312"/>
                    <a:pt x="384" y="1312"/>
                    <a:pt x="384" y="1312"/>
                  </a:cubicBezTo>
                  <a:cubicBezTo>
                    <a:pt x="481" y="1333"/>
                    <a:pt x="595" y="1347"/>
                    <a:pt x="725" y="1356"/>
                  </a:cubicBezTo>
                  <a:lnTo>
                    <a:pt x="725" y="1609"/>
                  </a:lnTo>
                  <a:close/>
                  <a:moveTo>
                    <a:pt x="725" y="1270"/>
                  </a:moveTo>
                  <a:cubicBezTo>
                    <a:pt x="581" y="1260"/>
                    <a:pt x="469" y="1243"/>
                    <a:pt x="384" y="1224"/>
                  </a:cubicBezTo>
                  <a:cubicBezTo>
                    <a:pt x="384" y="971"/>
                    <a:pt x="384" y="971"/>
                    <a:pt x="384" y="971"/>
                  </a:cubicBezTo>
                  <a:cubicBezTo>
                    <a:pt x="481" y="991"/>
                    <a:pt x="595" y="1006"/>
                    <a:pt x="725" y="1015"/>
                  </a:cubicBezTo>
                  <a:lnTo>
                    <a:pt x="725" y="1270"/>
                  </a:lnTo>
                  <a:close/>
                  <a:moveTo>
                    <a:pt x="853" y="1617"/>
                  </a:moveTo>
                  <a:cubicBezTo>
                    <a:pt x="839" y="1616"/>
                    <a:pt x="825" y="1616"/>
                    <a:pt x="811" y="1615"/>
                  </a:cubicBezTo>
                  <a:cubicBezTo>
                    <a:pt x="811" y="1361"/>
                    <a:pt x="811" y="1361"/>
                    <a:pt x="811" y="1361"/>
                  </a:cubicBezTo>
                  <a:cubicBezTo>
                    <a:pt x="825" y="1361"/>
                    <a:pt x="839" y="1362"/>
                    <a:pt x="853" y="1362"/>
                  </a:cubicBezTo>
                  <a:lnTo>
                    <a:pt x="853" y="1617"/>
                  </a:lnTo>
                  <a:close/>
                  <a:moveTo>
                    <a:pt x="1109" y="1620"/>
                  </a:moveTo>
                  <a:cubicBezTo>
                    <a:pt x="1081" y="1621"/>
                    <a:pt x="1053" y="1621"/>
                    <a:pt x="1024" y="1621"/>
                  </a:cubicBezTo>
                  <a:cubicBezTo>
                    <a:pt x="995" y="1621"/>
                    <a:pt x="967" y="1621"/>
                    <a:pt x="939" y="1620"/>
                  </a:cubicBezTo>
                  <a:cubicBezTo>
                    <a:pt x="939" y="1364"/>
                    <a:pt x="939" y="1364"/>
                    <a:pt x="939" y="1364"/>
                  </a:cubicBezTo>
                  <a:cubicBezTo>
                    <a:pt x="967" y="1365"/>
                    <a:pt x="995" y="1365"/>
                    <a:pt x="1024" y="1365"/>
                  </a:cubicBezTo>
                  <a:cubicBezTo>
                    <a:pt x="1053" y="1365"/>
                    <a:pt x="1081" y="1365"/>
                    <a:pt x="1109" y="1364"/>
                  </a:cubicBezTo>
                  <a:lnTo>
                    <a:pt x="1109" y="1620"/>
                  </a:lnTo>
                  <a:close/>
                  <a:moveTo>
                    <a:pt x="1237" y="1615"/>
                  </a:moveTo>
                  <a:cubicBezTo>
                    <a:pt x="1223" y="1616"/>
                    <a:pt x="1209" y="1616"/>
                    <a:pt x="1195" y="1617"/>
                  </a:cubicBezTo>
                  <a:cubicBezTo>
                    <a:pt x="1195" y="1362"/>
                    <a:pt x="1195" y="1362"/>
                    <a:pt x="1195" y="1362"/>
                  </a:cubicBezTo>
                  <a:cubicBezTo>
                    <a:pt x="1209" y="1362"/>
                    <a:pt x="1223" y="1361"/>
                    <a:pt x="1237" y="1361"/>
                  </a:cubicBezTo>
                  <a:lnTo>
                    <a:pt x="1237" y="1615"/>
                  </a:lnTo>
                  <a:close/>
                  <a:moveTo>
                    <a:pt x="1237" y="1275"/>
                  </a:moveTo>
                  <a:cubicBezTo>
                    <a:pt x="1163" y="1278"/>
                    <a:pt x="1091" y="1280"/>
                    <a:pt x="1024" y="1280"/>
                  </a:cubicBezTo>
                  <a:cubicBezTo>
                    <a:pt x="947" y="1280"/>
                    <a:pt x="876" y="1278"/>
                    <a:pt x="811" y="1275"/>
                  </a:cubicBezTo>
                  <a:cubicBezTo>
                    <a:pt x="811" y="1019"/>
                    <a:pt x="811" y="1019"/>
                    <a:pt x="811" y="1019"/>
                  </a:cubicBezTo>
                  <a:cubicBezTo>
                    <a:pt x="878" y="1022"/>
                    <a:pt x="949" y="1024"/>
                    <a:pt x="1024" y="1024"/>
                  </a:cubicBezTo>
                  <a:cubicBezTo>
                    <a:pt x="1099" y="1024"/>
                    <a:pt x="1170" y="1022"/>
                    <a:pt x="1237" y="1019"/>
                  </a:cubicBezTo>
                  <a:lnTo>
                    <a:pt x="1237" y="1275"/>
                  </a:lnTo>
                  <a:close/>
                  <a:moveTo>
                    <a:pt x="1024" y="938"/>
                  </a:moveTo>
                  <a:cubicBezTo>
                    <a:pt x="926" y="938"/>
                    <a:pt x="832" y="931"/>
                    <a:pt x="758" y="919"/>
                  </a:cubicBezTo>
                  <a:cubicBezTo>
                    <a:pt x="710" y="911"/>
                    <a:pt x="680" y="903"/>
                    <a:pt x="662" y="896"/>
                  </a:cubicBezTo>
                  <a:cubicBezTo>
                    <a:pt x="680" y="889"/>
                    <a:pt x="710" y="880"/>
                    <a:pt x="758" y="872"/>
                  </a:cubicBezTo>
                  <a:cubicBezTo>
                    <a:pt x="832" y="860"/>
                    <a:pt x="926" y="853"/>
                    <a:pt x="1024" y="853"/>
                  </a:cubicBezTo>
                  <a:cubicBezTo>
                    <a:pt x="1122" y="853"/>
                    <a:pt x="1216" y="860"/>
                    <a:pt x="1290" y="872"/>
                  </a:cubicBezTo>
                  <a:cubicBezTo>
                    <a:pt x="1338" y="880"/>
                    <a:pt x="1368" y="889"/>
                    <a:pt x="1386" y="896"/>
                  </a:cubicBezTo>
                  <a:cubicBezTo>
                    <a:pt x="1368" y="903"/>
                    <a:pt x="1338" y="911"/>
                    <a:pt x="1290" y="919"/>
                  </a:cubicBezTo>
                  <a:cubicBezTo>
                    <a:pt x="1216" y="931"/>
                    <a:pt x="1122" y="938"/>
                    <a:pt x="1024" y="938"/>
                  </a:cubicBezTo>
                  <a:close/>
                  <a:moveTo>
                    <a:pt x="1664" y="1558"/>
                  </a:moveTo>
                  <a:cubicBezTo>
                    <a:pt x="1564" y="1581"/>
                    <a:pt x="1448" y="1598"/>
                    <a:pt x="1323" y="1609"/>
                  </a:cubicBezTo>
                  <a:cubicBezTo>
                    <a:pt x="1323" y="1356"/>
                    <a:pt x="1323" y="1356"/>
                    <a:pt x="1323" y="1356"/>
                  </a:cubicBezTo>
                  <a:cubicBezTo>
                    <a:pt x="1453" y="1347"/>
                    <a:pt x="1567" y="1333"/>
                    <a:pt x="1664" y="1312"/>
                  </a:cubicBezTo>
                  <a:lnTo>
                    <a:pt x="1664" y="1558"/>
                  </a:lnTo>
                  <a:close/>
                  <a:moveTo>
                    <a:pt x="1664" y="1224"/>
                  </a:moveTo>
                  <a:cubicBezTo>
                    <a:pt x="1560" y="1248"/>
                    <a:pt x="1441" y="1262"/>
                    <a:pt x="1323" y="1270"/>
                  </a:cubicBezTo>
                  <a:cubicBezTo>
                    <a:pt x="1323" y="1015"/>
                    <a:pt x="1323" y="1015"/>
                    <a:pt x="1323" y="1015"/>
                  </a:cubicBezTo>
                  <a:cubicBezTo>
                    <a:pt x="1453" y="1006"/>
                    <a:pt x="1567" y="991"/>
                    <a:pt x="1664" y="971"/>
                  </a:cubicBezTo>
                  <a:lnTo>
                    <a:pt x="1664" y="1224"/>
                  </a:lnTo>
                  <a:close/>
                  <a:moveTo>
                    <a:pt x="1698" y="875"/>
                  </a:moveTo>
                  <a:cubicBezTo>
                    <a:pt x="1697" y="875"/>
                    <a:pt x="1695" y="875"/>
                    <a:pt x="1694" y="876"/>
                  </a:cubicBezTo>
                  <a:cubicBezTo>
                    <a:pt x="1631" y="892"/>
                    <a:pt x="1562" y="904"/>
                    <a:pt x="1491" y="913"/>
                  </a:cubicBezTo>
                  <a:cubicBezTo>
                    <a:pt x="1493" y="907"/>
                    <a:pt x="1493" y="902"/>
                    <a:pt x="1493" y="896"/>
                  </a:cubicBezTo>
                  <a:cubicBezTo>
                    <a:pt x="1493" y="884"/>
                    <a:pt x="1490" y="874"/>
                    <a:pt x="1485" y="864"/>
                  </a:cubicBezTo>
                  <a:cubicBezTo>
                    <a:pt x="1876" y="645"/>
                    <a:pt x="1876" y="645"/>
                    <a:pt x="1876" y="645"/>
                  </a:cubicBezTo>
                  <a:cubicBezTo>
                    <a:pt x="1942" y="678"/>
                    <a:pt x="1963" y="708"/>
                    <a:pt x="1963" y="725"/>
                  </a:cubicBezTo>
                  <a:cubicBezTo>
                    <a:pt x="1963" y="725"/>
                    <a:pt x="1952" y="769"/>
                    <a:pt x="1863" y="815"/>
                  </a:cubicBezTo>
                  <a:cubicBezTo>
                    <a:pt x="1817" y="839"/>
                    <a:pt x="1761" y="859"/>
                    <a:pt x="1698" y="875"/>
                  </a:cubicBezTo>
                  <a:close/>
                  <a:moveTo>
                    <a:pt x="1749" y="949"/>
                  </a:moveTo>
                  <a:cubicBezTo>
                    <a:pt x="1808" y="933"/>
                    <a:pt x="1860" y="913"/>
                    <a:pt x="1902" y="891"/>
                  </a:cubicBezTo>
                  <a:cubicBezTo>
                    <a:pt x="1926" y="878"/>
                    <a:pt x="1946" y="866"/>
                    <a:pt x="1963" y="853"/>
                  </a:cubicBezTo>
                  <a:cubicBezTo>
                    <a:pt x="1963" y="1066"/>
                    <a:pt x="1963" y="1066"/>
                    <a:pt x="1963" y="1066"/>
                  </a:cubicBezTo>
                  <a:cubicBezTo>
                    <a:pt x="1963" y="1067"/>
                    <a:pt x="1952" y="1110"/>
                    <a:pt x="1863" y="1156"/>
                  </a:cubicBezTo>
                  <a:cubicBezTo>
                    <a:pt x="1830" y="1174"/>
                    <a:pt x="1791" y="1189"/>
                    <a:pt x="1749" y="1202"/>
                  </a:cubicBezTo>
                  <a:lnTo>
                    <a:pt x="1749" y="949"/>
                  </a:lnTo>
                  <a:close/>
                  <a:moveTo>
                    <a:pt x="1963" y="1408"/>
                  </a:moveTo>
                  <a:cubicBezTo>
                    <a:pt x="1963" y="1433"/>
                    <a:pt x="1916" y="1486"/>
                    <a:pt x="1749" y="1536"/>
                  </a:cubicBezTo>
                  <a:cubicBezTo>
                    <a:pt x="1749" y="1291"/>
                    <a:pt x="1749" y="1291"/>
                    <a:pt x="1749" y="1291"/>
                  </a:cubicBezTo>
                  <a:cubicBezTo>
                    <a:pt x="1808" y="1274"/>
                    <a:pt x="1860" y="1254"/>
                    <a:pt x="1902" y="1232"/>
                  </a:cubicBezTo>
                  <a:cubicBezTo>
                    <a:pt x="1926" y="1220"/>
                    <a:pt x="1946" y="1207"/>
                    <a:pt x="1963" y="1195"/>
                  </a:cubicBezTo>
                  <a:lnTo>
                    <a:pt x="1963" y="140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18" name="Group 117"/>
          <p:cNvGrpSpPr/>
          <p:nvPr/>
        </p:nvGrpSpPr>
        <p:grpSpPr>
          <a:xfrm>
            <a:off x="645816" y="3429940"/>
            <a:ext cx="548640" cy="548640"/>
            <a:chOff x="645816" y="3429940"/>
            <a:chExt cx="548640" cy="548640"/>
          </a:xfrm>
        </p:grpSpPr>
        <p:sp>
          <p:nvSpPr>
            <p:cNvPr id="162" name="Oval 161"/>
            <p:cNvSpPr/>
            <p:nvPr/>
          </p:nvSpPr>
          <p:spPr>
            <a:xfrm>
              <a:off x="645816" y="3429940"/>
              <a:ext cx="548640" cy="548640"/>
            </a:xfrm>
            <a:prstGeom prst="ellipse">
              <a:avLst/>
            </a:prstGeom>
            <a:solidFill>
              <a:schemeClr val="bg1"/>
            </a:solidFill>
            <a:ln w="9525">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17" name="Freeform 10"/>
            <p:cNvSpPr>
              <a:spLocks noEditPoints="1"/>
            </p:cNvSpPr>
            <p:nvPr/>
          </p:nvSpPr>
          <p:spPr bwMode="auto">
            <a:xfrm>
              <a:off x="698520" y="3567114"/>
              <a:ext cx="389432" cy="314948"/>
            </a:xfrm>
            <a:custGeom>
              <a:avLst/>
              <a:gdLst/>
              <a:ahLst/>
              <a:cxnLst>
                <a:cxn ang="0">
                  <a:pos x="1413" y="976"/>
                </a:cxn>
                <a:cxn ang="0">
                  <a:pos x="2053" y="42"/>
                </a:cxn>
                <a:cxn ang="0">
                  <a:pos x="2012" y="1"/>
                </a:cxn>
                <a:cxn ang="0">
                  <a:pos x="1075" y="636"/>
                </a:cxn>
                <a:cxn ang="0">
                  <a:pos x="532" y="1264"/>
                </a:cxn>
                <a:cxn ang="0">
                  <a:pos x="553" y="1046"/>
                </a:cxn>
                <a:cxn ang="0">
                  <a:pos x="615" y="78"/>
                </a:cxn>
                <a:cxn ang="0">
                  <a:pos x="267" y="571"/>
                </a:cxn>
                <a:cxn ang="0">
                  <a:pos x="436" y="1185"/>
                </a:cxn>
                <a:cxn ang="0">
                  <a:pos x="353" y="1354"/>
                </a:cxn>
                <a:cxn ang="0">
                  <a:pos x="28" y="1517"/>
                </a:cxn>
                <a:cxn ang="0">
                  <a:pos x="43" y="1590"/>
                </a:cxn>
                <a:cxn ang="0">
                  <a:pos x="569" y="1330"/>
                </a:cxn>
                <a:cxn ang="0">
                  <a:pos x="1013" y="1381"/>
                </a:cxn>
                <a:cxn ang="0">
                  <a:pos x="1442" y="1661"/>
                </a:cxn>
                <a:cxn ang="0">
                  <a:pos x="1896" y="1408"/>
                </a:cxn>
                <a:cxn ang="0">
                  <a:pos x="1145" y="1174"/>
                </a:cxn>
                <a:cxn ang="0">
                  <a:pos x="772" y="1208"/>
                </a:cxn>
                <a:cxn ang="0">
                  <a:pos x="1348" y="982"/>
                </a:cxn>
                <a:cxn ang="0">
                  <a:pos x="342" y="576"/>
                </a:cxn>
                <a:cxn ang="0">
                  <a:pos x="775" y="603"/>
                </a:cxn>
                <a:cxn ang="0">
                  <a:pos x="567" y="969"/>
                </a:cxn>
                <a:cxn ang="0">
                  <a:pos x="553" y="557"/>
                </a:cxn>
                <a:cxn ang="0">
                  <a:pos x="491" y="961"/>
                </a:cxn>
                <a:cxn ang="0">
                  <a:pos x="1424" y="1350"/>
                </a:cxn>
                <a:cxn ang="0">
                  <a:pos x="1181" y="1241"/>
                </a:cxn>
                <a:cxn ang="0">
                  <a:pos x="1814" y="1426"/>
                </a:cxn>
                <a:cxn ang="0">
                  <a:pos x="1159" y="1501"/>
                </a:cxn>
                <a:cxn ang="0">
                  <a:pos x="1423" y="1426"/>
                </a:cxn>
                <a:cxn ang="0">
                  <a:pos x="1461" y="1389"/>
                </a:cxn>
                <a:cxn ang="0">
                  <a:pos x="1149" y="651"/>
                </a:cxn>
                <a:cxn ang="0">
                  <a:pos x="1972" y="82"/>
                </a:cxn>
                <a:cxn ang="0">
                  <a:pos x="1399" y="902"/>
                </a:cxn>
                <a:cxn ang="0">
                  <a:pos x="1473" y="645"/>
                </a:cxn>
                <a:cxn ang="0">
                  <a:pos x="1416" y="595"/>
                </a:cxn>
                <a:cxn ang="0">
                  <a:pos x="1149" y="651"/>
                </a:cxn>
              </a:cxnLst>
              <a:rect l="0" t="0" r="r" b="b"/>
              <a:pathLst>
                <a:path w="2054" h="1661">
                  <a:moveTo>
                    <a:pt x="1348" y="982"/>
                  </a:moveTo>
                  <a:cubicBezTo>
                    <a:pt x="1369" y="982"/>
                    <a:pt x="1391" y="980"/>
                    <a:pt x="1413" y="976"/>
                  </a:cubicBezTo>
                  <a:cubicBezTo>
                    <a:pt x="1523" y="955"/>
                    <a:pt x="1639" y="883"/>
                    <a:pt x="1761" y="762"/>
                  </a:cubicBezTo>
                  <a:cubicBezTo>
                    <a:pt x="2013" y="511"/>
                    <a:pt x="2051" y="61"/>
                    <a:pt x="2053" y="42"/>
                  </a:cubicBezTo>
                  <a:cubicBezTo>
                    <a:pt x="2054" y="31"/>
                    <a:pt x="2050" y="20"/>
                    <a:pt x="2042" y="12"/>
                  </a:cubicBezTo>
                  <a:cubicBezTo>
                    <a:pt x="2034" y="4"/>
                    <a:pt x="2023" y="0"/>
                    <a:pt x="2012" y="1"/>
                  </a:cubicBezTo>
                  <a:cubicBezTo>
                    <a:pt x="1993" y="2"/>
                    <a:pt x="1544" y="40"/>
                    <a:pt x="1292" y="291"/>
                  </a:cubicBezTo>
                  <a:cubicBezTo>
                    <a:pt x="1170" y="412"/>
                    <a:pt x="1098" y="528"/>
                    <a:pt x="1075" y="636"/>
                  </a:cubicBezTo>
                  <a:cubicBezTo>
                    <a:pt x="1057" y="723"/>
                    <a:pt x="1073" y="803"/>
                    <a:pt x="1122" y="868"/>
                  </a:cubicBezTo>
                  <a:cubicBezTo>
                    <a:pt x="919" y="1032"/>
                    <a:pt x="703" y="1167"/>
                    <a:pt x="532" y="1264"/>
                  </a:cubicBezTo>
                  <a:cubicBezTo>
                    <a:pt x="512" y="1276"/>
                    <a:pt x="492" y="1287"/>
                    <a:pt x="473" y="1297"/>
                  </a:cubicBezTo>
                  <a:cubicBezTo>
                    <a:pt x="499" y="1240"/>
                    <a:pt x="529" y="1158"/>
                    <a:pt x="553" y="1046"/>
                  </a:cubicBezTo>
                  <a:cubicBezTo>
                    <a:pt x="691" y="1041"/>
                    <a:pt x="832" y="907"/>
                    <a:pt x="850" y="608"/>
                  </a:cubicBezTo>
                  <a:cubicBezTo>
                    <a:pt x="868" y="326"/>
                    <a:pt x="625" y="88"/>
                    <a:pt x="615" y="78"/>
                  </a:cubicBezTo>
                  <a:cubicBezTo>
                    <a:pt x="602" y="65"/>
                    <a:pt x="581" y="63"/>
                    <a:pt x="566" y="75"/>
                  </a:cubicBezTo>
                  <a:cubicBezTo>
                    <a:pt x="555" y="83"/>
                    <a:pt x="284" y="289"/>
                    <a:pt x="267" y="571"/>
                  </a:cubicBezTo>
                  <a:cubicBezTo>
                    <a:pt x="249" y="848"/>
                    <a:pt x="353" y="997"/>
                    <a:pt x="477" y="1036"/>
                  </a:cubicBezTo>
                  <a:cubicBezTo>
                    <a:pt x="464" y="1097"/>
                    <a:pt x="450" y="1146"/>
                    <a:pt x="436" y="1185"/>
                  </a:cubicBezTo>
                  <a:cubicBezTo>
                    <a:pt x="396" y="1302"/>
                    <a:pt x="354" y="1353"/>
                    <a:pt x="353" y="1354"/>
                  </a:cubicBezTo>
                  <a:cubicBezTo>
                    <a:pt x="353" y="1354"/>
                    <a:pt x="353" y="1354"/>
                    <a:pt x="353" y="1354"/>
                  </a:cubicBezTo>
                  <a:cubicBezTo>
                    <a:pt x="344" y="1364"/>
                    <a:pt x="334" y="1372"/>
                    <a:pt x="323" y="1377"/>
                  </a:cubicBezTo>
                  <a:cubicBezTo>
                    <a:pt x="149" y="1467"/>
                    <a:pt x="30" y="1517"/>
                    <a:pt x="28" y="1517"/>
                  </a:cubicBezTo>
                  <a:cubicBezTo>
                    <a:pt x="9" y="1525"/>
                    <a:pt x="0" y="1547"/>
                    <a:pt x="8" y="1567"/>
                  </a:cubicBezTo>
                  <a:cubicBezTo>
                    <a:pt x="14" y="1581"/>
                    <a:pt x="28" y="1590"/>
                    <a:pt x="43" y="1590"/>
                  </a:cubicBezTo>
                  <a:cubicBezTo>
                    <a:pt x="48" y="1590"/>
                    <a:pt x="53" y="1589"/>
                    <a:pt x="57" y="1587"/>
                  </a:cubicBezTo>
                  <a:cubicBezTo>
                    <a:pt x="60" y="1586"/>
                    <a:pt x="284" y="1492"/>
                    <a:pt x="569" y="1330"/>
                  </a:cubicBezTo>
                  <a:cubicBezTo>
                    <a:pt x="611" y="1307"/>
                    <a:pt x="655" y="1280"/>
                    <a:pt x="702" y="1252"/>
                  </a:cubicBezTo>
                  <a:cubicBezTo>
                    <a:pt x="729" y="1273"/>
                    <a:pt x="822" y="1337"/>
                    <a:pt x="1013" y="1381"/>
                  </a:cubicBezTo>
                  <a:cubicBezTo>
                    <a:pt x="1017" y="1507"/>
                    <a:pt x="1136" y="1637"/>
                    <a:pt x="1406" y="1660"/>
                  </a:cubicBezTo>
                  <a:cubicBezTo>
                    <a:pt x="1418" y="1661"/>
                    <a:pt x="1430" y="1661"/>
                    <a:pt x="1442" y="1661"/>
                  </a:cubicBezTo>
                  <a:cubicBezTo>
                    <a:pt x="1682" y="1661"/>
                    <a:pt x="1883" y="1466"/>
                    <a:pt x="1892" y="1457"/>
                  </a:cubicBezTo>
                  <a:cubicBezTo>
                    <a:pt x="1905" y="1444"/>
                    <a:pt x="1907" y="1423"/>
                    <a:pt x="1896" y="1408"/>
                  </a:cubicBezTo>
                  <a:cubicBezTo>
                    <a:pt x="1889" y="1397"/>
                    <a:pt x="1707" y="1148"/>
                    <a:pt x="1451" y="1126"/>
                  </a:cubicBezTo>
                  <a:cubicBezTo>
                    <a:pt x="1329" y="1116"/>
                    <a:pt x="1223" y="1132"/>
                    <a:pt x="1145" y="1174"/>
                  </a:cubicBezTo>
                  <a:cubicBezTo>
                    <a:pt x="1085" y="1206"/>
                    <a:pt x="1044" y="1252"/>
                    <a:pt x="1025" y="1306"/>
                  </a:cubicBezTo>
                  <a:cubicBezTo>
                    <a:pt x="890" y="1274"/>
                    <a:pt x="810" y="1232"/>
                    <a:pt x="772" y="1208"/>
                  </a:cubicBezTo>
                  <a:cubicBezTo>
                    <a:pt x="901" y="1127"/>
                    <a:pt x="1041" y="1031"/>
                    <a:pt x="1175" y="922"/>
                  </a:cubicBezTo>
                  <a:cubicBezTo>
                    <a:pt x="1224" y="962"/>
                    <a:pt x="1283" y="982"/>
                    <a:pt x="1348" y="982"/>
                  </a:cubicBezTo>
                  <a:close/>
                  <a:moveTo>
                    <a:pt x="392" y="870"/>
                  </a:moveTo>
                  <a:cubicBezTo>
                    <a:pt x="352" y="797"/>
                    <a:pt x="335" y="696"/>
                    <a:pt x="342" y="576"/>
                  </a:cubicBezTo>
                  <a:cubicBezTo>
                    <a:pt x="355" y="377"/>
                    <a:pt x="521" y="214"/>
                    <a:pt x="586" y="157"/>
                  </a:cubicBezTo>
                  <a:cubicBezTo>
                    <a:pt x="643" y="221"/>
                    <a:pt x="787" y="404"/>
                    <a:pt x="775" y="603"/>
                  </a:cubicBezTo>
                  <a:cubicBezTo>
                    <a:pt x="767" y="723"/>
                    <a:pt x="738" y="822"/>
                    <a:pt x="688" y="888"/>
                  </a:cubicBezTo>
                  <a:cubicBezTo>
                    <a:pt x="654" y="935"/>
                    <a:pt x="612" y="963"/>
                    <a:pt x="567" y="969"/>
                  </a:cubicBezTo>
                  <a:cubicBezTo>
                    <a:pt x="583" y="866"/>
                    <a:pt x="593" y="742"/>
                    <a:pt x="591" y="595"/>
                  </a:cubicBezTo>
                  <a:cubicBezTo>
                    <a:pt x="591" y="574"/>
                    <a:pt x="574" y="557"/>
                    <a:pt x="553" y="557"/>
                  </a:cubicBezTo>
                  <a:cubicBezTo>
                    <a:pt x="532" y="558"/>
                    <a:pt x="515" y="575"/>
                    <a:pt x="516" y="596"/>
                  </a:cubicBezTo>
                  <a:cubicBezTo>
                    <a:pt x="517" y="742"/>
                    <a:pt x="507" y="863"/>
                    <a:pt x="491" y="961"/>
                  </a:cubicBezTo>
                  <a:cubicBezTo>
                    <a:pt x="452" y="947"/>
                    <a:pt x="418" y="916"/>
                    <a:pt x="392" y="870"/>
                  </a:cubicBezTo>
                  <a:close/>
                  <a:moveTo>
                    <a:pt x="1424" y="1350"/>
                  </a:moveTo>
                  <a:cubicBezTo>
                    <a:pt x="1295" y="1349"/>
                    <a:pt x="1188" y="1338"/>
                    <a:pt x="1100" y="1322"/>
                  </a:cubicBezTo>
                  <a:cubicBezTo>
                    <a:pt x="1114" y="1289"/>
                    <a:pt x="1141" y="1262"/>
                    <a:pt x="1181" y="1241"/>
                  </a:cubicBezTo>
                  <a:cubicBezTo>
                    <a:pt x="1246" y="1206"/>
                    <a:pt x="1337" y="1192"/>
                    <a:pt x="1445" y="1202"/>
                  </a:cubicBezTo>
                  <a:cubicBezTo>
                    <a:pt x="1620" y="1216"/>
                    <a:pt x="1762" y="1364"/>
                    <a:pt x="1814" y="1426"/>
                  </a:cubicBezTo>
                  <a:cubicBezTo>
                    <a:pt x="1752" y="1477"/>
                    <a:pt x="1588" y="1599"/>
                    <a:pt x="1412" y="1584"/>
                  </a:cubicBezTo>
                  <a:cubicBezTo>
                    <a:pt x="1305" y="1575"/>
                    <a:pt x="1217" y="1547"/>
                    <a:pt x="1159" y="1501"/>
                  </a:cubicBezTo>
                  <a:cubicBezTo>
                    <a:pt x="1120" y="1471"/>
                    <a:pt x="1096" y="1436"/>
                    <a:pt x="1090" y="1397"/>
                  </a:cubicBezTo>
                  <a:cubicBezTo>
                    <a:pt x="1182" y="1413"/>
                    <a:pt x="1292" y="1425"/>
                    <a:pt x="1423" y="1426"/>
                  </a:cubicBezTo>
                  <a:cubicBezTo>
                    <a:pt x="1423" y="1426"/>
                    <a:pt x="1423" y="1426"/>
                    <a:pt x="1423" y="1426"/>
                  </a:cubicBezTo>
                  <a:cubicBezTo>
                    <a:pt x="1444" y="1426"/>
                    <a:pt x="1461" y="1409"/>
                    <a:pt x="1461" y="1389"/>
                  </a:cubicBezTo>
                  <a:cubicBezTo>
                    <a:pt x="1462" y="1368"/>
                    <a:pt x="1445" y="1351"/>
                    <a:pt x="1424" y="1350"/>
                  </a:cubicBezTo>
                  <a:close/>
                  <a:moveTo>
                    <a:pt x="1149" y="651"/>
                  </a:moveTo>
                  <a:cubicBezTo>
                    <a:pt x="1168" y="559"/>
                    <a:pt x="1236" y="453"/>
                    <a:pt x="1345" y="344"/>
                  </a:cubicBezTo>
                  <a:cubicBezTo>
                    <a:pt x="1533" y="158"/>
                    <a:pt x="1853" y="98"/>
                    <a:pt x="1972" y="82"/>
                  </a:cubicBezTo>
                  <a:cubicBezTo>
                    <a:pt x="1956" y="201"/>
                    <a:pt x="1895" y="522"/>
                    <a:pt x="1708" y="709"/>
                  </a:cubicBezTo>
                  <a:cubicBezTo>
                    <a:pt x="1599" y="817"/>
                    <a:pt x="1492" y="884"/>
                    <a:pt x="1399" y="902"/>
                  </a:cubicBezTo>
                  <a:cubicBezTo>
                    <a:pt x="1336" y="914"/>
                    <a:pt x="1281" y="904"/>
                    <a:pt x="1235" y="872"/>
                  </a:cubicBezTo>
                  <a:cubicBezTo>
                    <a:pt x="1318" y="801"/>
                    <a:pt x="1399" y="725"/>
                    <a:pt x="1473" y="645"/>
                  </a:cubicBezTo>
                  <a:cubicBezTo>
                    <a:pt x="1487" y="629"/>
                    <a:pt x="1485" y="604"/>
                    <a:pt x="1468" y="590"/>
                  </a:cubicBezTo>
                  <a:cubicBezTo>
                    <a:pt x="1452" y="577"/>
                    <a:pt x="1429" y="580"/>
                    <a:pt x="1416" y="595"/>
                  </a:cubicBezTo>
                  <a:cubicBezTo>
                    <a:pt x="1343" y="674"/>
                    <a:pt x="1263" y="749"/>
                    <a:pt x="1180" y="819"/>
                  </a:cubicBezTo>
                  <a:cubicBezTo>
                    <a:pt x="1147" y="772"/>
                    <a:pt x="1136" y="716"/>
                    <a:pt x="1149" y="651"/>
                  </a:cubicBezTo>
                  <a:close/>
                </a:path>
              </a:pathLst>
            </a:cu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grpSp>
        <p:nvGrpSpPr>
          <p:cNvPr id="119" name="Group 118"/>
          <p:cNvGrpSpPr/>
          <p:nvPr/>
        </p:nvGrpSpPr>
        <p:grpSpPr>
          <a:xfrm>
            <a:off x="5112583" y="3450477"/>
            <a:ext cx="548640" cy="548640"/>
            <a:chOff x="5112583" y="3450477"/>
            <a:chExt cx="548640" cy="548640"/>
          </a:xfrm>
        </p:grpSpPr>
        <p:sp>
          <p:nvSpPr>
            <p:cNvPr id="123" name="Oval 122"/>
            <p:cNvSpPr/>
            <p:nvPr/>
          </p:nvSpPr>
          <p:spPr>
            <a:xfrm>
              <a:off x="5112583" y="3450477"/>
              <a:ext cx="548640" cy="548640"/>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67599" name="Freeform 15"/>
            <p:cNvSpPr>
              <a:spLocks noEditPoints="1"/>
            </p:cNvSpPr>
            <p:nvPr/>
          </p:nvSpPr>
          <p:spPr bwMode="auto">
            <a:xfrm>
              <a:off x="5221044" y="3558903"/>
              <a:ext cx="331719" cy="331788"/>
            </a:xfrm>
            <a:custGeom>
              <a:avLst/>
              <a:gdLst/>
              <a:ahLst/>
              <a:cxnLst>
                <a:cxn ang="0">
                  <a:pos x="1420" y="1718"/>
                </a:cxn>
                <a:cxn ang="0">
                  <a:pos x="1354" y="1453"/>
                </a:cxn>
                <a:cxn ang="0">
                  <a:pos x="1212" y="1156"/>
                </a:cxn>
                <a:cxn ang="0">
                  <a:pos x="1652" y="567"/>
                </a:cxn>
                <a:cxn ang="0">
                  <a:pos x="1718" y="231"/>
                </a:cxn>
                <a:cxn ang="0">
                  <a:pos x="793" y="132"/>
                </a:cxn>
                <a:cxn ang="0">
                  <a:pos x="157" y="0"/>
                </a:cxn>
                <a:cxn ang="0">
                  <a:pos x="264" y="198"/>
                </a:cxn>
                <a:cxn ang="0">
                  <a:pos x="0" y="384"/>
                </a:cxn>
                <a:cxn ang="0">
                  <a:pos x="661" y="330"/>
                </a:cxn>
                <a:cxn ang="0">
                  <a:pos x="1268" y="396"/>
                </a:cxn>
                <a:cxn ang="0">
                  <a:pos x="593" y="1267"/>
                </a:cxn>
                <a:cxn ang="0">
                  <a:pos x="892" y="1519"/>
                </a:cxn>
                <a:cxn ang="0">
                  <a:pos x="892" y="1718"/>
                </a:cxn>
                <a:cxn ang="0">
                  <a:pos x="529" y="2048"/>
                </a:cxn>
                <a:cxn ang="0">
                  <a:pos x="1354" y="1784"/>
                </a:cxn>
                <a:cxn ang="0">
                  <a:pos x="66" y="343"/>
                </a:cxn>
                <a:cxn ang="0">
                  <a:pos x="330" y="132"/>
                </a:cxn>
                <a:cxn ang="0">
                  <a:pos x="173" y="66"/>
                </a:cxn>
                <a:cxn ang="0">
                  <a:pos x="595" y="396"/>
                </a:cxn>
                <a:cxn ang="0">
                  <a:pos x="595" y="66"/>
                </a:cxn>
                <a:cxn ang="0">
                  <a:pos x="661" y="264"/>
                </a:cxn>
                <a:cxn ang="0">
                  <a:pos x="793" y="264"/>
                </a:cxn>
                <a:cxn ang="0">
                  <a:pos x="1288" y="1586"/>
                </a:cxn>
                <a:cxn ang="0">
                  <a:pos x="1288" y="1718"/>
                </a:cxn>
                <a:cxn ang="0">
                  <a:pos x="958" y="1718"/>
                </a:cxn>
                <a:cxn ang="0">
                  <a:pos x="1024" y="1586"/>
                </a:cxn>
                <a:cxn ang="0">
                  <a:pos x="1024" y="1652"/>
                </a:cxn>
                <a:cxn ang="0">
                  <a:pos x="1222" y="1586"/>
                </a:cxn>
                <a:cxn ang="0">
                  <a:pos x="958" y="1519"/>
                </a:cxn>
                <a:cxn ang="0">
                  <a:pos x="1288" y="1519"/>
                </a:cxn>
                <a:cxn ang="0">
                  <a:pos x="1551" y="774"/>
                </a:cxn>
                <a:cxn ang="0">
                  <a:pos x="1040" y="1092"/>
                </a:cxn>
                <a:cxn ang="0">
                  <a:pos x="925" y="330"/>
                </a:cxn>
                <a:cxn ang="0">
                  <a:pos x="925" y="132"/>
                </a:cxn>
                <a:cxn ang="0">
                  <a:pos x="991" y="132"/>
                </a:cxn>
                <a:cxn ang="0">
                  <a:pos x="1652" y="330"/>
                </a:cxn>
                <a:cxn ang="0">
                  <a:pos x="1652" y="396"/>
                </a:cxn>
                <a:cxn ang="0">
                  <a:pos x="993" y="1045"/>
                </a:cxn>
                <a:cxn ang="0">
                  <a:pos x="1367" y="396"/>
                </a:cxn>
                <a:cxn ang="0">
                  <a:pos x="595" y="1112"/>
                </a:cxn>
                <a:cxn ang="0">
                  <a:pos x="1076" y="1222"/>
                </a:cxn>
                <a:cxn ang="0">
                  <a:pos x="806" y="1387"/>
                </a:cxn>
                <a:cxn ang="0">
                  <a:pos x="958" y="1652"/>
                </a:cxn>
                <a:cxn ang="0">
                  <a:pos x="1982" y="1982"/>
                </a:cxn>
                <a:cxn ang="0">
                  <a:pos x="1850" y="1916"/>
                </a:cxn>
                <a:cxn ang="0">
                  <a:pos x="1784" y="1916"/>
                </a:cxn>
                <a:cxn ang="0">
                  <a:pos x="1652" y="1982"/>
                </a:cxn>
                <a:cxn ang="0">
                  <a:pos x="1586" y="1982"/>
                </a:cxn>
                <a:cxn ang="0">
                  <a:pos x="1453" y="1916"/>
                </a:cxn>
                <a:cxn ang="0">
                  <a:pos x="1387" y="1916"/>
                </a:cxn>
                <a:cxn ang="0">
                  <a:pos x="1255" y="1982"/>
                </a:cxn>
                <a:cxn ang="0">
                  <a:pos x="1189" y="1982"/>
                </a:cxn>
                <a:cxn ang="0">
                  <a:pos x="1057" y="1916"/>
                </a:cxn>
                <a:cxn ang="0">
                  <a:pos x="991" y="1916"/>
                </a:cxn>
                <a:cxn ang="0">
                  <a:pos x="859" y="1982"/>
                </a:cxn>
                <a:cxn ang="0">
                  <a:pos x="793" y="1982"/>
                </a:cxn>
                <a:cxn ang="0">
                  <a:pos x="661" y="1916"/>
                </a:cxn>
                <a:cxn ang="0">
                  <a:pos x="595" y="1850"/>
                </a:cxn>
                <a:cxn ang="0">
                  <a:pos x="743" y="1024"/>
                </a:cxn>
                <a:cxn ang="0">
                  <a:pos x="826" y="1107"/>
                </a:cxn>
                <a:cxn ang="0">
                  <a:pos x="727" y="1107"/>
                </a:cxn>
                <a:cxn ang="0">
                  <a:pos x="743" y="1123"/>
                </a:cxn>
              </a:cxnLst>
              <a:rect l="0" t="0" r="r" b="b"/>
              <a:pathLst>
                <a:path w="2048" h="2048">
                  <a:moveTo>
                    <a:pt x="1354" y="1784"/>
                  </a:moveTo>
                  <a:cubicBezTo>
                    <a:pt x="1354" y="1718"/>
                    <a:pt x="1354" y="1718"/>
                    <a:pt x="1354" y="1718"/>
                  </a:cubicBezTo>
                  <a:cubicBezTo>
                    <a:pt x="1420" y="1718"/>
                    <a:pt x="1420" y="1718"/>
                    <a:pt x="1420" y="1718"/>
                  </a:cubicBezTo>
                  <a:cubicBezTo>
                    <a:pt x="1420" y="1519"/>
                    <a:pt x="1420" y="1519"/>
                    <a:pt x="1420" y="1519"/>
                  </a:cubicBezTo>
                  <a:cubicBezTo>
                    <a:pt x="1354" y="1519"/>
                    <a:pt x="1354" y="1519"/>
                    <a:pt x="1354" y="1519"/>
                  </a:cubicBezTo>
                  <a:cubicBezTo>
                    <a:pt x="1354" y="1453"/>
                    <a:pt x="1354" y="1453"/>
                    <a:pt x="1354" y="1453"/>
                  </a:cubicBezTo>
                  <a:cubicBezTo>
                    <a:pt x="1486" y="1453"/>
                    <a:pt x="1486" y="1453"/>
                    <a:pt x="1486" y="1453"/>
                  </a:cubicBezTo>
                  <a:cubicBezTo>
                    <a:pt x="1486" y="1156"/>
                    <a:pt x="1486" y="1156"/>
                    <a:pt x="1486" y="1156"/>
                  </a:cubicBezTo>
                  <a:cubicBezTo>
                    <a:pt x="1212" y="1156"/>
                    <a:pt x="1212" y="1156"/>
                    <a:pt x="1212" y="1156"/>
                  </a:cubicBezTo>
                  <a:cubicBezTo>
                    <a:pt x="1595" y="824"/>
                    <a:pt x="1595" y="824"/>
                    <a:pt x="1595" y="824"/>
                  </a:cubicBezTo>
                  <a:cubicBezTo>
                    <a:pt x="1631" y="793"/>
                    <a:pt x="1652" y="747"/>
                    <a:pt x="1652" y="699"/>
                  </a:cubicBezTo>
                  <a:cubicBezTo>
                    <a:pt x="1652" y="567"/>
                    <a:pt x="1652" y="567"/>
                    <a:pt x="1652" y="567"/>
                  </a:cubicBezTo>
                  <a:cubicBezTo>
                    <a:pt x="1683" y="540"/>
                    <a:pt x="1683" y="540"/>
                    <a:pt x="1683" y="540"/>
                  </a:cubicBezTo>
                  <a:cubicBezTo>
                    <a:pt x="1705" y="521"/>
                    <a:pt x="1718" y="494"/>
                    <a:pt x="1718" y="465"/>
                  </a:cubicBezTo>
                  <a:cubicBezTo>
                    <a:pt x="1718" y="231"/>
                    <a:pt x="1718" y="231"/>
                    <a:pt x="1718" y="231"/>
                  </a:cubicBezTo>
                  <a:cubicBezTo>
                    <a:pt x="1718" y="140"/>
                    <a:pt x="1644" y="66"/>
                    <a:pt x="1553" y="66"/>
                  </a:cubicBezTo>
                  <a:cubicBezTo>
                    <a:pt x="793" y="66"/>
                    <a:pt x="793" y="66"/>
                    <a:pt x="793" y="66"/>
                  </a:cubicBezTo>
                  <a:cubicBezTo>
                    <a:pt x="793" y="132"/>
                    <a:pt x="793" y="132"/>
                    <a:pt x="793" y="132"/>
                  </a:cubicBezTo>
                  <a:cubicBezTo>
                    <a:pt x="661" y="132"/>
                    <a:pt x="661" y="132"/>
                    <a:pt x="661" y="132"/>
                  </a:cubicBezTo>
                  <a:cubicBezTo>
                    <a:pt x="661" y="0"/>
                    <a:pt x="661" y="0"/>
                    <a:pt x="661" y="0"/>
                  </a:cubicBezTo>
                  <a:cubicBezTo>
                    <a:pt x="157" y="0"/>
                    <a:pt x="157" y="0"/>
                    <a:pt x="157" y="0"/>
                  </a:cubicBezTo>
                  <a:cubicBezTo>
                    <a:pt x="0" y="79"/>
                    <a:pt x="0" y="79"/>
                    <a:pt x="0" y="79"/>
                  </a:cubicBezTo>
                  <a:cubicBezTo>
                    <a:pt x="0" y="198"/>
                    <a:pt x="0" y="198"/>
                    <a:pt x="0" y="198"/>
                  </a:cubicBezTo>
                  <a:cubicBezTo>
                    <a:pt x="264" y="198"/>
                    <a:pt x="264" y="198"/>
                    <a:pt x="264" y="198"/>
                  </a:cubicBezTo>
                  <a:cubicBezTo>
                    <a:pt x="264" y="264"/>
                    <a:pt x="264" y="264"/>
                    <a:pt x="264" y="264"/>
                  </a:cubicBezTo>
                  <a:cubicBezTo>
                    <a:pt x="0" y="264"/>
                    <a:pt x="0" y="264"/>
                    <a:pt x="0" y="264"/>
                  </a:cubicBezTo>
                  <a:cubicBezTo>
                    <a:pt x="0" y="384"/>
                    <a:pt x="0" y="384"/>
                    <a:pt x="0" y="384"/>
                  </a:cubicBezTo>
                  <a:cubicBezTo>
                    <a:pt x="157" y="462"/>
                    <a:pt x="157" y="462"/>
                    <a:pt x="157" y="462"/>
                  </a:cubicBezTo>
                  <a:cubicBezTo>
                    <a:pt x="661" y="462"/>
                    <a:pt x="661" y="462"/>
                    <a:pt x="661" y="462"/>
                  </a:cubicBezTo>
                  <a:cubicBezTo>
                    <a:pt x="661" y="330"/>
                    <a:pt x="661" y="330"/>
                    <a:pt x="661" y="330"/>
                  </a:cubicBezTo>
                  <a:cubicBezTo>
                    <a:pt x="793" y="330"/>
                    <a:pt x="793" y="330"/>
                    <a:pt x="793" y="330"/>
                  </a:cubicBezTo>
                  <a:cubicBezTo>
                    <a:pt x="793" y="396"/>
                    <a:pt x="793" y="396"/>
                    <a:pt x="793" y="396"/>
                  </a:cubicBezTo>
                  <a:cubicBezTo>
                    <a:pt x="1268" y="396"/>
                    <a:pt x="1268" y="396"/>
                    <a:pt x="1268" y="396"/>
                  </a:cubicBezTo>
                  <a:cubicBezTo>
                    <a:pt x="710" y="895"/>
                    <a:pt x="710" y="895"/>
                    <a:pt x="710" y="895"/>
                  </a:cubicBezTo>
                  <a:cubicBezTo>
                    <a:pt x="607" y="914"/>
                    <a:pt x="529" y="1004"/>
                    <a:pt x="529" y="1112"/>
                  </a:cubicBezTo>
                  <a:cubicBezTo>
                    <a:pt x="529" y="1170"/>
                    <a:pt x="551" y="1226"/>
                    <a:pt x="593" y="1267"/>
                  </a:cubicBezTo>
                  <a:cubicBezTo>
                    <a:pt x="779" y="1453"/>
                    <a:pt x="779" y="1453"/>
                    <a:pt x="779" y="1453"/>
                  </a:cubicBezTo>
                  <a:cubicBezTo>
                    <a:pt x="892" y="1453"/>
                    <a:pt x="892" y="1453"/>
                    <a:pt x="892" y="1453"/>
                  </a:cubicBezTo>
                  <a:cubicBezTo>
                    <a:pt x="892" y="1519"/>
                    <a:pt x="892" y="1519"/>
                    <a:pt x="892" y="1519"/>
                  </a:cubicBezTo>
                  <a:cubicBezTo>
                    <a:pt x="826" y="1519"/>
                    <a:pt x="826" y="1519"/>
                    <a:pt x="826" y="1519"/>
                  </a:cubicBezTo>
                  <a:cubicBezTo>
                    <a:pt x="826" y="1718"/>
                    <a:pt x="826" y="1718"/>
                    <a:pt x="826" y="1718"/>
                  </a:cubicBezTo>
                  <a:cubicBezTo>
                    <a:pt x="892" y="1718"/>
                    <a:pt x="892" y="1718"/>
                    <a:pt x="892" y="1718"/>
                  </a:cubicBezTo>
                  <a:cubicBezTo>
                    <a:pt x="892" y="1784"/>
                    <a:pt x="892" y="1784"/>
                    <a:pt x="892" y="1784"/>
                  </a:cubicBezTo>
                  <a:cubicBezTo>
                    <a:pt x="529" y="1784"/>
                    <a:pt x="529" y="1784"/>
                    <a:pt x="529" y="1784"/>
                  </a:cubicBezTo>
                  <a:cubicBezTo>
                    <a:pt x="529" y="2048"/>
                    <a:pt x="529" y="2048"/>
                    <a:pt x="529" y="2048"/>
                  </a:cubicBezTo>
                  <a:cubicBezTo>
                    <a:pt x="2048" y="2048"/>
                    <a:pt x="2048" y="2048"/>
                    <a:pt x="2048" y="2048"/>
                  </a:cubicBezTo>
                  <a:cubicBezTo>
                    <a:pt x="2048" y="1784"/>
                    <a:pt x="2048" y="1784"/>
                    <a:pt x="2048" y="1784"/>
                  </a:cubicBezTo>
                  <a:lnTo>
                    <a:pt x="1354" y="1784"/>
                  </a:lnTo>
                  <a:close/>
                  <a:moveTo>
                    <a:pt x="396" y="396"/>
                  </a:moveTo>
                  <a:cubicBezTo>
                    <a:pt x="173" y="396"/>
                    <a:pt x="173" y="396"/>
                    <a:pt x="173" y="396"/>
                  </a:cubicBezTo>
                  <a:cubicBezTo>
                    <a:pt x="66" y="343"/>
                    <a:pt x="66" y="343"/>
                    <a:pt x="66" y="343"/>
                  </a:cubicBezTo>
                  <a:cubicBezTo>
                    <a:pt x="66" y="330"/>
                    <a:pt x="66" y="330"/>
                    <a:pt x="66" y="330"/>
                  </a:cubicBezTo>
                  <a:cubicBezTo>
                    <a:pt x="330" y="330"/>
                    <a:pt x="330" y="330"/>
                    <a:pt x="330" y="330"/>
                  </a:cubicBezTo>
                  <a:cubicBezTo>
                    <a:pt x="330" y="132"/>
                    <a:pt x="330" y="132"/>
                    <a:pt x="330" y="132"/>
                  </a:cubicBezTo>
                  <a:cubicBezTo>
                    <a:pt x="66" y="132"/>
                    <a:pt x="66" y="132"/>
                    <a:pt x="66" y="132"/>
                  </a:cubicBezTo>
                  <a:cubicBezTo>
                    <a:pt x="66" y="120"/>
                    <a:pt x="66" y="120"/>
                    <a:pt x="66" y="120"/>
                  </a:cubicBezTo>
                  <a:cubicBezTo>
                    <a:pt x="173" y="66"/>
                    <a:pt x="173" y="66"/>
                    <a:pt x="173" y="66"/>
                  </a:cubicBezTo>
                  <a:cubicBezTo>
                    <a:pt x="396" y="66"/>
                    <a:pt x="396" y="66"/>
                    <a:pt x="396" y="66"/>
                  </a:cubicBezTo>
                  <a:lnTo>
                    <a:pt x="396" y="396"/>
                  </a:lnTo>
                  <a:close/>
                  <a:moveTo>
                    <a:pt x="595" y="396"/>
                  </a:moveTo>
                  <a:cubicBezTo>
                    <a:pt x="462" y="396"/>
                    <a:pt x="462" y="396"/>
                    <a:pt x="462" y="396"/>
                  </a:cubicBezTo>
                  <a:cubicBezTo>
                    <a:pt x="462" y="66"/>
                    <a:pt x="462" y="66"/>
                    <a:pt x="462" y="66"/>
                  </a:cubicBezTo>
                  <a:cubicBezTo>
                    <a:pt x="595" y="66"/>
                    <a:pt x="595" y="66"/>
                    <a:pt x="595" y="66"/>
                  </a:cubicBezTo>
                  <a:lnTo>
                    <a:pt x="595" y="396"/>
                  </a:lnTo>
                  <a:close/>
                  <a:moveTo>
                    <a:pt x="793" y="264"/>
                  </a:moveTo>
                  <a:cubicBezTo>
                    <a:pt x="661" y="264"/>
                    <a:pt x="661" y="264"/>
                    <a:pt x="661" y="264"/>
                  </a:cubicBezTo>
                  <a:cubicBezTo>
                    <a:pt x="661" y="198"/>
                    <a:pt x="661" y="198"/>
                    <a:pt x="661" y="198"/>
                  </a:cubicBezTo>
                  <a:cubicBezTo>
                    <a:pt x="793" y="198"/>
                    <a:pt x="793" y="198"/>
                    <a:pt x="793" y="198"/>
                  </a:cubicBezTo>
                  <a:lnTo>
                    <a:pt x="793" y="264"/>
                  </a:lnTo>
                  <a:close/>
                  <a:moveTo>
                    <a:pt x="1354" y="1652"/>
                  </a:moveTo>
                  <a:cubicBezTo>
                    <a:pt x="1288" y="1652"/>
                    <a:pt x="1288" y="1652"/>
                    <a:pt x="1288" y="1652"/>
                  </a:cubicBezTo>
                  <a:cubicBezTo>
                    <a:pt x="1288" y="1586"/>
                    <a:pt x="1288" y="1586"/>
                    <a:pt x="1288" y="1586"/>
                  </a:cubicBezTo>
                  <a:cubicBezTo>
                    <a:pt x="1354" y="1586"/>
                    <a:pt x="1354" y="1586"/>
                    <a:pt x="1354" y="1586"/>
                  </a:cubicBezTo>
                  <a:lnTo>
                    <a:pt x="1354" y="1652"/>
                  </a:lnTo>
                  <a:close/>
                  <a:moveTo>
                    <a:pt x="1288" y="1718"/>
                  </a:moveTo>
                  <a:cubicBezTo>
                    <a:pt x="1288" y="1784"/>
                    <a:pt x="1288" y="1784"/>
                    <a:pt x="1288" y="1784"/>
                  </a:cubicBezTo>
                  <a:cubicBezTo>
                    <a:pt x="958" y="1784"/>
                    <a:pt x="958" y="1784"/>
                    <a:pt x="958" y="1784"/>
                  </a:cubicBezTo>
                  <a:cubicBezTo>
                    <a:pt x="958" y="1718"/>
                    <a:pt x="958" y="1718"/>
                    <a:pt x="958" y="1718"/>
                  </a:cubicBezTo>
                  <a:lnTo>
                    <a:pt x="1288" y="1718"/>
                  </a:lnTo>
                  <a:close/>
                  <a:moveTo>
                    <a:pt x="1024" y="1652"/>
                  </a:moveTo>
                  <a:cubicBezTo>
                    <a:pt x="1024" y="1586"/>
                    <a:pt x="1024" y="1586"/>
                    <a:pt x="1024" y="1586"/>
                  </a:cubicBezTo>
                  <a:cubicBezTo>
                    <a:pt x="1090" y="1586"/>
                    <a:pt x="1090" y="1586"/>
                    <a:pt x="1090" y="1586"/>
                  </a:cubicBezTo>
                  <a:cubicBezTo>
                    <a:pt x="1090" y="1652"/>
                    <a:pt x="1090" y="1652"/>
                    <a:pt x="1090" y="1652"/>
                  </a:cubicBezTo>
                  <a:lnTo>
                    <a:pt x="1024" y="1652"/>
                  </a:lnTo>
                  <a:close/>
                  <a:moveTo>
                    <a:pt x="1156" y="1652"/>
                  </a:moveTo>
                  <a:cubicBezTo>
                    <a:pt x="1156" y="1586"/>
                    <a:pt x="1156" y="1586"/>
                    <a:pt x="1156" y="1586"/>
                  </a:cubicBezTo>
                  <a:cubicBezTo>
                    <a:pt x="1222" y="1586"/>
                    <a:pt x="1222" y="1586"/>
                    <a:pt x="1222" y="1586"/>
                  </a:cubicBezTo>
                  <a:cubicBezTo>
                    <a:pt x="1222" y="1652"/>
                    <a:pt x="1222" y="1652"/>
                    <a:pt x="1222" y="1652"/>
                  </a:cubicBezTo>
                  <a:lnTo>
                    <a:pt x="1156" y="1652"/>
                  </a:lnTo>
                  <a:close/>
                  <a:moveTo>
                    <a:pt x="958" y="1519"/>
                  </a:moveTo>
                  <a:cubicBezTo>
                    <a:pt x="958" y="1453"/>
                    <a:pt x="958" y="1453"/>
                    <a:pt x="958" y="1453"/>
                  </a:cubicBezTo>
                  <a:cubicBezTo>
                    <a:pt x="1288" y="1453"/>
                    <a:pt x="1288" y="1453"/>
                    <a:pt x="1288" y="1453"/>
                  </a:cubicBezTo>
                  <a:cubicBezTo>
                    <a:pt x="1288" y="1519"/>
                    <a:pt x="1288" y="1519"/>
                    <a:pt x="1288" y="1519"/>
                  </a:cubicBezTo>
                  <a:lnTo>
                    <a:pt x="958" y="1519"/>
                  </a:lnTo>
                  <a:close/>
                  <a:moveTo>
                    <a:pt x="1586" y="699"/>
                  </a:moveTo>
                  <a:cubicBezTo>
                    <a:pt x="1586" y="728"/>
                    <a:pt x="1573" y="755"/>
                    <a:pt x="1551" y="774"/>
                  </a:cubicBezTo>
                  <a:cubicBezTo>
                    <a:pt x="1111" y="1156"/>
                    <a:pt x="1111" y="1156"/>
                    <a:pt x="1111" y="1156"/>
                  </a:cubicBezTo>
                  <a:cubicBezTo>
                    <a:pt x="1104" y="1156"/>
                    <a:pt x="1104" y="1156"/>
                    <a:pt x="1104" y="1156"/>
                  </a:cubicBezTo>
                  <a:cubicBezTo>
                    <a:pt x="1040" y="1092"/>
                    <a:pt x="1040" y="1092"/>
                    <a:pt x="1040" y="1092"/>
                  </a:cubicBezTo>
                  <a:cubicBezTo>
                    <a:pt x="1586" y="624"/>
                    <a:pt x="1586" y="624"/>
                    <a:pt x="1586" y="624"/>
                  </a:cubicBezTo>
                  <a:lnTo>
                    <a:pt x="1586" y="699"/>
                  </a:lnTo>
                  <a:close/>
                  <a:moveTo>
                    <a:pt x="925" y="330"/>
                  </a:moveTo>
                  <a:cubicBezTo>
                    <a:pt x="859" y="330"/>
                    <a:pt x="859" y="330"/>
                    <a:pt x="859" y="330"/>
                  </a:cubicBezTo>
                  <a:cubicBezTo>
                    <a:pt x="859" y="132"/>
                    <a:pt x="859" y="132"/>
                    <a:pt x="859" y="132"/>
                  </a:cubicBezTo>
                  <a:cubicBezTo>
                    <a:pt x="925" y="132"/>
                    <a:pt x="925" y="132"/>
                    <a:pt x="925" y="132"/>
                  </a:cubicBezTo>
                  <a:lnTo>
                    <a:pt x="925" y="330"/>
                  </a:lnTo>
                  <a:close/>
                  <a:moveTo>
                    <a:pt x="991" y="330"/>
                  </a:moveTo>
                  <a:cubicBezTo>
                    <a:pt x="991" y="132"/>
                    <a:pt x="991" y="132"/>
                    <a:pt x="991" y="132"/>
                  </a:cubicBezTo>
                  <a:cubicBezTo>
                    <a:pt x="1553" y="132"/>
                    <a:pt x="1553" y="132"/>
                    <a:pt x="1553" y="132"/>
                  </a:cubicBezTo>
                  <a:cubicBezTo>
                    <a:pt x="1607" y="132"/>
                    <a:pt x="1652" y="177"/>
                    <a:pt x="1652" y="231"/>
                  </a:cubicBezTo>
                  <a:cubicBezTo>
                    <a:pt x="1652" y="330"/>
                    <a:pt x="1652" y="330"/>
                    <a:pt x="1652" y="330"/>
                  </a:cubicBezTo>
                  <a:lnTo>
                    <a:pt x="991" y="330"/>
                  </a:lnTo>
                  <a:close/>
                  <a:moveTo>
                    <a:pt x="1367" y="396"/>
                  </a:moveTo>
                  <a:cubicBezTo>
                    <a:pt x="1652" y="396"/>
                    <a:pt x="1652" y="396"/>
                    <a:pt x="1652" y="396"/>
                  </a:cubicBezTo>
                  <a:cubicBezTo>
                    <a:pt x="1652" y="465"/>
                    <a:pt x="1652" y="465"/>
                    <a:pt x="1652" y="465"/>
                  </a:cubicBezTo>
                  <a:cubicBezTo>
                    <a:pt x="1652" y="475"/>
                    <a:pt x="1647" y="484"/>
                    <a:pt x="1640" y="490"/>
                  </a:cubicBezTo>
                  <a:cubicBezTo>
                    <a:pt x="993" y="1045"/>
                    <a:pt x="993" y="1045"/>
                    <a:pt x="993" y="1045"/>
                  </a:cubicBezTo>
                  <a:cubicBezTo>
                    <a:pt x="904" y="956"/>
                    <a:pt x="904" y="956"/>
                    <a:pt x="904" y="956"/>
                  </a:cubicBezTo>
                  <a:cubicBezTo>
                    <a:pt x="876" y="928"/>
                    <a:pt x="842" y="909"/>
                    <a:pt x="805" y="899"/>
                  </a:cubicBezTo>
                  <a:lnTo>
                    <a:pt x="1367" y="396"/>
                  </a:lnTo>
                  <a:close/>
                  <a:moveTo>
                    <a:pt x="806" y="1387"/>
                  </a:moveTo>
                  <a:cubicBezTo>
                    <a:pt x="640" y="1221"/>
                    <a:pt x="640" y="1221"/>
                    <a:pt x="640" y="1221"/>
                  </a:cubicBezTo>
                  <a:cubicBezTo>
                    <a:pt x="611" y="1191"/>
                    <a:pt x="595" y="1153"/>
                    <a:pt x="595" y="1112"/>
                  </a:cubicBezTo>
                  <a:cubicBezTo>
                    <a:pt x="595" y="1027"/>
                    <a:pt x="664" y="958"/>
                    <a:pt x="748" y="958"/>
                  </a:cubicBezTo>
                  <a:cubicBezTo>
                    <a:pt x="790" y="958"/>
                    <a:pt x="828" y="974"/>
                    <a:pt x="857" y="1003"/>
                  </a:cubicBezTo>
                  <a:cubicBezTo>
                    <a:pt x="1076" y="1222"/>
                    <a:pt x="1076" y="1222"/>
                    <a:pt x="1076" y="1222"/>
                  </a:cubicBezTo>
                  <a:cubicBezTo>
                    <a:pt x="1420" y="1222"/>
                    <a:pt x="1420" y="1222"/>
                    <a:pt x="1420" y="1222"/>
                  </a:cubicBezTo>
                  <a:cubicBezTo>
                    <a:pt x="1420" y="1387"/>
                    <a:pt x="1420" y="1387"/>
                    <a:pt x="1420" y="1387"/>
                  </a:cubicBezTo>
                  <a:lnTo>
                    <a:pt x="806" y="1387"/>
                  </a:lnTo>
                  <a:close/>
                  <a:moveTo>
                    <a:pt x="892" y="1586"/>
                  </a:moveTo>
                  <a:cubicBezTo>
                    <a:pt x="958" y="1586"/>
                    <a:pt x="958" y="1586"/>
                    <a:pt x="958" y="1586"/>
                  </a:cubicBezTo>
                  <a:cubicBezTo>
                    <a:pt x="958" y="1652"/>
                    <a:pt x="958" y="1652"/>
                    <a:pt x="958" y="1652"/>
                  </a:cubicBezTo>
                  <a:cubicBezTo>
                    <a:pt x="892" y="1652"/>
                    <a:pt x="892" y="1652"/>
                    <a:pt x="892" y="1652"/>
                  </a:cubicBezTo>
                  <a:lnTo>
                    <a:pt x="892" y="1586"/>
                  </a:lnTo>
                  <a:close/>
                  <a:moveTo>
                    <a:pt x="1982" y="1982"/>
                  </a:moveTo>
                  <a:cubicBezTo>
                    <a:pt x="1916" y="1982"/>
                    <a:pt x="1916" y="1982"/>
                    <a:pt x="1916" y="1982"/>
                  </a:cubicBezTo>
                  <a:cubicBezTo>
                    <a:pt x="1916" y="1916"/>
                    <a:pt x="1916" y="1916"/>
                    <a:pt x="1916" y="1916"/>
                  </a:cubicBezTo>
                  <a:cubicBezTo>
                    <a:pt x="1850" y="1916"/>
                    <a:pt x="1850" y="1916"/>
                    <a:pt x="1850" y="1916"/>
                  </a:cubicBezTo>
                  <a:cubicBezTo>
                    <a:pt x="1850" y="1982"/>
                    <a:pt x="1850" y="1982"/>
                    <a:pt x="1850" y="1982"/>
                  </a:cubicBezTo>
                  <a:cubicBezTo>
                    <a:pt x="1784" y="1982"/>
                    <a:pt x="1784" y="1982"/>
                    <a:pt x="1784" y="1982"/>
                  </a:cubicBezTo>
                  <a:cubicBezTo>
                    <a:pt x="1784" y="1916"/>
                    <a:pt x="1784" y="1916"/>
                    <a:pt x="1784" y="1916"/>
                  </a:cubicBezTo>
                  <a:cubicBezTo>
                    <a:pt x="1718" y="1916"/>
                    <a:pt x="1718" y="1916"/>
                    <a:pt x="1718" y="1916"/>
                  </a:cubicBezTo>
                  <a:cubicBezTo>
                    <a:pt x="1718" y="1982"/>
                    <a:pt x="1718" y="1982"/>
                    <a:pt x="1718" y="1982"/>
                  </a:cubicBezTo>
                  <a:cubicBezTo>
                    <a:pt x="1652" y="1982"/>
                    <a:pt x="1652" y="1982"/>
                    <a:pt x="1652" y="1982"/>
                  </a:cubicBezTo>
                  <a:cubicBezTo>
                    <a:pt x="1652" y="1916"/>
                    <a:pt x="1652" y="1916"/>
                    <a:pt x="1652" y="1916"/>
                  </a:cubicBezTo>
                  <a:cubicBezTo>
                    <a:pt x="1586" y="1916"/>
                    <a:pt x="1586" y="1916"/>
                    <a:pt x="1586" y="1916"/>
                  </a:cubicBezTo>
                  <a:cubicBezTo>
                    <a:pt x="1586" y="1982"/>
                    <a:pt x="1586" y="1982"/>
                    <a:pt x="1586" y="1982"/>
                  </a:cubicBezTo>
                  <a:cubicBezTo>
                    <a:pt x="1519" y="1982"/>
                    <a:pt x="1519" y="1982"/>
                    <a:pt x="1519" y="1982"/>
                  </a:cubicBezTo>
                  <a:cubicBezTo>
                    <a:pt x="1519" y="1916"/>
                    <a:pt x="1519" y="1916"/>
                    <a:pt x="1519" y="1916"/>
                  </a:cubicBezTo>
                  <a:cubicBezTo>
                    <a:pt x="1453" y="1916"/>
                    <a:pt x="1453" y="1916"/>
                    <a:pt x="1453" y="1916"/>
                  </a:cubicBezTo>
                  <a:cubicBezTo>
                    <a:pt x="1453" y="1982"/>
                    <a:pt x="1453" y="1982"/>
                    <a:pt x="1453" y="1982"/>
                  </a:cubicBezTo>
                  <a:cubicBezTo>
                    <a:pt x="1387" y="1982"/>
                    <a:pt x="1387" y="1982"/>
                    <a:pt x="1387" y="1982"/>
                  </a:cubicBezTo>
                  <a:cubicBezTo>
                    <a:pt x="1387" y="1916"/>
                    <a:pt x="1387" y="1916"/>
                    <a:pt x="1387" y="1916"/>
                  </a:cubicBezTo>
                  <a:cubicBezTo>
                    <a:pt x="1321" y="1916"/>
                    <a:pt x="1321" y="1916"/>
                    <a:pt x="1321" y="1916"/>
                  </a:cubicBezTo>
                  <a:cubicBezTo>
                    <a:pt x="1321" y="1982"/>
                    <a:pt x="1321" y="1982"/>
                    <a:pt x="1321" y="1982"/>
                  </a:cubicBezTo>
                  <a:cubicBezTo>
                    <a:pt x="1255" y="1982"/>
                    <a:pt x="1255" y="1982"/>
                    <a:pt x="1255" y="1982"/>
                  </a:cubicBezTo>
                  <a:cubicBezTo>
                    <a:pt x="1255" y="1916"/>
                    <a:pt x="1255" y="1916"/>
                    <a:pt x="1255" y="1916"/>
                  </a:cubicBezTo>
                  <a:cubicBezTo>
                    <a:pt x="1189" y="1916"/>
                    <a:pt x="1189" y="1916"/>
                    <a:pt x="1189" y="1916"/>
                  </a:cubicBezTo>
                  <a:cubicBezTo>
                    <a:pt x="1189" y="1982"/>
                    <a:pt x="1189" y="1982"/>
                    <a:pt x="1189" y="1982"/>
                  </a:cubicBezTo>
                  <a:cubicBezTo>
                    <a:pt x="1123" y="1982"/>
                    <a:pt x="1123" y="1982"/>
                    <a:pt x="1123" y="1982"/>
                  </a:cubicBezTo>
                  <a:cubicBezTo>
                    <a:pt x="1123" y="1916"/>
                    <a:pt x="1123" y="1916"/>
                    <a:pt x="1123" y="1916"/>
                  </a:cubicBezTo>
                  <a:cubicBezTo>
                    <a:pt x="1057" y="1916"/>
                    <a:pt x="1057" y="1916"/>
                    <a:pt x="1057" y="1916"/>
                  </a:cubicBezTo>
                  <a:cubicBezTo>
                    <a:pt x="1057" y="1982"/>
                    <a:pt x="1057" y="1982"/>
                    <a:pt x="1057" y="1982"/>
                  </a:cubicBezTo>
                  <a:cubicBezTo>
                    <a:pt x="991" y="1982"/>
                    <a:pt x="991" y="1982"/>
                    <a:pt x="991" y="1982"/>
                  </a:cubicBezTo>
                  <a:cubicBezTo>
                    <a:pt x="991" y="1916"/>
                    <a:pt x="991" y="1916"/>
                    <a:pt x="991" y="1916"/>
                  </a:cubicBezTo>
                  <a:cubicBezTo>
                    <a:pt x="925" y="1916"/>
                    <a:pt x="925" y="1916"/>
                    <a:pt x="925" y="1916"/>
                  </a:cubicBezTo>
                  <a:cubicBezTo>
                    <a:pt x="925" y="1982"/>
                    <a:pt x="925" y="1982"/>
                    <a:pt x="925" y="1982"/>
                  </a:cubicBezTo>
                  <a:cubicBezTo>
                    <a:pt x="859" y="1982"/>
                    <a:pt x="859" y="1982"/>
                    <a:pt x="859" y="1982"/>
                  </a:cubicBezTo>
                  <a:cubicBezTo>
                    <a:pt x="859" y="1916"/>
                    <a:pt x="859" y="1916"/>
                    <a:pt x="859" y="1916"/>
                  </a:cubicBezTo>
                  <a:cubicBezTo>
                    <a:pt x="793" y="1916"/>
                    <a:pt x="793" y="1916"/>
                    <a:pt x="793" y="1916"/>
                  </a:cubicBezTo>
                  <a:cubicBezTo>
                    <a:pt x="793" y="1982"/>
                    <a:pt x="793" y="1982"/>
                    <a:pt x="793" y="1982"/>
                  </a:cubicBezTo>
                  <a:cubicBezTo>
                    <a:pt x="727" y="1982"/>
                    <a:pt x="727" y="1982"/>
                    <a:pt x="727" y="1982"/>
                  </a:cubicBezTo>
                  <a:cubicBezTo>
                    <a:pt x="727" y="1916"/>
                    <a:pt x="727" y="1916"/>
                    <a:pt x="727" y="1916"/>
                  </a:cubicBezTo>
                  <a:cubicBezTo>
                    <a:pt x="661" y="1916"/>
                    <a:pt x="661" y="1916"/>
                    <a:pt x="661" y="1916"/>
                  </a:cubicBezTo>
                  <a:cubicBezTo>
                    <a:pt x="661" y="1982"/>
                    <a:pt x="661" y="1982"/>
                    <a:pt x="661" y="1982"/>
                  </a:cubicBezTo>
                  <a:cubicBezTo>
                    <a:pt x="595" y="1982"/>
                    <a:pt x="595" y="1982"/>
                    <a:pt x="595" y="1982"/>
                  </a:cubicBezTo>
                  <a:cubicBezTo>
                    <a:pt x="595" y="1850"/>
                    <a:pt x="595" y="1850"/>
                    <a:pt x="595" y="1850"/>
                  </a:cubicBezTo>
                  <a:cubicBezTo>
                    <a:pt x="1982" y="1850"/>
                    <a:pt x="1982" y="1850"/>
                    <a:pt x="1982" y="1850"/>
                  </a:cubicBezTo>
                  <a:lnTo>
                    <a:pt x="1982" y="1982"/>
                  </a:lnTo>
                  <a:close/>
                  <a:moveTo>
                    <a:pt x="743" y="1024"/>
                  </a:moveTo>
                  <a:cubicBezTo>
                    <a:pt x="698" y="1024"/>
                    <a:pt x="661" y="1061"/>
                    <a:pt x="661" y="1107"/>
                  </a:cubicBezTo>
                  <a:cubicBezTo>
                    <a:pt x="661" y="1152"/>
                    <a:pt x="698" y="1189"/>
                    <a:pt x="743" y="1189"/>
                  </a:cubicBezTo>
                  <a:cubicBezTo>
                    <a:pt x="789" y="1189"/>
                    <a:pt x="826" y="1152"/>
                    <a:pt x="826" y="1107"/>
                  </a:cubicBezTo>
                  <a:cubicBezTo>
                    <a:pt x="826" y="1061"/>
                    <a:pt x="789" y="1024"/>
                    <a:pt x="743" y="1024"/>
                  </a:cubicBezTo>
                  <a:close/>
                  <a:moveTo>
                    <a:pt x="743" y="1123"/>
                  </a:moveTo>
                  <a:cubicBezTo>
                    <a:pt x="734" y="1123"/>
                    <a:pt x="727" y="1116"/>
                    <a:pt x="727" y="1107"/>
                  </a:cubicBezTo>
                  <a:cubicBezTo>
                    <a:pt x="727" y="1097"/>
                    <a:pt x="734" y="1090"/>
                    <a:pt x="743" y="1090"/>
                  </a:cubicBezTo>
                  <a:cubicBezTo>
                    <a:pt x="752" y="1090"/>
                    <a:pt x="760" y="1097"/>
                    <a:pt x="760" y="1107"/>
                  </a:cubicBezTo>
                  <a:cubicBezTo>
                    <a:pt x="760" y="1116"/>
                    <a:pt x="752" y="1123"/>
                    <a:pt x="743" y="1123"/>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26" name="Group 125"/>
          <p:cNvGrpSpPr/>
          <p:nvPr/>
        </p:nvGrpSpPr>
        <p:grpSpPr>
          <a:xfrm>
            <a:off x="6966158" y="3447474"/>
            <a:ext cx="548640" cy="548640"/>
            <a:chOff x="6966158" y="3447474"/>
            <a:chExt cx="548640" cy="548640"/>
          </a:xfrm>
        </p:grpSpPr>
        <p:sp>
          <p:nvSpPr>
            <p:cNvPr id="127" name="Oval 126"/>
            <p:cNvSpPr/>
            <p:nvPr/>
          </p:nvSpPr>
          <p:spPr>
            <a:xfrm>
              <a:off x="6966158" y="3447474"/>
              <a:ext cx="548640" cy="548640"/>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25" name="Freeform 22"/>
            <p:cNvSpPr>
              <a:spLocks noEditPoints="1"/>
            </p:cNvSpPr>
            <p:nvPr/>
          </p:nvSpPr>
          <p:spPr bwMode="auto">
            <a:xfrm>
              <a:off x="7080935" y="3567528"/>
              <a:ext cx="319087" cy="308532"/>
            </a:xfrm>
            <a:custGeom>
              <a:avLst/>
              <a:gdLst/>
              <a:ahLst/>
              <a:cxnLst>
                <a:cxn ang="0">
                  <a:pos x="341" y="819"/>
                </a:cxn>
                <a:cxn ang="0">
                  <a:pos x="273" y="888"/>
                </a:cxn>
                <a:cxn ang="0">
                  <a:pos x="273" y="751"/>
                </a:cxn>
                <a:cxn ang="0">
                  <a:pos x="273" y="546"/>
                </a:cxn>
                <a:cxn ang="0">
                  <a:pos x="341" y="615"/>
                </a:cxn>
                <a:cxn ang="0">
                  <a:pos x="341" y="1297"/>
                </a:cxn>
                <a:cxn ang="0">
                  <a:pos x="205" y="1161"/>
                </a:cxn>
                <a:cxn ang="0">
                  <a:pos x="341" y="1229"/>
                </a:cxn>
                <a:cxn ang="0">
                  <a:pos x="410" y="1502"/>
                </a:cxn>
                <a:cxn ang="0">
                  <a:pos x="205" y="1502"/>
                </a:cxn>
                <a:cxn ang="0">
                  <a:pos x="273" y="1502"/>
                </a:cxn>
                <a:cxn ang="0">
                  <a:pos x="1843" y="888"/>
                </a:cxn>
                <a:cxn ang="0">
                  <a:pos x="1707" y="1024"/>
                </a:cxn>
                <a:cxn ang="0">
                  <a:pos x="1707" y="888"/>
                </a:cxn>
                <a:cxn ang="0">
                  <a:pos x="887" y="1127"/>
                </a:cxn>
                <a:cxn ang="0">
                  <a:pos x="819" y="1195"/>
                </a:cxn>
                <a:cxn ang="0">
                  <a:pos x="1707" y="751"/>
                </a:cxn>
                <a:cxn ang="0">
                  <a:pos x="1707" y="546"/>
                </a:cxn>
                <a:cxn ang="0">
                  <a:pos x="1775" y="615"/>
                </a:cxn>
                <a:cxn ang="0">
                  <a:pos x="1775" y="1297"/>
                </a:cxn>
                <a:cxn ang="0">
                  <a:pos x="1638" y="1161"/>
                </a:cxn>
                <a:cxn ang="0">
                  <a:pos x="1775" y="1229"/>
                </a:cxn>
                <a:cxn ang="0">
                  <a:pos x="1297" y="444"/>
                </a:cxn>
                <a:cxn ang="0">
                  <a:pos x="1092" y="444"/>
                </a:cxn>
                <a:cxn ang="0">
                  <a:pos x="1161" y="444"/>
                </a:cxn>
                <a:cxn ang="0">
                  <a:pos x="1843" y="1434"/>
                </a:cxn>
                <a:cxn ang="0">
                  <a:pos x="1707" y="1570"/>
                </a:cxn>
                <a:cxn ang="0">
                  <a:pos x="1707" y="1434"/>
                </a:cxn>
                <a:cxn ang="0">
                  <a:pos x="1843" y="376"/>
                </a:cxn>
                <a:cxn ang="0">
                  <a:pos x="1638" y="376"/>
                </a:cxn>
                <a:cxn ang="0">
                  <a:pos x="1161" y="68"/>
                </a:cxn>
                <a:cxn ang="0">
                  <a:pos x="956" y="68"/>
                </a:cxn>
                <a:cxn ang="0">
                  <a:pos x="580" y="68"/>
                </a:cxn>
                <a:cxn ang="0">
                  <a:pos x="375" y="341"/>
                </a:cxn>
                <a:cxn ang="0">
                  <a:pos x="171" y="341"/>
                </a:cxn>
                <a:cxn ang="0">
                  <a:pos x="0" y="1946"/>
                </a:cxn>
                <a:cxn ang="0">
                  <a:pos x="2014" y="410"/>
                </a:cxn>
                <a:cxn ang="0">
                  <a:pos x="546" y="1912"/>
                </a:cxn>
                <a:cxn ang="0">
                  <a:pos x="546" y="1639"/>
                </a:cxn>
                <a:cxn ang="0">
                  <a:pos x="990" y="1912"/>
                </a:cxn>
                <a:cxn ang="0">
                  <a:pos x="1263" y="1912"/>
                </a:cxn>
                <a:cxn ang="0">
                  <a:pos x="751" y="1570"/>
                </a:cxn>
                <a:cxn ang="0">
                  <a:pos x="614" y="1673"/>
                </a:cxn>
                <a:cxn ang="0">
                  <a:pos x="1502" y="1912"/>
                </a:cxn>
                <a:cxn ang="0">
                  <a:pos x="1502" y="1639"/>
                </a:cxn>
                <a:cxn ang="0">
                  <a:pos x="1229" y="1058"/>
                </a:cxn>
                <a:cxn ang="0">
                  <a:pos x="1092" y="922"/>
                </a:cxn>
                <a:cxn ang="0">
                  <a:pos x="1229" y="990"/>
                </a:cxn>
                <a:cxn ang="0">
                  <a:pos x="956" y="990"/>
                </a:cxn>
                <a:cxn ang="0">
                  <a:pos x="751" y="990"/>
                </a:cxn>
                <a:cxn ang="0">
                  <a:pos x="819" y="990"/>
                </a:cxn>
                <a:cxn ang="0">
                  <a:pos x="1297" y="649"/>
                </a:cxn>
                <a:cxn ang="0">
                  <a:pos x="1161" y="785"/>
                </a:cxn>
                <a:cxn ang="0">
                  <a:pos x="1161" y="649"/>
                </a:cxn>
                <a:cxn ang="0">
                  <a:pos x="1229" y="1127"/>
                </a:cxn>
                <a:cxn ang="0">
                  <a:pos x="1161" y="1195"/>
                </a:cxn>
                <a:cxn ang="0">
                  <a:pos x="819" y="785"/>
                </a:cxn>
                <a:cxn ang="0">
                  <a:pos x="819" y="580"/>
                </a:cxn>
                <a:cxn ang="0">
                  <a:pos x="887" y="649"/>
                </a:cxn>
                <a:cxn ang="0">
                  <a:pos x="887" y="512"/>
                </a:cxn>
                <a:cxn ang="0">
                  <a:pos x="751" y="376"/>
                </a:cxn>
                <a:cxn ang="0">
                  <a:pos x="887" y="444"/>
                </a:cxn>
              </a:cxnLst>
              <a:rect l="0" t="0" r="r" b="b"/>
              <a:pathLst>
                <a:path w="2048" h="1980">
                  <a:moveTo>
                    <a:pt x="273" y="1024"/>
                  </a:moveTo>
                  <a:cubicBezTo>
                    <a:pt x="341" y="1024"/>
                    <a:pt x="341" y="1024"/>
                    <a:pt x="341" y="1024"/>
                  </a:cubicBezTo>
                  <a:cubicBezTo>
                    <a:pt x="379" y="1024"/>
                    <a:pt x="410" y="993"/>
                    <a:pt x="410" y="956"/>
                  </a:cubicBezTo>
                  <a:cubicBezTo>
                    <a:pt x="410" y="888"/>
                    <a:pt x="410" y="888"/>
                    <a:pt x="410" y="888"/>
                  </a:cubicBezTo>
                  <a:cubicBezTo>
                    <a:pt x="410" y="850"/>
                    <a:pt x="379" y="819"/>
                    <a:pt x="341" y="819"/>
                  </a:cubicBezTo>
                  <a:cubicBezTo>
                    <a:pt x="273" y="819"/>
                    <a:pt x="273" y="819"/>
                    <a:pt x="273" y="819"/>
                  </a:cubicBezTo>
                  <a:cubicBezTo>
                    <a:pt x="236" y="819"/>
                    <a:pt x="205" y="850"/>
                    <a:pt x="205" y="888"/>
                  </a:cubicBezTo>
                  <a:cubicBezTo>
                    <a:pt x="205" y="956"/>
                    <a:pt x="205" y="956"/>
                    <a:pt x="205" y="956"/>
                  </a:cubicBezTo>
                  <a:cubicBezTo>
                    <a:pt x="205" y="993"/>
                    <a:pt x="236" y="1024"/>
                    <a:pt x="273" y="1024"/>
                  </a:cubicBezTo>
                  <a:close/>
                  <a:moveTo>
                    <a:pt x="273" y="888"/>
                  </a:moveTo>
                  <a:cubicBezTo>
                    <a:pt x="341" y="888"/>
                    <a:pt x="341" y="888"/>
                    <a:pt x="341" y="888"/>
                  </a:cubicBezTo>
                  <a:cubicBezTo>
                    <a:pt x="341" y="956"/>
                    <a:pt x="341" y="956"/>
                    <a:pt x="341" y="956"/>
                  </a:cubicBezTo>
                  <a:cubicBezTo>
                    <a:pt x="273" y="956"/>
                    <a:pt x="273" y="956"/>
                    <a:pt x="273" y="956"/>
                  </a:cubicBezTo>
                  <a:lnTo>
                    <a:pt x="273" y="888"/>
                  </a:lnTo>
                  <a:close/>
                  <a:moveTo>
                    <a:pt x="273" y="751"/>
                  </a:moveTo>
                  <a:cubicBezTo>
                    <a:pt x="341" y="751"/>
                    <a:pt x="341" y="751"/>
                    <a:pt x="341" y="751"/>
                  </a:cubicBezTo>
                  <a:cubicBezTo>
                    <a:pt x="379" y="751"/>
                    <a:pt x="410" y="720"/>
                    <a:pt x="410" y="683"/>
                  </a:cubicBezTo>
                  <a:cubicBezTo>
                    <a:pt x="410" y="615"/>
                    <a:pt x="410" y="615"/>
                    <a:pt x="410" y="615"/>
                  </a:cubicBezTo>
                  <a:cubicBezTo>
                    <a:pt x="410" y="577"/>
                    <a:pt x="379" y="546"/>
                    <a:pt x="341" y="546"/>
                  </a:cubicBezTo>
                  <a:cubicBezTo>
                    <a:pt x="273" y="546"/>
                    <a:pt x="273" y="546"/>
                    <a:pt x="273" y="546"/>
                  </a:cubicBezTo>
                  <a:cubicBezTo>
                    <a:pt x="236" y="546"/>
                    <a:pt x="205" y="577"/>
                    <a:pt x="205" y="615"/>
                  </a:cubicBezTo>
                  <a:cubicBezTo>
                    <a:pt x="205" y="683"/>
                    <a:pt x="205" y="683"/>
                    <a:pt x="205" y="683"/>
                  </a:cubicBezTo>
                  <a:cubicBezTo>
                    <a:pt x="205" y="720"/>
                    <a:pt x="236" y="751"/>
                    <a:pt x="273" y="751"/>
                  </a:cubicBezTo>
                  <a:close/>
                  <a:moveTo>
                    <a:pt x="273" y="615"/>
                  </a:moveTo>
                  <a:cubicBezTo>
                    <a:pt x="341" y="615"/>
                    <a:pt x="341" y="615"/>
                    <a:pt x="341" y="615"/>
                  </a:cubicBezTo>
                  <a:cubicBezTo>
                    <a:pt x="341" y="683"/>
                    <a:pt x="341" y="683"/>
                    <a:pt x="341" y="683"/>
                  </a:cubicBezTo>
                  <a:cubicBezTo>
                    <a:pt x="273" y="683"/>
                    <a:pt x="273" y="683"/>
                    <a:pt x="273" y="683"/>
                  </a:cubicBezTo>
                  <a:lnTo>
                    <a:pt x="273" y="615"/>
                  </a:lnTo>
                  <a:close/>
                  <a:moveTo>
                    <a:pt x="273" y="1297"/>
                  </a:moveTo>
                  <a:cubicBezTo>
                    <a:pt x="341" y="1297"/>
                    <a:pt x="341" y="1297"/>
                    <a:pt x="341" y="1297"/>
                  </a:cubicBezTo>
                  <a:cubicBezTo>
                    <a:pt x="379" y="1297"/>
                    <a:pt x="410" y="1266"/>
                    <a:pt x="410" y="1229"/>
                  </a:cubicBezTo>
                  <a:cubicBezTo>
                    <a:pt x="410" y="1161"/>
                    <a:pt x="410" y="1161"/>
                    <a:pt x="410" y="1161"/>
                  </a:cubicBezTo>
                  <a:cubicBezTo>
                    <a:pt x="410" y="1123"/>
                    <a:pt x="379" y="1092"/>
                    <a:pt x="341" y="1092"/>
                  </a:cubicBezTo>
                  <a:cubicBezTo>
                    <a:pt x="273" y="1092"/>
                    <a:pt x="273" y="1092"/>
                    <a:pt x="273" y="1092"/>
                  </a:cubicBezTo>
                  <a:cubicBezTo>
                    <a:pt x="236" y="1092"/>
                    <a:pt x="205" y="1123"/>
                    <a:pt x="205" y="1161"/>
                  </a:cubicBezTo>
                  <a:cubicBezTo>
                    <a:pt x="205" y="1229"/>
                    <a:pt x="205" y="1229"/>
                    <a:pt x="205" y="1229"/>
                  </a:cubicBezTo>
                  <a:cubicBezTo>
                    <a:pt x="205" y="1266"/>
                    <a:pt x="236" y="1297"/>
                    <a:pt x="273" y="1297"/>
                  </a:cubicBezTo>
                  <a:close/>
                  <a:moveTo>
                    <a:pt x="273" y="1161"/>
                  </a:moveTo>
                  <a:cubicBezTo>
                    <a:pt x="341" y="1161"/>
                    <a:pt x="341" y="1161"/>
                    <a:pt x="341" y="1161"/>
                  </a:cubicBezTo>
                  <a:cubicBezTo>
                    <a:pt x="341" y="1229"/>
                    <a:pt x="341" y="1229"/>
                    <a:pt x="341" y="1229"/>
                  </a:cubicBezTo>
                  <a:cubicBezTo>
                    <a:pt x="273" y="1229"/>
                    <a:pt x="273" y="1229"/>
                    <a:pt x="273" y="1229"/>
                  </a:cubicBezTo>
                  <a:lnTo>
                    <a:pt x="273" y="1161"/>
                  </a:lnTo>
                  <a:close/>
                  <a:moveTo>
                    <a:pt x="273" y="1570"/>
                  </a:moveTo>
                  <a:cubicBezTo>
                    <a:pt x="341" y="1570"/>
                    <a:pt x="341" y="1570"/>
                    <a:pt x="341" y="1570"/>
                  </a:cubicBezTo>
                  <a:cubicBezTo>
                    <a:pt x="379" y="1570"/>
                    <a:pt x="410" y="1540"/>
                    <a:pt x="410" y="1502"/>
                  </a:cubicBezTo>
                  <a:cubicBezTo>
                    <a:pt x="410" y="1434"/>
                    <a:pt x="410" y="1434"/>
                    <a:pt x="410" y="1434"/>
                  </a:cubicBezTo>
                  <a:cubicBezTo>
                    <a:pt x="410" y="1396"/>
                    <a:pt x="379" y="1365"/>
                    <a:pt x="341" y="1365"/>
                  </a:cubicBezTo>
                  <a:cubicBezTo>
                    <a:pt x="273" y="1365"/>
                    <a:pt x="273" y="1365"/>
                    <a:pt x="273" y="1365"/>
                  </a:cubicBezTo>
                  <a:cubicBezTo>
                    <a:pt x="236" y="1365"/>
                    <a:pt x="205" y="1396"/>
                    <a:pt x="205" y="1434"/>
                  </a:cubicBezTo>
                  <a:cubicBezTo>
                    <a:pt x="205" y="1502"/>
                    <a:pt x="205" y="1502"/>
                    <a:pt x="205" y="1502"/>
                  </a:cubicBezTo>
                  <a:cubicBezTo>
                    <a:pt x="205" y="1540"/>
                    <a:pt x="236" y="1570"/>
                    <a:pt x="273" y="1570"/>
                  </a:cubicBezTo>
                  <a:close/>
                  <a:moveTo>
                    <a:pt x="273" y="1434"/>
                  </a:moveTo>
                  <a:cubicBezTo>
                    <a:pt x="341" y="1434"/>
                    <a:pt x="341" y="1434"/>
                    <a:pt x="341" y="1434"/>
                  </a:cubicBezTo>
                  <a:cubicBezTo>
                    <a:pt x="341" y="1502"/>
                    <a:pt x="341" y="1502"/>
                    <a:pt x="341" y="1502"/>
                  </a:cubicBezTo>
                  <a:cubicBezTo>
                    <a:pt x="273" y="1502"/>
                    <a:pt x="273" y="1502"/>
                    <a:pt x="273" y="1502"/>
                  </a:cubicBezTo>
                  <a:lnTo>
                    <a:pt x="273" y="1434"/>
                  </a:lnTo>
                  <a:close/>
                  <a:moveTo>
                    <a:pt x="1707" y="1024"/>
                  </a:moveTo>
                  <a:cubicBezTo>
                    <a:pt x="1775" y="1024"/>
                    <a:pt x="1775" y="1024"/>
                    <a:pt x="1775" y="1024"/>
                  </a:cubicBezTo>
                  <a:cubicBezTo>
                    <a:pt x="1812" y="1024"/>
                    <a:pt x="1843" y="993"/>
                    <a:pt x="1843" y="956"/>
                  </a:cubicBezTo>
                  <a:cubicBezTo>
                    <a:pt x="1843" y="888"/>
                    <a:pt x="1843" y="888"/>
                    <a:pt x="1843" y="888"/>
                  </a:cubicBezTo>
                  <a:cubicBezTo>
                    <a:pt x="1843" y="850"/>
                    <a:pt x="1812" y="819"/>
                    <a:pt x="1775" y="819"/>
                  </a:cubicBezTo>
                  <a:cubicBezTo>
                    <a:pt x="1707" y="819"/>
                    <a:pt x="1707" y="819"/>
                    <a:pt x="1707" y="819"/>
                  </a:cubicBezTo>
                  <a:cubicBezTo>
                    <a:pt x="1669" y="819"/>
                    <a:pt x="1638" y="850"/>
                    <a:pt x="1638" y="888"/>
                  </a:cubicBezTo>
                  <a:cubicBezTo>
                    <a:pt x="1638" y="956"/>
                    <a:pt x="1638" y="956"/>
                    <a:pt x="1638" y="956"/>
                  </a:cubicBezTo>
                  <a:cubicBezTo>
                    <a:pt x="1638" y="993"/>
                    <a:pt x="1669" y="1024"/>
                    <a:pt x="1707" y="1024"/>
                  </a:cubicBezTo>
                  <a:close/>
                  <a:moveTo>
                    <a:pt x="1707" y="888"/>
                  </a:moveTo>
                  <a:cubicBezTo>
                    <a:pt x="1775" y="888"/>
                    <a:pt x="1775" y="888"/>
                    <a:pt x="1775" y="888"/>
                  </a:cubicBezTo>
                  <a:cubicBezTo>
                    <a:pt x="1775" y="956"/>
                    <a:pt x="1775" y="956"/>
                    <a:pt x="1775" y="956"/>
                  </a:cubicBezTo>
                  <a:cubicBezTo>
                    <a:pt x="1707" y="956"/>
                    <a:pt x="1707" y="956"/>
                    <a:pt x="1707" y="956"/>
                  </a:cubicBezTo>
                  <a:lnTo>
                    <a:pt x="1707" y="888"/>
                  </a:lnTo>
                  <a:close/>
                  <a:moveTo>
                    <a:pt x="819" y="1331"/>
                  </a:moveTo>
                  <a:cubicBezTo>
                    <a:pt x="887" y="1331"/>
                    <a:pt x="887" y="1331"/>
                    <a:pt x="887" y="1331"/>
                  </a:cubicBezTo>
                  <a:cubicBezTo>
                    <a:pt x="925" y="1331"/>
                    <a:pt x="956" y="1301"/>
                    <a:pt x="956" y="1263"/>
                  </a:cubicBezTo>
                  <a:cubicBezTo>
                    <a:pt x="956" y="1195"/>
                    <a:pt x="956" y="1195"/>
                    <a:pt x="956" y="1195"/>
                  </a:cubicBezTo>
                  <a:cubicBezTo>
                    <a:pt x="956" y="1157"/>
                    <a:pt x="925" y="1127"/>
                    <a:pt x="887" y="1127"/>
                  </a:cubicBezTo>
                  <a:cubicBezTo>
                    <a:pt x="819" y="1127"/>
                    <a:pt x="819" y="1127"/>
                    <a:pt x="819" y="1127"/>
                  </a:cubicBezTo>
                  <a:cubicBezTo>
                    <a:pt x="782" y="1127"/>
                    <a:pt x="751" y="1157"/>
                    <a:pt x="751" y="1195"/>
                  </a:cubicBezTo>
                  <a:cubicBezTo>
                    <a:pt x="751" y="1263"/>
                    <a:pt x="751" y="1263"/>
                    <a:pt x="751" y="1263"/>
                  </a:cubicBezTo>
                  <a:cubicBezTo>
                    <a:pt x="751" y="1301"/>
                    <a:pt x="782" y="1331"/>
                    <a:pt x="819" y="1331"/>
                  </a:cubicBezTo>
                  <a:close/>
                  <a:moveTo>
                    <a:pt x="819" y="1195"/>
                  </a:moveTo>
                  <a:cubicBezTo>
                    <a:pt x="887" y="1195"/>
                    <a:pt x="887" y="1195"/>
                    <a:pt x="887" y="1195"/>
                  </a:cubicBezTo>
                  <a:cubicBezTo>
                    <a:pt x="887" y="1263"/>
                    <a:pt x="887" y="1263"/>
                    <a:pt x="887" y="1263"/>
                  </a:cubicBezTo>
                  <a:cubicBezTo>
                    <a:pt x="819" y="1263"/>
                    <a:pt x="819" y="1263"/>
                    <a:pt x="819" y="1263"/>
                  </a:cubicBezTo>
                  <a:lnTo>
                    <a:pt x="819" y="1195"/>
                  </a:lnTo>
                  <a:close/>
                  <a:moveTo>
                    <a:pt x="1707" y="751"/>
                  </a:moveTo>
                  <a:cubicBezTo>
                    <a:pt x="1775" y="751"/>
                    <a:pt x="1775" y="751"/>
                    <a:pt x="1775" y="751"/>
                  </a:cubicBezTo>
                  <a:cubicBezTo>
                    <a:pt x="1812" y="751"/>
                    <a:pt x="1843" y="720"/>
                    <a:pt x="1843" y="683"/>
                  </a:cubicBezTo>
                  <a:cubicBezTo>
                    <a:pt x="1843" y="615"/>
                    <a:pt x="1843" y="615"/>
                    <a:pt x="1843" y="615"/>
                  </a:cubicBezTo>
                  <a:cubicBezTo>
                    <a:pt x="1843" y="577"/>
                    <a:pt x="1812" y="546"/>
                    <a:pt x="1775" y="546"/>
                  </a:cubicBezTo>
                  <a:cubicBezTo>
                    <a:pt x="1707" y="546"/>
                    <a:pt x="1707" y="546"/>
                    <a:pt x="1707" y="546"/>
                  </a:cubicBezTo>
                  <a:cubicBezTo>
                    <a:pt x="1669" y="546"/>
                    <a:pt x="1638" y="577"/>
                    <a:pt x="1638" y="615"/>
                  </a:cubicBezTo>
                  <a:cubicBezTo>
                    <a:pt x="1638" y="683"/>
                    <a:pt x="1638" y="683"/>
                    <a:pt x="1638" y="683"/>
                  </a:cubicBezTo>
                  <a:cubicBezTo>
                    <a:pt x="1638" y="720"/>
                    <a:pt x="1669" y="751"/>
                    <a:pt x="1707" y="751"/>
                  </a:cubicBezTo>
                  <a:close/>
                  <a:moveTo>
                    <a:pt x="1707" y="615"/>
                  </a:moveTo>
                  <a:cubicBezTo>
                    <a:pt x="1775" y="615"/>
                    <a:pt x="1775" y="615"/>
                    <a:pt x="1775" y="615"/>
                  </a:cubicBezTo>
                  <a:cubicBezTo>
                    <a:pt x="1775" y="683"/>
                    <a:pt x="1775" y="683"/>
                    <a:pt x="1775" y="683"/>
                  </a:cubicBezTo>
                  <a:cubicBezTo>
                    <a:pt x="1707" y="683"/>
                    <a:pt x="1707" y="683"/>
                    <a:pt x="1707" y="683"/>
                  </a:cubicBezTo>
                  <a:lnTo>
                    <a:pt x="1707" y="615"/>
                  </a:lnTo>
                  <a:close/>
                  <a:moveTo>
                    <a:pt x="1707" y="1297"/>
                  </a:moveTo>
                  <a:cubicBezTo>
                    <a:pt x="1775" y="1297"/>
                    <a:pt x="1775" y="1297"/>
                    <a:pt x="1775" y="1297"/>
                  </a:cubicBezTo>
                  <a:cubicBezTo>
                    <a:pt x="1812" y="1297"/>
                    <a:pt x="1843" y="1266"/>
                    <a:pt x="1843" y="1229"/>
                  </a:cubicBezTo>
                  <a:cubicBezTo>
                    <a:pt x="1843" y="1161"/>
                    <a:pt x="1843" y="1161"/>
                    <a:pt x="1843" y="1161"/>
                  </a:cubicBezTo>
                  <a:cubicBezTo>
                    <a:pt x="1843" y="1123"/>
                    <a:pt x="1812" y="1092"/>
                    <a:pt x="1775" y="1092"/>
                  </a:cubicBezTo>
                  <a:cubicBezTo>
                    <a:pt x="1707" y="1092"/>
                    <a:pt x="1707" y="1092"/>
                    <a:pt x="1707" y="1092"/>
                  </a:cubicBezTo>
                  <a:cubicBezTo>
                    <a:pt x="1669" y="1092"/>
                    <a:pt x="1638" y="1123"/>
                    <a:pt x="1638" y="1161"/>
                  </a:cubicBezTo>
                  <a:cubicBezTo>
                    <a:pt x="1638" y="1229"/>
                    <a:pt x="1638" y="1229"/>
                    <a:pt x="1638" y="1229"/>
                  </a:cubicBezTo>
                  <a:cubicBezTo>
                    <a:pt x="1638" y="1266"/>
                    <a:pt x="1669" y="1297"/>
                    <a:pt x="1707" y="1297"/>
                  </a:cubicBezTo>
                  <a:close/>
                  <a:moveTo>
                    <a:pt x="1707" y="1161"/>
                  </a:moveTo>
                  <a:cubicBezTo>
                    <a:pt x="1775" y="1161"/>
                    <a:pt x="1775" y="1161"/>
                    <a:pt x="1775" y="1161"/>
                  </a:cubicBezTo>
                  <a:cubicBezTo>
                    <a:pt x="1775" y="1229"/>
                    <a:pt x="1775" y="1229"/>
                    <a:pt x="1775" y="1229"/>
                  </a:cubicBezTo>
                  <a:cubicBezTo>
                    <a:pt x="1707" y="1229"/>
                    <a:pt x="1707" y="1229"/>
                    <a:pt x="1707" y="1229"/>
                  </a:cubicBezTo>
                  <a:lnTo>
                    <a:pt x="1707" y="1161"/>
                  </a:lnTo>
                  <a:close/>
                  <a:moveTo>
                    <a:pt x="1161" y="512"/>
                  </a:moveTo>
                  <a:cubicBezTo>
                    <a:pt x="1229" y="512"/>
                    <a:pt x="1229" y="512"/>
                    <a:pt x="1229" y="512"/>
                  </a:cubicBezTo>
                  <a:cubicBezTo>
                    <a:pt x="1266" y="512"/>
                    <a:pt x="1297" y="481"/>
                    <a:pt x="1297" y="444"/>
                  </a:cubicBezTo>
                  <a:cubicBezTo>
                    <a:pt x="1297" y="376"/>
                    <a:pt x="1297" y="376"/>
                    <a:pt x="1297" y="376"/>
                  </a:cubicBezTo>
                  <a:cubicBezTo>
                    <a:pt x="1297" y="338"/>
                    <a:pt x="1266" y="307"/>
                    <a:pt x="1229" y="307"/>
                  </a:cubicBezTo>
                  <a:cubicBezTo>
                    <a:pt x="1161" y="307"/>
                    <a:pt x="1161" y="307"/>
                    <a:pt x="1161" y="307"/>
                  </a:cubicBezTo>
                  <a:cubicBezTo>
                    <a:pt x="1123" y="307"/>
                    <a:pt x="1092" y="338"/>
                    <a:pt x="1092" y="376"/>
                  </a:cubicBezTo>
                  <a:cubicBezTo>
                    <a:pt x="1092" y="444"/>
                    <a:pt x="1092" y="444"/>
                    <a:pt x="1092" y="444"/>
                  </a:cubicBezTo>
                  <a:cubicBezTo>
                    <a:pt x="1092" y="481"/>
                    <a:pt x="1123" y="512"/>
                    <a:pt x="1161" y="512"/>
                  </a:cubicBezTo>
                  <a:close/>
                  <a:moveTo>
                    <a:pt x="1161" y="376"/>
                  </a:moveTo>
                  <a:cubicBezTo>
                    <a:pt x="1229" y="376"/>
                    <a:pt x="1229" y="376"/>
                    <a:pt x="1229" y="376"/>
                  </a:cubicBezTo>
                  <a:cubicBezTo>
                    <a:pt x="1229" y="444"/>
                    <a:pt x="1229" y="444"/>
                    <a:pt x="1229" y="444"/>
                  </a:cubicBezTo>
                  <a:cubicBezTo>
                    <a:pt x="1161" y="444"/>
                    <a:pt x="1161" y="444"/>
                    <a:pt x="1161" y="444"/>
                  </a:cubicBezTo>
                  <a:lnTo>
                    <a:pt x="1161" y="376"/>
                  </a:lnTo>
                  <a:close/>
                  <a:moveTo>
                    <a:pt x="1707" y="1570"/>
                  </a:moveTo>
                  <a:cubicBezTo>
                    <a:pt x="1775" y="1570"/>
                    <a:pt x="1775" y="1570"/>
                    <a:pt x="1775" y="1570"/>
                  </a:cubicBezTo>
                  <a:cubicBezTo>
                    <a:pt x="1812" y="1570"/>
                    <a:pt x="1843" y="1540"/>
                    <a:pt x="1843" y="1502"/>
                  </a:cubicBezTo>
                  <a:cubicBezTo>
                    <a:pt x="1843" y="1434"/>
                    <a:pt x="1843" y="1434"/>
                    <a:pt x="1843" y="1434"/>
                  </a:cubicBezTo>
                  <a:cubicBezTo>
                    <a:pt x="1843" y="1396"/>
                    <a:pt x="1812" y="1365"/>
                    <a:pt x="1775" y="1365"/>
                  </a:cubicBezTo>
                  <a:cubicBezTo>
                    <a:pt x="1707" y="1365"/>
                    <a:pt x="1707" y="1365"/>
                    <a:pt x="1707" y="1365"/>
                  </a:cubicBezTo>
                  <a:cubicBezTo>
                    <a:pt x="1669" y="1365"/>
                    <a:pt x="1638" y="1396"/>
                    <a:pt x="1638" y="1434"/>
                  </a:cubicBezTo>
                  <a:cubicBezTo>
                    <a:pt x="1638" y="1502"/>
                    <a:pt x="1638" y="1502"/>
                    <a:pt x="1638" y="1502"/>
                  </a:cubicBezTo>
                  <a:cubicBezTo>
                    <a:pt x="1638" y="1540"/>
                    <a:pt x="1669" y="1570"/>
                    <a:pt x="1707" y="1570"/>
                  </a:cubicBezTo>
                  <a:close/>
                  <a:moveTo>
                    <a:pt x="1707" y="1434"/>
                  </a:moveTo>
                  <a:cubicBezTo>
                    <a:pt x="1775" y="1434"/>
                    <a:pt x="1775" y="1434"/>
                    <a:pt x="1775" y="1434"/>
                  </a:cubicBezTo>
                  <a:cubicBezTo>
                    <a:pt x="1775" y="1502"/>
                    <a:pt x="1775" y="1502"/>
                    <a:pt x="1775" y="1502"/>
                  </a:cubicBezTo>
                  <a:cubicBezTo>
                    <a:pt x="1707" y="1502"/>
                    <a:pt x="1707" y="1502"/>
                    <a:pt x="1707" y="1502"/>
                  </a:cubicBezTo>
                  <a:lnTo>
                    <a:pt x="1707" y="1434"/>
                  </a:lnTo>
                  <a:close/>
                  <a:moveTo>
                    <a:pt x="2014" y="410"/>
                  </a:moveTo>
                  <a:cubicBezTo>
                    <a:pt x="1911" y="410"/>
                    <a:pt x="1911" y="410"/>
                    <a:pt x="1911" y="410"/>
                  </a:cubicBezTo>
                  <a:cubicBezTo>
                    <a:pt x="1911" y="376"/>
                    <a:pt x="1911" y="376"/>
                    <a:pt x="1911" y="376"/>
                  </a:cubicBezTo>
                  <a:cubicBezTo>
                    <a:pt x="1911" y="355"/>
                    <a:pt x="1898" y="341"/>
                    <a:pt x="1877" y="341"/>
                  </a:cubicBezTo>
                  <a:cubicBezTo>
                    <a:pt x="1857" y="341"/>
                    <a:pt x="1843" y="355"/>
                    <a:pt x="1843" y="376"/>
                  </a:cubicBezTo>
                  <a:cubicBezTo>
                    <a:pt x="1843" y="410"/>
                    <a:pt x="1843" y="410"/>
                    <a:pt x="1843" y="410"/>
                  </a:cubicBezTo>
                  <a:cubicBezTo>
                    <a:pt x="1707" y="410"/>
                    <a:pt x="1707" y="410"/>
                    <a:pt x="1707" y="410"/>
                  </a:cubicBezTo>
                  <a:cubicBezTo>
                    <a:pt x="1707" y="376"/>
                    <a:pt x="1707" y="376"/>
                    <a:pt x="1707" y="376"/>
                  </a:cubicBezTo>
                  <a:cubicBezTo>
                    <a:pt x="1707" y="355"/>
                    <a:pt x="1693" y="341"/>
                    <a:pt x="1673" y="341"/>
                  </a:cubicBezTo>
                  <a:cubicBezTo>
                    <a:pt x="1652" y="341"/>
                    <a:pt x="1638" y="355"/>
                    <a:pt x="1638" y="376"/>
                  </a:cubicBezTo>
                  <a:cubicBezTo>
                    <a:pt x="1638" y="410"/>
                    <a:pt x="1638" y="410"/>
                    <a:pt x="1638" y="410"/>
                  </a:cubicBezTo>
                  <a:cubicBezTo>
                    <a:pt x="1502" y="410"/>
                    <a:pt x="1502" y="410"/>
                    <a:pt x="1502" y="410"/>
                  </a:cubicBezTo>
                  <a:cubicBezTo>
                    <a:pt x="1502" y="103"/>
                    <a:pt x="1502" y="103"/>
                    <a:pt x="1502" y="103"/>
                  </a:cubicBezTo>
                  <a:cubicBezTo>
                    <a:pt x="1502" y="82"/>
                    <a:pt x="1488" y="68"/>
                    <a:pt x="1468" y="68"/>
                  </a:cubicBezTo>
                  <a:cubicBezTo>
                    <a:pt x="1161" y="68"/>
                    <a:pt x="1161" y="68"/>
                    <a:pt x="1161" y="68"/>
                  </a:cubicBezTo>
                  <a:cubicBezTo>
                    <a:pt x="1161" y="34"/>
                    <a:pt x="1161" y="34"/>
                    <a:pt x="1161" y="34"/>
                  </a:cubicBezTo>
                  <a:cubicBezTo>
                    <a:pt x="1161" y="14"/>
                    <a:pt x="1147" y="0"/>
                    <a:pt x="1126" y="0"/>
                  </a:cubicBezTo>
                  <a:cubicBezTo>
                    <a:pt x="1106" y="0"/>
                    <a:pt x="1092" y="14"/>
                    <a:pt x="1092" y="34"/>
                  </a:cubicBezTo>
                  <a:cubicBezTo>
                    <a:pt x="1092" y="68"/>
                    <a:pt x="1092" y="68"/>
                    <a:pt x="1092" y="68"/>
                  </a:cubicBezTo>
                  <a:cubicBezTo>
                    <a:pt x="956" y="68"/>
                    <a:pt x="956" y="68"/>
                    <a:pt x="956" y="68"/>
                  </a:cubicBezTo>
                  <a:cubicBezTo>
                    <a:pt x="956" y="34"/>
                    <a:pt x="956" y="34"/>
                    <a:pt x="956" y="34"/>
                  </a:cubicBezTo>
                  <a:cubicBezTo>
                    <a:pt x="956" y="14"/>
                    <a:pt x="942" y="0"/>
                    <a:pt x="922" y="0"/>
                  </a:cubicBezTo>
                  <a:cubicBezTo>
                    <a:pt x="901" y="0"/>
                    <a:pt x="887" y="14"/>
                    <a:pt x="887" y="34"/>
                  </a:cubicBezTo>
                  <a:cubicBezTo>
                    <a:pt x="887" y="68"/>
                    <a:pt x="887" y="68"/>
                    <a:pt x="887" y="68"/>
                  </a:cubicBezTo>
                  <a:cubicBezTo>
                    <a:pt x="580" y="68"/>
                    <a:pt x="580" y="68"/>
                    <a:pt x="580" y="68"/>
                  </a:cubicBezTo>
                  <a:cubicBezTo>
                    <a:pt x="560" y="68"/>
                    <a:pt x="546" y="82"/>
                    <a:pt x="546" y="103"/>
                  </a:cubicBezTo>
                  <a:cubicBezTo>
                    <a:pt x="546" y="410"/>
                    <a:pt x="546" y="410"/>
                    <a:pt x="546" y="410"/>
                  </a:cubicBezTo>
                  <a:cubicBezTo>
                    <a:pt x="410" y="410"/>
                    <a:pt x="410" y="410"/>
                    <a:pt x="410" y="410"/>
                  </a:cubicBezTo>
                  <a:cubicBezTo>
                    <a:pt x="410" y="376"/>
                    <a:pt x="410" y="376"/>
                    <a:pt x="410" y="376"/>
                  </a:cubicBezTo>
                  <a:cubicBezTo>
                    <a:pt x="410" y="355"/>
                    <a:pt x="396" y="341"/>
                    <a:pt x="375" y="341"/>
                  </a:cubicBezTo>
                  <a:cubicBezTo>
                    <a:pt x="355" y="341"/>
                    <a:pt x="341" y="355"/>
                    <a:pt x="341" y="376"/>
                  </a:cubicBezTo>
                  <a:cubicBezTo>
                    <a:pt x="341" y="410"/>
                    <a:pt x="341" y="410"/>
                    <a:pt x="341" y="410"/>
                  </a:cubicBezTo>
                  <a:cubicBezTo>
                    <a:pt x="205" y="410"/>
                    <a:pt x="205" y="410"/>
                    <a:pt x="205" y="410"/>
                  </a:cubicBezTo>
                  <a:cubicBezTo>
                    <a:pt x="205" y="376"/>
                    <a:pt x="205" y="376"/>
                    <a:pt x="205" y="376"/>
                  </a:cubicBezTo>
                  <a:cubicBezTo>
                    <a:pt x="205" y="355"/>
                    <a:pt x="191" y="341"/>
                    <a:pt x="171" y="341"/>
                  </a:cubicBezTo>
                  <a:cubicBezTo>
                    <a:pt x="150" y="341"/>
                    <a:pt x="137" y="355"/>
                    <a:pt x="137" y="376"/>
                  </a:cubicBezTo>
                  <a:cubicBezTo>
                    <a:pt x="137" y="410"/>
                    <a:pt x="137" y="410"/>
                    <a:pt x="137" y="410"/>
                  </a:cubicBezTo>
                  <a:cubicBezTo>
                    <a:pt x="34" y="410"/>
                    <a:pt x="34" y="410"/>
                    <a:pt x="34" y="410"/>
                  </a:cubicBezTo>
                  <a:cubicBezTo>
                    <a:pt x="14" y="410"/>
                    <a:pt x="0" y="423"/>
                    <a:pt x="0" y="444"/>
                  </a:cubicBezTo>
                  <a:cubicBezTo>
                    <a:pt x="0" y="1946"/>
                    <a:pt x="0" y="1946"/>
                    <a:pt x="0" y="1946"/>
                  </a:cubicBezTo>
                  <a:cubicBezTo>
                    <a:pt x="0" y="1966"/>
                    <a:pt x="14" y="1980"/>
                    <a:pt x="34" y="1980"/>
                  </a:cubicBezTo>
                  <a:cubicBezTo>
                    <a:pt x="2014" y="1980"/>
                    <a:pt x="2014" y="1980"/>
                    <a:pt x="2014" y="1980"/>
                  </a:cubicBezTo>
                  <a:cubicBezTo>
                    <a:pt x="2034" y="1980"/>
                    <a:pt x="2048" y="1966"/>
                    <a:pt x="2048" y="1946"/>
                  </a:cubicBezTo>
                  <a:cubicBezTo>
                    <a:pt x="2048" y="444"/>
                    <a:pt x="2048" y="444"/>
                    <a:pt x="2048" y="444"/>
                  </a:cubicBezTo>
                  <a:cubicBezTo>
                    <a:pt x="2048" y="423"/>
                    <a:pt x="2034" y="410"/>
                    <a:pt x="2014" y="410"/>
                  </a:cubicBezTo>
                  <a:close/>
                  <a:moveTo>
                    <a:pt x="546" y="1912"/>
                  </a:moveTo>
                  <a:cubicBezTo>
                    <a:pt x="68" y="1912"/>
                    <a:pt x="68" y="1912"/>
                    <a:pt x="68" y="1912"/>
                  </a:cubicBezTo>
                  <a:cubicBezTo>
                    <a:pt x="68" y="1707"/>
                    <a:pt x="68" y="1707"/>
                    <a:pt x="68" y="1707"/>
                  </a:cubicBezTo>
                  <a:cubicBezTo>
                    <a:pt x="546" y="1707"/>
                    <a:pt x="546" y="1707"/>
                    <a:pt x="546" y="1707"/>
                  </a:cubicBezTo>
                  <a:lnTo>
                    <a:pt x="546" y="1912"/>
                  </a:lnTo>
                  <a:close/>
                  <a:moveTo>
                    <a:pt x="546" y="1639"/>
                  </a:moveTo>
                  <a:cubicBezTo>
                    <a:pt x="68" y="1639"/>
                    <a:pt x="68" y="1639"/>
                    <a:pt x="68" y="1639"/>
                  </a:cubicBezTo>
                  <a:cubicBezTo>
                    <a:pt x="68" y="478"/>
                    <a:pt x="68" y="478"/>
                    <a:pt x="68" y="478"/>
                  </a:cubicBezTo>
                  <a:cubicBezTo>
                    <a:pt x="546" y="478"/>
                    <a:pt x="546" y="478"/>
                    <a:pt x="546" y="478"/>
                  </a:cubicBezTo>
                  <a:lnTo>
                    <a:pt x="546" y="1639"/>
                  </a:lnTo>
                  <a:close/>
                  <a:moveTo>
                    <a:pt x="990" y="1912"/>
                  </a:moveTo>
                  <a:cubicBezTo>
                    <a:pt x="785" y="1912"/>
                    <a:pt x="785" y="1912"/>
                    <a:pt x="785" y="1912"/>
                  </a:cubicBezTo>
                  <a:cubicBezTo>
                    <a:pt x="785" y="1639"/>
                    <a:pt x="785" y="1639"/>
                    <a:pt x="785" y="1639"/>
                  </a:cubicBezTo>
                  <a:cubicBezTo>
                    <a:pt x="990" y="1639"/>
                    <a:pt x="990" y="1639"/>
                    <a:pt x="990" y="1639"/>
                  </a:cubicBezTo>
                  <a:lnTo>
                    <a:pt x="990" y="1912"/>
                  </a:lnTo>
                  <a:close/>
                  <a:moveTo>
                    <a:pt x="1263" y="1912"/>
                  </a:moveTo>
                  <a:cubicBezTo>
                    <a:pt x="1058" y="1912"/>
                    <a:pt x="1058" y="1912"/>
                    <a:pt x="1058" y="1912"/>
                  </a:cubicBezTo>
                  <a:cubicBezTo>
                    <a:pt x="1058" y="1639"/>
                    <a:pt x="1058" y="1639"/>
                    <a:pt x="1058" y="1639"/>
                  </a:cubicBezTo>
                  <a:cubicBezTo>
                    <a:pt x="1263" y="1639"/>
                    <a:pt x="1263" y="1639"/>
                    <a:pt x="1263" y="1639"/>
                  </a:cubicBezTo>
                  <a:lnTo>
                    <a:pt x="1263" y="1912"/>
                  </a:lnTo>
                  <a:close/>
                  <a:moveTo>
                    <a:pt x="1434" y="1912"/>
                  </a:moveTo>
                  <a:cubicBezTo>
                    <a:pt x="1331" y="1912"/>
                    <a:pt x="1331" y="1912"/>
                    <a:pt x="1331" y="1912"/>
                  </a:cubicBezTo>
                  <a:cubicBezTo>
                    <a:pt x="1331" y="1604"/>
                    <a:pt x="1331" y="1604"/>
                    <a:pt x="1331" y="1604"/>
                  </a:cubicBezTo>
                  <a:cubicBezTo>
                    <a:pt x="1331" y="1584"/>
                    <a:pt x="1318" y="1570"/>
                    <a:pt x="1297" y="1570"/>
                  </a:cubicBezTo>
                  <a:cubicBezTo>
                    <a:pt x="751" y="1570"/>
                    <a:pt x="751" y="1570"/>
                    <a:pt x="751" y="1570"/>
                  </a:cubicBezTo>
                  <a:cubicBezTo>
                    <a:pt x="730" y="1570"/>
                    <a:pt x="717" y="1584"/>
                    <a:pt x="717" y="1604"/>
                  </a:cubicBezTo>
                  <a:cubicBezTo>
                    <a:pt x="717" y="1912"/>
                    <a:pt x="717" y="1912"/>
                    <a:pt x="717" y="1912"/>
                  </a:cubicBezTo>
                  <a:cubicBezTo>
                    <a:pt x="614" y="1912"/>
                    <a:pt x="614" y="1912"/>
                    <a:pt x="614" y="1912"/>
                  </a:cubicBezTo>
                  <a:cubicBezTo>
                    <a:pt x="614" y="1673"/>
                    <a:pt x="614" y="1673"/>
                    <a:pt x="614" y="1673"/>
                  </a:cubicBezTo>
                  <a:cubicBezTo>
                    <a:pt x="614" y="1673"/>
                    <a:pt x="614" y="1673"/>
                    <a:pt x="614" y="1673"/>
                  </a:cubicBezTo>
                  <a:cubicBezTo>
                    <a:pt x="614" y="137"/>
                    <a:pt x="614" y="137"/>
                    <a:pt x="614" y="137"/>
                  </a:cubicBezTo>
                  <a:cubicBezTo>
                    <a:pt x="1434" y="137"/>
                    <a:pt x="1434" y="137"/>
                    <a:pt x="1434" y="137"/>
                  </a:cubicBezTo>
                  <a:lnTo>
                    <a:pt x="1434" y="1912"/>
                  </a:lnTo>
                  <a:close/>
                  <a:moveTo>
                    <a:pt x="1980" y="1912"/>
                  </a:moveTo>
                  <a:cubicBezTo>
                    <a:pt x="1502" y="1912"/>
                    <a:pt x="1502" y="1912"/>
                    <a:pt x="1502" y="1912"/>
                  </a:cubicBezTo>
                  <a:cubicBezTo>
                    <a:pt x="1502" y="1707"/>
                    <a:pt x="1502" y="1707"/>
                    <a:pt x="1502" y="1707"/>
                  </a:cubicBezTo>
                  <a:cubicBezTo>
                    <a:pt x="1980" y="1707"/>
                    <a:pt x="1980" y="1707"/>
                    <a:pt x="1980" y="1707"/>
                  </a:cubicBezTo>
                  <a:lnTo>
                    <a:pt x="1980" y="1912"/>
                  </a:lnTo>
                  <a:close/>
                  <a:moveTo>
                    <a:pt x="1980" y="1639"/>
                  </a:moveTo>
                  <a:cubicBezTo>
                    <a:pt x="1502" y="1639"/>
                    <a:pt x="1502" y="1639"/>
                    <a:pt x="1502" y="1639"/>
                  </a:cubicBezTo>
                  <a:cubicBezTo>
                    <a:pt x="1502" y="478"/>
                    <a:pt x="1502" y="478"/>
                    <a:pt x="1502" y="478"/>
                  </a:cubicBezTo>
                  <a:cubicBezTo>
                    <a:pt x="1980" y="478"/>
                    <a:pt x="1980" y="478"/>
                    <a:pt x="1980" y="478"/>
                  </a:cubicBezTo>
                  <a:lnTo>
                    <a:pt x="1980" y="1639"/>
                  </a:lnTo>
                  <a:close/>
                  <a:moveTo>
                    <a:pt x="1161" y="1058"/>
                  </a:moveTo>
                  <a:cubicBezTo>
                    <a:pt x="1229" y="1058"/>
                    <a:pt x="1229" y="1058"/>
                    <a:pt x="1229" y="1058"/>
                  </a:cubicBezTo>
                  <a:cubicBezTo>
                    <a:pt x="1266" y="1058"/>
                    <a:pt x="1297" y="1028"/>
                    <a:pt x="1297" y="990"/>
                  </a:cubicBezTo>
                  <a:cubicBezTo>
                    <a:pt x="1297" y="922"/>
                    <a:pt x="1297" y="922"/>
                    <a:pt x="1297" y="922"/>
                  </a:cubicBezTo>
                  <a:cubicBezTo>
                    <a:pt x="1297" y="884"/>
                    <a:pt x="1266" y="853"/>
                    <a:pt x="1229" y="853"/>
                  </a:cubicBezTo>
                  <a:cubicBezTo>
                    <a:pt x="1161" y="853"/>
                    <a:pt x="1161" y="853"/>
                    <a:pt x="1161" y="853"/>
                  </a:cubicBezTo>
                  <a:cubicBezTo>
                    <a:pt x="1123" y="853"/>
                    <a:pt x="1092" y="884"/>
                    <a:pt x="1092" y="922"/>
                  </a:cubicBezTo>
                  <a:cubicBezTo>
                    <a:pt x="1092" y="990"/>
                    <a:pt x="1092" y="990"/>
                    <a:pt x="1092" y="990"/>
                  </a:cubicBezTo>
                  <a:cubicBezTo>
                    <a:pt x="1092" y="1028"/>
                    <a:pt x="1123" y="1058"/>
                    <a:pt x="1161" y="1058"/>
                  </a:cubicBezTo>
                  <a:close/>
                  <a:moveTo>
                    <a:pt x="1161" y="922"/>
                  </a:moveTo>
                  <a:cubicBezTo>
                    <a:pt x="1229" y="922"/>
                    <a:pt x="1229" y="922"/>
                    <a:pt x="1229" y="922"/>
                  </a:cubicBezTo>
                  <a:cubicBezTo>
                    <a:pt x="1229" y="990"/>
                    <a:pt x="1229" y="990"/>
                    <a:pt x="1229" y="990"/>
                  </a:cubicBezTo>
                  <a:cubicBezTo>
                    <a:pt x="1161" y="990"/>
                    <a:pt x="1161" y="990"/>
                    <a:pt x="1161" y="990"/>
                  </a:cubicBezTo>
                  <a:lnTo>
                    <a:pt x="1161" y="922"/>
                  </a:lnTo>
                  <a:close/>
                  <a:moveTo>
                    <a:pt x="819" y="1058"/>
                  </a:moveTo>
                  <a:cubicBezTo>
                    <a:pt x="887" y="1058"/>
                    <a:pt x="887" y="1058"/>
                    <a:pt x="887" y="1058"/>
                  </a:cubicBezTo>
                  <a:cubicBezTo>
                    <a:pt x="925" y="1058"/>
                    <a:pt x="956" y="1028"/>
                    <a:pt x="956" y="990"/>
                  </a:cubicBezTo>
                  <a:cubicBezTo>
                    <a:pt x="956" y="922"/>
                    <a:pt x="956" y="922"/>
                    <a:pt x="956" y="922"/>
                  </a:cubicBezTo>
                  <a:cubicBezTo>
                    <a:pt x="956" y="884"/>
                    <a:pt x="925" y="853"/>
                    <a:pt x="887" y="853"/>
                  </a:cubicBezTo>
                  <a:cubicBezTo>
                    <a:pt x="819" y="853"/>
                    <a:pt x="819" y="853"/>
                    <a:pt x="819" y="853"/>
                  </a:cubicBezTo>
                  <a:cubicBezTo>
                    <a:pt x="782" y="853"/>
                    <a:pt x="751" y="884"/>
                    <a:pt x="751" y="922"/>
                  </a:cubicBezTo>
                  <a:cubicBezTo>
                    <a:pt x="751" y="990"/>
                    <a:pt x="751" y="990"/>
                    <a:pt x="751" y="990"/>
                  </a:cubicBezTo>
                  <a:cubicBezTo>
                    <a:pt x="751" y="1028"/>
                    <a:pt x="782" y="1058"/>
                    <a:pt x="819" y="1058"/>
                  </a:cubicBezTo>
                  <a:close/>
                  <a:moveTo>
                    <a:pt x="819" y="922"/>
                  </a:moveTo>
                  <a:cubicBezTo>
                    <a:pt x="887" y="922"/>
                    <a:pt x="887" y="922"/>
                    <a:pt x="887" y="922"/>
                  </a:cubicBezTo>
                  <a:cubicBezTo>
                    <a:pt x="887" y="990"/>
                    <a:pt x="887" y="990"/>
                    <a:pt x="887" y="990"/>
                  </a:cubicBezTo>
                  <a:cubicBezTo>
                    <a:pt x="819" y="990"/>
                    <a:pt x="819" y="990"/>
                    <a:pt x="819" y="990"/>
                  </a:cubicBezTo>
                  <a:lnTo>
                    <a:pt x="819" y="922"/>
                  </a:lnTo>
                  <a:close/>
                  <a:moveTo>
                    <a:pt x="1161" y="785"/>
                  </a:moveTo>
                  <a:cubicBezTo>
                    <a:pt x="1229" y="785"/>
                    <a:pt x="1229" y="785"/>
                    <a:pt x="1229" y="785"/>
                  </a:cubicBezTo>
                  <a:cubicBezTo>
                    <a:pt x="1266" y="785"/>
                    <a:pt x="1297" y="754"/>
                    <a:pt x="1297" y="717"/>
                  </a:cubicBezTo>
                  <a:cubicBezTo>
                    <a:pt x="1297" y="649"/>
                    <a:pt x="1297" y="649"/>
                    <a:pt x="1297" y="649"/>
                  </a:cubicBezTo>
                  <a:cubicBezTo>
                    <a:pt x="1297" y="611"/>
                    <a:pt x="1266" y="580"/>
                    <a:pt x="1229" y="580"/>
                  </a:cubicBezTo>
                  <a:cubicBezTo>
                    <a:pt x="1161" y="580"/>
                    <a:pt x="1161" y="580"/>
                    <a:pt x="1161" y="580"/>
                  </a:cubicBezTo>
                  <a:cubicBezTo>
                    <a:pt x="1123" y="580"/>
                    <a:pt x="1092" y="611"/>
                    <a:pt x="1092" y="649"/>
                  </a:cubicBezTo>
                  <a:cubicBezTo>
                    <a:pt x="1092" y="717"/>
                    <a:pt x="1092" y="717"/>
                    <a:pt x="1092" y="717"/>
                  </a:cubicBezTo>
                  <a:cubicBezTo>
                    <a:pt x="1092" y="754"/>
                    <a:pt x="1123" y="785"/>
                    <a:pt x="1161" y="785"/>
                  </a:cubicBezTo>
                  <a:close/>
                  <a:moveTo>
                    <a:pt x="1161" y="649"/>
                  </a:moveTo>
                  <a:cubicBezTo>
                    <a:pt x="1229" y="649"/>
                    <a:pt x="1229" y="649"/>
                    <a:pt x="1229" y="649"/>
                  </a:cubicBezTo>
                  <a:cubicBezTo>
                    <a:pt x="1229" y="717"/>
                    <a:pt x="1229" y="717"/>
                    <a:pt x="1229" y="717"/>
                  </a:cubicBezTo>
                  <a:cubicBezTo>
                    <a:pt x="1161" y="717"/>
                    <a:pt x="1161" y="717"/>
                    <a:pt x="1161" y="717"/>
                  </a:cubicBezTo>
                  <a:lnTo>
                    <a:pt x="1161" y="649"/>
                  </a:lnTo>
                  <a:close/>
                  <a:moveTo>
                    <a:pt x="1161" y="1331"/>
                  </a:moveTo>
                  <a:cubicBezTo>
                    <a:pt x="1229" y="1331"/>
                    <a:pt x="1229" y="1331"/>
                    <a:pt x="1229" y="1331"/>
                  </a:cubicBezTo>
                  <a:cubicBezTo>
                    <a:pt x="1266" y="1331"/>
                    <a:pt x="1297" y="1301"/>
                    <a:pt x="1297" y="1263"/>
                  </a:cubicBezTo>
                  <a:cubicBezTo>
                    <a:pt x="1297" y="1195"/>
                    <a:pt x="1297" y="1195"/>
                    <a:pt x="1297" y="1195"/>
                  </a:cubicBezTo>
                  <a:cubicBezTo>
                    <a:pt x="1297" y="1157"/>
                    <a:pt x="1266" y="1127"/>
                    <a:pt x="1229" y="1127"/>
                  </a:cubicBezTo>
                  <a:cubicBezTo>
                    <a:pt x="1161" y="1127"/>
                    <a:pt x="1161" y="1127"/>
                    <a:pt x="1161" y="1127"/>
                  </a:cubicBezTo>
                  <a:cubicBezTo>
                    <a:pt x="1123" y="1127"/>
                    <a:pt x="1092" y="1157"/>
                    <a:pt x="1092" y="1195"/>
                  </a:cubicBezTo>
                  <a:cubicBezTo>
                    <a:pt x="1092" y="1263"/>
                    <a:pt x="1092" y="1263"/>
                    <a:pt x="1092" y="1263"/>
                  </a:cubicBezTo>
                  <a:cubicBezTo>
                    <a:pt x="1092" y="1301"/>
                    <a:pt x="1123" y="1331"/>
                    <a:pt x="1161" y="1331"/>
                  </a:cubicBezTo>
                  <a:close/>
                  <a:moveTo>
                    <a:pt x="1161" y="1195"/>
                  </a:moveTo>
                  <a:cubicBezTo>
                    <a:pt x="1229" y="1195"/>
                    <a:pt x="1229" y="1195"/>
                    <a:pt x="1229" y="1195"/>
                  </a:cubicBezTo>
                  <a:cubicBezTo>
                    <a:pt x="1229" y="1263"/>
                    <a:pt x="1229" y="1263"/>
                    <a:pt x="1229" y="1263"/>
                  </a:cubicBezTo>
                  <a:cubicBezTo>
                    <a:pt x="1161" y="1263"/>
                    <a:pt x="1161" y="1263"/>
                    <a:pt x="1161" y="1263"/>
                  </a:cubicBezTo>
                  <a:lnTo>
                    <a:pt x="1161" y="1195"/>
                  </a:lnTo>
                  <a:close/>
                  <a:moveTo>
                    <a:pt x="819" y="785"/>
                  </a:moveTo>
                  <a:cubicBezTo>
                    <a:pt x="887" y="785"/>
                    <a:pt x="887" y="785"/>
                    <a:pt x="887" y="785"/>
                  </a:cubicBezTo>
                  <a:cubicBezTo>
                    <a:pt x="925" y="785"/>
                    <a:pt x="956" y="754"/>
                    <a:pt x="956" y="717"/>
                  </a:cubicBezTo>
                  <a:cubicBezTo>
                    <a:pt x="956" y="649"/>
                    <a:pt x="956" y="649"/>
                    <a:pt x="956" y="649"/>
                  </a:cubicBezTo>
                  <a:cubicBezTo>
                    <a:pt x="956" y="611"/>
                    <a:pt x="925" y="580"/>
                    <a:pt x="887" y="580"/>
                  </a:cubicBezTo>
                  <a:cubicBezTo>
                    <a:pt x="819" y="580"/>
                    <a:pt x="819" y="580"/>
                    <a:pt x="819" y="580"/>
                  </a:cubicBezTo>
                  <a:cubicBezTo>
                    <a:pt x="782" y="580"/>
                    <a:pt x="751" y="611"/>
                    <a:pt x="751" y="649"/>
                  </a:cubicBezTo>
                  <a:cubicBezTo>
                    <a:pt x="751" y="717"/>
                    <a:pt x="751" y="717"/>
                    <a:pt x="751" y="717"/>
                  </a:cubicBezTo>
                  <a:cubicBezTo>
                    <a:pt x="751" y="754"/>
                    <a:pt x="782" y="785"/>
                    <a:pt x="819" y="785"/>
                  </a:cubicBezTo>
                  <a:close/>
                  <a:moveTo>
                    <a:pt x="819" y="649"/>
                  </a:moveTo>
                  <a:cubicBezTo>
                    <a:pt x="887" y="649"/>
                    <a:pt x="887" y="649"/>
                    <a:pt x="887" y="649"/>
                  </a:cubicBezTo>
                  <a:cubicBezTo>
                    <a:pt x="887" y="717"/>
                    <a:pt x="887" y="717"/>
                    <a:pt x="887" y="717"/>
                  </a:cubicBezTo>
                  <a:cubicBezTo>
                    <a:pt x="819" y="717"/>
                    <a:pt x="819" y="717"/>
                    <a:pt x="819" y="717"/>
                  </a:cubicBezTo>
                  <a:lnTo>
                    <a:pt x="819" y="649"/>
                  </a:lnTo>
                  <a:close/>
                  <a:moveTo>
                    <a:pt x="819" y="512"/>
                  </a:moveTo>
                  <a:cubicBezTo>
                    <a:pt x="887" y="512"/>
                    <a:pt x="887" y="512"/>
                    <a:pt x="887" y="512"/>
                  </a:cubicBezTo>
                  <a:cubicBezTo>
                    <a:pt x="925" y="512"/>
                    <a:pt x="956" y="481"/>
                    <a:pt x="956" y="444"/>
                  </a:cubicBezTo>
                  <a:cubicBezTo>
                    <a:pt x="956" y="376"/>
                    <a:pt x="956" y="376"/>
                    <a:pt x="956" y="376"/>
                  </a:cubicBezTo>
                  <a:cubicBezTo>
                    <a:pt x="956" y="338"/>
                    <a:pt x="925" y="307"/>
                    <a:pt x="887" y="307"/>
                  </a:cubicBezTo>
                  <a:cubicBezTo>
                    <a:pt x="819" y="307"/>
                    <a:pt x="819" y="307"/>
                    <a:pt x="819" y="307"/>
                  </a:cubicBezTo>
                  <a:cubicBezTo>
                    <a:pt x="782" y="307"/>
                    <a:pt x="751" y="338"/>
                    <a:pt x="751" y="376"/>
                  </a:cubicBezTo>
                  <a:cubicBezTo>
                    <a:pt x="751" y="444"/>
                    <a:pt x="751" y="444"/>
                    <a:pt x="751" y="444"/>
                  </a:cubicBezTo>
                  <a:cubicBezTo>
                    <a:pt x="751" y="481"/>
                    <a:pt x="782" y="512"/>
                    <a:pt x="819" y="512"/>
                  </a:cubicBezTo>
                  <a:close/>
                  <a:moveTo>
                    <a:pt x="819" y="376"/>
                  </a:moveTo>
                  <a:cubicBezTo>
                    <a:pt x="887" y="376"/>
                    <a:pt x="887" y="376"/>
                    <a:pt x="887" y="376"/>
                  </a:cubicBezTo>
                  <a:cubicBezTo>
                    <a:pt x="887" y="444"/>
                    <a:pt x="887" y="444"/>
                    <a:pt x="887" y="444"/>
                  </a:cubicBezTo>
                  <a:cubicBezTo>
                    <a:pt x="819" y="444"/>
                    <a:pt x="819" y="444"/>
                    <a:pt x="819" y="444"/>
                  </a:cubicBezTo>
                  <a:lnTo>
                    <a:pt x="819" y="376"/>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32" name="Group 131"/>
          <p:cNvGrpSpPr/>
          <p:nvPr/>
        </p:nvGrpSpPr>
        <p:grpSpPr>
          <a:xfrm>
            <a:off x="8001000" y="3447474"/>
            <a:ext cx="548640" cy="548640"/>
            <a:chOff x="8001000" y="3447474"/>
            <a:chExt cx="548640" cy="548640"/>
          </a:xfrm>
        </p:grpSpPr>
        <p:sp>
          <p:nvSpPr>
            <p:cNvPr id="130" name="Oval 129"/>
            <p:cNvSpPr/>
            <p:nvPr/>
          </p:nvSpPr>
          <p:spPr>
            <a:xfrm>
              <a:off x="8001000" y="3447474"/>
              <a:ext cx="548640" cy="548640"/>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67612" name="Freeform 28"/>
            <p:cNvSpPr>
              <a:spLocks noEditPoints="1"/>
            </p:cNvSpPr>
            <p:nvPr/>
          </p:nvSpPr>
          <p:spPr bwMode="auto">
            <a:xfrm>
              <a:off x="8141416" y="3549316"/>
              <a:ext cx="267809" cy="344957"/>
            </a:xfrm>
            <a:custGeom>
              <a:avLst/>
              <a:gdLst/>
              <a:ahLst/>
              <a:cxnLst>
                <a:cxn ang="0">
                  <a:pos x="2613" y="1778"/>
                </a:cxn>
                <a:cxn ang="0">
                  <a:pos x="2247" y="1778"/>
                </a:cxn>
                <a:cxn ang="0">
                  <a:pos x="2247" y="4167"/>
                </a:cxn>
                <a:cxn ang="0">
                  <a:pos x="2613" y="4167"/>
                </a:cxn>
                <a:cxn ang="0">
                  <a:pos x="2613" y="1778"/>
                </a:cxn>
                <a:cxn ang="0">
                  <a:pos x="1509" y="1778"/>
                </a:cxn>
                <a:cxn ang="0">
                  <a:pos x="1143" y="1778"/>
                </a:cxn>
                <a:cxn ang="0">
                  <a:pos x="1143" y="4167"/>
                </a:cxn>
                <a:cxn ang="0">
                  <a:pos x="1509" y="4167"/>
                </a:cxn>
                <a:cxn ang="0">
                  <a:pos x="1509" y="1778"/>
                </a:cxn>
                <a:cxn ang="0">
                  <a:pos x="2901" y="309"/>
                </a:cxn>
                <a:cxn ang="0">
                  <a:pos x="2901" y="0"/>
                </a:cxn>
                <a:cxn ang="0">
                  <a:pos x="855" y="0"/>
                </a:cxn>
                <a:cxn ang="0">
                  <a:pos x="855" y="309"/>
                </a:cxn>
                <a:cxn ang="0">
                  <a:pos x="0" y="309"/>
                </a:cxn>
                <a:cxn ang="0">
                  <a:pos x="0" y="1478"/>
                </a:cxn>
                <a:cxn ang="0">
                  <a:pos x="257" y="1478"/>
                </a:cxn>
                <a:cxn ang="0">
                  <a:pos x="257" y="4838"/>
                </a:cxn>
                <a:cxn ang="0">
                  <a:pos x="3499" y="4838"/>
                </a:cxn>
                <a:cxn ang="0">
                  <a:pos x="3499" y="1478"/>
                </a:cxn>
                <a:cxn ang="0">
                  <a:pos x="3756" y="1478"/>
                </a:cxn>
                <a:cxn ang="0">
                  <a:pos x="3756" y="309"/>
                </a:cxn>
                <a:cxn ang="0">
                  <a:pos x="2901" y="309"/>
                </a:cxn>
                <a:cxn ang="0">
                  <a:pos x="3130" y="4469"/>
                </a:cxn>
                <a:cxn ang="0">
                  <a:pos x="626" y="4469"/>
                </a:cxn>
                <a:cxn ang="0">
                  <a:pos x="626" y="1478"/>
                </a:cxn>
                <a:cxn ang="0">
                  <a:pos x="3130" y="1478"/>
                </a:cxn>
                <a:cxn ang="0">
                  <a:pos x="3130" y="4469"/>
                </a:cxn>
                <a:cxn ang="0">
                  <a:pos x="3388" y="1108"/>
                </a:cxn>
                <a:cxn ang="0">
                  <a:pos x="368" y="1108"/>
                </a:cxn>
                <a:cxn ang="0">
                  <a:pos x="368" y="675"/>
                </a:cxn>
                <a:cxn ang="0">
                  <a:pos x="1221" y="675"/>
                </a:cxn>
                <a:cxn ang="0">
                  <a:pos x="1221" y="368"/>
                </a:cxn>
                <a:cxn ang="0">
                  <a:pos x="2535" y="368"/>
                </a:cxn>
                <a:cxn ang="0">
                  <a:pos x="2535" y="675"/>
                </a:cxn>
                <a:cxn ang="0">
                  <a:pos x="3388" y="675"/>
                </a:cxn>
                <a:cxn ang="0">
                  <a:pos x="3388" y="1108"/>
                </a:cxn>
              </a:cxnLst>
              <a:rect l="0" t="0" r="r" b="b"/>
              <a:pathLst>
                <a:path w="3756" h="4838">
                  <a:moveTo>
                    <a:pt x="2613" y="1778"/>
                  </a:moveTo>
                  <a:lnTo>
                    <a:pt x="2247" y="1778"/>
                  </a:lnTo>
                  <a:lnTo>
                    <a:pt x="2247" y="4167"/>
                  </a:lnTo>
                  <a:lnTo>
                    <a:pt x="2613" y="4167"/>
                  </a:lnTo>
                  <a:lnTo>
                    <a:pt x="2613" y="1778"/>
                  </a:lnTo>
                  <a:close/>
                  <a:moveTo>
                    <a:pt x="1509" y="1778"/>
                  </a:moveTo>
                  <a:lnTo>
                    <a:pt x="1143" y="1778"/>
                  </a:lnTo>
                  <a:lnTo>
                    <a:pt x="1143" y="4167"/>
                  </a:lnTo>
                  <a:lnTo>
                    <a:pt x="1509" y="4167"/>
                  </a:lnTo>
                  <a:lnTo>
                    <a:pt x="1509" y="1778"/>
                  </a:lnTo>
                  <a:close/>
                  <a:moveTo>
                    <a:pt x="2901" y="309"/>
                  </a:moveTo>
                  <a:lnTo>
                    <a:pt x="2901" y="0"/>
                  </a:lnTo>
                  <a:lnTo>
                    <a:pt x="855" y="0"/>
                  </a:lnTo>
                  <a:lnTo>
                    <a:pt x="855" y="309"/>
                  </a:lnTo>
                  <a:lnTo>
                    <a:pt x="0" y="309"/>
                  </a:lnTo>
                  <a:lnTo>
                    <a:pt x="0" y="1478"/>
                  </a:lnTo>
                  <a:lnTo>
                    <a:pt x="257" y="1478"/>
                  </a:lnTo>
                  <a:lnTo>
                    <a:pt x="257" y="4838"/>
                  </a:lnTo>
                  <a:lnTo>
                    <a:pt x="3499" y="4838"/>
                  </a:lnTo>
                  <a:lnTo>
                    <a:pt x="3499" y="1478"/>
                  </a:lnTo>
                  <a:lnTo>
                    <a:pt x="3756" y="1478"/>
                  </a:lnTo>
                  <a:lnTo>
                    <a:pt x="3756" y="309"/>
                  </a:lnTo>
                  <a:lnTo>
                    <a:pt x="2901" y="309"/>
                  </a:lnTo>
                  <a:close/>
                  <a:moveTo>
                    <a:pt x="3130" y="4469"/>
                  </a:moveTo>
                  <a:lnTo>
                    <a:pt x="626" y="4469"/>
                  </a:lnTo>
                  <a:lnTo>
                    <a:pt x="626" y="1478"/>
                  </a:lnTo>
                  <a:lnTo>
                    <a:pt x="3130" y="1478"/>
                  </a:lnTo>
                  <a:lnTo>
                    <a:pt x="3130" y="4469"/>
                  </a:lnTo>
                  <a:close/>
                  <a:moveTo>
                    <a:pt x="3388" y="1108"/>
                  </a:moveTo>
                  <a:lnTo>
                    <a:pt x="368" y="1108"/>
                  </a:lnTo>
                  <a:lnTo>
                    <a:pt x="368" y="675"/>
                  </a:lnTo>
                  <a:lnTo>
                    <a:pt x="1221" y="675"/>
                  </a:lnTo>
                  <a:lnTo>
                    <a:pt x="1221" y="368"/>
                  </a:lnTo>
                  <a:lnTo>
                    <a:pt x="2535" y="368"/>
                  </a:lnTo>
                  <a:lnTo>
                    <a:pt x="2535" y="675"/>
                  </a:lnTo>
                  <a:lnTo>
                    <a:pt x="3388" y="675"/>
                  </a:lnTo>
                  <a:lnTo>
                    <a:pt x="3388" y="1108"/>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9" name="Group 18"/>
          <p:cNvGrpSpPr/>
          <p:nvPr/>
        </p:nvGrpSpPr>
        <p:grpSpPr>
          <a:xfrm>
            <a:off x="6786083" y="881854"/>
            <a:ext cx="1576867" cy="877888"/>
            <a:chOff x="6786083" y="881854"/>
            <a:chExt cx="1576867" cy="877888"/>
          </a:xfrm>
        </p:grpSpPr>
        <p:sp>
          <p:nvSpPr>
            <p:cNvPr id="111" name="Freeform 6"/>
            <p:cNvSpPr>
              <a:spLocks/>
            </p:cNvSpPr>
            <p:nvPr/>
          </p:nvSpPr>
          <p:spPr bwMode="auto">
            <a:xfrm>
              <a:off x="6864483" y="881854"/>
              <a:ext cx="1371600" cy="877888"/>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0" name="Rectangle 119"/>
            <p:cNvSpPr/>
            <p:nvPr/>
          </p:nvSpPr>
          <p:spPr>
            <a:xfrm>
              <a:off x="6786083" y="1124166"/>
              <a:ext cx="1576867" cy="553998"/>
            </a:xfrm>
            <a:prstGeom prst="rect">
              <a:avLst/>
            </a:prstGeom>
          </p:spPr>
          <p:txBody>
            <a:bodyPr wrap="square" lIns="0" tIns="0" rIns="0" bIns="0">
              <a:spAutoFit/>
            </a:bodyPr>
            <a:lstStyle/>
            <a:p>
              <a:pPr lvl="0" algn="ctr"/>
              <a:r>
                <a:rPr lang="en-US" sz="1200" b="1" kern="0" dirty="0" smtClean="0">
                  <a:solidFill>
                    <a:schemeClr val="tx2"/>
                  </a:solidFill>
                  <a:latin typeface="+mj-lt"/>
                </a:rPr>
                <a:t>Cisco</a:t>
              </a:r>
              <a:br>
                <a:rPr lang="en-US" sz="1200" b="1" kern="0" dirty="0" smtClean="0">
                  <a:solidFill>
                    <a:schemeClr val="tx2"/>
                  </a:solidFill>
                  <a:latin typeface="+mj-lt"/>
                </a:rPr>
              </a:br>
              <a:r>
                <a:rPr lang="en-US" sz="1200" b="1" kern="0" dirty="0" smtClean="0">
                  <a:solidFill>
                    <a:schemeClr val="tx2"/>
                  </a:solidFill>
                  <a:latin typeface="+mj-lt"/>
                </a:rPr>
                <a:t>Ultra Services</a:t>
              </a:r>
              <a:br>
                <a:rPr lang="en-US" sz="1200" b="1" kern="0" dirty="0" smtClean="0">
                  <a:solidFill>
                    <a:schemeClr val="tx2"/>
                  </a:solidFill>
                  <a:latin typeface="+mj-lt"/>
                </a:rPr>
              </a:br>
              <a:r>
                <a:rPr lang="en-US" sz="1200" b="1" kern="0" dirty="0" smtClean="0">
                  <a:solidFill>
                    <a:schemeClr val="tx2"/>
                  </a:solidFill>
                  <a:latin typeface="+mj-lt"/>
                </a:rPr>
                <a:t>Platform</a:t>
              </a:r>
              <a:endParaRPr lang="en-US" sz="1200" b="1" kern="0" dirty="0">
                <a:solidFill>
                  <a:schemeClr val="tx2"/>
                </a:solidFill>
                <a:latin typeface="+mj-lt"/>
              </a:endParaRPr>
            </a:p>
          </p:txBody>
        </p:sp>
      </p:grpSp>
      <p:sp>
        <p:nvSpPr>
          <p:cNvPr id="121" name="Rectangle 120"/>
          <p:cNvSpPr/>
          <p:nvPr/>
        </p:nvSpPr>
        <p:spPr>
          <a:xfrm>
            <a:off x="3659758" y="2208678"/>
            <a:ext cx="2746265" cy="449354"/>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t" anchorCtr="0">
            <a:spAutoFit/>
          </a:bodyPr>
          <a:lstStyle/>
          <a:p>
            <a:pPr algn="ctr"/>
            <a:r>
              <a:rPr lang="en-US" sz="1600" dirty="0" smtClean="0">
                <a:solidFill>
                  <a:schemeClr val="accent4"/>
                </a:solidFill>
                <a:latin typeface="+mj-lt"/>
              </a:rPr>
              <a:t>12 billion connected devices</a:t>
            </a:r>
            <a:br>
              <a:rPr lang="en-US" sz="1600" dirty="0" smtClean="0">
                <a:solidFill>
                  <a:schemeClr val="accent4"/>
                </a:solidFill>
                <a:latin typeface="+mj-lt"/>
              </a:rPr>
            </a:br>
            <a:r>
              <a:rPr lang="en-US" sz="1200" dirty="0" smtClean="0">
                <a:solidFill>
                  <a:schemeClr val="accent4"/>
                </a:solidFill>
                <a:latin typeface="+mj-lt"/>
              </a:rPr>
              <a:t>(Cisco </a:t>
            </a:r>
            <a:r>
              <a:rPr lang="en-US" sz="1200" dirty="0" err="1" smtClean="0">
                <a:solidFill>
                  <a:schemeClr val="accent4"/>
                </a:solidFill>
                <a:latin typeface="+mj-lt"/>
              </a:rPr>
              <a:t>VNI</a:t>
            </a:r>
            <a:r>
              <a:rPr lang="en-US" sz="1200" dirty="0" smtClean="0">
                <a:solidFill>
                  <a:schemeClr val="accent4"/>
                </a:solidFill>
                <a:latin typeface="+mj-lt"/>
              </a:rPr>
              <a:t>)</a:t>
            </a:r>
            <a:endParaRPr lang="en-US" sz="1600" dirty="0">
              <a:solidFill>
                <a:schemeClr val="accent4"/>
              </a:solidFill>
              <a:latin typeface="+mj-lt"/>
            </a:endParaRPr>
          </a:p>
        </p:txBody>
      </p:sp>
      <p:sp>
        <p:nvSpPr>
          <p:cNvPr id="122" name="Title 2"/>
          <p:cNvSpPr txBox="1">
            <a:spLocks/>
          </p:cNvSpPr>
          <p:nvPr/>
        </p:nvSpPr>
        <p:spPr bwMode="auto">
          <a:xfrm>
            <a:off x="227505" y="1756262"/>
            <a:ext cx="8345488" cy="731837"/>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2" tIns="45711" rIns="91422" bIns="45711" numCol="1" anchor="ctr" anchorCtr="0" compatLnSpc="1">
            <a:prstTxWarp prst="textNoShape">
              <a:avLst/>
            </a:prstTxWarp>
          </a:bodyPr>
          <a:lstStyle>
            <a:lvl1pPr algn="l" defTabSz="684196"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1800" dirty="0" smtClean="0">
                <a:solidFill>
                  <a:schemeClr val="accent4"/>
                </a:solidFill>
              </a:rPr>
              <a:t>By 2020…</a:t>
            </a:r>
            <a:endParaRPr lang="en-US" sz="1800" dirty="0">
              <a:solidFill>
                <a:schemeClr val="accent4"/>
              </a:solidFill>
            </a:endParaRPr>
          </a:p>
        </p:txBody>
      </p:sp>
    </p:spTree>
    <p:extLst>
      <p:ext uri="{BB962C8B-B14F-4D97-AF65-F5344CB8AC3E}">
        <p14:creationId xmlns:p14="http://schemas.microsoft.com/office/powerpoint/2010/main" val="773475856"/>
      </p:ext>
    </p:extLst>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 name="Freeform 6"/>
          <p:cNvSpPr>
            <a:spLocks/>
          </p:cNvSpPr>
          <p:nvPr/>
        </p:nvSpPr>
        <p:spPr bwMode="auto">
          <a:xfrm>
            <a:off x="265429" y="1561951"/>
            <a:ext cx="3657744" cy="2341127"/>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3" name="Group 330"/>
          <p:cNvGrpSpPr/>
          <p:nvPr/>
        </p:nvGrpSpPr>
        <p:grpSpPr>
          <a:xfrm>
            <a:off x="4166175" y="2817490"/>
            <a:ext cx="4893171" cy="1473988"/>
            <a:chOff x="4249995" y="2817490"/>
            <a:chExt cx="4893171" cy="1473988"/>
          </a:xfrm>
        </p:grpSpPr>
        <p:sp>
          <p:nvSpPr>
            <p:cNvPr id="198" name="Freeform 6"/>
            <p:cNvSpPr>
              <a:spLocks noEditPoints="1"/>
            </p:cNvSpPr>
            <p:nvPr/>
          </p:nvSpPr>
          <p:spPr bwMode="auto">
            <a:xfrm>
              <a:off x="4249995" y="2817490"/>
              <a:ext cx="4893171" cy="1473988"/>
            </a:xfrm>
            <a:custGeom>
              <a:avLst/>
              <a:gdLst/>
              <a:ahLst/>
              <a:cxnLst>
                <a:cxn ang="0">
                  <a:pos x="3437" y="824"/>
                </a:cxn>
                <a:cxn ang="0">
                  <a:pos x="3240" y="956"/>
                </a:cxn>
                <a:cxn ang="0">
                  <a:pos x="2664" y="781"/>
                </a:cxn>
                <a:cxn ang="0">
                  <a:pos x="2420" y="456"/>
                </a:cxn>
                <a:cxn ang="0">
                  <a:pos x="2152" y="781"/>
                </a:cxn>
                <a:cxn ang="0">
                  <a:pos x="2113" y="290"/>
                </a:cxn>
                <a:cxn ang="0">
                  <a:pos x="1908" y="817"/>
                </a:cxn>
                <a:cxn ang="0">
                  <a:pos x="1734" y="654"/>
                </a:cxn>
                <a:cxn ang="0">
                  <a:pos x="1237" y="91"/>
                </a:cxn>
                <a:cxn ang="0">
                  <a:pos x="1028" y="522"/>
                </a:cxn>
                <a:cxn ang="0">
                  <a:pos x="763" y="917"/>
                </a:cxn>
                <a:cxn ang="0">
                  <a:pos x="615" y="811"/>
                </a:cxn>
                <a:cxn ang="0">
                  <a:pos x="341" y="812"/>
                </a:cxn>
                <a:cxn ang="0">
                  <a:pos x="2507" y="1283"/>
                </a:cxn>
                <a:cxn ang="0">
                  <a:pos x="3816" y="1035"/>
                </a:cxn>
                <a:cxn ang="0">
                  <a:pos x="51" y="1143"/>
                </a:cxn>
                <a:cxn ang="0">
                  <a:pos x="228" y="1180"/>
                </a:cxn>
                <a:cxn ang="0">
                  <a:pos x="555" y="825"/>
                </a:cxn>
                <a:cxn ang="0">
                  <a:pos x="414" y="1011"/>
                </a:cxn>
                <a:cxn ang="0">
                  <a:pos x="430" y="825"/>
                </a:cxn>
                <a:cxn ang="0">
                  <a:pos x="545" y="1214"/>
                </a:cxn>
                <a:cxn ang="0">
                  <a:pos x="697" y="986"/>
                </a:cxn>
                <a:cxn ang="0">
                  <a:pos x="848" y="1059"/>
                </a:cxn>
                <a:cxn ang="0">
                  <a:pos x="1052" y="597"/>
                </a:cxn>
                <a:cxn ang="0">
                  <a:pos x="1052" y="1113"/>
                </a:cxn>
                <a:cxn ang="0">
                  <a:pos x="983" y="972"/>
                </a:cxn>
                <a:cxn ang="0">
                  <a:pos x="1052" y="863"/>
                </a:cxn>
                <a:cxn ang="0">
                  <a:pos x="1052" y="738"/>
                </a:cxn>
                <a:cxn ang="0">
                  <a:pos x="900" y="629"/>
                </a:cxn>
                <a:cxn ang="0">
                  <a:pos x="1230" y="811"/>
                </a:cxn>
                <a:cxn ang="0">
                  <a:pos x="1334" y="155"/>
                </a:cxn>
                <a:cxn ang="0">
                  <a:pos x="1294" y="1045"/>
                </a:cxn>
                <a:cxn ang="0">
                  <a:pos x="1393" y="866"/>
                </a:cxn>
                <a:cxn ang="0">
                  <a:pos x="1478" y="1153"/>
                </a:cxn>
                <a:cxn ang="0">
                  <a:pos x="1694" y="773"/>
                </a:cxn>
                <a:cxn ang="0">
                  <a:pos x="1541" y="1135"/>
                </a:cxn>
                <a:cxn ang="0">
                  <a:pos x="1645" y="890"/>
                </a:cxn>
                <a:cxn ang="0">
                  <a:pos x="1748" y="1226"/>
                </a:cxn>
                <a:cxn ang="0">
                  <a:pos x="1800" y="708"/>
                </a:cxn>
                <a:cxn ang="0">
                  <a:pos x="1816" y="708"/>
                </a:cxn>
                <a:cxn ang="0">
                  <a:pos x="1901" y="901"/>
                </a:cxn>
                <a:cxn ang="0">
                  <a:pos x="2270" y="497"/>
                </a:cxn>
                <a:cxn ang="0">
                  <a:pos x="2387" y="606"/>
                </a:cxn>
                <a:cxn ang="0">
                  <a:pos x="2270" y="686"/>
                </a:cxn>
                <a:cxn ang="0">
                  <a:pos x="2082" y="368"/>
                </a:cxn>
                <a:cxn ang="0">
                  <a:pos x="2199" y="1230"/>
                </a:cxn>
                <a:cxn ang="0">
                  <a:pos x="2216" y="927"/>
                </a:cxn>
                <a:cxn ang="0">
                  <a:pos x="2307" y="874"/>
                </a:cxn>
                <a:cxn ang="0">
                  <a:pos x="2430" y="910"/>
                </a:cxn>
                <a:cxn ang="0">
                  <a:pos x="2505" y="1053"/>
                </a:cxn>
                <a:cxn ang="0">
                  <a:pos x="2550" y="1146"/>
                </a:cxn>
                <a:cxn ang="0">
                  <a:pos x="2556" y="842"/>
                </a:cxn>
                <a:cxn ang="0">
                  <a:pos x="2621" y="927"/>
                </a:cxn>
                <a:cxn ang="0">
                  <a:pos x="2942" y="1081"/>
                </a:cxn>
                <a:cxn ang="0">
                  <a:pos x="3240" y="1161"/>
                </a:cxn>
                <a:cxn ang="0">
                  <a:pos x="3514" y="899"/>
                </a:cxn>
                <a:cxn ang="0">
                  <a:pos x="3448" y="1057"/>
                </a:cxn>
                <a:cxn ang="0">
                  <a:pos x="3357" y="998"/>
                </a:cxn>
                <a:cxn ang="0">
                  <a:pos x="3272" y="1149"/>
                </a:cxn>
                <a:cxn ang="0">
                  <a:pos x="3357" y="1149"/>
                </a:cxn>
                <a:cxn ang="0">
                  <a:pos x="3425" y="899"/>
                </a:cxn>
                <a:cxn ang="0">
                  <a:pos x="3621" y="1085"/>
                </a:cxn>
                <a:cxn ang="0">
                  <a:pos x="3814" y="1154"/>
                </a:cxn>
              </a:cxnLst>
              <a:rect l="0" t="0" r="r" b="b"/>
              <a:pathLst>
                <a:path w="3836" h="1283">
                  <a:moveTo>
                    <a:pt x="3816" y="1035"/>
                  </a:moveTo>
                  <a:cubicBezTo>
                    <a:pt x="3699" y="1035"/>
                    <a:pt x="3699" y="1035"/>
                    <a:pt x="3699" y="1035"/>
                  </a:cubicBezTo>
                  <a:cubicBezTo>
                    <a:pt x="3699" y="1006"/>
                    <a:pt x="3699" y="1006"/>
                    <a:pt x="3699" y="1006"/>
                  </a:cubicBezTo>
                  <a:cubicBezTo>
                    <a:pt x="3720" y="1006"/>
                    <a:pt x="3720" y="1006"/>
                    <a:pt x="3720" y="1006"/>
                  </a:cubicBezTo>
                  <a:cubicBezTo>
                    <a:pt x="3687" y="938"/>
                    <a:pt x="3687" y="938"/>
                    <a:pt x="3687" y="938"/>
                  </a:cubicBezTo>
                  <a:cubicBezTo>
                    <a:pt x="3581" y="938"/>
                    <a:pt x="3581" y="938"/>
                    <a:pt x="3581" y="938"/>
                  </a:cubicBezTo>
                  <a:cubicBezTo>
                    <a:pt x="3557" y="881"/>
                    <a:pt x="3557" y="881"/>
                    <a:pt x="3557" y="881"/>
                  </a:cubicBezTo>
                  <a:cubicBezTo>
                    <a:pt x="3536" y="881"/>
                    <a:pt x="3536" y="881"/>
                    <a:pt x="3536" y="881"/>
                  </a:cubicBezTo>
                  <a:cubicBezTo>
                    <a:pt x="3536" y="864"/>
                    <a:pt x="3536" y="864"/>
                    <a:pt x="3536" y="864"/>
                  </a:cubicBezTo>
                  <a:cubicBezTo>
                    <a:pt x="3543" y="863"/>
                    <a:pt x="3543" y="863"/>
                    <a:pt x="3543" y="863"/>
                  </a:cubicBezTo>
                  <a:cubicBezTo>
                    <a:pt x="3514" y="824"/>
                    <a:pt x="3514" y="824"/>
                    <a:pt x="3514" y="824"/>
                  </a:cubicBezTo>
                  <a:cubicBezTo>
                    <a:pt x="3437" y="824"/>
                    <a:pt x="3437" y="824"/>
                    <a:pt x="3437" y="824"/>
                  </a:cubicBezTo>
                  <a:cubicBezTo>
                    <a:pt x="3437" y="822"/>
                    <a:pt x="3437" y="822"/>
                    <a:pt x="3437" y="822"/>
                  </a:cubicBezTo>
                  <a:cubicBezTo>
                    <a:pt x="3437" y="822"/>
                    <a:pt x="3437" y="822"/>
                    <a:pt x="3437" y="822"/>
                  </a:cubicBezTo>
                  <a:cubicBezTo>
                    <a:pt x="3412" y="802"/>
                    <a:pt x="3412" y="802"/>
                    <a:pt x="3412" y="802"/>
                  </a:cubicBezTo>
                  <a:cubicBezTo>
                    <a:pt x="3389" y="820"/>
                    <a:pt x="3389" y="820"/>
                    <a:pt x="3389" y="820"/>
                  </a:cubicBezTo>
                  <a:cubicBezTo>
                    <a:pt x="3389" y="823"/>
                    <a:pt x="3389" y="823"/>
                    <a:pt x="3389" y="823"/>
                  </a:cubicBezTo>
                  <a:cubicBezTo>
                    <a:pt x="3389" y="824"/>
                    <a:pt x="3389" y="824"/>
                    <a:pt x="3389" y="824"/>
                  </a:cubicBezTo>
                  <a:cubicBezTo>
                    <a:pt x="3310" y="824"/>
                    <a:pt x="3310" y="824"/>
                    <a:pt x="3310" y="824"/>
                  </a:cubicBezTo>
                  <a:cubicBezTo>
                    <a:pt x="3285" y="863"/>
                    <a:pt x="3285" y="863"/>
                    <a:pt x="3285" y="863"/>
                  </a:cubicBezTo>
                  <a:cubicBezTo>
                    <a:pt x="3295" y="863"/>
                    <a:pt x="3295" y="863"/>
                    <a:pt x="3295" y="863"/>
                  </a:cubicBezTo>
                  <a:cubicBezTo>
                    <a:pt x="3295" y="880"/>
                    <a:pt x="3295" y="880"/>
                    <a:pt x="3295" y="880"/>
                  </a:cubicBezTo>
                  <a:cubicBezTo>
                    <a:pt x="3281" y="881"/>
                    <a:pt x="3281" y="881"/>
                    <a:pt x="3281" y="881"/>
                  </a:cubicBezTo>
                  <a:cubicBezTo>
                    <a:pt x="3240" y="956"/>
                    <a:pt x="3240" y="956"/>
                    <a:pt x="3240" y="956"/>
                  </a:cubicBezTo>
                  <a:cubicBezTo>
                    <a:pt x="3168" y="955"/>
                    <a:pt x="3168" y="955"/>
                    <a:pt x="3168" y="955"/>
                  </a:cubicBezTo>
                  <a:cubicBezTo>
                    <a:pt x="3145" y="895"/>
                    <a:pt x="3145" y="895"/>
                    <a:pt x="3145" y="895"/>
                  </a:cubicBezTo>
                  <a:cubicBezTo>
                    <a:pt x="2840" y="895"/>
                    <a:pt x="2840" y="895"/>
                    <a:pt x="2840" y="895"/>
                  </a:cubicBezTo>
                  <a:cubicBezTo>
                    <a:pt x="2810" y="942"/>
                    <a:pt x="2810" y="942"/>
                    <a:pt x="2810" y="942"/>
                  </a:cubicBezTo>
                  <a:cubicBezTo>
                    <a:pt x="2706" y="944"/>
                    <a:pt x="2706" y="944"/>
                    <a:pt x="2706" y="944"/>
                  </a:cubicBezTo>
                  <a:cubicBezTo>
                    <a:pt x="2706" y="850"/>
                    <a:pt x="2706" y="850"/>
                    <a:pt x="2706" y="850"/>
                  </a:cubicBezTo>
                  <a:cubicBezTo>
                    <a:pt x="2734" y="850"/>
                    <a:pt x="2734" y="850"/>
                    <a:pt x="2734" y="850"/>
                  </a:cubicBezTo>
                  <a:cubicBezTo>
                    <a:pt x="2706" y="783"/>
                    <a:pt x="2706" y="783"/>
                    <a:pt x="2706" y="783"/>
                  </a:cubicBezTo>
                  <a:cubicBezTo>
                    <a:pt x="2670" y="782"/>
                    <a:pt x="2670" y="782"/>
                    <a:pt x="2670" y="782"/>
                  </a:cubicBezTo>
                  <a:cubicBezTo>
                    <a:pt x="2670" y="746"/>
                    <a:pt x="2670" y="746"/>
                    <a:pt x="2670" y="746"/>
                  </a:cubicBezTo>
                  <a:cubicBezTo>
                    <a:pt x="2664" y="746"/>
                    <a:pt x="2664" y="746"/>
                    <a:pt x="2664" y="746"/>
                  </a:cubicBezTo>
                  <a:cubicBezTo>
                    <a:pt x="2664" y="781"/>
                    <a:pt x="2664" y="781"/>
                    <a:pt x="2664" y="781"/>
                  </a:cubicBezTo>
                  <a:cubicBezTo>
                    <a:pt x="2578" y="777"/>
                    <a:pt x="2578" y="777"/>
                    <a:pt x="2578" y="777"/>
                  </a:cubicBezTo>
                  <a:cubicBezTo>
                    <a:pt x="2578" y="755"/>
                    <a:pt x="2578" y="755"/>
                    <a:pt x="2578" y="755"/>
                  </a:cubicBezTo>
                  <a:cubicBezTo>
                    <a:pt x="2571" y="755"/>
                    <a:pt x="2571" y="755"/>
                    <a:pt x="2571" y="755"/>
                  </a:cubicBezTo>
                  <a:cubicBezTo>
                    <a:pt x="2571" y="777"/>
                    <a:pt x="2571" y="777"/>
                    <a:pt x="2571" y="777"/>
                  </a:cubicBezTo>
                  <a:cubicBezTo>
                    <a:pt x="2553" y="776"/>
                    <a:pt x="2553" y="776"/>
                    <a:pt x="2553" y="776"/>
                  </a:cubicBezTo>
                  <a:cubicBezTo>
                    <a:pt x="2553" y="742"/>
                    <a:pt x="2553" y="742"/>
                    <a:pt x="2553" y="742"/>
                  </a:cubicBezTo>
                  <a:cubicBezTo>
                    <a:pt x="2547" y="742"/>
                    <a:pt x="2547" y="742"/>
                    <a:pt x="2547" y="742"/>
                  </a:cubicBezTo>
                  <a:cubicBezTo>
                    <a:pt x="2547" y="776"/>
                    <a:pt x="2547" y="776"/>
                    <a:pt x="2547" y="776"/>
                  </a:cubicBezTo>
                  <a:cubicBezTo>
                    <a:pt x="2478" y="773"/>
                    <a:pt x="2478" y="773"/>
                    <a:pt x="2478" y="773"/>
                  </a:cubicBezTo>
                  <a:cubicBezTo>
                    <a:pt x="2438" y="743"/>
                    <a:pt x="2438" y="743"/>
                    <a:pt x="2438" y="743"/>
                  </a:cubicBezTo>
                  <a:cubicBezTo>
                    <a:pt x="2432" y="743"/>
                    <a:pt x="2426" y="743"/>
                    <a:pt x="2420" y="743"/>
                  </a:cubicBezTo>
                  <a:cubicBezTo>
                    <a:pt x="2420" y="456"/>
                    <a:pt x="2420" y="456"/>
                    <a:pt x="2420" y="456"/>
                  </a:cubicBezTo>
                  <a:cubicBezTo>
                    <a:pt x="2395" y="433"/>
                    <a:pt x="2362" y="422"/>
                    <a:pt x="2328" y="422"/>
                  </a:cubicBezTo>
                  <a:cubicBezTo>
                    <a:pt x="2295" y="422"/>
                    <a:pt x="2261" y="433"/>
                    <a:pt x="2237" y="456"/>
                  </a:cubicBezTo>
                  <a:cubicBezTo>
                    <a:pt x="2237" y="777"/>
                    <a:pt x="2237" y="777"/>
                    <a:pt x="2237" y="777"/>
                  </a:cubicBezTo>
                  <a:cubicBezTo>
                    <a:pt x="2194" y="779"/>
                    <a:pt x="2194" y="779"/>
                    <a:pt x="2194" y="779"/>
                  </a:cubicBezTo>
                  <a:cubicBezTo>
                    <a:pt x="2194" y="735"/>
                    <a:pt x="2194" y="735"/>
                    <a:pt x="2194" y="735"/>
                  </a:cubicBezTo>
                  <a:cubicBezTo>
                    <a:pt x="2187" y="735"/>
                    <a:pt x="2187" y="735"/>
                    <a:pt x="2187" y="735"/>
                  </a:cubicBezTo>
                  <a:cubicBezTo>
                    <a:pt x="2187" y="780"/>
                    <a:pt x="2187" y="780"/>
                    <a:pt x="2187" y="780"/>
                  </a:cubicBezTo>
                  <a:cubicBezTo>
                    <a:pt x="2168" y="780"/>
                    <a:pt x="2168" y="780"/>
                    <a:pt x="2168" y="780"/>
                  </a:cubicBezTo>
                  <a:cubicBezTo>
                    <a:pt x="2168" y="754"/>
                    <a:pt x="2168" y="754"/>
                    <a:pt x="2168" y="754"/>
                  </a:cubicBezTo>
                  <a:cubicBezTo>
                    <a:pt x="2162" y="754"/>
                    <a:pt x="2162" y="754"/>
                    <a:pt x="2162" y="754"/>
                  </a:cubicBezTo>
                  <a:cubicBezTo>
                    <a:pt x="2162" y="781"/>
                    <a:pt x="2162" y="781"/>
                    <a:pt x="2162" y="781"/>
                  </a:cubicBezTo>
                  <a:cubicBezTo>
                    <a:pt x="2152" y="781"/>
                    <a:pt x="2152" y="781"/>
                    <a:pt x="2152" y="781"/>
                  </a:cubicBezTo>
                  <a:cubicBezTo>
                    <a:pt x="2152" y="317"/>
                    <a:pt x="2152" y="317"/>
                    <a:pt x="2152" y="317"/>
                  </a:cubicBezTo>
                  <a:cubicBezTo>
                    <a:pt x="2120" y="317"/>
                    <a:pt x="2120" y="317"/>
                    <a:pt x="2120" y="317"/>
                  </a:cubicBezTo>
                  <a:cubicBezTo>
                    <a:pt x="2120" y="290"/>
                    <a:pt x="2120" y="290"/>
                    <a:pt x="2120" y="290"/>
                  </a:cubicBezTo>
                  <a:cubicBezTo>
                    <a:pt x="2129" y="290"/>
                    <a:pt x="2129" y="290"/>
                    <a:pt x="2129" y="290"/>
                  </a:cubicBezTo>
                  <a:cubicBezTo>
                    <a:pt x="2129" y="283"/>
                    <a:pt x="2129" y="283"/>
                    <a:pt x="2129" y="283"/>
                  </a:cubicBezTo>
                  <a:cubicBezTo>
                    <a:pt x="2120" y="283"/>
                    <a:pt x="2120" y="283"/>
                    <a:pt x="2120" y="283"/>
                  </a:cubicBezTo>
                  <a:cubicBezTo>
                    <a:pt x="2120" y="217"/>
                    <a:pt x="2120" y="217"/>
                    <a:pt x="2120" y="217"/>
                  </a:cubicBezTo>
                  <a:cubicBezTo>
                    <a:pt x="2113" y="217"/>
                    <a:pt x="2113" y="217"/>
                    <a:pt x="2113" y="217"/>
                  </a:cubicBezTo>
                  <a:cubicBezTo>
                    <a:pt x="2113" y="283"/>
                    <a:pt x="2113" y="283"/>
                    <a:pt x="2113" y="283"/>
                  </a:cubicBezTo>
                  <a:cubicBezTo>
                    <a:pt x="2104" y="283"/>
                    <a:pt x="2104" y="283"/>
                    <a:pt x="2104" y="283"/>
                  </a:cubicBezTo>
                  <a:cubicBezTo>
                    <a:pt x="2104" y="290"/>
                    <a:pt x="2104" y="290"/>
                    <a:pt x="2104" y="290"/>
                  </a:cubicBezTo>
                  <a:cubicBezTo>
                    <a:pt x="2113" y="290"/>
                    <a:pt x="2113" y="290"/>
                    <a:pt x="2113" y="290"/>
                  </a:cubicBezTo>
                  <a:cubicBezTo>
                    <a:pt x="2113" y="317"/>
                    <a:pt x="2113" y="317"/>
                    <a:pt x="2113" y="317"/>
                  </a:cubicBezTo>
                  <a:cubicBezTo>
                    <a:pt x="2007" y="317"/>
                    <a:pt x="2007" y="317"/>
                    <a:pt x="2007" y="317"/>
                  </a:cubicBezTo>
                  <a:cubicBezTo>
                    <a:pt x="2007" y="287"/>
                    <a:pt x="2007" y="287"/>
                    <a:pt x="2007" y="287"/>
                  </a:cubicBezTo>
                  <a:cubicBezTo>
                    <a:pt x="1962" y="287"/>
                    <a:pt x="1962" y="287"/>
                    <a:pt x="1962" y="287"/>
                  </a:cubicBezTo>
                  <a:cubicBezTo>
                    <a:pt x="1962" y="317"/>
                    <a:pt x="1962" y="317"/>
                    <a:pt x="1962" y="317"/>
                  </a:cubicBezTo>
                  <a:cubicBezTo>
                    <a:pt x="1946" y="317"/>
                    <a:pt x="1946" y="317"/>
                    <a:pt x="1946" y="317"/>
                  </a:cubicBezTo>
                  <a:cubicBezTo>
                    <a:pt x="1946" y="254"/>
                    <a:pt x="1946" y="254"/>
                    <a:pt x="1946" y="254"/>
                  </a:cubicBezTo>
                  <a:cubicBezTo>
                    <a:pt x="1940" y="254"/>
                    <a:pt x="1940" y="254"/>
                    <a:pt x="1940" y="254"/>
                  </a:cubicBezTo>
                  <a:cubicBezTo>
                    <a:pt x="1940" y="317"/>
                    <a:pt x="1940" y="317"/>
                    <a:pt x="1940" y="317"/>
                  </a:cubicBezTo>
                  <a:cubicBezTo>
                    <a:pt x="1919" y="317"/>
                    <a:pt x="1919" y="317"/>
                    <a:pt x="1919" y="317"/>
                  </a:cubicBezTo>
                  <a:cubicBezTo>
                    <a:pt x="1919" y="831"/>
                    <a:pt x="1919" y="831"/>
                    <a:pt x="1919" y="831"/>
                  </a:cubicBezTo>
                  <a:cubicBezTo>
                    <a:pt x="1908" y="817"/>
                    <a:pt x="1908" y="817"/>
                    <a:pt x="1908" y="817"/>
                  </a:cubicBezTo>
                  <a:cubicBezTo>
                    <a:pt x="1872" y="817"/>
                    <a:pt x="1872" y="817"/>
                    <a:pt x="1872" y="817"/>
                  </a:cubicBezTo>
                  <a:cubicBezTo>
                    <a:pt x="1872" y="655"/>
                    <a:pt x="1872" y="655"/>
                    <a:pt x="1872" y="655"/>
                  </a:cubicBezTo>
                  <a:cubicBezTo>
                    <a:pt x="1867" y="654"/>
                    <a:pt x="1861" y="654"/>
                    <a:pt x="1856" y="654"/>
                  </a:cubicBezTo>
                  <a:cubicBezTo>
                    <a:pt x="1856" y="637"/>
                    <a:pt x="1856" y="637"/>
                    <a:pt x="1856" y="637"/>
                  </a:cubicBezTo>
                  <a:cubicBezTo>
                    <a:pt x="1830" y="637"/>
                    <a:pt x="1830" y="637"/>
                    <a:pt x="1830" y="637"/>
                  </a:cubicBezTo>
                  <a:cubicBezTo>
                    <a:pt x="1830" y="653"/>
                    <a:pt x="1830" y="653"/>
                    <a:pt x="1830" y="653"/>
                  </a:cubicBezTo>
                  <a:cubicBezTo>
                    <a:pt x="1810" y="653"/>
                    <a:pt x="1789" y="653"/>
                    <a:pt x="1768" y="653"/>
                  </a:cubicBezTo>
                  <a:cubicBezTo>
                    <a:pt x="1768" y="618"/>
                    <a:pt x="1768" y="618"/>
                    <a:pt x="1768" y="618"/>
                  </a:cubicBezTo>
                  <a:cubicBezTo>
                    <a:pt x="1764" y="618"/>
                    <a:pt x="1764" y="618"/>
                    <a:pt x="1764" y="618"/>
                  </a:cubicBezTo>
                  <a:cubicBezTo>
                    <a:pt x="1764" y="653"/>
                    <a:pt x="1764" y="653"/>
                    <a:pt x="1764" y="653"/>
                  </a:cubicBezTo>
                  <a:cubicBezTo>
                    <a:pt x="1767" y="653"/>
                    <a:pt x="1767" y="653"/>
                    <a:pt x="1767" y="653"/>
                  </a:cubicBezTo>
                  <a:cubicBezTo>
                    <a:pt x="1756" y="653"/>
                    <a:pt x="1745" y="653"/>
                    <a:pt x="1734" y="654"/>
                  </a:cubicBezTo>
                  <a:cubicBezTo>
                    <a:pt x="1734" y="637"/>
                    <a:pt x="1734" y="637"/>
                    <a:pt x="1734" y="637"/>
                  </a:cubicBezTo>
                  <a:cubicBezTo>
                    <a:pt x="1726" y="637"/>
                    <a:pt x="1726" y="637"/>
                    <a:pt x="1726" y="637"/>
                  </a:cubicBezTo>
                  <a:cubicBezTo>
                    <a:pt x="1726" y="551"/>
                    <a:pt x="1726" y="551"/>
                    <a:pt x="1726" y="551"/>
                  </a:cubicBezTo>
                  <a:cubicBezTo>
                    <a:pt x="1514" y="618"/>
                    <a:pt x="1514" y="618"/>
                    <a:pt x="1514" y="618"/>
                  </a:cubicBezTo>
                  <a:cubicBezTo>
                    <a:pt x="1514" y="660"/>
                    <a:pt x="1514" y="660"/>
                    <a:pt x="1514" y="660"/>
                  </a:cubicBezTo>
                  <a:cubicBezTo>
                    <a:pt x="1489" y="660"/>
                    <a:pt x="1489" y="660"/>
                    <a:pt x="1489" y="660"/>
                  </a:cubicBezTo>
                  <a:cubicBezTo>
                    <a:pt x="1489" y="91"/>
                    <a:pt x="1489" y="91"/>
                    <a:pt x="1489" y="91"/>
                  </a:cubicBezTo>
                  <a:cubicBezTo>
                    <a:pt x="1452" y="91"/>
                    <a:pt x="1452" y="91"/>
                    <a:pt x="1452" y="91"/>
                  </a:cubicBezTo>
                  <a:cubicBezTo>
                    <a:pt x="1452" y="0"/>
                    <a:pt x="1452" y="0"/>
                    <a:pt x="1452" y="0"/>
                  </a:cubicBezTo>
                  <a:cubicBezTo>
                    <a:pt x="1394" y="0"/>
                    <a:pt x="1331" y="0"/>
                    <a:pt x="1274" y="0"/>
                  </a:cubicBezTo>
                  <a:cubicBezTo>
                    <a:pt x="1274" y="91"/>
                    <a:pt x="1274" y="91"/>
                    <a:pt x="1274" y="91"/>
                  </a:cubicBezTo>
                  <a:cubicBezTo>
                    <a:pt x="1237" y="91"/>
                    <a:pt x="1237" y="91"/>
                    <a:pt x="1237" y="91"/>
                  </a:cubicBezTo>
                  <a:cubicBezTo>
                    <a:pt x="1237" y="660"/>
                    <a:pt x="1237" y="660"/>
                    <a:pt x="1237" y="660"/>
                  </a:cubicBezTo>
                  <a:cubicBezTo>
                    <a:pt x="1130" y="660"/>
                    <a:pt x="1130" y="660"/>
                    <a:pt x="1130" y="660"/>
                  </a:cubicBezTo>
                  <a:cubicBezTo>
                    <a:pt x="1101" y="728"/>
                    <a:pt x="1101" y="728"/>
                    <a:pt x="1101" y="728"/>
                  </a:cubicBezTo>
                  <a:cubicBezTo>
                    <a:pt x="1118" y="727"/>
                    <a:pt x="1118" y="727"/>
                    <a:pt x="1118" y="727"/>
                  </a:cubicBezTo>
                  <a:cubicBezTo>
                    <a:pt x="1118" y="806"/>
                    <a:pt x="1118" y="886"/>
                    <a:pt x="1118" y="965"/>
                  </a:cubicBezTo>
                  <a:cubicBezTo>
                    <a:pt x="1097" y="981"/>
                    <a:pt x="1097" y="981"/>
                    <a:pt x="1097" y="981"/>
                  </a:cubicBezTo>
                  <a:cubicBezTo>
                    <a:pt x="1096" y="981"/>
                    <a:pt x="1096" y="981"/>
                    <a:pt x="1096" y="981"/>
                  </a:cubicBezTo>
                  <a:cubicBezTo>
                    <a:pt x="1096" y="522"/>
                    <a:pt x="1096" y="522"/>
                    <a:pt x="1096" y="522"/>
                  </a:cubicBezTo>
                  <a:cubicBezTo>
                    <a:pt x="1070" y="522"/>
                    <a:pt x="1070" y="522"/>
                    <a:pt x="1070" y="522"/>
                  </a:cubicBezTo>
                  <a:cubicBezTo>
                    <a:pt x="1070" y="500"/>
                    <a:pt x="1070" y="500"/>
                    <a:pt x="1070" y="500"/>
                  </a:cubicBezTo>
                  <a:cubicBezTo>
                    <a:pt x="1028" y="500"/>
                    <a:pt x="1028" y="500"/>
                    <a:pt x="1028" y="500"/>
                  </a:cubicBezTo>
                  <a:cubicBezTo>
                    <a:pt x="1028" y="522"/>
                    <a:pt x="1028" y="522"/>
                    <a:pt x="1028" y="522"/>
                  </a:cubicBezTo>
                  <a:cubicBezTo>
                    <a:pt x="954" y="522"/>
                    <a:pt x="954" y="522"/>
                    <a:pt x="954" y="522"/>
                  </a:cubicBezTo>
                  <a:cubicBezTo>
                    <a:pt x="954" y="468"/>
                    <a:pt x="954" y="468"/>
                    <a:pt x="954" y="468"/>
                  </a:cubicBezTo>
                  <a:cubicBezTo>
                    <a:pt x="947" y="468"/>
                    <a:pt x="947" y="468"/>
                    <a:pt x="947" y="468"/>
                  </a:cubicBezTo>
                  <a:cubicBezTo>
                    <a:pt x="947" y="522"/>
                    <a:pt x="947" y="522"/>
                    <a:pt x="947" y="522"/>
                  </a:cubicBezTo>
                  <a:cubicBezTo>
                    <a:pt x="918" y="522"/>
                    <a:pt x="918" y="522"/>
                    <a:pt x="918" y="522"/>
                  </a:cubicBezTo>
                  <a:cubicBezTo>
                    <a:pt x="918" y="495"/>
                    <a:pt x="918" y="495"/>
                    <a:pt x="918" y="495"/>
                  </a:cubicBezTo>
                  <a:cubicBezTo>
                    <a:pt x="911" y="495"/>
                    <a:pt x="911" y="495"/>
                    <a:pt x="911" y="495"/>
                  </a:cubicBezTo>
                  <a:cubicBezTo>
                    <a:pt x="911" y="522"/>
                    <a:pt x="911" y="522"/>
                    <a:pt x="911" y="522"/>
                  </a:cubicBezTo>
                  <a:cubicBezTo>
                    <a:pt x="861" y="522"/>
                    <a:pt x="861" y="522"/>
                    <a:pt x="861" y="522"/>
                  </a:cubicBezTo>
                  <a:cubicBezTo>
                    <a:pt x="861" y="926"/>
                    <a:pt x="861" y="926"/>
                    <a:pt x="861" y="926"/>
                  </a:cubicBezTo>
                  <a:cubicBezTo>
                    <a:pt x="763" y="926"/>
                    <a:pt x="763" y="926"/>
                    <a:pt x="763" y="926"/>
                  </a:cubicBezTo>
                  <a:cubicBezTo>
                    <a:pt x="763" y="917"/>
                    <a:pt x="763" y="917"/>
                    <a:pt x="763" y="917"/>
                  </a:cubicBezTo>
                  <a:cubicBezTo>
                    <a:pt x="726" y="917"/>
                    <a:pt x="726" y="917"/>
                    <a:pt x="726" y="917"/>
                  </a:cubicBezTo>
                  <a:cubicBezTo>
                    <a:pt x="726" y="926"/>
                    <a:pt x="726" y="926"/>
                    <a:pt x="726" y="926"/>
                  </a:cubicBezTo>
                  <a:cubicBezTo>
                    <a:pt x="695" y="926"/>
                    <a:pt x="695" y="926"/>
                    <a:pt x="695" y="926"/>
                  </a:cubicBezTo>
                  <a:cubicBezTo>
                    <a:pt x="695" y="883"/>
                    <a:pt x="695" y="883"/>
                    <a:pt x="695" y="883"/>
                  </a:cubicBezTo>
                  <a:cubicBezTo>
                    <a:pt x="690" y="883"/>
                    <a:pt x="690" y="883"/>
                    <a:pt x="690" y="883"/>
                  </a:cubicBezTo>
                  <a:cubicBezTo>
                    <a:pt x="690" y="926"/>
                    <a:pt x="690" y="926"/>
                    <a:pt x="690" y="926"/>
                  </a:cubicBezTo>
                  <a:cubicBezTo>
                    <a:pt x="653" y="926"/>
                    <a:pt x="653" y="926"/>
                    <a:pt x="653" y="926"/>
                  </a:cubicBezTo>
                  <a:cubicBezTo>
                    <a:pt x="653" y="926"/>
                    <a:pt x="653" y="926"/>
                    <a:pt x="653" y="926"/>
                  </a:cubicBezTo>
                  <a:cubicBezTo>
                    <a:pt x="681" y="924"/>
                    <a:pt x="681" y="924"/>
                    <a:pt x="681" y="924"/>
                  </a:cubicBezTo>
                  <a:cubicBezTo>
                    <a:pt x="631" y="831"/>
                    <a:pt x="631" y="831"/>
                    <a:pt x="631" y="831"/>
                  </a:cubicBezTo>
                  <a:cubicBezTo>
                    <a:pt x="616" y="831"/>
                    <a:pt x="616" y="831"/>
                    <a:pt x="616" y="831"/>
                  </a:cubicBezTo>
                  <a:cubicBezTo>
                    <a:pt x="615" y="811"/>
                    <a:pt x="615" y="811"/>
                    <a:pt x="615" y="811"/>
                  </a:cubicBezTo>
                  <a:cubicBezTo>
                    <a:pt x="627" y="811"/>
                    <a:pt x="627" y="811"/>
                    <a:pt x="627" y="811"/>
                  </a:cubicBezTo>
                  <a:cubicBezTo>
                    <a:pt x="599" y="767"/>
                    <a:pt x="599" y="767"/>
                    <a:pt x="599" y="767"/>
                  </a:cubicBezTo>
                  <a:cubicBezTo>
                    <a:pt x="509" y="767"/>
                    <a:pt x="509" y="767"/>
                    <a:pt x="509" y="767"/>
                  </a:cubicBezTo>
                  <a:cubicBezTo>
                    <a:pt x="509" y="766"/>
                    <a:pt x="509" y="766"/>
                    <a:pt x="509" y="766"/>
                  </a:cubicBezTo>
                  <a:cubicBezTo>
                    <a:pt x="509" y="763"/>
                    <a:pt x="509" y="763"/>
                    <a:pt x="509" y="763"/>
                  </a:cubicBezTo>
                  <a:cubicBezTo>
                    <a:pt x="483" y="742"/>
                    <a:pt x="483" y="742"/>
                    <a:pt x="483" y="742"/>
                  </a:cubicBezTo>
                  <a:cubicBezTo>
                    <a:pt x="454" y="765"/>
                    <a:pt x="454" y="765"/>
                    <a:pt x="454" y="765"/>
                  </a:cubicBezTo>
                  <a:cubicBezTo>
                    <a:pt x="454" y="765"/>
                    <a:pt x="454" y="765"/>
                    <a:pt x="454" y="765"/>
                  </a:cubicBezTo>
                  <a:cubicBezTo>
                    <a:pt x="454" y="767"/>
                    <a:pt x="454" y="767"/>
                    <a:pt x="454" y="767"/>
                  </a:cubicBezTo>
                  <a:cubicBezTo>
                    <a:pt x="366" y="767"/>
                    <a:pt x="366" y="767"/>
                    <a:pt x="366" y="767"/>
                  </a:cubicBezTo>
                  <a:cubicBezTo>
                    <a:pt x="334" y="811"/>
                    <a:pt x="334" y="811"/>
                    <a:pt x="334" y="811"/>
                  </a:cubicBezTo>
                  <a:cubicBezTo>
                    <a:pt x="341" y="812"/>
                    <a:pt x="341" y="812"/>
                    <a:pt x="341" y="812"/>
                  </a:cubicBezTo>
                  <a:cubicBezTo>
                    <a:pt x="341" y="832"/>
                    <a:pt x="341" y="832"/>
                    <a:pt x="341" y="832"/>
                  </a:cubicBezTo>
                  <a:cubicBezTo>
                    <a:pt x="317" y="832"/>
                    <a:pt x="317" y="832"/>
                    <a:pt x="317" y="832"/>
                  </a:cubicBezTo>
                  <a:cubicBezTo>
                    <a:pt x="290" y="897"/>
                    <a:pt x="290" y="897"/>
                    <a:pt x="290" y="897"/>
                  </a:cubicBezTo>
                  <a:cubicBezTo>
                    <a:pt x="170" y="897"/>
                    <a:pt x="170" y="897"/>
                    <a:pt x="170" y="897"/>
                  </a:cubicBezTo>
                  <a:cubicBezTo>
                    <a:pt x="132" y="975"/>
                    <a:pt x="132" y="975"/>
                    <a:pt x="132" y="975"/>
                  </a:cubicBezTo>
                  <a:cubicBezTo>
                    <a:pt x="156" y="975"/>
                    <a:pt x="156" y="975"/>
                    <a:pt x="156" y="975"/>
                  </a:cubicBezTo>
                  <a:cubicBezTo>
                    <a:pt x="156" y="1007"/>
                    <a:pt x="156" y="1007"/>
                    <a:pt x="156" y="1007"/>
                  </a:cubicBezTo>
                  <a:cubicBezTo>
                    <a:pt x="24" y="1007"/>
                    <a:pt x="24" y="1007"/>
                    <a:pt x="24" y="1007"/>
                  </a:cubicBezTo>
                  <a:cubicBezTo>
                    <a:pt x="0" y="1037"/>
                    <a:pt x="0" y="1037"/>
                    <a:pt x="0" y="1037"/>
                  </a:cubicBezTo>
                  <a:cubicBezTo>
                    <a:pt x="0" y="1064"/>
                    <a:pt x="0" y="1064"/>
                    <a:pt x="0" y="1064"/>
                  </a:cubicBezTo>
                  <a:cubicBezTo>
                    <a:pt x="0" y="1283"/>
                    <a:pt x="0" y="1283"/>
                    <a:pt x="0" y="1283"/>
                  </a:cubicBezTo>
                  <a:cubicBezTo>
                    <a:pt x="844" y="1283"/>
                    <a:pt x="1680" y="1283"/>
                    <a:pt x="2507" y="1283"/>
                  </a:cubicBezTo>
                  <a:cubicBezTo>
                    <a:pt x="2507" y="1282"/>
                    <a:pt x="2507" y="1280"/>
                    <a:pt x="2507" y="1279"/>
                  </a:cubicBezTo>
                  <a:cubicBezTo>
                    <a:pt x="2514" y="1279"/>
                    <a:pt x="2521" y="1279"/>
                    <a:pt x="2528" y="1279"/>
                  </a:cubicBezTo>
                  <a:cubicBezTo>
                    <a:pt x="2528" y="1280"/>
                    <a:pt x="2528" y="1282"/>
                    <a:pt x="2528" y="1283"/>
                  </a:cubicBezTo>
                  <a:cubicBezTo>
                    <a:pt x="2787" y="1283"/>
                    <a:pt x="3045" y="1283"/>
                    <a:pt x="3302" y="1283"/>
                  </a:cubicBezTo>
                  <a:cubicBezTo>
                    <a:pt x="3302" y="1245"/>
                    <a:pt x="3302" y="1207"/>
                    <a:pt x="3302" y="1170"/>
                  </a:cubicBezTo>
                  <a:cubicBezTo>
                    <a:pt x="3306" y="1170"/>
                    <a:pt x="3311" y="1170"/>
                    <a:pt x="3315" y="1170"/>
                  </a:cubicBezTo>
                  <a:cubicBezTo>
                    <a:pt x="3315" y="1207"/>
                    <a:pt x="3315" y="1245"/>
                    <a:pt x="3315" y="1283"/>
                  </a:cubicBezTo>
                  <a:cubicBezTo>
                    <a:pt x="3489" y="1283"/>
                    <a:pt x="3663" y="1283"/>
                    <a:pt x="3836" y="1283"/>
                  </a:cubicBezTo>
                  <a:cubicBezTo>
                    <a:pt x="3836" y="1221"/>
                    <a:pt x="3836" y="1221"/>
                    <a:pt x="3836" y="1221"/>
                  </a:cubicBezTo>
                  <a:cubicBezTo>
                    <a:pt x="3836" y="1085"/>
                    <a:pt x="3836" y="1085"/>
                    <a:pt x="3836" y="1085"/>
                  </a:cubicBezTo>
                  <a:cubicBezTo>
                    <a:pt x="3836" y="1062"/>
                    <a:pt x="3836" y="1062"/>
                    <a:pt x="3836" y="1062"/>
                  </a:cubicBezTo>
                  <a:lnTo>
                    <a:pt x="3816" y="1035"/>
                  </a:lnTo>
                  <a:close/>
                  <a:moveTo>
                    <a:pt x="25" y="1090"/>
                  </a:moveTo>
                  <a:cubicBezTo>
                    <a:pt x="150" y="1090"/>
                    <a:pt x="150" y="1090"/>
                    <a:pt x="150" y="1090"/>
                  </a:cubicBezTo>
                  <a:cubicBezTo>
                    <a:pt x="150" y="1107"/>
                    <a:pt x="150" y="1107"/>
                    <a:pt x="150" y="1107"/>
                  </a:cubicBezTo>
                  <a:cubicBezTo>
                    <a:pt x="25" y="1107"/>
                    <a:pt x="25" y="1107"/>
                    <a:pt x="25" y="1107"/>
                  </a:cubicBezTo>
                  <a:lnTo>
                    <a:pt x="25" y="1090"/>
                  </a:lnTo>
                  <a:close/>
                  <a:moveTo>
                    <a:pt x="150" y="1178"/>
                  </a:moveTo>
                  <a:cubicBezTo>
                    <a:pt x="132" y="1178"/>
                    <a:pt x="114" y="1178"/>
                    <a:pt x="96" y="1178"/>
                  </a:cubicBezTo>
                  <a:cubicBezTo>
                    <a:pt x="96" y="1173"/>
                    <a:pt x="96" y="1167"/>
                    <a:pt x="96" y="1161"/>
                  </a:cubicBezTo>
                  <a:cubicBezTo>
                    <a:pt x="114" y="1161"/>
                    <a:pt x="132" y="1161"/>
                    <a:pt x="150" y="1161"/>
                  </a:cubicBezTo>
                  <a:cubicBezTo>
                    <a:pt x="150" y="1167"/>
                    <a:pt x="150" y="1173"/>
                    <a:pt x="150" y="1178"/>
                  </a:cubicBezTo>
                  <a:close/>
                  <a:moveTo>
                    <a:pt x="150" y="1143"/>
                  </a:moveTo>
                  <a:cubicBezTo>
                    <a:pt x="117" y="1143"/>
                    <a:pt x="84" y="1143"/>
                    <a:pt x="51" y="1143"/>
                  </a:cubicBezTo>
                  <a:cubicBezTo>
                    <a:pt x="51" y="1137"/>
                    <a:pt x="51" y="1131"/>
                    <a:pt x="51" y="1125"/>
                  </a:cubicBezTo>
                  <a:cubicBezTo>
                    <a:pt x="84" y="1125"/>
                    <a:pt x="117" y="1125"/>
                    <a:pt x="150" y="1125"/>
                  </a:cubicBezTo>
                  <a:cubicBezTo>
                    <a:pt x="150" y="1131"/>
                    <a:pt x="150" y="1137"/>
                    <a:pt x="150" y="1143"/>
                  </a:cubicBezTo>
                  <a:close/>
                  <a:moveTo>
                    <a:pt x="181" y="1007"/>
                  </a:moveTo>
                  <a:cubicBezTo>
                    <a:pt x="228" y="1007"/>
                    <a:pt x="228" y="1007"/>
                    <a:pt x="228" y="1007"/>
                  </a:cubicBezTo>
                  <a:cubicBezTo>
                    <a:pt x="228" y="1041"/>
                    <a:pt x="228" y="1041"/>
                    <a:pt x="228" y="1041"/>
                  </a:cubicBezTo>
                  <a:cubicBezTo>
                    <a:pt x="181" y="1041"/>
                    <a:pt x="181" y="1041"/>
                    <a:pt x="181" y="1041"/>
                  </a:cubicBezTo>
                  <a:lnTo>
                    <a:pt x="181" y="1007"/>
                  </a:lnTo>
                  <a:close/>
                  <a:moveTo>
                    <a:pt x="228" y="1214"/>
                  </a:moveTo>
                  <a:cubicBezTo>
                    <a:pt x="181" y="1214"/>
                    <a:pt x="181" y="1214"/>
                    <a:pt x="181" y="1214"/>
                  </a:cubicBezTo>
                  <a:cubicBezTo>
                    <a:pt x="181" y="1180"/>
                    <a:pt x="181" y="1180"/>
                    <a:pt x="181" y="1180"/>
                  </a:cubicBezTo>
                  <a:cubicBezTo>
                    <a:pt x="228" y="1180"/>
                    <a:pt x="228" y="1180"/>
                    <a:pt x="228" y="1180"/>
                  </a:cubicBezTo>
                  <a:lnTo>
                    <a:pt x="228" y="1214"/>
                  </a:lnTo>
                  <a:close/>
                  <a:moveTo>
                    <a:pt x="228" y="1099"/>
                  </a:moveTo>
                  <a:cubicBezTo>
                    <a:pt x="212" y="1099"/>
                    <a:pt x="197" y="1099"/>
                    <a:pt x="181" y="1099"/>
                  </a:cubicBezTo>
                  <a:cubicBezTo>
                    <a:pt x="181" y="1087"/>
                    <a:pt x="181" y="1076"/>
                    <a:pt x="181" y="1064"/>
                  </a:cubicBezTo>
                  <a:cubicBezTo>
                    <a:pt x="197" y="1064"/>
                    <a:pt x="212" y="1064"/>
                    <a:pt x="228" y="1064"/>
                  </a:cubicBezTo>
                  <a:cubicBezTo>
                    <a:pt x="228" y="1076"/>
                    <a:pt x="228" y="1087"/>
                    <a:pt x="228" y="1099"/>
                  </a:cubicBezTo>
                  <a:close/>
                  <a:moveTo>
                    <a:pt x="290" y="1041"/>
                  </a:moveTo>
                  <a:cubicBezTo>
                    <a:pt x="244" y="1041"/>
                    <a:pt x="244" y="1041"/>
                    <a:pt x="244" y="1041"/>
                  </a:cubicBezTo>
                  <a:cubicBezTo>
                    <a:pt x="244" y="1007"/>
                    <a:pt x="244" y="1007"/>
                    <a:pt x="244" y="1007"/>
                  </a:cubicBezTo>
                  <a:cubicBezTo>
                    <a:pt x="290" y="1007"/>
                    <a:pt x="290" y="1007"/>
                    <a:pt x="290" y="1007"/>
                  </a:cubicBezTo>
                  <a:lnTo>
                    <a:pt x="290" y="1041"/>
                  </a:lnTo>
                  <a:close/>
                  <a:moveTo>
                    <a:pt x="555" y="825"/>
                  </a:moveTo>
                  <a:cubicBezTo>
                    <a:pt x="567" y="825"/>
                    <a:pt x="580" y="825"/>
                    <a:pt x="592" y="825"/>
                  </a:cubicBezTo>
                  <a:cubicBezTo>
                    <a:pt x="592" y="834"/>
                    <a:pt x="592" y="843"/>
                    <a:pt x="592" y="853"/>
                  </a:cubicBezTo>
                  <a:cubicBezTo>
                    <a:pt x="580" y="853"/>
                    <a:pt x="567" y="853"/>
                    <a:pt x="555" y="853"/>
                  </a:cubicBezTo>
                  <a:cubicBezTo>
                    <a:pt x="555" y="843"/>
                    <a:pt x="555" y="834"/>
                    <a:pt x="555" y="825"/>
                  </a:cubicBezTo>
                  <a:close/>
                  <a:moveTo>
                    <a:pt x="468" y="764"/>
                  </a:moveTo>
                  <a:cubicBezTo>
                    <a:pt x="478" y="764"/>
                    <a:pt x="487" y="764"/>
                    <a:pt x="496" y="764"/>
                  </a:cubicBezTo>
                  <a:cubicBezTo>
                    <a:pt x="496" y="771"/>
                    <a:pt x="496" y="777"/>
                    <a:pt x="496" y="784"/>
                  </a:cubicBezTo>
                  <a:cubicBezTo>
                    <a:pt x="487" y="784"/>
                    <a:pt x="478" y="784"/>
                    <a:pt x="468" y="784"/>
                  </a:cubicBezTo>
                  <a:cubicBezTo>
                    <a:pt x="468" y="777"/>
                    <a:pt x="468" y="771"/>
                    <a:pt x="468" y="764"/>
                  </a:cubicBezTo>
                  <a:close/>
                  <a:moveTo>
                    <a:pt x="339" y="965"/>
                  </a:moveTo>
                  <a:cubicBezTo>
                    <a:pt x="364" y="965"/>
                    <a:pt x="389" y="965"/>
                    <a:pt x="414" y="965"/>
                  </a:cubicBezTo>
                  <a:cubicBezTo>
                    <a:pt x="414" y="980"/>
                    <a:pt x="414" y="996"/>
                    <a:pt x="414" y="1011"/>
                  </a:cubicBezTo>
                  <a:cubicBezTo>
                    <a:pt x="389" y="1011"/>
                    <a:pt x="364" y="1011"/>
                    <a:pt x="339" y="1011"/>
                  </a:cubicBezTo>
                  <a:cubicBezTo>
                    <a:pt x="339" y="996"/>
                    <a:pt x="339" y="980"/>
                    <a:pt x="339" y="965"/>
                  </a:cubicBezTo>
                  <a:close/>
                  <a:moveTo>
                    <a:pt x="414" y="1079"/>
                  </a:moveTo>
                  <a:cubicBezTo>
                    <a:pt x="389" y="1079"/>
                    <a:pt x="364" y="1079"/>
                    <a:pt x="339" y="1079"/>
                  </a:cubicBezTo>
                  <a:cubicBezTo>
                    <a:pt x="339" y="1063"/>
                    <a:pt x="339" y="1048"/>
                    <a:pt x="339" y="1032"/>
                  </a:cubicBezTo>
                  <a:cubicBezTo>
                    <a:pt x="364" y="1032"/>
                    <a:pt x="389" y="1032"/>
                    <a:pt x="414" y="1032"/>
                  </a:cubicBezTo>
                  <a:cubicBezTo>
                    <a:pt x="414" y="1048"/>
                    <a:pt x="414" y="1063"/>
                    <a:pt x="414" y="1079"/>
                  </a:cubicBezTo>
                  <a:close/>
                  <a:moveTo>
                    <a:pt x="430" y="825"/>
                  </a:moveTo>
                  <a:cubicBezTo>
                    <a:pt x="442" y="825"/>
                    <a:pt x="455" y="825"/>
                    <a:pt x="467" y="825"/>
                  </a:cubicBezTo>
                  <a:cubicBezTo>
                    <a:pt x="467" y="834"/>
                    <a:pt x="467" y="843"/>
                    <a:pt x="467" y="853"/>
                  </a:cubicBezTo>
                  <a:cubicBezTo>
                    <a:pt x="455" y="853"/>
                    <a:pt x="442" y="853"/>
                    <a:pt x="430" y="853"/>
                  </a:cubicBezTo>
                  <a:cubicBezTo>
                    <a:pt x="430" y="843"/>
                    <a:pt x="430" y="834"/>
                    <a:pt x="430" y="825"/>
                  </a:cubicBezTo>
                  <a:close/>
                  <a:moveTo>
                    <a:pt x="442" y="965"/>
                  </a:moveTo>
                  <a:cubicBezTo>
                    <a:pt x="467" y="965"/>
                    <a:pt x="492" y="965"/>
                    <a:pt x="517" y="965"/>
                  </a:cubicBezTo>
                  <a:cubicBezTo>
                    <a:pt x="517" y="980"/>
                    <a:pt x="517" y="996"/>
                    <a:pt x="517" y="1011"/>
                  </a:cubicBezTo>
                  <a:cubicBezTo>
                    <a:pt x="492" y="1011"/>
                    <a:pt x="467" y="1011"/>
                    <a:pt x="442" y="1011"/>
                  </a:cubicBezTo>
                  <a:cubicBezTo>
                    <a:pt x="442" y="996"/>
                    <a:pt x="442" y="980"/>
                    <a:pt x="442" y="965"/>
                  </a:cubicBezTo>
                  <a:close/>
                  <a:moveTo>
                    <a:pt x="517" y="1146"/>
                  </a:moveTo>
                  <a:cubicBezTo>
                    <a:pt x="492" y="1146"/>
                    <a:pt x="467" y="1146"/>
                    <a:pt x="442" y="1146"/>
                  </a:cubicBezTo>
                  <a:cubicBezTo>
                    <a:pt x="442" y="1131"/>
                    <a:pt x="442" y="1115"/>
                    <a:pt x="442" y="1100"/>
                  </a:cubicBezTo>
                  <a:cubicBezTo>
                    <a:pt x="467" y="1100"/>
                    <a:pt x="492" y="1100"/>
                    <a:pt x="517" y="1100"/>
                  </a:cubicBezTo>
                  <a:cubicBezTo>
                    <a:pt x="517" y="1115"/>
                    <a:pt x="517" y="1131"/>
                    <a:pt x="517" y="1146"/>
                  </a:cubicBezTo>
                  <a:close/>
                  <a:moveTo>
                    <a:pt x="620" y="1214"/>
                  </a:moveTo>
                  <a:cubicBezTo>
                    <a:pt x="595" y="1214"/>
                    <a:pt x="570" y="1214"/>
                    <a:pt x="545" y="1214"/>
                  </a:cubicBezTo>
                  <a:cubicBezTo>
                    <a:pt x="545" y="1198"/>
                    <a:pt x="545" y="1183"/>
                    <a:pt x="545" y="1167"/>
                  </a:cubicBezTo>
                  <a:cubicBezTo>
                    <a:pt x="570" y="1167"/>
                    <a:pt x="595" y="1167"/>
                    <a:pt x="620" y="1167"/>
                  </a:cubicBezTo>
                  <a:cubicBezTo>
                    <a:pt x="620" y="1183"/>
                    <a:pt x="620" y="1198"/>
                    <a:pt x="620" y="1214"/>
                  </a:cubicBezTo>
                  <a:close/>
                  <a:moveTo>
                    <a:pt x="620" y="1079"/>
                  </a:moveTo>
                  <a:cubicBezTo>
                    <a:pt x="595" y="1079"/>
                    <a:pt x="570" y="1079"/>
                    <a:pt x="545" y="1079"/>
                  </a:cubicBezTo>
                  <a:cubicBezTo>
                    <a:pt x="545" y="1063"/>
                    <a:pt x="545" y="1048"/>
                    <a:pt x="545" y="1032"/>
                  </a:cubicBezTo>
                  <a:cubicBezTo>
                    <a:pt x="570" y="1032"/>
                    <a:pt x="595" y="1032"/>
                    <a:pt x="620" y="1032"/>
                  </a:cubicBezTo>
                  <a:cubicBezTo>
                    <a:pt x="620" y="1048"/>
                    <a:pt x="620" y="1063"/>
                    <a:pt x="620" y="1079"/>
                  </a:cubicBezTo>
                  <a:close/>
                  <a:moveTo>
                    <a:pt x="697" y="1009"/>
                  </a:moveTo>
                  <a:cubicBezTo>
                    <a:pt x="684" y="1009"/>
                    <a:pt x="671" y="1009"/>
                    <a:pt x="658" y="1009"/>
                  </a:cubicBezTo>
                  <a:cubicBezTo>
                    <a:pt x="658" y="1001"/>
                    <a:pt x="658" y="994"/>
                    <a:pt x="658" y="986"/>
                  </a:cubicBezTo>
                  <a:cubicBezTo>
                    <a:pt x="671" y="986"/>
                    <a:pt x="684" y="986"/>
                    <a:pt x="697" y="986"/>
                  </a:cubicBezTo>
                  <a:cubicBezTo>
                    <a:pt x="697" y="994"/>
                    <a:pt x="697" y="1001"/>
                    <a:pt x="697" y="1009"/>
                  </a:cubicBezTo>
                  <a:close/>
                  <a:moveTo>
                    <a:pt x="766" y="1109"/>
                  </a:moveTo>
                  <a:cubicBezTo>
                    <a:pt x="753" y="1109"/>
                    <a:pt x="740" y="1109"/>
                    <a:pt x="727" y="1109"/>
                  </a:cubicBezTo>
                  <a:cubicBezTo>
                    <a:pt x="727" y="1101"/>
                    <a:pt x="727" y="1094"/>
                    <a:pt x="727" y="1086"/>
                  </a:cubicBezTo>
                  <a:cubicBezTo>
                    <a:pt x="740" y="1086"/>
                    <a:pt x="753" y="1086"/>
                    <a:pt x="766" y="1086"/>
                  </a:cubicBezTo>
                  <a:cubicBezTo>
                    <a:pt x="766" y="1094"/>
                    <a:pt x="766" y="1101"/>
                    <a:pt x="766" y="1109"/>
                  </a:cubicBezTo>
                  <a:close/>
                  <a:moveTo>
                    <a:pt x="848" y="1159"/>
                  </a:moveTo>
                  <a:cubicBezTo>
                    <a:pt x="835" y="1159"/>
                    <a:pt x="822" y="1159"/>
                    <a:pt x="810" y="1159"/>
                  </a:cubicBezTo>
                  <a:cubicBezTo>
                    <a:pt x="810" y="1151"/>
                    <a:pt x="810" y="1144"/>
                    <a:pt x="810" y="1136"/>
                  </a:cubicBezTo>
                  <a:cubicBezTo>
                    <a:pt x="822" y="1136"/>
                    <a:pt x="835" y="1136"/>
                    <a:pt x="848" y="1136"/>
                  </a:cubicBezTo>
                  <a:cubicBezTo>
                    <a:pt x="848" y="1144"/>
                    <a:pt x="848" y="1151"/>
                    <a:pt x="848" y="1159"/>
                  </a:cubicBezTo>
                  <a:close/>
                  <a:moveTo>
                    <a:pt x="848" y="1059"/>
                  </a:moveTo>
                  <a:cubicBezTo>
                    <a:pt x="835" y="1059"/>
                    <a:pt x="822" y="1059"/>
                    <a:pt x="810" y="1059"/>
                  </a:cubicBezTo>
                  <a:cubicBezTo>
                    <a:pt x="810" y="1051"/>
                    <a:pt x="810" y="1044"/>
                    <a:pt x="810" y="1036"/>
                  </a:cubicBezTo>
                  <a:cubicBezTo>
                    <a:pt x="822" y="1036"/>
                    <a:pt x="835" y="1036"/>
                    <a:pt x="848" y="1036"/>
                  </a:cubicBezTo>
                  <a:cubicBezTo>
                    <a:pt x="848" y="1044"/>
                    <a:pt x="848" y="1051"/>
                    <a:pt x="848" y="1059"/>
                  </a:cubicBezTo>
                  <a:close/>
                  <a:moveTo>
                    <a:pt x="848" y="1009"/>
                  </a:moveTo>
                  <a:cubicBezTo>
                    <a:pt x="810" y="1009"/>
                    <a:pt x="810" y="1009"/>
                    <a:pt x="810" y="1009"/>
                  </a:cubicBezTo>
                  <a:cubicBezTo>
                    <a:pt x="810" y="986"/>
                    <a:pt x="810" y="986"/>
                    <a:pt x="810" y="986"/>
                  </a:cubicBezTo>
                  <a:cubicBezTo>
                    <a:pt x="848" y="986"/>
                    <a:pt x="848" y="986"/>
                    <a:pt x="848" y="986"/>
                  </a:cubicBezTo>
                  <a:lnTo>
                    <a:pt x="848" y="1009"/>
                  </a:lnTo>
                  <a:close/>
                  <a:moveTo>
                    <a:pt x="900" y="582"/>
                  </a:moveTo>
                  <a:cubicBezTo>
                    <a:pt x="1052" y="582"/>
                    <a:pt x="1052" y="582"/>
                    <a:pt x="1052" y="582"/>
                  </a:cubicBezTo>
                  <a:cubicBezTo>
                    <a:pt x="1052" y="597"/>
                    <a:pt x="1052" y="597"/>
                    <a:pt x="1052" y="597"/>
                  </a:cubicBezTo>
                  <a:cubicBezTo>
                    <a:pt x="900" y="597"/>
                    <a:pt x="900" y="597"/>
                    <a:pt x="900" y="597"/>
                  </a:cubicBezTo>
                  <a:lnTo>
                    <a:pt x="900" y="582"/>
                  </a:lnTo>
                  <a:close/>
                  <a:moveTo>
                    <a:pt x="1052" y="1160"/>
                  </a:moveTo>
                  <a:cubicBezTo>
                    <a:pt x="1023" y="1160"/>
                    <a:pt x="1023" y="1160"/>
                    <a:pt x="1023" y="1160"/>
                  </a:cubicBezTo>
                  <a:cubicBezTo>
                    <a:pt x="1023" y="1145"/>
                    <a:pt x="1023" y="1145"/>
                    <a:pt x="1023" y="1145"/>
                  </a:cubicBezTo>
                  <a:cubicBezTo>
                    <a:pt x="1052" y="1145"/>
                    <a:pt x="1052" y="1145"/>
                    <a:pt x="1052" y="1145"/>
                  </a:cubicBezTo>
                  <a:cubicBezTo>
                    <a:pt x="1052" y="1150"/>
                    <a:pt x="1052" y="1155"/>
                    <a:pt x="1052" y="1160"/>
                  </a:cubicBezTo>
                  <a:close/>
                  <a:moveTo>
                    <a:pt x="1052" y="1113"/>
                  </a:moveTo>
                  <a:cubicBezTo>
                    <a:pt x="1023" y="1113"/>
                    <a:pt x="1023" y="1113"/>
                    <a:pt x="1023" y="1113"/>
                  </a:cubicBezTo>
                  <a:cubicBezTo>
                    <a:pt x="1023" y="1098"/>
                    <a:pt x="1023" y="1098"/>
                    <a:pt x="1023" y="1098"/>
                  </a:cubicBezTo>
                  <a:cubicBezTo>
                    <a:pt x="1052" y="1098"/>
                    <a:pt x="1052" y="1098"/>
                    <a:pt x="1052" y="1098"/>
                  </a:cubicBezTo>
                  <a:cubicBezTo>
                    <a:pt x="1052" y="1103"/>
                    <a:pt x="1052" y="1108"/>
                    <a:pt x="1052" y="1113"/>
                  </a:cubicBezTo>
                  <a:close/>
                  <a:moveTo>
                    <a:pt x="1052" y="1066"/>
                  </a:moveTo>
                  <a:cubicBezTo>
                    <a:pt x="1023" y="1066"/>
                    <a:pt x="1023" y="1066"/>
                    <a:pt x="1023" y="1066"/>
                  </a:cubicBezTo>
                  <a:cubicBezTo>
                    <a:pt x="1023" y="1051"/>
                    <a:pt x="1023" y="1051"/>
                    <a:pt x="1023" y="1051"/>
                  </a:cubicBezTo>
                  <a:cubicBezTo>
                    <a:pt x="1052" y="1051"/>
                    <a:pt x="1052" y="1051"/>
                    <a:pt x="1052" y="1051"/>
                  </a:cubicBezTo>
                  <a:cubicBezTo>
                    <a:pt x="1052" y="1056"/>
                    <a:pt x="1052" y="1061"/>
                    <a:pt x="1052" y="1066"/>
                  </a:cubicBezTo>
                  <a:close/>
                  <a:moveTo>
                    <a:pt x="1052" y="1019"/>
                  </a:moveTo>
                  <a:cubicBezTo>
                    <a:pt x="1023" y="1019"/>
                    <a:pt x="1023" y="1019"/>
                    <a:pt x="1023" y="1019"/>
                  </a:cubicBezTo>
                  <a:cubicBezTo>
                    <a:pt x="1023" y="1004"/>
                    <a:pt x="1023" y="1004"/>
                    <a:pt x="1023" y="1004"/>
                  </a:cubicBezTo>
                  <a:cubicBezTo>
                    <a:pt x="1052" y="1004"/>
                    <a:pt x="1052" y="1004"/>
                    <a:pt x="1052" y="1004"/>
                  </a:cubicBezTo>
                  <a:cubicBezTo>
                    <a:pt x="1052" y="1009"/>
                    <a:pt x="1052" y="1014"/>
                    <a:pt x="1052" y="1019"/>
                  </a:cubicBezTo>
                  <a:close/>
                  <a:moveTo>
                    <a:pt x="1052" y="972"/>
                  </a:moveTo>
                  <a:cubicBezTo>
                    <a:pt x="1029" y="972"/>
                    <a:pt x="1006" y="972"/>
                    <a:pt x="983" y="972"/>
                  </a:cubicBezTo>
                  <a:cubicBezTo>
                    <a:pt x="983" y="967"/>
                    <a:pt x="983" y="962"/>
                    <a:pt x="983" y="957"/>
                  </a:cubicBezTo>
                  <a:cubicBezTo>
                    <a:pt x="1006" y="957"/>
                    <a:pt x="1029" y="957"/>
                    <a:pt x="1052" y="957"/>
                  </a:cubicBezTo>
                  <a:cubicBezTo>
                    <a:pt x="1052" y="962"/>
                    <a:pt x="1052" y="967"/>
                    <a:pt x="1052" y="972"/>
                  </a:cubicBezTo>
                  <a:close/>
                  <a:moveTo>
                    <a:pt x="1052" y="925"/>
                  </a:moveTo>
                  <a:cubicBezTo>
                    <a:pt x="1020" y="925"/>
                    <a:pt x="987" y="925"/>
                    <a:pt x="954" y="925"/>
                  </a:cubicBezTo>
                  <a:cubicBezTo>
                    <a:pt x="954" y="920"/>
                    <a:pt x="954" y="915"/>
                    <a:pt x="954" y="910"/>
                  </a:cubicBezTo>
                  <a:cubicBezTo>
                    <a:pt x="987" y="910"/>
                    <a:pt x="1020" y="910"/>
                    <a:pt x="1052" y="910"/>
                  </a:cubicBezTo>
                  <a:cubicBezTo>
                    <a:pt x="1052" y="915"/>
                    <a:pt x="1052" y="920"/>
                    <a:pt x="1052" y="925"/>
                  </a:cubicBezTo>
                  <a:close/>
                  <a:moveTo>
                    <a:pt x="1052" y="878"/>
                  </a:moveTo>
                  <a:cubicBezTo>
                    <a:pt x="1009" y="878"/>
                    <a:pt x="966" y="878"/>
                    <a:pt x="923" y="878"/>
                  </a:cubicBezTo>
                  <a:cubicBezTo>
                    <a:pt x="923" y="873"/>
                    <a:pt x="923" y="868"/>
                    <a:pt x="923" y="863"/>
                  </a:cubicBezTo>
                  <a:cubicBezTo>
                    <a:pt x="966" y="863"/>
                    <a:pt x="1009" y="863"/>
                    <a:pt x="1052" y="863"/>
                  </a:cubicBezTo>
                  <a:cubicBezTo>
                    <a:pt x="1052" y="868"/>
                    <a:pt x="1052" y="873"/>
                    <a:pt x="1052" y="878"/>
                  </a:cubicBezTo>
                  <a:close/>
                  <a:moveTo>
                    <a:pt x="1052" y="832"/>
                  </a:moveTo>
                  <a:cubicBezTo>
                    <a:pt x="1002" y="832"/>
                    <a:pt x="951" y="832"/>
                    <a:pt x="900" y="832"/>
                  </a:cubicBezTo>
                  <a:cubicBezTo>
                    <a:pt x="900" y="827"/>
                    <a:pt x="900" y="822"/>
                    <a:pt x="900" y="816"/>
                  </a:cubicBezTo>
                  <a:cubicBezTo>
                    <a:pt x="951" y="816"/>
                    <a:pt x="1002" y="816"/>
                    <a:pt x="1052" y="816"/>
                  </a:cubicBezTo>
                  <a:cubicBezTo>
                    <a:pt x="1052" y="822"/>
                    <a:pt x="1052" y="827"/>
                    <a:pt x="1052" y="832"/>
                  </a:cubicBezTo>
                  <a:close/>
                  <a:moveTo>
                    <a:pt x="1052" y="785"/>
                  </a:moveTo>
                  <a:cubicBezTo>
                    <a:pt x="1002" y="785"/>
                    <a:pt x="951" y="785"/>
                    <a:pt x="900" y="785"/>
                  </a:cubicBezTo>
                  <a:cubicBezTo>
                    <a:pt x="900" y="780"/>
                    <a:pt x="900" y="775"/>
                    <a:pt x="900" y="770"/>
                  </a:cubicBezTo>
                  <a:cubicBezTo>
                    <a:pt x="951" y="770"/>
                    <a:pt x="1002" y="770"/>
                    <a:pt x="1052" y="770"/>
                  </a:cubicBezTo>
                  <a:cubicBezTo>
                    <a:pt x="1052" y="775"/>
                    <a:pt x="1052" y="780"/>
                    <a:pt x="1052" y="785"/>
                  </a:cubicBezTo>
                  <a:close/>
                  <a:moveTo>
                    <a:pt x="1052" y="738"/>
                  </a:moveTo>
                  <a:cubicBezTo>
                    <a:pt x="1002" y="738"/>
                    <a:pt x="951" y="738"/>
                    <a:pt x="900" y="738"/>
                  </a:cubicBezTo>
                  <a:cubicBezTo>
                    <a:pt x="900" y="733"/>
                    <a:pt x="900" y="728"/>
                    <a:pt x="900" y="723"/>
                  </a:cubicBezTo>
                  <a:cubicBezTo>
                    <a:pt x="951" y="723"/>
                    <a:pt x="1002" y="723"/>
                    <a:pt x="1052" y="723"/>
                  </a:cubicBezTo>
                  <a:cubicBezTo>
                    <a:pt x="1052" y="728"/>
                    <a:pt x="1052" y="733"/>
                    <a:pt x="1052" y="738"/>
                  </a:cubicBezTo>
                  <a:close/>
                  <a:moveTo>
                    <a:pt x="1052" y="691"/>
                  </a:moveTo>
                  <a:cubicBezTo>
                    <a:pt x="1002" y="691"/>
                    <a:pt x="951" y="691"/>
                    <a:pt x="900" y="691"/>
                  </a:cubicBezTo>
                  <a:cubicBezTo>
                    <a:pt x="900" y="686"/>
                    <a:pt x="900" y="681"/>
                    <a:pt x="900" y="676"/>
                  </a:cubicBezTo>
                  <a:cubicBezTo>
                    <a:pt x="951" y="676"/>
                    <a:pt x="1002" y="676"/>
                    <a:pt x="1052" y="676"/>
                  </a:cubicBezTo>
                  <a:cubicBezTo>
                    <a:pt x="1052" y="681"/>
                    <a:pt x="1052" y="686"/>
                    <a:pt x="1052" y="691"/>
                  </a:cubicBezTo>
                  <a:close/>
                  <a:moveTo>
                    <a:pt x="1052" y="644"/>
                  </a:moveTo>
                  <a:cubicBezTo>
                    <a:pt x="1002" y="644"/>
                    <a:pt x="951" y="644"/>
                    <a:pt x="900" y="644"/>
                  </a:cubicBezTo>
                  <a:cubicBezTo>
                    <a:pt x="900" y="639"/>
                    <a:pt x="900" y="634"/>
                    <a:pt x="900" y="629"/>
                  </a:cubicBezTo>
                  <a:cubicBezTo>
                    <a:pt x="951" y="629"/>
                    <a:pt x="1002" y="629"/>
                    <a:pt x="1052" y="629"/>
                  </a:cubicBezTo>
                  <a:cubicBezTo>
                    <a:pt x="1052" y="634"/>
                    <a:pt x="1052" y="639"/>
                    <a:pt x="1052" y="644"/>
                  </a:cubicBezTo>
                  <a:close/>
                  <a:moveTo>
                    <a:pt x="1151" y="1135"/>
                  </a:moveTo>
                  <a:cubicBezTo>
                    <a:pt x="1105" y="1135"/>
                    <a:pt x="1105" y="1135"/>
                    <a:pt x="1105" y="1135"/>
                  </a:cubicBezTo>
                  <a:cubicBezTo>
                    <a:pt x="1105" y="1071"/>
                    <a:pt x="1105" y="1071"/>
                    <a:pt x="1105" y="1071"/>
                  </a:cubicBezTo>
                  <a:cubicBezTo>
                    <a:pt x="1151" y="1071"/>
                    <a:pt x="1151" y="1071"/>
                    <a:pt x="1151" y="1071"/>
                  </a:cubicBezTo>
                  <a:lnTo>
                    <a:pt x="1151" y="1135"/>
                  </a:lnTo>
                  <a:close/>
                  <a:moveTo>
                    <a:pt x="1230" y="811"/>
                  </a:moveTo>
                  <a:cubicBezTo>
                    <a:pt x="1206" y="811"/>
                    <a:pt x="1182" y="811"/>
                    <a:pt x="1158" y="811"/>
                  </a:cubicBezTo>
                  <a:cubicBezTo>
                    <a:pt x="1158" y="805"/>
                    <a:pt x="1158" y="800"/>
                    <a:pt x="1158" y="794"/>
                  </a:cubicBezTo>
                  <a:cubicBezTo>
                    <a:pt x="1182" y="794"/>
                    <a:pt x="1206" y="794"/>
                    <a:pt x="1230" y="794"/>
                  </a:cubicBezTo>
                  <a:cubicBezTo>
                    <a:pt x="1230" y="800"/>
                    <a:pt x="1230" y="805"/>
                    <a:pt x="1230" y="811"/>
                  </a:cubicBezTo>
                  <a:close/>
                  <a:moveTo>
                    <a:pt x="1230" y="775"/>
                  </a:moveTo>
                  <a:cubicBezTo>
                    <a:pt x="1158" y="775"/>
                    <a:pt x="1158" y="775"/>
                    <a:pt x="1158" y="775"/>
                  </a:cubicBezTo>
                  <a:cubicBezTo>
                    <a:pt x="1158" y="758"/>
                    <a:pt x="1158" y="758"/>
                    <a:pt x="1158" y="758"/>
                  </a:cubicBezTo>
                  <a:cubicBezTo>
                    <a:pt x="1230" y="758"/>
                    <a:pt x="1230" y="758"/>
                    <a:pt x="1230" y="758"/>
                  </a:cubicBezTo>
                  <a:lnTo>
                    <a:pt x="1230" y="775"/>
                  </a:lnTo>
                  <a:close/>
                  <a:moveTo>
                    <a:pt x="1355" y="155"/>
                  </a:moveTo>
                  <a:cubicBezTo>
                    <a:pt x="1360" y="155"/>
                    <a:pt x="1366" y="155"/>
                    <a:pt x="1372" y="155"/>
                  </a:cubicBezTo>
                  <a:cubicBezTo>
                    <a:pt x="1372" y="345"/>
                    <a:pt x="1372" y="536"/>
                    <a:pt x="1372" y="726"/>
                  </a:cubicBezTo>
                  <a:cubicBezTo>
                    <a:pt x="1366" y="726"/>
                    <a:pt x="1360" y="726"/>
                    <a:pt x="1355" y="726"/>
                  </a:cubicBezTo>
                  <a:cubicBezTo>
                    <a:pt x="1355" y="536"/>
                    <a:pt x="1355" y="345"/>
                    <a:pt x="1355" y="155"/>
                  </a:cubicBezTo>
                  <a:close/>
                  <a:moveTo>
                    <a:pt x="1316" y="155"/>
                  </a:moveTo>
                  <a:cubicBezTo>
                    <a:pt x="1322" y="155"/>
                    <a:pt x="1328" y="155"/>
                    <a:pt x="1334" y="155"/>
                  </a:cubicBezTo>
                  <a:cubicBezTo>
                    <a:pt x="1334" y="307"/>
                    <a:pt x="1334" y="458"/>
                    <a:pt x="1334" y="610"/>
                  </a:cubicBezTo>
                  <a:cubicBezTo>
                    <a:pt x="1328" y="610"/>
                    <a:pt x="1322" y="610"/>
                    <a:pt x="1316" y="610"/>
                  </a:cubicBezTo>
                  <a:cubicBezTo>
                    <a:pt x="1316" y="458"/>
                    <a:pt x="1316" y="307"/>
                    <a:pt x="1316" y="155"/>
                  </a:cubicBezTo>
                  <a:close/>
                  <a:moveTo>
                    <a:pt x="1278" y="155"/>
                  </a:moveTo>
                  <a:cubicBezTo>
                    <a:pt x="1296" y="155"/>
                    <a:pt x="1296" y="155"/>
                    <a:pt x="1296" y="155"/>
                  </a:cubicBezTo>
                  <a:cubicBezTo>
                    <a:pt x="1296" y="510"/>
                    <a:pt x="1296" y="510"/>
                    <a:pt x="1296" y="510"/>
                  </a:cubicBezTo>
                  <a:cubicBezTo>
                    <a:pt x="1278" y="510"/>
                    <a:pt x="1278" y="510"/>
                    <a:pt x="1278" y="510"/>
                  </a:cubicBezTo>
                  <a:lnTo>
                    <a:pt x="1278" y="155"/>
                  </a:lnTo>
                  <a:close/>
                  <a:moveTo>
                    <a:pt x="1294" y="1136"/>
                  </a:moveTo>
                  <a:cubicBezTo>
                    <a:pt x="1267" y="1136"/>
                    <a:pt x="1267" y="1136"/>
                    <a:pt x="1267" y="1136"/>
                  </a:cubicBezTo>
                  <a:cubicBezTo>
                    <a:pt x="1267" y="1045"/>
                    <a:pt x="1267" y="1045"/>
                    <a:pt x="1267" y="1045"/>
                  </a:cubicBezTo>
                  <a:cubicBezTo>
                    <a:pt x="1294" y="1045"/>
                    <a:pt x="1294" y="1045"/>
                    <a:pt x="1294" y="1045"/>
                  </a:cubicBezTo>
                  <a:lnTo>
                    <a:pt x="1294" y="1136"/>
                  </a:lnTo>
                  <a:close/>
                  <a:moveTo>
                    <a:pt x="1337" y="1136"/>
                  </a:moveTo>
                  <a:cubicBezTo>
                    <a:pt x="1328" y="1136"/>
                    <a:pt x="1318" y="1136"/>
                    <a:pt x="1309" y="1136"/>
                  </a:cubicBezTo>
                  <a:cubicBezTo>
                    <a:pt x="1309" y="1105"/>
                    <a:pt x="1309" y="1075"/>
                    <a:pt x="1309" y="1045"/>
                  </a:cubicBezTo>
                  <a:cubicBezTo>
                    <a:pt x="1318" y="1045"/>
                    <a:pt x="1328" y="1045"/>
                    <a:pt x="1337" y="1045"/>
                  </a:cubicBezTo>
                  <a:cubicBezTo>
                    <a:pt x="1337" y="1075"/>
                    <a:pt x="1337" y="1105"/>
                    <a:pt x="1337" y="1136"/>
                  </a:cubicBezTo>
                  <a:close/>
                  <a:moveTo>
                    <a:pt x="1267" y="1021"/>
                  </a:moveTo>
                  <a:cubicBezTo>
                    <a:pt x="1267" y="990"/>
                    <a:pt x="1292" y="965"/>
                    <a:pt x="1323" y="965"/>
                  </a:cubicBezTo>
                  <a:cubicBezTo>
                    <a:pt x="1354" y="965"/>
                    <a:pt x="1379" y="990"/>
                    <a:pt x="1379" y="1021"/>
                  </a:cubicBezTo>
                  <a:lnTo>
                    <a:pt x="1267" y="1021"/>
                  </a:lnTo>
                  <a:close/>
                  <a:moveTo>
                    <a:pt x="1410" y="866"/>
                  </a:moveTo>
                  <a:cubicBezTo>
                    <a:pt x="1405" y="866"/>
                    <a:pt x="1399" y="866"/>
                    <a:pt x="1393" y="866"/>
                  </a:cubicBezTo>
                  <a:cubicBezTo>
                    <a:pt x="1393" y="629"/>
                    <a:pt x="1393" y="392"/>
                    <a:pt x="1393" y="155"/>
                  </a:cubicBezTo>
                  <a:cubicBezTo>
                    <a:pt x="1399" y="155"/>
                    <a:pt x="1405" y="155"/>
                    <a:pt x="1410" y="155"/>
                  </a:cubicBezTo>
                  <a:cubicBezTo>
                    <a:pt x="1410" y="392"/>
                    <a:pt x="1410" y="629"/>
                    <a:pt x="1410" y="866"/>
                  </a:cubicBezTo>
                  <a:close/>
                  <a:moveTo>
                    <a:pt x="1431" y="155"/>
                  </a:moveTo>
                  <a:cubicBezTo>
                    <a:pt x="1449" y="155"/>
                    <a:pt x="1449" y="155"/>
                    <a:pt x="1449" y="155"/>
                  </a:cubicBezTo>
                  <a:cubicBezTo>
                    <a:pt x="1449" y="866"/>
                    <a:pt x="1449" y="866"/>
                    <a:pt x="1449" y="866"/>
                  </a:cubicBezTo>
                  <a:cubicBezTo>
                    <a:pt x="1431" y="866"/>
                    <a:pt x="1431" y="866"/>
                    <a:pt x="1431" y="866"/>
                  </a:cubicBezTo>
                  <a:lnTo>
                    <a:pt x="1431" y="155"/>
                  </a:lnTo>
                  <a:close/>
                  <a:moveTo>
                    <a:pt x="1478" y="1218"/>
                  </a:moveTo>
                  <a:cubicBezTo>
                    <a:pt x="1433" y="1218"/>
                    <a:pt x="1433" y="1218"/>
                    <a:pt x="1433" y="1218"/>
                  </a:cubicBezTo>
                  <a:cubicBezTo>
                    <a:pt x="1433" y="1153"/>
                    <a:pt x="1433" y="1153"/>
                    <a:pt x="1433" y="1153"/>
                  </a:cubicBezTo>
                  <a:cubicBezTo>
                    <a:pt x="1478" y="1153"/>
                    <a:pt x="1478" y="1153"/>
                    <a:pt x="1478" y="1153"/>
                  </a:cubicBezTo>
                  <a:lnTo>
                    <a:pt x="1478" y="1218"/>
                  </a:lnTo>
                  <a:close/>
                  <a:moveTo>
                    <a:pt x="1478" y="1135"/>
                  </a:moveTo>
                  <a:cubicBezTo>
                    <a:pt x="1433" y="1135"/>
                    <a:pt x="1433" y="1135"/>
                    <a:pt x="1433" y="1135"/>
                  </a:cubicBezTo>
                  <a:cubicBezTo>
                    <a:pt x="1433" y="1071"/>
                    <a:pt x="1433" y="1071"/>
                    <a:pt x="1433" y="1071"/>
                  </a:cubicBezTo>
                  <a:cubicBezTo>
                    <a:pt x="1478" y="1071"/>
                    <a:pt x="1478" y="1071"/>
                    <a:pt x="1478" y="1071"/>
                  </a:cubicBezTo>
                  <a:lnTo>
                    <a:pt x="1478" y="1135"/>
                  </a:lnTo>
                  <a:close/>
                  <a:moveTo>
                    <a:pt x="1546" y="737"/>
                  </a:moveTo>
                  <a:cubicBezTo>
                    <a:pt x="1546" y="730"/>
                    <a:pt x="1546" y="723"/>
                    <a:pt x="1546" y="715"/>
                  </a:cubicBezTo>
                  <a:cubicBezTo>
                    <a:pt x="1595" y="715"/>
                    <a:pt x="1645" y="715"/>
                    <a:pt x="1694" y="715"/>
                  </a:cubicBezTo>
                  <a:cubicBezTo>
                    <a:pt x="1694" y="723"/>
                    <a:pt x="1694" y="730"/>
                    <a:pt x="1694" y="737"/>
                  </a:cubicBezTo>
                  <a:cubicBezTo>
                    <a:pt x="1645" y="737"/>
                    <a:pt x="1595" y="737"/>
                    <a:pt x="1546" y="737"/>
                  </a:cubicBezTo>
                  <a:close/>
                  <a:moveTo>
                    <a:pt x="1694" y="773"/>
                  </a:moveTo>
                  <a:cubicBezTo>
                    <a:pt x="1694" y="780"/>
                    <a:pt x="1694" y="788"/>
                    <a:pt x="1694" y="795"/>
                  </a:cubicBezTo>
                  <a:cubicBezTo>
                    <a:pt x="1645" y="795"/>
                    <a:pt x="1595" y="795"/>
                    <a:pt x="1546" y="795"/>
                  </a:cubicBezTo>
                  <a:cubicBezTo>
                    <a:pt x="1546" y="788"/>
                    <a:pt x="1546" y="780"/>
                    <a:pt x="1546" y="773"/>
                  </a:cubicBezTo>
                  <a:cubicBezTo>
                    <a:pt x="1595" y="773"/>
                    <a:pt x="1645" y="773"/>
                    <a:pt x="1694" y="773"/>
                  </a:cubicBezTo>
                  <a:close/>
                  <a:moveTo>
                    <a:pt x="1546" y="658"/>
                  </a:moveTo>
                  <a:cubicBezTo>
                    <a:pt x="1694" y="658"/>
                    <a:pt x="1694" y="658"/>
                    <a:pt x="1694" y="658"/>
                  </a:cubicBezTo>
                  <a:cubicBezTo>
                    <a:pt x="1694" y="680"/>
                    <a:pt x="1694" y="680"/>
                    <a:pt x="1694" y="680"/>
                  </a:cubicBezTo>
                  <a:cubicBezTo>
                    <a:pt x="1546" y="680"/>
                    <a:pt x="1546" y="680"/>
                    <a:pt x="1546" y="680"/>
                  </a:cubicBezTo>
                  <a:lnTo>
                    <a:pt x="1546" y="658"/>
                  </a:lnTo>
                  <a:close/>
                  <a:moveTo>
                    <a:pt x="1554" y="1255"/>
                  </a:moveTo>
                  <a:cubicBezTo>
                    <a:pt x="1541" y="1255"/>
                    <a:pt x="1541" y="1255"/>
                    <a:pt x="1541" y="1255"/>
                  </a:cubicBezTo>
                  <a:cubicBezTo>
                    <a:pt x="1541" y="1135"/>
                    <a:pt x="1541" y="1135"/>
                    <a:pt x="1541" y="1135"/>
                  </a:cubicBezTo>
                  <a:cubicBezTo>
                    <a:pt x="1496" y="1135"/>
                    <a:pt x="1496" y="1135"/>
                    <a:pt x="1496" y="1135"/>
                  </a:cubicBezTo>
                  <a:cubicBezTo>
                    <a:pt x="1496" y="1071"/>
                    <a:pt x="1496" y="1071"/>
                    <a:pt x="1496" y="1071"/>
                  </a:cubicBezTo>
                  <a:cubicBezTo>
                    <a:pt x="1541" y="1071"/>
                    <a:pt x="1541" y="1071"/>
                    <a:pt x="1541" y="1071"/>
                  </a:cubicBezTo>
                  <a:cubicBezTo>
                    <a:pt x="1541" y="1113"/>
                    <a:pt x="1541" y="1113"/>
                    <a:pt x="1541" y="1113"/>
                  </a:cubicBezTo>
                  <a:cubicBezTo>
                    <a:pt x="1554" y="1113"/>
                    <a:pt x="1554" y="1113"/>
                    <a:pt x="1554" y="1113"/>
                  </a:cubicBezTo>
                  <a:lnTo>
                    <a:pt x="1554" y="1255"/>
                  </a:lnTo>
                  <a:close/>
                  <a:moveTo>
                    <a:pt x="1597" y="831"/>
                  </a:moveTo>
                  <a:cubicBezTo>
                    <a:pt x="1629" y="831"/>
                    <a:pt x="1661" y="831"/>
                    <a:pt x="1694" y="831"/>
                  </a:cubicBezTo>
                  <a:cubicBezTo>
                    <a:pt x="1694" y="839"/>
                    <a:pt x="1694" y="846"/>
                    <a:pt x="1694" y="854"/>
                  </a:cubicBezTo>
                  <a:cubicBezTo>
                    <a:pt x="1661" y="854"/>
                    <a:pt x="1629" y="854"/>
                    <a:pt x="1597" y="854"/>
                  </a:cubicBezTo>
                  <a:cubicBezTo>
                    <a:pt x="1597" y="846"/>
                    <a:pt x="1597" y="839"/>
                    <a:pt x="1597" y="831"/>
                  </a:cubicBezTo>
                  <a:close/>
                  <a:moveTo>
                    <a:pt x="1645" y="890"/>
                  </a:moveTo>
                  <a:cubicBezTo>
                    <a:pt x="1661" y="890"/>
                    <a:pt x="1678" y="890"/>
                    <a:pt x="1694" y="890"/>
                  </a:cubicBezTo>
                  <a:cubicBezTo>
                    <a:pt x="1694" y="898"/>
                    <a:pt x="1694" y="905"/>
                    <a:pt x="1694" y="912"/>
                  </a:cubicBezTo>
                  <a:cubicBezTo>
                    <a:pt x="1678" y="912"/>
                    <a:pt x="1661" y="912"/>
                    <a:pt x="1645" y="912"/>
                  </a:cubicBezTo>
                  <a:cubicBezTo>
                    <a:pt x="1645" y="905"/>
                    <a:pt x="1645" y="898"/>
                    <a:pt x="1645" y="890"/>
                  </a:cubicBezTo>
                  <a:close/>
                  <a:moveTo>
                    <a:pt x="1721" y="1250"/>
                  </a:moveTo>
                  <a:cubicBezTo>
                    <a:pt x="1686" y="1250"/>
                    <a:pt x="1686" y="1250"/>
                    <a:pt x="1686" y="1250"/>
                  </a:cubicBezTo>
                  <a:cubicBezTo>
                    <a:pt x="1686" y="1226"/>
                    <a:pt x="1686" y="1226"/>
                    <a:pt x="1686" y="1226"/>
                  </a:cubicBezTo>
                  <a:cubicBezTo>
                    <a:pt x="1721" y="1226"/>
                    <a:pt x="1721" y="1226"/>
                    <a:pt x="1721" y="1226"/>
                  </a:cubicBezTo>
                  <a:lnTo>
                    <a:pt x="1721" y="1250"/>
                  </a:lnTo>
                  <a:close/>
                  <a:moveTo>
                    <a:pt x="1782" y="1250"/>
                  </a:moveTo>
                  <a:cubicBezTo>
                    <a:pt x="1771" y="1250"/>
                    <a:pt x="1759" y="1250"/>
                    <a:pt x="1748" y="1250"/>
                  </a:cubicBezTo>
                  <a:cubicBezTo>
                    <a:pt x="1748" y="1242"/>
                    <a:pt x="1748" y="1234"/>
                    <a:pt x="1748" y="1226"/>
                  </a:cubicBezTo>
                  <a:cubicBezTo>
                    <a:pt x="1759" y="1226"/>
                    <a:pt x="1771" y="1226"/>
                    <a:pt x="1782" y="1226"/>
                  </a:cubicBezTo>
                  <a:cubicBezTo>
                    <a:pt x="1782" y="1234"/>
                    <a:pt x="1782" y="1242"/>
                    <a:pt x="1782" y="1250"/>
                  </a:cubicBezTo>
                  <a:close/>
                  <a:moveTo>
                    <a:pt x="1785" y="982"/>
                  </a:moveTo>
                  <a:cubicBezTo>
                    <a:pt x="1758" y="982"/>
                    <a:pt x="1758" y="982"/>
                    <a:pt x="1758" y="982"/>
                  </a:cubicBezTo>
                  <a:cubicBezTo>
                    <a:pt x="1758" y="901"/>
                    <a:pt x="1758" y="901"/>
                    <a:pt x="1758" y="901"/>
                  </a:cubicBezTo>
                  <a:cubicBezTo>
                    <a:pt x="1785" y="901"/>
                    <a:pt x="1785" y="901"/>
                    <a:pt x="1785" y="901"/>
                  </a:cubicBezTo>
                  <a:lnTo>
                    <a:pt x="1785" y="982"/>
                  </a:lnTo>
                  <a:close/>
                  <a:moveTo>
                    <a:pt x="1800" y="708"/>
                  </a:moveTo>
                  <a:cubicBezTo>
                    <a:pt x="1789" y="708"/>
                    <a:pt x="1777" y="708"/>
                    <a:pt x="1765" y="708"/>
                  </a:cubicBezTo>
                  <a:cubicBezTo>
                    <a:pt x="1765" y="700"/>
                    <a:pt x="1765" y="693"/>
                    <a:pt x="1765" y="685"/>
                  </a:cubicBezTo>
                  <a:cubicBezTo>
                    <a:pt x="1777" y="685"/>
                    <a:pt x="1789" y="685"/>
                    <a:pt x="1800" y="685"/>
                  </a:cubicBezTo>
                  <a:cubicBezTo>
                    <a:pt x="1800" y="693"/>
                    <a:pt x="1800" y="700"/>
                    <a:pt x="1800" y="708"/>
                  </a:cubicBezTo>
                  <a:close/>
                  <a:moveTo>
                    <a:pt x="1843" y="1094"/>
                  </a:moveTo>
                  <a:cubicBezTo>
                    <a:pt x="1834" y="1094"/>
                    <a:pt x="1825" y="1094"/>
                    <a:pt x="1815" y="1094"/>
                  </a:cubicBezTo>
                  <a:cubicBezTo>
                    <a:pt x="1815" y="1067"/>
                    <a:pt x="1815" y="1040"/>
                    <a:pt x="1815" y="1013"/>
                  </a:cubicBezTo>
                  <a:cubicBezTo>
                    <a:pt x="1825" y="1013"/>
                    <a:pt x="1834" y="1013"/>
                    <a:pt x="1843" y="1013"/>
                  </a:cubicBezTo>
                  <a:cubicBezTo>
                    <a:pt x="1843" y="1040"/>
                    <a:pt x="1843" y="1067"/>
                    <a:pt x="1843" y="1094"/>
                  </a:cubicBezTo>
                  <a:close/>
                  <a:moveTo>
                    <a:pt x="1851" y="753"/>
                  </a:moveTo>
                  <a:cubicBezTo>
                    <a:pt x="1839" y="753"/>
                    <a:pt x="1827" y="753"/>
                    <a:pt x="1816" y="753"/>
                  </a:cubicBezTo>
                  <a:cubicBezTo>
                    <a:pt x="1816" y="745"/>
                    <a:pt x="1816" y="737"/>
                    <a:pt x="1816" y="729"/>
                  </a:cubicBezTo>
                  <a:cubicBezTo>
                    <a:pt x="1827" y="729"/>
                    <a:pt x="1839" y="729"/>
                    <a:pt x="1851" y="729"/>
                  </a:cubicBezTo>
                  <a:cubicBezTo>
                    <a:pt x="1851" y="737"/>
                    <a:pt x="1851" y="745"/>
                    <a:pt x="1851" y="753"/>
                  </a:cubicBezTo>
                  <a:close/>
                  <a:moveTo>
                    <a:pt x="1851" y="708"/>
                  </a:moveTo>
                  <a:cubicBezTo>
                    <a:pt x="1816" y="708"/>
                    <a:pt x="1816" y="708"/>
                    <a:pt x="1816" y="708"/>
                  </a:cubicBezTo>
                  <a:cubicBezTo>
                    <a:pt x="1816" y="685"/>
                    <a:pt x="1816" y="685"/>
                    <a:pt x="1816" y="685"/>
                  </a:cubicBezTo>
                  <a:cubicBezTo>
                    <a:pt x="1851" y="685"/>
                    <a:pt x="1851" y="685"/>
                    <a:pt x="1851" y="685"/>
                  </a:cubicBezTo>
                  <a:lnTo>
                    <a:pt x="1851" y="708"/>
                  </a:lnTo>
                  <a:close/>
                  <a:moveTo>
                    <a:pt x="1901" y="1207"/>
                  </a:moveTo>
                  <a:cubicBezTo>
                    <a:pt x="1874" y="1207"/>
                    <a:pt x="1874" y="1207"/>
                    <a:pt x="1874" y="1207"/>
                  </a:cubicBezTo>
                  <a:cubicBezTo>
                    <a:pt x="1874" y="1126"/>
                    <a:pt x="1874" y="1126"/>
                    <a:pt x="1874" y="1126"/>
                  </a:cubicBezTo>
                  <a:cubicBezTo>
                    <a:pt x="1901" y="1126"/>
                    <a:pt x="1901" y="1126"/>
                    <a:pt x="1901" y="1126"/>
                  </a:cubicBezTo>
                  <a:lnTo>
                    <a:pt x="1901" y="1207"/>
                  </a:lnTo>
                  <a:close/>
                  <a:moveTo>
                    <a:pt x="1901" y="982"/>
                  </a:moveTo>
                  <a:cubicBezTo>
                    <a:pt x="1874" y="982"/>
                    <a:pt x="1874" y="982"/>
                    <a:pt x="1874" y="982"/>
                  </a:cubicBezTo>
                  <a:cubicBezTo>
                    <a:pt x="1874" y="901"/>
                    <a:pt x="1874" y="901"/>
                    <a:pt x="1874" y="901"/>
                  </a:cubicBezTo>
                  <a:cubicBezTo>
                    <a:pt x="1901" y="901"/>
                    <a:pt x="1901" y="901"/>
                    <a:pt x="1901" y="901"/>
                  </a:cubicBezTo>
                  <a:lnTo>
                    <a:pt x="1901" y="982"/>
                  </a:lnTo>
                  <a:close/>
                  <a:moveTo>
                    <a:pt x="1970" y="591"/>
                  </a:moveTo>
                  <a:cubicBezTo>
                    <a:pt x="1952" y="591"/>
                    <a:pt x="1952" y="591"/>
                    <a:pt x="1952" y="591"/>
                  </a:cubicBezTo>
                  <a:cubicBezTo>
                    <a:pt x="1952" y="368"/>
                    <a:pt x="1952" y="368"/>
                    <a:pt x="1952" y="368"/>
                  </a:cubicBezTo>
                  <a:cubicBezTo>
                    <a:pt x="1970" y="368"/>
                    <a:pt x="1970" y="368"/>
                    <a:pt x="1970" y="368"/>
                  </a:cubicBezTo>
                  <a:lnTo>
                    <a:pt x="1970" y="591"/>
                  </a:lnTo>
                  <a:close/>
                  <a:moveTo>
                    <a:pt x="2007" y="743"/>
                  </a:moveTo>
                  <a:cubicBezTo>
                    <a:pt x="2001" y="743"/>
                    <a:pt x="1995" y="743"/>
                    <a:pt x="1990" y="743"/>
                  </a:cubicBezTo>
                  <a:cubicBezTo>
                    <a:pt x="1990" y="618"/>
                    <a:pt x="1990" y="493"/>
                    <a:pt x="1990" y="368"/>
                  </a:cubicBezTo>
                  <a:cubicBezTo>
                    <a:pt x="1995" y="368"/>
                    <a:pt x="2001" y="368"/>
                    <a:pt x="2007" y="368"/>
                  </a:cubicBezTo>
                  <a:cubicBezTo>
                    <a:pt x="2007" y="493"/>
                    <a:pt x="2007" y="618"/>
                    <a:pt x="2007" y="743"/>
                  </a:cubicBezTo>
                  <a:close/>
                  <a:moveTo>
                    <a:pt x="2270" y="497"/>
                  </a:moveTo>
                  <a:cubicBezTo>
                    <a:pt x="2387" y="497"/>
                    <a:pt x="2387" y="497"/>
                    <a:pt x="2387" y="497"/>
                  </a:cubicBezTo>
                  <a:cubicBezTo>
                    <a:pt x="2387" y="511"/>
                    <a:pt x="2387" y="511"/>
                    <a:pt x="2387" y="511"/>
                  </a:cubicBezTo>
                  <a:cubicBezTo>
                    <a:pt x="2270" y="511"/>
                    <a:pt x="2270" y="511"/>
                    <a:pt x="2270" y="511"/>
                  </a:cubicBezTo>
                  <a:lnTo>
                    <a:pt x="2270" y="497"/>
                  </a:lnTo>
                  <a:close/>
                  <a:moveTo>
                    <a:pt x="2270" y="544"/>
                  </a:moveTo>
                  <a:cubicBezTo>
                    <a:pt x="2309" y="544"/>
                    <a:pt x="2348" y="544"/>
                    <a:pt x="2387" y="544"/>
                  </a:cubicBezTo>
                  <a:cubicBezTo>
                    <a:pt x="2387" y="549"/>
                    <a:pt x="2387" y="554"/>
                    <a:pt x="2387" y="559"/>
                  </a:cubicBezTo>
                  <a:cubicBezTo>
                    <a:pt x="2348" y="559"/>
                    <a:pt x="2309" y="559"/>
                    <a:pt x="2270" y="559"/>
                  </a:cubicBezTo>
                  <a:cubicBezTo>
                    <a:pt x="2270" y="554"/>
                    <a:pt x="2270" y="549"/>
                    <a:pt x="2270" y="544"/>
                  </a:cubicBezTo>
                  <a:close/>
                  <a:moveTo>
                    <a:pt x="2270" y="591"/>
                  </a:moveTo>
                  <a:cubicBezTo>
                    <a:pt x="2309" y="591"/>
                    <a:pt x="2348" y="591"/>
                    <a:pt x="2387" y="591"/>
                  </a:cubicBezTo>
                  <a:cubicBezTo>
                    <a:pt x="2387" y="596"/>
                    <a:pt x="2387" y="601"/>
                    <a:pt x="2387" y="606"/>
                  </a:cubicBezTo>
                  <a:cubicBezTo>
                    <a:pt x="2348" y="606"/>
                    <a:pt x="2309" y="606"/>
                    <a:pt x="2270" y="606"/>
                  </a:cubicBezTo>
                  <a:cubicBezTo>
                    <a:pt x="2270" y="601"/>
                    <a:pt x="2270" y="596"/>
                    <a:pt x="2270" y="591"/>
                  </a:cubicBezTo>
                  <a:close/>
                  <a:moveTo>
                    <a:pt x="2270" y="639"/>
                  </a:moveTo>
                  <a:cubicBezTo>
                    <a:pt x="2309" y="639"/>
                    <a:pt x="2348" y="639"/>
                    <a:pt x="2387" y="639"/>
                  </a:cubicBezTo>
                  <a:cubicBezTo>
                    <a:pt x="2387" y="643"/>
                    <a:pt x="2387" y="648"/>
                    <a:pt x="2387" y="653"/>
                  </a:cubicBezTo>
                  <a:cubicBezTo>
                    <a:pt x="2348" y="653"/>
                    <a:pt x="2309" y="653"/>
                    <a:pt x="2270" y="653"/>
                  </a:cubicBezTo>
                  <a:cubicBezTo>
                    <a:pt x="2270" y="648"/>
                    <a:pt x="2270" y="643"/>
                    <a:pt x="2270" y="639"/>
                  </a:cubicBezTo>
                  <a:close/>
                  <a:moveTo>
                    <a:pt x="2270" y="686"/>
                  </a:moveTo>
                  <a:cubicBezTo>
                    <a:pt x="2309" y="686"/>
                    <a:pt x="2348" y="686"/>
                    <a:pt x="2387" y="686"/>
                  </a:cubicBezTo>
                  <a:cubicBezTo>
                    <a:pt x="2387" y="691"/>
                    <a:pt x="2387" y="696"/>
                    <a:pt x="2387" y="700"/>
                  </a:cubicBezTo>
                  <a:cubicBezTo>
                    <a:pt x="2348" y="700"/>
                    <a:pt x="2309" y="700"/>
                    <a:pt x="2270" y="700"/>
                  </a:cubicBezTo>
                  <a:cubicBezTo>
                    <a:pt x="2270" y="696"/>
                    <a:pt x="2270" y="691"/>
                    <a:pt x="2270" y="686"/>
                  </a:cubicBezTo>
                  <a:close/>
                  <a:moveTo>
                    <a:pt x="2144" y="1170"/>
                  </a:moveTo>
                  <a:cubicBezTo>
                    <a:pt x="2191" y="1170"/>
                    <a:pt x="2191" y="1170"/>
                    <a:pt x="2191" y="1170"/>
                  </a:cubicBezTo>
                  <a:cubicBezTo>
                    <a:pt x="2191" y="1205"/>
                    <a:pt x="2191" y="1205"/>
                    <a:pt x="2191" y="1205"/>
                  </a:cubicBezTo>
                  <a:cubicBezTo>
                    <a:pt x="2144" y="1205"/>
                    <a:pt x="2144" y="1205"/>
                    <a:pt x="2144" y="1205"/>
                  </a:cubicBezTo>
                  <a:lnTo>
                    <a:pt x="2144" y="1170"/>
                  </a:lnTo>
                  <a:close/>
                  <a:moveTo>
                    <a:pt x="2044" y="895"/>
                  </a:moveTo>
                  <a:cubicBezTo>
                    <a:pt x="2039" y="895"/>
                    <a:pt x="2033" y="895"/>
                    <a:pt x="2027" y="895"/>
                  </a:cubicBezTo>
                  <a:cubicBezTo>
                    <a:pt x="2027" y="720"/>
                    <a:pt x="2027" y="544"/>
                    <a:pt x="2027" y="368"/>
                  </a:cubicBezTo>
                  <a:cubicBezTo>
                    <a:pt x="2033" y="368"/>
                    <a:pt x="2039" y="368"/>
                    <a:pt x="2044" y="368"/>
                  </a:cubicBezTo>
                  <a:cubicBezTo>
                    <a:pt x="2044" y="544"/>
                    <a:pt x="2044" y="720"/>
                    <a:pt x="2044" y="895"/>
                  </a:cubicBezTo>
                  <a:close/>
                  <a:moveTo>
                    <a:pt x="2064" y="368"/>
                  </a:moveTo>
                  <a:cubicBezTo>
                    <a:pt x="2070" y="368"/>
                    <a:pt x="2076" y="368"/>
                    <a:pt x="2082" y="368"/>
                  </a:cubicBezTo>
                  <a:cubicBezTo>
                    <a:pt x="2082" y="595"/>
                    <a:pt x="2082" y="821"/>
                    <a:pt x="2082" y="1048"/>
                  </a:cubicBezTo>
                  <a:cubicBezTo>
                    <a:pt x="2076" y="1048"/>
                    <a:pt x="2070" y="1048"/>
                    <a:pt x="2064" y="1048"/>
                  </a:cubicBezTo>
                  <a:cubicBezTo>
                    <a:pt x="2064" y="821"/>
                    <a:pt x="2064" y="595"/>
                    <a:pt x="2064" y="368"/>
                  </a:cubicBezTo>
                  <a:close/>
                  <a:moveTo>
                    <a:pt x="2199" y="1275"/>
                  </a:moveTo>
                  <a:cubicBezTo>
                    <a:pt x="2164" y="1275"/>
                    <a:pt x="2129" y="1275"/>
                    <a:pt x="2093" y="1275"/>
                  </a:cubicBezTo>
                  <a:cubicBezTo>
                    <a:pt x="2093" y="1272"/>
                    <a:pt x="2093" y="1269"/>
                    <a:pt x="2093" y="1265"/>
                  </a:cubicBezTo>
                  <a:cubicBezTo>
                    <a:pt x="2129" y="1265"/>
                    <a:pt x="2164" y="1265"/>
                    <a:pt x="2199" y="1265"/>
                  </a:cubicBezTo>
                  <a:cubicBezTo>
                    <a:pt x="2199" y="1269"/>
                    <a:pt x="2199" y="1272"/>
                    <a:pt x="2199" y="1275"/>
                  </a:cubicBezTo>
                  <a:close/>
                  <a:moveTo>
                    <a:pt x="2199" y="1240"/>
                  </a:moveTo>
                  <a:cubicBezTo>
                    <a:pt x="2081" y="1240"/>
                    <a:pt x="2081" y="1240"/>
                    <a:pt x="2081" y="1240"/>
                  </a:cubicBezTo>
                  <a:cubicBezTo>
                    <a:pt x="2081" y="1230"/>
                    <a:pt x="2081" y="1230"/>
                    <a:pt x="2081" y="1230"/>
                  </a:cubicBezTo>
                  <a:cubicBezTo>
                    <a:pt x="2199" y="1230"/>
                    <a:pt x="2199" y="1230"/>
                    <a:pt x="2199" y="1230"/>
                  </a:cubicBezTo>
                  <a:lnTo>
                    <a:pt x="2199" y="1240"/>
                  </a:lnTo>
                  <a:close/>
                  <a:moveTo>
                    <a:pt x="2235" y="811"/>
                  </a:moveTo>
                  <a:cubicBezTo>
                    <a:pt x="2249" y="811"/>
                    <a:pt x="2257" y="825"/>
                    <a:pt x="2257" y="842"/>
                  </a:cubicBezTo>
                  <a:cubicBezTo>
                    <a:pt x="2242" y="842"/>
                    <a:pt x="2228" y="842"/>
                    <a:pt x="2214" y="842"/>
                  </a:cubicBezTo>
                  <a:cubicBezTo>
                    <a:pt x="2214" y="825"/>
                    <a:pt x="2221" y="811"/>
                    <a:pt x="2235" y="811"/>
                  </a:cubicBezTo>
                  <a:close/>
                  <a:moveTo>
                    <a:pt x="2263" y="1088"/>
                  </a:moveTo>
                  <a:cubicBezTo>
                    <a:pt x="2216" y="1088"/>
                    <a:pt x="2216" y="1088"/>
                    <a:pt x="2216" y="1088"/>
                  </a:cubicBezTo>
                  <a:cubicBezTo>
                    <a:pt x="2216" y="1053"/>
                    <a:pt x="2216" y="1053"/>
                    <a:pt x="2216" y="1053"/>
                  </a:cubicBezTo>
                  <a:cubicBezTo>
                    <a:pt x="2263" y="1053"/>
                    <a:pt x="2263" y="1053"/>
                    <a:pt x="2263" y="1053"/>
                  </a:cubicBezTo>
                  <a:lnTo>
                    <a:pt x="2263" y="1088"/>
                  </a:lnTo>
                  <a:close/>
                  <a:moveTo>
                    <a:pt x="2263" y="927"/>
                  </a:moveTo>
                  <a:cubicBezTo>
                    <a:pt x="2216" y="927"/>
                    <a:pt x="2216" y="927"/>
                    <a:pt x="2216" y="927"/>
                  </a:cubicBezTo>
                  <a:cubicBezTo>
                    <a:pt x="2216" y="892"/>
                    <a:pt x="2216" y="892"/>
                    <a:pt x="2216" y="892"/>
                  </a:cubicBezTo>
                  <a:cubicBezTo>
                    <a:pt x="2263" y="892"/>
                    <a:pt x="2263" y="892"/>
                    <a:pt x="2263" y="892"/>
                  </a:cubicBezTo>
                  <a:lnTo>
                    <a:pt x="2263" y="927"/>
                  </a:lnTo>
                  <a:close/>
                  <a:moveTo>
                    <a:pt x="2270" y="733"/>
                  </a:moveTo>
                  <a:cubicBezTo>
                    <a:pt x="2309" y="733"/>
                    <a:pt x="2348" y="733"/>
                    <a:pt x="2387" y="733"/>
                  </a:cubicBezTo>
                  <a:cubicBezTo>
                    <a:pt x="2387" y="738"/>
                    <a:pt x="2387" y="743"/>
                    <a:pt x="2387" y="748"/>
                  </a:cubicBezTo>
                  <a:cubicBezTo>
                    <a:pt x="2348" y="748"/>
                    <a:pt x="2309" y="748"/>
                    <a:pt x="2270" y="748"/>
                  </a:cubicBezTo>
                  <a:cubicBezTo>
                    <a:pt x="2270" y="743"/>
                    <a:pt x="2270" y="738"/>
                    <a:pt x="2270" y="733"/>
                  </a:cubicBezTo>
                  <a:close/>
                  <a:moveTo>
                    <a:pt x="2355" y="874"/>
                  </a:moveTo>
                  <a:cubicBezTo>
                    <a:pt x="2355" y="910"/>
                    <a:pt x="2355" y="910"/>
                    <a:pt x="2355" y="910"/>
                  </a:cubicBezTo>
                  <a:cubicBezTo>
                    <a:pt x="2307" y="910"/>
                    <a:pt x="2307" y="910"/>
                    <a:pt x="2307" y="910"/>
                  </a:cubicBezTo>
                  <a:cubicBezTo>
                    <a:pt x="2307" y="874"/>
                    <a:pt x="2307" y="874"/>
                    <a:pt x="2307" y="874"/>
                  </a:cubicBezTo>
                  <a:lnTo>
                    <a:pt x="2355" y="874"/>
                  </a:lnTo>
                  <a:close/>
                  <a:moveTo>
                    <a:pt x="2355" y="969"/>
                  </a:moveTo>
                  <a:cubicBezTo>
                    <a:pt x="2339" y="969"/>
                    <a:pt x="2323" y="969"/>
                    <a:pt x="2307" y="969"/>
                  </a:cubicBezTo>
                  <a:cubicBezTo>
                    <a:pt x="2307" y="957"/>
                    <a:pt x="2307" y="946"/>
                    <a:pt x="2307" y="934"/>
                  </a:cubicBezTo>
                  <a:cubicBezTo>
                    <a:pt x="2323" y="934"/>
                    <a:pt x="2339" y="934"/>
                    <a:pt x="2355" y="934"/>
                  </a:cubicBezTo>
                  <a:cubicBezTo>
                    <a:pt x="2355" y="946"/>
                    <a:pt x="2355" y="957"/>
                    <a:pt x="2355" y="969"/>
                  </a:cubicBezTo>
                  <a:close/>
                  <a:moveTo>
                    <a:pt x="2430" y="1028"/>
                  </a:moveTo>
                  <a:cubicBezTo>
                    <a:pt x="2414" y="1028"/>
                    <a:pt x="2398" y="1028"/>
                    <a:pt x="2383" y="1028"/>
                  </a:cubicBezTo>
                  <a:cubicBezTo>
                    <a:pt x="2383" y="1017"/>
                    <a:pt x="2383" y="1005"/>
                    <a:pt x="2383" y="993"/>
                  </a:cubicBezTo>
                  <a:cubicBezTo>
                    <a:pt x="2398" y="993"/>
                    <a:pt x="2414" y="993"/>
                    <a:pt x="2430" y="993"/>
                  </a:cubicBezTo>
                  <a:cubicBezTo>
                    <a:pt x="2430" y="1005"/>
                    <a:pt x="2430" y="1017"/>
                    <a:pt x="2430" y="1028"/>
                  </a:cubicBezTo>
                  <a:close/>
                  <a:moveTo>
                    <a:pt x="2430" y="910"/>
                  </a:moveTo>
                  <a:cubicBezTo>
                    <a:pt x="2414" y="910"/>
                    <a:pt x="2398" y="910"/>
                    <a:pt x="2383" y="910"/>
                  </a:cubicBezTo>
                  <a:cubicBezTo>
                    <a:pt x="2383" y="898"/>
                    <a:pt x="2383" y="886"/>
                    <a:pt x="2383" y="874"/>
                  </a:cubicBezTo>
                  <a:cubicBezTo>
                    <a:pt x="2398" y="874"/>
                    <a:pt x="2414" y="874"/>
                    <a:pt x="2430" y="874"/>
                  </a:cubicBezTo>
                  <a:cubicBezTo>
                    <a:pt x="2430" y="886"/>
                    <a:pt x="2430" y="898"/>
                    <a:pt x="2430" y="910"/>
                  </a:cubicBezTo>
                  <a:close/>
                  <a:moveTo>
                    <a:pt x="2361" y="842"/>
                  </a:moveTo>
                  <a:cubicBezTo>
                    <a:pt x="2361" y="809"/>
                    <a:pt x="2377" y="783"/>
                    <a:pt x="2406" y="783"/>
                  </a:cubicBezTo>
                  <a:cubicBezTo>
                    <a:pt x="2434" y="783"/>
                    <a:pt x="2452" y="809"/>
                    <a:pt x="2452" y="842"/>
                  </a:cubicBezTo>
                  <a:lnTo>
                    <a:pt x="2361" y="842"/>
                  </a:lnTo>
                  <a:close/>
                  <a:moveTo>
                    <a:pt x="2505" y="1088"/>
                  </a:moveTo>
                  <a:cubicBezTo>
                    <a:pt x="2458" y="1088"/>
                    <a:pt x="2458" y="1088"/>
                    <a:pt x="2458" y="1088"/>
                  </a:cubicBezTo>
                  <a:cubicBezTo>
                    <a:pt x="2458" y="1053"/>
                    <a:pt x="2458" y="1053"/>
                    <a:pt x="2458" y="1053"/>
                  </a:cubicBezTo>
                  <a:cubicBezTo>
                    <a:pt x="2505" y="1053"/>
                    <a:pt x="2505" y="1053"/>
                    <a:pt x="2505" y="1053"/>
                  </a:cubicBezTo>
                  <a:lnTo>
                    <a:pt x="2505" y="1088"/>
                  </a:lnTo>
                  <a:close/>
                  <a:moveTo>
                    <a:pt x="2505" y="969"/>
                  </a:moveTo>
                  <a:cubicBezTo>
                    <a:pt x="2489" y="969"/>
                    <a:pt x="2474" y="969"/>
                    <a:pt x="2458" y="969"/>
                  </a:cubicBezTo>
                  <a:cubicBezTo>
                    <a:pt x="2458" y="957"/>
                    <a:pt x="2458" y="946"/>
                    <a:pt x="2458" y="934"/>
                  </a:cubicBezTo>
                  <a:cubicBezTo>
                    <a:pt x="2474" y="934"/>
                    <a:pt x="2489" y="934"/>
                    <a:pt x="2505" y="934"/>
                  </a:cubicBezTo>
                  <a:cubicBezTo>
                    <a:pt x="2505" y="946"/>
                    <a:pt x="2505" y="957"/>
                    <a:pt x="2505" y="969"/>
                  </a:cubicBezTo>
                  <a:close/>
                  <a:moveTo>
                    <a:pt x="2644" y="811"/>
                  </a:moveTo>
                  <a:cubicBezTo>
                    <a:pt x="2658" y="811"/>
                    <a:pt x="2666" y="825"/>
                    <a:pt x="2666" y="842"/>
                  </a:cubicBezTo>
                  <a:cubicBezTo>
                    <a:pt x="2622" y="842"/>
                    <a:pt x="2622" y="842"/>
                    <a:pt x="2622" y="842"/>
                  </a:cubicBezTo>
                  <a:cubicBezTo>
                    <a:pt x="2622" y="825"/>
                    <a:pt x="2631" y="811"/>
                    <a:pt x="2644" y="811"/>
                  </a:cubicBezTo>
                  <a:close/>
                  <a:moveTo>
                    <a:pt x="2597" y="1146"/>
                  </a:moveTo>
                  <a:cubicBezTo>
                    <a:pt x="2581" y="1146"/>
                    <a:pt x="2565" y="1146"/>
                    <a:pt x="2550" y="1146"/>
                  </a:cubicBezTo>
                  <a:cubicBezTo>
                    <a:pt x="2550" y="1135"/>
                    <a:pt x="2550" y="1123"/>
                    <a:pt x="2550" y="1111"/>
                  </a:cubicBezTo>
                  <a:cubicBezTo>
                    <a:pt x="2565" y="1111"/>
                    <a:pt x="2581" y="1111"/>
                    <a:pt x="2597" y="1111"/>
                  </a:cubicBezTo>
                  <a:cubicBezTo>
                    <a:pt x="2597" y="1123"/>
                    <a:pt x="2597" y="1135"/>
                    <a:pt x="2597" y="1146"/>
                  </a:cubicBezTo>
                  <a:close/>
                  <a:moveTo>
                    <a:pt x="2597" y="988"/>
                  </a:moveTo>
                  <a:cubicBezTo>
                    <a:pt x="2550" y="988"/>
                    <a:pt x="2550" y="988"/>
                    <a:pt x="2550" y="988"/>
                  </a:cubicBezTo>
                  <a:cubicBezTo>
                    <a:pt x="2550" y="953"/>
                    <a:pt x="2550" y="953"/>
                    <a:pt x="2550" y="953"/>
                  </a:cubicBezTo>
                  <a:cubicBezTo>
                    <a:pt x="2597" y="953"/>
                    <a:pt x="2597" y="953"/>
                    <a:pt x="2597" y="953"/>
                  </a:cubicBezTo>
                  <a:lnTo>
                    <a:pt x="2597" y="988"/>
                  </a:lnTo>
                  <a:close/>
                  <a:moveTo>
                    <a:pt x="2556" y="842"/>
                  </a:moveTo>
                  <a:cubicBezTo>
                    <a:pt x="2556" y="825"/>
                    <a:pt x="2564" y="811"/>
                    <a:pt x="2577" y="811"/>
                  </a:cubicBezTo>
                  <a:cubicBezTo>
                    <a:pt x="2591" y="811"/>
                    <a:pt x="2599" y="825"/>
                    <a:pt x="2599" y="842"/>
                  </a:cubicBezTo>
                  <a:cubicBezTo>
                    <a:pt x="2584" y="842"/>
                    <a:pt x="2570" y="842"/>
                    <a:pt x="2556" y="842"/>
                  </a:cubicBezTo>
                  <a:close/>
                  <a:moveTo>
                    <a:pt x="2669" y="1205"/>
                  </a:moveTo>
                  <a:cubicBezTo>
                    <a:pt x="2621" y="1205"/>
                    <a:pt x="2621" y="1205"/>
                    <a:pt x="2621" y="1205"/>
                  </a:cubicBezTo>
                  <a:cubicBezTo>
                    <a:pt x="2621" y="1170"/>
                    <a:pt x="2621" y="1170"/>
                    <a:pt x="2621" y="1170"/>
                  </a:cubicBezTo>
                  <a:cubicBezTo>
                    <a:pt x="2669" y="1170"/>
                    <a:pt x="2669" y="1170"/>
                    <a:pt x="2669" y="1170"/>
                  </a:cubicBezTo>
                  <a:lnTo>
                    <a:pt x="2669" y="1205"/>
                  </a:lnTo>
                  <a:close/>
                  <a:moveTo>
                    <a:pt x="2669" y="1088"/>
                  </a:moveTo>
                  <a:cubicBezTo>
                    <a:pt x="2621" y="1088"/>
                    <a:pt x="2621" y="1088"/>
                    <a:pt x="2621" y="1088"/>
                  </a:cubicBezTo>
                  <a:cubicBezTo>
                    <a:pt x="2621" y="1053"/>
                    <a:pt x="2621" y="1053"/>
                    <a:pt x="2621" y="1053"/>
                  </a:cubicBezTo>
                  <a:cubicBezTo>
                    <a:pt x="2669" y="1053"/>
                    <a:pt x="2669" y="1053"/>
                    <a:pt x="2669" y="1053"/>
                  </a:cubicBezTo>
                  <a:lnTo>
                    <a:pt x="2669" y="1088"/>
                  </a:lnTo>
                  <a:close/>
                  <a:moveTo>
                    <a:pt x="2669" y="927"/>
                  </a:moveTo>
                  <a:cubicBezTo>
                    <a:pt x="2621" y="927"/>
                    <a:pt x="2621" y="927"/>
                    <a:pt x="2621" y="927"/>
                  </a:cubicBezTo>
                  <a:cubicBezTo>
                    <a:pt x="2621" y="892"/>
                    <a:pt x="2621" y="892"/>
                    <a:pt x="2621" y="892"/>
                  </a:cubicBezTo>
                  <a:cubicBezTo>
                    <a:pt x="2669" y="892"/>
                    <a:pt x="2669" y="892"/>
                    <a:pt x="2669" y="892"/>
                  </a:cubicBezTo>
                  <a:lnTo>
                    <a:pt x="2669" y="927"/>
                  </a:lnTo>
                  <a:close/>
                  <a:moveTo>
                    <a:pt x="2785" y="1068"/>
                  </a:moveTo>
                  <a:cubicBezTo>
                    <a:pt x="2732" y="1068"/>
                    <a:pt x="2732" y="1068"/>
                    <a:pt x="2732" y="1068"/>
                  </a:cubicBezTo>
                  <a:cubicBezTo>
                    <a:pt x="2732" y="1034"/>
                    <a:pt x="2732" y="1034"/>
                    <a:pt x="2732" y="1034"/>
                  </a:cubicBezTo>
                  <a:cubicBezTo>
                    <a:pt x="2785" y="1034"/>
                    <a:pt x="2785" y="1034"/>
                    <a:pt x="2785" y="1034"/>
                  </a:cubicBezTo>
                  <a:lnTo>
                    <a:pt x="2785" y="1068"/>
                  </a:lnTo>
                  <a:close/>
                  <a:moveTo>
                    <a:pt x="2942" y="1130"/>
                  </a:moveTo>
                  <a:cubicBezTo>
                    <a:pt x="2916" y="1130"/>
                    <a:pt x="2890" y="1130"/>
                    <a:pt x="2865" y="1130"/>
                  </a:cubicBezTo>
                  <a:cubicBezTo>
                    <a:pt x="2865" y="1114"/>
                    <a:pt x="2865" y="1097"/>
                    <a:pt x="2865" y="1081"/>
                  </a:cubicBezTo>
                  <a:cubicBezTo>
                    <a:pt x="2890" y="1081"/>
                    <a:pt x="2916" y="1081"/>
                    <a:pt x="2942" y="1081"/>
                  </a:cubicBezTo>
                  <a:cubicBezTo>
                    <a:pt x="2942" y="1097"/>
                    <a:pt x="2942" y="1114"/>
                    <a:pt x="2942" y="1130"/>
                  </a:cubicBezTo>
                  <a:close/>
                  <a:moveTo>
                    <a:pt x="2942" y="1052"/>
                  </a:moveTo>
                  <a:cubicBezTo>
                    <a:pt x="2916" y="1052"/>
                    <a:pt x="2890" y="1052"/>
                    <a:pt x="2865" y="1052"/>
                  </a:cubicBezTo>
                  <a:cubicBezTo>
                    <a:pt x="2865" y="1035"/>
                    <a:pt x="2865" y="1019"/>
                    <a:pt x="2865" y="1003"/>
                  </a:cubicBezTo>
                  <a:cubicBezTo>
                    <a:pt x="2890" y="1003"/>
                    <a:pt x="2916" y="1003"/>
                    <a:pt x="2942" y="1003"/>
                  </a:cubicBezTo>
                  <a:cubicBezTo>
                    <a:pt x="2942" y="1019"/>
                    <a:pt x="2942" y="1035"/>
                    <a:pt x="2942" y="1052"/>
                  </a:cubicBezTo>
                  <a:close/>
                  <a:moveTo>
                    <a:pt x="3120" y="1130"/>
                  </a:moveTo>
                  <a:cubicBezTo>
                    <a:pt x="3095" y="1130"/>
                    <a:pt x="3069" y="1130"/>
                    <a:pt x="3043" y="1130"/>
                  </a:cubicBezTo>
                  <a:cubicBezTo>
                    <a:pt x="3043" y="1114"/>
                    <a:pt x="3043" y="1097"/>
                    <a:pt x="3043" y="1081"/>
                  </a:cubicBezTo>
                  <a:cubicBezTo>
                    <a:pt x="3069" y="1081"/>
                    <a:pt x="3095" y="1081"/>
                    <a:pt x="3120" y="1081"/>
                  </a:cubicBezTo>
                  <a:cubicBezTo>
                    <a:pt x="3120" y="1097"/>
                    <a:pt x="3120" y="1114"/>
                    <a:pt x="3120" y="1130"/>
                  </a:cubicBezTo>
                  <a:close/>
                  <a:moveTo>
                    <a:pt x="3240" y="1161"/>
                  </a:moveTo>
                  <a:cubicBezTo>
                    <a:pt x="3222" y="1161"/>
                    <a:pt x="3204" y="1161"/>
                    <a:pt x="3186" y="1161"/>
                  </a:cubicBezTo>
                  <a:cubicBezTo>
                    <a:pt x="3186" y="1149"/>
                    <a:pt x="3186" y="1138"/>
                    <a:pt x="3186" y="1127"/>
                  </a:cubicBezTo>
                  <a:cubicBezTo>
                    <a:pt x="3204" y="1127"/>
                    <a:pt x="3222" y="1127"/>
                    <a:pt x="3240" y="1127"/>
                  </a:cubicBezTo>
                  <a:cubicBezTo>
                    <a:pt x="3240" y="1138"/>
                    <a:pt x="3240" y="1149"/>
                    <a:pt x="3240" y="1161"/>
                  </a:cubicBezTo>
                  <a:close/>
                  <a:moveTo>
                    <a:pt x="3240" y="1058"/>
                  </a:moveTo>
                  <a:cubicBezTo>
                    <a:pt x="3186" y="1058"/>
                    <a:pt x="3186" y="1058"/>
                    <a:pt x="3186" y="1058"/>
                  </a:cubicBezTo>
                  <a:cubicBezTo>
                    <a:pt x="3186" y="1024"/>
                    <a:pt x="3186" y="1024"/>
                    <a:pt x="3186" y="1024"/>
                  </a:cubicBezTo>
                  <a:cubicBezTo>
                    <a:pt x="3240" y="1024"/>
                    <a:pt x="3240" y="1024"/>
                    <a:pt x="3240" y="1024"/>
                  </a:cubicBezTo>
                  <a:lnTo>
                    <a:pt x="3240" y="1058"/>
                  </a:lnTo>
                  <a:close/>
                  <a:moveTo>
                    <a:pt x="3481" y="875"/>
                  </a:moveTo>
                  <a:cubicBezTo>
                    <a:pt x="3492" y="875"/>
                    <a:pt x="3503" y="875"/>
                    <a:pt x="3514" y="875"/>
                  </a:cubicBezTo>
                  <a:cubicBezTo>
                    <a:pt x="3514" y="883"/>
                    <a:pt x="3514" y="891"/>
                    <a:pt x="3514" y="899"/>
                  </a:cubicBezTo>
                  <a:cubicBezTo>
                    <a:pt x="3503" y="899"/>
                    <a:pt x="3492" y="899"/>
                    <a:pt x="3481" y="899"/>
                  </a:cubicBezTo>
                  <a:cubicBezTo>
                    <a:pt x="3481" y="891"/>
                    <a:pt x="3481" y="883"/>
                    <a:pt x="3481" y="875"/>
                  </a:cubicBezTo>
                  <a:close/>
                  <a:moveTo>
                    <a:pt x="3400" y="821"/>
                  </a:moveTo>
                  <a:cubicBezTo>
                    <a:pt x="3408" y="821"/>
                    <a:pt x="3416" y="821"/>
                    <a:pt x="3424" y="821"/>
                  </a:cubicBezTo>
                  <a:cubicBezTo>
                    <a:pt x="3424" y="827"/>
                    <a:pt x="3424" y="833"/>
                    <a:pt x="3424" y="839"/>
                  </a:cubicBezTo>
                  <a:cubicBezTo>
                    <a:pt x="3416" y="839"/>
                    <a:pt x="3408" y="839"/>
                    <a:pt x="3400" y="839"/>
                  </a:cubicBezTo>
                  <a:cubicBezTo>
                    <a:pt x="3400" y="833"/>
                    <a:pt x="3400" y="827"/>
                    <a:pt x="3400" y="821"/>
                  </a:cubicBezTo>
                  <a:close/>
                  <a:moveTo>
                    <a:pt x="3448" y="1057"/>
                  </a:moveTo>
                  <a:cubicBezTo>
                    <a:pt x="3448" y="1071"/>
                    <a:pt x="3448" y="1084"/>
                    <a:pt x="3448" y="1098"/>
                  </a:cubicBezTo>
                  <a:cubicBezTo>
                    <a:pt x="3426" y="1098"/>
                    <a:pt x="3404" y="1098"/>
                    <a:pt x="3381" y="1098"/>
                  </a:cubicBezTo>
                  <a:cubicBezTo>
                    <a:pt x="3381" y="1084"/>
                    <a:pt x="3381" y="1071"/>
                    <a:pt x="3381" y="1057"/>
                  </a:cubicBezTo>
                  <a:cubicBezTo>
                    <a:pt x="3404" y="1057"/>
                    <a:pt x="3426" y="1057"/>
                    <a:pt x="3448" y="1057"/>
                  </a:cubicBezTo>
                  <a:close/>
                  <a:moveTo>
                    <a:pt x="3370" y="875"/>
                  </a:moveTo>
                  <a:cubicBezTo>
                    <a:pt x="3381" y="875"/>
                    <a:pt x="3392" y="875"/>
                    <a:pt x="3403" y="875"/>
                  </a:cubicBezTo>
                  <a:cubicBezTo>
                    <a:pt x="3403" y="883"/>
                    <a:pt x="3403" y="891"/>
                    <a:pt x="3403" y="899"/>
                  </a:cubicBezTo>
                  <a:cubicBezTo>
                    <a:pt x="3392" y="899"/>
                    <a:pt x="3381" y="899"/>
                    <a:pt x="3370" y="899"/>
                  </a:cubicBezTo>
                  <a:cubicBezTo>
                    <a:pt x="3370" y="891"/>
                    <a:pt x="3370" y="883"/>
                    <a:pt x="3370" y="875"/>
                  </a:cubicBezTo>
                  <a:close/>
                  <a:moveTo>
                    <a:pt x="3315" y="875"/>
                  </a:moveTo>
                  <a:cubicBezTo>
                    <a:pt x="3326" y="875"/>
                    <a:pt x="3337" y="875"/>
                    <a:pt x="3348" y="875"/>
                  </a:cubicBezTo>
                  <a:cubicBezTo>
                    <a:pt x="3348" y="883"/>
                    <a:pt x="3348" y="891"/>
                    <a:pt x="3348" y="899"/>
                  </a:cubicBezTo>
                  <a:cubicBezTo>
                    <a:pt x="3337" y="899"/>
                    <a:pt x="3326" y="899"/>
                    <a:pt x="3315" y="899"/>
                  </a:cubicBezTo>
                  <a:cubicBezTo>
                    <a:pt x="3315" y="891"/>
                    <a:pt x="3315" y="883"/>
                    <a:pt x="3315" y="875"/>
                  </a:cubicBezTo>
                  <a:close/>
                  <a:moveTo>
                    <a:pt x="3291" y="998"/>
                  </a:moveTo>
                  <a:cubicBezTo>
                    <a:pt x="3313" y="998"/>
                    <a:pt x="3335" y="998"/>
                    <a:pt x="3357" y="998"/>
                  </a:cubicBezTo>
                  <a:cubicBezTo>
                    <a:pt x="3357" y="1011"/>
                    <a:pt x="3357" y="1025"/>
                    <a:pt x="3357" y="1039"/>
                  </a:cubicBezTo>
                  <a:cubicBezTo>
                    <a:pt x="3335" y="1039"/>
                    <a:pt x="3313" y="1039"/>
                    <a:pt x="3291" y="1039"/>
                  </a:cubicBezTo>
                  <a:cubicBezTo>
                    <a:pt x="3291" y="1025"/>
                    <a:pt x="3291" y="1011"/>
                    <a:pt x="3291" y="998"/>
                  </a:cubicBezTo>
                  <a:close/>
                  <a:moveTo>
                    <a:pt x="3290" y="1251"/>
                  </a:moveTo>
                  <a:cubicBezTo>
                    <a:pt x="3277" y="1251"/>
                    <a:pt x="3277" y="1251"/>
                    <a:pt x="3277" y="1251"/>
                  </a:cubicBezTo>
                  <a:cubicBezTo>
                    <a:pt x="3277" y="1170"/>
                    <a:pt x="3277" y="1170"/>
                    <a:pt x="3277" y="1170"/>
                  </a:cubicBezTo>
                  <a:cubicBezTo>
                    <a:pt x="3290" y="1170"/>
                    <a:pt x="3290" y="1170"/>
                    <a:pt x="3290" y="1170"/>
                  </a:cubicBezTo>
                  <a:lnTo>
                    <a:pt x="3290" y="1251"/>
                  </a:lnTo>
                  <a:close/>
                  <a:moveTo>
                    <a:pt x="3291" y="1157"/>
                  </a:moveTo>
                  <a:cubicBezTo>
                    <a:pt x="3291" y="1157"/>
                    <a:pt x="3291" y="1157"/>
                    <a:pt x="3291" y="1157"/>
                  </a:cubicBezTo>
                  <a:cubicBezTo>
                    <a:pt x="3272" y="1157"/>
                    <a:pt x="3272" y="1157"/>
                    <a:pt x="3272" y="1157"/>
                  </a:cubicBezTo>
                  <a:cubicBezTo>
                    <a:pt x="3272" y="1149"/>
                    <a:pt x="3272" y="1149"/>
                    <a:pt x="3272" y="1149"/>
                  </a:cubicBezTo>
                  <a:cubicBezTo>
                    <a:pt x="3291" y="1149"/>
                    <a:pt x="3291" y="1149"/>
                    <a:pt x="3291" y="1149"/>
                  </a:cubicBezTo>
                  <a:cubicBezTo>
                    <a:pt x="3291" y="1146"/>
                    <a:pt x="3291" y="1144"/>
                    <a:pt x="3291" y="1142"/>
                  </a:cubicBezTo>
                  <a:cubicBezTo>
                    <a:pt x="3272" y="1142"/>
                    <a:pt x="3272" y="1142"/>
                    <a:pt x="3272" y="1142"/>
                  </a:cubicBezTo>
                  <a:cubicBezTo>
                    <a:pt x="3272" y="1133"/>
                    <a:pt x="3272" y="1133"/>
                    <a:pt x="3272" y="1133"/>
                  </a:cubicBezTo>
                  <a:cubicBezTo>
                    <a:pt x="3291" y="1133"/>
                    <a:pt x="3291" y="1133"/>
                    <a:pt x="3291" y="1133"/>
                  </a:cubicBezTo>
                  <a:cubicBezTo>
                    <a:pt x="3291" y="1128"/>
                    <a:pt x="3291" y="1122"/>
                    <a:pt x="3291" y="1117"/>
                  </a:cubicBezTo>
                  <a:cubicBezTo>
                    <a:pt x="3313" y="1117"/>
                    <a:pt x="3335" y="1117"/>
                    <a:pt x="3357" y="1117"/>
                  </a:cubicBezTo>
                  <a:cubicBezTo>
                    <a:pt x="3357" y="1122"/>
                    <a:pt x="3357" y="1128"/>
                    <a:pt x="3357" y="1133"/>
                  </a:cubicBezTo>
                  <a:cubicBezTo>
                    <a:pt x="3395" y="1133"/>
                    <a:pt x="3395" y="1133"/>
                    <a:pt x="3395" y="1133"/>
                  </a:cubicBezTo>
                  <a:cubicBezTo>
                    <a:pt x="3395" y="1142"/>
                    <a:pt x="3395" y="1142"/>
                    <a:pt x="3395" y="1142"/>
                  </a:cubicBezTo>
                  <a:cubicBezTo>
                    <a:pt x="3357" y="1142"/>
                    <a:pt x="3357" y="1142"/>
                    <a:pt x="3357" y="1142"/>
                  </a:cubicBezTo>
                  <a:cubicBezTo>
                    <a:pt x="3357" y="1144"/>
                    <a:pt x="3357" y="1146"/>
                    <a:pt x="3357" y="1149"/>
                  </a:cubicBezTo>
                  <a:cubicBezTo>
                    <a:pt x="3395" y="1149"/>
                    <a:pt x="3395" y="1149"/>
                    <a:pt x="3395" y="1149"/>
                  </a:cubicBezTo>
                  <a:cubicBezTo>
                    <a:pt x="3395" y="1157"/>
                    <a:pt x="3395" y="1157"/>
                    <a:pt x="3395" y="1157"/>
                  </a:cubicBezTo>
                  <a:cubicBezTo>
                    <a:pt x="3357" y="1157"/>
                    <a:pt x="3357" y="1157"/>
                    <a:pt x="3357" y="1157"/>
                  </a:cubicBezTo>
                  <a:cubicBezTo>
                    <a:pt x="3357" y="1157"/>
                    <a:pt x="3357" y="1157"/>
                    <a:pt x="3357" y="1157"/>
                  </a:cubicBezTo>
                  <a:cubicBezTo>
                    <a:pt x="3335" y="1157"/>
                    <a:pt x="3313" y="1157"/>
                    <a:pt x="3291" y="1157"/>
                  </a:cubicBezTo>
                  <a:close/>
                  <a:moveTo>
                    <a:pt x="3448" y="1217"/>
                  </a:moveTo>
                  <a:cubicBezTo>
                    <a:pt x="3426" y="1217"/>
                    <a:pt x="3404" y="1217"/>
                    <a:pt x="3381" y="1217"/>
                  </a:cubicBezTo>
                  <a:cubicBezTo>
                    <a:pt x="3381" y="1203"/>
                    <a:pt x="3381" y="1190"/>
                    <a:pt x="3381" y="1176"/>
                  </a:cubicBezTo>
                  <a:cubicBezTo>
                    <a:pt x="3404" y="1176"/>
                    <a:pt x="3426" y="1176"/>
                    <a:pt x="3448" y="1176"/>
                  </a:cubicBezTo>
                  <a:cubicBezTo>
                    <a:pt x="3448" y="1190"/>
                    <a:pt x="3448" y="1203"/>
                    <a:pt x="3448" y="1217"/>
                  </a:cubicBezTo>
                  <a:close/>
                  <a:moveTo>
                    <a:pt x="3458" y="899"/>
                  </a:moveTo>
                  <a:cubicBezTo>
                    <a:pt x="3447" y="899"/>
                    <a:pt x="3436" y="899"/>
                    <a:pt x="3425" y="899"/>
                  </a:cubicBezTo>
                  <a:cubicBezTo>
                    <a:pt x="3425" y="891"/>
                    <a:pt x="3425" y="883"/>
                    <a:pt x="3425" y="875"/>
                  </a:cubicBezTo>
                  <a:cubicBezTo>
                    <a:pt x="3436" y="875"/>
                    <a:pt x="3447" y="875"/>
                    <a:pt x="3458" y="875"/>
                  </a:cubicBezTo>
                  <a:cubicBezTo>
                    <a:pt x="3458" y="883"/>
                    <a:pt x="3458" y="891"/>
                    <a:pt x="3458" y="899"/>
                  </a:cubicBezTo>
                  <a:close/>
                  <a:moveTo>
                    <a:pt x="3538" y="1039"/>
                  </a:moveTo>
                  <a:cubicBezTo>
                    <a:pt x="3516" y="1039"/>
                    <a:pt x="3494" y="1039"/>
                    <a:pt x="3472" y="1039"/>
                  </a:cubicBezTo>
                  <a:cubicBezTo>
                    <a:pt x="3472" y="1025"/>
                    <a:pt x="3472" y="1011"/>
                    <a:pt x="3472" y="998"/>
                  </a:cubicBezTo>
                  <a:cubicBezTo>
                    <a:pt x="3494" y="998"/>
                    <a:pt x="3516" y="998"/>
                    <a:pt x="3538" y="998"/>
                  </a:cubicBezTo>
                  <a:cubicBezTo>
                    <a:pt x="3538" y="1011"/>
                    <a:pt x="3538" y="1025"/>
                    <a:pt x="3538" y="1039"/>
                  </a:cubicBezTo>
                  <a:close/>
                  <a:moveTo>
                    <a:pt x="3621" y="1115"/>
                  </a:moveTo>
                  <a:cubicBezTo>
                    <a:pt x="3608" y="1115"/>
                    <a:pt x="3594" y="1115"/>
                    <a:pt x="3581" y="1115"/>
                  </a:cubicBezTo>
                  <a:cubicBezTo>
                    <a:pt x="3581" y="1105"/>
                    <a:pt x="3581" y="1095"/>
                    <a:pt x="3581" y="1085"/>
                  </a:cubicBezTo>
                  <a:cubicBezTo>
                    <a:pt x="3594" y="1085"/>
                    <a:pt x="3608" y="1085"/>
                    <a:pt x="3621" y="1085"/>
                  </a:cubicBezTo>
                  <a:cubicBezTo>
                    <a:pt x="3621" y="1095"/>
                    <a:pt x="3621" y="1105"/>
                    <a:pt x="3621" y="1115"/>
                  </a:cubicBezTo>
                  <a:close/>
                  <a:moveTo>
                    <a:pt x="3677" y="1217"/>
                  </a:moveTo>
                  <a:cubicBezTo>
                    <a:pt x="3636" y="1217"/>
                    <a:pt x="3636" y="1217"/>
                    <a:pt x="3636" y="1217"/>
                  </a:cubicBezTo>
                  <a:cubicBezTo>
                    <a:pt x="3636" y="1187"/>
                    <a:pt x="3636" y="1187"/>
                    <a:pt x="3636" y="1187"/>
                  </a:cubicBezTo>
                  <a:cubicBezTo>
                    <a:pt x="3677" y="1187"/>
                    <a:pt x="3677" y="1187"/>
                    <a:pt x="3677" y="1187"/>
                  </a:cubicBezTo>
                  <a:lnTo>
                    <a:pt x="3677" y="1217"/>
                  </a:lnTo>
                  <a:close/>
                  <a:moveTo>
                    <a:pt x="3677" y="1065"/>
                  </a:moveTo>
                  <a:cubicBezTo>
                    <a:pt x="3636" y="1065"/>
                    <a:pt x="3636" y="1065"/>
                    <a:pt x="3636" y="1065"/>
                  </a:cubicBezTo>
                  <a:cubicBezTo>
                    <a:pt x="3636" y="1035"/>
                    <a:pt x="3636" y="1035"/>
                    <a:pt x="3636" y="1035"/>
                  </a:cubicBezTo>
                  <a:cubicBezTo>
                    <a:pt x="3677" y="1035"/>
                    <a:pt x="3677" y="1035"/>
                    <a:pt x="3677" y="1035"/>
                  </a:cubicBezTo>
                  <a:lnTo>
                    <a:pt x="3677" y="1065"/>
                  </a:lnTo>
                  <a:close/>
                  <a:moveTo>
                    <a:pt x="3814" y="1154"/>
                  </a:moveTo>
                  <a:cubicBezTo>
                    <a:pt x="3793" y="1154"/>
                    <a:pt x="3772" y="1154"/>
                    <a:pt x="3750" y="1154"/>
                  </a:cubicBezTo>
                  <a:cubicBezTo>
                    <a:pt x="3750" y="1149"/>
                    <a:pt x="3750" y="1144"/>
                    <a:pt x="3750" y="1139"/>
                  </a:cubicBezTo>
                  <a:cubicBezTo>
                    <a:pt x="3772" y="1139"/>
                    <a:pt x="3793" y="1139"/>
                    <a:pt x="3814" y="1139"/>
                  </a:cubicBezTo>
                  <a:cubicBezTo>
                    <a:pt x="3814" y="1144"/>
                    <a:pt x="3814" y="1149"/>
                    <a:pt x="3814" y="1154"/>
                  </a:cubicBezTo>
                  <a:close/>
                  <a:moveTo>
                    <a:pt x="3814" y="1123"/>
                  </a:moveTo>
                  <a:cubicBezTo>
                    <a:pt x="3705" y="1123"/>
                    <a:pt x="3705" y="1123"/>
                    <a:pt x="3705" y="1123"/>
                  </a:cubicBezTo>
                  <a:cubicBezTo>
                    <a:pt x="3705" y="1108"/>
                    <a:pt x="3705" y="1108"/>
                    <a:pt x="3705" y="1108"/>
                  </a:cubicBezTo>
                  <a:cubicBezTo>
                    <a:pt x="3814" y="1108"/>
                    <a:pt x="3814" y="1108"/>
                    <a:pt x="3814" y="1108"/>
                  </a:cubicBezTo>
                  <a:lnTo>
                    <a:pt x="3814" y="1123"/>
                  </a:lnTo>
                  <a:close/>
                </a:path>
              </a:pathLst>
            </a:custGeom>
            <a:solidFill>
              <a:schemeClr val="accent2">
                <a:lumMod val="20000"/>
                <a:lumOff val="80000"/>
                <a:alpha val="6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199" name="Rectangle 198"/>
            <p:cNvSpPr/>
            <p:nvPr/>
          </p:nvSpPr>
          <p:spPr>
            <a:xfrm>
              <a:off x="8568031" y="4128319"/>
              <a:ext cx="574774" cy="59546"/>
            </a:xfrm>
            <a:prstGeom prst="rect">
              <a:avLst/>
            </a:prstGeom>
            <a:solidFill>
              <a:srgbClr val="6F8F3C"/>
            </a:solidFill>
            <a:ln w="9525">
              <a:noFill/>
              <a:round/>
              <a:headEnd/>
              <a:tailEnd/>
            </a:ln>
          </p:spPr>
          <p:txBody>
            <a:bodyPr vert="horz" wrap="square" lIns="91440" tIns="45720" rIns="91440" bIns="45720" numCol="1" anchor="t" anchorCtr="0" compatLnSpc="1">
              <a:prstTxWarp prst="textNoShape">
                <a:avLst/>
              </a:prstTxWarp>
            </a:bodyPr>
            <a:lstStyle/>
            <a:p>
              <a:endParaRPr lang="en-US" sz="900" dirty="0" smtClean="0">
                <a:solidFill>
                  <a:schemeClr val="tx1"/>
                </a:solidFill>
                <a:latin typeface="+mj-lt"/>
                <a:ea typeface="ＭＳ Ｐゴシック" pitchFamily="34" charset="-128"/>
              </a:endParaRPr>
            </a:p>
          </p:txBody>
        </p:sp>
        <p:grpSp>
          <p:nvGrpSpPr>
            <p:cNvPr id="4" name="Group 300"/>
            <p:cNvGrpSpPr/>
            <p:nvPr/>
          </p:nvGrpSpPr>
          <p:grpSpPr>
            <a:xfrm>
              <a:off x="4351495" y="3151870"/>
              <a:ext cx="4267144" cy="1035995"/>
              <a:chOff x="4351495" y="3151870"/>
              <a:chExt cx="4267144" cy="1035995"/>
            </a:xfrm>
          </p:grpSpPr>
          <p:sp>
            <p:nvSpPr>
              <p:cNvPr id="200" name="Freeform 29"/>
              <p:cNvSpPr>
                <a:spLocks noEditPoints="1"/>
              </p:cNvSpPr>
              <p:nvPr/>
            </p:nvSpPr>
            <p:spPr bwMode="auto">
              <a:xfrm>
                <a:off x="4742807" y="3473039"/>
                <a:ext cx="208128" cy="71482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solidFill>
                <a:schemeClr val="accent6">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5" name="Group 28"/>
              <p:cNvGrpSpPr/>
              <p:nvPr/>
            </p:nvGrpSpPr>
            <p:grpSpPr>
              <a:xfrm>
                <a:off x="4611308" y="3779759"/>
                <a:ext cx="171727" cy="408106"/>
                <a:chOff x="1790700" y="2979738"/>
                <a:chExt cx="539750" cy="1282700"/>
              </a:xfrm>
            </p:grpSpPr>
            <p:sp>
              <p:nvSpPr>
                <p:cNvPr id="202" name="Rectangle 23"/>
                <p:cNvSpPr>
                  <a:spLocks noChangeArrowheads="1"/>
                </p:cNvSpPr>
                <p:nvPr/>
              </p:nvSpPr>
              <p:spPr bwMode="auto">
                <a:xfrm>
                  <a:off x="1790700" y="2986088"/>
                  <a:ext cx="525463" cy="12763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03"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solidFill>
                  <a:schemeClr val="accent1">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6" name="Group 58"/>
              <p:cNvGrpSpPr/>
              <p:nvPr/>
            </p:nvGrpSpPr>
            <p:grpSpPr>
              <a:xfrm>
                <a:off x="4351495" y="3551470"/>
                <a:ext cx="286085" cy="636395"/>
                <a:chOff x="50589" y="3098960"/>
                <a:chExt cx="550863" cy="1225389"/>
              </a:xfrm>
            </p:grpSpPr>
            <p:sp>
              <p:nvSpPr>
                <p:cNvPr id="205"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solidFill>
                  <a:schemeClr val="accent4">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06"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7" name="Group 56"/>
              <p:cNvGrpSpPr/>
              <p:nvPr/>
            </p:nvGrpSpPr>
            <p:grpSpPr>
              <a:xfrm>
                <a:off x="4912233" y="3769867"/>
                <a:ext cx="1634068" cy="417998"/>
                <a:chOff x="1130300" y="3522663"/>
                <a:chExt cx="3146425" cy="804862"/>
              </a:xfrm>
            </p:grpSpPr>
            <p:sp>
              <p:nvSpPr>
                <p:cNvPr id="208"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solidFill>
                  <a:srgbClr val="8DB54C"/>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09"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solidFill>
                  <a:srgbClr val="049FD9"/>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8" name="Group 55"/>
              <p:cNvGrpSpPr/>
              <p:nvPr/>
            </p:nvGrpSpPr>
            <p:grpSpPr>
              <a:xfrm>
                <a:off x="6493052" y="3787180"/>
                <a:ext cx="646636" cy="400684"/>
                <a:chOff x="4127500" y="2292350"/>
                <a:chExt cx="889000" cy="550863"/>
              </a:xfrm>
            </p:grpSpPr>
            <p:sp>
              <p:nvSpPr>
                <p:cNvPr id="211"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solidFill>
                  <a:srgbClr val="63656A"/>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2"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solidFill>
                  <a:srgbClr val="C6C7C9"/>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3"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solidFill>
                  <a:srgbClr val="9D9DA1"/>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4"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solidFill>
                  <a:srgbClr val="E8EBF0"/>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sp>
            <p:nvSpPr>
              <p:cNvPr id="215" name="Freeform 70"/>
              <p:cNvSpPr>
                <a:spLocks noEditPoints="1"/>
              </p:cNvSpPr>
              <p:nvPr/>
            </p:nvSpPr>
            <p:spPr bwMode="auto">
              <a:xfrm>
                <a:off x="7992084" y="3304916"/>
                <a:ext cx="251948" cy="882947"/>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solidFill>
                <a:schemeClr val="accent4">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9" name="Group 89"/>
              <p:cNvGrpSpPr/>
              <p:nvPr/>
            </p:nvGrpSpPr>
            <p:grpSpPr>
              <a:xfrm>
                <a:off x="7139689" y="3556518"/>
                <a:ext cx="878259" cy="631346"/>
                <a:chOff x="5820057" y="3111857"/>
                <a:chExt cx="1691103" cy="1215668"/>
              </a:xfrm>
            </p:grpSpPr>
            <p:grpSp>
              <p:nvGrpSpPr>
                <p:cNvPr id="10" name="Group 81"/>
                <p:cNvGrpSpPr/>
                <p:nvPr/>
              </p:nvGrpSpPr>
              <p:grpSpPr>
                <a:xfrm>
                  <a:off x="5850148" y="3367629"/>
                  <a:ext cx="1642959" cy="959896"/>
                  <a:chOff x="9172575" y="1344613"/>
                  <a:chExt cx="1733551" cy="1012825"/>
                </a:xfrm>
                <a:solidFill>
                  <a:schemeClr val="bg1"/>
                </a:solidFill>
              </p:grpSpPr>
              <p:sp>
                <p:nvSpPr>
                  <p:cNvPr id="219" name="Rectangle 218"/>
                  <p:cNvSpPr/>
                  <p:nvPr/>
                </p:nvSpPr>
                <p:spPr>
                  <a:xfrm>
                    <a:off x="9527381" y="1344613"/>
                    <a:ext cx="1226344" cy="32702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latin typeface="+mj-lt"/>
                    </a:endParaRPr>
                  </a:p>
                </p:txBody>
              </p:sp>
              <p:grpSp>
                <p:nvGrpSpPr>
                  <p:cNvPr id="11" name="Group 79"/>
                  <p:cNvGrpSpPr/>
                  <p:nvPr/>
                </p:nvGrpSpPr>
                <p:grpSpPr>
                  <a:xfrm>
                    <a:off x="9172575" y="1344613"/>
                    <a:ext cx="1733551" cy="1012825"/>
                    <a:chOff x="9172575" y="1344613"/>
                    <a:chExt cx="1733551" cy="1012825"/>
                  </a:xfrm>
                  <a:grpFill/>
                </p:grpSpPr>
                <p:sp>
                  <p:nvSpPr>
                    <p:cNvPr id="221"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2" name="Rectangle 221"/>
                    <p:cNvSpPr/>
                    <p:nvPr/>
                  </p:nvSpPr>
                  <p:spPr>
                    <a:xfrm>
                      <a:off x="9172575" y="1985963"/>
                      <a:ext cx="1454944" cy="37147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latin typeface="+mj-lt"/>
                      </a:endParaRPr>
                    </a:p>
                  </p:txBody>
                </p:sp>
              </p:grpSp>
            </p:grpSp>
            <p:sp>
              <p:nvSpPr>
                <p:cNvPr id="218"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12" name="Group 223"/>
              <p:cNvGrpSpPr/>
              <p:nvPr/>
            </p:nvGrpSpPr>
            <p:grpSpPr>
              <a:xfrm>
                <a:off x="8245399" y="3151870"/>
                <a:ext cx="373240" cy="1035678"/>
                <a:chOff x="7291388" y="2198688"/>
                <a:chExt cx="655637" cy="1819275"/>
              </a:xfrm>
            </p:grpSpPr>
            <p:sp>
              <p:nvSpPr>
                <p:cNvPr id="225"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solidFill>
                  <a:srgbClr val="14A792"/>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6"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solidFill>
                  <a:srgbClr val="22C6AA"/>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13" name="Group 301"/>
            <p:cNvGrpSpPr/>
            <p:nvPr/>
          </p:nvGrpSpPr>
          <p:grpSpPr>
            <a:xfrm>
              <a:off x="4351495" y="3151870"/>
              <a:ext cx="4267144" cy="1035995"/>
              <a:chOff x="4351495" y="3151870"/>
              <a:chExt cx="4267144" cy="1035995"/>
            </a:xfrm>
          </p:grpSpPr>
          <p:sp>
            <p:nvSpPr>
              <p:cNvPr id="303" name="Freeform 29"/>
              <p:cNvSpPr>
                <a:spLocks noEditPoints="1"/>
              </p:cNvSpPr>
              <p:nvPr/>
            </p:nvSpPr>
            <p:spPr bwMode="auto">
              <a:xfrm>
                <a:off x="4742807" y="3473039"/>
                <a:ext cx="208128" cy="71482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nvGrpSpPr>
              <p:cNvPr id="14" name="Group 28"/>
              <p:cNvGrpSpPr/>
              <p:nvPr/>
            </p:nvGrpSpPr>
            <p:grpSpPr>
              <a:xfrm>
                <a:off x="4611308" y="3779759"/>
                <a:ext cx="171727" cy="408106"/>
                <a:chOff x="1790700" y="2979738"/>
                <a:chExt cx="539750" cy="1282700"/>
              </a:xfrm>
            </p:grpSpPr>
            <p:sp>
              <p:nvSpPr>
                <p:cNvPr id="327" name="Rectangle 23"/>
                <p:cNvSpPr>
                  <a:spLocks noChangeArrowheads="1"/>
                </p:cNvSpPr>
                <p:nvPr/>
              </p:nvSpPr>
              <p:spPr bwMode="auto">
                <a:xfrm>
                  <a:off x="1790700" y="2986088"/>
                  <a:ext cx="525463" cy="1276350"/>
                </a:xfrm>
                <a:prstGeom prst="rect">
                  <a:avLst/>
                </a:pr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328"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grpSp>
            <p:nvGrpSpPr>
              <p:cNvPr id="15" name="Group 58"/>
              <p:cNvGrpSpPr/>
              <p:nvPr/>
            </p:nvGrpSpPr>
            <p:grpSpPr>
              <a:xfrm>
                <a:off x="4351495" y="3551470"/>
                <a:ext cx="286085" cy="636395"/>
                <a:chOff x="50589" y="3098960"/>
                <a:chExt cx="550863" cy="1225389"/>
              </a:xfrm>
            </p:grpSpPr>
            <p:sp>
              <p:nvSpPr>
                <p:cNvPr id="325"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326"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grpSp>
            <p:nvGrpSpPr>
              <p:cNvPr id="16" name="Group 56"/>
              <p:cNvGrpSpPr/>
              <p:nvPr/>
            </p:nvGrpSpPr>
            <p:grpSpPr>
              <a:xfrm>
                <a:off x="4912233" y="3769867"/>
                <a:ext cx="1634068" cy="417998"/>
                <a:chOff x="1130300" y="3522663"/>
                <a:chExt cx="3146425" cy="804862"/>
              </a:xfrm>
            </p:grpSpPr>
            <p:sp>
              <p:nvSpPr>
                <p:cNvPr id="323"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324"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grpSp>
            <p:nvGrpSpPr>
              <p:cNvPr id="17" name="Group 55"/>
              <p:cNvGrpSpPr/>
              <p:nvPr/>
            </p:nvGrpSpPr>
            <p:grpSpPr>
              <a:xfrm>
                <a:off x="6493052" y="3787180"/>
                <a:ext cx="646636" cy="400684"/>
                <a:chOff x="4127500" y="2292350"/>
                <a:chExt cx="889000" cy="550863"/>
              </a:xfrm>
            </p:grpSpPr>
            <p:sp>
              <p:nvSpPr>
                <p:cNvPr id="319"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320"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321"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322"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sp>
            <p:nvSpPr>
              <p:cNvPr id="308" name="Freeform 70"/>
              <p:cNvSpPr>
                <a:spLocks noEditPoints="1"/>
              </p:cNvSpPr>
              <p:nvPr/>
            </p:nvSpPr>
            <p:spPr bwMode="auto">
              <a:xfrm>
                <a:off x="7992084" y="3304916"/>
                <a:ext cx="251948" cy="882947"/>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nvGrpSpPr>
              <p:cNvPr id="18" name="Group 89"/>
              <p:cNvGrpSpPr/>
              <p:nvPr/>
            </p:nvGrpSpPr>
            <p:grpSpPr>
              <a:xfrm>
                <a:off x="7139689" y="3556518"/>
                <a:ext cx="878259" cy="631346"/>
                <a:chOff x="5820057" y="3111857"/>
                <a:chExt cx="1691103" cy="1215668"/>
              </a:xfrm>
            </p:grpSpPr>
            <p:grpSp>
              <p:nvGrpSpPr>
                <p:cNvPr id="19" name="Group 81"/>
                <p:cNvGrpSpPr/>
                <p:nvPr/>
              </p:nvGrpSpPr>
              <p:grpSpPr>
                <a:xfrm>
                  <a:off x="5850148" y="3367629"/>
                  <a:ext cx="1642959" cy="959896"/>
                  <a:chOff x="9172575" y="1344613"/>
                  <a:chExt cx="1733551" cy="1012825"/>
                </a:xfrm>
                <a:solidFill>
                  <a:schemeClr val="bg1"/>
                </a:solidFill>
              </p:grpSpPr>
              <p:sp>
                <p:nvSpPr>
                  <p:cNvPr id="315" name="Rectangle 314"/>
                  <p:cNvSpPr/>
                  <p:nvPr/>
                </p:nvSpPr>
                <p:spPr>
                  <a:xfrm>
                    <a:off x="9527381" y="1344613"/>
                    <a:ext cx="1226344" cy="327025"/>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spc="-30" dirty="0" smtClean="0">
                      <a:solidFill>
                        <a:schemeClr val="bg1"/>
                      </a:solidFill>
                      <a:latin typeface="+mj-lt"/>
                      <a:ea typeface="ＭＳ Ｐゴシック" pitchFamily="34" charset="-128"/>
                    </a:endParaRPr>
                  </a:p>
                </p:txBody>
              </p:sp>
              <p:grpSp>
                <p:nvGrpSpPr>
                  <p:cNvPr id="20" name="Group 79"/>
                  <p:cNvGrpSpPr/>
                  <p:nvPr/>
                </p:nvGrpSpPr>
                <p:grpSpPr>
                  <a:xfrm>
                    <a:off x="9172575" y="1344613"/>
                    <a:ext cx="1733551" cy="1012825"/>
                    <a:chOff x="9172575" y="1344613"/>
                    <a:chExt cx="1733551" cy="1012825"/>
                  </a:xfrm>
                  <a:grpFill/>
                </p:grpSpPr>
                <p:sp>
                  <p:nvSpPr>
                    <p:cNvPr id="317"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318" name="Rectangle 317"/>
                    <p:cNvSpPr/>
                    <p:nvPr/>
                  </p:nvSpPr>
                  <p:spPr>
                    <a:xfrm>
                      <a:off x="9172575" y="1985963"/>
                      <a:ext cx="1454944" cy="371475"/>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spc="-30" dirty="0" smtClean="0">
                        <a:solidFill>
                          <a:schemeClr val="bg1"/>
                        </a:solidFill>
                        <a:latin typeface="+mj-lt"/>
                        <a:ea typeface="ＭＳ Ｐゴシック" pitchFamily="34" charset="-128"/>
                      </a:endParaRPr>
                    </a:p>
                  </p:txBody>
                </p:sp>
              </p:grpSp>
            </p:grpSp>
            <p:sp>
              <p:nvSpPr>
                <p:cNvPr id="314"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grpSp>
            <p:nvGrpSpPr>
              <p:cNvPr id="21" name="Group 223"/>
              <p:cNvGrpSpPr/>
              <p:nvPr/>
            </p:nvGrpSpPr>
            <p:grpSpPr>
              <a:xfrm>
                <a:off x="8245399" y="3151870"/>
                <a:ext cx="373240" cy="1035678"/>
                <a:chOff x="7291388" y="2198688"/>
                <a:chExt cx="655637" cy="1819275"/>
              </a:xfrm>
            </p:grpSpPr>
            <p:sp>
              <p:nvSpPr>
                <p:cNvPr id="311"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dirty="0" smtClean="0">
                    <a:solidFill>
                      <a:schemeClr val="bg1"/>
                    </a:solidFill>
                    <a:latin typeface="+mj-lt"/>
                  </a:endParaRPr>
                </a:p>
              </p:txBody>
            </p:sp>
            <p:sp>
              <p:nvSpPr>
                <p:cNvPr id="312"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dirty="0" smtClean="0">
                    <a:solidFill>
                      <a:schemeClr val="bg1"/>
                    </a:solidFill>
                    <a:latin typeface="+mj-lt"/>
                  </a:endParaRPr>
                </a:p>
              </p:txBody>
            </p:sp>
          </p:grpSp>
        </p:grpSp>
        <p:sp>
          <p:nvSpPr>
            <p:cNvPr id="329" name="Rectangle 328"/>
            <p:cNvSpPr/>
            <p:nvPr/>
          </p:nvSpPr>
          <p:spPr>
            <a:xfrm>
              <a:off x="8568031" y="4128319"/>
              <a:ext cx="574774" cy="59546"/>
            </a:xfrm>
            <a:prstGeom prst="rect">
              <a:avLst/>
            </a:pr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dirty="0" smtClean="0">
                <a:solidFill>
                  <a:schemeClr val="bg1"/>
                </a:solidFill>
                <a:latin typeface="+mj-lt"/>
              </a:endParaRPr>
            </a:p>
          </p:txBody>
        </p:sp>
      </p:grpSp>
      <p:sp>
        <p:nvSpPr>
          <p:cNvPr id="2" name="Title 1"/>
          <p:cNvSpPr>
            <a:spLocks noGrp="1"/>
          </p:cNvSpPr>
          <p:nvPr>
            <p:ph type="title"/>
          </p:nvPr>
        </p:nvSpPr>
        <p:spPr/>
        <p:txBody>
          <a:bodyPr/>
          <a:lstStyle/>
          <a:p>
            <a:r>
              <a:rPr lang="en-US" smtClean="0"/>
              <a:t>Cisco Ultra Services Platform</a:t>
            </a:r>
            <a:endParaRPr lang="en-US" dirty="0"/>
          </a:p>
        </p:txBody>
      </p:sp>
      <p:sp>
        <p:nvSpPr>
          <p:cNvPr id="197" name="Rectangle 196"/>
          <p:cNvSpPr/>
          <p:nvPr/>
        </p:nvSpPr>
        <p:spPr>
          <a:xfrm>
            <a:off x="265429" y="1152009"/>
            <a:ext cx="4377676" cy="338554"/>
          </a:xfrm>
          <a:prstGeom prst="rect">
            <a:avLst/>
          </a:prstGeom>
          <a:solidFill>
            <a:schemeClr val="accent1"/>
          </a:solidFill>
        </p:spPr>
        <p:txBody>
          <a:bodyPr wrap="square">
            <a:spAutoFit/>
          </a:bodyPr>
          <a:lstStyle/>
          <a:p>
            <a:r>
              <a:rPr lang="en-US" sz="1600" dirty="0" smtClean="0">
                <a:solidFill>
                  <a:srgbClr val="FFFFFF"/>
                </a:solidFill>
                <a:latin typeface="+mj-lt"/>
              </a:rPr>
              <a:t>Multi-Access Cloud Scale Mobile Core for </a:t>
            </a:r>
            <a:r>
              <a:rPr lang="en-US" sz="1600" dirty="0" err="1" smtClean="0">
                <a:solidFill>
                  <a:srgbClr val="FFFFFF"/>
                </a:solidFill>
                <a:latin typeface="+mj-lt"/>
              </a:rPr>
              <a:t>IoT</a:t>
            </a:r>
            <a:endParaRPr lang="en-US" sz="1600" dirty="0">
              <a:solidFill>
                <a:srgbClr val="FFFFFF"/>
              </a:solidFill>
              <a:latin typeface="+mj-lt"/>
            </a:endParaRPr>
          </a:p>
        </p:txBody>
      </p:sp>
      <p:sp>
        <p:nvSpPr>
          <p:cNvPr id="265" name="Rectangle 264"/>
          <p:cNvSpPr/>
          <p:nvPr/>
        </p:nvSpPr>
        <p:spPr>
          <a:xfrm>
            <a:off x="3623624" y="4187717"/>
            <a:ext cx="5276536" cy="17914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68" name="Rectangle 11"/>
          <p:cNvSpPr>
            <a:spLocks noChangeArrowheads="1"/>
          </p:cNvSpPr>
          <p:nvPr/>
        </p:nvSpPr>
        <p:spPr bwMode="auto">
          <a:xfrm>
            <a:off x="172665" y="4187035"/>
            <a:ext cx="8878571" cy="546711"/>
          </a:xfrm>
          <a:prstGeom prst="rect">
            <a:avLst/>
          </a:prstGeom>
          <a:solidFill>
            <a:schemeClr val="accent1"/>
          </a:solidFill>
          <a:ln w="9525">
            <a:noFill/>
            <a:miter lim="800000"/>
            <a:headEnd/>
            <a:tailEnd/>
          </a:ln>
        </p:spPr>
        <p:txBody>
          <a:bodyPr vert="horz" wrap="square" lIns="274320" tIns="0" rIns="91440" bIns="0" numCol="1" anchor="ctr" anchorCtr="0" compatLnSpc="1">
            <a:prstTxWarp prst="textNoShape">
              <a:avLst/>
            </a:prstTxWarp>
          </a:bodyPr>
          <a:lstStyle/>
          <a:p>
            <a:pPr>
              <a:spcBef>
                <a:spcPts val="600"/>
              </a:spcBef>
            </a:pPr>
            <a:r>
              <a:rPr lang="en-US" sz="1400" dirty="0" smtClean="0">
                <a:solidFill>
                  <a:srgbClr val="FFFFFF"/>
                </a:solidFill>
                <a:latin typeface="+mj-lt"/>
              </a:rPr>
              <a:t>Virtualized network core resources can be automatically provisioned and optimized to meet widely varying requirements of </a:t>
            </a:r>
            <a:r>
              <a:rPr lang="en-US" sz="1400" dirty="0" err="1" smtClean="0">
                <a:solidFill>
                  <a:srgbClr val="FFFFFF"/>
                </a:solidFill>
                <a:latin typeface="+mj-lt"/>
              </a:rPr>
              <a:t>IoT</a:t>
            </a:r>
            <a:r>
              <a:rPr lang="en-US" sz="1400" dirty="0" smtClean="0">
                <a:solidFill>
                  <a:srgbClr val="FFFFFF"/>
                </a:solidFill>
                <a:latin typeface="+mj-lt"/>
              </a:rPr>
              <a:t> applications for bandwidth, speed, latency</a:t>
            </a:r>
            <a:endParaRPr lang="en-US" sz="1400" dirty="0">
              <a:solidFill>
                <a:srgbClr val="FFFFFF"/>
              </a:solidFill>
              <a:latin typeface="+mj-lt"/>
            </a:endParaRPr>
          </a:p>
        </p:txBody>
      </p:sp>
      <p:sp>
        <p:nvSpPr>
          <p:cNvPr id="332" name="Oval 2"/>
          <p:cNvSpPr/>
          <p:nvPr/>
        </p:nvSpPr>
        <p:spPr>
          <a:xfrm>
            <a:off x="4237864" y="3707334"/>
            <a:ext cx="951835" cy="480530"/>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3" name="Oval 2"/>
          <p:cNvSpPr/>
          <p:nvPr/>
        </p:nvSpPr>
        <p:spPr>
          <a:xfrm>
            <a:off x="5601117" y="2817490"/>
            <a:ext cx="3156579" cy="1370374"/>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4" name="Oval 2"/>
          <p:cNvSpPr/>
          <p:nvPr/>
        </p:nvSpPr>
        <p:spPr>
          <a:xfrm>
            <a:off x="4726232" y="3356765"/>
            <a:ext cx="1646243" cy="831099"/>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5" name="Oval 2"/>
          <p:cNvSpPr/>
          <p:nvPr/>
        </p:nvSpPr>
        <p:spPr>
          <a:xfrm>
            <a:off x="7497123" y="3750631"/>
            <a:ext cx="866072" cy="437233"/>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6" name="Oval 2"/>
          <p:cNvSpPr/>
          <p:nvPr/>
        </p:nvSpPr>
        <p:spPr>
          <a:xfrm>
            <a:off x="8370996" y="3840534"/>
            <a:ext cx="687990" cy="347329"/>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5" name="Group 359"/>
          <p:cNvGrpSpPr/>
          <p:nvPr/>
        </p:nvGrpSpPr>
        <p:grpSpPr>
          <a:xfrm>
            <a:off x="6316177" y="3458023"/>
            <a:ext cx="292608" cy="292608"/>
            <a:chOff x="6309991" y="3586785"/>
            <a:chExt cx="292608" cy="292608"/>
          </a:xfrm>
        </p:grpSpPr>
        <p:sp>
          <p:nvSpPr>
            <p:cNvPr id="358" name="Oval 357"/>
            <p:cNvSpPr/>
            <p:nvPr/>
          </p:nvSpPr>
          <p:spPr>
            <a:xfrm>
              <a:off x="6309991" y="3586785"/>
              <a:ext cx="292608" cy="292608"/>
            </a:xfrm>
            <a:prstGeom prst="ellipse">
              <a:avLst/>
            </a:prstGeom>
            <a:solidFill>
              <a:schemeClr val="bg2">
                <a:lumMod val="75000"/>
              </a:schemeClr>
            </a:solidFill>
            <a:ln w="952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7350" name="Freeform 6"/>
            <p:cNvSpPr>
              <a:spLocks noEditPoints="1"/>
            </p:cNvSpPr>
            <p:nvPr/>
          </p:nvSpPr>
          <p:spPr bwMode="auto">
            <a:xfrm>
              <a:off x="6346601" y="3649137"/>
              <a:ext cx="196761" cy="150586"/>
            </a:xfrm>
            <a:custGeom>
              <a:avLst/>
              <a:gdLst/>
              <a:ahLst/>
              <a:cxnLst>
                <a:cxn ang="0">
                  <a:pos x="1949" y="744"/>
                </a:cxn>
                <a:cxn ang="0">
                  <a:pos x="1846" y="1024"/>
                </a:cxn>
                <a:cxn ang="0">
                  <a:pos x="1232" y="956"/>
                </a:cxn>
                <a:cxn ang="0">
                  <a:pos x="1090" y="834"/>
                </a:cxn>
                <a:cxn ang="0">
                  <a:pos x="1488" y="389"/>
                </a:cxn>
                <a:cxn ang="0">
                  <a:pos x="1300" y="194"/>
                </a:cxn>
                <a:cxn ang="0">
                  <a:pos x="1119" y="10"/>
                </a:cxn>
                <a:cxn ang="0">
                  <a:pos x="1071" y="10"/>
                </a:cxn>
                <a:cxn ang="0">
                  <a:pos x="88" y="983"/>
                </a:cxn>
                <a:cxn ang="0">
                  <a:pos x="122" y="1031"/>
                </a:cxn>
                <a:cxn ang="0">
                  <a:pos x="44" y="1123"/>
                </a:cxn>
                <a:cxn ang="0">
                  <a:pos x="80" y="1172"/>
                </a:cxn>
                <a:cxn ang="0">
                  <a:pos x="13" y="1287"/>
                </a:cxn>
                <a:cxn ang="0">
                  <a:pos x="232" y="1492"/>
                </a:cxn>
                <a:cxn ang="0">
                  <a:pos x="320" y="1413"/>
                </a:cxn>
                <a:cxn ang="0">
                  <a:pos x="368" y="1447"/>
                </a:cxn>
                <a:cxn ang="0">
                  <a:pos x="460" y="1369"/>
                </a:cxn>
                <a:cxn ang="0">
                  <a:pos x="508" y="1403"/>
                </a:cxn>
                <a:cxn ang="0">
                  <a:pos x="899" y="1026"/>
                </a:cxn>
                <a:cxn ang="0">
                  <a:pos x="1027" y="1160"/>
                </a:cxn>
                <a:cxn ang="0">
                  <a:pos x="1384" y="1297"/>
                </a:cxn>
                <a:cxn ang="0">
                  <a:pos x="1846" y="1468"/>
                </a:cxn>
                <a:cxn ang="0">
                  <a:pos x="2017" y="1570"/>
                </a:cxn>
                <a:cxn ang="0">
                  <a:pos x="2051" y="778"/>
                </a:cxn>
                <a:cxn ang="0">
                  <a:pos x="228" y="1406"/>
                </a:cxn>
                <a:cxn ang="0">
                  <a:pos x="129" y="1222"/>
                </a:cxn>
                <a:cxn ang="0">
                  <a:pos x="228" y="1406"/>
                </a:cxn>
                <a:cxn ang="0">
                  <a:pos x="249" y="1244"/>
                </a:cxn>
                <a:cxn ang="0">
                  <a:pos x="150" y="1144"/>
                </a:cxn>
                <a:cxn ang="0">
                  <a:pos x="170" y="1079"/>
                </a:cxn>
                <a:cxn ang="0">
                  <a:pos x="368" y="1365"/>
                </a:cxn>
                <a:cxn ang="0">
                  <a:pos x="484" y="1297"/>
                </a:cxn>
                <a:cxn ang="0">
                  <a:pos x="170" y="983"/>
                </a:cxn>
                <a:cxn ang="0">
                  <a:pos x="1228" y="219"/>
                </a:cxn>
                <a:cxn ang="0">
                  <a:pos x="1153" y="341"/>
                </a:cxn>
                <a:cxn ang="0">
                  <a:pos x="1201" y="341"/>
                </a:cxn>
                <a:cxn ang="0">
                  <a:pos x="1322" y="316"/>
                </a:cxn>
                <a:cxn ang="0">
                  <a:pos x="1201" y="485"/>
                </a:cxn>
                <a:cxn ang="0">
                  <a:pos x="1249" y="485"/>
                </a:cxn>
                <a:cxn ang="0">
                  <a:pos x="1416" y="413"/>
                </a:cxn>
                <a:cxn ang="0">
                  <a:pos x="1045" y="1076"/>
                </a:cxn>
                <a:cxn ang="0">
                  <a:pos x="1044" y="884"/>
                </a:cxn>
                <a:cxn ang="0">
                  <a:pos x="1045" y="1076"/>
                </a:cxn>
                <a:cxn ang="0">
                  <a:pos x="1368" y="1167"/>
                </a:cxn>
                <a:cxn ang="0">
                  <a:pos x="1368" y="1173"/>
                </a:cxn>
                <a:cxn ang="0">
                  <a:pos x="1367" y="1179"/>
                </a:cxn>
                <a:cxn ang="0">
                  <a:pos x="1366" y="1184"/>
                </a:cxn>
                <a:cxn ang="0">
                  <a:pos x="1232" y="1297"/>
                </a:cxn>
                <a:cxn ang="0">
                  <a:pos x="1175" y="1036"/>
                </a:cxn>
                <a:cxn ang="0">
                  <a:pos x="1210" y="1026"/>
                </a:cxn>
                <a:cxn ang="0">
                  <a:pos x="1345" y="1084"/>
                </a:cxn>
                <a:cxn ang="0">
                  <a:pos x="1367" y="1139"/>
                </a:cxn>
                <a:cxn ang="0">
                  <a:pos x="1367" y="1145"/>
                </a:cxn>
                <a:cxn ang="0">
                  <a:pos x="1368" y="1152"/>
                </a:cxn>
                <a:cxn ang="0">
                  <a:pos x="1368" y="1160"/>
                </a:cxn>
                <a:cxn ang="0">
                  <a:pos x="1846" y="1229"/>
                </a:cxn>
                <a:cxn ang="0">
                  <a:pos x="1440" y="1160"/>
                </a:cxn>
                <a:cxn ang="0">
                  <a:pos x="1846" y="1092"/>
                </a:cxn>
                <a:cxn ang="0">
                  <a:pos x="1983" y="1502"/>
                </a:cxn>
                <a:cxn ang="0">
                  <a:pos x="1914" y="1468"/>
                </a:cxn>
                <a:cxn ang="0">
                  <a:pos x="1949" y="812"/>
                </a:cxn>
                <a:cxn ang="0">
                  <a:pos x="1983" y="1502"/>
                </a:cxn>
              </a:cxnLst>
              <a:rect l="0" t="0" r="r" b="b"/>
              <a:pathLst>
                <a:path w="2051" h="1570">
                  <a:moveTo>
                    <a:pt x="2017" y="744"/>
                  </a:moveTo>
                  <a:cubicBezTo>
                    <a:pt x="1949" y="744"/>
                    <a:pt x="1949" y="744"/>
                    <a:pt x="1949" y="744"/>
                  </a:cubicBezTo>
                  <a:cubicBezTo>
                    <a:pt x="1891" y="744"/>
                    <a:pt x="1846" y="788"/>
                    <a:pt x="1846" y="846"/>
                  </a:cubicBezTo>
                  <a:cubicBezTo>
                    <a:pt x="1846" y="1024"/>
                    <a:pt x="1846" y="1024"/>
                    <a:pt x="1846" y="1024"/>
                  </a:cubicBezTo>
                  <a:cubicBezTo>
                    <a:pt x="1384" y="1024"/>
                    <a:pt x="1384" y="1024"/>
                    <a:pt x="1384" y="1024"/>
                  </a:cubicBezTo>
                  <a:cubicBezTo>
                    <a:pt x="1347" y="982"/>
                    <a:pt x="1292" y="956"/>
                    <a:pt x="1232" y="956"/>
                  </a:cubicBezTo>
                  <a:cubicBezTo>
                    <a:pt x="1225" y="956"/>
                    <a:pt x="1219" y="956"/>
                    <a:pt x="1212" y="957"/>
                  </a:cubicBezTo>
                  <a:cubicBezTo>
                    <a:pt x="1090" y="834"/>
                    <a:pt x="1090" y="834"/>
                    <a:pt x="1090" y="834"/>
                  </a:cubicBezTo>
                  <a:cubicBezTo>
                    <a:pt x="1488" y="437"/>
                    <a:pt x="1488" y="437"/>
                    <a:pt x="1488" y="437"/>
                  </a:cubicBezTo>
                  <a:cubicBezTo>
                    <a:pt x="1501" y="423"/>
                    <a:pt x="1501" y="403"/>
                    <a:pt x="1488" y="389"/>
                  </a:cubicBezTo>
                  <a:cubicBezTo>
                    <a:pt x="1306" y="202"/>
                    <a:pt x="1306" y="202"/>
                    <a:pt x="1306" y="202"/>
                  </a:cubicBezTo>
                  <a:cubicBezTo>
                    <a:pt x="1304" y="199"/>
                    <a:pt x="1302" y="197"/>
                    <a:pt x="1300" y="194"/>
                  </a:cubicBezTo>
                  <a:cubicBezTo>
                    <a:pt x="1298" y="192"/>
                    <a:pt x="1296" y="191"/>
                    <a:pt x="1293" y="189"/>
                  </a:cubicBezTo>
                  <a:cubicBezTo>
                    <a:pt x="1119" y="10"/>
                    <a:pt x="1119" y="10"/>
                    <a:pt x="1119" y="10"/>
                  </a:cubicBezTo>
                  <a:cubicBezTo>
                    <a:pt x="1112" y="3"/>
                    <a:pt x="1106" y="0"/>
                    <a:pt x="1095" y="0"/>
                  </a:cubicBezTo>
                  <a:cubicBezTo>
                    <a:pt x="1085" y="0"/>
                    <a:pt x="1078" y="3"/>
                    <a:pt x="1071" y="10"/>
                  </a:cubicBezTo>
                  <a:cubicBezTo>
                    <a:pt x="99" y="959"/>
                    <a:pt x="99" y="959"/>
                    <a:pt x="99" y="959"/>
                  </a:cubicBezTo>
                  <a:cubicBezTo>
                    <a:pt x="92" y="966"/>
                    <a:pt x="88" y="973"/>
                    <a:pt x="88" y="983"/>
                  </a:cubicBezTo>
                  <a:cubicBezTo>
                    <a:pt x="88" y="993"/>
                    <a:pt x="92" y="1000"/>
                    <a:pt x="99" y="1007"/>
                  </a:cubicBezTo>
                  <a:cubicBezTo>
                    <a:pt x="122" y="1031"/>
                    <a:pt x="122" y="1031"/>
                    <a:pt x="122" y="1031"/>
                  </a:cubicBezTo>
                  <a:cubicBezTo>
                    <a:pt x="54" y="1099"/>
                    <a:pt x="54" y="1099"/>
                    <a:pt x="54" y="1099"/>
                  </a:cubicBezTo>
                  <a:cubicBezTo>
                    <a:pt x="47" y="1106"/>
                    <a:pt x="44" y="1113"/>
                    <a:pt x="44" y="1123"/>
                  </a:cubicBezTo>
                  <a:cubicBezTo>
                    <a:pt x="44" y="1133"/>
                    <a:pt x="47" y="1140"/>
                    <a:pt x="54" y="1147"/>
                  </a:cubicBezTo>
                  <a:cubicBezTo>
                    <a:pt x="80" y="1172"/>
                    <a:pt x="80" y="1172"/>
                    <a:pt x="80" y="1172"/>
                  </a:cubicBezTo>
                  <a:cubicBezTo>
                    <a:pt x="13" y="1239"/>
                    <a:pt x="13" y="1239"/>
                    <a:pt x="13" y="1239"/>
                  </a:cubicBezTo>
                  <a:cubicBezTo>
                    <a:pt x="0" y="1253"/>
                    <a:pt x="0" y="1273"/>
                    <a:pt x="13" y="1287"/>
                  </a:cubicBezTo>
                  <a:cubicBezTo>
                    <a:pt x="208" y="1481"/>
                    <a:pt x="208" y="1481"/>
                    <a:pt x="208" y="1481"/>
                  </a:cubicBezTo>
                  <a:cubicBezTo>
                    <a:pt x="215" y="1488"/>
                    <a:pt x="221" y="1492"/>
                    <a:pt x="232" y="1492"/>
                  </a:cubicBezTo>
                  <a:cubicBezTo>
                    <a:pt x="239" y="1492"/>
                    <a:pt x="249" y="1488"/>
                    <a:pt x="252" y="1481"/>
                  </a:cubicBezTo>
                  <a:cubicBezTo>
                    <a:pt x="320" y="1413"/>
                    <a:pt x="320" y="1413"/>
                    <a:pt x="320" y="1413"/>
                  </a:cubicBezTo>
                  <a:cubicBezTo>
                    <a:pt x="344" y="1437"/>
                    <a:pt x="344" y="1437"/>
                    <a:pt x="344" y="1437"/>
                  </a:cubicBezTo>
                  <a:cubicBezTo>
                    <a:pt x="351" y="1444"/>
                    <a:pt x="358" y="1447"/>
                    <a:pt x="368" y="1447"/>
                  </a:cubicBezTo>
                  <a:cubicBezTo>
                    <a:pt x="378" y="1447"/>
                    <a:pt x="389" y="1444"/>
                    <a:pt x="392" y="1437"/>
                  </a:cubicBezTo>
                  <a:cubicBezTo>
                    <a:pt x="460" y="1369"/>
                    <a:pt x="460" y="1369"/>
                    <a:pt x="460" y="1369"/>
                  </a:cubicBezTo>
                  <a:cubicBezTo>
                    <a:pt x="484" y="1393"/>
                    <a:pt x="484" y="1393"/>
                    <a:pt x="484" y="1393"/>
                  </a:cubicBezTo>
                  <a:cubicBezTo>
                    <a:pt x="491" y="1399"/>
                    <a:pt x="498" y="1403"/>
                    <a:pt x="508" y="1403"/>
                  </a:cubicBezTo>
                  <a:cubicBezTo>
                    <a:pt x="518" y="1403"/>
                    <a:pt x="525" y="1399"/>
                    <a:pt x="532" y="1393"/>
                  </a:cubicBezTo>
                  <a:cubicBezTo>
                    <a:pt x="899" y="1026"/>
                    <a:pt x="899" y="1026"/>
                    <a:pt x="899" y="1026"/>
                  </a:cubicBezTo>
                  <a:cubicBezTo>
                    <a:pt x="1027" y="1154"/>
                    <a:pt x="1027" y="1154"/>
                    <a:pt x="1027" y="1154"/>
                  </a:cubicBezTo>
                  <a:cubicBezTo>
                    <a:pt x="1027" y="1156"/>
                    <a:pt x="1027" y="1158"/>
                    <a:pt x="1027" y="1160"/>
                  </a:cubicBezTo>
                  <a:cubicBezTo>
                    <a:pt x="1027" y="1273"/>
                    <a:pt x="1119" y="1365"/>
                    <a:pt x="1232" y="1365"/>
                  </a:cubicBezTo>
                  <a:cubicBezTo>
                    <a:pt x="1292" y="1365"/>
                    <a:pt x="1347" y="1339"/>
                    <a:pt x="1384" y="1297"/>
                  </a:cubicBezTo>
                  <a:cubicBezTo>
                    <a:pt x="1846" y="1297"/>
                    <a:pt x="1846" y="1297"/>
                    <a:pt x="1846" y="1297"/>
                  </a:cubicBezTo>
                  <a:cubicBezTo>
                    <a:pt x="1846" y="1468"/>
                    <a:pt x="1846" y="1468"/>
                    <a:pt x="1846" y="1468"/>
                  </a:cubicBezTo>
                  <a:cubicBezTo>
                    <a:pt x="1846" y="1526"/>
                    <a:pt x="1891" y="1570"/>
                    <a:pt x="1949" y="1570"/>
                  </a:cubicBezTo>
                  <a:cubicBezTo>
                    <a:pt x="2017" y="1570"/>
                    <a:pt x="2017" y="1570"/>
                    <a:pt x="2017" y="1570"/>
                  </a:cubicBezTo>
                  <a:cubicBezTo>
                    <a:pt x="2037" y="1570"/>
                    <a:pt x="2051" y="1556"/>
                    <a:pt x="2051" y="1536"/>
                  </a:cubicBezTo>
                  <a:cubicBezTo>
                    <a:pt x="2051" y="778"/>
                    <a:pt x="2051" y="778"/>
                    <a:pt x="2051" y="778"/>
                  </a:cubicBezTo>
                  <a:cubicBezTo>
                    <a:pt x="2051" y="758"/>
                    <a:pt x="2037" y="744"/>
                    <a:pt x="2017" y="744"/>
                  </a:cubicBezTo>
                  <a:close/>
                  <a:moveTo>
                    <a:pt x="228" y="1406"/>
                  </a:moveTo>
                  <a:cubicBezTo>
                    <a:pt x="85" y="1263"/>
                    <a:pt x="85" y="1263"/>
                    <a:pt x="85" y="1263"/>
                  </a:cubicBezTo>
                  <a:cubicBezTo>
                    <a:pt x="129" y="1222"/>
                    <a:pt x="129" y="1222"/>
                    <a:pt x="129" y="1222"/>
                  </a:cubicBezTo>
                  <a:cubicBezTo>
                    <a:pt x="273" y="1365"/>
                    <a:pt x="273" y="1365"/>
                    <a:pt x="273" y="1365"/>
                  </a:cubicBezTo>
                  <a:lnTo>
                    <a:pt x="228" y="1406"/>
                  </a:lnTo>
                  <a:close/>
                  <a:moveTo>
                    <a:pt x="368" y="1365"/>
                  </a:moveTo>
                  <a:cubicBezTo>
                    <a:pt x="249" y="1244"/>
                    <a:pt x="249" y="1244"/>
                    <a:pt x="249" y="1244"/>
                  </a:cubicBezTo>
                  <a:cubicBezTo>
                    <a:pt x="153" y="1147"/>
                    <a:pt x="153" y="1147"/>
                    <a:pt x="153" y="1147"/>
                  </a:cubicBezTo>
                  <a:cubicBezTo>
                    <a:pt x="152" y="1146"/>
                    <a:pt x="151" y="1145"/>
                    <a:pt x="150" y="1144"/>
                  </a:cubicBezTo>
                  <a:cubicBezTo>
                    <a:pt x="129" y="1123"/>
                    <a:pt x="129" y="1123"/>
                    <a:pt x="129" y="1123"/>
                  </a:cubicBezTo>
                  <a:cubicBezTo>
                    <a:pt x="170" y="1079"/>
                    <a:pt x="170" y="1079"/>
                    <a:pt x="170" y="1079"/>
                  </a:cubicBezTo>
                  <a:cubicBezTo>
                    <a:pt x="413" y="1321"/>
                    <a:pt x="413" y="1321"/>
                    <a:pt x="413" y="1321"/>
                  </a:cubicBezTo>
                  <a:lnTo>
                    <a:pt x="368" y="1365"/>
                  </a:lnTo>
                  <a:close/>
                  <a:moveTo>
                    <a:pt x="508" y="1321"/>
                  </a:moveTo>
                  <a:cubicBezTo>
                    <a:pt x="484" y="1297"/>
                    <a:pt x="484" y="1297"/>
                    <a:pt x="484" y="1297"/>
                  </a:cubicBezTo>
                  <a:cubicBezTo>
                    <a:pt x="194" y="1007"/>
                    <a:pt x="194" y="1007"/>
                    <a:pt x="194" y="1007"/>
                  </a:cubicBezTo>
                  <a:cubicBezTo>
                    <a:pt x="170" y="983"/>
                    <a:pt x="170" y="983"/>
                    <a:pt x="170" y="983"/>
                  </a:cubicBezTo>
                  <a:cubicBezTo>
                    <a:pt x="1095" y="82"/>
                    <a:pt x="1095" y="82"/>
                    <a:pt x="1095" y="82"/>
                  </a:cubicBezTo>
                  <a:cubicBezTo>
                    <a:pt x="1228" y="219"/>
                    <a:pt x="1228" y="219"/>
                    <a:pt x="1228" y="219"/>
                  </a:cubicBezTo>
                  <a:cubicBezTo>
                    <a:pt x="1153" y="293"/>
                    <a:pt x="1153" y="293"/>
                    <a:pt x="1153" y="293"/>
                  </a:cubicBezTo>
                  <a:cubicBezTo>
                    <a:pt x="1140" y="307"/>
                    <a:pt x="1140" y="328"/>
                    <a:pt x="1153" y="341"/>
                  </a:cubicBezTo>
                  <a:cubicBezTo>
                    <a:pt x="1160" y="348"/>
                    <a:pt x="1167" y="352"/>
                    <a:pt x="1177" y="352"/>
                  </a:cubicBezTo>
                  <a:cubicBezTo>
                    <a:pt x="1184" y="352"/>
                    <a:pt x="1194" y="348"/>
                    <a:pt x="1201" y="341"/>
                  </a:cubicBezTo>
                  <a:cubicBezTo>
                    <a:pt x="1275" y="267"/>
                    <a:pt x="1275" y="267"/>
                    <a:pt x="1275" y="267"/>
                  </a:cubicBezTo>
                  <a:cubicBezTo>
                    <a:pt x="1322" y="316"/>
                    <a:pt x="1322" y="316"/>
                    <a:pt x="1322" y="316"/>
                  </a:cubicBezTo>
                  <a:cubicBezTo>
                    <a:pt x="1201" y="437"/>
                    <a:pt x="1201" y="437"/>
                    <a:pt x="1201" y="437"/>
                  </a:cubicBezTo>
                  <a:cubicBezTo>
                    <a:pt x="1187" y="450"/>
                    <a:pt x="1187" y="471"/>
                    <a:pt x="1201" y="485"/>
                  </a:cubicBezTo>
                  <a:cubicBezTo>
                    <a:pt x="1208" y="491"/>
                    <a:pt x="1215" y="495"/>
                    <a:pt x="1225" y="495"/>
                  </a:cubicBezTo>
                  <a:cubicBezTo>
                    <a:pt x="1232" y="495"/>
                    <a:pt x="1242" y="491"/>
                    <a:pt x="1249" y="485"/>
                  </a:cubicBezTo>
                  <a:cubicBezTo>
                    <a:pt x="1369" y="364"/>
                    <a:pt x="1369" y="364"/>
                    <a:pt x="1369" y="364"/>
                  </a:cubicBezTo>
                  <a:cubicBezTo>
                    <a:pt x="1416" y="413"/>
                    <a:pt x="1416" y="413"/>
                    <a:pt x="1416" y="413"/>
                  </a:cubicBezTo>
                  <a:lnTo>
                    <a:pt x="508" y="1321"/>
                  </a:lnTo>
                  <a:close/>
                  <a:moveTo>
                    <a:pt x="1045" y="1076"/>
                  </a:moveTo>
                  <a:cubicBezTo>
                    <a:pt x="948" y="980"/>
                    <a:pt x="948" y="980"/>
                    <a:pt x="948" y="980"/>
                  </a:cubicBezTo>
                  <a:cubicBezTo>
                    <a:pt x="1044" y="884"/>
                    <a:pt x="1044" y="884"/>
                    <a:pt x="1044" y="884"/>
                  </a:cubicBezTo>
                  <a:cubicBezTo>
                    <a:pt x="1138" y="978"/>
                    <a:pt x="1138" y="978"/>
                    <a:pt x="1138" y="978"/>
                  </a:cubicBezTo>
                  <a:cubicBezTo>
                    <a:pt x="1097" y="1000"/>
                    <a:pt x="1064" y="1034"/>
                    <a:pt x="1045" y="1076"/>
                  </a:cubicBezTo>
                  <a:close/>
                  <a:moveTo>
                    <a:pt x="1368" y="1161"/>
                  </a:moveTo>
                  <a:cubicBezTo>
                    <a:pt x="1368" y="1163"/>
                    <a:pt x="1368" y="1165"/>
                    <a:pt x="1368" y="1167"/>
                  </a:cubicBezTo>
                  <a:cubicBezTo>
                    <a:pt x="1368" y="1168"/>
                    <a:pt x="1368" y="1168"/>
                    <a:pt x="1368" y="1169"/>
                  </a:cubicBezTo>
                  <a:cubicBezTo>
                    <a:pt x="1368" y="1170"/>
                    <a:pt x="1368" y="1172"/>
                    <a:pt x="1368" y="1173"/>
                  </a:cubicBezTo>
                  <a:cubicBezTo>
                    <a:pt x="1368" y="1174"/>
                    <a:pt x="1368" y="1175"/>
                    <a:pt x="1367" y="1176"/>
                  </a:cubicBezTo>
                  <a:cubicBezTo>
                    <a:pt x="1367" y="1177"/>
                    <a:pt x="1367" y="1178"/>
                    <a:pt x="1367" y="1179"/>
                  </a:cubicBezTo>
                  <a:cubicBezTo>
                    <a:pt x="1367" y="1180"/>
                    <a:pt x="1367" y="1181"/>
                    <a:pt x="1367" y="1182"/>
                  </a:cubicBezTo>
                  <a:cubicBezTo>
                    <a:pt x="1366" y="1183"/>
                    <a:pt x="1366" y="1184"/>
                    <a:pt x="1366" y="1184"/>
                  </a:cubicBezTo>
                  <a:cubicBezTo>
                    <a:pt x="1363" y="1203"/>
                    <a:pt x="1355" y="1221"/>
                    <a:pt x="1345" y="1237"/>
                  </a:cubicBezTo>
                  <a:cubicBezTo>
                    <a:pt x="1320" y="1273"/>
                    <a:pt x="1279" y="1297"/>
                    <a:pt x="1232" y="1297"/>
                  </a:cubicBezTo>
                  <a:cubicBezTo>
                    <a:pt x="1157" y="1297"/>
                    <a:pt x="1095" y="1236"/>
                    <a:pt x="1095" y="1160"/>
                  </a:cubicBezTo>
                  <a:cubicBezTo>
                    <a:pt x="1095" y="1105"/>
                    <a:pt x="1128" y="1058"/>
                    <a:pt x="1175" y="1036"/>
                  </a:cubicBezTo>
                  <a:cubicBezTo>
                    <a:pt x="1185" y="1032"/>
                    <a:pt x="1194" y="1029"/>
                    <a:pt x="1204" y="1027"/>
                  </a:cubicBezTo>
                  <a:cubicBezTo>
                    <a:pt x="1206" y="1027"/>
                    <a:pt x="1208" y="1026"/>
                    <a:pt x="1210" y="1026"/>
                  </a:cubicBezTo>
                  <a:cubicBezTo>
                    <a:pt x="1217" y="1025"/>
                    <a:pt x="1224" y="1024"/>
                    <a:pt x="1232" y="1024"/>
                  </a:cubicBezTo>
                  <a:cubicBezTo>
                    <a:pt x="1279" y="1024"/>
                    <a:pt x="1320" y="1048"/>
                    <a:pt x="1345" y="1084"/>
                  </a:cubicBezTo>
                  <a:cubicBezTo>
                    <a:pt x="1355" y="1100"/>
                    <a:pt x="1363" y="1118"/>
                    <a:pt x="1366" y="1137"/>
                  </a:cubicBezTo>
                  <a:cubicBezTo>
                    <a:pt x="1366" y="1137"/>
                    <a:pt x="1366" y="1138"/>
                    <a:pt x="1367" y="1139"/>
                  </a:cubicBezTo>
                  <a:cubicBezTo>
                    <a:pt x="1367" y="1140"/>
                    <a:pt x="1367" y="1141"/>
                    <a:pt x="1367" y="1142"/>
                  </a:cubicBezTo>
                  <a:cubicBezTo>
                    <a:pt x="1367" y="1143"/>
                    <a:pt x="1367" y="1144"/>
                    <a:pt x="1367" y="1145"/>
                  </a:cubicBezTo>
                  <a:cubicBezTo>
                    <a:pt x="1368" y="1146"/>
                    <a:pt x="1368" y="1147"/>
                    <a:pt x="1368" y="1148"/>
                  </a:cubicBezTo>
                  <a:cubicBezTo>
                    <a:pt x="1368" y="1149"/>
                    <a:pt x="1368" y="1151"/>
                    <a:pt x="1368" y="1152"/>
                  </a:cubicBezTo>
                  <a:cubicBezTo>
                    <a:pt x="1368" y="1153"/>
                    <a:pt x="1368" y="1153"/>
                    <a:pt x="1368" y="1154"/>
                  </a:cubicBezTo>
                  <a:cubicBezTo>
                    <a:pt x="1368" y="1156"/>
                    <a:pt x="1368" y="1158"/>
                    <a:pt x="1368" y="1160"/>
                  </a:cubicBezTo>
                  <a:lnTo>
                    <a:pt x="1368" y="1161"/>
                  </a:lnTo>
                  <a:close/>
                  <a:moveTo>
                    <a:pt x="1846" y="1229"/>
                  </a:moveTo>
                  <a:cubicBezTo>
                    <a:pt x="1426" y="1229"/>
                    <a:pt x="1426" y="1229"/>
                    <a:pt x="1426" y="1229"/>
                  </a:cubicBezTo>
                  <a:cubicBezTo>
                    <a:pt x="1433" y="1208"/>
                    <a:pt x="1440" y="1184"/>
                    <a:pt x="1440" y="1160"/>
                  </a:cubicBezTo>
                  <a:cubicBezTo>
                    <a:pt x="1440" y="1137"/>
                    <a:pt x="1433" y="1113"/>
                    <a:pt x="1426" y="1092"/>
                  </a:cubicBezTo>
                  <a:cubicBezTo>
                    <a:pt x="1846" y="1092"/>
                    <a:pt x="1846" y="1092"/>
                    <a:pt x="1846" y="1092"/>
                  </a:cubicBezTo>
                  <a:lnTo>
                    <a:pt x="1846" y="1229"/>
                  </a:lnTo>
                  <a:close/>
                  <a:moveTo>
                    <a:pt x="1983" y="1502"/>
                  </a:moveTo>
                  <a:cubicBezTo>
                    <a:pt x="1949" y="1502"/>
                    <a:pt x="1949" y="1502"/>
                    <a:pt x="1949" y="1502"/>
                  </a:cubicBezTo>
                  <a:cubicBezTo>
                    <a:pt x="1928" y="1502"/>
                    <a:pt x="1914" y="1488"/>
                    <a:pt x="1914" y="1468"/>
                  </a:cubicBezTo>
                  <a:cubicBezTo>
                    <a:pt x="1914" y="846"/>
                    <a:pt x="1914" y="846"/>
                    <a:pt x="1914" y="846"/>
                  </a:cubicBezTo>
                  <a:cubicBezTo>
                    <a:pt x="1914" y="826"/>
                    <a:pt x="1928" y="812"/>
                    <a:pt x="1949" y="812"/>
                  </a:cubicBezTo>
                  <a:cubicBezTo>
                    <a:pt x="1983" y="812"/>
                    <a:pt x="1983" y="812"/>
                    <a:pt x="1983" y="812"/>
                  </a:cubicBezTo>
                  <a:lnTo>
                    <a:pt x="1983" y="150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6" name="Group 360"/>
          <p:cNvGrpSpPr/>
          <p:nvPr/>
        </p:nvGrpSpPr>
        <p:grpSpPr>
          <a:xfrm>
            <a:off x="4479057" y="3219903"/>
            <a:ext cx="469448" cy="469448"/>
            <a:chOff x="682652" y="2569917"/>
            <a:chExt cx="679152" cy="679152"/>
          </a:xfrm>
        </p:grpSpPr>
        <p:sp>
          <p:nvSpPr>
            <p:cNvPr id="362" name="Teardrop 361"/>
            <p:cNvSpPr/>
            <p:nvPr/>
          </p:nvSpPr>
          <p:spPr>
            <a:xfrm rot="8100000">
              <a:off x="682652" y="2569917"/>
              <a:ext cx="679152" cy="679152"/>
            </a:xfrm>
            <a:prstGeom prst="teardrop">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363" name="Rectangle 362"/>
            <p:cNvSpPr/>
            <p:nvPr/>
          </p:nvSpPr>
          <p:spPr>
            <a:xfrm>
              <a:off x="734891" y="2742273"/>
              <a:ext cx="574677" cy="311684"/>
            </a:xfrm>
            <a:prstGeom prst="rect">
              <a:avLst/>
            </a:prstGeom>
          </p:spPr>
          <p:txBody>
            <a:bodyPr wrap="square" lIns="0" tIns="0" rIns="0" bIns="0">
              <a:spAutoFit/>
            </a:bodyPr>
            <a:lstStyle/>
            <a:p>
              <a:pPr algn="ctr"/>
              <a:r>
                <a:rPr lang="en-US" sz="700" b="1" dirty="0" err="1" smtClean="0">
                  <a:solidFill>
                    <a:schemeClr val="bg1"/>
                  </a:solidFill>
                  <a:latin typeface="+mj-lt"/>
                </a:rPr>
                <a:t>LoRa</a:t>
              </a:r>
              <a:endParaRPr lang="en-US" sz="700" b="1" dirty="0" smtClean="0">
                <a:solidFill>
                  <a:schemeClr val="bg1"/>
                </a:solidFill>
                <a:latin typeface="+mj-lt"/>
              </a:endParaRPr>
            </a:p>
            <a:p>
              <a:pPr algn="ctr"/>
              <a:r>
                <a:rPr lang="en-US" sz="700" b="1" dirty="0" smtClean="0">
                  <a:solidFill>
                    <a:schemeClr val="bg1"/>
                  </a:solidFill>
                  <a:latin typeface="+mj-lt"/>
                </a:rPr>
                <a:t>WAN</a:t>
              </a:r>
              <a:endParaRPr lang="en-US" sz="700" b="1" dirty="0">
                <a:solidFill>
                  <a:schemeClr val="bg1"/>
                </a:solidFill>
                <a:latin typeface="+mj-lt"/>
              </a:endParaRPr>
            </a:p>
          </p:txBody>
        </p:sp>
      </p:grpSp>
      <p:grpSp>
        <p:nvGrpSpPr>
          <p:cNvPr id="27" name="Group 363"/>
          <p:cNvGrpSpPr/>
          <p:nvPr/>
        </p:nvGrpSpPr>
        <p:grpSpPr>
          <a:xfrm>
            <a:off x="5316181" y="2872696"/>
            <a:ext cx="466344" cy="466344"/>
            <a:chOff x="2209800" y="1885950"/>
            <a:chExt cx="679152" cy="679152"/>
          </a:xfrm>
        </p:grpSpPr>
        <p:sp>
          <p:nvSpPr>
            <p:cNvPr id="365" name="Teardrop 364"/>
            <p:cNvSpPr/>
            <p:nvPr/>
          </p:nvSpPr>
          <p:spPr>
            <a:xfrm rot="8100000">
              <a:off x="2209800" y="1885950"/>
              <a:ext cx="679152" cy="679152"/>
            </a:xfrm>
            <a:prstGeom prst="teardrop">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366" name="Rectangle 365"/>
            <p:cNvSpPr/>
            <p:nvPr/>
          </p:nvSpPr>
          <p:spPr>
            <a:xfrm>
              <a:off x="2260201" y="2150207"/>
              <a:ext cx="569106" cy="179291"/>
            </a:xfrm>
            <a:prstGeom prst="rect">
              <a:avLst/>
            </a:prstGeom>
          </p:spPr>
          <p:txBody>
            <a:bodyPr wrap="square" lIns="0" tIns="0" rIns="0" bIns="0">
              <a:spAutoFit/>
            </a:bodyPr>
            <a:lstStyle/>
            <a:p>
              <a:pPr algn="ctr"/>
              <a:r>
                <a:rPr lang="en-US" sz="800" b="1" dirty="0" smtClean="0">
                  <a:solidFill>
                    <a:schemeClr val="bg1"/>
                  </a:solidFill>
                  <a:latin typeface="+mj-lt"/>
                </a:rPr>
                <a:t>Wi-Fi</a:t>
              </a:r>
            </a:p>
          </p:txBody>
        </p:sp>
      </p:grpSp>
      <p:grpSp>
        <p:nvGrpSpPr>
          <p:cNvPr id="28" name="Group 375"/>
          <p:cNvGrpSpPr/>
          <p:nvPr/>
        </p:nvGrpSpPr>
        <p:grpSpPr>
          <a:xfrm>
            <a:off x="6946234" y="2349791"/>
            <a:ext cx="466344" cy="466344"/>
            <a:chOff x="2209800" y="1885950"/>
            <a:chExt cx="679152" cy="679152"/>
          </a:xfrm>
        </p:grpSpPr>
        <p:sp>
          <p:nvSpPr>
            <p:cNvPr id="377" name="Teardrop 376"/>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378" name="Rectangle 377"/>
            <p:cNvSpPr/>
            <p:nvPr/>
          </p:nvSpPr>
          <p:spPr>
            <a:xfrm>
              <a:off x="2260201" y="2113217"/>
              <a:ext cx="569106" cy="358580"/>
            </a:xfrm>
            <a:prstGeom prst="rect">
              <a:avLst/>
            </a:prstGeom>
          </p:spPr>
          <p:txBody>
            <a:bodyPr wrap="square" lIns="0" tIns="0" rIns="0" bIns="0">
              <a:spAutoFit/>
            </a:bodyPr>
            <a:lstStyle/>
            <a:p>
              <a:pPr algn="ctr"/>
              <a:r>
                <a:rPr lang="en-US" sz="800" b="1" dirty="0" smtClean="0">
                  <a:solidFill>
                    <a:schemeClr val="bg1"/>
                  </a:solidFill>
                  <a:latin typeface="+mj-lt"/>
                </a:rPr>
                <a:t>2G, 3G,</a:t>
              </a:r>
              <a:br>
                <a:rPr lang="en-US" sz="800" b="1" dirty="0" smtClean="0">
                  <a:solidFill>
                    <a:schemeClr val="bg1"/>
                  </a:solidFill>
                  <a:latin typeface="+mj-lt"/>
                </a:rPr>
              </a:br>
              <a:r>
                <a:rPr lang="en-US" sz="800" b="1" dirty="0" smtClean="0">
                  <a:solidFill>
                    <a:schemeClr val="bg1"/>
                  </a:solidFill>
                  <a:latin typeface="+mj-lt"/>
                </a:rPr>
                <a:t>LTE</a:t>
              </a:r>
            </a:p>
          </p:txBody>
        </p:sp>
      </p:grpSp>
      <p:grpSp>
        <p:nvGrpSpPr>
          <p:cNvPr id="29" name="Group 378"/>
          <p:cNvGrpSpPr/>
          <p:nvPr/>
        </p:nvGrpSpPr>
        <p:grpSpPr>
          <a:xfrm>
            <a:off x="7696987" y="3257550"/>
            <a:ext cx="466344" cy="466344"/>
            <a:chOff x="2209800" y="1885950"/>
            <a:chExt cx="679152" cy="679152"/>
          </a:xfrm>
        </p:grpSpPr>
        <p:sp>
          <p:nvSpPr>
            <p:cNvPr id="380" name="Teardrop 379"/>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381" name="Rectangle 380"/>
            <p:cNvSpPr/>
            <p:nvPr/>
          </p:nvSpPr>
          <p:spPr>
            <a:xfrm>
              <a:off x="2260201" y="2039235"/>
              <a:ext cx="569106" cy="358580"/>
            </a:xfrm>
            <a:prstGeom prst="rect">
              <a:avLst/>
            </a:prstGeom>
          </p:spPr>
          <p:txBody>
            <a:bodyPr wrap="square" lIns="0" tIns="0" rIns="0" bIns="0">
              <a:spAutoFit/>
            </a:bodyPr>
            <a:lstStyle/>
            <a:p>
              <a:pPr algn="ctr"/>
              <a:r>
                <a:rPr lang="en-US" sz="800" b="1" dirty="0" smtClean="0">
                  <a:solidFill>
                    <a:schemeClr val="bg1"/>
                  </a:solidFill>
                  <a:latin typeface="+mj-lt"/>
                </a:rPr>
                <a:t>LTE/</a:t>
              </a:r>
              <a:br>
                <a:rPr lang="en-US" sz="800" b="1" dirty="0" smtClean="0">
                  <a:solidFill>
                    <a:schemeClr val="bg1"/>
                  </a:solidFill>
                  <a:latin typeface="+mj-lt"/>
                </a:rPr>
              </a:br>
              <a:r>
                <a:rPr lang="en-US" sz="800" b="1" dirty="0" smtClean="0">
                  <a:solidFill>
                    <a:schemeClr val="bg1"/>
                  </a:solidFill>
                  <a:latin typeface="+mj-lt"/>
                </a:rPr>
                <a:t>CAT-M1</a:t>
              </a:r>
            </a:p>
          </p:txBody>
        </p:sp>
      </p:grpSp>
      <p:grpSp>
        <p:nvGrpSpPr>
          <p:cNvPr id="30" name="Group 381"/>
          <p:cNvGrpSpPr/>
          <p:nvPr/>
        </p:nvGrpSpPr>
        <p:grpSpPr>
          <a:xfrm>
            <a:off x="8481819" y="3297690"/>
            <a:ext cx="466344" cy="466344"/>
            <a:chOff x="2209800" y="1885950"/>
            <a:chExt cx="679152" cy="679152"/>
          </a:xfrm>
        </p:grpSpPr>
        <p:sp>
          <p:nvSpPr>
            <p:cNvPr id="383" name="Teardrop 382"/>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384" name="Rectangle 383"/>
            <p:cNvSpPr/>
            <p:nvPr/>
          </p:nvSpPr>
          <p:spPr>
            <a:xfrm>
              <a:off x="2260201" y="2113217"/>
              <a:ext cx="569106" cy="358580"/>
            </a:xfrm>
            <a:prstGeom prst="rect">
              <a:avLst/>
            </a:prstGeom>
          </p:spPr>
          <p:txBody>
            <a:bodyPr wrap="square" lIns="0" tIns="0" rIns="0" bIns="0">
              <a:spAutoFit/>
            </a:bodyPr>
            <a:lstStyle/>
            <a:p>
              <a:pPr algn="ctr"/>
              <a:r>
                <a:rPr lang="en-US" sz="800" b="1" dirty="0" smtClean="0">
                  <a:solidFill>
                    <a:schemeClr val="bg1"/>
                  </a:solidFill>
                  <a:latin typeface="+mj-lt"/>
                </a:rPr>
                <a:t>NB-</a:t>
              </a:r>
              <a:br>
                <a:rPr lang="en-US" sz="800" b="1" dirty="0" smtClean="0">
                  <a:solidFill>
                    <a:schemeClr val="bg1"/>
                  </a:solidFill>
                  <a:latin typeface="+mj-lt"/>
                </a:rPr>
              </a:br>
              <a:r>
                <a:rPr lang="en-US" sz="800" b="1" dirty="0" err="1" smtClean="0">
                  <a:solidFill>
                    <a:schemeClr val="bg1"/>
                  </a:solidFill>
                  <a:latin typeface="+mj-lt"/>
                </a:rPr>
                <a:t>IoT</a:t>
              </a:r>
              <a:endParaRPr lang="en-US" sz="800" b="1" dirty="0" smtClean="0">
                <a:solidFill>
                  <a:schemeClr val="bg1"/>
                </a:solidFill>
                <a:latin typeface="+mj-lt"/>
              </a:endParaRPr>
            </a:p>
          </p:txBody>
        </p:sp>
      </p:grpSp>
      <p:cxnSp>
        <p:nvCxnSpPr>
          <p:cNvPr id="405" name="Straight Connector 404"/>
          <p:cNvCxnSpPr>
            <a:endCxn id="377" idx="3"/>
          </p:cNvCxnSpPr>
          <p:nvPr/>
        </p:nvCxnSpPr>
        <p:spPr>
          <a:xfrm>
            <a:off x="2866176" y="1791068"/>
            <a:ext cx="4313229" cy="558723"/>
          </a:xfrm>
          <a:prstGeom prst="line">
            <a:avLst/>
          </a:prstGeom>
        </p:spPr>
        <p:style>
          <a:lnRef idx="1">
            <a:schemeClr val="accent1"/>
          </a:lnRef>
          <a:fillRef idx="0">
            <a:schemeClr val="accent1"/>
          </a:fillRef>
          <a:effectRef idx="0">
            <a:schemeClr val="accent1"/>
          </a:effectRef>
          <a:fontRef idx="minor">
            <a:schemeClr val="tx1"/>
          </a:fontRef>
        </p:style>
      </p:cxnSp>
      <p:cxnSp>
        <p:nvCxnSpPr>
          <p:cNvPr id="407" name="Straight Connector 406"/>
          <p:cNvCxnSpPr>
            <a:endCxn id="365" idx="3"/>
          </p:cNvCxnSpPr>
          <p:nvPr/>
        </p:nvCxnSpPr>
        <p:spPr>
          <a:xfrm>
            <a:off x="2866176" y="1791068"/>
            <a:ext cx="2683176" cy="1081628"/>
          </a:xfrm>
          <a:prstGeom prst="line">
            <a:avLst/>
          </a:prstGeom>
        </p:spPr>
        <p:style>
          <a:lnRef idx="1">
            <a:schemeClr val="accent1"/>
          </a:lnRef>
          <a:fillRef idx="0">
            <a:schemeClr val="accent1"/>
          </a:fillRef>
          <a:effectRef idx="0">
            <a:schemeClr val="accent1"/>
          </a:effectRef>
          <a:fontRef idx="minor">
            <a:schemeClr val="tx1"/>
          </a:fontRef>
        </p:style>
      </p:cxnSp>
      <p:cxnSp>
        <p:nvCxnSpPr>
          <p:cNvPr id="409" name="Straight Connector 408"/>
          <p:cNvCxnSpPr>
            <a:endCxn id="362" idx="3"/>
          </p:cNvCxnSpPr>
          <p:nvPr/>
        </p:nvCxnSpPr>
        <p:spPr>
          <a:xfrm>
            <a:off x="2866176" y="1791068"/>
            <a:ext cx="1847605" cy="1428835"/>
          </a:xfrm>
          <a:prstGeom prst="line">
            <a:avLst/>
          </a:prstGeom>
        </p:spPr>
        <p:style>
          <a:lnRef idx="1">
            <a:schemeClr val="accent1"/>
          </a:lnRef>
          <a:fillRef idx="0">
            <a:schemeClr val="accent1"/>
          </a:fillRef>
          <a:effectRef idx="0">
            <a:schemeClr val="accent1"/>
          </a:effectRef>
          <a:fontRef idx="minor">
            <a:schemeClr val="tx1"/>
          </a:fontRef>
        </p:style>
      </p:cxnSp>
      <p:cxnSp>
        <p:nvCxnSpPr>
          <p:cNvPr id="415" name="Straight Connector 414"/>
          <p:cNvCxnSpPr>
            <a:endCxn id="380" idx="3"/>
          </p:cNvCxnSpPr>
          <p:nvPr/>
        </p:nvCxnSpPr>
        <p:spPr>
          <a:xfrm>
            <a:off x="2866176" y="1791068"/>
            <a:ext cx="5063982" cy="1466482"/>
          </a:xfrm>
          <a:prstGeom prst="line">
            <a:avLst/>
          </a:prstGeom>
        </p:spPr>
        <p:style>
          <a:lnRef idx="1">
            <a:schemeClr val="accent1"/>
          </a:lnRef>
          <a:fillRef idx="0">
            <a:schemeClr val="accent1"/>
          </a:fillRef>
          <a:effectRef idx="0">
            <a:schemeClr val="accent1"/>
          </a:effectRef>
          <a:fontRef idx="minor">
            <a:schemeClr val="tx1"/>
          </a:fontRef>
        </p:style>
      </p:cxnSp>
      <p:sp>
        <p:nvSpPr>
          <p:cNvPr id="270" name="TextBox 269"/>
          <p:cNvSpPr txBox="1"/>
          <p:nvPr/>
        </p:nvSpPr>
        <p:spPr>
          <a:xfrm>
            <a:off x="807033" y="3227678"/>
            <a:ext cx="2797541" cy="592470"/>
          </a:xfrm>
          <a:prstGeom prst="rect">
            <a:avLst/>
          </a:prstGeom>
          <a:noFill/>
        </p:spPr>
        <p:txBody>
          <a:bodyPr wrap="square" lIns="0" tIns="0" rIns="0" bIns="0" rtlCol="0">
            <a:spAutoFit/>
          </a:bodyPr>
          <a:lstStyle/>
          <a:p>
            <a:pPr marL="137160" indent="-137160">
              <a:spcBef>
                <a:spcPts val="100"/>
              </a:spcBef>
              <a:buFont typeface="Wingdings" panose="05000000000000000000" pitchFamily="2" charset="2"/>
              <a:buChar char="§"/>
            </a:pPr>
            <a:r>
              <a:rPr lang="en-US" sz="900" dirty="0">
                <a:solidFill>
                  <a:schemeClr val="tx2"/>
                </a:solidFill>
                <a:latin typeface="+mj-lt"/>
              </a:rPr>
              <a:t>Virtualized, </a:t>
            </a:r>
            <a:r>
              <a:rPr lang="en-US" sz="900" dirty="0" smtClean="0">
                <a:solidFill>
                  <a:schemeClr val="tx2"/>
                </a:solidFill>
                <a:latin typeface="+mj-lt"/>
              </a:rPr>
              <a:t>5G-Ready Core</a:t>
            </a:r>
          </a:p>
          <a:p>
            <a:pPr marL="137160" indent="-137160">
              <a:spcBef>
                <a:spcPts val="100"/>
              </a:spcBef>
              <a:buFont typeface="Wingdings" panose="05000000000000000000" pitchFamily="2" charset="2"/>
              <a:buChar char="§"/>
            </a:pPr>
            <a:r>
              <a:rPr lang="en-US" sz="900" dirty="0" smtClean="0">
                <a:solidFill>
                  <a:schemeClr val="tx2"/>
                </a:solidFill>
                <a:latin typeface="+mj-lt"/>
              </a:rPr>
              <a:t>Supports 2G, 3G, LTE, LTE-M</a:t>
            </a:r>
            <a:r>
              <a:rPr lang="en-US" sz="900" dirty="0">
                <a:solidFill>
                  <a:schemeClr val="tx2"/>
                </a:solidFill>
                <a:latin typeface="+mj-lt"/>
              </a:rPr>
              <a:t>, NB-IoT, </a:t>
            </a:r>
            <a:r>
              <a:rPr lang="en-US" sz="900" dirty="0" smtClean="0">
                <a:solidFill>
                  <a:schemeClr val="tx2"/>
                </a:solidFill>
                <a:latin typeface="+mj-lt"/>
              </a:rPr>
              <a:t>Wi-Fi, LoRa</a:t>
            </a:r>
            <a:endParaRPr lang="en-US" sz="900" dirty="0">
              <a:solidFill>
                <a:schemeClr val="tx2"/>
              </a:solidFill>
              <a:latin typeface="+mj-lt"/>
            </a:endParaRPr>
          </a:p>
          <a:p>
            <a:pPr marL="137160" indent="-137160">
              <a:spcBef>
                <a:spcPts val="100"/>
              </a:spcBef>
              <a:buFont typeface="Wingdings" panose="05000000000000000000" pitchFamily="2" charset="2"/>
              <a:buChar char="§"/>
            </a:pPr>
            <a:r>
              <a:rPr lang="en-US" sz="900" dirty="0" smtClean="0">
                <a:solidFill>
                  <a:schemeClr val="tx2"/>
                </a:solidFill>
                <a:latin typeface="+mj-lt"/>
              </a:rPr>
              <a:t>Simplifies, Automates IoT Connectivity</a:t>
            </a:r>
          </a:p>
          <a:p>
            <a:pPr marL="137160" indent="-137160">
              <a:spcBef>
                <a:spcPts val="100"/>
              </a:spcBef>
              <a:buFont typeface="Wingdings" panose="05000000000000000000" pitchFamily="2" charset="2"/>
              <a:buChar char="§"/>
            </a:pPr>
            <a:r>
              <a:rPr lang="en-US" sz="900" dirty="0">
                <a:solidFill>
                  <a:schemeClr val="tx2"/>
                </a:solidFill>
                <a:latin typeface="+mj-lt"/>
              </a:rPr>
              <a:t>Network Slicing </a:t>
            </a:r>
            <a:r>
              <a:rPr lang="en-US" sz="900" dirty="0" smtClean="0">
                <a:solidFill>
                  <a:schemeClr val="tx2"/>
                </a:solidFill>
                <a:latin typeface="+mj-lt"/>
              </a:rPr>
              <a:t>for Logical Networks</a:t>
            </a:r>
            <a:endParaRPr lang="en-US" sz="900" dirty="0">
              <a:solidFill>
                <a:schemeClr val="tx2"/>
              </a:solidFill>
              <a:latin typeface="+mj-lt"/>
            </a:endParaRPr>
          </a:p>
        </p:txBody>
      </p:sp>
      <p:sp>
        <p:nvSpPr>
          <p:cNvPr id="417" name="Rectangle 416"/>
          <p:cNvSpPr/>
          <p:nvPr/>
        </p:nvSpPr>
        <p:spPr>
          <a:xfrm>
            <a:off x="1428750" y="1824750"/>
            <a:ext cx="1628880" cy="623248"/>
          </a:xfrm>
          <a:prstGeom prst="rect">
            <a:avLst/>
          </a:prstGeom>
          <a:noFill/>
          <a:ln w="25400" cap="rnd" cmpd="sng" algn="ctr">
            <a:noFill/>
            <a:prstDash val="solid"/>
          </a:ln>
          <a:effectLst/>
        </p:spPr>
        <p:txBody>
          <a:bodyPr wrap="square" lIns="0" tIns="0" rIns="0" bIns="0" rtlCol="0" anchor="t" anchorCtr="0">
            <a:spAutoFit/>
          </a:bodyPr>
          <a:lstStyle/>
          <a:p>
            <a:pPr lvl="0" algn="ctr">
              <a:lnSpc>
                <a:spcPct val="90000"/>
              </a:lnSpc>
            </a:pPr>
            <a:r>
              <a:rPr lang="en-US" sz="1500" kern="0" dirty="0" smtClean="0">
                <a:solidFill>
                  <a:schemeClr val="accent1"/>
                </a:solidFill>
                <a:latin typeface="+mj-lt"/>
              </a:rPr>
              <a:t>Cisco </a:t>
            </a:r>
            <a:br>
              <a:rPr lang="en-US" sz="1500" kern="0" dirty="0" smtClean="0">
                <a:solidFill>
                  <a:schemeClr val="accent1"/>
                </a:solidFill>
                <a:latin typeface="+mj-lt"/>
              </a:rPr>
            </a:br>
            <a:r>
              <a:rPr lang="en-US" sz="1500" kern="0" dirty="0" smtClean="0">
                <a:solidFill>
                  <a:schemeClr val="accent1"/>
                </a:solidFill>
                <a:latin typeface="+mj-lt"/>
              </a:rPr>
              <a:t>Ultra Services</a:t>
            </a:r>
            <a:br>
              <a:rPr lang="en-US" sz="1500" kern="0" dirty="0" smtClean="0">
                <a:solidFill>
                  <a:schemeClr val="accent1"/>
                </a:solidFill>
                <a:latin typeface="+mj-lt"/>
              </a:rPr>
            </a:br>
            <a:r>
              <a:rPr lang="en-US" sz="1500" kern="0" dirty="0" smtClean="0">
                <a:solidFill>
                  <a:schemeClr val="accent1"/>
                </a:solidFill>
                <a:latin typeface="+mj-lt"/>
              </a:rPr>
              <a:t>Platform for </a:t>
            </a:r>
            <a:r>
              <a:rPr lang="en-US" sz="1500" kern="0" dirty="0" err="1" smtClean="0">
                <a:solidFill>
                  <a:schemeClr val="accent1"/>
                </a:solidFill>
                <a:latin typeface="+mj-lt"/>
              </a:rPr>
              <a:t>IoT</a:t>
            </a:r>
            <a:endParaRPr kumimoji="0" lang="en-US" sz="1500" b="0" i="0" u="none" strike="noStrike" kern="0" cap="none" spc="0" normalizeH="0" baseline="0" noProof="0" dirty="0">
              <a:ln>
                <a:noFill/>
              </a:ln>
              <a:solidFill>
                <a:schemeClr val="accent1"/>
              </a:solidFill>
              <a:effectLst/>
              <a:uLnTx/>
              <a:uFillTx/>
              <a:latin typeface="+mj-lt"/>
            </a:endParaRPr>
          </a:p>
        </p:txBody>
      </p:sp>
      <p:sp>
        <p:nvSpPr>
          <p:cNvPr id="425" name="TextBox 424"/>
          <p:cNvSpPr txBox="1"/>
          <p:nvPr/>
        </p:nvSpPr>
        <p:spPr>
          <a:xfrm>
            <a:off x="1488769" y="3892844"/>
            <a:ext cx="1297150" cy="261610"/>
          </a:xfrm>
          <a:prstGeom prst="rect">
            <a:avLst/>
          </a:prstGeom>
          <a:noFill/>
        </p:spPr>
        <p:txBody>
          <a:bodyPr wrap="none" rtlCol="0">
            <a:spAutoFit/>
          </a:bodyPr>
          <a:lstStyle/>
          <a:p>
            <a:pPr algn="ctr"/>
            <a:r>
              <a:rPr lang="en-US" sz="1100" b="1" dirty="0" smtClean="0">
                <a:solidFill>
                  <a:schemeClr val="accent1"/>
                </a:solidFill>
                <a:latin typeface="+mj-lt"/>
              </a:rPr>
              <a:t>Service Provider</a:t>
            </a:r>
            <a:endParaRPr lang="en-US" sz="1100" b="1" dirty="0">
              <a:solidFill>
                <a:schemeClr val="accent1"/>
              </a:solidFill>
              <a:latin typeface="+mj-lt"/>
            </a:endParaRPr>
          </a:p>
        </p:txBody>
      </p:sp>
      <p:grpSp>
        <p:nvGrpSpPr>
          <p:cNvPr id="192" name="Group 447"/>
          <p:cNvGrpSpPr/>
          <p:nvPr/>
        </p:nvGrpSpPr>
        <p:grpSpPr>
          <a:xfrm>
            <a:off x="527617" y="1557823"/>
            <a:ext cx="3395556" cy="184666"/>
            <a:chOff x="527617" y="1573063"/>
            <a:chExt cx="3395556" cy="184666"/>
          </a:xfrm>
        </p:grpSpPr>
        <p:grpSp>
          <p:nvGrpSpPr>
            <p:cNvPr id="193" name="Group 433"/>
            <p:cNvGrpSpPr/>
            <p:nvPr/>
          </p:nvGrpSpPr>
          <p:grpSpPr>
            <a:xfrm>
              <a:off x="527617" y="1573063"/>
              <a:ext cx="771785" cy="184666"/>
              <a:chOff x="365777" y="1630677"/>
              <a:chExt cx="771785" cy="184666"/>
            </a:xfrm>
          </p:grpSpPr>
          <p:sp>
            <p:nvSpPr>
              <p:cNvPr id="427" name="Rectangle 426"/>
              <p:cNvSpPr/>
              <p:nvPr/>
            </p:nvSpPr>
            <p:spPr>
              <a:xfrm>
                <a:off x="550863" y="1630677"/>
                <a:ext cx="586699" cy="184666"/>
              </a:xfrm>
              <a:prstGeom prst="rect">
                <a:avLst/>
              </a:prstGeom>
            </p:spPr>
            <p:txBody>
              <a:bodyPr wrap="none" lIns="0" tIns="0" rIns="0" bIns="0">
                <a:spAutoFit/>
              </a:bodyPr>
              <a:lstStyle/>
              <a:p>
                <a:r>
                  <a:rPr lang="en-GB" sz="1200" dirty="0" smtClean="0">
                    <a:solidFill>
                      <a:schemeClr val="accent6"/>
                    </a:solidFill>
                    <a:latin typeface="+mj-lt"/>
                  </a:rPr>
                  <a:t>Scalable</a:t>
                </a:r>
                <a:endParaRPr lang="en-GB" sz="1400" dirty="0">
                  <a:solidFill>
                    <a:schemeClr val="accent6"/>
                  </a:solidFill>
                  <a:latin typeface="+mj-lt"/>
                </a:endParaRPr>
              </a:p>
            </p:txBody>
          </p:sp>
          <p:sp>
            <p:nvSpPr>
              <p:cNvPr id="430" name="Freeform 23"/>
              <p:cNvSpPr>
                <a:spLocks noEditPoints="1"/>
              </p:cNvSpPr>
              <p:nvPr/>
            </p:nvSpPr>
            <p:spPr bwMode="auto">
              <a:xfrm>
                <a:off x="365777" y="1656913"/>
                <a:ext cx="132943" cy="132195"/>
              </a:xfrm>
              <a:custGeom>
                <a:avLst/>
                <a:gdLst/>
                <a:ahLst/>
                <a:cxnLst>
                  <a:cxn ang="0">
                    <a:pos x="460" y="270"/>
                  </a:cxn>
                  <a:cxn ang="0">
                    <a:pos x="444" y="286"/>
                  </a:cxn>
                  <a:cxn ang="0">
                    <a:pos x="444" y="492"/>
                  </a:cxn>
                  <a:cxn ang="0">
                    <a:pos x="32" y="492"/>
                  </a:cxn>
                  <a:cxn ang="0">
                    <a:pos x="32" y="80"/>
                  </a:cxn>
                  <a:cxn ang="0">
                    <a:pos x="238" y="80"/>
                  </a:cxn>
                  <a:cxn ang="0">
                    <a:pos x="254" y="64"/>
                  </a:cxn>
                  <a:cxn ang="0">
                    <a:pos x="238" y="48"/>
                  </a:cxn>
                  <a:cxn ang="0">
                    <a:pos x="16" y="48"/>
                  </a:cxn>
                  <a:cxn ang="0">
                    <a:pos x="0" y="64"/>
                  </a:cxn>
                  <a:cxn ang="0">
                    <a:pos x="0" y="508"/>
                  </a:cxn>
                  <a:cxn ang="0">
                    <a:pos x="16" y="524"/>
                  </a:cxn>
                  <a:cxn ang="0">
                    <a:pos x="460" y="524"/>
                  </a:cxn>
                  <a:cxn ang="0">
                    <a:pos x="476" y="508"/>
                  </a:cxn>
                  <a:cxn ang="0">
                    <a:pos x="476" y="286"/>
                  </a:cxn>
                  <a:cxn ang="0">
                    <a:pos x="460" y="270"/>
                  </a:cxn>
                  <a:cxn ang="0">
                    <a:pos x="511" y="0"/>
                  </a:cxn>
                  <a:cxn ang="0">
                    <a:pos x="361" y="0"/>
                  </a:cxn>
                  <a:cxn ang="0">
                    <a:pos x="353" y="2"/>
                  </a:cxn>
                  <a:cxn ang="0">
                    <a:pos x="348" y="5"/>
                  </a:cxn>
                  <a:cxn ang="0">
                    <a:pos x="348" y="25"/>
                  </a:cxn>
                  <a:cxn ang="0">
                    <a:pos x="349" y="26"/>
                  </a:cxn>
                  <a:cxn ang="0">
                    <a:pos x="351" y="28"/>
                  </a:cxn>
                  <a:cxn ang="0">
                    <a:pos x="412" y="89"/>
                  </a:cxn>
                  <a:cxn ang="0">
                    <a:pos x="314" y="187"/>
                  </a:cxn>
                  <a:cxn ang="0">
                    <a:pos x="250" y="123"/>
                  </a:cxn>
                  <a:cxn ang="0">
                    <a:pos x="236" y="120"/>
                  </a:cxn>
                  <a:cxn ang="0">
                    <a:pos x="222" y="136"/>
                  </a:cxn>
                  <a:cxn ang="0">
                    <a:pos x="222" y="286"/>
                  </a:cxn>
                  <a:cxn ang="0">
                    <a:pos x="222" y="289"/>
                  </a:cxn>
                  <a:cxn ang="0">
                    <a:pos x="223" y="290"/>
                  </a:cxn>
                  <a:cxn ang="0">
                    <a:pos x="223" y="292"/>
                  </a:cxn>
                  <a:cxn ang="0">
                    <a:pos x="224" y="294"/>
                  </a:cxn>
                  <a:cxn ang="0">
                    <a:pos x="225" y="295"/>
                  </a:cxn>
                  <a:cxn ang="0">
                    <a:pos x="227" y="297"/>
                  </a:cxn>
                  <a:cxn ang="0">
                    <a:pos x="227" y="297"/>
                  </a:cxn>
                  <a:cxn ang="0">
                    <a:pos x="229" y="299"/>
                  </a:cxn>
                  <a:cxn ang="0">
                    <a:pos x="230" y="300"/>
                  </a:cxn>
                  <a:cxn ang="0">
                    <a:pos x="232" y="301"/>
                  </a:cxn>
                  <a:cxn ang="0">
                    <a:pos x="234" y="301"/>
                  </a:cxn>
                  <a:cxn ang="0">
                    <a:pos x="235" y="302"/>
                  </a:cxn>
                  <a:cxn ang="0">
                    <a:pos x="238" y="302"/>
                  </a:cxn>
                  <a:cxn ang="0">
                    <a:pos x="388" y="302"/>
                  </a:cxn>
                  <a:cxn ang="0">
                    <a:pos x="404" y="289"/>
                  </a:cxn>
                  <a:cxn ang="0">
                    <a:pos x="401" y="274"/>
                  </a:cxn>
                  <a:cxn ang="0">
                    <a:pos x="337" y="210"/>
                  </a:cxn>
                  <a:cxn ang="0">
                    <a:pos x="435" y="112"/>
                  </a:cxn>
                  <a:cxn ang="0">
                    <a:pos x="499" y="176"/>
                  </a:cxn>
                  <a:cxn ang="0">
                    <a:pos x="499" y="176"/>
                  </a:cxn>
                  <a:cxn ang="0">
                    <a:pos x="511" y="182"/>
                  </a:cxn>
                  <a:cxn ang="0">
                    <a:pos x="527" y="166"/>
                  </a:cxn>
                  <a:cxn ang="0">
                    <a:pos x="527" y="16"/>
                  </a:cxn>
                  <a:cxn ang="0">
                    <a:pos x="511" y="0"/>
                  </a:cxn>
                </a:cxnLst>
                <a:rect l="0" t="0" r="r" b="b"/>
                <a:pathLst>
                  <a:path w="527" h="524">
                    <a:moveTo>
                      <a:pt x="460" y="270"/>
                    </a:moveTo>
                    <a:cubicBezTo>
                      <a:pt x="451" y="270"/>
                      <a:pt x="444" y="277"/>
                      <a:pt x="444" y="286"/>
                    </a:cubicBezTo>
                    <a:cubicBezTo>
                      <a:pt x="444" y="492"/>
                      <a:pt x="444" y="492"/>
                      <a:pt x="444" y="492"/>
                    </a:cubicBezTo>
                    <a:cubicBezTo>
                      <a:pt x="32" y="492"/>
                      <a:pt x="32" y="492"/>
                      <a:pt x="32" y="492"/>
                    </a:cubicBezTo>
                    <a:cubicBezTo>
                      <a:pt x="32" y="80"/>
                      <a:pt x="32" y="80"/>
                      <a:pt x="32" y="80"/>
                    </a:cubicBezTo>
                    <a:cubicBezTo>
                      <a:pt x="238" y="80"/>
                      <a:pt x="238" y="80"/>
                      <a:pt x="238" y="80"/>
                    </a:cubicBezTo>
                    <a:cubicBezTo>
                      <a:pt x="247" y="80"/>
                      <a:pt x="254" y="73"/>
                      <a:pt x="254" y="64"/>
                    </a:cubicBezTo>
                    <a:cubicBezTo>
                      <a:pt x="254" y="55"/>
                      <a:pt x="247" y="48"/>
                      <a:pt x="238" y="48"/>
                    </a:cubicBezTo>
                    <a:cubicBezTo>
                      <a:pt x="16" y="48"/>
                      <a:pt x="16" y="48"/>
                      <a:pt x="16" y="48"/>
                    </a:cubicBezTo>
                    <a:cubicBezTo>
                      <a:pt x="7" y="48"/>
                      <a:pt x="0" y="55"/>
                      <a:pt x="0" y="64"/>
                    </a:cubicBezTo>
                    <a:cubicBezTo>
                      <a:pt x="0" y="508"/>
                      <a:pt x="0" y="508"/>
                      <a:pt x="0" y="508"/>
                    </a:cubicBezTo>
                    <a:cubicBezTo>
                      <a:pt x="0" y="517"/>
                      <a:pt x="7" y="524"/>
                      <a:pt x="16" y="524"/>
                    </a:cubicBezTo>
                    <a:cubicBezTo>
                      <a:pt x="460" y="524"/>
                      <a:pt x="460" y="524"/>
                      <a:pt x="460" y="524"/>
                    </a:cubicBezTo>
                    <a:cubicBezTo>
                      <a:pt x="469" y="524"/>
                      <a:pt x="476" y="517"/>
                      <a:pt x="476" y="508"/>
                    </a:cubicBezTo>
                    <a:cubicBezTo>
                      <a:pt x="476" y="286"/>
                      <a:pt x="476" y="286"/>
                      <a:pt x="476" y="286"/>
                    </a:cubicBezTo>
                    <a:cubicBezTo>
                      <a:pt x="476" y="277"/>
                      <a:pt x="469" y="270"/>
                      <a:pt x="460" y="270"/>
                    </a:cubicBezTo>
                    <a:close/>
                    <a:moveTo>
                      <a:pt x="511" y="0"/>
                    </a:moveTo>
                    <a:cubicBezTo>
                      <a:pt x="361" y="0"/>
                      <a:pt x="361" y="0"/>
                      <a:pt x="361" y="0"/>
                    </a:cubicBezTo>
                    <a:cubicBezTo>
                      <a:pt x="358" y="0"/>
                      <a:pt x="355" y="1"/>
                      <a:pt x="353" y="2"/>
                    </a:cubicBezTo>
                    <a:cubicBezTo>
                      <a:pt x="351" y="3"/>
                      <a:pt x="350" y="4"/>
                      <a:pt x="348" y="5"/>
                    </a:cubicBezTo>
                    <a:cubicBezTo>
                      <a:pt x="343" y="11"/>
                      <a:pt x="343" y="20"/>
                      <a:pt x="348" y="25"/>
                    </a:cubicBezTo>
                    <a:cubicBezTo>
                      <a:pt x="349" y="26"/>
                      <a:pt x="349" y="26"/>
                      <a:pt x="349" y="26"/>
                    </a:cubicBezTo>
                    <a:cubicBezTo>
                      <a:pt x="351" y="28"/>
                      <a:pt x="351" y="28"/>
                      <a:pt x="351" y="28"/>
                    </a:cubicBezTo>
                    <a:cubicBezTo>
                      <a:pt x="412" y="89"/>
                      <a:pt x="412" y="89"/>
                      <a:pt x="412" y="89"/>
                    </a:cubicBezTo>
                    <a:cubicBezTo>
                      <a:pt x="314" y="187"/>
                      <a:pt x="314" y="187"/>
                      <a:pt x="314" y="187"/>
                    </a:cubicBezTo>
                    <a:cubicBezTo>
                      <a:pt x="250" y="123"/>
                      <a:pt x="250" y="123"/>
                      <a:pt x="250" y="123"/>
                    </a:cubicBezTo>
                    <a:cubicBezTo>
                      <a:pt x="246" y="119"/>
                      <a:pt x="241" y="118"/>
                      <a:pt x="236" y="120"/>
                    </a:cubicBezTo>
                    <a:cubicBezTo>
                      <a:pt x="228" y="121"/>
                      <a:pt x="222" y="128"/>
                      <a:pt x="222" y="136"/>
                    </a:cubicBezTo>
                    <a:cubicBezTo>
                      <a:pt x="222" y="286"/>
                      <a:pt x="222" y="286"/>
                      <a:pt x="222" y="286"/>
                    </a:cubicBezTo>
                    <a:cubicBezTo>
                      <a:pt x="222" y="287"/>
                      <a:pt x="222" y="288"/>
                      <a:pt x="222" y="289"/>
                    </a:cubicBezTo>
                    <a:cubicBezTo>
                      <a:pt x="222" y="290"/>
                      <a:pt x="223" y="290"/>
                      <a:pt x="223" y="290"/>
                    </a:cubicBezTo>
                    <a:cubicBezTo>
                      <a:pt x="223" y="291"/>
                      <a:pt x="223" y="292"/>
                      <a:pt x="223" y="292"/>
                    </a:cubicBezTo>
                    <a:cubicBezTo>
                      <a:pt x="223" y="293"/>
                      <a:pt x="224" y="293"/>
                      <a:pt x="224" y="294"/>
                    </a:cubicBezTo>
                    <a:cubicBezTo>
                      <a:pt x="224" y="294"/>
                      <a:pt x="224" y="294"/>
                      <a:pt x="225" y="295"/>
                    </a:cubicBezTo>
                    <a:cubicBezTo>
                      <a:pt x="225" y="296"/>
                      <a:pt x="226" y="297"/>
                      <a:pt x="227" y="297"/>
                    </a:cubicBezTo>
                    <a:cubicBezTo>
                      <a:pt x="227" y="297"/>
                      <a:pt x="227" y="297"/>
                      <a:pt x="227" y="297"/>
                    </a:cubicBezTo>
                    <a:cubicBezTo>
                      <a:pt x="227" y="298"/>
                      <a:pt x="228" y="299"/>
                      <a:pt x="229" y="299"/>
                    </a:cubicBezTo>
                    <a:cubicBezTo>
                      <a:pt x="230" y="300"/>
                      <a:pt x="230" y="300"/>
                      <a:pt x="230" y="300"/>
                    </a:cubicBezTo>
                    <a:cubicBezTo>
                      <a:pt x="231" y="300"/>
                      <a:pt x="231" y="301"/>
                      <a:pt x="232" y="301"/>
                    </a:cubicBezTo>
                    <a:cubicBezTo>
                      <a:pt x="232" y="301"/>
                      <a:pt x="233" y="301"/>
                      <a:pt x="234" y="301"/>
                    </a:cubicBezTo>
                    <a:cubicBezTo>
                      <a:pt x="234" y="301"/>
                      <a:pt x="234" y="302"/>
                      <a:pt x="235" y="302"/>
                    </a:cubicBezTo>
                    <a:cubicBezTo>
                      <a:pt x="236" y="302"/>
                      <a:pt x="237" y="302"/>
                      <a:pt x="238" y="302"/>
                    </a:cubicBezTo>
                    <a:cubicBezTo>
                      <a:pt x="388" y="302"/>
                      <a:pt x="388" y="302"/>
                      <a:pt x="388" y="302"/>
                    </a:cubicBezTo>
                    <a:cubicBezTo>
                      <a:pt x="396" y="302"/>
                      <a:pt x="402" y="297"/>
                      <a:pt x="404" y="289"/>
                    </a:cubicBezTo>
                    <a:cubicBezTo>
                      <a:pt x="406" y="284"/>
                      <a:pt x="405" y="278"/>
                      <a:pt x="401" y="274"/>
                    </a:cubicBezTo>
                    <a:cubicBezTo>
                      <a:pt x="337" y="210"/>
                      <a:pt x="337" y="210"/>
                      <a:pt x="337" y="210"/>
                    </a:cubicBezTo>
                    <a:cubicBezTo>
                      <a:pt x="435" y="112"/>
                      <a:pt x="435" y="112"/>
                      <a:pt x="435" y="112"/>
                    </a:cubicBezTo>
                    <a:cubicBezTo>
                      <a:pt x="499" y="176"/>
                      <a:pt x="499" y="176"/>
                      <a:pt x="499" y="176"/>
                    </a:cubicBezTo>
                    <a:cubicBezTo>
                      <a:pt x="499" y="176"/>
                      <a:pt x="499" y="176"/>
                      <a:pt x="499" y="176"/>
                    </a:cubicBezTo>
                    <a:cubicBezTo>
                      <a:pt x="502" y="180"/>
                      <a:pt x="506" y="182"/>
                      <a:pt x="511" y="182"/>
                    </a:cubicBezTo>
                    <a:cubicBezTo>
                      <a:pt x="520" y="182"/>
                      <a:pt x="527" y="175"/>
                      <a:pt x="527" y="166"/>
                    </a:cubicBezTo>
                    <a:cubicBezTo>
                      <a:pt x="527" y="16"/>
                      <a:pt x="527" y="16"/>
                      <a:pt x="527" y="16"/>
                    </a:cubicBezTo>
                    <a:cubicBezTo>
                      <a:pt x="527" y="7"/>
                      <a:pt x="520" y="0"/>
                      <a:pt x="511" y="0"/>
                    </a:cubicBez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US" sz="1600" dirty="0">
                  <a:solidFill>
                    <a:schemeClr val="accent6"/>
                  </a:solidFill>
                  <a:latin typeface="+mj-lt"/>
                </a:endParaRPr>
              </a:p>
            </p:txBody>
          </p:sp>
        </p:grpSp>
        <p:grpSp>
          <p:nvGrpSpPr>
            <p:cNvPr id="194" name="Group 439"/>
            <p:cNvGrpSpPr/>
            <p:nvPr/>
          </p:nvGrpSpPr>
          <p:grpSpPr>
            <a:xfrm>
              <a:off x="3286040" y="1573063"/>
              <a:ext cx="637133" cy="184666"/>
              <a:chOff x="3286040" y="1606401"/>
              <a:chExt cx="637133" cy="184666"/>
            </a:xfrm>
          </p:grpSpPr>
          <p:sp>
            <p:nvSpPr>
              <p:cNvPr id="436" name="Rectangle 435"/>
              <p:cNvSpPr/>
              <p:nvPr/>
            </p:nvSpPr>
            <p:spPr>
              <a:xfrm>
                <a:off x="3471126" y="1606401"/>
                <a:ext cx="452047" cy="184666"/>
              </a:xfrm>
              <a:prstGeom prst="rect">
                <a:avLst/>
              </a:prstGeom>
            </p:spPr>
            <p:txBody>
              <a:bodyPr wrap="none" lIns="0" tIns="0" rIns="0" bIns="0">
                <a:spAutoFit/>
              </a:bodyPr>
              <a:lstStyle/>
              <a:p>
                <a:r>
                  <a:rPr lang="en-GB" sz="1200" dirty="0" smtClean="0">
                    <a:solidFill>
                      <a:schemeClr val="accent6"/>
                    </a:solidFill>
                    <a:latin typeface="+mj-lt"/>
                  </a:rPr>
                  <a:t>Elastic</a:t>
                </a:r>
              </a:p>
            </p:txBody>
          </p:sp>
          <p:sp>
            <p:nvSpPr>
              <p:cNvPr id="439" name="Freeform 6"/>
              <p:cNvSpPr>
                <a:spLocks/>
              </p:cNvSpPr>
              <p:nvPr/>
            </p:nvSpPr>
            <p:spPr bwMode="auto">
              <a:xfrm>
                <a:off x="3286040" y="1618191"/>
                <a:ext cx="132943" cy="161087"/>
              </a:xfrm>
              <a:custGeom>
                <a:avLst/>
                <a:gdLst/>
                <a:ahLst/>
                <a:cxnLst>
                  <a:cxn ang="0">
                    <a:pos x="36" y="298"/>
                  </a:cxn>
                  <a:cxn ang="0">
                    <a:pos x="25" y="291"/>
                  </a:cxn>
                  <a:cxn ang="0">
                    <a:pos x="32" y="277"/>
                  </a:cxn>
                  <a:cxn ang="0">
                    <a:pos x="170" y="245"/>
                  </a:cxn>
                  <a:cxn ang="0">
                    <a:pos x="26" y="209"/>
                  </a:cxn>
                  <a:cxn ang="0">
                    <a:pos x="16" y="199"/>
                  </a:cxn>
                  <a:cxn ang="0">
                    <a:pos x="24" y="187"/>
                  </a:cxn>
                  <a:cxn ang="0">
                    <a:pos x="171" y="169"/>
                  </a:cxn>
                  <a:cxn ang="0">
                    <a:pos x="17" y="124"/>
                  </a:cxn>
                  <a:cxn ang="0">
                    <a:pos x="8" y="113"/>
                  </a:cxn>
                  <a:cxn ang="0">
                    <a:pos x="17" y="102"/>
                  </a:cxn>
                  <a:cxn ang="0">
                    <a:pos x="163" y="93"/>
                  </a:cxn>
                  <a:cxn ang="0">
                    <a:pos x="11" y="54"/>
                  </a:cxn>
                  <a:cxn ang="0">
                    <a:pos x="1" y="44"/>
                  </a:cxn>
                  <a:cxn ang="0">
                    <a:pos x="9" y="32"/>
                  </a:cxn>
                  <a:cxn ang="0">
                    <a:pos x="235" y="2"/>
                  </a:cxn>
                  <a:cxn ang="0">
                    <a:pos x="245" y="14"/>
                  </a:cxn>
                  <a:cxn ang="0">
                    <a:pos x="234" y="25"/>
                  </a:cxn>
                  <a:cxn ang="0">
                    <a:pos x="65" y="40"/>
                  </a:cxn>
                  <a:cxn ang="0">
                    <a:pos x="236" y="102"/>
                  </a:cxn>
                  <a:cxn ang="0">
                    <a:pos x="241" y="116"/>
                  </a:cxn>
                  <a:cxn ang="0">
                    <a:pos x="229" y="123"/>
                  </a:cxn>
                  <a:cxn ang="0">
                    <a:pos x="87" y="116"/>
                  </a:cxn>
                  <a:cxn ang="0">
                    <a:pos x="229" y="173"/>
                  </a:cxn>
                  <a:cxn ang="0">
                    <a:pos x="234" y="186"/>
                  </a:cxn>
                  <a:cxn ang="0">
                    <a:pos x="222" y="194"/>
                  </a:cxn>
                  <a:cxn ang="0">
                    <a:pos x="90" y="197"/>
                  </a:cxn>
                  <a:cxn ang="0">
                    <a:pos x="221" y="244"/>
                  </a:cxn>
                  <a:cxn ang="0">
                    <a:pos x="227" y="257"/>
                  </a:cxn>
                  <a:cxn ang="0">
                    <a:pos x="216" y="265"/>
                  </a:cxn>
                  <a:cxn ang="0">
                    <a:pos x="40" y="298"/>
                  </a:cxn>
                  <a:cxn ang="0">
                    <a:pos x="36" y="298"/>
                  </a:cxn>
                </a:cxnLst>
                <a:rect l="0" t="0" r="r" b="b"/>
                <a:pathLst>
                  <a:path w="246" h="298">
                    <a:moveTo>
                      <a:pt x="36" y="298"/>
                    </a:moveTo>
                    <a:cubicBezTo>
                      <a:pt x="31" y="298"/>
                      <a:pt x="27" y="295"/>
                      <a:pt x="25" y="291"/>
                    </a:cubicBezTo>
                    <a:cubicBezTo>
                      <a:pt x="23" y="285"/>
                      <a:pt x="26" y="279"/>
                      <a:pt x="32" y="277"/>
                    </a:cubicBezTo>
                    <a:cubicBezTo>
                      <a:pt x="77" y="260"/>
                      <a:pt x="123" y="250"/>
                      <a:pt x="170" y="245"/>
                    </a:cubicBezTo>
                    <a:cubicBezTo>
                      <a:pt x="124" y="227"/>
                      <a:pt x="75" y="214"/>
                      <a:pt x="26" y="209"/>
                    </a:cubicBezTo>
                    <a:cubicBezTo>
                      <a:pt x="20" y="208"/>
                      <a:pt x="16" y="204"/>
                      <a:pt x="16" y="199"/>
                    </a:cubicBezTo>
                    <a:cubicBezTo>
                      <a:pt x="16" y="193"/>
                      <a:pt x="19" y="188"/>
                      <a:pt x="24" y="187"/>
                    </a:cubicBezTo>
                    <a:cubicBezTo>
                      <a:pt x="73" y="175"/>
                      <a:pt x="122" y="169"/>
                      <a:pt x="171" y="169"/>
                    </a:cubicBezTo>
                    <a:cubicBezTo>
                      <a:pt x="122" y="147"/>
                      <a:pt x="70" y="132"/>
                      <a:pt x="17" y="124"/>
                    </a:cubicBezTo>
                    <a:cubicBezTo>
                      <a:pt x="12" y="123"/>
                      <a:pt x="8" y="118"/>
                      <a:pt x="8" y="113"/>
                    </a:cubicBezTo>
                    <a:cubicBezTo>
                      <a:pt x="8" y="107"/>
                      <a:pt x="11" y="103"/>
                      <a:pt x="17" y="102"/>
                    </a:cubicBezTo>
                    <a:cubicBezTo>
                      <a:pt x="65" y="93"/>
                      <a:pt x="114" y="90"/>
                      <a:pt x="163" y="93"/>
                    </a:cubicBezTo>
                    <a:cubicBezTo>
                      <a:pt x="114" y="74"/>
                      <a:pt x="63" y="60"/>
                      <a:pt x="11" y="54"/>
                    </a:cubicBezTo>
                    <a:cubicBezTo>
                      <a:pt x="5" y="53"/>
                      <a:pt x="1" y="49"/>
                      <a:pt x="1" y="44"/>
                    </a:cubicBezTo>
                    <a:cubicBezTo>
                      <a:pt x="0" y="39"/>
                      <a:pt x="4" y="34"/>
                      <a:pt x="9" y="32"/>
                    </a:cubicBezTo>
                    <a:cubicBezTo>
                      <a:pt x="82" y="10"/>
                      <a:pt x="158" y="0"/>
                      <a:pt x="235" y="2"/>
                    </a:cubicBezTo>
                    <a:cubicBezTo>
                      <a:pt x="241" y="3"/>
                      <a:pt x="246" y="8"/>
                      <a:pt x="245" y="14"/>
                    </a:cubicBezTo>
                    <a:cubicBezTo>
                      <a:pt x="245" y="20"/>
                      <a:pt x="240" y="25"/>
                      <a:pt x="234" y="25"/>
                    </a:cubicBezTo>
                    <a:cubicBezTo>
                      <a:pt x="177" y="23"/>
                      <a:pt x="120" y="28"/>
                      <a:pt x="65" y="40"/>
                    </a:cubicBezTo>
                    <a:cubicBezTo>
                      <a:pt x="124" y="53"/>
                      <a:pt x="181" y="73"/>
                      <a:pt x="236" y="102"/>
                    </a:cubicBezTo>
                    <a:cubicBezTo>
                      <a:pt x="240" y="105"/>
                      <a:pt x="243" y="110"/>
                      <a:pt x="241" y="116"/>
                    </a:cubicBezTo>
                    <a:cubicBezTo>
                      <a:pt x="239" y="121"/>
                      <a:pt x="234" y="124"/>
                      <a:pt x="229" y="123"/>
                    </a:cubicBezTo>
                    <a:cubicBezTo>
                      <a:pt x="182" y="115"/>
                      <a:pt x="134" y="112"/>
                      <a:pt x="87" y="116"/>
                    </a:cubicBezTo>
                    <a:cubicBezTo>
                      <a:pt x="136" y="129"/>
                      <a:pt x="184" y="148"/>
                      <a:pt x="229" y="173"/>
                    </a:cubicBezTo>
                    <a:cubicBezTo>
                      <a:pt x="233" y="176"/>
                      <a:pt x="236" y="181"/>
                      <a:pt x="234" y="186"/>
                    </a:cubicBezTo>
                    <a:cubicBezTo>
                      <a:pt x="232" y="192"/>
                      <a:pt x="227" y="195"/>
                      <a:pt x="222" y="194"/>
                    </a:cubicBezTo>
                    <a:cubicBezTo>
                      <a:pt x="178" y="190"/>
                      <a:pt x="134" y="191"/>
                      <a:pt x="90" y="197"/>
                    </a:cubicBezTo>
                    <a:cubicBezTo>
                      <a:pt x="135" y="207"/>
                      <a:pt x="179" y="223"/>
                      <a:pt x="221" y="244"/>
                    </a:cubicBezTo>
                    <a:cubicBezTo>
                      <a:pt x="226" y="247"/>
                      <a:pt x="228" y="252"/>
                      <a:pt x="227" y="257"/>
                    </a:cubicBezTo>
                    <a:cubicBezTo>
                      <a:pt x="226" y="262"/>
                      <a:pt x="222" y="265"/>
                      <a:pt x="216" y="265"/>
                    </a:cubicBezTo>
                    <a:cubicBezTo>
                      <a:pt x="156" y="266"/>
                      <a:pt x="97" y="277"/>
                      <a:pt x="40" y="298"/>
                    </a:cubicBezTo>
                    <a:cubicBezTo>
                      <a:pt x="38" y="298"/>
                      <a:pt x="37" y="298"/>
                      <a:pt x="36" y="298"/>
                    </a:cubicBez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accent6"/>
                  </a:solidFill>
                  <a:latin typeface="+mj-lt"/>
                </a:endParaRPr>
              </a:p>
            </p:txBody>
          </p:sp>
        </p:grpSp>
        <p:sp>
          <p:nvSpPr>
            <p:cNvPr id="441" name="Freeform 6"/>
            <p:cNvSpPr>
              <a:spLocks/>
            </p:cNvSpPr>
            <p:nvPr/>
          </p:nvSpPr>
          <p:spPr bwMode="auto">
            <a:xfrm>
              <a:off x="3286040" y="1584853"/>
              <a:ext cx="132943" cy="161087"/>
            </a:xfrm>
            <a:custGeom>
              <a:avLst/>
              <a:gdLst/>
              <a:ahLst/>
              <a:cxnLst>
                <a:cxn ang="0">
                  <a:pos x="36" y="298"/>
                </a:cxn>
                <a:cxn ang="0">
                  <a:pos x="25" y="291"/>
                </a:cxn>
                <a:cxn ang="0">
                  <a:pos x="32" y="277"/>
                </a:cxn>
                <a:cxn ang="0">
                  <a:pos x="170" y="245"/>
                </a:cxn>
                <a:cxn ang="0">
                  <a:pos x="26" y="209"/>
                </a:cxn>
                <a:cxn ang="0">
                  <a:pos x="16" y="199"/>
                </a:cxn>
                <a:cxn ang="0">
                  <a:pos x="24" y="187"/>
                </a:cxn>
                <a:cxn ang="0">
                  <a:pos x="171" y="169"/>
                </a:cxn>
                <a:cxn ang="0">
                  <a:pos x="17" y="124"/>
                </a:cxn>
                <a:cxn ang="0">
                  <a:pos x="8" y="113"/>
                </a:cxn>
                <a:cxn ang="0">
                  <a:pos x="17" y="102"/>
                </a:cxn>
                <a:cxn ang="0">
                  <a:pos x="163" y="93"/>
                </a:cxn>
                <a:cxn ang="0">
                  <a:pos x="11" y="54"/>
                </a:cxn>
                <a:cxn ang="0">
                  <a:pos x="1" y="44"/>
                </a:cxn>
                <a:cxn ang="0">
                  <a:pos x="9" y="32"/>
                </a:cxn>
                <a:cxn ang="0">
                  <a:pos x="235" y="2"/>
                </a:cxn>
                <a:cxn ang="0">
                  <a:pos x="245" y="14"/>
                </a:cxn>
                <a:cxn ang="0">
                  <a:pos x="234" y="25"/>
                </a:cxn>
                <a:cxn ang="0">
                  <a:pos x="65" y="40"/>
                </a:cxn>
                <a:cxn ang="0">
                  <a:pos x="236" y="102"/>
                </a:cxn>
                <a:cxn ang="0">
                  <a:pos x="241" y="116"/>
                </a:cxn>
                <a:cxn ang="0">
                  <a:pos x="229" y="123"/>
                </a:cxn>
                <a:cxn ang="0">
                  <a:pos x="87" y="116"/>
                </a:cxn>
                <a:cxn ang="0">
                  <a:pos x="229" y="173"/>
                </a:cxn>
                <a:cxn ang="0">
                  <a:pos x="234" y="186"/>
                </a:cxn>
                <a:cxn ang="0">
                  <a:pos x="222" y="194"/>
                </a:cxn>
                <a:cxn ang="0">
                  <a:pos x="90" y="197"/>
                </a:cxn>
                <a:cxn ang="0">
                  <a:pos x="221" y="244"/>
                </a:cxn>
                <a:cxn ang="0">
                  <a:pos x="227" y="257"/>
                </a:cxn>
                <a:cxn ang="0">
                  <a:pos x="216" y="265"/>
                </a:cxn>
                <a:cxn ang="0">
                  <a:pos x="40" y="298"/>
                </a:cxn>
                <a:cxn ang="0">
                  <a:pos x="36" y="298"/>
                </a:cxn>
              </a:cxnLst>
              <a:rect l="0" t="0" r="r" b="b"/>
              <a:pathLst>
                <a:path w="246" h="298">
                  <a:moveTo>
                    <a:pt x="36" y="298"/>
                  </a:moveTo>
                  <a:cubicBezTo>
                    <a:pt x="31" y="298"/>
                    <a:pt x="27" y="295"/>
                    <a:pt x="25" y="291"/>
                  </a:cubicBezTo>
                  <a:cubicBezTo>
                    <a:pt x="23" y="285"/>
                    <a:pt x="26" y="279"/>
                    <a:pt x="32" y="277"/>
                  </a:cubicBezTo>
                  <a:cubicBezTo>
                    <a:pt x="77" y="260"/>
                    <a:pt x="123" y="250"/>
                    <a:pt x="170" y="245"/>
                  </a:cubicBezTo>
                  <a:cubicBezTo>
                    <a:pt x="124" y="227"/>
                    <a:pt x="75" y="214"/>
                    <a:pt x="26" y="209"/>
                  </a:cubicBezTo>
                  <a:cubicBezTo>
                    <a:pt x="20" y="208"/>
                    <a:pt x="16" y="204"/>
                    <a:pt x="16" y="199"/>
                  </a:cubicBezTo>
                  <a:cubicBezTo>
                    <a:pt x="16" y="193"/>
                    <a:pt x="19" y="188"/>
                    <a:pt x="24" y="187"/>
                  </a:cubicBezTo>
                  <a:cubicBezTo>
                    <a:pt x="73" y="175"/>
                    <a:pt x="122" y="169"/>
                    <a:pt x="171" y="169"/>
                  </a:cubicBezTo>
                  <a:cubicBezTo>
                    <a:pt x="122" y="147"/>
                    <a:pt x="70" y="132"/>
                    <a:pt x="17" y="124"/>
                  </a:cubicBezTo>
                  <a:cubicBezTo>
                    <a:pt x="12" y="123"/>
                    <a:pt x="8" y="118"/>
                    <a:pt x="8" y="113"/>
                  </a:cubicBezTo>
                  <a:cubicBezTo>
                    <a:pt x="8" y="107"/>
                    <a:pt x="11" y="103"/>
                    <a:pt x="17" y="102"/>
                  </a:cubicBezTo>
                  <a:cubicBezTo>
                    <a:pt x="65" y="93"/>
                    <a:pt x="114" y="90"/>
                    <a:pt x="163" y="93"/>
                  </a:cubicBezTo>
                  <a:cubicBezTo>
                    <a:pt x="114" y="74"/>
                    <a:pt x="63" y="60"/>
                    <a:pt x="11" y="54"/>
                  </a:cubicBezTo>
                  <a:cubicBezTo>
                    <a:pt x="5" y="53"/>
                    <a:pt x="1" y="49"/>
                    <a:pt x="1" y="44"/>
                  </a:cubicBezTo>
                  <a:cubicBezTo>
                    <a:pt x="0" y="39"/>
                    <a:pt x="4" y="34"/>
                    <a:pt x="9" y="32"/>
                  </a:cubicBezTo>
                  <a:cubicBezTo>
                    <a:pt x="82" y="10"/>
                    <a:pt x="158" y="0"/>
                    <a:pt x="235" y="2"/>
                  </a:cubicBezTo>
                  <a:cubicBezTo>
                    <a:pt x="241" y="3"/>
                    <a:pt x="246" y="8"/>
                    <a:pt x="245" y="14"/>
                  </a:cubicBezTo>
                  <a:cubicBezTo>
                    <a:pt x="245" y="20"/>
                    <a:pt x="240" y="25"/>
                    <a:pt x="234" y="25"/>
                  </a:cubicBezTo>
                  <a:cubicBezTo>
                    <a:pt x="177" y="23"/>
                    <a:pt x="120" y="28"/>
                    <a:pt x="65" y="40"/>
                  </a:cubicBezTo>
                  <a:cubicBezTo>
                    <a:pt x="124" y="53"/>
                    <a:pt x="181" y="73"/>
                    <a:pt x="236" y="102"/>
                  </a:cubicBezTo>
                  <a:cubicBezTo>
                    <a:pt x="240" y="105"/>
                    <a:pt x="243" y="110"/>
                    <a:pt x="241" y="116"/>
                  </a:cubicBezTo>
                  <a:cubicBezTo>
                    <a:pt x="239" y="121"/>
                    <a:pt x="234" y="124"/>
                    <a:pt x="229" y="123"/>
                  </a:cubicBezTo>
                  <a:cubicBezTo>
                    <a:pt x="182" y="115"/>
                    <a:pt x="134" y="112"/>
                    <a:pt x="87" y="116"/>
                  </a:cubicBezTo>
                  <a:cubicBezTo>
                    <a:pt x="136" y="129"/>
                    <a:pt x="184" y="148"/>
                    <a:pt x="229" y="173"/>
                  </a:cubicBezTo>
                  <a:cubicBezTo>
                    <a:pt x="233" y="176"/>
                    <a:pt x="236" y="181"/>
                    <a:pt x="234" y="186"/>
                  </a:cubicBezTo>
                  <a:cubicBezTo>
                    <a:pt x="232" y="192"/>
                    <a:pt x="227" y="195"/>
                    <a:pt x="222" y="194"/>
                  </a:cubicBezTo>
                  <a:cubicBezTo>
                    <a:pt x="178" y="190"/>
                    <a:pt x="134" y="191"/>
                    <a:pt x="90" y="197"/>
                  </a:cubicBezTo>
                  <a:cubicBezTo>
                    <a:pt x="135" y="207"/>
                    <a:pt x="179" y="223"/>
                    <a:pt x="221" y="244"/>
                  </a:cubicBezTo>
                  <a:cubicBezTo>
                    <a:pt x="226" y="247"/>
                    <a:pt x="228" y="252"/>
                    <a:pt x="227" y="257"/>
                  </a:cubicBezTo>
                  <a:cubicBezTo>
                    <a:pt x="226" y="262"/>
                    <a:pt x="222" y="265"/>
                    <a:pt x="216" y="265"/>
                  </a:cubicBezTo>
                  <a:cubicBezTo>
                    <a:pt x="156" y="266"/>
                    <a:pt x="97" y="277"/>
                    <a:pt x="40" y="298"/>
                  </a:cubicBezTo>
                  <a:cubicBezTo>
                    <a:pt x="38" y="298"/>
                    <a:pt x="37" y="298"/>
                    <a:pt x="36" y="298"/>
                  </a:cubicBez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accent6"/>
                </a:solidFill>
                <a:latin typeface="+mj-lt"/>
              </a:endParaRPr>
            </a:p>
          </p:txBody>
        </p:sp>
      </p:grpSp>
      <p:grpSp>
        <p:nvGrpSpPr>
          <p:cNvPr id="196" name="Group 444"/>
          <p:cNvGrpSpPr/>
          <p:nvPr/>
        </p:nvGrpSpPr>
        <p:grpSpPr>
          <a:xfrm>
            <a:off x="8380538" y="3807154"/>
            <a:ext cx="292608" cy="292608"/>
            <a:chOff x="8376516" y="3864204"/>
            <a:chExt cx="292608" cy="292608"/>
          </a:xfrm>
        </p:grpSpPr>
        <p:sp>
          <p:nvSpPr>
            <p:cNvPr id="446" name="Oval 445"/>
            <p:cNvSpPr/>
            <p:nvPr/>
          </p:nvSpPr>
          <p:spPr>
            <a:xfrm>
              <a:off x="8376516" y="3864204"/>
              <a:ext cx="292608" cy="292608"/>
            </a:xfrm>
            <a:prstGeom prst="ellipse">
              <a:avLst/>
            </a:prstGeom>
            <a:solidFill>
              <a:schemeClr val="bg2">
                <a:lumMod val="75000"/>
              </a:schemeClr>
            </a:solidFill>
            <a:ln w="952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47" name="Freeform 11"/>
            <p:cNvSpPr>
              <a:spLocks noEditPoints="1"/>
            </p:cNvSpPr>
            <p:nvPr/>
          </p:nvSpPr>
          <p:spPr bwMode="auto">
            <a:xfrm>
              <a:off x="8413012" y="3952154"/>
              <a:ext cx="219617" cy="147607"/>
            </a:xfrm>
            <a:custGeom>
              <a:avLst/>
              <a:gdLst/>
              <a:ahLst/>
              <a:cxnLst>
                <a:cxn ang="0">
                  <a:pos x="1184" y="960"/>
                </a:cxn>
                <a:cxn ang="0">
                  <a:pos x="864" y="960"/>
                </a:cxn>
                <a:cxn ang="0">
                  <a:pos x="1024" y="864"/>
                </a:cxn>
                <a:cxn ang="0">
                  <a:pos x="1024" y="1056"/>
                </a:cxn>
                <a:cxn ang="0">
                  <a:pos x="1024" y="864"/>
                </a:cxn>
                <a:cxn ang="0">
                  <a:pos x="0" y="64"/>
                </a:cxn>
                <a:cxn ang="0">
                  <a:pos x="160" y="384"/>
                </a:cxn>
                <a:cxn ang="0">
                  <a:pos x="288" y="512"/>
                </a:cxn>
                <a:cxn ang="0">
                  <a:pos x="320" y="672"/>
                </a:cxn>
                <a:cxn ang="0">
                  <a:pos x="1728" y="672"/>
                </a:cxn>
                <a:cxn ang="0">
                  <a:pos x="1760" y="512"/>
                </a:cxn>
                <a:cxn ang="0">
                  <a:pos x="1888" y="384"/>
                </a:cxn>
                <a:cxn ang="0">
                  <a:pos x="2048" y="64"/>
                </a:cxn>
                <a:cxn ang="0">
                  <a:pos x="0" y="0"/>
                </a:cxn>
                <a:cxn ang="0">
                  <a:pos x="1024" y="1312"/>
                </a:cxn>
                <a:cxn ang="0">
                  <a:pos x="384" y="512"/>
                </a:cxn>
                <a:cxn ang="0">
                  <a:pos x="1664" y="672"/>
                </a:cxn>
                <a:cxn ang="0">
                  <a:pos x="352" y="448"/>
                </a:cxn>
                <a:cxn ang="0">
                  <a:pos x="1696" y="384"/>
                </a:cxn>
                <a:cxn ang="0">
                  <a:pos x="1824" y="320"/>
                </a:cxn>
                <a:cxn ang="0">
                  <a:pos x="224" y="64"/>
                </a:cxn>
                <a:cxn ang="0">
                  <a:pos x="1824" y="320"/>
                </a:cxn>
                <a:cxn ang="0">
                  <a:pos x="1033" y="905"/>
                </a:cxn>
                <a:cxn ang="0">
                  <a:pos x="1015" y="1015"/>
                </a:cxn>
                <a:cxn ang="0">
                  <a:pos x="928" y="160"/>
                </a:cxn>
                <a:cxn ang="0">
                  <a:pos x="864" y="224"/>
                </a:cxn>
                <a:cxn ang="0">
                  <a:pos x="928" y="160"/>
                </a:cxn>
                <a:cxn ang="0">
                  <a:pos x="1312" y="960"/>
                </a:cxn>
                <a:cxn ang="0">
                  <a:pos x="736" y="960"/>
                </a:cxn>
                <a:cxn ang="0">
                  <a:pos x="1024" y="736"/>
                </a:cxn>
                <a:cxn ang="0">
                  <a:pos x="1024" y="1184"/>
                </a:cxn>
                <a:cxn ang="0">
                  <a:pos x="1024" y="736"/>
                </a:cxn>
                <a:cxn ang="0">
                  <a:pos x="1120" y="160"/>
                </a:cxn>
                <a:cxn ang="0">
                  <a:pos x="1184" y="224"/>
                </a:cxn>
                <a:cxn ang="0">
                  <a:pos x="1056" y="160"/>
                </a:cxn>
                <a:cxn ang="0">
                  <a:pos x="992" y="224"/>
                </a:cxn>
                <a:cxn ang="0">
                  <a:pos x="1056" y="160"/>
                </a:cxn>
              </a:cxnLst>
              <a:rect l="0" t="0" r="r" b="b"/>
              <a:pathLst>
                <a:path w="2048" h="1376">
                  <a:moveTo>
                    <a:pt x="1024" y="1120"/>
                  </a:moveTo>
                  <a:cubicBezTo>
                    <a:pt x="1112" y="1120"/>
                    <a:pt x="1184" y="1048"/>
                    <a:pt x="1184" y="960"/>
                  </a:cubicBezTo>
                  <a:cubicBezTo>
                    <a:pt x="1184" y="872"/>
                    <a:pt x="1112" y="800"/>
                    <a:pt x="1024" y="800"/>
                  </a:cubicBezTo>
                  <a:cubicBezTo>
                    <a:pt x="936" y="800"/>
                    <a:pt x="864" y="872"/>
                    <a:pt x="864" y="960"/>
                  </a:cubicBezTo>
                  <a:cubicBezTo>
                    <a:pt x="864" y="1048"/>
                    <a:pt x="936" y="1120"/>
                    <a:pt x="1024" y="1120"/>
                  </a:cubicBezTo>
                  <a:close/>
                  <a:moveTo>
                    <a:pt x="1024" y="864"/>
                  </a:moveTo>
                  <a:cubicBezTo>
                    <a:pt x="1077" y="864"/>
                    <a:pt x="1120" y="907"/>
                    <a:pt x="1120" y="960"/>
                  </a:cubicBezTo>
                  <a:cubicBezTo>
                    <a:pt x="1120" y="1013"/>
                    <a:pt x="1077" y="1056"/>
                    <a:pt x="1024" y="1056"/>
                  </a:cubicBezTo>
                  <a:cubicBezTo>
                    <a:pt x="971" y="1056"/>
                    <a:pt x="928" y="1013"/>
                    <a:pt x="928" y="960"/>
                  </a:cubicBezTo>
                  <a:cubicBezTo>
                    <a:pt x="928" y="907"/>
                    <a:pt x="971" y="864"/>
                    <a:pt x="1024" y="864"/>
                  </a:cubicBezTo>
                  <a:close/>
                  <a:moveTo>
                    <a:pt x="0" y="0"/>
                  </a:moveTo>
                  <a:cubicBezTo>
                    <a:pt x="0" y="64"/>
                    <a:pt x="0" y="64"/>
                    <a:pt x="0" y="64"/>
                  </a:cubicBezTo>
                  <a:cubicBezTo>
                    <a:pt x="160" y="64"/>
                    <a:pt x="160" y="64"/>
                    <a:pt x="160" y="64"/>
                  </a:cubicBezTo>
                  <a:cubicBezTo>
                    <a:pt x="160" y="384"/>
                    <a:pt x="160" y="384"/>
                    <a:pt x="160" y="384"/>
                  </a:cubicBezTo>
                  <a:cubicBezTo>
                    <a:pt x="288" y="384"/>
                    <a:pt x="288" y="384"/>
                    <a:pt x="288" y="384"/>
                  </a:cubicBezTo>
                  <a:cubicBezTo>
                    <a:pt x="288" y="512"/>
                    <a:pt x="288" y="512"/>
                    <a:pt x="288" y="512"/>
                  </a:cubicBezTo>
                  <a:cubicBezTo>
                    <a:pt x="320" y="512"/>
                    <a:pt x="320" y="512"/>
                    <a:pt x="320" y="512"/>
                  </a:cubicBezTo>
                  <a:cubicBezTo>
                    <a:pt x="320" y="672"/>
                    <a:pt x="320" y="672"/>
                    <a:pt x="320" y="672"/>
                  </a:cubicBezTo>
                  <a:cubicBezTo>
                    <a:pt x="320" y="1060"/>
                    <a:pt x="636" y="1376"/>
                    <a:pt x="1024" y="1376"/>
                  </a:cubicBezTo>
                  <a:cubicBezTo>
                    <a:pt x="1412" y="1376"/>
                    <a:pt x="1728" y="1060"/>
                    <a:pt x="1728" y="672"/>
                  </a:cubicBezTo>
                  <a:cubicBezTo>
                    <a:pt x="1728" y="512"/>
                    <a:pt x="1728" y="512"/>
                    <a:pt x="1728" y="512"/>
                  </a:cubicBezTo>
                  <a:cubicBezTo>
                    <a:pt x="1760" y="512"/>
                    <a:pt x="1760" y="512"/>
                    <a:pt x="1760" y="512"/>
                  </a:cubicBezTo>
                  <a:cubicBezTo>
                    <a:pt x="1760" y="384"/>
                    <a:pt x="1760" y="384"/>
                    <a:pt x="1760" y="384"/>
                  </a:cubicBezTo>
                  <a:cubicBezTo>
                    <a:pt x="1888" y="384"/>
                    <a:pt x="1888" y="384"/>
                    <a:pt x="1888" y="384"/>
                  </a:cubicBezTo>
                  <a:cubicBezTo>
                    <a:pt x="1888" y="64"/>
                    <a:pt x="1888" y="64"/>
                    <a:pt x="1888" y="64"/>
                  </a:cubicBezTo>
                  <a:cubicBezTo>
                    <a:pt x="2048" y="64"/>
                    <a:pt x="2048" y="64"/>
                    <a:pt x="2048" y="64"/>
                  </a:cubicBezTo>
                  <a:cubicBezTo>
                    <a:pt x="2048" y="0"/>
                    <a:pt x="2048" y="0"/>
                    <a:pt x="2048" y="0"/>
                  </a:cubicBezTo>
                  <a:lnTo>
                    <a:pt x="0" y="0"/>
                  </a:lnTo>
                  <a:close/>
                  <a:moveTo>
                    <a:pt x="1664" y="672"/>
                  </a:moveTo>
                  <a:cubicBezTo>
                    <a:pt x="1664" y="1025"/>
                    <a:pt x="1377" y="1312"/>
                    <a:pt x="1024" y="1312"/>
                  </a:cubicBezTo>
                  <a:cubicBezTo>
                    <a:pt x="671" y="1312"/>
                    <a:pt x="384" y="1025"/>
                    <a:pt x="384" y="672"/>
                  </a:cubicBezTo>
                  <a:cubicBezTo>
                    <a:pt x="384" y="512"/>
                    <a:pt x="384" y="512"/>
                    <a:pt x="384" y="512"/>
                  </a:cubicBezTo>
                  <a:cubicBezTo>
                    <a:pt x="1664" y="512"/>
                    <a:pt x="1664" y="512"/>
                    <a:pt x="1664" y="512"/>
                  </a:cubicBezTo>
                  <a:lnTo>
                    <a:pt x="1664" y="672"/>
                  </a:lnTo>
                  <a:close/>
                  <a:moveTo>
                    <a:pt x="1696" y="448"/>
                  </a:moveTo>
                  <a:cubicBezTo>
                    <a:pt x="352" y="448"/>
                    <a:pt x="352" y="448"/>
                    <a:pt x="352" y="448"/>
                  </a:cubicBezTo>
                  <a:cubicBezTo>
                    <a:pt x="352" y="384"/>
                    <a:pt x="352" y="384"/>
                    <a:pt x="352" y="384"/>
                  </a:cubicBezTo>
                  <a:cubicBezTo>
                    <a:pt x="1696" y="384"/>
                    <a:pt x="1696" y="384"/>
                    <a:pt x="1696" y="384"/>
                  </a:cubicBezTo>
                  <a:lnTo>
                    <a:pt x="1696" y="448"/>
                  </a:lnTo>
                  <a:close/>
                  <a:moveTo>
                    <a:pt x="1824" y="320"/>
                  </a:moveTo>
                  <a:cubicBezTo>
                    <a:pt x="224" y="320"/>
                    <a:pt x="224" y="320"/>
                    <a:pt x="224" y="320"/>
                  </a:cubicBezTo>
                  <a:cubicBezTo>
                    <a:pt x="224" y="64"/>
                    <a:pt x="224" y="64"/>
                    <a:pt x="224" y="64"/>
                  </a:cubicBezTo>
                  <a:cubicBezTo>
                    <a:pt x="1824" y="64"/>
                    <a:pt x="1824" y="64"/>
                    <a:pt x="1824" y="64"/>
                  </a:cubicBezTo>
                  <a:lnTo>
                    <a:pt x="1824" y="320"/>
                  </a:lnTo>
                  <a:close/>
                  <a:moveTo>
                    <a:pt x="1079" y="951"/>
                  </a:moveTo>
                  <a:cubicBezTo>
                    <a:pt x="1033" y="905"/>
                    <a:pt x="1033" y="905"/>
                    <a:pt x="1033" y="905"/>
                  </a:cubicBezTo>
                  <a:cubicBezTo>
                    <a:pt x="969" y="969"/>
                    <a:pt x="969" y="969"/>
                    <a:pt x="969" y="969"/>
                  </a:cubicBezTo>
                  <a:cubicBezTo>
                    <a:pt x="1015" y="1015"/>
                    <a:pt x="1015" y="1015"/>
                    <a:pt x="1015" y="1015"/>
                  </a:cubicBezTo>
                  <a:lnTo>
                    <a:pt x="1079" y="951"/>
                  </a:lnTo>
                  <a:close/>
                  <a:moveTo>
                    <a:pt x="928" y="160"/>
                  </a:moveTo>
                  <a:cubicBezTo>
                    <a:pt x="864" y="160"/>
                    <a:pt x="864" y="160"/>
                    <a:pt x="864" y="160"/>
                  </a:cubicBezTo>
                  <a:cubicBezTo>
                    <a:pt x="864" y="224"/>
                    <a:pt x="864" y="224"/>
                    <a:pt x="864" y="224"/>
                  </a:cubicBezTo>
                  <a:cubicBezTo>
                    <a:pt x="928" y="224"/>
                    <a:pt x="928" y="224"/>
                    <a:pt x="928" y="224"/>
                  </a:cubicBezTo>
                  <a:lnTo>
                    <a:pt x="928" y="160"/>
                  </a:lnTo>
                  <a:close/>
                  <a:moveTo>
                    <a:pt x="1024" y="1248"/>
                  </a:moveTo>
                  <a:cubicBezTo>
                    <a:pt x="1183" y="1248"/>
                    <a:pt x="1312" y="1119"/>
                    <a:pt x="1312" y="960"/>
                  </a:cubicBezTo>
                  <a:cubicBezTo>
                    <a:pt x="1312" y="801"/>
                    <a:pt x="1183" y="672"/>
                    <a:pt x="1024" y="672"/>
                  </a:cubicBezTo>
                  <a:cubicBezTo>
                    <a:pt x="865" y="672"/>
                    <a:pt x="736" y="801"/>
                    <a:pt x="736" y="960"/>
                  </a:cubicBezTo>
                  <a:cubicBezTo>
                    <a:pt x="736" y="1119"/>
                    <a:pt x="865" y="1248"/>
                    <a:pt x="1024" y="1248"/>
                  </a:cubicBezTo>
                  <a:close/>
                  <a:moveTo>
                    <a:pt x="1024" y="736"/>
                  </a:moveTo>
                  <a:cubicBezTo>
                    <a:pt x="1148" y="736"/>
                    <a:pt x="1248" y="836"/>
                    <a:pt x="1248" y="960"/>
                  </a:cubicBezTo>
                  <a:cubicBezTo>
                    <a:pt x="1248" y="1084"/>
                    <a:pt x="1148" y="1184"/>
                    <a:pt x="1024" y="1184"/>
                  </a:cubicBezTo>
                  <a:cubicBezTo>
                    <a:pt x="900" y="1184"/>
                    <a:pt x="800" y="1084"/>
                    <a:pt x="800" y="960"/>
                  </a:cubicBezTo>
                  <a:cubicBezTo>
                    <a:pt x="800" y="836"/>
                    <a:pt x="900" y="736"/>
                    <a:pt x="1024" y="736"/>
                  </a:cubicBezTo>
                  <a:close/>
                  <a:moveTo>
                    <a:pt x="1184" y="160"/>
                  </a:moveTo>
                  <a:cubicBezTo>
                    <a:pt x="1120" y="160"/>
                    <a:pt x="1120" y="160"/>
                    <a:pt x="1120" y="160"/>
                  </a:cubicBezTo>
                  <a:cubicBezTo>
                    <a:pt x="1120" y="224"/>
                    <a:pt x="1120" y="224"/>
                    <a:pt x="1120" y="224"/>
                  </a:cubicBezTo>
                  <a:cubicBezTo>
                    <a:pt x="1184" y="224"/>
                    <a:pt x="1184" y="224"/>
                    <a:pt x="1184" y="224"/>
                  </a:cubicBezTo>
                  <a:lnTo>
                    <a:pt x="1184" y="160"/>
                  </a:lnTo>
                  <a:close/>
                  <a:moveTo>
                    <a:pt x="1056" y="160"/>
                  </a:moveTo>
                  <a:cubicBezTo>
                    <a:pt x="992" y="160"/>
                    <a:pt x="992" y="160"/>
                    <a:pt x="992" y="160"/>
                  </a:cubicBezTo>
                  <a:cubicBezTo>
                    <a:pt x="992" y="224"/>
                    <a:pt x="992" y="224"/>
                    <a:pt x="992" y="224"/>
                  </a:cubicBezTo>
                  <a:cubicBezTo>
                    <a:pt x="1056" y="224"/>
                    <a:pt x="1056" y="224"/>
                    <a:pt x="1056" y="224"/>
                  </a:cubicBezTo>
                  <a:lnTo>
                    <a:pt x="1056" y="16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56" name="Group 155"/>
          <p:cNvGrpSpPr/>
          <p:nvPr/>
        </p:nvGrpSpPr>
        <p:grpSpPr>
          <a:xfrm>
            <a:off x="6849993" y="3827628"/>
            <a:ext cx="292608" cy="292608"/>
            <a:chOff x="6849993" y="3827628"/>
            <a:chExt cx="292608" cy="292608"/>
          </a:xfrm>
        </p:grpSpPr>
        <p:sp>
          <p:nvSpPr>
            <p:cNvPr id="339" name="Oval 338"/>
            <p:cNvSpPr/>
            <p:nvPr/>
          </p:nvSpPr>
          <p:spPr>
            <a:xfrm>
              <a:off x="6849993" y="3827628"/>
              <a:ext cx="292608" cy="29260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46" name="Freeform 15"/>
            <p:cNvSpPr>
              <a:spLocks noEditPoints="1"/>
            </p:cNvSpPr>
            <p:nvPr/>
          </p:nvSpPr>
          <p:spPr bwMode="auto">
            <a:xfrm>
              <a:off x="6912832" y="3890449"/>
              <a:ext cx="166931" cy="166966"/>
            </a:xfrm>
            <a:custGeom>
              <a:avLst/>
              <a:gdLst/>
              <a:ahLst/>
              <a:cxnLst>
                <a:cxn ang="0">
                  <a:pos x="1420" y="1718"/>
                </a:cxn>
                <a:cxn ang="0">
                  <a:pos x="1354" y="1453"/>
                </a:cxn>
                <a:cxn ang="0">
                  <a:pos x="1212" y="1156"/>
                </a:cxn>
                <a:cxn ang="0">
                  <a:pos x="1652" y="567"/>
                </a:cxn>
                <a:cxn ang="0">
                  <a:pos x="1718" y="231"/>
                </a:cxn>
                <a:cxn ang="0">
                  <a:pos x="793" y="132"/>
                </a:cxn>
                <a:cxn ang="0">
                  <a:pos x="157" y="0"/>
                </a:cxn>
                <a:cxn ang="0">
                  <a:pos x="264" y="198"/>
                </a:cxn>
                <a:cxn ang="0">
                  <a:pos x="0" y="384"/>
                </a:cxn>
                <a:cxn ang="0">
                  <a:pos x="661" y="330"/>
                </a:cxn>
                <a:cxn ang="0">
                  <a:pos x="1268" y="396"/>
                </a:cxn>
                <a:cxn ang="0">
                  <a:pos x="593" y="1267"/>
                </a:cxn>
                <a:cxn ang="0">
                  <a:pos x="892" y="1519"/>
                </a:cxn>
                <a:cxn ang="0">
                  <a:pos x="892" y="1718"/>
                </a:cxn>
                <a:cxn ang="0">
                  <a:pos x="529" y="2048"/>
                </a:cxn>
                <a:cxn ang="0">
                  <a:pos x="1354" y="1784"/>
                </a:cxn>
                <a:cxn ang="0">
                  <a:pos x="66" y="343"/>
                </a:cxn>
                <a:cxn ang="0">
                  <a:pos x="330" y="132"/>
                </a:cxn>
                <a:cxn ang="0">
                  <a:pos x="173" y="66"/>
                </a:cxn>
                <a:cxn ang="0">
                  <a:pos x="595" y="396"/>
                </a:cxn>
                <a:cxn ang="0">
                  <a:pos x="595" y="66"/>
                </a:cxn>
                <a:cxn ang="0">
                  <a:pos x="661" y="264"/>
                </a:cxn>
                <a:cxn ang="0">
                  <a:pos x="793" y="264"/>
                </a:cxn>
                <a:cxn ang="0">
                  <a:pos x="1288" y="1586"/>
                </a:cxn>
                <a:cxn ang="0">
                  <a:pos x="1288" y="1718"/>
                </a:cxn>
                <a:cxn ang="0">
                  <a:pos x="958" y="1718"/>
                </a:cxn>
                <a:cxn ang="0">
                  <a:pos x="1024" y="1586"/>
                </a:cxn>
                <a:cxn ang="0">
                  <a:pos x="1024" y="1652"/>
                </a:cxn>
                <a:cxn ang="0">
                  <a:pos x="1222" y="1586"/>
                </a:cxn>
                <a:cxn ang="0">
                  <a:pos x="958" y="1519"/>
                </a:cxn>
                <a:cxn ang="0">
                  <a:pos x="1288" y="1519"/>
                </a:cxn>
                <a:cxn ang="0">
                  <a:pos x="1551" y="774"/>
                </a:cxn>
                <a:cxn ang="0">
                  <a:pos x="1040" y="1092"/>
                </a:cxn>
                <a:cxn ang="0">
                  <a:pos x="925" y="330"/>
                </a:cxn>
                <a:cxn ang="0">
                  <a:pos x="925" y="132"/>
                </a:cxn>
                <a:cxn ang="0">
                  <a:pos x="991" y="132"/>
                </a:cxn>
                <a:cxn ang="0">
                  <a:pos x="1652" y="330"/>
                </a:cxn>
                <a:cxn ang="0">
                  <a:pos x="1652" y="396"/>
                </a:cxn>
                <a:cxn ang="0">
                  <a:pos x="993" y="1045"/>
                </a:cxn>
                <a:cxn ang="0">
                  <a:pos x="1367" y="396"/>
                </a:cxn>
                <a:cxn ang="0">
                  <a:pos x="595" y="1112"/>
                </a:cxn>
                <a:cxn ang="0">
                  <a:pos x="1076" y="1222"/>
                </a:cxn>
                <a:cxn ang="0">
                  <a:pos x="806" y="1387"/>
                </a:cxn>
                <a:cxn ang="0">
                  <a:pos x="958" y="1652"/>
                </a:cxn>
                <a:cxn ang="0">
                  <a:pos x="1982" y="1982"/>
                </a:cxn>
                <a:cxn ang="0">
                  <a:pos x="1850" y="1916"/>
                </a:cxn>
                <a:cxn ang="0">
                  <a:pos x="1784" y="1916"/>
                </a:cxn>
                <a:cxn ang="0">
                  <a:pos x="1652" y="1982"/>
                </a:cxn>
                <a:cxn ang="0">
                  <a:pos x="1586" y="1982"/>
                </a:cxn>
                <a:cxn ang="0">
                  <a:pos x="1453" y="1916"/>
                </a:cxn>
                <a:cxn ang="0">
                  <a:pos x="1387" y="1916"/>
                </a:cxn>
                <a:cxn ang="0">
                  <a:pos x="1255" y="1982"/>
                </a:cxn>
                <a:cxn ang="0">
                  <a:pos x="1189" y="1982"/>
                </a:cxn>
                <a:cxn ang="0">
                  <a:pos x="1057" y="1916"/>
                </a:cxn>
                <a:cxn ang="0">
                  <a:pos x="991" y="1916"/>
                </a:cxn>
                <a:cxn ang="0">
                  <a:pos x="859" y="1982"/>
                </a:cxn>
                <a:cxn ang="0">
                  <a:pos x="793" y="1982"/>
                </a:cxn>
                <a:cxn ang="0">
                  <a:pos x="661" y="1916"/>
                </a:cxn>
                <a:cxn ang="0">
                  <a:pos x="595" y="1850"/>
                </a:cxn>
                <a:cxn ang="0">
                  <a:pos x="743" y="1024"/>
                </a:cxn>
                <a:cxn ang="0">
                  <a:pos x="826" y="1107"/>
                </a:cxn>
                <a:cxn ang="0">
                  <a:pos x="727" y="1107"/>
                </a:cxn>
                <a:cxn ang="0">
                  <a:pos x="743" y="1123"/>
                </a:cxn>
              </a:cxnLst>
              <a:rect l="0" t="0" r="r" b="b"/>
              <a:pathLst>
                <a:path w="2048" h="2048">
                  <a:moveTo>
                    <a:pt x="1354" y="1784"/>
                  </a:moveTo>
                  <a:cubicBezTo>
                    <a:pt x="1354" y="1718"/>
                    <a:pt x="1354" y="1718"/>
                    <a:pt x="1354" y="1718"/>
                  </a:cubicBezTo>
                  <a:cubicBezTo>
                    <a:pt x="1420" y="1718"/>
                    <a:pt x="1420" y="1718"/>
                    <a:pt x="1420" y="1718"/>
                  </a:cubicBezTo>
                  <a:cubicBezTo>
                    <a:pt x="1420" y="1519"/>
                    <a:pt x="1420" y="1519"/>
                    <a:pt x="1420" y="1519"/>
                  </a:cubicBezTo>
                  <a:cubicBezTo>
                    <a:pt x="1354" y="1519"/>
                    <a:pt x="1354" y="1519"/>
                    <a:pt x="1354" y="1519"/>
                  </a:cubicBezTo>
                  <a:cubicBezTo>
                    <a:pt x="1354" y="1453"/>
                    <a:pt x="1354" y="1453"/>
                    <a:pt x="1354" y="1453"/>
                  </a:cubicBezTo>
                  <a:cubicBezTo>
                    <a:pt x="1486" y="1453"/>
                    <a:pt x="1486" y="1453"/>
                    <a:pt x="1486" y="1453"/>
                  </a:cubicBezTo>
                  <a:cubicBezTo>
                    <a:pt x="1486" y="1156"/>
                    <a:pt x="1486" y="1156"/>
                    <a:pt x="1486" y="1156"/>
                  </a:cubicBezTo>
                  <a:cubicBezTo>
                    <a:pt x="1212" y="1156"/>
                    <a:pt x="1212" y="1156"/>
                    <a:pt x="1212" y="1156"/>
                  </a:cubicBezTo>
                  <a:cubicBezTo>
                    <a:pt x="1595" y="824"/>
                    <a:pt x="1595" y="824"/>
                    <a:pt x="1595" y="824"/>
                  </a:cubicBezTo>
                  <a:cubicBezTo>
                    <a:pt x="1631" y="793"/>
                    <a:pt x="1652" y="747"/>
                    <a:pt x="1652" y="699"/>
                  </a:cubicBezTo>
                  <a:cubicBezTo>
                    <a:pt x="1652" y="567"/>
                    <a:pt x="1652" y="567"/>
                    <a:pt x="1652" y="567"/>
                  </a:cubicBezTo>
                  <a:cubicBezTo>
                    <a:pt x="1683" y="540"/>
                    <a:pt x="1683" y="540"/>
                    <a:pt x="1683" y="540"/>
                  </a:cubicBezTo>
                  <a:cubicBezTo>
                    <a:pt x="1705" y="521"/>
                    <a:pt x="1718" y="494"/>
                    <a:pt x="1718" y="465"/>
                  </a:cubicBezTo>
                  <a:cubicBezTo>
                    <a:pt x="1718" y="231"/>
                    <a:pt x="1718" y="231"/>
                    <a:pt x="1718" y="231"/>
                  </a:cubicBezTo>
                  <a:cubicBezTo>
                    <a:pt x="1718" y="140"/>
                    <a:pt x="1644" y="66"/>
                    <a:pt x="1553" y="66"/>
                  </a:cubicBezTo>
                  <a:cubicBezTo>
                    <a:pt x="793" y="66"/>
                    <a:pt x="793" y="66"/>
                    <a:pt x="793" y="66"/>
                  </a:cubicBezTo>
                  <a:cubicBezTo>
                    <a:pt x="793" y="132"/>
                    <a:pt x="793" y="132"/>
                    <a:pt x="793" y="132"/>
                  </a:cubicBezTo>
                  <a:cubicBezTo>
                    <a:pt x="661" y="132"/>
                    <a:pt x="661" y="132"/>
                    <a:pt x="661" y="132"/>
                  </a:cubicBezTo>
                  <a:cubicBezTo>
                    <a:pt x="661" y="0"/>
                    <a:pt x="661" y="0"/>
                    <a:pt x="661" y="0"/>
                  </a:cubicBezTo>
                  <a:cubicBezTo>
                    <a:pt x="157" y="0"/>
                    <a:pt x="157" y="0"/>
                    <a:pt x="157" y="0"/>
                  </a:cubicBezTo>
                  <a:cubicBezTo>
                    <a:pt x="0" y="79"/>
                    <a:pt x="0" y="79"/>
                    <a:pt x="0" y="79"/>
                  </a:cubicBezTo>
                  <a:cubicBezTo>
                    <a:pt x="0" y="198"/>
                    <a:pt x="0" y="198"/>
                    <a:pt x="0" y="198"/>
                  </a:cubicBezTo>
                  <a:cubicBezTo>
                    <a:pt x="264" y="198"/>
                    <a:pt x="264" y="198"/>
                    <a:pt x="264" y="198"/>
                  </a:cubicBezTo>
                  <a:cubicBezTo>
                    <a:pt x="264" y="264"/>
                    <a:pt x="264" y="264"/>
                    <a:pt x="264" y="264"/>
                  </a:cubicBezTo>
                  <a:cubicBezTo>
                    <a:pt x="0" y="264"/>
                    <a:pt x="0" y="264"/>
                    <a:pt x="0" y="264"/>
                  </a:cubicBezTo>
                  <a:cubicBezTo>
                    <a:pt x="0" y="384"/>
                    <a:pt x="0" y="384"/>
                    <a:pt x="0" y="384"/>
                  </a:cubicBezTo>
                  <a:cubicBezTo>
                    <a:pt x="157" y="462"/>
                    <a:pt x="157" y="462"/>
                    <a:pt x="157" y="462"/>
                  </a:cubicBezTo>
                  <a:cubicBezTo>
                    <a:pt x="661" y="462"/>
                    <a:pt x="661" y="462"/>
                    <a:pt x="661" y="462"/>
                  </a:cubicBezTo>
                  <a:cubicBezTo>
                    <a:pt x="661" y="330"/>
                    <a:pt x="661" y="330"/>
                    <a:pt x="661" y="330"/>
                  </a:cubicBezTo>
                  <a:cubicBezTo>
                    <a:pt x="793" y="330"/>
                    <a:pt x="793" y="330"/>
                    <a:pt x="793" y="330"/>
                  </a:cubicBezTo>
                  <a:cubicBezTo>
                    <a:pt x="793" y="396"/>
                    <a:pt x="793" y="396"/>
                    <a:pt x="793" y="396"/>
                  </a:cubicBezTo>
                  <a:cubicBezTo>
                    <a:pt x="1268" y="396"/>
                    <a:pt x="1268" y="396"/>
                    <a:pt x="1268" y="396"/>
                  </a:cubicBezTo>
                  <a:cubicBezTo>
                    <a:pt x="710" y="895"/>
                    <a:pt x="710" y="895"/>
                    <a:pt x="710" y="895"/>
                  </a:cubicBezTo>
                  <a:cubicBezTo>
                    <a:pt x="607" y="914"/>
                    <a:pt x="529" y="1004"/>
                    <a:pt x="529" y="1112"/>
                  </a:cubicBezTo>
                  <a:cubicBezTo>
                    <a:pt x="529" y="1170"/>
                    <a:pt x="551" y="1226"/>
                    <a:pt x="593" y="1267"/>
                  </a:cubicBezTo>
                  <a:cubicBezTo>
                    <a:pt x="779" y="1453"/>
                    <a:pt x="779" y="1453"/>
                    <a:pt x="779" y="1453"/>
                  </a:cubicBezTo>
                  <a:cubicBezTo>
                    <a:pt x="892" y="1453"/>
                    <a:pt x="892" y="1453"/>
                    <a:pt x="892" y="1453"/>
                  </a:cubicBezTo>
                  <a:cubicBezTo>
                    <a:pt x="892" y="1519"/>
                    <a:pt x="892" y="1519"/>
                    <a:pt x="892" y="1519"/>
                  </a:cubicBezTo>
                  <a:cubicBezTo>
                    <a:pt x="826" y="1519"/>
                    <a:pt x="826" y="1519"/>
                    <a:pt x="826" y="1519"/>
                  </a:cubicBezTo>
                  <a:cubicBezTo>
                    <a:pt x="826" y="1718"/>
                    <a:pt x="826" y="1718"/>
                    <a:pt x="826" y="1718"/>
                  </a:cubicBezTo>
                  <a:cubicBezTo>
                    <a:pt x="892" y="1718"/>
                    <a:pt x="892" y="1718"/>
                    <a:pt x="892" y="1718"/>
                  </a:cubicBezTo>
                  <a:cubicBezTo>
                    <a:pt x="892" y="1784"/>
                    <a:pt x="892" y="1784"/>
                    <a:pt x="892" y="1784"/>
                  </a:cubicBezTo>
                  <a:cubicBezTo>
                    <a:pt x="529" y="1784"/>
                    <a:pt x="529" y="1784"/>
                    <a:pt x="529" y="1784"/>
                  </a:cubicBezTo>
                  <a:cubicBezTo>
                    <a:pt x="529" y="2048"/>
                    <a:pt x="529" y="2048"/>
                    <a:pt x="529" y="2048"/>
                  </a:cubicBezTo>
                  <a:cubicBezTo>
                    <a:pt x="2048" y="2048"/>
                    <a:pt x="2048" y="2048"/>
                    <a:pt x="2048" y="2048"/>
                  </a:cubicBezTo>
                  <a:cubicBezTo>
                    <a:pt x="2048" y="1784"/>
                    <a:pt x="2048" y="1784"/>
                    <a:pt x="2048" y="1784"/>
                  </a:cubicBezTo>
                  <a:lnTo>
                    <a:pt x="1354" y="1784"/>
                  </a:lnTo>
                  <a:close/>
                  <a:moveTo>
                    <a:pt x="396" y="396"/>
                  </a:moveTo>
                  <a:cubicBezTo>
                    <a:pt x="173" y="396"/>
                    <a:pt x="173" y="396"/>
                    <a:pt x="173" y="396"/>
                  </a:cubicBezTo>
                  <a:cubicBezTo>
                    <a:pt x="66" y="343"/>
                    <a:pt x="66" y="343"/>
                    <a:pt x="66" y="343"/>
                  </a:cubicBezTo>
                  <a:cubicBezTo>
                    <a:pt x="66" y="330"/>
                    <a:pt x="66" y="330"/>
                    <a:pt x="66" y="330"/>
                  </a:cubicBezTo>
                  <a:cubicBezTo>
                    <a:pt x="330" y="330"/>
                    <a:pt x="330" y="330"/>
                    <a:pt x="330" y="330"/>
                  </a:cubicBezTo>
                  <a:cubicBezTo>
                    <a:pt x="330" y="132"/>
                    <a:pt x="330" y="132"/>
                    <a:pt x="330" y="132"/>
                  </a:cubicBezTo>
                  <a:cubicBezTo>
                    <a:pt x="66" y="132"/>
                    <a:pt x="66" y="132"/>
                    <a:pt x="66" y="132"/>
                  </a:cubicBezTo>
                  <a:cubicBezTo>
                    <a:pt x="66" y="120"/>
                    <a:pt x="66" y="120"/>
                    <a:pt x="66" y="120"/>
                  </a:cubicBezTo>
                  <a:cubicBezTo>
                    <a:pt x="173" y="66"/>
                    <a:pt x="173" y="66"/>
                    <a:pt x="173" y="66"/>
                  </a:cubicBezTo>
                  <a:cubicBezTo>
                    <a:pt x="396" y="66"/>
                    <a:pt x="396" y="66"/>
                    <a:pt x="396" y="66"/>
                  </a:cubicBezTo>
                  <a:lnTo>
                    <a:pt x="396" y="396"/>
                  </a:lnTo>
                  <a:close/>
                  <a:moveTo>
                    <a:pt x="595" y="396"/>
                  </a:moveTo>
                  <a:cubicBezTo>
                    <a:pt x="462" y="396"/>
                    <a:pt x="462" y="396"/>
                    <a:pt x="462" y="396"/>
                  </a:cubicBezTo>
                  <a:cubicBezTo>
                    <a:pt x="462" y="66"/>
                    <a:pt x="462" y="66"/>
                    <a:pt x="462" y="66"/>
                  </a:cubicBezTo>
                  <a:cubicBezTo>
                    <a:pt x="595" y="66"/>
                    <a:pt x="595" y="66"/>
                    <a:pt x="595" y="66"/>
                  </a:cubicBezTo>
                  <a:lnTo>
                    <a:pt x="595" y="396"/>
                  </a:lnTo>
                  <a:close/>
                  <a:moveTo>
                    <a:pt x="793" y="264"/>
                  </a:moveTo>
                  <a:cubicBezTo>
                    <a:pt x="661" y="264"/>
                    <a:pt x="661" y="264"/>
                    <a:pt x="661" y="264"/>
                  </a:cubicBezTo>
                  <a:cubicBezTo>
                    <a:pt x="661" y="198"/>
                    <a:pt x="661" y="198"/>
                    <a:pt x="661" y="198"/>
                  </a:cubicBezTo>
                  <a:cubicBezTo>
                    <a:pt x="793" y="198"/>
                    <a:pt x="793" y="198"/>
                    <a:pt x="793" y="198"/>
                  </a:cubicBezTo>
                  <a:lnTo>
                    <a:pt x="793" y="264"/>
                  </a:lnTo>
                  <a:close/>
                  <a:moveTo>
                    <a:pt x="1354" y="1652"/>
                  </a:moveTo>
                  <a:cubicBezTo>
                    <a:pt x="1288" y="1652"/>
                    <a:pt x="1288" y="1652"/>
                    <a:pt x="1288" y="1652"/>
                  </a:cubicBezTo>
                  <a:cubicBezTo>
                    <a:pt x="1288" y="1586"/>
                    <a:pt x="1288" y="1586"/>
                    <a:pt x="1288" y="1586"/>
                  </a:cubicBezTo>
                  <a:cubicBezTo>
                    <a:pt x="1354" y="1586"/>
                    <a:pt x="1354" y="1586"/>
                    <a:pt x="1354" y="1586"/>
                  </a:cubicBezTo>
                  <a:lnTo>
                    <a:pt x="1354" y="1652"/>
                  </a:lnTo>
                  <a:close/>
                  <a:moveTo>
                    <a:pt x="1288" y="1718"/>
                  </a:moveTo>
                  <a:cubicBezTo>
                    <a:pt x="1288" y="1784"/>
                    <a:pt x="1288" y="1784"/>
                    <a:pt x="1288" y="1784"/>
                  </a:cubicBezTo>
                  <a:cubicBezTo>
                    <a:pt x="958" y="1784"/>
                    <a:pt x="958" y="1784"/>
                    <a:pt x="958" y="1784"/>
                  </a:cubicBezTo>
                  <a:cubicBezTo>
                    <a:pt x="958" y="1718"/>
                    <a:pt x="958" y="1718"/>
                    <a:pt x="958" y="1718"/>
                  </a:cubicBezTo>
                  <a:lnTo>
                    <a:pt x="1288" y="1718"/>
                  </a:lnTo>
                  <a:close/>
                  <a:moveTo>
                    <a:pt x="1024" y="1652"/>
                  </a:moveTo>
                  <a:cubicBezTo>
                    <a:pt x="1024" y="1586"/>
                    <a:pt x="1024" y="1586"/>
                    <a:pt x="1024" y="1586"/>
                  </a:cubicBezTo>
                  <a:cubicBezTo>
                    <a:pt x="1090" y="1586"/>
                    <a:pt x="1090" y="1586"/>
                    <a:pt x="1090" y="1586"/>
                  </a:cubicBezTo>
                  <a:cubicBezTo>
                    <a:pt x="1090" y="1652"/>
                    <a:pt x="1090" y="1652"/>
                    <a:pt x="1090" y="1652"/>
                  </a:cubicBezTo>
                  <a:lnTo>
                    <a:pt x="1024" y="1652"/>
                  </a:lnTo>
                  <a:close/>
                  <a:moveTo>
                    <a:pt x="1156" y="1652"/>
                  </a:moveTo>
                  <a:cubicBezTo>
                    <a:pt x="1156" y="1586"/>
                    <a:pt x="1156" y="1586"/>
                    <a:pt x="1156" y="1586"/>
                  </a:cubicBezTo>
                  <a:cubicBezTo>
                    <a:pt x="1222" y="1586"/>
                    <a:pt x="1222" y="1586"/>
                    <a:pt x="1222" y="1586"/>
                  </a:cubicBezTo>
                  <a:cubicBezTo>
                    <a:pt x="1222" y="1652"/>
                    <a:pt x="1222" y="1652"/>
                    <a:pt x="1222" y="1652"/>
                  </a:cubicBezTo>
                  <a:lnTo>
                    <a:pt x="1156" y="1652"/>
                  </a:lnTo>
                  <a:close/>
                  <a:moveTo>
                    <a:pt x="958" y="1519"/>
                  </a:moveTo>
                  <a:cubicBezTo>
                    <a:pt x="958" y="1453"/>
                    <a:pt x="958" y="1453"/>
                    <a:pt x="958" y="1453"/>
                  </a:cubicBezTo>
                  <a:cubicBezTo>
                    <a:pt x="1288" y="1453"/>
                    <a:pt x="1288" y="1453"/>
                    <a:pt x="1288" y="1453"/>
                  </a:cubicBezTo>
                  <a:cubicBezTo>
                    <a:pt x="1288" y="1519"/>
                    <a:pt x="1288" y="1519"/>
                    <a:pt x="1288" y="1519"/>
                  </a:cubicBezTo>
                  <a:lnTo>
                    <a:pt x="958" y="1519"/>
                  </a:lnTo>
                  <a:close/>
                  <a:moveTo>
                    <a:pt x="1586" y="699"/>
                  </a:moveTo>
                  <a:cubicBezTo>
                    <a:pt x="1586" y="728"/>
                    <a:pt x="1573" y="755"/>
                    <a:pt x="1551" y="774"/>
                  </a:cubicBezTo>
                  <a:cubicBezTo>
                    <a:pt x="1111" y="1156"/>
                    <a:pt x="1111" y="1156"/>
                    <a:pt x="1111" y="1156"/>
                  </a:cubicBezTo>
                  <a:cubicBezTo>
                    <a:pt x="1104" y="1156"/>
                    <a:pt x="1104" y="1156"/>
                    <a:pt x="1104" y="1156"/>
                  </a:cubicBezTo>
                  <a:cubicBezTo>
                    <a:pt x="1040" y="1092"/>
                    <a:pt x="1040" y="1092"/>
                    <a:pt x="1040" y="1092"/>
                  </a:cubicBezTo>
                  <a:cubicBezTo>
                    <a:pt x="1586" y="624"/>
                    <a:pt x="1586" y="624"/>
                    <a:pt x="1586" y="624"/>
                  </a:cubicBezTo>
                  <a:lnTo>
                    <a:pt x="1586" y="699"/>
                  </a:lnTo>
                  <a:close/>
                  <a:moveTo>
                    <a:pt x="925" y="330"/>
                  </a:moveTo>
                  <a:cubicBezTo>
                    <a:pt x="859" y="330"/>
                    <a:pt x="859" y="330"/>
                    <a:pt x="859" y="330"/>
                  </a:cubicBezTo>
                  <a:cubicBezTo>
                    <a:pt x="859" y="132"/>
                    <a:pt x="859" y="132"/>
                    <a:pt x="859" y="132"/>
                  </a:cubicBezTo>
                  <a:cubicBezTo>
                    <a:pt x="925" y="132"/>
                    <a:pt x="925" y="132"/>
                    <a:pt x="925" y="132"/>
                  </a:cubicBezTo>
                  <a:lnTo>
                    <a:pt x="925" y="330"/>
                  </a:lnTo>
                  <a:close/>
                  <a:moveTo>
                    <a:pt x="991" y="330"/>
                  </a:moveTo>
                  <a:cubicBezTo>
                    <a:pt x="991" y="132"/>
                    <a:pt x="991" y="132"/>
                    <a:pt x="991" y="132"/>
                  </a:cubicBezTo>
                  <a:cubicBezTo>
                    <a:pt x="1553" y="132"/>
                    <a:pt x="1553" y="132"/>
                    <a:pt x="1553" y="132"/>
                  </a:cubicBezTo>
                  <a:cubicBezTo>
                    <a:pt x="1607" y="132"/>
                    <a:pt x="1652" y="177"/>
                    <a:pt x="1652" y="231"/>
                  </a:cubicBezTo>
                  <a:cubicBezTo>
                    <a:pt x="1652" y="330"/>
                    <a:pt x="1652" y="330"/>
                    <a:pt x="1652" y="330"/>
                  </a:cubicBezTo>
                  <a:lnTo>
                    <a:pt x="991" y="330"/>
                  </a:lnTo>
                  <a:close/>
                  <a:moveTo>
                    <a:pt x="1367" y="396"/>
                  </a:moveTo>
                  <a:cubicBezTo>
                    <a:pt x="1652" y="396"/>
                    <a:pt x="1652" y="396"/>
                    <a:pt x="1652" y="396"/>
                  </a:cubicBezTo>
                  <a:cubicBezTo>
                    <a:pt x="1652" y="465"/>
                    <a:pt x="1652" y="465"/>
                    <a:pt x="1652" y="465"/>
                  </a:cubicBezTo>
                  <a:cubicBezTo>
                    <a:pt x="1652" y="475"/>
                    <a:pt x="1647" y="484"/>
                    <a:pt x="1640" y="490"/>
                  </a:cubicBezTo>
                  <a:cubicBezTo>
                    <a:pt x="993" y="1045"/>
                    <a:pt x="993" y="1045"/>
                    <a:pt x="993" y="1045"/>
                  </a:cubicBezTo>
                  <a:cubicBezTo>
                    <a:pt x="904" y="956"/>
                    <a:pt x="904" y="956"/>
                    <a:pt x="904" y="956"/>
                  </a:cubicBezTo>
                  <a:cubicBezTo>
                    <a:pt x="876" y="928"/>
                    <a:pt x="842" y="909"/>
                    <a:pt x="805" y="899"/>
                  </a:cubicBezTo>
                  <a:lnTo>
                    <a:pt x="1367" y="396"/>
                  </a:lnTo>
                  <a:close/>
                  <a:moveTo>
                    <a:pt x="806" y="1387"/>
                  </a:moveTo>
                  <a:cubicBezTo>
                    <a:pt x="640" y="1221"/>
                    <a:pt x="640" y="1221"/>
                    <a:pt x="640" y="1221"/>
                  </a:cubicBezTo>
                  <a:cubicBezTo>
                    <a:pt x="611" y="1191"/>
                    <a:pt x="595" y="1153"/>
                    <a:pt x="595" y="1112"/>
                  </a:cubicBezTo>
                  <a:cubicBezTo>
                    <a:pt x="595" y="1027"/>
                    <a:pt x="664" y="958"/>
                    <a:pt x="748" y="958"/>
                  </a:cubicBezTo>
                  <a:cubicBezTo>
                    <a:pt x="790" y="958"/>
                    <a:pt x="828" y="974"/>
                    <a:pt x="857" y="1003"/>
                  </a:cubicBezTo>
                  <a:cubicBezTo>
                    <a:pt x="1076" y="1222"/>
                    <a:pt x="1076" y="1222"/>
                    <a:pt x="1076" y="1222"/>
                  </a:cubicBezTo>
                  <a:cubicBezTo>
                    <a:pt x="1420" y="1222"/>
                    <a:pt x="1420" y="1222"/>
                    <a:pt x="1420" y="1222"/>
                  </a:cubicBezTo>
                  <a:cubicBezTo>
                    <a:pt x="1420" y="1387"/>
                    <a:pt x="1420" y="1387"/>
                    <a:pt x="1420" y="1387"/>
                  </a:cubicBezTo>
                  <a:lnTo>
                    <a:pt x="806" y="1387"/>
                  </a:lnTo>
                  <a:close/>
                  <a:moveTo>
                    <a:pt x="892" y="1586"/>
                  </a:moveTo>
                  <a:cubicBezTo>
                    <a:pt x="958" y="1586"/>
                    <a:pt x="958" y="1586"/>
                    <a:pt x="958" y="1586"/>
                  </a:cubicBezTo>
                  <a:cubicBezTo>
                    <a:pt x="958" y="1652"/>
                    <a:pt x="958" y="1652"/>
                    <a:pt x="958" y="1652"/>
                  </a:cubicBezTo>
                  <a:cubicBezTo>
                    <a:pt x="892" y="1652"/>
                    <a:pt x="892" y="1652"/>
                    <a:pt x="892" y="1652"/>
                  </a:cubicBezTo>
                  <a:lnTo>
                    <a:pt x="892" y="1586"/>
                  </a:lnTo>
                  <a:close/>
                  <a:moveTo>
                    <a:pt x="1982" y="1982"/>
                  </a:moveTo>
                  <a:cubicBezTo>
                    <a:pt x="1916" y="1982"/>
                    <a:pt x="1916" y="1982"/>
                    <a:pt x="1916" y="1982"/>
                  </a:cubicBezTo>
                  <a:cubicBezTo>
                    <a:pt x="1916" y="1916"/>
                    <a:pt x="1916" y="1916"/>
                    <a:pt x="1916" y="1916"/>
                  </a:cubicBezTo>
                  <a:cubicBezTo>
                    <a:pt x="1850" y="1916"/>
                    <a:pt x="1850" y="1916"/>
                    <a:pt x="1850" y="1916"/>
                  </a:cubicBezTo>
                  <a:cubicBezTo>
                    <a:pt x="1850" y="1982"/>
                    <a:pt x="1850" y="1982"/>
                    <a:pt x="1850" y="1982"/>
                  </a:cubicBezTo>
                  <a:cubicBezTo>
                    <a:pt x="1784" y="1982"/>
                    <a:pt x="1784" y="1982"/>
                    <a:pt x="1784" y="1982"/>
                  </a:cubicBezTo>
                  <a:cubicBezTo>
                    <a:pt x="1784" y="1916"/>
                    <a:pt x="1784" y="1916"/>
                    <a:pt x="1784" y="1916"/>
                  </a:cubicBezTo>
                  <a:cubicBezTo>
                    <a:pt x="1718" y="1916"/>
                    <a:pt x="1718" y="1916"/>
                    <a:pt x="1718" y="1916"/>
                  </a:cubicBezTo>
                  <a:cubicBezTo>
                    <a:pt x="1718" y="1982"/>
                    <a:pt x="1718" y="1982"/>
                    <a:pt x="1718" y="1982"/>
                  </a:cubicBezTo>
                  <a:cubicBezTo>
                    <a:pt x="1652" y="1982"/>
                    <a:pt x="1652" y="1982"/>
                    <a:pt x="1652" y="1982"/>
                  </a:cubicBezTo>
                  <a:cubicBezTo>
                    <a:pt x="1652" y="1916"/>
                    <a:pt x="1652" y="1916"/>
                    <a:pt x="1652" y="1916"/>
                  </a:cubicBezTo>
                  <a:cubicBezTo>
                    <a:pt x="1586" y="1916"/>
                    <a:pt x="1586" y="1916"/>
                    <a:pt x="1586" y="1916"/>
                  </a:cubicBezTo>
                  <a:cubicBezTo>
                    <a:pt x="1586" y="1982"/>
                    <a:pt x="1586" y="1982"/>
                    <a:pt x="1586" y="1982"/>
                  </a:cubicBezTo>
                  <a:cubicBezTo>
                    <a:pt x="1519" y="1982"/>
                    <a:pt x="1519" y="1982"/>
                    <a:pt x="1519" y="1982"/>
                  </a:cubicBezTo>
                  <a:cubicBezTo>
                    <a:pt x="1519" y="1916"/>
                    <a:pt x="1519" y="1916"/>
                    <a:pt x="1519" y="1916"/>
                  </a:cubicBezTo>
                  <a:cubicBezTo>
                    <a:pt x="1453" y="1916"/>
                    <a:pt x="1453" y="1916"/>
                    <a:pt x="1453" y="1916"/>
                  </a:cubicBezTo>
                  <a:cubicBezTo>
                    <a:pt x="1453" y="1982"/>
                    <a:pt x="1453" y="1982"/>
                    <a:pt x="1453" y="1982"/>
                  </a:cubicBezTo>
                  <a:cubicBezTo>
                    <a:pt x="1387" y="1982"/>
                    <a:pt x="1387" y="1982"/>
                    <a:pt x="1387" y="1982"/>
                  </a:cubicBezTo>
                  <a:cubicBezTo>
                    <a:pt x="1387" y="1916"/>
                    <a:pt x="1387" y="1916"/>
                    <a:pt x="1387" y="1916"/>
                  </a:cubicBezTo>
                  <a:cubicBezTo>
                    <a:pt x="1321" y="1916"/>
                    <a:pt x="1321" y="1916"/>
                    <a:pt x="1321" y="1916"/>
                  </a:cubicBezTo>
                  <a:cubicBezTo>
                    <a:pt x="1321" y="1982"/>
                    <a:pt x="1321" y="1982"/>
                    <a:pt x="1321" y="1982"/>
                  </a:cubicBezTo>
                  <a:cubicBezTo>
                    <a:pt x="1255" y="1982"/>
                    <a:pt x="1255" y="1982"/>
                    <a:pt x="1255" y="1982"/>
                  </a:cubicBezTo>
                  <a:cubicBezTo>
                    <a:pt x="1255" y="1916"/>
                    <a:pt x="1255" y="1916"/>
                    <a:pt x="1255" y="1916"/>
                  </a:cubicBezTo>
                  <a:cubicBezTo>
                    <a:pt x="1189" y="1916"/>
                    <a:pt x="1189" y="1916"/>
                    <a:pt x="1189" y="1916"/>
                  </a:cubicBezTo>
                  <a:cubicBezTo>
                    <a:pt x="1189" y="1982"/>
                    <a:pt x="1189" y="1982"/>
                    <a:pt x="1189" y="1982"/>
                  </a:cubicBezTo>
                  <a:cubicBezTo>
                    <a:pt x="1123" y="1982"/>
                    <a:pt x="1123" y="1982"/>
                    <a:pt x="1123" y="1982"/>
                  </a:cubicBezTo>
                  <a:cubicBezTo>
                    <a:pt x="1123" y="1916"/>
                    <a:pt x="1123" y="1916"/>
                    <a:pt x="1123" y="1916"/>
                  </a:cubicBezTo>
                  <a:cubicBezTo>
                    <a:pt x="1057" y="1916"/>
                    <a:pt x="1057" y="1916"/>
                    <a:pt x="1057" y="1916"/>
                  </a:cubicBezTo>
                  <a:cubicBezTo>
                    <a:pt x="1057" y="1982"/>
                    <a:pt x="1057" y="1982"/>
                    <a:pt x="1057" y="1982"/>
                  </a:cubicBezTo>
                  <a:cubicBezTo>
                    <a:pt x="991" y="1982"/>
                    <a:pt x="991" y="1982"/>
                    <a:pt x="991" y="1982"/>
                  </a:cubicBezTo>
                  <a:cubicBezTo>
                    <a:pt x="991" y="1916"/>
                    <a:pt x="991" y="1916"/>
                    <a:pt x="991" y="1916"/>
                  </a:cubicBezTo>
                  <a:cubicBezTo>
                    <a:pt x="925" y="1916"/>
                    <a:pt x="925" y="1916"/>
                    <a:pt x="925" y="1916"/>
                  </a:cubicBezTo>
                  <a:cubicBezTo>
                    <a:pt x="925" y="1982"/>
                    <a:pt x="925" y="1982"/>
                    <a:pt x="925" y="1982"/>
                  </a:cubicBezTo>
                  <a:cubicBezTo>
                    <a:pt x="859" y="1982"/>
                    <a:pt x="859" y="1982"/>
                    <a:pt x="859" y="1982"/>
                  </a:cubicBezTo>
                  <a:cubicBezTo>
                    <a:pt x="859" y="1916"/>
                    <a:pt x="859" y="1916"/>
                    <a:pt x="859" y="1916"/>
                  </a:cubicBezTo>
                  <a:cubicBezTo>
                    <a:pt x="793" y="1916"/>
                    <a:pt x="793" y="1916"/>
                    <a:pt x="793" y="1916"/>
                  </a:cubicBezTo>
                  <a:cubicBezTo>
                    <a:pt x="793" y="1982"/>
                    <a:pt x="793" y="1982"/>
                    <a:pt x="793" y="1982"/>
                  </a:cubicBezTo>
                  <a:cubicBezTo>
                    <a:pt x="727" y="1982"/>
                    <a:pt x="727" y="1982"/>
                    <a:pt x="727" y="1982"/>
                  </a:cubicBezTo>
                  <a:cubicBezTo>
                    <a:pt x="727" y="1916"/>
                    <a:pt x="727" y="1916"/>
                    <a:pt x="727" y="1916"/>
                  </a:cubicBezTo>
                  <a:cubicBezTo>
                    <a:pt x="661" y="1916"/>
                    <a:pt x="661" y="1916"/>
                    <a:pt x="661" y="1916"/>
                  </a:cubicBezTo>
                  <a:cubicBezTo>
                    <a:pt x="661" y="1982"/>
                    <a:pt x="661" y="1982"/>
                    <a:pt x="661" y="1982"/>
                  </a:cubicBezTo>
                  <a:cubicBezTo>
                    <a:pt x="595" y="1982"/>
                    <a:pt x="595" y="1982"/>
                    <a:pt x="595" y="1982"/>
                  </a:cubicBezTo>
                  <a:cubicBezTo>
                    <a:pt x="595" y="1850"/>
                    <a:pt x="595" y="1850"/>
                    <a:pt x="595" y="1850"/>
                  </a:cubicBezTo>
                  <a:cubicBezTo>
                    <a:pt x="1982" y="1850"/>
                    <a:pt x="1982" y="1850"/>
                    <a:pt x="1982" y="1850"/>
                  </a:cubicBezTo>
                  <a:lnTo>
                    <a:pt x="1982" y="1982"/>
                  </a:lnTo>
                  <a:close/>
                  <a:moveTo>
                    <a:pt x="743" y="1024"/>
                  </a:moveTo>
                  <a:cubicBezTo>
                    <a:pt x="698" y="1024"/>
                    <a:pt x="661" y="1061"/>
                    <a:pt x="661" y="1107"/>
                  </a:cubicBezTo>
                  <a:cubicBezTo>
                    <a:pt x="661" y="1152"/>
                    <a:pt x="698" y="1189"/>
                    <a:pt x="743" y="1189"/>
                  </a:cubicBezTo>
                  <a:cubicBezTo>
                    <a:pt x="789" y="1189"/>
                    <a:pt x="826" y="1152"/>
                    <a:pt x="826" y="1107"/>
                  </a:cubicBezTo>
                  <a:cubicBezTo>
                    <a:pt x="826" y="1061"/>
                    <a:pt x="789" y="1024"/>
                    <a:pt x="743" y="1024"/>
                  </a:cubicBezTo>
                  <a:close/>
                  <a:moveTo>
                    <a:pt x="743" y="1123"/>
                  </a:moveTo>
                  <a:cubicBezTo>
                    <a:pt x="734" y="1123"/>
                    <a:pt x="727" y="1116"/>
                    <a:pt x="727" y="1107"/>
                  </a:cubicBezTo>
                  <a:cubicBezTo>
                    <a:pt x="727" y="1097"/>
                    <a:pt x="734" y="1090"/>
                    <a:pt x="743" y="1090"/>
                  </a:cubicBezTo>
                  <a:cubicBezTo>
                    <a:pt x="752" y="1090"/>
                    <a:pt x="760" y="1097"/>
                    <a:pt x="760" y="1107"/>
                  </a:cubicBezTo>
                  <a:cubicBezTo>
                    <a:pt x="760" y="1116"/>
                    <a:pt x="752" y="1123"/>
                    <a:pt x="743" y="1123"/>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grpSp>
        <p:nvGrpSpPr>
          <p:cNvPr id="158" name="Group 157"/>
          <p:cNvGrpSpPr/>
          <p:nvPr/>
        </p:nvGrpSpPr>
        <p:grpSpPr>
          <a:xfrm>
            <a:off x="7666444" y="3840534"/>
            <a:ext cx="292608" cy="292608"/>
            <a:chOff x="7666444" y="3840534"/>
            <a:chExt cx="292608" cy="292608"/>
          </a:xfrm>
        </p:grpSpPr>
        <p:sp>
          <p:nvSpPr>
            <p:cNvPr id="342" name="Oval 341"/>
            <p:cNvSpPr/>
            <p:nvPr/>
          </p:nvSpPr>
          <p:spPr>
            <a:xfrm>
              <a:off x="7666444" y="3840534"/>
              <a:ext cx="292608" cy="29260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49" name="Freeform 22"/>
            <p:cNvSpPr>
              <a:spLocks noEditPoints="1"/>
            </p:cNvSpPr>
            <p:nvPr/>
          </p:nvSpPr>
          <p:spPr bwMode="auto">
            <a:xfrm>
              <a:off x="7730976" y="3907771"/>
              <a:ext cx="163545" cy="158135"/>
            </a:xfrm>
            <a:custGeom>
              <a:avLst/>
              <a:gdLst/>
              <a:ahLst/>
              <a:cxnLst>
                <a:cxn ang="0">
                  <a:pos x="341" y="819"/>
                </a:cxn>
                <a:cxn ang="0">
                  <a:pos x="273" y="888"/>
                </a:cxn>
                <a:cxn ang="0">
                  <a:pos x="273" y="751"/>
                </a:cxn>
                <a:cxn ang="0">
                  <a:pos x="273" y="546"/>
                </a:cxn>
                <a:cxn ang="0">
                  <a:pos x="341" y="615"/>
                </a:cxn>
                <a:cxn ang="0">
                  <a:pos x="341" y="1297"/>
                </a:cxn>
                <a:cxn ang="0">
                  <a:pos x="205" y="1161"/>
                </a:cxn>
                <a:cxn ang="0">
                  <a:pos x="341" y="1229"/>
                </a:cxn>
                <a:cxn ang="0">
                  <a:pos x="410" y="1502"/>
                </a:cxn>
                <a:cxn ang="0">
                  <a:pos x="205" y="1502"/>
                </a:cxn>
                <a:cxn ang="0">
                  <a:pos x="273" y="1502"/>
                </a:cxn>
                <a:cxn ang="0">
                  <a:pos x="1843" y="888"/>
                </a:cxn>
                <a:cxn ang="0">
                  <a:pos x="1707" y="1024"/>
                </a:cxn>
                <a:cxn ang="0">
                  <a:pos x="1707" y="888"/>
                </a:cxn>
                <a:cxn ang="0">
                  <a:pos x="887" y="1127"/>
                </a:cxn>
                <a:cxn ang="0">
                  <a:pos x="819" y="1195"/>
                </a:cxn>
                <a:cxn ang="0">
                  <a:pos x="1707" y="751"/>
                </a:cxn>
                <a:cxn ang="0">
                  <a:pos x="1707" y="546"/>
                </a:cxn>
                <a:cxn ang="0">
                  <a:pos x="1775" y="615"/>
                </a:cxn>
                <a:cxn ang="0">
                  <a:pos x="1775" y="1297"/>
                </a:cxn>
                <a:cxn ang="0">
                  <a:pos x="1638" y="1161"/>
                </a:cxn>
                <a:cxn ang="0">
                  <a:pos x="1775" y="1229"/>
                </a:cxn>
                <a:cxn ang="0">
                  <a:pos x="1297" y="444"/>
                </a:cxn>
                <a:cxn ang="0">
                  <a:pos x="1092" y="444"/>
                </a:cxn>
                <a:cxn ang="0">
                  <a:pos x="1161" y="444"/>
                </a:cxn>
                <a:cxn ang="0">
                  <a:pos x="1843" y="1434"/>
                </a:cxn>
                <a:cxn ang="0">
                  <a:pos x="1707" y="1570"/>
                </a:cxn>
                <a:cxn ang="0">
                  <a:pos x="1707" y="1434"/>
                </a:cxn>
                <a:cxn ang="0">
                  <a:pos x="1843" y="376"/>
                </a:cxn>
                <a:cxn ang="0">
                  <a:pos x="1638" y="376"/>
                </a:cxn>
                <a:cxn ang="0">
                  <a:pos x="1161" y="68"/>
                </a:cxn>
                <a:cxn ang="0">
                  <a:pos x="956" y="68"/>
                </a:cxn>
                <a:cxn ang="0">
                  <a:pos x="580" y="68"/>
                </a:cxn>
                <a:cxn ang="0">
                  <a:pos x="375" y="341"/>
                </a:cxn>
                <a:cxn ang="0">
                  <a:pos x="171" y="341"/>
                </a:cxn>
                <a:cxn ang="0">
                  <a:pos x="0" y="1946"/>
                </a:cxn>
                <a:cxn ang="0">
                  <a:pos x="2014" y="410"/>
                </a:cxn>
                <a:cxn ang="0">
                  <a:pos x="546" y="1912"/>
                </a:cxn>
                <a:cxn ang="0">
                  <a:pos x="546" y="1639"/>
                </a:cxn>
                <a:cxn ang="0">
                  <a:pos x="990" y="1912"/>
                </a:cxn>
                <a:cxn ang="0">
                  <a:pos x="1263" y="1912"/>
                </a:cxn>
                <a:cxn ang="0">
                  <a:pos x="751" y="1570"/>
                </a:cxn>
                <a:cxn ang="0">
                  <a:pos x="614" y="1673"/>
                </a:cxn>
                <a:cxn ang="0">
                  <a:pos x="1502" y="1912"/>
                </a:cxn>
                <a:cxn ang="0">
                  <a:pos x="1502" y="1639"/>
                </a:cxn>
                <a:cxn ang="0">
                  <a:pos x="1229" y="1058"/>
                </a:cxn>
                <a:cxn ang="0">
                  <a:pos x="1092" y="922"/>
                </a:cxn>
                <a:cxn ang="0">
                  <a:pos x="1229" y="990"/>
                </a:cxn>
                <a:cxn ang="0">
                  <a:pos x="956" y="990"/>
                </a:cxn>
                <a:cxn ang="0">
                  <a:pos x="751" y="990"/>
                </a:cxn>
                <a:cxn ang="0">
                  <a:pos x="819" y="990"/>
                </a:cxn>
                <a:cxn ang="0">
                  <a:pos x="1297" y="649"/>
                </a:cxn>
                <a:cxn ang="0">
                  <a:pos x="1161" y="785"/>
                </a:cxn>
                <a:cxn ang="0">
                  <a:pos x="1161" y="649"/>
                </a:cxn>
                <a:cxn ang="0">
                  <a:pos x="1229" y="1127"/>
                </a:cxn>
                <a:cxn ang="0">
                  <a:pos x="1161" y="1195"/>
                </a:cxn>
                <a:cxn ang="0">
                  <a:pos x="819" y="785"/>
                </a:cxn>
                <a:cxn ang="0">
                  <a:pos x="819" y="580"/>
                </a:cxn>
                <a:cxn ang="0">
                  <a:pos x="887" y="649"/>
                </a:cxn>
                <a:cxn ang="0">
                  <a:pos x="887" y="512"/>
                </a:cxn>
                <a:cxn ang="0">
                  <a:pos x="751" y="376"/>
                </a:cxn>
                <a:cxn ang="0">
                  <a:pos x="887" y="444"/>
                </a:cxn>
              </a:cxnLst>
              <a:rect l="0" t="0" r="r" b="b"/>
              <a:pathLst>
                <a:path w="2048" h="1980">
                  <a:moveTo>
                    <a:pt x="273" y="1024"/>
                  </a:moveTo>
                  <a:cubicBezTo>
                    <a:pt x="341" y="1024"/>
                    <a:pt x="341" y="1024"/>
                    <a:pt x="341" y="1024"/>
                  </a:cubicBezTo>
                  <a:cubicBezTo>
                    <a:pt x="379" y="1024"/>
                    <a:pt x="410" y="993"/>
                    <a:pt x="410" y="956"/>
                  </a:cubicBezTo>
                  <a:cubicBezTo>
                    <a:pt x="410" y="888"/>
                    <a:pt x="410" y="888"/>
                    <a:pt x="410" y="888"/>
                  </a:cubicBezTo>
                  <a:cubicBezTo>
                    <a:pt x="410" y="850"/>
                    <a:pt x="379" y="819"/>
                    <a:pt x="341" y="819"/>
                  </a:cubicBezTo>
                  <a:cubicBezTo>
                    <a:pt x="273" y="819"/>
                    <a:pt x="273" y="819"/>
                    <a:pt x="273" y="819"/>
                  </a:cubicBezTo>
                  <a:cubicBezTo>
                    <a:pt x="236" y="819"/>
                    <a:pt x="205" y="850"/>
                    <a:pt x="205" y="888"/>
                  </a:cubicBezTo>
                  <a:cubicBezTo>
                    <a:pt x="205" y="956"/>
                    <a:pt x="205" y="956"/>
                    <a:pt x="205" y="956"/>
                  </a:cubicBezTo>
                  <a:cubicBezTo>
                    <a:pt x="205" y="993"/>
                    <a:pt x="236" y="1024"/>
                    <a:pt x="273" y="1024"/>
                  </a:cubicBezTo>
                  <a:close/>
                  <a:moveTo>
                    <a:pt x="273" y="888"/>
                  </a:moveTo>
                  <a:cubicBezTo>
                    <a:pt x="341" y="888"/>
                    <a:pt x="341" y="888"/>
                    <a:pt x="341" y="888"/>
                  </a:cubicBezTo>
                  <a:cubicBezTo>
                    <a:pt x="341" y="956"/>
                    <a:pt x="341" y="956"/>
                    <a:pt x="341" y="956"/>
                  </a:cubicBezTo>
                  <a:cubicBezTo>
                    <a:pt x="273" y="956"/>
                    <a:pt x="273" y="956"/>
                    <a:pt x="273" y="956"/>
                  </a:cubicBezTo>
                  <a:lnTo>
                    <a:pt x="273" y="888"/>
                  </a:lnTo>
                  <a:close/>
                  <a:moveTo>
                    <a:pt x="273" y="751"/>
                  </a:moveTo>
                  <a:cubicBezTo>
                    <a:pt x="341" y="751"/>
                    <a:pt x="341" y="751"/>
                    <a:pt x="341" y="751"/>
                  </a:cubicBezTo>
                  <a:cubicBezTo>
                    <a:pt x="379" y="751"/>
                    <a:pt x="410" y="720"/>
                    <a:pt x="410" y="683"/>
                  </a:cubicBezTo>
                  <a:cubicBezTo>
                    <a:pt x="410" y="615"/>
                    <a:pt x="410" y="615"/>
                    <a:pt x="410" y="615"/>
                  </a:cubicBezTo>
                  <a:cubicBezTo>
                    <a:pt x="410" y="577"/>
                    <a:pt x="379" y="546"/>
                    <a:pt x="341" y="546"/>
                  </a:cubicBezTo>
                  <a:cubicBezTo>
                    <a:pt x="273" y="546"/>
                    <a:pt x="273" y="546"/>
                    <a:pt x="273" y="546"/>
                  </a:cubicBezTo>
                  <a:cubicBezTo>
                    <a:pt x="236" y="546"/>
                    <a:pt x="205" y="577"/>
                    <a:pt x="205" y="615"/>
                  </a:cubicBezTo>
                  <a:cubicBezTo>
                    <a:pt x="205" y="683"/>
                    <a:pt x="205" y="683"/>
                    <a:pt x="205" y="683"/>
                  </a:cubicBezTo>
                  <a:cubicBezTo>
                    <a:pt x="205" y="720"/>
                    <a:pt x="236" y="751"/>
                    <a:pt x="273" y="751"/>
                  </a:cubicBezTo>
                  <a:close/>
                  <a:moveTo>
                    <a:pt x="273" y="615"/>
                  </a:moveTo>
                  <a:cubicBezTo>
                    <a:pt x="341" y="615"/>
                    <a:pt x="341" y="615"/>
                    <a:pt x="341" y="615"/>
                  </a:cubicBezTo>
                  <a:cubicBezTo>
                    <a:pt x="341" y="683"/>
                    <a:pt x="341" y="683"/>
                    <a:pt x="341" y="683"/>
                  </a:cubicBezTo>
                  <a:cubicBezTo>
                    <a:pt x="273" y="683"/>
                    <a:pt x="273" y="683"/>
                    <a:pt x="273" y="683"/>
                  </a:cubicBezTo>
                  <a:lnTo>
                    <a:pt x="273" y="615"/>
                  </a:lnTo>
                  <a:close/>
                  <a:moveTo>
                    <a:pt x="273" y="1297"/>
                  </a:moveTo>
                  <a:cubicBezTo>
                    <a:pt x="341" y="1297"/>
                    <a:pt x="341" y="1297"/>
                    <a:pt x="341" y="1297"/>
                  </a:cubicBezTo>
                  <a:cubicBezTo>
                    <a:pt x="379" y="1297"/>
                    <a:pt x="410" y="1266"/>
                    <a:pt x="410" y="1229"/>
                  </a:cubicBezTo>
                  <a:cubicBezTo>
                    <a:pt x="410" y="1161"/>
                    <a:pt x="410" y="1161"/>
                    <a:pt x="410" y="1161"/>
                  </a:cubicBezTo>
                  <a:cubicBezTo>
                    <a:pt x="410" y="1123"/>
                    <a:pt x="379" y="1092"/>
                    <a:pt x="341" y="1092"/>
                  </a:cubicBezTo>
                  <a:cubicBezTo>
                    <a:pt x="273" y="1092"/>
                    <a:pt x="273" y="1092"/>
                    <a:pt x="273" y="1092"/>
                  </a:cubicBezTo>
                  <a:cubicBezTo>
                    <a:pt x="236" y="1092"/>
                    <a:pt x="205" y="1123"/>
                    <a:pt x="205" y="1161"/>
                  </a:cubicBezTo>
                  <a:cubicBezTo>
                    <a:pt x="205" y="1229"/>
                    <a:pt x="205" y="1229"/>
                    <a:pt x="205" y="1229"/>
                  </a:cubicBezTo>
                  <a:cubicBezTo>
                    <a:pt x="205" y="1266"/>
                    <a:pt x="236" y="1297"/>
                    <a:pt x="273" y="1297"/>
                  </a:cubicBezTo>
                  <a:close/>
                  <a:moveTo>
                    <a:pt x="273" y="1161"/>
                  </a:moveTo>
                  <a:cubicBezTo>
                    <a:pt x="341" y="1161"/>
                    <a:pt x="341" y="1161"/>
                    <a:pt x="341" y="1161"/>
                  </a:cubicBezTo>
                  <a:cubicBezTo>
                    <a:pt x="341" y="1229"/>
                    <a:pt x="341" y="1229"/>
                    <a:pt x="341" y="1229"/>
                  </a:cubicBezTo>
                  <a:cubicBezTo>
                    <a:pt x="273" y="1229"/>
                    <a:pt x="273" y="1229"/>
                    <a:pt x="273" y="1229"/>
                  </a:cubicBezTo>
                  <a:lnTo>
                    <a:pt x="273" y="1161"/>
                  </a:lnTo>
                  <a:close/>
                  <a:moveTo>
                    <a:pt x="273" y="1570"/>
                  </a:moveTo>
                  <a:cubicBezTo>
                    <a:pt x="341" y="1570"/>
                    <a:pt x="341" y="1570"/>
                    <a:pt x="341" y="1570"/>
                  </a:cubicBezTo>
                  <a:cubicBezTo>
                    <a:pt x="379" y="1570"/>
                    <a:pt x="410" y="1540"/>
                    <a:pt x="410" y="1502"/>
                  </a:cubicBezTo>
                  <a:cubicBezTo>
                    <a:pt x="410" y="1434"/>
                    <a:pt x="410" y="1434"/>
                    <a:pt x="410" y="1434"/>
                  </a:cubicBezTo>
                  <a:cubicBezTo>
                    <a:pt x="410" y="1396"/>
                    <a:pt x="379" y="1365"/>
                    <a:pt x="341" y="1365"/>
                  </a:cubicBezTo>
                  <a:cubicBezTo>
                    <a:pt x="273" y="1365"/>
                    <a:pt x="273" y="1365"/>
                    <a:pt x="273" y="1365"/>
                  </a:cubicBezTo>
                  <a:cubicBezTo>
                    <a:pt x="236" y="1365"/>
                    <a:pt x="205" y="1396"/>
                    <a:pt x="205" y="1434"/>
                  </a:cubicBezTo>
                  <a:cubicBezTo>
                    <a:pt x="205" y="1502"/>
                    <a:pt x="205" y="1502"/>
                    <a:pt x="205" y="1502"/>
                  </a:cubicBezTo>
                  <a:cubicBezTo>
                    <a:pt x="205" y="1540"/>
                    <a:pt x="236" y="1570"/>
                    <a:pt x="273" y="1570"/>
                  </a:cubicBezTo>
                  <a:close/>
                  <a:moveTo>
                    <a:pt x="273" y="1434"/>
                  </a:moveTo>
                  <a:cubicBezTo>
                    <a:pt x="341" y="1434"/>
                    <a:pt x="341" y="1434"/>
                    <a:pt x="341" y="1434"/>
                  </a:cubicBezTo>
                  <a:cubicBezTo>
                    <a:pt x="341" y="1502"/>
                    <a:pt x="341" y="1502"/>
                    <a:pt x="341" y="1502"/>
                  </a:cubicBezTo>
                  <a:cubicBezTo>
                    <a:pt x="273" y="1502"/>
                    <a:pt x="273" y="1502"/>
                    <a:pt x="273" y="1502"/>
                  </a:cubicBezTo>
                  <a:lnTo>
                    <a:pt x="273" y="1434"/>
                  </a:lnTo>
                  <a:close/>
                  <a:moveTo>
                    <a:pt x="1707" y="1024"/>
                  </a:moveTo>
                  <a:cubicBezTo>
                    <a:pt x="1775" y="1024"/>
                    <a:pt x="1775" y="1024"/>
                    <a:pt x="1775" y="1024"/>
                  </a:cubicBezTo>
                  <a:cubicBezTo>
                    <a:pt x="1812" y="1024"/>
                    <a:pt x="1843" y="993"/>
                    <a:pt x="1843" y="956"/>
                  </a:cubicBezTo>
                  <a:cubicBezTo>
                    <a:pt x="1843" y="888"/>
                    <a:pt x="1843" y="888"/>
                    <a:pt x="1843" y="888"/>
                  </a:cubicBezTo>
                  <a:cubicBezTo>
                    <a:pt x="1843" y="850"/>
                    <a:pt x="1812" y="819"/>
                    <a:pt x="1775" y="819"/>
                  </a:cubicBezTo>
                  <a:cubicBezTo>
                    <a:pt x="1707" y="819"/>
                    <a:pt x="1707" y="819"/>
                    <a:pt x="1707" y="819"/>
                  </a:cubicBezTo>
                  <a:cubicBezTo>
                    <a:pt x="1669" y="819"/>
                    <a:pt x="1638" y="850"/>
                    <a:pt x="1638" y="888"/>
                  </a:cubicBezTo>
                  <a:cubicBezTo>
                    <a:pt x="1638" y="956"/>
                    <a:pt x="1638" y="956"/>
                    <a:pt x="1638" y="956"/>
                  </a:cubicBezTo>
                  <a:cubicBezTo>
                    <a:pt x="1638" y="993"/>
                    <a:pt x="1669" y="1024"/>
                    <a:pt x="1707" y="1024"/>
                  </a:cubicBezTo>
                  <a:close/>
                  <a:moveTo>
                    <a:pt x="1707" y="888"/>
                  </a:moveTo>
                  <a:cubicBezTo>
                    <a:pt x="1775" y="888"/>
                    <a:pt x="1775" y="888"/>
                    <a:pt x="1775" y="888"/>
                  </a:cubicBezTo>
                  <a:cubicBezTo>
                    <a:pt x="1775" y="956"/>
                    <a:pt x="1775" y="956"/>
                    <a:pt x="1775" y="956"/>
                  </a:cubicBezTo>
                  <a:cubicBezTo>
                    <a:pt x="1707" y="956"/>
                    <a:pt x="1707" y="956"/>
                    <a:pt x="1707" y="956"/>
                  </a:cubicBezTo>
                  <a:lnTo>
                    <a:pt x="1707" y="888"/>
                  </a:lnTo>
                  <a:close/>
                  <a:moveTo>
                    <a:pt x="819" y="1331"/>
                  </a:moveTo>
                  <a:cubicBezTo>
                    <a:pt x="887" y="1331"/>
                    <a:pt x="887" y="1331"/>
                    <a:pt x="887" y="1331"/>
                  </a:cubicBezTo>
                  <a:cubicBezTo>
                    <a:pt x="925" y="1331"/>
                    <a:pt x="956" y="1301"/>
                    <a:pt x="956" y="1263"/>
                  </a:cubicBezTo>
                  <a:cubicBezTo>
                    <a:pt x="956" y="1195"/>
                    <a:pt x="956" y="1195"/>
                    <a:pt x="956" y="1195"/>
                  </a:cubicBezTo>
                  <a:cubicBezTo>
                    <a:pt x="956" y="1157"/>
                    <a:pt x="925" y="1127"/>
                    <a:pt x="887" y="1127"/>
                  </a:cubicBezTo>
                  <a:cubicBezTo>
                    <a:pt x="819" y="1127"/>
                    <a:pt x="819" y="1127"/>
                    <a:pt x="819" y="1127"/>
                  </a:cubicBezTo>
                  <a:cubicBezTo>
                    <a:pt x="782" y="1127"/>
                    <a:pt x="751" y="1157"/>
                    <a:pt x="751" y="1195"/>
                  </a:cubicBezTo>
                  <a:cubicBezTo>
                    <a:pt x="751" y="1263"/>
                    <a:pt x="751" y="1263"/>
                    <a:pt x="751" y="1263"/>
                  </a:cubicBezTo>
                  <a:cubicBezTo>
                    <a:pt x="751" y="1301"/>
                    <a:pt x="782" y="1331"/>
                    <a:pt x="819" y="1331"/>
                  </a:cubicBezTo>
                  <a:close/>
                  <a:moveTo>
                    <a:pt x="819" y="1195"/>
                  </a:moveTo>
                  <a:cubicBezTo>
                    <a:pt x="887" y="1195"/>
                    <a:pt x="887" y="1195"/>
                    <a:pt x="887" y="1195"/>
                  </a:cubicBezTo>
                  <a:cubicBezTo>
                    <a:pt x="887" y="1263"/>
                    <a:pt x="887" y="1263"/>
                    <a:pt x="887" y="1263"/>
                  </a:cubicBezTo>
                  <a:cubicBezTo>
                    <a:pt x="819" y="1263"/>
                    <a:pt x="819" y="1263"/>
                    <a:pt x="819" y="1263"/>
                  </a:cubicBezTo>
                  <a:lnTo>
                    <a:pt x="819" y="1195"/>
                  </a:lnTo>
                  <a:close/>
                  <a:moveTo>
                    <a:pt x="1707" y="751"/>
                  </a:moveTo>
                  <a:cubicBezTo>
                    <a:pt x="1775" y="751"/>
                    <a:pt x="1775" y="751"/>
                    <a:pt x="1775" y="751"/>
                  </a:cubicBezTo>
                  <a:cubicBezTo>
                    <a:pt x="1812" y="751"/>
                    <a:pt x="1843" y="720"/>
                    <a:pt x="1843" y="683"/>
                  </a:cubicBezTo>
                  <a:cubicBezTo>
                    <a:pt x="1843" y="615"/>
                    <a:pt x="1843" y="615"/>
                    <a:pt x="1843" y="615"/>
                  </a:cubicBezTo>
                  <a:cubicBezTo>
                    <a:pt x="1843" y="577"/>
                    <a:pt x="1812" y="546"/>
                    <a:pt x="1775" y="546"/>
                  </a:cubicBezTo>
                  <a:cubicBezTo>
                    <a:pt x="1707" y="546"/>
                    <a:pt x="1707" y="546"/>
                    <a:pt x="1707" y="546"/>
                  </a:cubicBezTo>
                  <a:cubicBezTo>
                    <a:pt x="1669" y="546"/>
                    <a:pt x="1638" y="577"/>
                    <a:pt x="1638" y="615"/>
                  </a:cubicBezTo>
                  <a:cubicBezTo>
                    <a:pt x="1638" y="683"/>
                    <a:pt x="1638" y="683"/>
                    <a:pt x="1638" y="683"/>
                  </a:cubicBezTo>
                  <a:cubicBezTo>
                    <a:pt x="1638" y="720"/>
                    <a:pt x="1669" y="751"/>
                    <a:pt x="1707" y="751"/>
                  </a:cubicBezTo>
                  <a:close/>
                  <a:moveTo>
                    <a:pt x="1707" y="615"/>
                  </a:moveTo>
                  <a:cubicBezTo>
                    <a:pt x="1775" y="615"/>
                    <a:pt x="1775" y="615"/>
                    <a:pt x="1775" y="615"/>
                  </a:cubicBezTo>
                  <a:cubicBezTo>
                    <a:pt x="1775" y="683"/>
                    <a:pt x="1775" y="683"/>
                    <a:pt x="1775" y="683"/>
                  </a:cubicBezTo>
                  <a:cubicBezTo>
                    <a:pt x="1707" y="683"/>
                    <a:pt x="1707" y="683"/>
                    <a:pt x="1707" y="683"/>
                  </a:cubicBezTo>
                  <a:lnTo>
                    <a:pt x="1707" y="615"/>
                  </a:lnTo>
                  <a:close/>
                  <a:moveTo>
                    <a:pt x="1707" y="1297"/>
                  </a:moveTo>
                  <a:cubicBezTo>
                    <a:pt x="1775" y="1297"/>
                    <a:pt x="1775" y="1297"/>
                    <a:pt x="1775" y="1297"/>
                  </a:cubicBezTo>
                  <a:cubicBezTo>
                    <a:pt x="1812" y="1297"/>
                    <a:pt x="1843" y="1266"/>
                    <a:pt x="1843" y="1229"/>
                  </a:cubicBezTo>
                  <a:cubicBezTo>
                    <a:pt x="1843" y="1161"/>
                    <a:pt x="1843" y="1161"/>
                    <a:pt x="1843" y="1161"/>
                  </a:cubicBezTo>
                  <a:cubicBezTo>
                    <a:pt x="1843" y="1123"/>
                    <a:pt x="1812" y="1092"/>
                    <a:pt x="1775" y="1092"/>
                  </a:cubicBezTo>
                  <a:cubicBezTo>
                    <a:pt x="1707" y="1092"/>
                    <a:pt x="1707" y="1092"/>
                    <a:pt x="1707" y="1092"/>
                  </a:cubicBezTo>
                  <a:cubicBezTo>
                    <a:pt x="1669" y="1092"/>
                    <a:pt x="1638" y="1123"/>
                    <a:pt x="1638" y="1161"/>
                  </a:cubicBezTo>
                  <a:cubicBezTo>
                    <a:pt x="1638" y="1229"/>
                    <a:pt x="1638" y="1229"/>
                    <a:pt x="1638" y="1229"/>
                  </a:cubicBezTo>
                  <a:cubicBezTo>
                    <a:pt x="1638" y="1266"/>
                    <a:pt x="1669" y="1297"/>
                    <a:pt x="1707" y="1297"/>
                  </a:cubicBezTo>
                  <a:close/>
                  <a:moveTo>
                    <a:pt x="1707" y="1161"/>
                  </a:moveTo>
                  <a:cubicBezTo>
                    <a:pt x="1775" y="1161"/>
                    <a:pt x="1775" y="1161"/>
                    <a:pt x="1775" y="1161"/>
                  </a:cubicBezTo>
                  <a:cubicBezTo>
                    <a:pt x="1775" y="1229"/>
                    <a:pt x="1775" y="1229"/>
                    <a:pt x="1775" y="1229"/>
                  </a:cubicBezTo>
                  <a:cubicBezTo>
                    <a:pt x="1707" y="1229"/>
                    <a:pt x="1707" y="1229"/>
                    <a:pt x="1707" y="1229"/>
                  </a:cubicBezTo>
                  <a:lnTo>
                    <a:pt x="1707" y="1161"/>
                  </a:lnTo>
                  <a:close/>
                  <a:moveTo>
                    <a:pt x="1161" y="512"/>
                  </a:moveTo>
                  <a:cubicBezTo>
                    <a:pt x="1229" y="512"/>
                    <a:pt x="1229" y="512"/>
                    <a:pt x="1229" y="512"/>
                  </a:cubicBezTo>
                  <a:cubicBezTo>
                    <a:pt x="1266" y="512"/>
                    <a:pt x="1297" y="481"/>
                    <a:pt x="1297" y="444"/>
                  </a:cubicBezTo>
                  <a:cubicBezTo>
                    <a:pt x="1297" y="376"/>
                    <a:pt x="1297" y="376"/>
                    <a:pt x="1297" y="376"/>
                  </a:cubicBezTo>
                  <a:cubicBezTo>
                    <a:pt x="1297" y="338"/>
                    <a:pt x="1266" y="307"/>
                    <a:pt x="1229" y="307"/>
                  </a:cubicBezTo>
                  <a:cubicBezTo>
                    <a:pt x="1161" y="307"/>
                    <a:pt x="1161" y="307"/>
                    <a:pt x="1161" y="307"/>
                  </a:cubicBezTo>
                  <a:cubicBezTo>
                    <a:pt x="1123" y="307"/>
                    <a:pt x="1092" y="338"/>
                    <a:pt x="1092" y="376"/>
                  </a:cubicBezTo>
                  <a:cubicBezTo>
                    <a:pt x="1092" y="444"/>
                    <a:pt x="1092" y="444"/>
                    <a:pt x="1092" y="444"/>
                  </a:cubicBezTo>
                  <a:cubicBezTo>
                    <a:pt x="1092" y="481"/>
                    <a:pt x="1123" y="512"/>
                    <a:pt x="1161" y="512"/>
                  </a:cubicBezTo>
                  <a:close/>
                  <a:moveTo>
                    <a:pt x="1161" y="376"/>
                  </a:moveTo>
                  <a:cubicBezTo>
                    <a:pt x="1229" y="376"/>
                    <a:pt x="1229" y="376"/>
                    <a:pt x="1229" y="376"/>
                  </a:cubicBezTo>
                  <a:cubicBezTo>
                    <a:pt x="1229" y="444"/>
                    <a:pt x="1229" y="444"/>
                    <a:pt x="1229" y="444"/>
                  </a:cubicBezTo>
                  <a:cubicBezTo>
                    <a:pt x="1161" y="444"/>
                    <a:pt x="1161" y="444"/>
                    <a:pt x="1161" y="444"/>
                  </a:cubicBezTo>
                  <a:lnTo>
                    <a:pt x="1161" y="376"/>
                  </a:lnTo>
                  <a:close/>
                  <a:moveTo>
                    <a:pt x="1707" y="1570"/>
                  </a:moveTo>
                  <a:cubicBezTo>
                    <a:pt x="1775" y="1570"/>
                    <a:pt x="1775" y="1570"/>
                    <a:pt x="1775" y="1570"/>
                  </a:cubicBezTo>
                  <a:cubicBezTo>
                    <a:pt x="1812" y="1570"/>
                    <a:pt x="1843" y="1540"/>
                    <a:pt x="1843" y="1502"/>
                  </a:cubicBezTo>
                  <a:cubicBezTo>
                    <a:pt x="1843" y="1434"/>
                    <a:pt x="1843" y="1434"/>
                    <a:pt x="1843" y="1434"/>
                  </a:cubicBezTo>
                  <a:cubicBezTo>
                    <a:pt x="1843" y="1396"/>
                    <a:pt x="1812" y="1365"/>
                    <a:pt x="1775" y="1365"/>
                  </a:cubicBezTo>
                  <a:cubicBezTo>
                    <a:pt x="1707" y="1365"/>
                    <a:pt x="1707" y="1365"/>
                    <a:pt x="1707" y="1365"/>
                  </a:cubicBezTo>
                  <a:cubicBezTo>
                    <a:pt x="1669" y="1365"/>
                    <a:pt x="1638" y="1396"/>
                    <a:pt x="1638" y="1434"/>
                  </a:cubicBezTo>
                  <a:cubicBezTo>
                    <a:pt x="1638" y="1502"/>
                    <a:pt x="1638" y="1502"/>
                    <a:pt x="1638" y="1502"/>
                  </a:cubicBezTo>
                  <a:cubicBezTo>
                    <a:pt x="1638" y="1540"/>
                    <a:pt x="1669" y="1570"/>
                    <a:pt x="1707" y="1570"/>
                  </a:cubicBezTo>
                  <a:close/>
                  <a:moveTo>
                    <a:pt x="1707" y="1434"/>
                  </a:moveTo>
                  <a:cubicBezTo>
                    <a:pt x="1775" y="1434"/>
                    <a:pt x="1775" y="1434"/>
                    <a:pt x="1775" y="1434"/>
                  </a:cubicBezTo>
                  <a:cubicBezTo>
                    <a:pt x="1775" y="1502"/>
                    <a:pt x="1775" y="1502"/>
                    <a:pt x="1775" y="1502"/>
                  </a:cubicBezTo>
                  <a:cubicBezTo>
                    <a:pt x="1707" y="1502"/>
                    <a:pt x="1707" y="1502"/>
                    <a:pt x="1707" y="1502"/>
                  </a:cubicBezTo>
                  <a:lnTo>
                    <a:pt x="1707" y="1434"/>
                  </a:lnTo>
                  <a:close/>
                  <a:moveTo>
                    <a:pt x="2014" y="410"/>
                  </a:moveTo>
                  <a:cubicBezTo>
                    <a:pt x="1911" y="410"/>
                    <a:pt x="1911" y="410"/>
                    <a:pt x="1911" y="410"/>
                  </a:cubicBezTo>
                  <a:cubicBezTo>
                    <a:pt x="1911" y="376"/>
                    <a:pt x="1911" y="376"/>
                    <a:pt x="1911" y="376"/>
                  </a:cubicBezTo>
                  <a:cubicBezTo>
                    <a:pt x="1911" y="355"/>
                    <a:pt x="1898" y="341"/>
                    <a:pt x="1877" y="341"/>
                  </a:cubicBezTo>
                  <a:cubicBezTo>
                    <a:pt x="1857" y="341"/>
                    <a:pt x="1843" y="355"/>
                    <a:pt x="1843" y="376"/>
                  </a:cubicBezTo>
                  <a:cubicBezTo>
                    <a:pt x="1843" y="410"/>
                    <a:pt x="1843" y="410"/>
                    <a:pt x="1843" y="410"/>
                  </a:cubicBezTo>
                  <a:cubicBezTo>
                    <a:pt x="1707" y="410"/>
                    <a:pt x="1707" y="410"/>
                    <a:pt x="1707" y="410"/>
                  </a:cubicBezTo>
                  <a:cubicBezTo>
                    <a:pt x="1707" y="376"/>
                    <a:pt x="1707" y="376"/>
                    <a:pt x="1707" y="376"/>
                  </a:cubicBezTo>
                  <a:cubicBezTo>
                    <a:pt x="1707" y="355"/>
                    <a:pt x="1693" y="341"/>
                    <a:pt x="1673" y="341"/>
                  </a:cubicBezTo>
                  <a:cubicBezTo>
                    <a:pt x="1652" y="341"/>
                    <a:pt x="1638" y="355"/>
                    <a:pt x="1638" y="376"/>
                  </a:cubicBezTo>
                  <a:cubicBezTo>
                    <a:pt x="1638" y="410"/>
                    <a:pt x="1638" y="410"/>
                    <a:pt x="1638" y="410"/>
                  </a:cubicBezTo>
                  <a:cubicBezTo>
                    <a:pt x="1502" y="410"/>
                    <a:pt x="1502" y="410"/>
                    <a:pt x="1502" y="410"/>
                  </a:cubicBezTo>
                  <a:cubicBezTo>
                    <a:pt x="1502" y="103"/>
                    <a:pt x="1502" y="103"/>
                    <a:pt x="1502" y="103"/>
                  </a:cubicBezTo>
                  <a:cubicBezTo>
                    <a:pt x="1502" y="82"/>
                    <a:pt x="1488" y="68"/>
                    <a:pt x="1468" y="68"/>
                  </a:cubicBezTo>
                  <a:cubicBezTo>
                    <a:pt x="1161" y="68"/>
                    <a:pt x="1161" y="68"/>
                    <a:pt x="1161" y="68"/>
                  </a:cubicBezTo>
                  <a:cubicBezTo>
                    <a:pt x="1161" y="34"/>
                    <a:pt x="1161" y="34"/>
                    <a:pt x="1161" y="34"/>
                  </a:cubicBezTo>
                  <a:cubicBezTo>
                    <a:pt x="1161" y="14"/>
                    <a:pt x="1147" y="0"/>
                    <a:pt x="1126" y="0"/>
                  </a:cubicBezTo>
                  <a:cubicBezTo>
                    <a:pt x="1106" y="0"/>
                    <a:pt x="1092" y="14"/>
                    <a:pt x="1092" y="34"/>
                  </a:cubicBezTo>
                  <a:cubicBezTo>
                    <a:pt x="1092" y="68"/>
                    <a:pt x="1092" y="68"/>
                    <a:pt x="1092" y="68"/>
                  </a:cubicBezTo>
                  <a:cubicBezTo>
                    <a:pt x="956" y="68"/>
                    <a:pt x="956" y="68"/>
                    <a:pt x="956" y="68"/>
                  </a:cubicBezTo>
                  <a:cubicBezTo>
                    <a:pt x="956" y="34"/>
                    <a:pt x="956" y="34"/>
                    <a:pt x="956" y="34"/>
                  </a:cubicBezTo>
                  <a:cubicBezTo>
                    <a:pt x="956" y="14"/>
                    <a:pt x="942" y="0"/>
                    <a:pt x="922" y="0"/>
                  </a:cubicBezTo>
                  <a:cubicBezTo>
                    <a:pt x="901" y="0"/>
                    <a:pt x="887" y="14"/>
                    <a:pt x="887" y="34"/>
                  </a:cubicBezTo>
                  <a:cubicBezTo>
                    <a:pt x="887" y="68"/>
                    <a:pt x="887" y="68"/>
                    <a:pt x="887" y="68"/>
                  </a:cubicBezTo>
                  <a:cubicBezTo>
                    <a:pt x="580" y="68"/>
                    <a:pt x="580" y="68"/>
                    <a:pt x="580" y="68"/>
                  </a:cubicBezTo>
                  <a:cubicBezTo>
                    <a:pt x="560" y="68"/>
                    <a:pt x="546" y="82"/>
                    <a:pt x="546" y="103"/>
                  </a:cubicBezTo>
                  <a:cubicBezTo>
                    <a:pt x="546" y="410"/>
                    <a:pt x="546" y="410"/>
                    <a:pt x="546" y="410"/>
                  </a:cubicBezTo>
                  <a:cubicBezTo>
                    <a:pt x="410" y="410"/>
                    <a:pt x="410" y="410"/>
                    <a:pt x="410" y="410"/>
                  </a:cubicBezTo>
                  <a:cubicBezTo>
                    <a:pt x="410" y="376"/>
                    <a:pt x="410" y="376"/>
                    <a:pt x="410" y="376"/>
                  </a:cubicBezTo>
                  <a:cubicBezTo>
                    <a:pt x="410" y="355"/>
                    <a:pt x="396" y="341"/>
                    <a:pt x="375" y="341"/>
                  </a:cubicBezTo>
                  <a:cubicBezTo>
                    <a:pt x="355" y="341"/>
                    <a:pt x="341" y="355"/>
                    <a:pt x="341" y="376"/>
                  </a:cubicBezTo>
                  <a:cubicBezTo>
                    <a:pt x="341" y="410"/>
                    <a:pt x="341" y="410"/>
                    <a:pt x="341" y="410"/>
                  </a:cubicBezTo>
                  <a:cubicBezTo>
                    <a:pt x="205" y="410"/>
                    <a:pt x="205" y="410"/>
                    <a:pt x="205" y="410"/>
                  </a:cubicBezTo>
                  <a:cubicBezTo>
                    <a:pt x="205" y="376"/>
                    <a:pt x="205" y="376"/>
                    <a:pt x="205" y="376"/>
                  </a:cubicBezTo>
                  <a:cubicBezTo>
                    <a:pt x="205" y="355"/>
                    <a:pt x="191" y="341"/>
                    <a:pt x="171" y="341"/>
                  </a:cubicBezTo>
                  <a:cubicBezTo>
                    <a:pt x="150" y="341"/>
                    <a:pt x="137" y="355"/>
                    <a:pt x="137" y="376"/>
                  </a:cubicBezTo>
                  <a:cubicBezTo>
                    <a:pt x="137" y="410"/>
                    <a:pt x="137" y="410"/>
                    <a:pt x="137" y="410"/>
                  </a:cubicBezTo>
                  <a:cubicBezTo>
                    <a:pt x="34" y="410"/>
                    <a:pt x="34" y="410"/>
                    <a:pt x="34" y="410"/>
                  </a:cubicBezTo>
                  <a:cubicBezTo>
                    <a:pt x="14" y="410"/>
                    <a:pt x="0" y="423"/>
                    <a:pt x="0" y="444"/>
                  </a:cubicBezTo>
                  <a:cubicBezTo>
                    <a:pt x="0" y="1946"/>
                    <a:pt x="0" y="1946"/>
                    <a:pt x="0" y="1946"/>
                  </a:cubicBezTo>
                  <a:cubicBezTo>
                    <a:pt x="0" y="1966"/>
                    <a:pt x="14" y="1980"/>
                    <a:pt x="34" y="1980"/>
                  </a:cubicBezTo>
                  <a:cubicBezTo>
                    <a:pt x="2014" y="1980"/>
                    <a:pt x="2014" y="1980"/>
                    <a:pt x="2014" y="1980"/>
                  </a:cubicBezTo>
                  <a:cubicBezTo>
                    <a:pt x="2034" y="1980"/>
                    <a:pt x="2048" y="1966"/>
                    <a:pt x="2048" y="1946"/>
                  </a:cubicBezTo>
                  <a:cubicBezTo>
                    <a:pt x="2048" y="444"/>
                    <a:pt x="2048" y="444"/>
                    <a:pt x="2048" y="444"/>
                  </a:cubicBezTo>
                  <a:cubicBezTo>
                    <a:pt x="2048" y="423"/>
                    <a:pt x="2034" y="410"/>
                    <a:pt x="2014" y="410"/>
                  </a:cubicBezTo>
                  <a:close/>
                  <a:moveTo>
                    <a:pt x="546" y="1912"/>
                  </a:moveTo>
                  <a:cubicBezTo>
                    <a:pt x="68" y="1912"/>
                    <a:pt x="68" y="1912"/>
                    <a:pt x="68" y="1912"/>
                  </a:cubicBezTo>
                  <a:cubicBezTo>
                    <a:pt x="68" y="1707"/>
                    <a:pt x="68" y="1707"/>
                    <a:pt x="68" y="1707"/>
                  </a:cubicBezTo>
                  <a:cubicBezTo>
                    <a:pt x="546" y="1707"/>
                    <a:pt x="546" y="1707"/>
                    <a:pt x="546" y="1707"/>
                  </a:cubicBezTo>
                  <a:lnTo>
                    <a:pt x="546" y="1912"/>
                  </a:lnTo>
                  <a:close/>
                  <a:moveTo>
                    <a:pt x="546" y="1639"/>
                  </a:moveTo>
                  <a:cubicBezTo>
                    <a:pt x="68" y="1639"/>
                    <a:pt x="68" y="1639"/>
                    <a:pt x="68" y="1639"/>
                  </a:cubicBezTo>
                  <a:cubicBezTo>
                    <a:pt x="68" y="478"/>
                    <a:pt x="68" y="478"/>
                    <a:pt x="68" y="478"/>
                  </a:cubicBezTo>
                  <a:cubicBezTo>
                    <a:pt x="546" y="478"/>
                    <a:pt x="546" y="478"/>
                    <a:pt x="546" y="478"/>
                  </a:cubicBezTo>
                  <a:lnTo>
                    <a:pt x="546" y="1639"/>
                  </a:lnTo>
                  <a:close/>
                  <a:moveTo>
                    <a:pt x="990" y="1912"/>
                  </a:moveTo>
                  <a:cubicBezTo>
                    <a:pt x="785" y="1912"/>
                    <a:pt x="785" y="1912"/>
                    <a:pt x="785" y="1912"/>
                  </a:cubicBezTo>
                  <a:cubicBezTo>
                    <a:pt x="785" y="1639"/>
                    <a:pt x="785" y="1639"/>
                    <a:pt x="785" y="1639"/>
                  </a:cubicBezTo>
                  <a:cubicBezTo>
                    <a:pt x="990" y="1639"/>
                    <a:pt x="990" y="1639"/>
                    <a:pt x="990" y="1639"/>
                  </a:cubicBezTo>
                  <a:lnTo>
                    <a:pt x="990" y="1912"/>
                  </a:lnTo>
                  <a:close/>
                  <a:moveTo>
                    <a:pt x="1263" y="1912"/>
                  </a:moveTo>
                  <a:cubicBezTo>
                    <a:pt x="1058" y="1912"/>
                    <a:pt x="1058" y="1912"/>
                    <a:pt x="1058" y="1912"/>
                  </a:cubicBezTo>
                  <a:cubicBezTo>
                    <a:pt x="1058" y="1639"/>
                    <a:pt x="1058" y="1639"/>
                    <a:pt x="1058" y="1639"/>
                  </a:cubicBezTo>
                  <a:cubicBezTo>
                    <a:pt x="1263" y="1639"/>
                    <a:pt x="1263" y="1639"/>
                    <a:pt x="1263" y="1639"/>
                  </a:cubicBezTo>
                  <a:lnTo>
                    <a:pt x="1263" y="1912"/>
                  </a:lnTo>
                  <a:close/>
                  <a:moveTo>
                    <a:pt x="1434" y="1912"/>
                  </a:moveTo>
                  <a:cubicBezTo>
                    <a:pt x="1331" y="1912"/>
                    <a:pt x="1331" y="1912"/>
                    <a:pt x="1331" y="1912"/>
                  </a:cubicBezTo>
                  <a:cubicBezTo>
                    <a:pt x="1331" y="1604"/>
                    <a:pt x="1331" y="1604"/>
                    <a:pt x="1331" y="1604"/>
                  </a:cubicBezTo>
                  <a:cubicBezTo>
                    <a:pt x="1331" y="1584"/>
                    <a:pt x="1318" y="1570"/>
                    <a:pt x="1297" y="1570"/>
                  </a:cubicBezTo>
                  <a:cubicBezTo>
                    <a:pt x="751" y="1570"/>
                    <a:pt x="751" y="1570"/>
                    <a:pt x="751" y="1570"/>
                  </a:cubicBezTo>
                  <a:cubicBezTo>
                    <a:pt x="730" y="1570"/>
                    <a:pt x="717" y="1584"/>
                    <a:pt x="717" y="1604"/>
                  </a:cubicBezTo>
                  <a:cubicBezTo>
                    <a:pt x="717" y="1912"/>
                    <a:pt x="717" y="1912"/>
                    <a:pt x="717" y="1912"/>
                  </a:cubicBezTo>
                  <a:cubicBezTo>
                    <a:pt x="614" y="1912"/>
                    <a:pt x="614" y="1912"/>
                    <a:pt x="614" y="1912"/>
                  </a:cubicBezTo>
                  <a:cubicBezTo>
                    <a:pt x="614" y="1673"/>
                    <a:pt x="614" y="1673"/>
                    <a:pt x="614" y="1673"/>
                  </a:cubicBezTo>
                  <a:cubicBezTo>
                    <a:pt x="614" y="1673"/>
                    <a:pt x="614" y="1673"/>
                    <a:pt x="614" y="1673"/>
                  </a:cubicBezTo>
                  <a:cubicBezTo>
                    <a:pt x="614" y="137"/>
                    <a:pt x="614" y="137"/>
                    <a:pt x="614" y="137"/>
                  </a:cubicBezTo>
                  <a:cubicBezTo>
                    <a:pt x="1434" y="137"/>
                    <a:pt x="1434" y="137"/>
                    <a:pt x="1434" y="137"/>
                  </a:cubicBezTo>
                  <a:lnTo>
                    <a:pt x="1434" y="1912"/>
                  </a:lnTo>
                  <a:close/>
                  <a:moveTo>
                    <a:pt x="1980" y="1912"/>
                  </a:moveTo>
                  <a:cubicBezTo>
                    <a:pt x="1502" y="1912"/>
                    <a:pt x="1502" y="1912"/>
                    <a:pt x="1502" y="1912"/>
                  </a:cubicBezTo>
                  <a:cubicBezTo>
                    <a:pt x="1502" y="1707"/>
                    <a:pt x="1502" y="1707"/>
                    <a:pt x="1502" y="1707"/>
                  </a:cubicBezTo>
                  <a:cubicBezTo>
                    <a:pt x="1980" y="1707"/>
                    <a:pt x="1980" y="1707"/>
                    <a:pt x="1980" y="1707"/>
                  </a:cubicBezTo>
                  <a:lnTo>
                    <a:pt x="1980" y="1912"/>
                  </a:lnTo>
                  <a:close/>
                  <a:moveTo>
                    <a:pt x="1980" y="1639"/>
                  </a:moveTo>
                  <a:cubicBezTo>
                    <a:pt x="1502" y="1639"/>
                    <a:pt x="1502" y="1639"/>
                    <a:pt x="1502" y="1639"/>
                  </a:cubicBezTo>
                  <a:cubicBezTo>
                    <a:pt x="1502" y="478"/>
                    <a:pt x="1502" y="478"/>
                    <a:pt x="1502" y="478"/>
                  </a:cubicBezTo>
                  <a:cubicBezTo>
                    <a:pt x="1980" y="478"/>
                    <a:pt x="1980" y="478"/>
                    <a:pt x="1980" y="478"/>
                  </a:cubicBezTo>
                  <a:lnTo>
                    <a:pt x="1980" y="1639"/>
                  </a:lnTo>
                  <a:close/>
                  <a:moveTo>
                    <a:pt x="1161" y="1058"/>
                  </a:moveTo>
                  <a:cubicBezTo>
                    <a:pt x="1229" y="1058"/>
                    <a:pt x="1229" y="1058"/>
                    <a:pt x="1229" y="1058"/>
                  </a:cubicBezTo>
                  <a:cubicBezTo>
                    <a:pt x="1266" y="1058"/>
                    <a:pt x="1297" y="1028"/>
                    <a:pt x="1297" y="990"/>
                  </a:cubicBezTo>
                  <a:cubicBezTo>
                    <a:pt x="1297" y="922"/>
                    <a:pt x="1297" y="922"/>
                    <a:pt x="1297" y="922"/>
                  </a:cubicBezTo>
                  <a:cubicBezTo>
                    <a:pt x="1297" y="884"/>
                    <a:pt x="1266" y="853"/>
                    <a:pt x="1229" y="853"/>
                  </a:cubicBezTo>
                  <a:cubicBezTo>
                    <a:pt x="1161" y="853"/>
                    <a:pt x="1161" y="853"/>
                    <a:pt x="1161" y="853"/>
                  </a:cubicBezTo>
                  <a:cubicBezTo>
                    <a:pt x="1123" y="853"/>
                    <a:pt x="1092" y="884"/>
                    <a:pt x="1092" y="922"/>
                  </a:cubicBezTo>
                  <a:cubicBezTo>
                    <a:pt x="1092" y="990"/>
                    <a:pt x="1092" y="990"/>
                    <a:pt x="1092" y="990"/>
                  </a:cubicBezTo>
                  <a:cubicBezTo>
                    <a:pt x="1092" y="1028"/>
                    <a:pt x="1123" y="1058"/>
                    <a:pt x="1161" y="1058"/>
                  </a:cubicBezTo>
                  <a:close/>
                  <a:moveTo>
                    <a:pt x="1161" y="922"/>
                  </a:moveTo>
                  <a:cubicBezTo>
                    <a:pt x="1229" y="922"/>
                    <a:pt x="1229" y="922"/>
                    <a:pt x="1229" y="922"/>
                  </a:cubicBezTo>
                  <a:cubicBezTo>
                    <a:pt x="1229" y="990"/>
                    <a:pt x="1229" y="990"/>
                    <a:pt x="1229" y="990"/>
                  </a:cubicBezTo>
                  <a:cubicBezTo>
                    <a:pt x="1161" y="990"/>
                    <a:pt x="1161" y="990"/>
                    <a:pt x="1161" y="990"/>
                  </a:cubicBezTo>
                  <a:lnTo>
                    <a:pt x="1161" y="922"/>
                  </a:lnTo>
                  <a:close/>
                  <a:moveTo>
                    <a:pt x="819" y="1058"/>
                  </a:moveTo>
                  <a:cubicBezTo>
                    <a:pt x="887" y="1058"/>
                    <a:pt x="887" y="1058"/>
                    <a:pt x="887" y="1058"/>
                  </a:cubicBezTo>
                  <a:cubicBezTo>
                    <a:pt x="925" y="1058"/>
                    <a:pt x="956" y="1028"/>
                    <a:pt x="956" y="990"/>
                  </a:cubicBezTo>
                  <a:cubicBezTo>
                    <a:pt x="956" y="922"/>
                    <a:pt x="956" y="922"/>
                    <a:pt x="956" y="922"/>
                  </a:cubicBezTo>
                  <a:cubicBezTo>
                    <a:pt x="956" y="884"/>
                    <a:pt x="925" y="853"/>
                    <a:pt x="887" y="853"/>
                  </a:cubicBezTo>
                  <a:cubicBezTo>
                    <a:pt x="819" y="853"/>
                    <a:pt x="819" y="853"/>
                    <a:pt x="819" y="853"/>
                  </a:cubicBezTo>
                  <a:cubicBezTo>
                    <a:pt x="782" y="853"/>
                    <a:pt x="751" y="884"/>
                    <a:pt x="751" y="922"/>
                  </a:cubicBezTo>
                  <a:cubicBezTo>
                    <a:pt x="751" y="990"/>
                    <a:pt x="751" y="990"/>
                    <a:pt x="751" y="990"/>
                  </a:cubicBezTo>
                  <a:cubicBezTo>
                    <a:pt x="751" y="1028"/>
                    <a:pt x="782" y="1058"/>
                    <a:pt x="819" y="1058"/>
                  </a:cubicBezTo>
                  <a:close/>
                  <a:moveTo>
                    <a:pt x="819" y="922"/>
                  </a:moveTo>
                  <a:cubicBezTo>
                    <a:pt x="887" y="922"/>
                    <a:pt x="887" y="922"/>
                    <a:pt x="887" y="922"/>
                  </a:cubicBezTo>
                  <a:cubicBezTo>
                    <a:pt x="887" y="990"/>
                    <a:pt x="887" y="990"/>
                    <a:pt x="887" y="990"/>
                  </a:cubicBezTo>
                  <a:cubicBezTo>
                    <a:pt x="819" y="990"/>
                    <a:pt x="819" y="990"/>
                    <a:pt x="819" y="990"/>
                  </a:cubicBezTo>
                  <a:lnTo>
                    <a:pt x="819" y="922"/>
                  </a:lnTo>
                  <a:close/>
                  <a:moveTo>
                    <a:pt x="1161" y="785"/>
                  </a:moveTo>
                  <a:cubicBezTo>
                    <a:pt x="1229" y="785"/>
                    <a:pt x="1229" y="785"/>
                    <a:pt x="1229" y="785"/>
                  </a:cubicBezTo>
                  <a:cubicBezTo>
                    <a:pt x="1266" y="785"/>
                    <a:pt x="1297" y="754"/>
                    <a:pt x="1297" y="717"/>
                  </a:cubicBezTo>
                  <a:cubicBezTo>
                    <a:pt x="1297" y="649"/>
                    <a:pt x="1297" y="649"/>
                    <a:pt x="1297" y="649"/>
                  </a:cubicBezTo>
                  <a:cubicBezTo>
                    <a:pt x="1297" y="611"/>
                    <a:pt x="1266" y="580"/>
                    <a:pt x="1229" y="580"/>
                  </a:cubicBezTo>
                  <a:cubicBezTo>
                    <a:pt x="1161" y="580"/>
                    <a:pt x="1161" y="580"/>
                    <a:pt x="1161" y="580"/>
                  </a:cubicBezTo>
                  <a:cubicBezTo>
                    <a:pt x="1123" y="580"/>
                    <a:pt x="1092" y="611"/>
                    <a:pt x="1092" y="649"/>
                  </a:cubicBezTo>
                  <a:cubicBezTo>
                    <a:pt x="1092" y="717"/>
                    <a:pt x="1092" y="717"/>
                    <a:pt x="1092" y="717"/>
                  </a:cubicBezTo>
                  <a:cubicBezTo>
                    <a:pt x="1092" y="754"/>
                    <a:pt x="1123" y="785"/>
                    <a:pt x="1161" y="785"/>
                  </a:cubicBezTo>
                  <a:close/>
                  <a:moveTo>
                    <a:pt x="1161" y="649"/>
                  </a:moveTo>
                  <a:cubicBezTo>
                    <a:pt x="1229" y="649"/>
                    <a:pt x="1229" y="649"/>
                    <a:pt x="1229" y="649"/>
                  </a:cubicBezTo>
                  <a:cubicBezTo>
                    <a:pt x="1229" y="717"/>
                    <a:pt x="1229" y="717"/>
                    <a:pt x="1229" y="717"/>
                  </a:cubicBezTo>
                  <a:cubicBezTo>
                    <a:pt x="1161" y="717"/>
                    <a:pt x="1161" y="717"/>
                    <a:pt x="1161" y="717"/>
                  </a:cubicBezTo>
                  <a:lnTo>
                    <a:pt x="1161" y="649"/>
                  </a:lnTo>
                  <a:close/>
                  <a:moveTo>
                    <a:pt x="1161" y="1331"/>
                  </a:moveTo>
                  <a:cubicBezTo>
                    <a:pt x="1229" y="1331"/>
                    <a:pt x="1229" y="1331"/>
                    <a:pt x="1229" y="1331"/>
                  </a:cubicBezTo>
                  <a:cubicBezTo>
                    <a:pt x="1266" y="1331"/>
                    <a:pt x="1297" y="1301"/>
                    <a:pt x="1297" y="1263"/>
                  </a:cubicBezTo>
                  <a:cubicBezTo>
                    <a:pt x="1297" y="1195"/>
                    <a:pt x="1297" y="1195"/>
                    <a:pt x="1297" y="1195"/>
                  </a:cubicBezTo>
                  <a:cubicBezTo>
                    <a:pt x="1297" y="1157"/>
                    <a:pt x="1266" y="1127"/>
                    <a:pt x="1229" y="1127"/>
                  </a:cubicBezTo>
                  <a:cubicBezTo>
                    <a:pt x="1161" y="1127"/>
                    <a:pt x="1161" y="1127"/>
                    <a:pt x="1161" y="1127"/>
                  </a:cubicBezTo>
                  <a:cubicBezTo>
                    <a:pt x="1123" y="1127"/>
                    <a:pt x="1092" y="1157"/>
                    <a:pt x="1092" y="1195"/>
                  </a:cubicBezTo>
                  <a:cubicBezTo>
                    <a:pt x="1092" y="1263"/>
                    <a:pt x="1092" y="1263"/>
                    <a:pt x="1092" y="1263"/>
                  </a:cubicBezTo>
                  <a:cubicBezTo>
                    <a:pt x="1092" y="1301"/>
                    <a:pt x="1123" y="1331"/>
                    <a:pt x="1161" y="1331"/>
                  </a:cubicBezTo>
                  <a:close/>
                  <a:moveTo>
                    <a:pt x="1161" y="1195"/>
                  </a:moveTo>
                  <a:cubicBezTo>
                    <a:pt x="1229" y="1195"/>
                    <a:pt x="1229" y="1195"/>
                    <a:pt x="1229" y="1195"/>
                  </a:cubicBezTo>
                  <a:cubicBezTo>
                    <a:pt x="1229" y="1263"/>
                    <a:pt x="1229" y="1263"/>
                    <a:pt x="1229" y="1263"/>
                  </a:cubicBezTo>
                  <a:cubicBezTo>
                    <a:pt x="1161" y="1263"/>
                    <a:pt x="1161" y="1263"/>
                    <a:pt x="1161" y="1263"/>
                  </a:cubicBezTo>
                  <a:lnTo>
                    <a:pt x="1161" y="1195"/>
                  </a:lnTo>
                  <a:close/>
                  <a:moveTo>
                    <a:pt x="819" y="785"/>
                  </a:moveTo>
                  <a:cubicBezTo>
                    <a:pt x="887" y="785"/>
                    <a:pt x="887" y="785"/>
                    <a:pt x="887" y="785"/>
                  </a:cubicBezTo>
                  <a:cubicBezTo>
                    <a:pt x="925" y="785"/>
                    <a:pt x="956" y="754"/>
                    <a:pt x="956" y="717"/>
                  </a:cubicBezTo>
                  <a:cubicBezTo>
                    <a:pt x="956" y="649"/>
                    <a:pt x="956" y="649"/>
                    <a:pt x="956" y="649"/>
                  </a:cubicBezTo>
                  <a:cubicBezTo>
                    <a:pt x="956" y="611"/>
                    <a:pt x="925" y="580"/>
                    <a:pt x="887" y="580"/>
                  </a:cubicBezTo>
                  <a:cubicBezTo>
                    <a:pt x="819" y="580"/>
                    <a:pt x="819" y="580"/>
                    <a:pt x="819" y="580"/>
                  </a:cubicBezTo>
                  <a:cubicBezTo>
                    <a:pt x="782" y="580"/>
                    <a:pt x="751" y="611"/>
                    <a:pt x="751" y="649"/>
                  </a:cubicBezTo>
                  <a:cubicBezTo>
                    <a:pt x="751" y="717"/>
                    <a:pt x="751" y="717"/>
                    <a:pt x="751" y="717"/>
                  </a:cubicBezTo>
                  <a:cubicBezTo>
                    <a:pt x="751" y="754"/>
                    <a:pt x="782" y="785"/>
                    <a:pt x="819" y="785"/>
                  </a:cubicBezTo>
                  <a:close/>
                  <a:moveTo>
                    <a:pt x="819" y="649"/>
                  </a:moveTo>
                  <a:cubicBezTo>
                    <a:pt x="887" y="649"/>
                    <a:pt x="887" y="649"/>
                    <a:pt x="887" y="649"/>
                  </a:cubicBezTo>
                  <a:cubicBezTo>
                    <a:pt x="887" y="717"/>
                    <a:pt x="887" y="717"/>
                    <a:pt x="887" y="717"/>
                  </a:cubicBezTo>
                  <a:cubicBezTo>
                    <a:pt x="819" y="717"/>
                    <a:pt x="819" y="717"/>
                    <a:pt x="819" y="717"/>
                  </a:cubicBezTo>
                  <a:lnTo>
                    <a:pt x="819" y="649"/>
                  </a:lnTo>
                  <a:close/>
                  <a:moveTo>
                    <a:pt x="819" y="512"/>
                  </a:moveTo>
                  <a:cubicBezTo>
                    <a:pt x="887" y="512"/>
                    <a:pt x="887" y="512"/>
                    <a:pt x="887" y="512"/>
                  </a:cubicBezTo>
                  <a:cubicBezTo>
                    <a:pt x="925" y="512"/>
                    <a:pt x="956" y="481"/>
                    <a:pt x="956" y="444"/>
                  </a:cubicBezTo>
                  <a:cubicBezTo>
                    <a:pt x="956" y="376"/>
                    <a:pt x="956" y="376"/>
                    <a:pt x="956" y="376"/>
                  </a:cubicBezTo>
                  <a:cubicBezTo>
                    <a:pt x="956" y="338"/>
                    <a:pt x="925" y="307"/>
                    <a:pt x="887" y="307"/>
                  </a:cubicBezTo>
                  <a:cubicBezTo>
                    <a:pt x="819" y="307"/>
                    <a:pt x="819" y="307"/>
                    <a:pt x="819" y="307"/>
                  </a:cubicBezTo>
                  <a:cubicBezTo>
                    <a:pt x="782" y="307"/>
                    <a:pt x="751" y="338"/>
                    <a:pt x="751" y="376"/>
                  </a:cubicBezTo>
                  <a:cubicBezTo>
                    <a:pt x="751" y="444"/>
                    <a:pt x="751" y="444"/>
                    <a:pt x="751" y="444"/>
                  </a:cubicBezTo>
                  <a:cubicBezTo>
                    <a:pt x="751" y="481"/>
                    <a:pt x="782" y="512"/>
                    <a:pt x="819" y="512"/>
                  </a:cubicBezTo>
                  <a:close/>
                  <a:moveTo>
                    <a:pt x="819" y="376"/>
                  </a:moveTo>
                  <a:cubicBezTo>
                    <a:pt x="887" y="376"/>
                    <a:pt x="887" y="376"/>
                    <a:pt x="887" y="376"/>
                  </a:cubicBezTo>
                  <a:cubicBezTo>
                    <a:pt x="887" y="444"/>
                    <a:pt x="887" y="444"/>
                    <a:pt x="887" y="444"/>
                  </a:cubicBezTo>
                  <a:cubicBezTo>
                    <a:pt x="819" y="444"/>
                    <a:pt x="819" y="444"/>
                    <a:pt x="819" y="444"/>
                  </a:cubicBezTo>
                  <a:lnTo>
                    <a:pt x="819" y="376"/>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grpSp>
        <p:nvGrpSpPr>
          <p:cNvPr id="157" name="Group 156"/>
          <p:cNvGrpSpPr/>
          <p:nvPr/>
        </p:nvGrpSpPr>
        <p:grpSpPr>
          <a:xfrm>
            <a:off x="8711339" y="3807154"/>
            <a:ext cx="292608" cy="292608"/>
            <a:chOff x="8711339" y="3807154"/>
            <a:chExt cx="292608" cy="292608"/>
          </a:xfrm>
        </p:grpSpPr>
        <p:sp>
          <p:nvSpPr>
            <p:cNvPr id="443" name="Oval 442"/>
            <p:cNvSpPr/>
            <p:nvPr/>
          </p:nvSpPr>
          <p:spPr>
            <a:xfrm>
              <a:off x="8711339" y="3807154"/>
              <a:ext cx="292608" cy="29260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52" name="Freeform 28"/>
            <p:cNvSpPr>
              <a:spLocks noEditPoints="1"/>
            </p:cNvSpPr>
            <p:nvPr/>
          </p:nvSpPr>
          <p:spPr bwMode="auto">
            <a:xfrm>
              <a:off x="8793811" y="3871238"/>
              <a:ext cx="127664" cy="164441"/>
            </a:xfrm>
            <a:custGeom>
              <a:avLst/>
              <a:gdLst/>
              <a:ahLst/>
              <a:cxnLst>
                <a:cxn ang="0">
                  <a:pos x="2613" y="1778"/>
                </a:cxn>
                <a:cxn ang="0">
                  <a:pos x="2247" y="1778"/>
                </a:cxn>
                <a:cxn ang="0">
                  <a:pos x="2247" y="4167"/>
                </a:cxn>
                <a:cxn ang="0">
                  <a:pos x="2613" y="4167"/>
                </a:cxn>
                <a:cxn ang="0">
                  <a:pos x="2613" y="1778"/>
                </a:cxn>
                <a:cxn ang="0">
                  <a:pos x="1509" y="1778"/>
                </a:cxn>
                <a:cxn ang="0">
                  <a:pos x="1143" y="1778"/>
                </a:cxn>
                <a:cxn ang="0">
                  <a:pos x="1143" y="4167"/>
                </a:cxn>
                <a:cxn ang="0">
                  <a:pos x="1509" y="4167"/>
                </a:cxn>
                <a:cxn ang="0">
                  <a:pos x="1509" y="1778"/>
                </a:cxn>
                <a:cxn ang="0">
                  <a:pos x="2901" y="309"/>
                </a:cxn>
                <a:cxn ang="0">
                  <a:pos x="2901" y="0"/>
                </a:cxn>
                <a:cxn ang="0">
                  <a:pos x="855" y="0"/>
                </a:cxn>
                <a:cxn ang="0">
                  <a:pos x="855" y="309"/>
                </a:cxn>
                <a:cxn ang="0">
                  <a:pos x="0" y="309"/>
                </a:cxn>
                <a:cxn ang="0">
                  <a:pos x="0" y="1478"/>
                </a:cxn>
                <a:cxn ang="0">
                  <a:pos x="257" y="1478"/>
                </a:cxn>
                <a:cxn ang="0">
                  <a:pos x="257" y="4838"/>
                </a:cxn>
                <a:cxn ang="0">
                  <a:pos x="3499" y="4838"/>
                </a:cxn>
                <a:cxn ang="0">
                  <a:pos x="3499" y="1478"/>
                </a:cxn>
                <a:cxn ang="0">
                  <a:pos x="3756" y="1478"/>
                </a:cxn>
                <a:cxn ang="0">
                  <a:pos x="3756" y="309"/>
                </a:cxn>
                <a:cxn ang="0">
                  <a:pos x="2901" y="309"/>
                </a:cxn>
                <a:cxn ang="0">
                  <a:pos x="3130" y="4469"/>
                </a:cxn>
                <a:cxn ang="0">
                  <a:pos x="626" y="4469"/>
                </a:cxn>
                <a:cxn ang="0">
                  <a:pos x="626" y="1478"/>
                </a:cxn>
                <a:cxn ang="0">
                  <a:pos x="3130" y="1478"/>
                </a:cxn>
                <a:cxn ang="0">
                  <a:pos x="3130" y="4469"/>
                </a:cxn>
                <a:cxn ang="0">
                  <a:pos x="3388" y="1108"/>
                </a:cxn>
                <a:cxn ang="0">
                  <a:pos x="368" y="1108"/>
                </a:cxn>
                <a:cxn ang="0">
                  <a:pos x="368" y="675"/>
                </a:cxn>
                <a:cxn ang="0">
                  <a:pos x="1221" y="675"/>
                </a:cxn>
                <a:cxn ang="0">
                  <a:pos x="1221" y="368"/>
                </a:cxn>
                <a:cxn ang="0">
                  <a:pos x="2535" y="368"/>
                </a:cxn>
                <a:cxn ang="0">
                  <a:pos x="2535" y="675"/>
                </a:cxn>
                <a:cxn ang="0">
                  <a:pos x="3388" y="675"/>
                </a:cxn>
                <a:cxn ang="0">
                  <a:pos x="3388" y="1108"/>
                </a:cxn>
              </a:cxnLst>
              <a:rect l="0" t="0" r="r" b="b"/>
              <a:pathLst>
                <a:path w="3756" h="4838">
                  <a:moveTo>
                    <a:pt x="2613" y="1778"/>
                  </a:moveTo>
                  <a:lnTo>
                    <a:pt x="2247" y="1778"/>
                  </a:lnTo>
                  <a:lnTo>
                    <a:pt x="2247" y="4167"/>
                  </a:lnTo>
                  <a:lnTo>
                    <a:pt x="2613" y="4167"/>
                  </a:lnTo>
                  <a:lnTo>
                    <a:pt x="2613" y="1778"/>
                  </a:lnTo>
                  <a:close/>
                  <a:moveTo>
                    <a:pt x="1509" y="1778"/>
                  </a:moveTo>
                  <a:lnTo>
                    <a:pt x="1143" y="1778"/>
                  </a:lnTo>
                  <a:lnTo>
                    <a:pt x="1143" y="4167"/>
                  </a:lnTo>
                  <a:lnTo>
                    <a:pt x="1509" y="4167"/>
                  </a:lnTo>
                  <a:lnTo>
                    <a:pt x="1509" y="1778"/>
                  </a:lnTo>
                  <a:close/>
                  <a:moveTo>
                    <a:pt x="2901" y="309"/>
                  </a:moveTo>
                  <a:lnTo>
                    <a:pt x="2901" y="0"/>
                  </a:lnTo>
                  <a:lnTo>
                    <a:pt x="855" y="0"/>
                  </a:lnTo>
                  <a:lnTo>
                    <a:pt x="855" y="309"/>
                  </a:lnTo>
                  <a:lnTo>
                    <a:pt x="0" y="309"/>
                  </a:lnTo>
                  <a:lnTo>
                    <a:pt x="0" y="1478"/>
                  </a:lnTo>
                  <a:lnTo>
                    <a:pt x="257" y="1478"/>
                  </a:lnTo>
                  <a:lnTo>
                    <a:pt x="257" y="4838"/>
                  </a:lnTo>
                  <a:lnTo>
                    <a:pt x="3499" y="4838"/>
                  </a:lnTo>
                  <a:lnTo>
                    <a:pt x="3499" y="1478"/>
                  </a:lnTo>
                  <a:lnTo>
                    <a:pt x="3756" y="1478"/>
                  </a:lnTo>
                  <a:lnTo>
                    <a:pt x="3756" y="309"/>
                  </a:lnTo>
                  <a:lnTo>
                    <a:pt x="2901" y="309"/>
                  </a:lnTo>
                  <a:close/>
                  <a:moveTo>
                    <a:pt x="3130" y="4469"/>
                  </a:moveTo>
                  <a:lnTo>
                    <a:pt x="626" y="4469"/>
                  </a:lnTo>
                  <a:lnTo>
                    <a:pt x="626" y="1478"/>
                  </a:lnTo>
                  <a:lnTo>
                    <a:pt x="3130" y="1478"/>
                  </a:lnTo>
                  <a:lnTo>
                    <a:pt x="3130" y="4469"/>
                  </a:lnTo>
                  <a:close/>
                  <a:moveTo>
                    <a:pt x="3388" y="1108"/>
                  </a:moveTo>
                  <a:lnTo>
                    <a:pt x="368" y="1108"/>
                  </a:lnTo>
                  <a:lnTo>
                    <a:pt x="368" y="675"/>
                  </a:lnTo>
                  <a:lnTo>
                    <a:pt x="1221" y="675"/>
                  </a:lnTo>
                  <a:lnTo>
                    <a:pt x="1221" y="368"/>
                  </a:lnTo>
                  <a:lnTo>
                    <a:pt x="2535" y="368"/>
                  </a:lnTo>
                  <a:lnTo>
                    <a:pt x="2535" y="675"/>
                  </a:lnTo>
                  <a:lnTo>
                    <a:pt x="3388" y="675"/>
                  </a:lnTo>
                  <a:lnTo>
                    <a:pt x="3388" y="1108"/>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sp>
        <p:nvSpPr>
          <p:cNvPr id="348" name="Oval 347"/>
          <p:cNvSpPr/>
          <p:nvPr/>
        </p:nvSpPr>
        <p:spPr>
          <a:xfrm>
            <a:off x="4422598" y="3840534"/>
            <a:ext cx="287785" cy="287785"/>
          </a:xfrm>
          <a:prstGeom prst="ellipse">
            <a:avLst/>
          </a:prstGeom>
          <a:solidFill>
            <a:schemeClr val="accent4">
              <a:lumMod val="75000"/>
            </a:schemeClr>
          </a:solidFill>
          <a:ln w="9525">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155" name="Group 154"/>
          <p:cNvGrpSpPr/>
          <p:nvPr/>
        </p:nvGrpSpPr>
        <p:grpSpPr>
          <a:xfrm>
            <a:off x="5189699" y="3571596"/>
            <a:ext cx="292608" cy="292608"/>
            <a:chOff x="5189699" y="3571596"/>
            <a:chExt cx="292608" cy="292608"/>
          </a:xfrm>
        </p:grpSpPr>
        <p:sp>
          <p:nvSpPr>
            <p:cNvPr id="351" name="Oval 350"/>
            <p:cNvSpPr/>
            <p:nvPr/>
          </p:nvSpPr>
          <p:spPr>
            <a:xfrm>
              <a:off x="5189699" y="3571596"/>
              <a:ext cx="292608" cy="292608"/>
            </a:xfrm>
            <a:prstGeom prst="ellipse">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54" name="Freeform 5"/>
            <p:cNvSpPr>
              <a:spLocks noEditPoints="1"/>
            </p:cNvSpPr>
            <p:nvPr/>
          </p:nvSpPr>
          <p:spPr bwMode="auto">
            <a:xfrm>
              <a:off x="5252800" y="3648596"/>
              <a:ext cx="166407" cy="138609"/>
            </a:xfrm>
            <a:custGeom>
              <a:avLst/>
              <a:gdLst/>
              <a:ahLst/>
              <a:cxnLst>
                <a:cxn ang="0">
                  <a:pos x="1365" y="442"/>
                </a:cxn>
                <a:cxn ang="0">
                  <a:pos x="1451" y="213"/>
                </a:cxn>
                <a:cxn ang="0">
                  <a:pos x="1536" y="128"/>
                </a:cxn>
                <a:cxn ang="0">
                  <a:pos x="1365" y="85"/>
                </a:cxn>
                <a:cxn ang="0">
                  <a:pos x="1280" y="42"/>
                </a:cxn>
                <a:cxn ang="0">
                  <a:pos x="768" y="435"/>
                </a:cxn>
                <a:cxn ang="0">
                  <a:pos x="853" y="213"/>
                </a:cxn>
                <a:cxn ang="0">
                  <a:pos x="939" y="128"/>
                </a:cxn>
                <a:cxn ang="0">
                  <a:pos x="768" y="85"/>
                </a:cxn>
                <a:cxn ang="0">
                  <a:pos x="683" y="42"/>
                </a:cxn>
                <a:cxn ang="0">
                  <a:pos x="97" y="589"/>
                </a:cxn>
                <a:cxn ang="0">
                  <a:pos x="97" y="1544"/>
                </a:cxn>
                <a:cxn ang="0">
                  <a:pos x="1150" y="1704"/>
                </a:cxn>
                <a:cxn ang="0">
                  <a:pos x="1729" y="1630"/>
                </a:cxn>
                <a:cxn ang="0">
                  <a:pos x="2048" y="725"/>
                </a:cxn>
                <a:cxn ang="0">
                  <a:pos x="1707" y="585"/>
                </a:cxn>
                <a:cxn ang="0">
                  <a:pos x="1334" y="793"/>
                </a:cxn>
                <a:cxn ang="0">
                  <a:pos x="1024" y="512"/>
                </a:cxn>
                <a:cxn ang="0">
                  <a:pos x="1024" y="768"/>
                </a:cxn>
                <a:cxn ang="0">
                  <a:pos x="1024" y="512"/>
                </a:cxn>
                <a:cxn ang="0">
                  <a:pos x="829" y="777"/>
                </a:cxn>
                <a:cxn ang="0">
                  <a:pos x="274" y="605"/>
                </a:cxn>
                <a:cxn ang="0">
                  <a:pos x="85" y="1408"/>
                </a:cxn>
                <a:cxn ang="0">
                  <a:pos x="299" y="1291"/>
                </a:cxn>
                <a:cxn ang="0">
                  <a:pos x="208" y="1168"/>
                </a:cxn>
                <a:cxn ang="0">
                  <a:pos x="146" y="891"/>
                </a:cxn>
                <a:cxn ang="0">
                  <a:pos x="208" y="826"/>
                </a:cxn>
                <a:cxn ang="0">
                  <a:pos x="563" y="864"/>
                </a:cxn>
                <a:cxn ang="0">
                  <a:pos x="208" y="826"/>
                </a:cxn>
                <a:cxn ang="0">
                  <a:pos x="384" y="1312"/>
                </a:cxn>
                <a:cxn ang="0">
                  <a:pos x="725" y="1270"/>
                </a:cxn>
                <a:cxn ang="0">
                  <a:pos x="725" y="1015"/>
                </a:cxn>
                <a:cxn ang="0">
                  <a:pos x="811" y="1615"/>
                </a:cxn>
                <a:cxn ang="0">
                  <a:pos x="853" y="1617"/>
                </a:cxn>
                <a:cxn ang="0">
                  <a:pos x="939" y="1620"/>
                </a:cxn>
                <a:cxn ang="0">
                  <a:pos x="1109" y="1364"/>
                </a:cxn>
                <a:cxn ang="0">
                  <a:pos x="1195" y="1617"/>
                </a:cxn>
                <a:cxn ang="0">
                  <a:pos x="1237" y="1615"/>
                </a:cxn>
                <a:cxn ang="0">
                  <a:pos x="811" y="1275"/>
                </a:cxn>
                <a:cxn ang="0">
                  <a:pos x="1237" y="1019"/>
                </a:cxn>
                <a:cxn ang="0">
                  <a:pos x="758" y="919"/>
                </a:cxn>
                <a:cxn ang="0">
                  <a:pos x="1024" y="853"/>
                </a:cxn>
                <a:cxn ang="0">
                  <a:pos x="1290" y="919"/>
                </a:cxn>
                <a:cxn ang="0">
                  <a:pos x="1323" y="1609"/>
                </a:cxn>
                <a:cxn ang="0">
                  <a:pos x="1664" y="1558"/>
                </a:cxn>
                <a:cxn ang="0">
                  <a:pos x="1323" y="1015"/>
                </a:cxn>
                <a:cxn ang="0">
                  <a:pos x="1698" y="875"/>
                </a:cxn>
                <a:cxn ang="0">
                  <a:pos x="1493" y="896"/>
                </a:cxn>
                <a:cxn ang="0">
                  <a:pos x="1963" y="725"/>
                </a:cxn>
                <a:cxn ang="0">
                  <a:pos x="1749" y="949"/>
                </a:cxn>
                <a:cxn ang="0">
                  <a:pos x="1963" y="1066"/>
                </a:cxn>
                <a:cxn ang="0">
                  <a:pos x="1749" y="949"/>
                </a:cxn>
                <a:cxn ang="0">
                  <a:pos x="1749" y="1291"/>
                </a:cxn>
                <a:cxn ang="0">
                  <a:pos x="1963" y="1408"/>
                </a:cxn>
              </a:cxnLst>
              <a:rect l="0" t="0" r="r" b="b"/>
              <a:pathLst>
                <a:path w="2048" h="1706">
                  <a:moveTo>
                    <a:pt x="1951" y="589"/>
                  </a:moveTo>
                  <a:cubicBezTo>
                    <a:pt x="1898" y="556"/>
                    <a:pt x="1823" y="527"/>
                    <a:pt x="1729" y="503"/>
                  </a:cubicBezTo>
                  <a:cubicBezTo>
                    <a:pt x="1624" y="475"/>
                    <a:pt x="1500" y="455"/>
                    <a:pt x="1365" y="442"/>
                  </a:cubicBezTo>
                  <a:cubicBezTo>
                    <a:pt x="1365" y="170"/>
                    <a:pt x="1365" y="170"/>
                    <a:pt x="1365" y="170"/>
                  </a:cubicBezTo>
                  <a:cubicBezTo>
                    <a:pt x="1408" y="170"/>
                    <a:pt x="1408" y="170"/>
                    <a:pt x="1408" y="170"/>
                  </a:cubicBezTo>
                  <a:cubicBezTo>
                    <a:pt x="1408" y="194"/>
                    <a:pt x="1427" y="213"/>
                    <a:pt x="1451" y="213"/>
                  </a:cubicBezTo>
                  <a:cubicBezTo>
                    <a:pt x="1536" y="213"/>
                    <a:pt x="1536" y="213"/>
                    <a:pt x="1536" y="213"/>
                  </a:cubicBezTo>
                  <a:cubicBezTo>
                    <a:pt x="1560" y="213"/>
                    <a:pt x="1579" y="194"/>
                    <a:pt x="1579" y="170"/>
                  </a:cubicBezTo>
                  <a:cubicBezTo>
                    <a:pt x="1579" y="147"/>
                    <a:pt x="1560" y="128"/>
                    <a:pt x="1536" y="128"/>
                  </a:cubicBezTo>
                  <a:cubicBezTo>
                    <a:pt x="1493" y="128"/>
                    <a:pt x="1493" y="128"/>
                    <a:pt x="1493" y="128"/>
                  </a:cubicBezTo>
                  <a:cubicBezTo>
                    <a:pt x="1493" y="104"/>
                    <a:pt x="1474" y="85"/>
                    <a:pt x="1451" y="85"/>
                  </a:cubicBezTo>
                  <a:cubicBezTo>
                    <a:pt x="1365" y="85"/>
                    <a:pt x="1365" y="85"/>
                    <a:pt x="1365" y="85"/>
                  </a:cubicBezTo>
                  <a:cubicBezTo>
                    <a:pt x="1365" y="42"/>
                    <a:pt x="1365" y="42"/>
                    <a:pt x="1365" y="42"/>
                  </a:cubicBezTo>
                  <a:cubicBezTo>
                    <a:pt x="1365" y="19"/>
                    <a:pt x="1346" y="0"/>
                    <a:pt x="1323" y="0"/>
                  </a:cubicBezTo>
                  <a:cubicBezTo>
                    <a:pt x="1299" y="0"/>
                    <a:pt x="1280" y="19"/>
                    <a:pt x="1280" y="42"/>
                  </a:cubicBezTo>
                  <a:cubicBezTo>
                    <a:pt x="1280" y="435"/>
                    <a:pt x="1280" y="435"/>
                    <a:pt x="1280" y="435"/>
                  </a:cubicBezTo>
                  <a:cubicBezTo>
                    <a:pt x="1197" y="429"/>
                    <a:pt x="1112" y="426"/>
                    <a:pt x="1024" y="426"/>
                  </a:cubicBezTo>
                  <a:cubicBezTo>
                    <a:pt x="936" y="426"/>
                    <a:pt x="851" y="429"/>
                    <a:pt x="768" y="435"/>
                  </a:cubicBezTo>
                  <a:cubicBezTo>
                    <a:pt x="768" y="170"/>
                    <a:pt x="768" y="170"/>
                    <a:pt x="768" y="170"/>
                  </a:cubicBezTo>
                  <a:cubicBezTo>
                    <a:pt x="811" y="170"/>
                    <a:pt x="811" y="170"/>
                    <a:pt x="811" y="170"/>
                  </a:cubicBezTo>
                  <a:cubicBezTo>
                    <a:pt x="811" y="194"/>
                    <a:pt x="830" y="213"/>
                    <a:pt x="853" y="213"/>
                  </a:cubicBezTo>
                  <a:cubicBezTo>
                    <a:pt x="939" y="213"/>
                    <a:pt x="939" y="213"/>
                    <a:pt x="939" y="213"/>
                  </a:cubicBezTo>
                  <a:cubicBezTo>
                    <a:pt x="962" y="213"/>
                    <a:pt x="981" y="194"/>
                    <a:pt x="981" y="170"/>
                  </a:cubicBezTo>
                  <a:cubicBezTo>
                    <a:pt x="981" y="147"/>
                    <a:pt x="962" y="128"/>
                    <a:pt x="939" y="128"/>
                  </a:cubicBezTo>
                  <a:cubicBezTo>
                    <a:pt x="896" y="128"/>
                    <a:pt x="896" y="128"/>
                    <a:pt x="896" y="128"/>
                  </a:cubicBezTo>
                  <a:cubicBezTo>
                    <a:pt x="896" y="104"/>
                    <a:pt x="877" y="85"/>
                    <a:pt x="853" y="85"/>
                  </a:cubicBezTo>
                  <a:cubicBezTo>
                    <a:pt x="768" y="85"/>
                    <a:pt x="768" y="85"/>
                    <a:pt x="768" y="85"/>
                  </a:cubicBezTo>
                  <a:cubicBezTo>
                    <a:pt x="768" y="42"/>
                    <a:pt x="768" y="42"/>
                    <a:pt x="768" y="42"/>
                  </a:cubicBezTo>
                  <a:cubicBezTo>
                    <a:pt x="768" y="19"/>
                    <a:pt x="749" y="0"/>
                    <a:pt x="725" y="0"/>
                  </a:cubicBezTo>
                  <a:cubicBezTo>
                    <a:pt x="702" y="0"/>
                    <a:pt x="683" y="19"/>
                    <a:pt x="683" y="42"/>
                  </a:cubicBezTo>
                  <a:cubicBezTo>
                    <a:pt x="683" y="442"/>
                    <a:pt x="683" y="442"/>
                    <a:pt x="683" y="442"/>
                  </a:cubicBezTo>
                  <a:cubicBezTo>
                    <a:pt x="548" y="455"/>
                    <a:pt x="424" y="475"/>
                    <a:pt x="319" y="503"/>
                  </a:cubicBezTo>
                  <a:cubicBezTo>
                    <a:pt x="225" y="527"/>
                    <a:pt x="150" y="556"/>
                    <a:pt x="97" y="589"/>
                  </a:cubicBezTo>
                  <a:cubicBezTo>
                    <a:pt x="33" y="629"/>
                    <a:pt x="0" y="675"/>
                    <a:pt x="0" y="725"/>
                  </a:cubicBezTo>
                  <a:cubicBezTo>
                    <a:pt x="0" y="1408"/>
                    <a:pt x="0" y="1408"/>
                    <a:pt x="0" y="1408"/>
                  </a:cubicBezTo>
                  <a:cubicBezTo>
                    <a:pt x="0" y="1458"/>
                    <a:pt x="33" y="1504"/>
                    <a:pt x="97" y="1544"/>
                  </a:cubicBezTo>
                  <a:cubicBezTo>
                    <a:pt x="150" y="1576"/>
                    <a:pt x="225" y="1605"/>
                    <a:pt x="319" y="1630"/>
                  </a:cubicBezTo>
                  <a:cubicBezTo>
                    <a:pt x="508" y="1679"/>
                    <a:pt x="758" y="1706"/>
                    <a:pt x="1024" y="1706"/>
                  </a:cubicBezTo>
                  <a:cubicBezTo>
                    <a:pt x="1066" y="1706"/>
                    <a:pt x="1108" y="1706"/>
                    <a:pt x="1150" y="1704"/>
                  </a:cubicBezTo>
                  <a:cubicBezTo>
                    <a:pt x="1151" y="1704"/>
                    <a:pt x="1151" y="1704"/>
                    <a:pt x="1152" y="1704"/>
                  </a:cubicBezTo>
                  <a:cubicBezTo>
                    <a:pt x="1154" y="1704"/>
                    <a:pt x="1155" y="1704"/>
                    <a:pt x="1157" y="1704"/>
                  </a:cubicBezTo>
                  <a:cubicBezTo>
                    <a:pt x="1373" y="1696"/>
                    <a:pt x="1572" y="1671"/>
                    <a:pt x="1729" y="1630"/>
                  </a:cubicBezTo>
                  <a:cubicBezTo>
                    <a:pt x="1823" y="1605"/>
                    <a:pt x="1898" y="1576"/>
                    <a:pt x="1951" y="1544"/>
                  </a:cubicBezTo>
                  <a:cubicBezTo>
                    <a:pt x="2015" y="1504"/>
                    <a:pt x="2048" y="1458"/>
                    <a:pt x="2048" y="1408"/>
                  </a:cubicBezTo>
                  <a:cubicBezTo>
                    <a:pt x="2048" y="725"/>
                    <a:pt x="2048" y="725"/>
                    <a:pt x="2048" y="725"/>
                  </a:cubicBezTo>
                  <a:cubicBezTo>
                    <a:pt x="2048" y="675"/>
                    <a:pt x="2015" y="629"/>
                    <a:pt x="1951" y="589"/>
                  </a:cubicBezTo>
                  <a:close/>
                  <a:moveTo>
                    <a:pt x="1348" y="526"/>
                  </a:moveTo>
                  <a:cubicBezTo>
                    <a:pt x="1481" y="538"/>
                    <a:pt x="1604" y="558"/>
                    <a:pt x="1707" y="585"/>
                  </a:cubicBezTo>
                  <a:cubicBezTo>
                    <a:pt x="1731" y="592"/>
                    <a:pt x="1754" y="598"/>
                    <a:pt x="1774" y="605"/>
                  </a:cubicBezTo>
                  <a:cubicBezTo>
                    <a:pt x="1405" y="811"/>
                    <a:pt x="1405" y="811"/>
                    <a:pt x="1405" y="811"/>
                  </a:cubicBezTo>
                  <a:cubicBezTo>
                    <a:pt x="1382" y="804"/>
                    <a:pt x="1357" y="798"/>
                    <a:pt x="1334" y="793"/>
                  </a:cubicBezTo>
                  <a:cubicBezTo>
                    <a:pt x="1300" y="787"/>
                    <a:pt x="1261" y="781"/>
                    <a:pt x="1219" y="777"/>
                  </a:cubicBezTo>
                  <a:lnTo>
                    <a:pt x="1348" y="526"/>
                  </a:lnTo>
                  <a:close/>
                  <a:moveTo>
                    <a:pt x="1024" y="512"/>
                  </a:moveTo>
                  <a:cubicBezTo>
                    <a:pt x="1103" y="512"/>
                    <a:pt x="1181" y="514"/>
                    <a:pt x="1255" y="519"/>
                  </a:cubicBezTo>
                  <a:cubicBezTo>
                    <a:pt x="1127" y="770"/>
                    <a:pt x="1127" y="770"/>
                    <a:pt x="1127" y="770"/>
                  </a:cubicBezTo>
                  <a:cubicBezTo>
                    <a:pt x="1093" y="768"/>
                    <a:pt x="1059" y="768"/>
                    <a:pt x="1024" y="768"/>
                  </a:cubicBezTo>
                  <a:cubicBezTo>
                    <a:pt x="989" y="768"/>
                    <a:pt x="955" y="768"/>
                    <a:pt x="921" y="770"/>
                  </a:cubicBezTo>
                  <a:cubicBezTo>
                    <a:pt x="793" y="519"/>
                    <a:pt x="793" y="519"/>
                    <a:pt x="793" y="519"/>
                  </a:cubicBezTo>
                  <a:cubicBezTo>
                    <a:pt x="867" y="514"/>
                    <a:pt x="945" y="512"/>
                    <a:pt x="1024" y="512"/>
                  </a:cubicBezTo>
                  <a:close/>
                  <a:moveTo>
                    <a:pt x="341" y="585"/>
                  </a:moveTo>
                  <a:cubicBezTo>
                    <a:pt x="444" y="558"/>
                    <a:pt x="566" y="538"/>
                    <a:pt x="700" y="526"/>
                  </a:cubicBezTo>
                  <a:cubicBezTo>
                    <a:pt x="829" y="777"/>
                    <a:pt x="829" y="777"/>
                    <a:pt x="829" y="777"/>
                  </a:cubicBezTo>
                  <a:cubicBezTo>
                    <a:pt x="787" y="781"/>
                    <a:pt x="748" y="787"/>
                    <a:pt x="714" y="793"/>
                  </a:cubicBezTo>
                  <a:cubicBezTo>
                    <a:pt x="691" y="798"/>
                    <a:pt x="666" y="804"/>
                    <a:pt x="643" y="811"/>
                  </a:cubicBezTo>
                  <a:cubicBezTo>
                    <a:pt x="274" y="605"/>
                    <a:pt x="274" y="605"/>
                    <a:pt x="274" y="605"/>
                  </a:cubicBezTo>
                  <a:cubicBezTo>
                    <a:pt x="294" y="598"/>
                    <a:pt x="316" y="592"/>
                    <a:pt x="341" y="585"/>
                  </a:cubicBezTo>
                  <a:close/>
                  <a:moveTo>
                    <a:pt x="299" y="1536"/>
                  </a:moveTo>
                  <a:cubicBezTo>
                    <a:pt x="131" y="1486"/>
                    <a:pt x="85" y="1433"/>
                    <a:pt x="85" y="1408"/>
                  </a:cubicBezTo>
                  <a:cubicBezTo>
                    <a:pt x="85" y="1195"/>
                    <a:pt x="85" y="1195"/>
                    <a:pt x="85" y="1195"/>
                  </a:cubicBezTo>
                  <a:cubicBezTo>
                    <a:pt x="102" y="1207"/>
                    <a:pt x="122" y="1220"/>
                    <a:pt x="146" y="1232"/>
                  </a:cubicBezTo>
                  <a:cubicBezTo>
                    <a:pt x="188" y="1254"/>
                    <a:pt x="240" y="1274"/>
                    <a:pt x="299" y="1291"/>
                  </a:cubicBezTo>
                  <a:lnTo>
                    <a:pt x="299" y="1536"/>
                  </a:lnTo>
                  <a:close/>
                  <a:moveTo>
                    <a:pt x="299" y="1202"/>
                  </a:moveTo>
                  <a:cubicBezTo>
                    <a:pt x="262" y="1190"/>
                    <a:pt x="232" y="1179"/>
                    <a:pt x="208" y="1168"/>
                  </a:cubicBezTo>
                  <a:cubicBezTo>
                    <a:pt x="99" y="1118"/>
                    <a:pt x="86" y="1070"/>
                    <a:pt x="85" y="1064"/>
                  </a:cubicBezTo>
                  <a:cubicBezTo>
                    <a:pt x="85" y="853"/>
                    <a:pt x="85" y="853"/>
                    <a:pt x="85" y="853"/>
                  </a:cubicBezTo>
                  <a:cubicBezTo>
                    <a:pt x="102" y="866"/>
                    <a:pt x="122" y="878"/>
                    <a:pt x="146" y="891"/>
                  </a:cubicBezTo>
                  <a:cubicBezTo>
                    <a:pt x="188" y="913"/>
                    <a:pt x="240" y="933"/>
                    <a:pt x="299" y="949"/>
                  </a:cubicBezTo>
                  <a:lnTo>
                    <a:pt x="299" y="1202"/>
                  </a:lnTo>
                  <a:close/>
                  <a:moveTo>
                    <a:pt x="208" y="826"/>
                  </a:moveTo>
                  <a:cubicBezTo>
                    <a:pt x="101" y="777"/>
                    <a:pt x="87" y="730"/>
                    <a:pt x="85" y="723"/>
                  </a:cubicBezTo>
                  <a:cubicBezTo>
                    <a:pt x="87" y="706"/>
                    <a:pt x="108" y="677"/>
                    <a:pt x="172" y="645"/>
                  </a:cubicBezTo>
                  <a:cubicBezTo>
                    <a:pt x="563" y="864"/>
                    <a:pt x="563" y="864"/>
                    <a:pt x="563" y="864"/>
                  </a:cubicBezTo>
                  <a:cubicBezTo>
                    <a:pt x="558" y="874"/>
                    <a:pt x="555" y="884"/>
                    <a:pt x="555" y="896"/>
                  </a:cubicBezTo>
                  <a:cubicBezTo>
                    <a:pt x="555" y="902"/>
                    <a:pt x="555" y="907"/>
                    <a:pt x="557" y="913"/>
                  </a:cubicBezTo>
                  <a:cubicBezTo>
                    <a:pt x="382" y="890"/>
                    <a:pt x="274" y="857"/>
                    <a:pt x="208" y="826"/>
                  </a:cubicBezTo>
                  <a:close/>
                  <a:moveTo>
                    <a:pt x="725" y="1609"/>
                  </a:moveTo>
                  <a:cubicBezTo>
                    <a:pt x="600" y="1598"/>
                    <a:pt x="484" y="1581"/>
                    <a:pt x="384" y="1558"/>
                  </a:cubicBezTo>
                  <a:cubicBezTo>
                    <a:pt x="384" y="1312"/>
                    <a:pt x="384" y="1312"/>
                    <a:pt x="384" y="1312"/>
                  </a:cubicBezTo>
                  <a:cubicBezTo>
                    <a:pt x="481" y="1333"/>
                    <a:pt x="595" y="1347"/>
                    <a:pt x="725" y="1356"/>
                  </a:cubicBezTo>
                  <a:lnTo>
                    <a:pt x="725" y="1609"/>
                  </a:lnTo>
                  <a:close/>
                  <a:moveTo>
                    <a:pt x="725" y="1270"/>
                  </a:moveTo>
                  <a:cubicBezTo>
                    <a:pt x="581" y="1260"/>
                    <a:pt x="469" y="1243"/>
                    <a:pt x="384" y="1224"/>
                  </a:cubicBezTo>
                  <a:cubicBezTo>
                    <a:pt x="384" y="971"/>
                    <a:pt x="384" y="971"/>
                    <a:pt x="384" y="971"/>
                  </a:cubicBezTo>
                  <a:cubicBezTo>
                    <a:pt x="481" y="991"/>
                    <a:pt x="595" y="1006"/>
                    <a:pt x="725" y="1015"/>
                  </a:cubicBezTo>
                  <a:lnTo>
                    <a:pt x="725" y="1270"/>
                  </a:lnTo>
                  <a:close/>
                  <a:moveTo>
                    <a:pt x="853" y="1617"/>
                  </a:moveTo>
                  <a:cubicBezTo>
                    <a:pt x="839" y="1616"/>
                    <a:pt x="825" y="1616"/>
                    <a:pt x="811" y="1615"/>
                  </a:cubicBezTo>
                  <a:cubicBezTo>
                    <a:pt x="811" y="1361"/>
                    <a:pt x="811" y="1361"/>
                    <a:pt x="811" y="1361"/>
                  </a:cubicBezTo>
                  <a:cubicBezTo>
                    <a:pt x="825" y="1361"/>
                    <a:pt x="839" y="1362"/>
                    <a:pt x="853" y="1362"/>
                  </a:cubicBezTo>
                  <a:lnTo>
                    <a:pt x="853" y="1617"/>
                  </a:lnTo>
                  <a:close/>
                  <a:moveTo>
                    <a:pt x="1109" y="1620"/>
                  </a:moveTo>
                  <a:cubicBezTo>
                    <a:pt x="1081" y="1621"/>
                    <a:pt x="1053" y="1621"/>
                    <a:pt x="1024" y="1621"/>
                  </a:cubicBezTo>
                  <a:cubicBezTo>
                    <a:pt x="995" y="1621"/>
                    <a:pt x="967" y="1621"/>
                    <a:pt x="939" y="1620"/>
                  </a:cubicBezTo>
                  <a:cubicBezTo>
                    <a:pt x="939" y="1364"/>
                    <a:pt x="939" y="1364"/>
                    <a:pt x="939" y="1364"/>
                  </a:cubicBezTo>
                  <a:cubicBezTo>
                    <a:pt x="967" y="1365"/>
                    <a:pt x="995" y="1365"/>
                    <a:pt x="1024" y="1365"/>
                  </a:cubicBezTo>
                  <a:cubicBezTo>
                    <a:pt x="1053" y="1365"/>
                    <a:pt x="1081" y="1365"/>
                    <a:pt x="1109" y="1364"/>
                  </a:cubicBezTo>
                  <a:lnTo>
                    <a:pt x="1109" y="1620"/>
                  </a:lnTo>
                  <a:close/>
                  <a:moveTo>
                    <a:pt x="1237" y="1615"/>
                  </a:moveTo>
                  <a:cubicBezTo>
                    <a:pt x="1223" y="1616"/>
                    <a:pt x="1209" y="1616"/>
                    <a:pt x="1195" y="1617"/>
                  </a:cubicBezTo>
                  <a:cubicBezTo>
                    <a:pt x="1195" y="1362"/>
                    <a:pt x="1195" y="1362"/>
                    <a:pt x="1195" y="1362"/>
                  </a:cubicBezTo>
                  <a:cubicBezTo>
                    <a:pt x="1209" y="1362"/>
                    <a:pt x="1223" y="1361"/>
                    <a:pt x="1237" y="1361"/>
                  </a:cubicBezTo>
                  <a:lnTo>
                    <a:pt x="1237" y="1615"/>
                  </a:lnTo>
                  <a:close/>
                  <a:moveTo>
                    <a:pt x="1237" y="1275"/>
                  </a:moveTo>
                  <a:cubicBezTo>
                    <a:pt x="1163" y="1278"/>
                    <a:pt x="1091" y="1280"/>
                    <a:pt x="1024" y="1280"/>
                  </a:cubicBezTo>
                  <a:cubicBezTo>
                    <a:pt x="947" y="1280"/>
                    <a:pt x="876" y="1278"/>
                    <a:pt x="811" y="1275"/>
                  </a:cubicBezTo>
                  <a:cubicBezTo>
                    <a:pt x="811" y="1019"/>
                    <a:pt x="811" y="1019"/>
                    <a:pt x="811" y="1019"/>
                  </a:cubicBezTo>
                  <a:cubicBezTo>
                    <a:pt x="878" y="1022"/>
                    <a:pt x="949" y="1024"/>
                    <a:pt x="1024" y="1024"/>
                  </a:cubicBezTo>
                  <a:cubicBezTo>
                    <a:pt x="1099" y="1024"/>
                    <a:pt x="1170" y="1022"/>
                    <a:pt x="1237" y="1019"/>
                  </a:cubicBezTo>
                  <a:lnTo>
                    <a:pt x="1237" y="1275"/>
                  </a:lnTo>
                  <a:close/>
                  <a:moveTo>
                    <a:pt x="1024" y="938"/>
                  </a:moveTo>
                  <a:cubicBezTo>
                    <a:pt x="926" y="938"/>
                    <a:pt x="832" y="931"/>
                    <a:pt x="758" y="919"/>
                  </a:cubicBezTo>
                  <a:cubicBezTo>
                    <a:pt x="710" y="911"/>
                    <a:pt x="680" y="903"/>
                    <a:pt x="662" y="896"/>
                  </a:cubicBezTo>
                  <a:cubicBezTo>
                    <a:pt x="680" y="889"/>
                    <a:pt x="710" y="880"/>
                    <a:pt x="758" y="872"/>
                  </a:cubicBezTo>
                  <a:cubicBezTo>
                    <a:pt x="832" y="860"/>
                    <a:pt x="926" y="853"/>
                    <a:pt x="1024" y="853"/>
                  </a:cubicBezTo>
                  <a:cubicBezTo>
                    <a:pt x="1122" y="853"/>
                    <a:pt x="1216" y="860"/>
                    <a:pt x="1290" y="872"/>
                  </a:cubicBezTo>
                  <a:cubicBezTo>
                    <a:pt x="1338" y="880"/>
                    <a:pt x="1368" y="889"/>
                    <a:pt x="1386" y="896"/>
                  </a:cubicBezTo>
                  <a:cubicBezTo>
                    <a:pt x="1368" y="903"/>
                    <a:pt x="1338" y="911"/>
                    <a:pt x="1290" y="919"/>
                  </a:cubicBezTo>
                  <a:cubicBezTo>
                    <a:pt x="1216" y="931"/>
                    <a:pt x="1122" y="938"/>
                    <a:pt x="1024" y="938"/>
                  </a:cubicBezTo>
                  <a:close/>
                  <a:moveTo>
                    <a:pt x="1664" y="1558"/>
                  </a:moveTo>
                  <a:cubicBezTo>
                    <a:pt x="1564" y="1581"/>
                    <a:pt x="1448" y="1598"/>
                    <a:pt x="1323" y="1609"/>
                  </a:cubicBezTo>
                  <a:cubicBezTo>
                    <a:pt x="1323" y="1356"/>
                    <a:pt x="1323" y="1356"/>
                    <a:pt x="1323" y="1356"/>
                  </a:cubicBezTo>
                  <a:cubicBezTo>
                    <a:pt x="1453" y="1347"/>
                    <a:pt x="1567" y="1333"/>
                    <a:pt x="1664" y="1312"/>
                  </a:cubicBezTo>
                  <a:lnTo>
                    <a:pt x="1664" y="1558"/>
                  </a:lnTo>
                  <a:close/>
                  <a:moveTo>
                    <a:pt x="1664" y="1224"/>
                  </a:moveTo>
                  <a:cubicBezTo>
                    <a:pt x="1560" y="1248"/>
                    <a:pt x="1441" y="1262"/>
                    <a:pt x="1323" y="1270"/>
                  </a:cubicBezTo>
                  <a:cubicBezTo>
                    <a:pt x="1323" y="1015"/>
                    <a:pt x="1323" y="1015"/>
                    <a:pt x="1323" y="1015"/>
                  </a:cubicBezTo>
                  <a:cubicBezTo>
                    <a:pt x="1453" y="1006"/>
                    <a:pt x="1567" y="991"/>
                    <a:pt x="1664" y="971"/>
                  </a:cubicBezTo>
                  <a:lnTo>
                    <a:pt x="1664" y="1224"/>
                  </a:lnTo>
                  <a:close/>
                  <a:moveTo>
                    <a:pt x="1698" y="875"/>
                  </a:moveTo>
                  <a:cubicBezTo>
                    <a:pt x="1697" y="875"/>
                    <a:pt x="1695" y="875"/>
                    <a:pt x="1694" y="876"/>
                  </a:cubicBezTo>
                  <a:cubicBezTo>
                    <a:pt x="1631" y="892"/>
                    <a:pt x="1562" y="904"/>
                    <a:pt x="1491" y="913"/>
                  </a:cubicBezTo>
                  <a:cubicBezTo>
                    <a:pt x="1493" y="907"/>
                    <a:pt x="1493" y="902"/>
                    <a:pt x="1493" y="896"/>
                  </a:cubicBezTo>
                  <a:cubicBezTo>
                    <a:pt x="1493" y="884"/>
                    <a:pt x="1490" y="874"/>
                    <a:pt x="1485" y="864"/>
                  </a:cubicBezTo>
                  <a:cubicBezTo>
                    <a:pt x="1876" y="645"/>
                    <a:pt x="1876" y="645"/>
                    <a:pt x="1876" y="645"/>
                  </a:cubicBezTo>
                  <a:cubicBezTo>
                    <a:pt x="1942" y="678"/>
                    <a:pt x="1963" y="708"/>
                    <a:pt x="1963" y="725"/>
                  </a:cubicBezTo>
                  <a:cubicBezTo>
                    <a:pt x="1963" y="725"/>
                    <a:pt x="1952" y="769"/>
                    <a:pt x="1863" y="815"/>
                  </a:cubicBezTo>
                  <a:cubicBezTo>
                    <a:pt x="1817" y="839"/>
                    <a:pt x="1761" y="859"/>
                    <a:pt x="1698" y="875"/>
                  </a:cubicBezTo>
                  <a:close/>
                  <a:moveTo>
                    <a:pt x="1749" y="949"/>
                  </a:moveTo>
                  <a:cubicBezTo>
                    <a:pt x="1808" y="933"/>
                    <a:pt x="1860" y="913"/>
                    <a:pt x="1902" y="891"/>
                  </a:cubicBezTo>
                  <a:cubicBezTo>
                    <a:pt x="1926" y="878"/>
                    <a:pt x="1946" y="866"/>
                    <a:pt x="1963" y="853"/>
                  </a:cubicBezTo>
                  <a:cubicBezTo>
                    <a:pt x="1963" y="1066"/>
                    <a:pt x="1963" y="1066"/>
                    <a:pt x="1963" y="1066"/>
                  </a:cubicBezTo>
                  <a:cubicBezTo>
                    <a:pt x="1963" y="1067"/>
                    <a:pt x="1952" y="1110"/>
                    <a:pt x="1863" y="1156"/>
                  </a:cubicBezTo>
                  <a:cubicBezTo>
                    <a:pt x="1830" y="1174"/>
                    <a:pt x="1791" y="1189"/>
                    <a:pt x="1749" y="1202"/>
                  </a:cubicBezTo>
                  <a:lnTo>
                    <a:pt x="1749" y="949"/>
                  </a:lnTo>
                  <a:close/>
                  <a:moveTo>
                    <a:pt x="1963" y="1408"/>
                  </a:moveTo>
                  <a:cubicBezTo>
                    <a:pt x="1963" y="1433"/>
                    <a:pt x="1916" y="1486"/>
                    <a:pt x="1749" y="1536"/>
                  </a:cubicBezTo>
                  <a:cubicBezTo>
                    <a:pt x="1749" y="1291"/>
                    <a:pt x="1749" y="1291"/>
                    <a:pt x="1749" y="1291"/>
                  </a:cubicBezTo>
                  <a:cubicBezTo>
                    <a:pt x="1808" y="1274"/>
                    <a:pt x="1860" y="1254"/>
                    <a:pt x="1902" y="1232"/>
                  </a:cubicBezTo>
                  <a:cubicBezTo>
                    <a:pt x="1926" y="1220"/>
                    <a:pt x="1946" y="1207"/>
                    <a:pt x="1963" y="1195"/>
                  </a:cubicBezTo>
                  <a:lnTo>
                    <a:pt x="1963" y="1408"/>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sp>
        <p:nvSpPr>
          <p:cNvPr id="160" name="Freeform 10"/>
          <p:cNvSpPr>
            <a:spLocks noEditPoints="1"/>
          </p:cNvSpPr>
          <p:nvPr/>
        </p:nvSpPr>
        <p:spPr bwMode="auto">
          <a:xfrm>
            <a:off x="4445604" y="3929064"/>
            <a:ext cx="198918" cy="160872"/>
          </a:xfrm>
          <a:custGeom>
            <a:avLst/>
            <a:gdLst/>
            <a:ahLst/>
            <a:cxnLst>
              <a:cxn ang="0">
                <a:pos x="1413" y="976"/>
              </a:cxn>
              <a:cxn ang="0">
                <a:pos x="2053" y="42"/>
              </a:cxn>
              <a:cxn ang="0">
                <a:pos x="2012" y="1"/>
              </a:cxn>
              <a:cxn ang="0">
                <a:pos x="1075" y="636"/>
              </a:cxn>
              <a:cxn ang="0">
                <a:pos x="532" y="1264"/>
              </a:cxn>
              <a:cxn ang="0">
                <a:pos x="553" y="1046"/>
              </a:cxn>
              <a:cxn ang="0">
                <a:pos x="615" y="78"/>
              </a:cxn>
              <a:cxn ang="0">
                <a:pos x="267" y="571"/>
              </a:cxn>
              <a:cxn ang="0">
                <a:pos x="436" y="1185"/>
              </a:cxn>
              <a:cxn ang="0">
                <a:pos x="353" y="1354"/>
              </a:cxn>
              <a:cxn ang="0">
                <a:pos x="28" y="1517"/>
              </a:cxn>
              <a:cxn ang="0">
                <a:pos x="43" y="1590"/>
              </a:cxn>
              <a:cxn ang="0">
                <a:pos x="569" y="1330"/>
              </a:cxn>
              <a:cxn ang="0">
                <a:pos x="1013" y="1381"/>
              </a:cxn>
              <a:cxn ang="0">
                <a:pos x="1442" y="1661"/>
              </a:cxn>
              <a:cxn ang="0">
                <a:pos x="1896" y="1408"/>
              </a:cxn>
              <a:cxn ang="0">
                <a:pos x="1145" y="1174"/>
              </a:cxn>
              <a:cxn ang="0">
                <a:pos x="772" y="1208"/>
              </a:cxn>
              <a:cxn ang="0">
                <a:pos x="1348" y="982"/>
              </a:cxn>
              <a:cxn ang="0">
                <a:pos x="342" y="576"/>
              </a:cxn>
              <a:cxn ang="0">
                <a:pos x="775" y="603"/>
              </a:cxn>
              <a:cxn ang="0">
                <a:pos x="567" y="969"/>
              </a:cxn>
              <a:cxn ang="0">
                <a:pos x="553" y="557"/>
              </a:cxn>
              <a:cxn ang="0">
                <a:pos x="491" y="961"/>
              </a:cxn>
              <a:cxn ang="0">
                <a:pos x="1424" y="1350"/>
              </a:cxn>
              <a:cxn ang="0">
                <a:pos x="1181" y="1241"/>
              </a:cxn>
              <a:cxn ang="0">
                <a:pos x="1814" y="1426"/>
              </a:cxn>
              <a:cxn ang="0">
                <a:pos x="1159" y="1501"/>
              </a:cxn>
              <a:cxn ang="0">
                <a:pos x="1423" y="1426"/>
              </a:cxn>
              <a:cxn ang="0">
                <a:pos x="1461" y="1389"/>
              </a:cxn>
              <a:cxn ang="0">
                <a:pos x="1149" y="651"/>
              </a:cxn>
              <a:cxn ang="0">
                <a:pos x="1972" y="82"/>
              </a:cxn>
              <a:cxn ang="0">
                <a:pos x="1399" y="902"/>
              </a:cxn>
              <a:cxn ang="0">
                <a:pos x="1473" y="645"/>
              </a:cxn>
              <a:cxn ang="0">
                <a:pos x="1416" y="595"/>
              </a:cxn>
              <a:cxn ang="0">
                <a:pos x="1149" y="651"/>
              </a:cxn>
            </a:cxnLst>
            <a:rect l="0" t="0" r="r" b="b"/>
            <a:pathLst>
              <a:path w="2054" h="1661">
                <a:moveTo>
                  <a:pt x="1348" y="982"/>
                </a:moveTo>
                <a:cubicBezTo>
                  <a:pt x="1369" y="982"/>
                  <a:pt x="1391" y="980"/>
                  <a:pt x="1413" y="976"/>
                </a:cubicBezTo>
                <a:cubicBezTo>
                  <a:pt x="1523" y="955"/>
                  <a:pt x="1639" y="883"/>
                  <a:pt x="1761" y="762"/>
                </a:cubicBezTo>
                <a:cubicBezTo>
                  <a:pt x="2013" y="511"/>
                  <a:pt x="2051" y="61"/>
                  <a:pt x="2053" y="42"/>
                </a:cubicBezTo>
                <a:cubicBezTo>
                  <a:pt x="2054" y="31"/>
                  <a:pt x="2050" y="20"/>
                  <a:pt x="2042" y="12"/>
                </a:cubicBezTo>
                <a:cubicBezTo>
                  <a:pt x="2034" y="4"/>
                  <a:pt x="2023" y="0"/>
                  <a:pt x="2012" y="1"/>
                </a:cubicBezTo>
                <a:cubicBezTo>
                  <a:pt x="1993" y="2"/>
                  <a:pt x="1544" y="40"/>
                  <a:pt x="1292" y="291"/>
                </a:cubicBezTo>
                <a:cubicBezTo>
                  <a:pt x="1170" y="412"/>
                  <a:pt x="1098" y="528"/>
                  <a:pt x="1075" y="636"/>
                </a:cubicBezTo>
                <a:cubicBezTo>
                  <a:pt x="1057" y="723"/>
                  <a:pt x="1073" y="803"/>
                  <a:pt x="1122" y="868"/>
                </a:cubicBezTo>
                <a:cubicBezTo>
                  <a:pt x="919" y="1032"/>
                  <a:pt x="703" y="1167"/>
                  <a:pt x="532" y="1264"/>
                </a:cubicBezTo>
                <a:cubicBezTo>
                  <a:pt x="512" y="1276"/>
                  <a:pt x="492" y="1287"/>
                  <a:pt x="473" y="1297"/>
                </a:cubicBezTo>
                <a:cubicBezTo>
                  <a:pt x="499" y="1240"/>
                  <a:pt x="529" y="1158"/>
                  <a:pt x="553" y="1046"/>
                </a:cubicBezTo>
                <a:cubicBezTo>
                  <a:pt x="691" y="1041"/>
                  <a:pt x="832" y="907"/>
                  <a:pt x="850" y="608"/>
                </a:cubicBezTo>
                <a:cubicBezTo>
                  <a:pt x="868" y="326"/>
                  <a:pt x="625" y="88"/>
                  <a:pt x="615" y="78"/>
                </a:cubicBezTo>
                <a:cubicBezTo>
                  <a:pt x="602" y="65"/>
                  <a:pt x="581" y="63"/>
                  <a:pt x="566" y="75"/>
                </a:cubicBezTo>
                <a:cubicBezTo>
                  <a:pt x="555" y="83"/>
                  <a:pt x="284" y="289"/>
                  <a:pt x="267" y="571"/>
                </a:cubicBezTo>
                <a:cubicBezTo>
                  <a:pt x="249" y="848"/>
                  <a:pt x="353" y="997"/>
                  <a:pt x="477" y="1036"/>
                </a:cubicBezTo>
                <a:cubicBezTo>
                  <a:pt x="464" y="1097"/>
                  <a:pt x="450" y="1146"/>
                  <a:pt x="436" y="1185"/>
                </a:cubicBezTo>
                <a:cubicBezTo>
                  <a:pt x="396" y="1302"/>
                  <a:pt x="354" y="1353"/>
                  <a:pt x="353" y="1354"/>
                </a:cubicBezTo>
                <a:cubicBezTo>
                  <a:pt x="353" y="1354"/>
                  <a:pt x="353" y="1354"/>
                  <a:pt x="353" y="1354"/>
                </a:cubicBezTo>
                <a:cubicBezTo>
                  <a:pt x="344" y="1364"/>
                  <a:pt x="334" y="1372"/>
                  <a:pt x="323" y="1377"/>
                </a:cubicBezTo>
                <a:cubicBezTo>
                  <a:pt x="149" y="1467"/>
                  <a:pt x="30" y="1517"/>
                  <a:pt x="28" y="1517"/>
                </a:cubicBezTo>
                <a:cubicBezTo>
                  <a:pt x="9" y="1525"/>
                  <a:pt x="0" y="1547"/>
                  <a:pt x="8" y="1567"/>
                </a:cubicBezTo>
                <a:cubicBezTo>
                  <a:pt x="14" y="1581"/>
                  <a:pt x="28" y="1590"/>
                  <a:pt x="43" y="1590"/>
                </a:cubicBezTo>
                <a:cubicBezTo>
                  <a:pt x="48" y="1590"/>
                  <a:pt x="53" y="1589"/>
                  <a:pt x="57" y="1587"/>
                </a:cubicBezTo>
                <a:cubicBezTo>
                  <a:pt x="60" y="1586"/>
                  <a:pt x="284" y="1492"/>
                  <a:pt x="569" y="1330"/>
                </a:cubicBezTo>
                <a:cubicBezTo>
                  <a:pt x="611" y="1307"/>
                  <a:pt x="655" y="1280"/>
                  <a:pt x="702" y="1252"/>
                </a:cubicBezTo>
                <a:cubicBezTo>
                  <a:pt x="729" y="1273"/>
                  <a:pt x="822" y="1337"/>
                  <a:pt x="1013" y="1381"/>
                </a:cubicBezTo>
                <a:cubicBezTo>
                  <a:pt x="1017" y="1507"/>
                  <a:pt x="1136" y="1637"/>
                  <a:pt x="1406" y="1660"/>
                </a:cubicBezTo>
                <a:cubicBezTo>
                  <a:pt x="1418" y="1661"/>
                  <a:pt x="1430" y="1661"/>
                  <a:pt x="1442" y="1661"/>
                </a:cubicBezTo>
                <a:cubicBezTo>
                  <a:pt x="1682" y="1661"/>
                  <a:pt x="1883" y="1466"/>
                  <a:pt x="1892" y="1457"/>
                </a:cubicBezTo>
                <a:cubicBezTo>
                  <a:pt x="1905" y="1444"/>
                  <a:pt x="1907" y="1423"/>
                  <a:pt x="1896" y="1408"/>
                </a:cubicBezTo>
                <a:cubicBezTo>
                  <a:pt x="1889" y="1397"/>
                  <a:pt x="1707" y="1148"/>
                  <a:pt x="1451" y="1126"/>
                </a:cubicBezTo>
                <a:cubicBezTo>
                  <a:pt x="1329" y="1116"/>
                  <a:pt x="1223" y="1132"/>
                  <a:pt x="1145" y="1174"/>
                </a:cubicBezTo>
                <a:cubicBezTo>
                  <a:pt x="1085" y="1206"/>
                  <a:pt x="1044" y="1252"/>
                  <a:pt x="1025" y="1306"/>
                </a:cubicBezTo>
                <a:cubicBezTo>
                  <a:pt x="890" y="1274"/>
                  <a:pt x="810" y="1232"/>
                  <a:pt x="772" y="1208"/>
                </a:cubicBezTo>
                <a:cubicBezTo>
                  <a:pt x="901" y="1127"/>
                  <a:pt x="1041" y="1031"/>
                  <a:pt x="1175" y="922"/>
                </a:cubicBezTo>
                <a:cubicBezTo>
                  <a:pt x="1224" y="962"/>
                  <a:pt x="1283" y="982"/>
                  <a:pt x="1348" y="982"/>
                </a:cubicBezTo>
                <a:close/>
                <a:moveTo>
                  <a:pt x="392" y="870"/>
                </a:moveTo>
                <a:cubicBezTo>
                  <a:pt x="352" y="797"/>
                  <a:pt x="335" y="696"/>
                  <a:pt x="342" y="576"/>
                </a:cubicBezTo>
                <a:cubicBezTo>
                  <a:pt x="355" y="377"/>
                  <a:pt x="521" y="214"/>
                  <a:pt x="586" y="157"/>
                </a:cubicBezTo>
                <a:cubicBezTo>
                  <a:pt x="643" y="221"/>
                  <a:pt x="787" y="404"/>
                  <a:pt x="775" y="603"/>
                </a:cubicBezTo>
                <a:cubicBezTo>
                  <a:pt x="767" y="723"/>
                  <a:pt x="738" y="822"/>
                  <a:pt x="688" y="888"/>
                </a:cubicBezTo>
                <a:cubicBezTo>
                  <a:pt x="654" y="935"/>
                  <a:pt x="612" y="963"/>
                  <a:pt x="567" y="969"/>
                </a:cubicBezTo>
                <a:cubicBezTo>
                  <a:pt x="583" y="866"/>
                  <a:pt x="593" y="742"/>
                  <a:pt x="591" y="595"/>
                </a:cubicBezTo>
                <a:cubicBezTo>
                  <a:pt x="591" y="574"/>
                  <a:pt x="574" y="557"/>
                  <a:pt x="553" y="557"/>
                </a:cubicBezTo>
                <a:cubicBezTo>
                  <a:pt x="532" y="558"/>
                  <a:pt x="515" y="575"/>
                  <a:pt x="516" y="596"/>
                </a:cubicBezTo>
                <a:cubicBezTo>
                  <a:pt x="517" y="742"/>
                  <a:pt x="507" y="863"/>
                  <a:pt x="491" y="961"/>
                </a:cubicBezTo>
                <a:cubicBezTo>
                  <a:pt x="452" y="947"/>
                  <a:pt x="418" y="916"/>
                  <a:pt x="392" y="870"/>
                </a:cubicBezTo>
                <a:close/>
                <a:moveTo>
                  <a:pt x="1424" y="1350"/>
                </a:moveTo>
                <a:cubicBezTo>
                  <a:pt x="1295" y="1349"/>
                  <a:pt x="1188" y="1338"/>
                  <a:pt x="1100" y="1322"/>
                </a:cubicBezTo>
                <a:cubicBezTo>
                  <a:pt x="1114" y="1289"/>
                  <a:pt x="1141" y="1262"/>
                  <a:pt x="1181" y="1241"/>
                </a:cubicBezTo>
                <a:cubicBezTo>
                  <a:pt x="1246" y="1206"/>
                  <a:pt x="1337" y="1192"/>
                  <a:pt x="1445" y="1202"/>
                </a:cubicBezTo>
                <a:cubicBezTo>
                  <a:pt x="1620" y="1216"/>
                  <a:pt x="1762" y="1364"/>
                  <a:pt x="1814" y="1426"/>
                </a:cubicBezTo>
                <a:cubicBezTo>
                  <a:pt x="1752" y="1477"/>
                  <a:pt x="1588" y="1599"/>
                  <a:pt x="1412" y="1584"/>
                </a:cubicBezTo>
                <a:cubicBezTo>
                  <a:pt x="1305" y="1575"/>
                  <a:pt x="1217" y="1547"/>
                  <a:pt x="1159" y="1501"/>
                </a:cubicBezTo>
                <a:cubicBezTo>
                  <a:pt x="1120" y="1471"/>
                  <a:pt x="1096" y="1436"/>
                  <a:pt x="1090" y="1397"/>
                </a:cubicBezTo>
                <a:cubicBezTo>
                  <a:pt x="1182" y="1413"/>
                  <a:pt x="1292" y="1425"/>
                  <a:pt x="1423" y="1426"/>
                </a:cubicBezTo>
                <a:cubicBezTo>
                  <a:pt x="1423" y="1426"/>
                  <a:pt x="1423" y="1426"/>
                  <a:pt x="1423" y="1426"/>
                </a:cubicBezTo>
                <a:cubicBezTo>
                  <a:pt x="1444" y="1426"/>
                  <a:pt x="1461" y="1409"/>
                  <a:pt x="1461" y="1389"/>
                </a:cubicBezTo>
                <a:cubicBezTo>
                  <a:pt x="1462" y="1368"/>
                  <a:pt x="1445" y="1351"/>
                  <a:pt x="1424" y="1350"/>
                </a:cubicBezTo>
                <a:close/>
                <a:moveTo>
                  <a:pt x="1149" y="651"/>
                </a:moveTo>
                <a:cubicBezTo>
                  <a:pt x="1168" y="559"/>
                  <a:pt x="1236" y="453"/>
                  <a:pt x="1345" y="344"/>
                </a:cubicBezTo>
                <a:cubicBezTo>
                  <a:pt x="1533" y="158"/>
                  <a:pt x="1853" y="98"/>
                  <a:pt x="1972" y="82"/>
                </a:cubicBezTo>
                <a:cubicBezTo>
                  <a:pt x="1956" y="201"/>
                  <a:pt x="1895" y="522"/>
                  <a:pt x="1708" y="709"/>
                </a:cubicBezTo>
                <a:cubicBezTo>
                  <a:pt x="1599" y="817"/>
                  <a:pt x="1492" y="884"/>
                  <a:pt x="1399" y="902"/>
                </a:cubicBezTo>
                <a:cubicBezTo>
                  <a:pt x="1336" y="914"/>
                  <a:pt x="1281" y="904"/>
                  <a:pt x="1235" y="872"/>
                </a:cubicBezTo>
                <a:cubicBezTo>
                  <a:pt x="1318" y="801"/>
                  <a:pt x="1399" y="725"/>
                  <a:pt x="1473" y="645"/>
                </a:cubicBezTo>
                <a:cubicBezTo>
                  <a:pt x="1487" y="629"/>
                  <a:pt x="1485" y="604"/>
                  <a:pt x="1468" y="590"/>
                </a:cubicBezTo>
                <a:cubicBezTo>
                  <a:pt x="1452" y="577"/>
                  <a:pt x="1429" y="580"/>
                  <a:pt x="1416" y="595"/>
                </a:cubicBezTo>
                <a:cubicBezTo>
                  <a:pt x="1343" y="674"/>
                  <a:pt x="1263" y="749"/>
                  <a:pt x="1180" y="819"/>
                </a:cubicBezTo>
                <a:cubicBezTo>
                  <a:pt x="1147" y="772"/>
                  <a:pt x="1136" y="716"/>
                  <a:pt x="1149" y="651"/>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cxnSp>
        <p:nvCxnSpPr>
          <p:cNvPr id="23" name="Straight Connector 22"/>
          <p:cNvCxnSpPr>
            <a:endCxn id="383" idx="3"/>
          </p:cNvCxnSpPr>
          <p:nvPr/>
        </p:nvCxnSpPr>
        <p:spPr>
          <a:xfrm>
            <a:off x="2913983" y="1793220"/>
            <a:ext cx="5801007" cy="1504470"/>
          </a:xfrm>
          <a:prstGeom prst="line">
            <a:avLst/>
          </a:prstGeom>
        </p:spPr>
        <p:style>
          <a:lnRef idx="1">
            <a:schemeClr val="accent1"/>
          </a:lnRef>
          <a:fillRef idx="0">
            <a:schemeClr val="accent1"/>
          </a:fillRef>
          <a:effectRef idx="0">
            <a:schemeClr val="accent1"/>
          </a:effectRef>
          <a:fontRef idx="minor">
            <a:schemeClr val="tx1"/>
          </a:fontRef>
        </p:style>
      </p:cxnSp>
      <p:grpSp>
        <p:nvGrpSpPr>
          <p:cNvPr id="31" name="Group 423"/>
          <p:cNvGrpSpPr/>
          <p:nvPr/>
        </p:nvGrpSpPr>
        <p:grpSpPr>
          <a:xfrm>
            <a:off x="746914" y="2519461"/>
            <a:ext cx="2857660" cy="640080"/>
            <a:chOff x="765964" y="2621061"/>
            <a:chExt cx="2857660" cy="640080"/>
          </a:xfrm>
        </p:grpSpPr>
        <p:sp>
          <p:nvSpPr>
            <p:cNvPr id="423" name="Rectangle 422"/>
            <p:cNvSpPr/>
            <p:nvPr/>
          </p:nvSpPr>
          <p:spPr>
            <a:xfrm>
              <a:off x="1350012" y="2674779"/>
              <a:ext cx="1689566" cy="184666"/>
            </a:xfrm>
            <a:prstGeom prst="rect">
              <a:avLst/>
            </a:prstGeom>
          </p:spPr>
          <p:txBody>
            <a:bodyPr wrap="none" lIns="0" tIns="0" rIns="0" bIns="0">
              <a:spAutoFit/>
            </a:bodyPr>
            <a:lstStyle/>
            <a:p>
              <a:pPr algn="ctr"/>
              <a:r>
                <a:rPr lang="en-GB" sz="1200" b="1" dirty="0" smtClean="0">
                  <a:solidFill>
                    <a:schemeClr val="accent5"/>
                  </a:solidFill>
                  <a:latin typeface="+mj-lt"/>
                </a:rPr>
                <a:t>Ultra Services Platform</a:t>
              </a:r>
              <a:endParaRPr lang="en-GB" sz="1200" b="1" dirty="0">
                <a:solidFill>
                  <a:schemeClr val="accent5"/>
                </a:solidFill>
                <a:latin typeface="+mj-lt"/>
              </a:endParaRPr>
            </a:p>
          </p:txBody>
        </p:sp>
        <p:sp>
          <p:nvSpPr>
            <p:cNvPr id="418" name="Rounded Rectangle 417"/>
            <p:cNvSpPr/>
            <p:nvPr/>
          </p:nvSpPr>
          <p:spPr>
            <a:xfrm>
              <a:off x="810414" y="2846953"/>
              <a:ext cx="885036" cy="367799"/>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Ultra Packet Core</a:t>
              </a:r>
            </a:p>
          </p:txBody>
        </p:sp>
        <p:sp>
          <p:nvSpPr>
            <p:cNvPr id="419" name="Rounded Rectangle 418"/>
            <p:cNvSpPr/>
            <p:nvPr/>
          </p:nvSpPr>
          <p:spPr>
            <a:xfrm>
              <a:off x="1752600" y="2846953"/>
              <a:ext cx="885036" cy="367799"/>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Ultra Policy Platform</a:t>
              </a:r>
            </a:p>
          </p:txBody>
        </p:sp>
        <p:sp>
          <p:nvSpPr>
            <p:cNvPr id="420" name="Rounded Rectangle 419"/>
            <p:cNvSpPr/>
            <p:nvPr/>
          </p:nvSpPr>
          <p:spPr>
            <a:xfrm>
              <a:off x="2694786" y="2846953"/>
              <a:ext cx="885036" cy="367799"/>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b="1" dirty="0" smtClean="0">
                  <a:latin typeface="+mj-lt"/>
                </a:rPr>
                <a:t>Ultra Services Framework</a:t>
              </a:r>
            </a:p>
          </p:txBody>
        </p:sp>
        <p:sp>
          <p:nvSpPr>
            <p:cNvPr id="421" name="Rounded Rectangle 420"/>
            <p:cNvSpPr/>
            <p:nvPr/>
          </p:nvSpPr>
          <p:spPr>
            <a:xfrm>
              <a:off x="765964" y="2621061"/>
              <a:ext cx="2857660" cy="640080"/>
            </a:xfrm>
            <a:prstGeom prst="roundRect">
              <a:avLst/>
            </a:prstGeom>
            <a:no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spTree>
    <p:extLst>
      <p:ext uri="{BB962C8B-B14F-4D97-AF65-F5344CB8AC3E}">
        <p14:creationId xmlns:p14="http://schemas.microsoft.com/office/powerpoint/2010/main" val="163705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7" name="Group 330"/>
          <p:cNvGrpSpPr/>
          <p:nvPr/>
        </p:nvGrpSpPr>
        <p:grpSpPr>
          <a:xfrm>
            <a:off x="4166175" y="2817490"/>
            <a:ext cx="4893171" cy="1473988"/>
            <a:chOff x="4249995" y="2817490"/>
            <a:chExt cx="4893171" cy="1473988"/>
          </a:xfrm>
        </p:grpSpPr>
        <p:sp>
          <p:nvSpPr>
            <p:cNvPr id="128" name="Freeform 6"/>
            <p:cNvSpPr>
              <a:spLocks noEditPoints="1"/>
            </p:cNvSpPr>
            <p:nvPr/>
          </p:nvSpPr>
          <p:spPr bwMode="auto">
            <a:xfrm>
              <a:off x="4249995" y="2817490"/>
              <a:ext cx="4893171" cy="1473988"/>
            </a:xfrm>
            <a:custGeom>
              <a:avLst/>
              <a:gdLst/>
              <a:ahLst/>
              <a:cxnLst>
                <a:cxn ang="0">
                  <a:pos x="3437" y="824"/>
                </a:cxn>
                <a:cxn ang="0">
                  <a:pos x="3240" y="956"/>
                </a:cxn>
                <a:cxn ang="0">
                  <a:pos x="2664" y="781"/>
                </a:cxn>
                <a:cxn ang="0">
                  <a:pos x="2420" y="456"/>
                </a:cxn>
                <a:cxn ang="0">
                  <a:pos x="2152" y="781"/>
                </a:cxn>
                <a:cxn ang="0">
                  <a:pos x="2113" y="290"/>
                </a:cxn>
                <a:cxn ang="0">
                  <a:pos x="1908" y="817"/>
                </a:cxn>
                <a:cxn ang="0">
                  <a:pos x="1734" y="654"/>
                </a:cxn>
                <a:cxn ang="0">
                  <a:pos x="1237" y="91"/>
                </a:cxn>
                <a:cxn ang="0">
                  <a:pos x="1028" y="522"/>
                </a:cxn>
                <a:cxn ang="0">
                  <a:pos x="763" y="917"/>
                </a:cxn>
                <a:cxn ang="0">
                  <a:pos x="615" y="811"/>
                </a:cxn>
                <a:cxn ang="0">
                  <a:pos x="341" y="812"/>
                </a:cxn>
                <a:cxn ang="0">
                  <a:pos x="2507" y="1283"/>
                </a:cxn>
                <a:cxn ang="0">
                  <a:pos x="3816" y="1035"/>
                </a:cxn>
                <a:cxn ang="0">
                  <a:pos x="51" y="1143"/>
                </a:cxn>
                <a:cxn ang="0">
                  <a:pos x="228" y="1180"/>
                </a:cxn>
                <a:cxn ang="0">
                  <a:pos x="555" y="825"/>
                </a:cxn>
                <a:cxn ang="0">
                  <a:pos x="414" y="1011"/>
                </a:cxn>
                <a:cxn ang="0">
                  <a:pos x="430" y="825"/>
                </a:cxn>
                <a:cxn ang="0">
                  <a:pos x="545" y="1214"/>
                </a:cxn>
                <a:cxn ang="0">
                  <a:pos x="697" y="986"/>
                </a:cxn>
                <a:cxn ang="0">
                  <a:pos x="848" y="1059"/>
                </a:cxn>
                <a:cxn ang="0">
                  <a:pos x="1052" y="597"/>
                </a:cxn>
                <a:cxn ang="0">
                  <a:pos x="1052" y="1113"/>
                </a:cxn>
                <a:cxn ang="0">
                  <a:pos x="983" y="972"/>
                </a:cxn>
                <a:cxn ang="0">
                  <a:pos x="1052" y="863"/>
                </a:cxn>
                <a:cxn ang="0">
                  <a:pos x="1052" y="738"/>
                </a:cxn>
                <a:cxn ang="0">
                  <a:pos x="900" y="629"/>
                </a:cxn>
                <a:cxn ang="0">
                  <a:pos x="1230" y="811"/>
                </a:cxn>
                <a:cxn ang="0">
                  <a:pos x="1334" y="155"/>
                </a:cxn>
                <a:cxn ang="0">
                  <a:pos x="1294" y="1045"/>
                </a:cxn>
                <a:cxn ang="0">
                  <a:pos x="1393" y="866"/>
                </a:cxn>
                <a:cxn ang="0">
                  <a:pos x="1478" y="1153"/>
                </a:cxn>
                <a:cxn ang="0">
                  <a:pos x="1694" y="773"/>
                </a:cxn>
                <a:cxn ang="0">
                  <a:pos x="1541" y="1135"/>
                </a:cxn>
                <a:cxn ang="0">
                  <a:pos x="1645" y="890"/>
                </a:cxn>
                <a:cxn ang="0">
                  <a:pos x="1748" y="1226"/>
                </a:cxn>
                <a:cxn ang="0">
                  <a:pos x="1800" y="708"/>
                </a:cxn>
                <a:cxn ang="0">
                  <a:pos x="1816" y="708"/>
                </a:cxn>
                <a:cxn ang="0">
                  <a:pos x="1901" y="901"/>
                </a:cxn>
                <a:cxn ang="0">
                  <a:pos x="2270" y="497"/>
                </a:cxn>
                <a:cxn ang="0">
                  <a:pos x="2387" y="606"/>
                </a:cxn>
                <a:cxn ang="0">
                  <a:pos x="2270" y="686"/>
                </a:cxn>
                <a:cxn ang="0">
                  <a:pos x="2082" y="368"/>
                </a:cxn>
                <a:cxn ang="0">
                  <a:pos x="2199" y="1230"/>
                </a:cxn>
                <a:cxn ang="0">
                  <a:pos x="2216" y="927"/>
                </a:cxn>
                <a:cxn ang="0">
                  <a:pos x="2307" y="874"/>
                </a:cxn>
                <a:cxn ang="0">
                  <a:pos x="2430" y="910"/>
                </a:cxn>
                <a:cxn ang="0">
                  <a:pos x="2505" y="1053"/>
                </a:cxn>
                <a:cxn ang="0">
                  <a:pos x="2550" y="1146"/>
                </a:cxn>
                <a:cxn ang="0">
                  <a:pos x="2556" y="842"/>
                </a:cxn>
                <a:cxn ang="0">
                  <a:pos x="2621" y="927"/>
                </a:cxn>
                <a:cxn ang="0">
                  <a:pos x="2942" y="1081"/>
                </a:cxn>
                <a:cxn ang="0">
                  <a:pos x="3240" y="1161"/>
                </a:cxn>
                <a:cxn ang="0">
                  <a:pos x="3514" y="899"/>
                </a:cxn>
                <a:cxn ang="0">
                  <a:pos x="3448" y="1057"/>
                </a:cxn>
                <a:cxn ang="0">
                  <a:pos x="3357" y="998"/>
                </a:cxn>
                <a:cxn ang="0">
                  <a:pos x="3272" y="1149"/>
                </a:cxn>
                <a:cxn ang="0">
                  <a:pos x="3357" y="1149"/>
                </a:cxn>
                <a:cxn ang="0">
                  <a:pos x="3425" y="899"/>
                </a:cxn>
                <a:cxn ang="0">
                  <a:pos x="3621" y="1085"/>
                </a:cxn>
                <a:cxn ang="0">
                  <a:pos x="3814" y="1154"/>
                </a:cxn>
              </a:cxnLst>
              <a:rect l="0" t="0" r="r" b="b"/>
              <a:pathLst>
                <a:path w="3836" h="1283">
                  <a:moveTo>
                    <a:pt x="3816" y="1035"/>
                  </a:moveTo>
                  <a:cubicBezTo>
                    <a:pt x="3699" y="1035"/>
                    <a:pt x="3699" y="1035"/>
                    <a:pt x="3699" y="1035"/>
                  </a:cubicBezTo>
                  <a:cubicBezTo>
                    <a:pt x="3699" y="1006"/>
                    <a:pt x="3699" y="1006"/>
                    <a:pt x="3699" y="1006"/>
                  </a:cubicBezTo>
                  <a:cubicBezTo>
                    <a:pt x="3720" y="1006"/>
                    <a:pt x="3720" y="1006"/>
                    <a:pt x="3720" y="1006"/>
                  </a:cubicBezTo>
                  <a:cubicBezTo>
                    <a:pt x="3687" y="938"/>
                    <a:pt x="3687" y="938"/>
                    <a:pt x="3687" y="938"/>
                  </a:cubicBezTo>
                  <a:cubicBezTo>
                    <a:pt x="3581" y="938"/>
                    <a:pt x="3581" y="938"/>
                    <a:pt x="3581" y="938"/>
                  </a:cubicBezTo>
                  <a:cubicBezTo>
                    <a:pt x="3557" y="881"/>
                    <a:pt x="3557" y="881"/>
                    <a:pt x="3557" y="881"/>
                  </a:cubicBezTo>
                  <a:cubicBezTo>
                    <a:pt x="3536" y="881"/>
                    <a:pt x="3536" y="881"/>
                    <a:pt x="3536" y="881"/>
                  </a:cubicBezTo>
                  <a:cubicBezTo>
                    <a:pt x="3536" y="864"/>
                    <a:pt x="3536" y="864"/>
                    <a:pt x="3536" y="864"/>
                  </a:cubicBezTo>
                  <a:cubicBezTo>
                    <a:pt x="3543" y="863"/>
                    <a:pt x="3543" y="863"/>
                    <a:pt x="3543" y="863"/>
                  </a:cubicBezTo>
                  <a:cubicBezTo>
                    <a:pt x="3514" y="824"/>
                    <a:pt x="3514" y="824"/>
                    <a:pt x="3514" y="824"/>
                  </a:cubicBezTo>
                  <a:cubicBezTo>
                    <a:pt x="3437" y="824"/>
                    <a:pt x="3437" y="824"/>
                    <a:pt x="3437" y="824"/>
                  </a:cubicBezTo>
                  <a:cubicBezTo>
                    <a:pt x="3437" y="822"/>
                    <a:pt x="3437" y="822"/>
                    <a:pt x="3437" y="822"/>
                  </a:cubicBezTo>
                  <a:cubicBezTo>
                    <a:pt x="3437" y="822"/>
                    <a:pt x="3437" y="822"/>
                    <a:pt x="3437" y="822"/>
                  </a:cubicBezTo>
                  <a:cubicBezTo>
                    <a:pt x="3412" y="802"/>
                    <a:pt x="3412" y="802"/>
                    <a:pt x="3412" y="802"/>
                  </a:cubicBezTo>
                  <a:cubicBezTo>
                    <a:pt x="3389" y="820"/>
                    <a:pt x="3389" y="820"/>
                    <a:pt x="3389" y="820"/>
                  </a:cubicBezTo>
                  <a:cubicBezTo>
                    <a:pt x="3389" y="823"/>
                    <a:pt x="3389" y="823"/>
                    <a:pt x="3389" y="823"/>
                  </a:cubicBezTo>
                  <a:cubicBezTo>
                    <a:pt x="3389" y="824"/>
                    <a:pt x="3389" y="824"/>
                    <a:pt x="3389" y="824"/>
                  </a:cubicBezTo>
                  <a:cubicBezTo>
                    <a:pt x="3310" y="824"/>
                    <a:pt x="3310" y="824"/>
                    <a:pt x="3310" y="824"/>
                  </a:cubicBezTo>
                  <a:cubicBezTo>
                    <a:pt x="3285" y="863"/>
                    <a:pt x="3285" y="863"/>
                    <a:pt x="3285" y="863"/>
                  </a:cubicBezTo>
                  <a:cubicBezTo>
                    <a:pt x="3295" y="863"/>
                    <a:pt x="3295" y="863"/>
                    <a:pt x="3295" y="863"/>
                  </a:cubicBezTo>
                  <a:cubicBezTo>
                    <a:pt x="3295" y="880"/>
                    <a:pt x="3295" y="880"/>
                    <a:pt x="3295" y="880"/>
                  </a:cubicBezTo>
                  <a:cubicBezTo>
                    <a:pt x="3281" y="881"/>
                    <a:pt x="3281" y="881"/>
                    <a:pt x="3281" y="881"/>
                  </a:cubicBezTo>
                  <a:cubicBezTo>
                    <a:pt x="3240" y="956"/>
                    <a:pt x="3240" y="956"/>
                    <a:pt x="3240" y="956"/>
                  </a:cubicBezTo>
                  <a:cubicBezTo>
                    <a:pt x="3168" y="955"/>
                    <a:pt x="3168" y="955"/>
                    <a:pt x="3168" y="955"/>
                  </a:cubicBezTo>
                  <a:cubicBezTo>
                    <a:pt x="3145" y="895"/>
                    <a:pt x="3145" y="895"/>
                    <a:pt x="3145" y="895"/>
                  </a:cubicBezTo>
                  <a:cubicBezTo>
                    <a:pt x="2840" y="895"/>
                    <a:pt x="2840" y="895"/>
                    <a:pt x="2840" y="895"/>
                  </a:cubicBezTo>
                  <a:cubicBezTo>
                    <a:pt x="2810" y="942"/>
                    <a:pt x="2810" y="942"/>
                    <a:pt x="2810" y="942"/>
                  </a:cubicBezTo>
                  <a:cubicBezTo>
                    <a:pt x="2706" y="944"/>
                    <a:pt x="2706" y="944"/>
                    <a:pt x="2706" y="944"/>
                  </a:cubicBezTo>
                  <a:cubicBezTo>
                    <a:pt x="2706" y="850"/>
                    <a:pt x="2706" y="850"/>
                    <a:pt x="2706" y="850"/>
                  </a:cubicBezTo>
                  <a:cubicBezTo>
                    <a:pt x="2734" y="850"/>
                    <a:pt x="2734" y="850"/>
                    <a:pt x="2734" y="850"/>
                  </a:cubicBezTo>
                  <a:cubicBezTo>
                    <a:pt x="2706" y="783"/>
                    <a:pt x="2706" y="783"/>
                    <a:pt x="2706" y="783"/>
                  </a:cubicBezTo>
                  <a:cubicBezTo>
                    <a:pt x="2670" y="782"/>
                    <a:pt x="2670" y="782"/>
                    <a:pt x="2670" y="782"/>
                  </a:cubicBezTo>
                  <a:cubicBezTo>
                    <a:pt x="2670" y="746"/>
                    <a:pt x="2670" y="746"/>
                    <a:pt x="2670" y="746"/>
                  </a:cubicBezTo>
                  <a:cubicBezTo>
                    <a:pt x="2664" y="746"/>
                    <a:pt x="2664" y="746"/>
                    <a:pt x="2664" y="746"/>
                  </a:cubicBezTo>
                  <a:cubicBezTo>
                    <a:pt x="2664" y="781"/>
                    <a:pt x="2664" y="781"/>
                    <a:pt x="2664" y="781"/>
                  </a:cubicBezTo>
                  <a:cubicBezTo>
                    <a:pt x="2578" y="777"/>
                    <a:pt x="2578" y="777"/>
                    <a:pt x="2578" y="777"/>
                  </a:cubicBezTo>
                  <a:cubicBezTo>
                    <a:pt x="2578" y="755"/>
                    <a:pt x="2578" y="755"/>
                    <a:pt x="2578" y="755"/>
                  </a:cubicBezTo>
                  <a:cubicBezTo>
                    <a:pt x="2571" y="755"/>
                    <a:pt x="2571" y="755"/>
                    <a:pt x="2571" y="755"/>
                  </a:cubicBezTo>
                  <a:cubicBezTo>
                    <a:pt x="2571" y="777"/>
                    <a:pt x="2571" y="777"/>
                    <a:pt x="2571" y="777"/>
                  </a:cubicBezTo>
                  <a:cubicBezTo>
                    <a:pt x="2553" y="776"/>
                    <a:pt x="2553" y="776"/>
                    <a:pt x="2553" y="776"/>
                  </a:cubicBezTo>
                  <a:cubicBezTo>
                    <a:pt x="2553" y="742"/>
                    <a:pt x="2553" y="742"/>
                    <a:pt x="2553" y="742"/>
                  </a:cubicBezTo>
                  <a:cubicBezTo>
                    <a:pt x="2547" y="742"/>
                    <a:pt x="2547" y="742"/>
                    <a:pt x="2547" y="742"/>
                  </a:cubicBezTo>
                  <a:cubicBezTo>
                    <a:pt x="2547" y="776"/>
                    <a:pt x="2547" y="776"/>
                    <a:pt x="2547" y="776"/>
                  </a:cubicBezTo>
                  <a:cubicBezTo>
                    <a:pt x="2478" y="773"/>
                    <a:pt x="2478" y="773"/>
                    <a:pt x="2478" y="773"/>
                  </a:cubicBezTo>
                  <a:cubicBezTo>
                    <a:pt x="2438" y="743"/>
                    <a:pt x="2438" y="743"/>
                    <a:pt x="2438" y="743"/>
                  </a:cubicBezTo>
                  <a:cubicBezTo>
                    <a:pt x="2432" y="743"/>
                    <a:pt x="2426" y="743"/>
                    <a:pt x="2420" y="743"/>
                  </a:cubicBezTo>
                  <a:cubicBezTo>
                    <a:pt x="2420" y="456"/>
                    <a:pt x="2420" y="456"/>
                    <a:pt x="2420" y="456"/>
                  </a:cubicBezTo>
                  <a:cubicBezTo>
                    <a:pt x="2395" y="433"/>
                    <a:pt x="2362" y="422"/>
                    <a:pt x="2328" y="422"/>
                  </a:cubicBezTo>
                  <a:cubicBezTo>
                    <a:pt x="2295" y="422"/>
                    <a:pt x="2261" y="433"/>
                    <a:pt x="2237" y="456"/>
                  </a:cubicBezTo>
                  <a:cubicBezTo>
                    <a:pt x="2237" y="777"/>
                    <a:pt x="2237" y="777"/>
                    <a:pt x="2237" y="777"/>
                  </a:cubicBezTo>
                  <a:cubicBezTo>
                    <a:pt x="2194" y="779"/>
                    <a:pt x="2194" y="779"/>
                    <a:pt x="2194" y="779"/>
                  </a:cubicBezTo>
                  <a:cubicBezTo>
                    <a:pt x="2194" y="735"/>
                    <a:pt x="2194" y="735"/>
                    <a:pt x="2194" y="735"/>
                  </a:cubicBezTo>
                  <a:cubicBezTo>
                    <a:pt x="2187" y="735"/>
                    <a:pt x="2187" y="735"/>
                    <a:pt x="2187" y="735"/>
                  </a:cubicBezTo>
                  <a:cubicBezTo>
                    <a:pt x="2187" y="780"/>
                    <a:pt x="2187" y="780"/>
                    <a:pt x="2187" y="780"/>
                  </a:cubicBezTo>
                  <a:cubicBezTo>
                    <a:pt x="2168" y="780"/>
                    <a:pt x="2168" y="780"/>
                    <a:pt x="2168" y="780"/>
                  </a:cubicBezTo>
                  <a:cubicBezTo>
                    <a:pt x="2168" y="754"/>
                    <a:pt x="2168" y="754"/>
                    <a:pt x="2168" y="754"/>
                  </a:cubicBezTo>
                  <a:cubicBezTo>
                    <a:pt x="2162" y="754"/>
                    <a:pt x="2162" y="754"/>
                    <a:pt x="2162" y="754"/>
                  </a:cubicBezTo>
                  <a:cubicBezTo>
                    <a:pt x="2162" y="781"/>
                    <a:pt x="2162" y="781"/>
                    <a:pt x="2162" y="781"/>
                  </a:cubicBezTo>
                  <a:cubicBezTo>
                    <a:pt x="2152" y="781"/>
                    <a:pt x="2152" y="781"/>
                    <a:pt x="2152" y="781"/>
                  </a:cubicBezTo>
                  <a:cubicBezTo>
                    <a:pt x="2152" y="317"/>
                    <a:pt x="2152" y="317"/>
                    <a:pt x="2152" y="317"/>
                  </a:cubicBezTo>
                  <a:cubicBezTo>
                    <a:pt x="2120" y="317"/>
                    <a:pt x="2120" y="317"/>
                    <a:pt x="2120" y="317"/>
                  </a:cubicBezTo>
                  <a:cubicBezTo>
                    <a:pt x="2120" y="290"/>
                    <a:pt x="2120" y="290"/>
                    <a:pt x="2120" y="290"/>
                  </a:cubicBezTo>
                  <a:cubicBezTo>
                    <a:pt x="2129" y="290"/>
                    <a:pt x="2129" y="290"/>
                    <a:pt x="2129" y="290"/>
                  </a:cubicBezTo>
                  <a:cubicBezTo>
                    <a:pt x="2129" y="283"/>
                    <a:pt x="2129" y="283"/>
                    <a:pt x="2129" y="283"/>
                  </a:cubicBezTo>
                  <a:cubicBezTo>
                    <a:pt x="2120" y="283"/>
                    <a:pt x="2120" y="283"/>
                    <a:pt x="2120" y="283"/>
                  </a:cubicBezTo>
                  <a:cubicBezTo>
                    <a:pt x="2120" y="217"/>
                    <a:pt x="2120" y="217"/>
                    <a:pt x="2120" y="217"/>
                  </a:cubicBezTo>
                  <a:cubicBezTo>
                    <a:pt x="2113" y="217"/>
                    <a:pt x="2113" y="217"/>
                    <a:pt x="2113" y="217"/>
                  </a:cubicBezTo>
                  <a:cubicBezTo>
                    <a:pt x="2113" y="283"/>
                    <a:pt x="2113" y="283"/>
                    <a:pt x="2113" y="283"/>
                  </a:cubicBezTo>
                  <a:cubicBezTo>
                    <a:pt x="2104" y="283"/>
                    <a:pt x="2104" y="283"/>
                    <a:pt x="2104" y="283"/>
                  </a:cubicBezTo>
                  <a:cubicBezTo>
                    <a:pt x="2104" y="290"/>
                    <a:pt x="2104" y="290"/>
                    <a:pt x="2104" y="290"/>
                  </a:cubicBezTo>
                  <a:cubicBezTo>
                    <a:pt x="2113" y="290"/>
                    <a:pt x="2113" y="290"/>
                    <a:pt x="2113" y="290"/>
                  </a:cubicBezTo>
                  <a:cubicBezTo>
                    <a:pt x="2113" y="317"/>
                    <a:pt x="2113" y="317"/>
                    <a:pt x="2113" y="317"/>
                  </a:cubicBezTo>
                  <a:cubicBezTo>
                    <a:pt x="2007" y="317"/>
                    <a:pt x="2007" y="317"/>
                    <a:pt x="2007" y="317"/>
                  </a:cubicBezTo>
                  <a:cubicBezTo>
                    <a:pt x="2007" y="287"/>
                    <a:pt x="2007" y="287"/>
                    <a:pt x="2007" y="287"/>
                  </a:cubicBezTo>
                  <a:cubicBezTo>
                    <a:pt x="1962" y="287"/>
                    <a:pt x="1962" y="287"/>
                    <a:pt x="1962" y="287"/>
                  </a:cubicBezTo>
                  <a:cubicBezTo>
                    <a:pt x="1962" y="317"/>
                    <a:pt x="1962" y="317"/>
                    <a:pt x="1962" y="317"/>
                  </a:cubicBezTo>
                  <a:cubicBezTo>
                    <a:pt x="1946" y="317"/>
                    <a:pt x="1946" y="317"/>
                    <a:pt x="1946" y="317"/>
                  </a:cubicBezTo>
                  <a:cubicBezTo>
                    <a:pt x="1946" y="254"/>
                    <a:pt x="1946" y="254"/>
                    <a:pt x="1946" y="254"/>
                  </a:cubicBezTo>
                  <a:cubicBezTo>
                    <a:pt x="1940" y="254"/>
                    <a:pt x="1940" y="254"/>
                    <a:pt x="1940" y="254"/>
                  </a:cubicBezTo>
                  <a:cubicBezTo>
                    <a:pt x="1940" y="317"/>
                    <a:pt x="1940" y="317"/>
                    <a:pt x="1940" y="317"/>
                  </a:cubicBezTo>
                  <a:cubicBezTo>
                    <a:pt x="1919" y="317"/>
                    <a:pt x="1919" y="317"/>
                    <a:pt x="1919" y="317"/>
                  </a:cubicBezTo>
                  <a:cubicBezTo>
                    <a:pt x="1919" y="831"/>
                    <a:pt x="1919" y="831"/>
                    <a:pt x="1919" y="831"/>
                  </a:cubicBezTo>
                  <a:cubicBezTo>
                    <a:pt x="1908" y="817"/>
                    <a:pt x="1908" y="817"/>
                    <a:pt x="1908" y="817"/>
                  </a:cubicBezTo>
                  <a:cubicBezTo>
                    <a:pt x="1872" y="817"/>
                    <a:pt x="1872" y="817"/>
                    <a:pt x="1872" y="817"/>
                  </a:cubicBezTo>
                  <a:cubicBezTo>
                    <a:pt x="1872" y="655"/>
                    <a:pt x="1872" y="655"/>
                    <a:pt x="1872" y="655"/>
                  </a:cubicBezTo>
                  <a:cubicBezTo>
                    <a:pt x="1867" y="654"/>
                    <a:pt x="1861" y="654"/>
                    <a:pt x="1856" y="654"/>
                  </a:cubicBezTo>
                  <a:cubicBezTo>
                    <a:pt x="1856" y="637"/>
                    <a:pt x="1856" y="637"/>
                    <a:pt x="1856" y="637"/>
                  </a:cubicBezTo>
                  <a:cubicBezTo>
                    <a:pt x="1830" y="637"/>
                    <a:pt x="1830" y="637"/>
                    <a:pt x="1830" y="637"/>
                  </a:cubicBezTo>
                  <a:cubicBezTo>
                    <a:pt x="1830" y="653"/>
                    <a:pt x="1830" y="653"/>
                    <a:pt x="1830" y="653"/>
                  </a:cubicBezTo>
                  <a:cubicBezTo>
                    <a:pt x="1810" y="653"/>
                    <a:pt x="1789" y="653"/>
                    <a:pt x="1768" y="653"/>
                  </a:cubicBezTo>
                  <a:cubicBezTo>
                    <a:pt x="1768" y="618"/>
                    <a:pt x="1768" y="618"/>
                    <a:pt x="1768" y="618"/>
                  </a:cubicBezTo>
                  <a:cubicBezTo>
                    <a:pt x="1764" y="618"/>
                    <a:pt x="1764" y="618"/>
                    <a:pt x="1764" y="618"/>
                  </a:cubicBezTo>
                  <a:cubicBezTo>
                    <a:pt x="1764" y="653"/>
                    <a:pt x="1764" y="653"/>
                    <a:pt x="1764" y="653"/>
                  </a:cubicBezTo>
                  <a:cubicBezTo>
                    <a:pt x="1767" y="653"/>
                    <a:pt x="1767" y="653"/>
                    <a:pt x="1767" y="653"/>
                  </a:cubicBezTo>
                  <a:cubicBezTo>
                    <a:pt x="1756" y="653"/>
                    <a:pt x="1745" y="653"/>
                    <a:pt x="1734" y="654"/>
                  </a:cubicBezTo>
                  <a:cubicBezTo>
                    <a:pt x="1734" y="637"/>
                    <a:pt x="1734" y="637"/>
                    <a:pt x="1734" y="637"/>
                  </a:cubicBezTo>
                  <a:cubicBezTo>
                    <a:pt x="1726" y="637"/>
                    <a:pt x="1726" y="637"/>
                    <a:pt x="1726" y="637"/>
                  </a:cubicBezTo>
                  <a:cubicBezTo>
                    <a:pt x="1726" y="551"/>
                    <a:pt x="1726" y="551"/>
                    <a:pt x="1726" y="551"/>
                  </a:cubicBezTo>
                  <a:cubicBezTo>
                    <a:pt x="1514" y="618"/>
                    <a:pt x="1514" y="618"/>
                    <a:pt x="1514" y="618"/>
                  </a:cubicBezTo>
                  <a:cubicBezTo>
                    <a:pt x="1514" y="660"/>
                    <a:pt x="1514" y="660"/>
                    <a:pt x="1514" y="660"/>
                  </a:cubicBezTo>
                  <a:cubicBezTo>
                    <a:pt x="1489" y="660"/>
                    <a:pt x="1489" y="660"/>
                    <a:pt x="1489" y="660"/>
                  </a:cubicBezTo>
                  <a:cubicBezTo>
                    <a:pt x="1489" y="91"/>
                    <a:pt x="1489" y="91"/>
                    <a:pt x="1489" y="91"/>
                  </a:cubicBezTo>
                  <a:cubicBezTo>
                    <a:pt x="1452" y="91"/>
                    <a:pt x="1452" y="91"/>
                    <a:pt x="1452" y="91"/>
                  </a:cubicBezTo>
                  <a:cubicBezTo>
                    <a:pt x="1452" y="0"/>
                    <a:pt x="1452" y="0"/>
                    <a:pt x="1452" y="0"/>
                  </a:cubicBezTo>
                  <a:cubicBezTo>
                    <a:pt x="1394" y="0"/>
                    <a:pt x="1331" y="0"/>
                    <a:pt x="1274" y="0"/>
                  </a:cubicBezTo>
                  <a:cubicBezTo>
                    <a:pt x="1274" y="91"/>
                    <a:pt x="1274" y="91"/>
                    <a:pt x="1274" y="91"/>
                  </a:cubicBezTo>
                  <a:cubicBezTo>
                    <a:pt x="1237" y="91"/>
                    <a:pt x="1237" y="91"/>
                    <a:pt x="1237" y="91"/>
                  </a:cubicBezTo>
                  <a:cubicBezTo>
                    <a:pt x="1237" y="660"/>
                    <a:pt x="1237" y="660"/>
                    <a:pt x="1237" y="660"/>
                  </a:cubicBezTo>
                  <a:cubicBezTo>
                    <a:pt x="1130" y="660"/>
                    <a:pt x="1130" y="660"/>
                    <a:pt x="1130" y="660"/>
                  </a:cubicBezTo>
                  <a:cubicBezTo>
                    <a:pt x="1101" y="728"/>
                    <a:pt x="1101" y="728"/>
                    <a:pt x="1101" y="728"/>
                  </a:cubicBezTo>
                  <a:cubicBezTo>
                    <a:pt x="1118" y="727"/>
                    <a:pt x="1118" y="727"/>
                    <a:pt x="1118" y="727"/>
                  </a:cubicBezTo>
                  <a:cubicBezTo>
                    <a:pt x="1118" y="806"/>
                    <a:pt x="1118" y="886"/>
                    <a:pt x="1118" y="965"/>
                  </a:cubicBezTo>
                  <a:cubicBezTo>
                    <a:pt x="1097" y="981"/>
                    <a:pt x="1097" y="981"/>
                    <a:pt x="1097" y="981"/>
                  </a:cubicBezTo>
                  <a:cubicBezTo>
                    <a:pt x="1096" y="981"/>
                    <a:pt x="1096" y="981"/>
                    <a:pt x="1096" y="981"/>
                  </a:cubicBezTo>
                  <a:cubicBezTo>
                    <a:pt x="1096" y="522"/>
                    <a:pt x="1096" y="522"/>
                    <a:pt x="1096" y="522"/>
                  </a:cubicBezTo>
                  <a:cubicBezTo>
                    <a:pt x="1070" y="522"/>
                    <a:pt x="1070" y="522"/>
                    <a:pt x="1070" y="522"/>
                  </a:cubicBezTo>
                  <a:cubicBezTo>
                    <a:pt x="1070" y="500"/>
                    <a:pt x="1070" y="500"/>
                    <a:pt x="1070" y="500"/>
                  </a:cubicBezTo>
                  <a:cubicBezTo>
                    <a:pt x="1028" y="500"/>
                    <a:pt x="1028" y="500"/>
                    <a:pt x="1028" y="500"/>
                  </a:cubicBezTo>
                  <a:cubicBezTo>
                    <a:pt x="1028" y="522"/>
                    <a:pt x="1028" y="522"/>
                    <a:pt x="1028" y="522"/>
                  </a:cubicBezTo>
                  <a:cubicBezTo>
                    <a:pt x="954" y="522"/>
                    <a:pt x="954" y="522"/>
                    <a:pt x="954" y="522"/>
                  </a:cubicBezTo>
                  <a:cubicBezTo>
                    <a:pt x="954" y="468"/>
                    <a:pt x="954" y="468"/>
                    <a:pt x="954" y="468"/>
                  </a:cubicBezTo>
                  <a:cubicBezTo>
                    <a:pt x="947" y="468"/>
                    <a:pt x="947" y="468"/>
                    <a:pt x="947" y="468"/>
                  </a:cubicBezTo>
                  <a:cubicBezTo>
                    <a:pt x="947" y="522"/>
                    <a:pt x="947" y="522"/>
                    <a:pt x="947" y="522"/>
                  </a:cubicBezTo>
                  <a:cubicBezTo>
                    <a:pt x="918" y="522"/>
                    <a:pt x="918" y="522"/>
                    <a:pt x="918" y="522"/>
                  </a:cubicBezTo>
                  <a:cubicBezTo>
                    <a:pt x="918" y="495"/>
                    <a:pt x="918" y="495"/>
                    <a:pt x="918" y="495"/>
                  </a:cubicBezTo>
                  <a:cubicBezTo>
                    <a:pt x="911" y="495"/>
                    <a:pt x="911" y="495"/>
                    <a:pt x="911" y="495"/>
                  </a:cubicBezTo>
                  <a:cubicBezTo>
                    <a:pt x="911" y="522"/>
                    <a:pt x="911" y="522"/>
                    <a:pt x="911" y="522"/>
                  </a:cubicBezTo>
                  <a:cubicBezTo>
                    <a:pt x="861" y="522"/>
                    <a:pt x="861" y="522"/>
                    <a:pt x="861" y="522"/>
                  </a:cubicBezTo>
                  <a:cubicBezTo>
                    <a:pt x="861" y="926"/>
                    <a:pt x="861" y="926"/>
                    <a:pt x="861" y="926"/>
                  </a:cubicBezTo>
                  <a:cubicBezTo>
                    <a:pt x="763" y="926"/>
                    <a:pt x="763" y="926"/>
                    <a:pt x="763" y="926"/>
                  </a:cubicBezTo>
                  <a:cubicBezTo>
                    <a:pt x="763" y="917"/>
                    <a:pt x="763" y="917"/>
                    <a:pt x="763" y="917"/>
                  </a:cubicBezTo>
                  <a:cubicBezTo>
                    <a:pt x="726" y="917"/>
                    <a:pt x="726" y="917"/>
                    <a:pt x="726" y="917"/>
                  </a:cubicBezTo>
                  <a:cubicBezTo>
                    <a:pt x="726" y="926"/>
                    <a:pt x="726" y="926"/>
                    <a:pt x="726" y="926"/>
                  </a:cubicBezTo>
                  <a:cubicBezTo>
                    <a:pt x="695" y="926"/>
                    <a:pt x="695" y="926"/>
                    <a:pt x="695" y="926"/>
                  </a:cubicBezTo>
                  <a:cubicBezTo>
                    <a:pt x="695" y="883"/>
                    <a:pt x="695" y="883"/>
                    <a:pt x="695" y="883"/>
                  </a:cubicBezTo>
                  <a:cubicBezTo>
                    <a:pt x="690" y="883"/>
                    <a:pt x="690" y="883"/>
                    <a:pt x="690" y="883"/>
                  </a:cubicBezTo>
                  <a:cubicBezTo>
                    <a:pt x="690" y="926"/>
                    <a:pt x="690" y="926"/>
                    <a:pt x="690" y="926"/>
                  </a:cubicBezTo>
                  <a:cubicBezTo>
                    <a:pt x="653" y="926"/>
                    <a:pt x="653" y="926"/>
                    <a:pt x="653" y="926"/>
                  </a:cubicBezTo>
                  <a:cubicBezTo>
                    <a:pt x="653" y="926"/>
                    <a:pt x="653" y="926"/>
                    <a:pt x="653" y="926"/>
                  </a:cubicBezTo>
                  <a:cubicBezTo>
                    <a:pt x="681" y="924"/>
                    <a:pt x="681" y="924"/>
                    <a:pt x="681" y="924"/>
                  </a:cubicBezTo>
                  <a:cubicBezTo>
                    <a:pt x="631" y="831"/>
                    <a:pt x="631" y="831"/>
                    <a:pt x="631" y="831"/>
                  </a:cubicBezTo>
                  <a:cubicBezTo>
                    <a:pt x="616" y="831"/>
                    <a:pt x="616" y="831"/>
                    <a:pt x="616" y="831"/>
                  </a:cubicBezTo>
                  <a:cubicBezTo>
                    <a:pt x="615" y="811"/>
                    <a:pt x="615" y="811"/>
                    <a:pt x="615" y="811"/>
                  </a:cubicBezTo>
                  <a:cubicBezTo>
                    <a:pt x="627" y="811"/>
                    <a:pt x="627" y="811"/>
                    <a:pt x="627" y="811"/>
                  </a:cubicBezTo>
                  <a:cubicBezTo>
                    <a:pt x="599" y="767"/>
                    <a:pt x="599" y="767"/>
                    <a:pt x="599" y="767"/>
                  </a:cubicBezTo>
                  <a:cubicBezTo>
                    <a:pt x="509" y="767"/>
                    <a:pt x="509" y="767"/>
                    <a:pt x="509" y="767"/>
                  </a:cubicBezTo>
                  <a:cubicBezTo>
                    <a:pt x="509" y="766"/>
                    <a:pt x="509" y="766"/>
                    <a:pt x="509" y="766"/>
                  </a:cubicBezTo>
                  <a:cubicBezTo>
                    <a:pt x="509" y="763"/>
                    <a:pt x="509" y="763"/>
                    <a:pt x="509" y="763"/>
                  </a:cubicBezTo>
                  <a:cubicBezTo>
                    <a:pt x="483" y="742"/>
                    <a:pt x="483" y="742"/>
                    <a:pt x="483" y="742"/>
                  </a:cubicBezTo>
                  <a:cubicBezTo>
                    <a:pt x="454" y="765"/>
                    <a:pt x="454" y="765"/>
                    <a:pt x="454" y="765"/>
                  </a:cubicBezTo>
                  <a:cubicBezTo>
                    <a:pt x="454" y="765"/>
                    <a:pt x="454" y="765"/>
                    <a:pt x="454" y="765"/>
                  </a:cubicBezTo>
                  <a:cubicBezTo>
                    <a:pt x="454" y="767"/>
                    <a:pt x="454" y="767"/>
                    <a:pt x="454" y="767"/>
                  </a:cubicBezTo>
                  <a:cubicBezTo>
                    <a:pt x="366" y="767"/>
                    <a:pt x="366" y="767"/>
                    <a:pt x="366" y="767"/>
                  </a:cubicBezTo>
                  <a:cubicBezTo>
                    <a:pt x="334" y="811"/>
                    <a:pt x="334" y="811"/>
                    <a:pt x="334" y="811"/>
                  </a:cubicBezTo>
                  <a:cubicBezTo>
                    <a:pt x="341" y="812"/>
                    <a:pt x="341" y="812"/>
                    <a:pt x="341" y="812"/>
                  </a:cubicBezTo>
                  <a:cubicBezTo>
                    <a:pt x="341" y="832"/>
                    <a:pt x="341" y="832"/>
                    <a:pt x="341" y="832"/>
                  </a:cubicBezTo>
                  <a:cubicBezTo>
                    <a:pt x="317" y="832"/>
                    <a:pt x="317" y="832"/>
                    <a:pt x="317" y="832"/>
                  </a:cubicBezTo>
                  <a:cubicBezTo>
                    <a:pt x="290" y="897"/>
                    <a:pt x="290" y="897"/>
                    <a:pt x="290" y="897"/>
                  </a:cubicBezTo>
                  <a:cubicBezTo>
                    <a:pt x="170" y="897"/>
                    <a:pt x="170" y="897"/>
                    <a:pt x="170" y="897"/>
                  </a:cubicBezTo>
                  <a:cubicBezTo>
                    <a:pt x="132" y="975"/>
                    <a:pt x="132" y="975"/>
                    <a:pt x="132" y="975"/>
                  </a:cubicBezTo>
                  <a:cubicBezTo>
                    <a:pt x="156" y="975"/>
                    <a:pt x="156" y="975"/>
                    <a:pt x="156" y="975"/>
                  </a:cubicBezTo>
                  <a:cubicBezTo>
                    <a:pt x="156" y="1007"/>
                    <a:pt x="156" y="1007"/>
                    <a:pt x="156" y="1007"/>
                  </a:cubicBezTo>
                  <a:cubicBezTo>
                    <a:pt x="24" y="1007"/>
                    <a:pt x="24" y="1007"/>
                    <a:pt x="24" y="1007"/>
                  </a:cubicBezTo>
                  <a:cubicBezTo>
                    <a:pt x="0" y="1037"/>
                    <a:pt x="0" y="1037"/>
                    <a:pt x="0" y="1037"/>
                  </a:cubicBezTo>
                  <a:cubicBezTo>
                    <a:pt x="0" y="1064"/>
                    <a:pt x="0" y="1064"/>
                    <a:pt x="0" y="1064"/>
                  </a:cubicBezTo>
                  <a:cubicBezTo>
                    <a:pt x="0" y="1283"/>
                    <a:pt x="0" y="1283"/>
                    <a:pt x="0" y="1283"/>
                  </a:cubicBezTo>
                  <a:cubicBezTo>
                    <a:pt x="844" y="1283"/>
                    <a:pt x="1680" y="1283"/>
                    <a:pt x="2507" y="1283"/>
                  </a:cubicBezTo>
                  <a:cubicBezTo>
                    <a:pt x="2507" y="1282"/>
                    <a:pt x="2507" y="1280"/>
                    <a:pt x="2507" y="1279"/>
                  </a:cubicBezTo>
                  <a:cubicBezTo>
                    <a:pt x="2514" y="1279"/>
                    <a:pt x="2521" y="1279"/>
                    <a:pt x="2528" y="1279"/>
                  </a:cubicBezTo>
                  <a:cubicBezTo>
                    <a:pt x="2528" y="1280"/>
                    <a:pt x="2528" y="1282"/>
                    <a:pt x="2528" y="1283"/>
                  </a:cubicBezTo>
                  <a:cubicBezTo>
                    <a:pt x="2787" y="1283"/>
                    <a:pt x="3045" y="1283"/>
                    <a:pt x="3302" y="1283"/>
                  </a:cubicBezTo>
                  <a:cubicBezTo>
                    <a:pt x="3302" y="1245"/>
                    <a:pt x="3302" y="1207"/>
                    <a:pt x="3302" y="1170"/>
                  </a:cubicBezTo>
                  <a:cubicBezTo>
                    <a:pt x="3306" y="1170"/>
                    <a:pt x="3311" y="1170"/>
                    <a:pt x="3315" y="1170"/>
                  </a:cubicBezTo>
                  <a:cubicBezTo>
                    <a:pt x="3315" y="1207"/>
                    <a:pt x="3315" y="1245"/>
                    <a:pt x="3315" y="1283"/>
                  </a:cubicBezTo>
                  <a:cubicBezTo>
                    <a:pt x="3489" y="1283"/>
                    <a:pt x="3663" y="1283"/>
                    <a:pt x="3836" y="1283"/>
                  </a:cubicBezTo>
                  <a:cubicBezTo>
                    <a:pt x="3836" y="1221"/>
                    <a:pt x="3836" y="1221"/>
                    <a:pt x="3836" y="1221"/>
                  </a:cubicBezTo>
                  <a:cubicBezTo>
                    <a:pt x="3836" y="1085"/>
                    <a:pt x="3836" y="1085"/>
                    <a:pt x="3836" y="1085"/>
                  </a:cubicBezTo>
                  <a:cubicBezTo>
                    <a:pt x="3836" y="1062"/>
                    <a:pt x="3836" y="1062"/>
                    <a:pt x="3836" y="1062"/>
                  </a:cubicBezTo>
                  <a:lnTo>
                    <a:pt x="3816" y="1035"/>
                  </a:lnTo>
                  <a:close/>
                  <a:moveTo>
                    <a:pt x="25" y="1090"/>
                  </a:moveTo>
                  <a:cubicBezTo>
                    <a:pt x="150" y="1090"/>
                    <a:pt x="150" y="1090"/>
                    <a:pt x="150" y="1090"/>
                  </a:cubicBezTo>
                  <a:cubicBezTo>
                    <a:pt x="150" y="1107"/>
                    <a:pt x="150" y="1107"/>
                    <a:pt x="150" y="1107"/>
                  </a:cubicBezTo>
                  <a:cubicBezTo>
                    <a:pt x="25" y="1107"/>
                    <a:pt x="25" y="1107"/>
                    <a:pt x="25" y="1107"/>
                  </a:cubicBezTo>
                  <a:lnTo>
                    <a:pt x="25" y="1090"/>
                  </a:lnTo>
                  <a:close/>
                  <a:moveTo>
                    <a:pt x="150" y="1178"/>
                  </a:moveTo>
                  <a:cubicBezTo>
                    <a:pt x="132" y="1178"/>
                    <a:pt x="114" y="1178"/>
                    <a:pt x="96" y="1178"/>
                  </a:cubicBezTo>
                  <a:cubicBezTo>
                    <a:pt x="96" y="1173"/>
                    <a:pt x="96" y="1167"/>
                    <a:pt x="96" y="1161"/>
                  </a:cubicBezTo>
                  <a:cubicBezTo>
                    <a:pt x="114" y="1161"/>
                    <a:pt x="132" y="1161"/>
                    <a:pt x="150" y="1161"/>
                  </a:cubicBezTo>
                  <a:cubicBezTo>
                    <a:pt x="150" y="1167"/>
                    <a:pt x="150" y="1173"/>
                    <a:pt x="150" y="1178"/>
                  </a:cubicBezTo>
                  <a:close/>
                  <a:moveTo>
                    <a:pt x="150" y="1143"/>
                  </a:moveTo>
                  <a:cubicBezTo>
                    <a:pt x="117" y="1143"/>
                    <a:pt x="84" y="1143"/>
                    <a:pt x="51" y="1143"/>
                  </a:cubicBezTo>
                  <a:cubicBezTo>
                    <a:pt x="51" y="1137"/>
                    <a:pt x="51" y="1131"/>
                    <a:pt x="51" y="1125"/>
                  </a:cubicBezTo>
                  <a:cubicBezTo>
                    <a:pt x="84" y="1125"/>
                    <a:pt x="117" y="1125"/>
                    <a:pt x="150" y="1125"/>
                  </a:cubicBezTo>
                  <a:cubicBezTo>
                    <a:pt x="150" y="1131"/>
                    <a:pt x="150" y="1137"/>
                    <a:pt x="150" y="1143"/>
                  </a:cubicBezTo>
                  <a:close/>
                  <a:moveTo>
                    <a:pt x="181" y="1007"/>
                  </a:moveTo>
                  <a:cubicBezTo>
                    <a:pt x="228" y="1007"/>
                    <a:pt x="228" y="1007"/>
                    <a:pt x="228" y="1007"/>
                  </a:cubicBezTo>
                  <a:cubicBezTo>
                    <a:pt x="228" y="1041"/>
                    <a:pt x="228" y="1041"/>
                    <a:pt x="228" y="1041"/>
                  </a:cubicBezTo>
                  <a:cubicBezTo>
                    <a:pt x="181" y="1041"/>
                    <a:pt x="181" y="1041"/>
                    <a:pt x="181" y="1041"/>
                  </a:cubicBezTo>
                  <a:lnTo>
                    <a:pt x="181" y="1007"/>
                  </a:lnTo>
                  <a:close/>
                  <a:moveTo>
                    <a:pt x="228" y="1214"/>
                  </a:moveTo>
                  <a:cubicBezTo>
                    <a:pt x="181" y="1214"/>
                    <a:pt x="181" y="1214"/>
                    <a:pt x="181" y="1214"/>
                  </a:cubicBezTo>
                  <a:cubicBezTo>
                    <a:pt x="181" y="1180"/>
                    <a:pt x="181" y="1180"/>
                    <a:pt x="181" y="1180"/>
                  </a:cubicBezTo>
                  <a:cubicBezTo>
                    <a:pt x="228" y="1180"/>
                    <a:pt x="228" y="1180"/>
                    <a:pt x="228" y="1180"/>
                  </a:cubicBezTo>
                  <a:lnTo>
                    <a:pt x="228" y="1214"/>
                  </a:lnTo>
                  <a:close/>
                  <a:moveTo>
                    <a:pt x="228" y="1099"/>
                  </a:moveTo>
                  <a:cubicBezTo>
                    <a:pt x="212" y="1099"/>
                    <a:pt x="197" y="1099"/>
                    <a:pt x="181" y="1099"/>
                  </a:cubicBezTo>
                  <a:cubicBezTo>
                    <a:pt x="181" y="1087"/>
                    <a:pt x="181" y="1076"/>
                    <a:pt x="181" y="1064"/>
                  </a:cubicBezTo>
                  <a:cubicBezTo>
                    <a:pt x="197" y="1064"/>
                    <a:pt x="212" y="1064"/>
                    <a:pt x="228" y="1064"/>
                  </a:cubicBezTo>
                  <a:cubicBezTo>
                    <a:pt x="228" y="1076"/>
                    <a:pt x="228" y="1087"/>
                    <a:pt x="228" y="1099"/>
                  </a:cubicBezTo>
                  <a:close/>
                  <a:moveTo>
                    <a:pt x="290" y="1041"/>
                  </a:moveTo>
                  <a:cubicBezTo>
                    <a:pt x="244" y="1041"/>
                    <a:pt x="244" y="1041"/>
                    <a:pt x="244" y="1041"/>
                  </a:cubicBezTo>
                  <a:cubicBezTo>
                    <a:pt x="244" y="1007"/>
                    <a:pt x="244" y="1007"/>
                    <a:pt x="244" y="1007"/>
                  </a:cubicBezTo>
                  <a:cubicBezTo>
                    <a:pt x="290" y="1007"/>
                    <a:pt x="290" y="1007"/>
                    <a:pt x="290" y="1007"/>
                  </a:cubicBezTo>
                  <a:lnTo>
                    <a:pt x="290" y="1041"/>
                  </a:lnTo>
                  <a:close/>
                  <a:moveTo>
                    <a:pt x="555" y="825"/>
                  </a:moveTo>
                  <a:cubicBezTo>
                    <a:pt x="567" y="825"/>
                    <a:pt x="580" y="825"/>
                    <a:pt x="592" y="825"/>
                  </a:cubicBezTo>
                  <a:cubicBezTo>
                    <a:pt x="592" y="834"/>
                    <a:pt x="592" y="843"/>
                    <a:pt x="592" y="853"/>
                  </a:cubicBezTo>
                  <a:cubicBezTo>
                    <a:pt x="580" y="853"/>
                    <a:pt x="567" y="853"/>
                    <a:pt x="555" y="853"/>
                  </a:cubicBezTo>
                  <a:cubicBezTo>
                    <a:pt x="555" y="843"/>
                    <a:pt x="555" y="834"/>
                    <a:pt x="555" y="825"/>
                  </a:cubicBezTo>
                  <a:close/>
                  <a:moveTo>
                    <a:pt x="468" y="764"/>
                  </a:moveTo>
                  <a:cubicBezTo>
                    <a:pt x="478" y="764"/>
                    <a:pt x="487" y="764"/>
                    <a:pt x="496" y="764"/>
                  </a:cubicBezTo>
                  <a:cubicBezTo>
                    <a:pt x="496" y="771"/>
                    <a:pt x="496" y="777"/>
                    <a:pt x="496" y="784"/>
                  </a:cubicBezTo>
                  <a:cubicBezTo>
                    <a:pt x="487" y="784"/>
                    <a:pt x="478" y="784"/>
                    <a:pt x="468" y="784"/>
                  </a:cubicBezTo>
                  <a:cubicBezTo>
                    <a:pt x="468" y="777"/>
                    <a:pt x="468" y="771"/>
                    <a:pt x="468" y="764"/>
                  </a:cubicBezTo>
                  <a:close/>
                  <a:moveTo>
                    <a:pt x="339" y="965"/>
                  </a:moveTo>
                  <a:cubicBezTo>
                    <a:pt x="364" y="965"/>
                    <a:pt x="389" y="965"/>
                    <a:pt x="414" y="965"/>
                  </a:cubicBezTo>
                  <a:cubicBezTo>
                    <a:pt x="414" y="980"/>
                    <a:pt x="414" y="996"/>
                    <a:pt x="414" y="1011"/>
                  </a:cubicBezTo>
                  <a:cubicBezTo>
                    <a:pt x="389" y="1011"/>
                    <a:pt x="364" y="1011"/>
                    <a:pt x="339" y="1011"/>
                  </a:cubicBezTo>
                  <a:cubicBezTo>
                    <a:pt x="339" y="996"/>
                    <a:pt x="339" y="980"/>
                    <a:pt x="339" y="965"/>
                  </a:cubicBezTo>
                  <a:close/>
                  <a:moveTo>
                    <a:pt x="414" y="1079"/>
                  </a:moveTo>
                  <a:cubicBezTo>
                    <a:pt x="389" y="1079"/>
                    <a:pt x="364" y="1079"/>
                    <a:pt x="339" y="1079"/>
                  </a:cubicBezTo>
                  <a:cubicBezTo>
                    <a:pt x="339" y="1063"/>
                    <a:pt x="339" y="1048"/>
                    <a:pt x="339" y="1032"/>
                  </a:cubicBezTo>
                  <a:cubicBezTo>
                    <a:pt x="364" y="1032"/>
                    <a:pt x="389" y="1032"/>
                    <a:pt x="414" y="1032"/>
                  </a:cubicBezTo>
                  <a:cubicBezTo>
                    <a:pt x="414" y="1048"/>
                    <a:pt x="414" y="1063"/>
                    <a:pt x="414" y="1079"/>
                  </a:cubicBezTo>
                  <a:close/>
                  <a:moveTo>
                    <a:pt x="430" y="825"/>
                  </a:moveTo>
                  <a:cubicBezTo>
                    <a:pt x="442" y="825"/>
                    <a:pt x="455" y="825"/>
                    <a:pt x="467" y="825"/>
                  </a:cubicBezTo>
                  <a:cubicBezTo>
                    <a:pt x="467" y="834"/>
                    <a:pt x="467" y="843"/>
                    <a:pt x="467" y="853"/>
                  </a:cubicBezTo>
                  <a:cubicBezTo>
                    <a:pt x="455" y="853"/>
                    <a:pt x="442" y="853"/>
                    <a:pt x="430" y="853"/>
                  </a:cubicBezTo>
                  <a:cubicBezTo>
                    <a:pt x="430" y="843"/>
                    <a:pt x="430" y="834"/>
                    <a:pt x="430" y="825"/>
                  </a:cubicBezTo>
                  <a:close/>
                  <a:moveTo>
                    <a:pt x="442" y="965"/>
                  </a:moveTo>
                  <a:cubicBezTo>
                    <a:pt x="467" y="965"/>
                    <a:pt x="492" y="965"/>
                    <a:pt x="517" y="965"/>
                  </a:cubicBezTo>
                  <a:cubicBezTo>
                    <a:pt x="517" y="980"/>
                    <a:pt x="517" y="996"/>
                    <a:pt x="517" y="1011"/>
                  </a:cubicBezTo>
                  <a:cubicBezTo>
                    <a:pt x="492" y="1011"/>
                    <a:pt x="467" y="1011"/>
                    <a:pt x="442" y="1011"/>
                  </a:cubicBezTo>
                  <a:cubicBezTo>
                    <a:pt x="442" y="996"/>
                    <a:pt x="442" y="980"/>
                    <a:pt x="442" y="965"/>
                  </a:cubicBezTo>
                  <a:close/>
                  <a:moveTo>
                    <a:pt x="517" y="1146"/>
                  </a:moveTo>
                  <a:cubicBezTo>
                    <a:pt x="492" y="1146"/>
                    <a:pt x="467" y="1146"/>
                    <a:pt x="442" y="1146"/>
                  </a:cubicBezTo>
                  <a:cubicBezTo>
                    <a:pt x="442" y="1131"/>
                    <a:pt x="442" y="1115"/>
                    <a:pt x="442" y="1100"/>
                  </a:cubicBezTo>
                  <a:cubicBezTo>
                    <a:pt x="467" y="1100"/>
                    <a:pt x="492" y="1100"/>
                    <a:pt x="517" y="1100"/>
                  </a:cubicBezTo>
                  <a:cubicBezTo>
                    <a:pt x="517" y="1115"/>
                    <a:pt x="517" y="1131"/>
                    <a:pt x="517" y="1146"/>
                  </a:cubicBezTo>
                  <a:close/>
                  <a:moveTo>
                    <a:pt x="620" y="1214"/>
                  </a:moveTo>
                  <a:cubicBezTo>
                    <a:pt x="595" y="1214"/>
                    <a:pt x="570" y="1214"/>
                    <a:pt x="545" y="1214"/>
                  </a:cubicBezTo>
                  <a:cubicBezTo>
                    <a:pt x="545" y="1198"/>
                    <a:pt x="545" y="1183"/>
                    <a:pt x="545" y="1167"/>
                  </a:cubicBezTo>
                  <a:cubicBezTo>
                    <a:pt x="570" y="1167"/>
                    <a:pt x="595" y="1167"/>
                    <a:pt x="620" y="1167"/>
                  </a:cubicBezTo>
                  <a:cubicBezTo>
                    <a:pt x="620" y="1183"/>
                    <a:pt x="620" y="1198"/>
                    <a:pt x="620" y="1214"/>
                  </a:cubicBezTo>
                  <a:close/>
                  <a:moveTo>
                    <a:pt x="620" y="1079"/>
                  </a:moveTo>
                  <a:cubicBezTo>
                    <a:pt x="595" y="1079"/>
                    <a:pt x="570" y="1079"/>
                    <a:pt x="545" y="1079"/>
                  </a:cubicBezTo>
                  <a:cubicBezTo>
                    <a:pt x="545" y="1063"/>
                    <a:pt x="545" y="1048"/>
                    <a:pt x="545" y="1032"/>
                  </a:cubicBezTo>
                  <a:cubicBezTo>
                    <a:pt x="570" y="1032"/>
                    <a:pt x="595" y="1032"/>
                    <a:pt x="620" y="1032"/>
                  </a:cubicBezTo>
                  <a:cubicBezTo>
                    <a:pt x="620" y="1048"/>
                    <a:pt x="620" y="1063"/>
                    <a:pt x="620" y="1079"/>
                  </a:cubicBezTo>
                  <a:close/>
                  <a:moveTo>
                    <a:pt x="697" y="1009"/>
                  </a:moveTo>
                  <a:cubicBezTo>
                    <a:pt x="684" y="1009"/>
                    <a:pt x="671" y="1009"/>
                    <a:pt x="658" y="1009"/>
                  </a:cubicBezTo>
                  <a:cubicBezTo>
                    <a:pt x="658" y="1001"/>
                    <a:pt x="658" y="994"/>
                    <a:pt x="658" y="986"/>
                  </a:cubicBezTo>
                  <a:cubicBezTo>
                    <a:pt x="671" y="986"/>
                    <a:pt x="684" y="986"/>
                    <a:pt x="697" y="986"/>
                  </a:cubicBezTo>
                  <a:cubicBezTo>
                    <a:pt x="697" y="994"/>
                    <a:pt x="697" y="1001"/>
                    <a:pt x="697" y="1009"/>
                  </a:cubicBezTo>
                  <a:close/>
                  <a:moveTo>
                    <a:pt x="766" y="1109"/>
                  </a:moveTo>
                  <a:cubicBezTo>
                    <a:pt x="753" y="1109"/>
                    <a:pt x="740" y="1109"/>
                    <a:pt x="727" y="1109"/>
                  </a:cubicBezTo>
                  <a:cubicBezTo>
                    <a:pt x="727" y="1101"/>
                    <a:pt x="727" y="1094"/>
                    <a:pt x="727" y="1086"/>
                  </a:cubicBezTo>
                  <a:cubicBezTo>
                    <a:pt x="740" y="1086"/>
                    <a:pt x="753" y="1086"/>
                    <a:pt x="766" y="1086"/>
                  </a:cubicBezTo>
                  <a:cubicBezTo>
                    <a:pt x="766" y="1094"/>
                    <a:pt x="766" y="1101"/>
                    <a:pt x="766" y="1109"/>
                  </a:cubicBezTo>
                  <a:close/>
                  <a:moveTo>
                    <a:pt x="848" y="1159"/>
                  </a:moveTo>
                  <a:cubicBezTo>
                    <a:pt x="835" y="1159"/>
                    <a:pt x="822" y="1159"/>
                    <a:pt x="810" y="1159"/>
                  </a:cubicBezTo>
                  <a:cubicBezTo>
                    <a:pt x="810" y="1151"/>
                    <a:pt x="810" y="1144"/>
                    <a:pt x="810" y="1136"/>
                  </a:cubicBezTo>
                  <a:cubicBezTo>
                    <a:pt x="822" y="1136"/>
                    <a:pt x="835" y="1136"/>
                    <a:pt x="848" y="1136"/>
                  </a:cubicBezTo>
                  <a:cubicBezTo>
                    <a:pt x="848" y="1144"/>
                    <a:pt x="848" y="1151"/>
                    <a:pt x="848" y="1159"/>
                  </a:cubicBezTo>
                  <a:close/>
                  <a:moveTo>
                    <a:pt x="848" y="1059"/>
                  </a:moveTo>
                  <a:cubicBezTo>
                    <a:pt x="835" y="1059"/>
                    <a:pt x="822" y="1059"/>
                    <a:pt x="810" y="1059"/>
                  </a:cubicBezTo>
                  <a:cubicBezTo>
                    <a:pt x="810" y="1051"/>
                    <a:pt x="810" y="1044"/>
                    <a:pt x="810" y="1036"/>
                  </a:cubicBezTo>
                  <a:cubicBezTo>
                    <a:pt x="822" y="1036"/>
                    <a:pt x="835" y="1036"/>
                    <a:pt x="848" y="1036"/>
                  </a:cubicBezTo>
                  <a:cubicBezTo>
                    <a:pt x="848" y="1044"/>
                    <a:pt x="848" y="1051"/>
                    <a:pt x="848" y="1059"/>
                  </a:cubicBezTo>
                  <a:close/>
                  <a:moveTo>
                    <a:pt x="848" y="1009"/>
                  </a:moveTo>
                  <a:cubicBezTo>
                    <a:pt x="810" y="1009"/>
                    <a:pt x="810" y="1009"/>
                    <a:pt x="810" y="1009"/>
                  </a:cubicBezTo>
                  <a:cubicBezTo>
                    <a:pt x="810" y="986"/>
                    <a:pt x="810" y="986"/>
                    <a:pt x="810" y="986"/>
                  </a:cubicBezTo>
                  <a:cubicBezTo>
                    <a:pt x="848" y="986"/>
                    <a:pt x="848" y="986"/>
                    <a:pt x="848" y="986"/>
                  </a:cubicBezTo>
                  <a:lnTo>
                    <a:pt x="848" y="1009"/>
                  </a:lnTo>
                  <a:close/>
                  <a:moveTo>
                    <a:pt x="900" y="582"/>
                  </a:moveTo>
                  <a:cubicBezTo>
                    <a:pt x="1052" y="582"/>
                    <a:pt x="1052" y="582"/>
                    <a:pt x="1052" y="582"/>
                  </a:cubicBezTo>
                  <a:cubicBezTo>
                    <a:pt x="1052" y="597"/>
                    <a:pt x="1052" y="597"/>
                    <a:pt x="1052" y="597"/>
                  </a:cubicBezTo>
                  <a:cubicBezTo>
                    <a:pt x="900" y="597"/>
                    <a:pt x="900" y="597"/>
                    <a:pt x="900" y="597"/>
                  </a:cubicBezTo>
                  <a:lnTo>
                    <a:pt x="900" y="582"/>
                  </a:lnTo>
                  <a:close/>
                  <a:moveTo>
                    <a:pt x="1052" y="1160"/>
                  </a:moveTo>
                  <a:cubicBezTo>
                    <a:pt x="1023" y="1160"/>
                    <a:pt x="1023" y="1160"/>
                    <a:pt x="1023" y="1160"/>
                  </a:cubicBezTo>
                  <a:cubicBezTo>
                    <a:pt x="1023" y="1145"/>
                    <a:pt x="1023" y="1145"/>
                    <a:pt x="1023" y="1145"/>
                  </a:cubicBezTo>
                  <a:cubicBezTo>
                    <a:pt x="1052" y="1145"/>
                    <a:pt x="1052" y="1145"/>
                    <a:pt x="1052" y="1145"/>
                  </a:cubicBezTo>
                  <a:cubicBezTo>
                    <a:pt x="1052" y="1150"/>
                    <a:pt x="1052" y="1155"/>
                    <a:pt x="1052" y="1160"/>
                  </a:cubicBezTo>
                  <a:close/>
                  <a:moveTo>
                    <a:pt x="1052" y="1113"/>
                  </a:moveTo>
                  <a:cubicBezTo>
                    <a:pt x="1023" y="1113"/>
                    <a:pt x="1023" y="1113"/>
                    <a:pt x="1023" y="1113"/>
                  </a:cubicBezTo>
                  <a:cubicBezTo>
                    <a:pt x="1023" y="1098"/>
                    <a:pt x="1023" y="1098"/>
                    <a:pt x="1023" y="1098"/>
                  </a:cubicBezTo>
                  <a:cubicBezTo>
                    <a:pt x="1052" y="1098"/>
                    <a:pt x="1052" y="1098"/>
                    <a:pt x="1052" y="1098"/>
                  </a:cubicBezTo>
                  <a:cubicBezTo>
                    <a:pt x="1052" y="1103"/>
                    <a:pt x="1052" y="1108"/>
                    <a:pt x="1052" y="1113"/>
                  </a:cubicBezTo>
                  <a:close/>
                  <a:moveTo>
                    <a:pt x="1052" y="1066"/>
                  </a:moveTo>
                  <a:cubicBezTo>
                    <a:pt x="1023" y="1066"/>
                    <a:pt x="1023" y="1066"/>
                    <a:pt x="1023" y="1066"/>
                  </a:cubicBezTo>
                  <a:cubicBezTo>
                    <a:pt x="1023" y="1051"/>
                    <a:pt x="1023" y="1051"/>
                    <a:pt x="1023" y="1051"/>
                  </a:cubicBezTo>
                  <a:cubicBezTo>
                    <a:pt x="1052" y="1051"/>
                    <a:pt x="1052" y="1051"/>
                    <a:pt x="1052" y="1051"/>
                  </a:cubicBezTo>
                  <a:cubicBezTo>
                    <a:pt x="1052" y="1056"/>
                    <a:pt x="1052" y="1061"/>
                    <a:pt x="1052" y="1066"/>
                  </a:cubicBezTo>
                  <a:close/>
                  <a:moveTo>
                    <a:pt x="1052" y="1019"/>
                  </a:moveTo>
                  <a:cubicBezTo>
                    <a:pt x="1023" y="1019"/>
                    <a:pt x="1023" y="1019"/>
                    <a:pt x="1023" y="1019"/>
                  </a:cubicBezTo>
                  <a:cubicBezTo>
                    <a:pt x="1023" y="1004"/>
                    <a:pt x="1023" y="1004"/>
                    <a:pt x="1023" y="1004"/>
                  </a:cubicBezTo>
                  <a:cubicBezTo>
                    <a:pt x="1052" y="1004"/>
                    <a:pt x="1052" y="1004"/>
                    <a:pt x="1052" y="1004"/>
                  </a:cubicBezTo>
                  <a:cubicBezTo>
                    <a:pt x="1052" y="1009"/>
                    <a:pt x="1052" y="1014"/>
                    <a:pt x="1052" y="1019"/>
                  </a:cubicBezTo>
                  <a:close/>
                  <a:moveTo>
                    <a:pt x="1052" y="972"/>
                  </a:moveTo>
                  <a:cubicBezTo>
                    <a:pt x="1029" y="972"/>
                    <a:pt x="1006" y="972"/>
                    <a:pt x="983" y="972"/>
                  </a:cubicBezTo>
                  <a:cubicBezTo>
                    <a:pt x="983" y="967"/>
                    <a:pt x="983" y="962"/>
                    <a:pt x="983" y="957"/>
                  </a:cubicBezTo>
                  <a:cubicBezTo>
                    <a:pt x="1006" y="957"/>
                    <a:pt x="1029" y="957"/>
                    <a:pt x="1052" y="957"/>
                  </a:cubicBezTo>
                  <a:cubicBezTo>
                    <a:pt x="1052" y="962"/>
                    <a:pt x="1052" y="967"/>
                    <a:pt x="1052" y="972"/>
                  </a:cubicBezTo>
                  <a:close/>
                  <a:moveTo>
                    <a:pt x="1052" y="925"/>
                  </a:moveTo>
                  <a:cubicBezTo>
                    <a:pt x="1020" y="925"/>
                    <a:pt x="987" y="925"/>
                    <a:pt x="954" y="925"/>
                  </a:cubicBezTo>
                  <a:cubicBezTo>
                    <a:pt x="954" y="920"/>
                    <a:pt x="954" y="915"/>
                    <a:pt x="954" y="910"/>
                  </a:cubicBezTo>
                  <a:cubicBezTo>
                    <a:pt x="987" y="910"/>
                    <a:pt x="1020" y="910"/>
                    <a:pt x="1052" y="910"/>
                  </a:cubicBezTo>
                  <a:cubicBezTo>
                    <a:pt x="1052" y="915"/>
                    <a:pt x="1052" y="920"/>
                    <a:pt x="1052" y="925"/>
                  </a:cubicBezTo>
                  <a:close/>
                  <a:moveTo>
                    <a:pt x="1052" y="878"/>
                  </a:moveTo>
                  <a:cubicBezTo>
                    <a:pt x="1009" y="878"/>
                    <a:pt x="966" y="878"/>
                    <a:pt x="923" y="878"/>
                  </a:cubicBezTo>
                  <a:cubicBezTo>
                    <a:pt x="923" y="873"/>
                    <a:pt x="923" y="868"/>
                    <a:pt x="923" y="863"/>
                  </a:cubicBezTo>
                  <a:cubicBezTo>
                    <a:pt x="966" y="863"/>
                    <a:pt x="1009" y="863"/>
                    <a:pt x="1052" y="863"/>
                  </a:cubicBezTo>
                  <a:cubicBezTo>
                    <a:pt x="1052" y="868"/>
                    <a:pt x="1052" y="873"/>
                    <a:pt x="1052" y="878"/>
                  </a:cubicBezTo>
                  <a:close/>
                  <a:moveTo>
                    <a:pt x="1052" y="832"/>
                  </a:moveTo>
                  <a:cubicBezTo>
                    <a:pt x="1002" y="832"/>
                    <a:pt x="951" y="832"/>
                    <a:pt x="900" y="832"/>
                  </a:cubicBezTo>
                  <a:cubicBezTo>
                    <a:pt x="900" y="827"/>
                    <a:pt x="900" y="822"/>
                    <a:pt x="900" y="816"/>
                  </a:cubicBezTo>
                  <a:cubicBezTo>
                    <a:pt x="951" y="816"/>
                    <a:pt x="1002" y="816"/>
                    <a:pt x="1052" y="816"/>
                  </a:cubicBezTo>
                  <a:cubicBezTo>
                    <a:pt x="1052" y="822"/>
                    <a:pt x="1052" y="827"/>
                    <a:pt x="1052" y="832"/>
                  </a:cubicBezTo>
                  <a:close/>
                  <a:moveTo>
                    <a:pt x="1052" y="785"/>
                  </a:moveTo>
                  <a:cubicBezTo>
                    <a:pt x="1002" y="785"/>
                    <a:pt x="951" y="785"/>
                    <a:pt x="900" y="785"/>
                  </a:cubicBezTo>
                  <a:cubicBezTo>
                    <a:pt x="900" y="780"/>
                    <a:pt x="900" y="775"/>
                    <a:pt x="900" y="770"/>
                  </a:cubicBezTo>
                  <a:cubicBezTo>
                    <a:pt x="951" y="770"/>
                    <a:pt x="1002" y="770"/>
                    <a:pt x="1052" y="770"/>
                  </a:cubicBezTo>
                  <a:cubicBezTo>
                    <a:pt x="1052" y="775"/>
                    <a:pt x="1052" y="780"/>
                    <a:pt x="1052" y="785"/>
                  </a:cubicBezTo>
                  <a:close/>
                  <a:moveTo>
                    <a:pt x="1052" y="738"/>
                  </a:moveTo>
                  <a:cubicBezTo>
                    <a:pt x="1002" y="738"/>
                    <a:pt x="951" y="738"/>
                    <a:pt x="900" y="738"/>
                  </a:cubicBezTo>
                  <a:cubicBezTo>
                    <a:pt x="900" y="733"/>
                    <a:pt x="900" y="728"/>
                    <a:pt x="900" y="723"/>
                  </a:cubicBezTo>
                  <a:cubicBezTo>
                    <a:pt x="951" y="723"/>
                    <a:pt x="1002" y="723"/>
                    <a:pt x="1052" y="723"/>
                  </a:cubicBezTo>
                  <a:cubicBezTo>
                    <a:pt x="1052" y="728"/>
                    <a:pt x="1052" y="733"/>
                    <a:pt x="1052" y="738"/>
                  </a:cubicBezTo>
                  <a:close/>
                  <a:moveTo>
                    <a:pt x="1052" y="691"/>
                  </a:moveTo>
                  <a:cubicBezTo>
                    <a:pt x="1002" y="691"/>
                    <a:pt x="951" y="691"/>
                    <a:pt x="900" y="691"/>
                  </a:cubicBezTo>
                  <a:cubicBezTo>
                    <a:pt x="900" y="686"/>
                    <a:pt x="900" y="681"/>
                    <a:pt x="900" y="676"/>
                  </a:cubicBezTo>
                  <a:cubicBezTo>
                    <a:pt x="951" y="676"/>
                    <a:pt x="1002" y="676"/>
                    <a:pt x="1052" y="676"/>
                  </a:cubicBezTo>
                  <a:cubicBezTo>
                    <a:pt x="1052" y="681"/>
                    <a:pt x="1052" y="686"/>
                    <a:pt x="1052" y="691"/>
                  </a:cubicBezTo>
                  <a:close/>
                  <a:moveTo>
                    <a:pt x="1052" y="644"/>
                  </a:moveTo>
                  <a:cubicBezTo>
                    <a:pt x="1002" y="644"/>
                    <a:pt x="951" y="644"/>
                    <a:pt x="900" y="644"/>
                  </a:cubicBezTo>
                  <a:cubicBezTo>
                    <a:pt x="900" y="639"/>
                    <a:pt x="900" y="634"/>
                    <a:pt x="900" y="629"/>
                  </a:cubicBezTo>
                  <a:cubicBezTo>
                    <a:pt x="951" y="629"/>
                    <a:pt x="1002" y="629"/>
                    <a:pt x="1052" y="629"/>
                  </a:cubicBezTo>
                  <a:cubicBezTo>
                    <a:pt x="1052" y="634"/>
                    <a:pt x="1052" y="639"/>
                    <a:pt x="1052" y="644"/>
                  </a:cubicBezTo>
                  <a:close/>
                  <a:moveTo>
                    <a:pt x="1151" y="1135"/>
                  </a:moveTo>
                  <a:cubicBezTo>
                    <a:pt x="1105" y="1135"/>
                    <a:pt x="1105" y="1135"/>
                    <a:pt x="1105" y="1135"/>
                  </a:cubicBezTo>
                  <a:cubicBezTo>
                    <a:pt x="1105" y="1071"/>
                    <a:pt x="1105" y="1071"/>
                    <a:pt x="1105" y="1071"/>
                  </a:cubicBezTo>
                  <a:cubicBezTo>
                    <a:pt x="1151" y="1071"/>
                    <a:pt x="1151" y="1071"/>
                    <a:pt x="1151" y="1071"/>
                  </a:cubicBezTo>
                  <a:lnTo>
                    <a:pt x="1151" y="1135"/>
                  </a:lnTo>
                  <a:close/>
                  <a:moveTo>
                    <a:pt x="1230" y="811"/>
                  </a:moveTo>
                  <a:cubicBezTo>
                    <a:pt x="1206" y="811"/>
                    <a:pt x="1182" y="811"/>
                    <a:pt x="1158" y="811"/>
                  </a:cubicBezTo>
                  <a:cubicBezTo>
                    <a:pt x="1158" y="805"/>
                    <a:pt x="1158" y="800"/>
                    <a:pt x="1158" y="794"/>
                  </a:cubicBezTo>
                  <a:cubicBezTo>
                    <a:pt x="1182" y="794"/>
                    <a:pt x="1206" y="794"/>
                    <a:pt x="1230" y="794"/>
                  </a:cubicBezTo>
                  <a:cubicBezTo>
                    <a:pt x="1230" y="800"/>
                    <a:pt x="1230" y="805"/>
                    <a:pt x="1230" y="811"/>
                  </a:cubicBezTo>
                  <a:close/>
                  <a:moveTo>
                    <a:pt x="1230" y="775"/>
                  </a:moveTo>
                  <a:cubicBezTo>
                    <a:pt x="1158" y="775"/>
                    <a:pt x="1158" y="775"/>
                    <a:pt x="1158" y="775"/>
                  </a:cubicBezTo>
                  <a:cubicBezTo>
                    <a:pt x="1158" y="758"/>
                    <a:pt x="1158" y="758"/>
                    <a:pt x="1158" y="758"/>
                  </a:cubicBezTo>
                  <a:cubicBezTo>
                    <a:pt x="1230" y="758"/>
                    <a:pt x="1230" y="758"/>
                    <a:pt x="1230" y="758"/>
                  </a:cubicBezTo>
                  <a:lnTo>
                    <a:pt x="1230" y="775"/>
                  </a:lnTo>
                  <a:close/>
                  <a:moveTo>
                    <a:pt x="1355" y="155"/>
                  </a:moveTo>
                  <a:cubicBezTo>
                    <a:pt x="1360" y="155"/>
                    <a:pt x="1366" y="155"/>
                    <a:pt x="1372" y="155"/>
                  </a:cubicBezTo>
                  <a:cubicBezTo>
                    <a:pt x="1372" y="345"/>
                    <a:pt x="1372" y="536"/>
                    <a:pt x="1372" y="726"/>
                  </a:cubicBezTo>
                  <a:cubicBezTo>
                    <a:pt x="1366" y="726"/>
                    <a:pt x="1360" y="726"/>
                    <a:pt x="1355" y="726"/>
                  </a:cubicBezTo>
                  <a:cubicBezTo>
                    <a:pt x="1355" y="536"/>
                    <a:pt x="1355" y="345"/>
                    <a:pt x="1355" y="155"/>
                  </a:cubicBezTo>
                  <a:close/>
                  <a:moveTo>
                    <a:pt x="1316" y="155"/>
                  </a:moveTo>
                  <a:cubicBezTo>
                    <a:pt x="1322" y="155"/>
                    <a:pt x="1328" y="155"/>
                    <a:pt x="1334" y="155"/>
                  </a:cubicBezTo>
                  <a:cubicBezTo>
                    <a:pt x="1334" y="307"/>
                    <a:pt x="1334" y="458"/>
                    <a:pt x="1334" y="610"/>
                  </a:cubicBezTo>
                  <a:cubicBezTo>
                    <a:pt x="1328" y="610"/>
                    <a:pt x="1322" y="610"/>
                    <a:pt x="1316" y="610"/>
                  </a:cubicBezTo>
                  <a:cubicBezTo>
                    <a:pt x="1316" y="458"/>
                    <a:pt x="1316" y="307"/>
                    <a:pt x="1316" y="155"/>
                  </a:cubicBezTo>
                  <a:close/>
                  <a:moveTo>
                    <a:pt x="1278" y="155"/>
                  </a:moveTo>
                  <a:cubicBezTo>
                    <a:pt x="1296" y="155"/>
                    <a:pt x="1296" y="155"/>
                    <a:pt x="1296" y="155"/>
                  </a:cubicBezTo>
                  <a:cubicBezTo>
                    <a:pt x="1296" y="510"/>
                    <a:pt x="1296" y="510"/>
                    <a:pt x="1296" y="510"/>
                  </a:cubicBezTo>
                  <a:cubicBezTo>
                    <a:pt x="1278" y="510"/>
                    <a:pt x="1278" y="510"/>
                    <a:pt x="1278" y="510"/>
                  </a:cubicBezTo>
                  <a:lnTo>
                    <a:pt x="1278" y="155"/>
                  </a:lnTo>
                  <a:close/>
                  <a:moveTo>
                    <a:pt x="1294" y="1136"/>
                  </a:moveTo>
                  <a:cubicBezTo>
                    <a:pt x="1267" y="1136"/>
                    <a:pt x="1267" y="1136"/>
                    <a:pt x="1267" y="1136"/>
                  </a:cubicBezTo>
                  <a:cubicBezTo>
                    <a:pt x="1267" y="1045"/>
                    <a:pt x="1267" y="1045"/>
                    <a:pt x="1267" y="1045"/>
                  </a:cubicBezTo>
                  <a:cubicBezTo>
                    <a:pt x="1294" y="1045"/>
                    <a:pt x="1294" y="1045"/>
                    <a:pt x="1294" y="1045"/>
                  </a:cubicBezTo>
                  <a:lnTo>
                    <a:pt x="1294" y="1136"/>
                  </a:lnTo>
                  <a:close/>
                  <a:moveTo>
                    <a:pt x="1337" y="1136"/>
                  </a:moveTo>
                  <a:cubicBezTo>
                    <a:pt x="1328" y="1136"/>
                    <a:pt x="1318" y="1136"/>
                    <a:pt x="1309" y="1136"/>
                  </a:cubicBezTo>
                  <a:cubicBezTo>
                    <a:pt x="1309" y="1105"/>
                    <a:pt x="1309" y="1075"/>
                    <a:pt x="1309" y="1045"/>
                  </a:cubicBezTo>
                  <a:cubicBezTo>
                    <a:pt x="1318" y="1045"/>
                    <a:pt x="1328" y="1045"/>
                    <a:pt x="1337" y="1045"/>
                  </a:cubicBezTo>
                  <a:cubicBezTo>
                    <a:pt x="1337" y="1075"/>
                    <a:pt x="1337" y="1105"/>
                    <a:pt x="1337" y="1136"/>
                  </a:cubicBezTo>
                  <a:close/>
                  <a:moveTo>
                    <a:pt x="1267" y="1021"/>
                  </a:moveTo>
                  <a:cubicBezTo>
                    <a:pt x="1267" y="990"/>
                    <a:pt x="1292" y="965"/>
                    <a:pt x="1323" y="965"/>
                  </a:cubicBezTo>
                  <a:cubicBezTo>
                    <a:pt x="1354" y="965"/>
                    <a:pt x="1379" y="990"/>
                    <a:pt x="1379" y="1021"/>
                  </a:cubicBezTo>
                  <a:lnTo>
                    <a:pt x="1267" y="1021"/>
                  </a:lnTo>
                  <a:close/>
                  <a:moveTo>
                    <a:pt x="1410" y="866"/>
                  </a:moveTo>
                  <a:cubicBezTo>
                    <a:pt x="1405" y="866"/>
                    <a:pt x="1399" y="866"/>
                    <a:pt x="1393" y="866"/>
                  </a:cubicBezTo>
                  <a:cubicBezTo>
                    <a:pt x="1393" y="629"/>
                    <a:pt x="1393" y="392"/>
                    <a:pt x="1393" y="155"/>
                  </a:cubicBezTo>
                  <a:cubicBezTo>
                    <a:pt x="1399" y="155"/>
                    <a:pt x="1405" y="155"/>
                    <a:pt x="1410" y="155"/>
                  </a:cubicBezTo>
                  <a:cubicBezTo>
                    <a:pt x="1410" y="392"/>
                    <a:pt x="1410" y="629"/>
                    <a:pt x="1410" y="866"/>
                  </a:cubicBezTo>
                  <a:close/>
                  <a:moveTo>
                    <a:pt x="1431" y="155"/>
                  </a:moveTo>
                  <a:cubicBezTo>
                    <a:pt x="1449" y="155"/>
                    <a:pt x="1449" y="155"/>
                    <a:pt x="1449" y="155"/>
                  </a:cubicBezTo>
                  <a:cubicBezTo>
                    <a:pt x="1449" y="866"/>
                    <a:pt x="1449" y="866"/>
                    <a:pt x="1449" y="866"/>
                  </a:cubicBezTo>
                  <a:cubicBezTo>
                    <a:pt x="1431" y="866"/>
                    <a:pt x="1431" y="866"/>
                    <a:pt x="1431" y="866"/>
                  </a:cubicBezTo>
                  <a:lnTo>
                    <a:pt x="1431" y="155"/>
                  </a:lnTo>
                  <a:close/>
                  <a:moveTo>
                    <a:pt x="1478" y="1218"/>
                  </a:moveTo>
                  <a:cubicBezTo>
                    <a:pt x="1433" y="1218"/>
                    <a:pt x="1433" y="1218"/>
                    <a:pt x="1433" y="1218"/>
                  </a:cubicBezTo>
                  <a:cubicBezTo>
                    <a:pt x="1433" y="1153"/>
                    <a:pt x="1433" y="1153"/>
                    <a:pt x="1433" y="1153"/>
                  </a:cubicBezTo>
                  <a:cubicBezTo>
                    <a:pt x="1478" y="1153"/>
                    <a:pt x="1478" y="1153"/>
                    <a:pt x="1478" y="1153"/>
                  </a:cubicBezTo>
                  <a:lnTo>
                    <a:pt x="1478" y="1218"/>
                  </a:lnTo>
                  <a:close/>
                  <a:moveTo>
                    <a:pt x="1478" y="1135"/>
                  </a:moveTo>
                  <a:cubicBezTo>
                    <a:pt x="1433" y="1135"/>
                    <a:pt x="1433" y="1135"/>
                    <a:pt x="1433" y="1135"/>
                  </a:cubicBezTo>
                  <a:cubicBezTo>
                    <a:pt x="1433" y="1071"/>
                    <a:pt x="1433" y="1071"/>
                    <a:pt x="1433" y="1071"/>
                  </a:cubicBezTo>
                  <a:cubicBezTo>
                    <a:pt x="1478" y="1071"/>
                    <a:pt x="1478" y="1071"/>
                    <a:pt x="1478" y="1071"/>
                  </a:cubicBezTo>
                  <a:lnTo>
                    <a:pt x="1478" y="1135"/>
                  </a:lnTo>
                  <a:close/>
                  <a:moveTo>
                    <a:pt x="1546" y="737"/>
                  </a:moveTo>
                  <a:cubicBezTo>
                    <a:pt x="1546" y="730"/>
                    <a:pt x="1546" y="723"/>
                    <a:pt x="1546" y="715"/>
                  </a:cubicBezTo>
                  <a:cubicBezTo>
                    <a:pt x="1595" y="715"/>
                    <a:pt x="1645" y="715"/>
                    <a:pt x="1694" y="715"/>
                  </a:cubicBezTo>
                  <a:cubicBezTo>
                    <a:pt x="1694" y="723"/>
                    <a:pt x="1694" y="730"/>
                    <a:pt x="1694" y="737"/>
                  </a:cubicBezTo>
                  <a:cubicBezTo>
                    <a:pt x="1645" y="737"/>
                    <a:pt x="1595" y="737"/>
                    <a:pt x="1546" y="737"/>
                  </a:cubicBezTo>
                  <a:close/>
                  <a:moveTo>
                    <a:pt x="1694" y="773"/>
                  </a:moveTo>
                  <a:cubicBezTo>
                    <a:pt x="1694" y="780"/>
                    <a:pt x="1694" y="788"/>
                    <a:pt x="1694" y="795"/>
                  </a:cubicBezTo>
                  <a:cubicBezTo>
                    <a:pt x="1645" y="795"/>
                    <a:pt x="1595" y="795"/>
                    <a:pt x="1546" y="795"/>
                  </a:cubicBezTo>
                  <a:cubicBezTo>
                    <a:pt x="1546" y="788"/>
                    <a:pt x="1546" y="780"/>
                    <a:pt x="1546" y="773"/>
                  </a:cubicBezTo>
                  <a:cubicBezTo>
                    <a:pt x="1595" y="773"/>
                    <a:pt x="1645" y="773"/>
                    <a:pt x="1694" y="773"/>
                  </a:cubicBezTo>
                  <a:close/>
                  <a:moveTo>
                    <a:pt x="1546" y="658"/>
                  </a:moveTo>
                  <a:cubicBezTo>
                    <a:pt x="1694" y="658"/>
                    <a:pt x="1694" y="658"/>
                    <a:pt x="1694" y="658"/>
                  </a:cubicBezTo>
                  <a:cubicBezTo>
                    <a:pt x="1694" y="680"/>
                    <a:pt x="1694" y="680"/>
                    <a:pt x="1694" y="680"/>
                  </a:cubicBezTo>
                  <a:cubicBezTo>
                    <a:pt x="1546" y="680"/>
                    <a:pt x="1546" y="680"/>
                    <a:pt x="1546" y="680"/>
                  </a:cubicBezTo>
                  <a:lnTo>
                    <a:pt x="1546" y="658"/>
                  </a:lnTo>
                  <a:close/>
                  <a:moveTo>
                    <a:pt x="1554" y="1255"/>
                  </a:moveTo>
                  <a:cubicBezTo>
                    <a:pt x="1541" y="1255"/>
                    <a:pt x="1541" y="1255"/>
                    <a:pt x="1541" y="1255"/>
                  </a:cubicBezTo>
                  <a:cubicBezTo>
                    <a:pt x="1541" y="1135"/>
                    <a:pt x="1541" y="1135"/>
                    <a:pt x="1541" y="1135"/>
                  </a:cubicBezTo>
                  <a:cubicBezTo>
                    <a:pt x="1496" y="1135"/>
                    <a:pt x="1496" y="1135"/>
                    <a:pt x="1496" y="1135"/>
                  </a:cubicBezTo>
                  <a:cubicBezTo>
                    <a:pt x="1496" y="1071"/>
                    <a:pt x="1496" y="1071"/>
                    <a:pt x="1496" y="1071"/>
                  </a:cubicBezTo>
                  <a:cubicBezTo>
                    <a:pt x="1541" y="1071"/>
                    <a:pt x="1541" y="1071"/>
                    <a:pt x="1541" y="1071"/>
                  </a:cubicBezTo>
                  <a:cubicBezTo>
                    <a:pt x="1541" y="1113"/>
                    <a:pt x="1541" y="1113"/>
                    <a:pt x="1541" y="1113"/>
                  </a:cubicBezTo>
                  <a:cubicBezTo>
                    <a:pt x="1554" y="1113"/>
                    <a:pt x="1554" y="1113"/>
                    <a:pt x="1554" y="1113"/>
                  </a:cubicBezTo>
                  <a:lnTo>
                    <a:pt x="1554" y="1255"/>
                  </a:lnTo>
                  <a:close/>
                  <a:moveTo>
                    <a:pt x="1597" y="831"/>
                  </a:moveTo>
                  <a:cubicBezTo>
                    <a:pt x="1629" y="831"/>
                    <a:pt x="1661" y="831"/>
                    <a:pt x="1694" y="831"/>
                  </a:cubicBezTo>
                  <a:cubicBezTo>
                    <a:pt x="1694" y="839"/>
                    <a:pt x="1694" y="846"/>
                    <a:pt x="1694" y="854"/>
                  </a:cubicBezTo>
                  <a:cubicBezTo>
                    <a:pt x="1661" y="854"/>
                    <a:pt x="1629" y="854"/>
                    <a:pt x="1597" y="854"/>
                  </a:cubicBezTo>
                  <a:cubicBezTo>
                    <a:pt x="1597" y="846"/>
                    <a:pt x="1597" y="839"/>
                    <a:pt x="1597" y="831"/>
                  </a:cubicBezTo>
                  <a:close/>
                  <a:moveTo>
                    <a:pt x="1645" y="890"/>
                  </a:moveTo>
                  <a:cubicBezTo>
                    <a:pt x="1661" y="890"/>
                    <a:pt x="1678" y="890"/>
                    <a:pt x="1694" y="890"/>
                  </a:cubicBezTo>
                  <a:cubicBezTo>
                    <a:pt x="1694" y="898"/>
                    <a:pt x="1694" y="905"/>
                    <a:pt x="1694" y="912"/>
                  </a:cubicBezTo>
                  <a:cubicBezTo>
                    <a:pt x="1678" y="912"/>
                    <a:pt x="1661" y="912"/>
                    <a:pt x="1645" y="912"/>
                  </a:cubicBezTo>
                  <a:cubicBezTo>
                    <a:pt x="1645" y="905"/>
                    <a:pt x="1645" y="898"/>
                    <a:pt x="1645" y="890"/>
                  </a:cubicBezTo>
                  <a:close/>
                  <a:moveTo>
                    <a:pt x="1721" y="1250"/>
                  </a:moveTo>
                  <a:cubicBezTo>
                    <a:pt x="1686" y="1250"/>
                    <a:pt x="1686" y="1250"/>
                    <a:pt x="1686" y="1250"/>
                  </a:cubicBezTo>
                  <a:cubicBezTo>
                    <a:pt x="1686" y="1226"/>
                    <a:pt x="1686" y="1226"/>
                    <a:pt x="1686" y="1226"/>
                  </a:cubicBezTo>
                  <a:cubicBezTo>
                    <a:pt x="1721" y="1226"/>
                    <a:pt x="1721" y="1226"/>
                    <a:pt x="1721" y="1226"/>
                  </a:cubicBezTo>
                  <a:lnTo>
                    <a:pt x="1721" y="1250"/>
                  </a:lnTo>
                  <a:close/>
                  <a:moveTo>
                    <a:pt x="1782" y="1250"/>
                  </a:moveTo>
                  <a:cubicBezTo>
                    <a:pt x="1771" y="1250"/>
                    <a:pt x="1759" y="1250"/>
                    <a:pt x="1748" y="1250"/>
                  </a:cubicBezTo>
                  <a:cubicBezTo>
                    <a:pt x="1748" y="1242"/>
                    <a:pt x="1748" y="1234"/>
                    <a:pt x="1748" y="1226"/>
                  </a:cubicBezTo>
                  <a:cubicBezTo>
                    <a:pt x="1759" y="1226"/>
                    <a:pt x="1771" y="1226"/>
                    <a:pt x="1782" y="1226"/>
                  </a:cubicBezTo>
                  <a:cubicBezTo>
                    <a:pt x="1782" y="1234"/>
                    <a:pt x="1782" y="1242"/>
                    <a:pt x="1782" y="1250"/>
                  </a:cubicBezTo>
                  <a:close/>
                  <a:moveTo>
                    <a:pt x="1785" y="982"/>
                  </a:moveTo>
                  <a:cubicBezTo>
                    <a:pt x="1758" y="982"/>
                    <a:pt x="1758" y="982"/>
                    <a:pt x="1758" y="982"/>
                  </a:cubicBezTo>
                  <a:cubicBezTo>
                    <a:pt x="1758" y="901"/>
                    <a:pt x="1758" y="901"/>
                    <a:pt x="1758" y="901"/>
                  </a:cubicBezTo>
                  <a:cubicBezTo>
                    <a:pt x="1785" y="901"/>
                    <a:pt x="1785" y="901"/>
                    <a:pt x="1785" y="901"/>
                  </a:cubicBezTo>
                  <a:lnTo>
                    <a:pt x="1785" y="982"/>
                  </a:lnTo>
                  <a:close/>
                  <a:moveTo>
                    <a:pt x="1800" y="708"/>
                  </a:moveTo>
                  <a:cubicBezTo>
                    <a:pt x="1789" y="708"/>
                    <a:pt x="1777" y="708"/>
                    <a:pt x="1765" y="708"/>
                  </a:cubicBezTo>
                  <a:cubicBezTo>
                    <a:pt x="1765" y="700"/>
                    <a:pt x="1765" y="693"/>
                    <a:pt x="1765" y="685"/>
                  </a:cubicBezTo>
                  <a:cubicBezTo>
                    <a:pt x="1777" y="685"/>
                    <a:pt x="1789" y="685"/>
                    <a:pt x="1800" y="685"/>
                  </a:cubicBezTo>
                  <a:cubicBezTo>
                    <a:pt x="1800" y="693"/>
                    <a:pt x="1800" y="700"/>
                    <a:pt x="1800" y="708"/>
                  </a:cubicBezTo>
                  <a:close/>
                  <a:moveTo>
                    <a:pt x="1843" y="1094"/>
                  </a:moveTo>
                  <a:cubicBezTo>
                    <a:pt x="1834" y="1094"/>
                    <a:pt x="1825" y="1094"/>
                    <a:pt x="1815" y="1094"/>
                  </a:cubicBezTo>
                  <a:cubicBezTo>
                    <a:pt x="1815" y="1067"/>
                    <a:pt x="1815" y="1040"/>
                    <a:pt x="1815" y="1013"/>
                  </a:cubicBezTo>
                  <a:cubicBezTo>
                    <a:pt x="1825" y="1013"/>
                    <a:pt x="1834" y="1013"/>
                    <a:pt x="1843" y="1013"/>
                  </a:cubicBezTo>
                  <a:cubicBezTo>
                    <a:pt x="1843" y="1040"/>
                    <a:pt x="1843" y="1067"/>
                    <a:pt x="1843" y="1094"/>
                  </a:cubicBezTo>
                  <a:close/>
                  <a:moveTo>
                    <a:pt x="1851" y="753"/>
                  </a:moveTo>
                  <a:cubicBezTo>
                    <a:pt x="1839" y="753"/>
                    <a:pt x="1827" y="753"/>
                    <a:pt x="1816" y="753"/>
                  </a:cubicBezTo>
                  <a:cubicBezTo>
                    <a:pt x="1816" y="745"/>
                    <a:pt x="1816" y="737"/>
                    <a:pt x="1816" y="729"/>
                  </a:cubicBezTo>
                  <a:cubicBezTo>
                    <a:pt x="1827" y="729"/>
                    <a:pt x="1839" y="729"/>
                    <a:pt x="1851" y="729"/>
                  </a:cubicBezTo>
                  <a:cubicBezTo>
                    <a:pt x="1851" y="737"/>
                    <a:pt x="1851" y="745"/>
                    <a:pt x="1851" y="753"/>
                  </a:cubicBezTo>
                  <a:close/>
                  <a:moveTo>
                    <a:pt x="1851" y="708"/>
                  </a:moveTo>
                  <a:cubicBezTo>
                    <a:pt x="1816" y="708"/>
                    <a:pt x="1816" y="708"/>
                    <a:pt x="1816" y="708"/>
                  </a:cubicBezTo>
                  <a:cubicBezTo>
                    <a:pt x="1816" y="685"/>
                    <a:pt x="1816" y="685"/>
                    <a:pt x="1816" y="685"/>
                  </a:cubicBezTo>
                  <a:cubicBezTo>
                    <a:pt x="1851" y="685"/>
                    <a:pt x="1851" y="685"/>
                    <a:pt x="1851" y="685"/>
                  </a:cubicBezTo>
                  <a:lnTo>
                    <a:pt x="1851" y="708"/>
                  </a:lnTo>
                  <a:close/>
                  <a:moveTo>
                    <a:pt x="1901" y="1207"/>
                  </a:moveTo>
                  <a:cubicBezTo>
                    <a:pt x="1874" y="1207"/>
                    <a:pt x="1874" y="1207"/>
                    <a:pt x="1874" y="1207"/>
                  </a:cubicBezTo>
                  <a:cubicBezTo>
                    <a:pt x="1874" y="1126"/>
                    <a:pt x="1874" y="1126"/>
                    <a:pt x="1874" y="1126"/>
                  </a:cubicBezTo>
                  <a:cubicBezTo>
                    <a:pt x="1901" y="1126"/>
                    <a:pt x="1901" y="1126"/>
                    <a:pt x="1901" y="1126"/>
                  </a:cubicBezTo>
                  <a:lnTo>
                    <a:pt x="1901" y="1207"/>
                  </a:lnTo>
                  <a:close/>
                  <a:moveTo>
                    <a:pt x="1901" y="982"/>
                  </a:moveTo>
                  <a:cubicBezTo>
                    <a:pt x="1874" y="982"/>
                    <a:pt x="1874" y="982"/>
                    <a:pt x="1874" y="982"/>
                  </a:cubicBezTo>
                  <a:cubicBezTo>
                    <a:pt x="1874" y="901"/>
                    <a:pt x="1874" y="901"/>
                    <a:pt x="1874" y="901"/>
                  </a:cubicBezTo>
                  <a:cubicBezTo>
                    <a:pt x="1901" y="901"/>
                    <a:pt x="1901" y="901"/>
                    <a:pt x="1901" y="901"/>
                  </a:cubicBezTo>
                  <a:lnTo>
                    <a:pt x="1901" y="982"/>
                  </a:lnTo>
                  <a:close/>
                  <a:moveTo>
                    <a:pt x="1970" y="591"/>
                  </a:moveTo>
                  <a:cubicBezTo>
                    <a:pt x="1952" y="591"/>
                    <a:pt x="1952" y="591"/>
                    <a:pt x="1952" y="591"/>
                  </a:cubicBezTo>
                  <a:cubicBezTo>
                    <a:pt x="1952" y="368"/>
                    <a:pt x="1952" y="368"/>
                    <a:pt x="1952" y="368"/>
                  </a:cubicBezTo>
                  <a:cubicBezTo>
                    <a:pt x="1970" y="368"/>
                    <a:pt x="1970" y="368"/>
                    <a:pt x="1970" y="368"/>
                  </a:cubicBezTo>
                  <a:lnTo>
                    <a:pt x="1970" y="591"/>
                  </a:lnTo>
                  <a:close/>
                  <a:moveTo>
                    <a:pt x="2007" y="743"/>
                  </a:moveTo>
                  <a:cubicBezTo>
                    <a:pt x="2001" y="743"/>
                    <a:pt x="1995" y="743"/>
                    <a:pt x="1990" y="743"/>
                  </a:cubicBezTo>
                  <a:cubicBezTo>
                    <a:pt x="1990" y="618"/>
                    <a:pt x="1990" y="493"/>
                    <a:pt x="1990" y="368"/>
                  </a:cubicBezTo>
                  <a:cubicBezTo>
                    <a:pt x="1995" y="368"/>
                    <a:pt x="2001" y="368"/>
                    <a:pt x="2007" y="368"/>
                  </a:cubicBezTo>
                  <a:cubicBezTo>
                    <a:pt x="2007" y="493"/>
                    <a:pt x="2007" y="618"/>
                    <a:pt x="2007" y="743"/>
                  </a:cubicBezTo>
                  <a:close/>
                  <a:moveTo>
                    <a:pt x="2270" y="497"/>
                  </a:moveTo>
                  <a:cubicBezTo>
                    <a:pt x="2387" y="497"/>
                    <a:pt x="2387" y="497"/>
                    <a:pt x="2387" y="497"/>
                  </a:cubicBezTo>
                  <a:cubicBezTo>
                    <a:pt x="2387" y="511"/>
                    <a:pt x="2387" y="511"/>
                    <a:pt x="2387" y="511"/>
                  </a:cubicBezTo>
                  <a:cubicBezTo>
                    <a:pt x="2270" y="511"/>
                    <a:pt x="2270" y="511"/>
                    <a:pt x="2270" y="511"/>
                  </a:cubicBezTo>
                  <a:lnTo>
                    <a:pt x="2270" y="497"/>
                  </a:lnTo>
                  <a:close/>
                  <a:moveTo>
                    <a:pt x="2270" y="544"/>
                  </a:moveTo>
                  <a:cubicBezTo>
                    <a:pt x="2309" y="544"/>
                    <a:pt x="2348" y="544"/>
                    <a:pt x="2387" y="544"/>
                  </a:cubicBezTo>
                  <a:cubicBezTo>
                    <a:pt x="2387" y="549"/>
                    <a:pt x="2387" y="554"/>
                    <a:pt x="2387" y="559"/>
                  </a:cubicBezTo>
                  <a:cubicBezTo>
                    <a:pt x="2348" y="559"/>
                    <a:pt x="2309" y="559"/>
                    <a:pt x="2270" y="559"/>
                  </a:cubicBezTo>
                  <a:cubicBezTo>
                    <a:pt x="2270" y="554"/>
                    <a:pt x="2270" y="549"/>
                    <a:pt x="2270" y="544"/>
                  </a:cubicBezTo>
                  <a:close/>
                  <a:moveTo>
                    <a:pt x="2270" y="591"/>
                  </a:moveTo>
                  <a:cubicBezTo>
                    <a:pt x="2309" y="591"/>
                    <a:pt x="2348" y="591"/>
                    <a:pt x="2387" y="591"/>
                  </a:cubicBezTo>
                  <a:cubicBezTo>
                    <a:pt x="2387" y="596"/>
                    <a:pt x="2387" y="601"/>
                    <a:pt x="2387" y="606"/>
                  </a:cubicBezTo>
                  <a:cubicBezTo>
                    <a:pt x="2348" y="606"/>
                    <a:pt x="2309" y="606"/>
                    <a:pt x="2270" y="606"/>
                  </a:cubicBezTo>
                  <a:cubicBezTo>
                    <a:pt x="2270" y="601"/>
                    <a:pt x="2270" y="596"/>
                    <a:pt x="2270" y="591"/>
                  </a:cubicBezTo>
                  <a:close/>
                  <a:moveTo>
                    <a:pt x="2270" y="639"/>
                  </a:moveTo>
                  <a:cubicBezTo>
                    <a:pt x="2309" y="639"/>
                    <a:pt x="2348" y="639"/>
                    <a:pt x="2387" y="639"/>
                  </a:cubicBezTo>
                  <a:cubicBezTo>
                    <a:pt x="2387" y="643"/>
                    <a:pt x="2387" y="648"/>
                    <a:pt x="2387" y="653"/>
                  </a:cubicBezTo>
                  <a:cubicBezTo>
                    <a:pt x="2348" y="653"/>
                    <a:pt x="2309" y="653"/>
                    <a:pt x="2270" y="653"/>
                  </a:cubicBezTo>
                  <a:cubicBezTo>
                    <a:pt x="2270" y="648"/>
                    <a:pt x="2270" y="643"/>
                    <a:pt x="2270" y="639"/>
                  </a:cubicBezTo>
                  <a:close/>
                  <a:moveTo>
                    <a:pt x="2270" y="686"/>
                  </a:moveTo>
                  <a:cubicBezTo>
                    <a:pt x="2309" y="686"/>
                    <a:pt x="2348" y="686"/>
                    <a:pt x="2387" y="686"/>
                  </a:cubicBezTo>
                  <a:cubicBezTo>
                    <a:pt x="2387" y="691"/>
                    <a:pt x="2387" y="696"/>
                    <a:pt x="2387" y="700"/>
                  </a:cubicBezTo>
                  <a:cubicBezTo>
                    <a:pt x="2348" y="700"/>
                    <a:pt x="2309" y="700"/>
                    <a:pt x="2270" y="700"/>
                  </a:cubicBezTo>
                  <a:cubicBezTo>
                    <a:pt x="2270" y="696"/>
                    <a:pt x="2270" y="691"/>
                    <a:pt x="2270" y="686"/>
                  </a:cubicBezTo>
                  <a:close/>
                  <a:moveTo>
                    <a:pt x="2144" y="1170"/>
                  </a:moveTo>
                  <a:cubicBezTo>
                    <a:pt x="2191" y="1170"/>
                    <a:pt x="2191" y="1170"/>
                    <a:pt x="2191" y="1170"/>
                  </a:cubicBezTo>
                  <a:cubicBezTo>
                    <a:pt x="2191" y="1205"/>
                    <a:pt x="2191" y="1205"/>
                    <a:pt x="2191" y="1205"/>
                  </a:cubicBezTo>
                  <a:cubicBezTo>
                    <a:pt x="2144" y="1205"/>
                    <a:pt x="2144" y="1205"/>
                    <a:pt x="2144" y="1205"/>
                  </a:cubicBezTo>
                  <a:lnTo>
                    <a:pt x="2144" y="1170"/>
                  </a:lnTo>
                  <a:close/>
                  <a:moveTo>
                    <a:pt x="2044" y="895"/>
                  </a:moveTo>
                  <a:cubicBezTo>
                    <a:pt x="2039" y="895"/>
                    <a:pt x="2033" y="895"/>
                    <a:pt x="2027" y="895"/>
                  </a:cubicBezTo>
                  <a:cubicBezTo>
                    <a:pt x="2027" y="720"/>
                    <a:pt x="2027" y="544"/>
                    <a:pt x="2027" y="368"/>
                  </a:cubicBezTo>
                  <a:cubicBezTo>
                    <a:pt x="2033" y="368"/>
                    <a:pt x="2039" y="368"/>
                    <a:pt x="2044" y="368"/>
                  </a:cubicBezTo>
                  <a:cubicBezTo>
                    <a:pt x="2044" y="544"/>
                    <a:pt x="2044" y="720"/>
                    <a:pt x="2044" y="895"/>
                  </a:cubicBezTo>
                  <a:close/>
                  <a:moveTo>
                    <a:pt x="2064" y="368"/>
                  </a:moveTo>
                  <a:cubicBezTo>
                    <a:pt x="2070" y="368"/>
                    <a:pt x="2076" y="368"/>
                    <a:pt x="2082" y="368"/>
                  </a:cubicBezTo>
                  <a:cubicBezTo>
                    <a:pt x="2082" y="595"/>
                    <a:pt x="2082" y="821"/>
                    <a:pt x="2082" y="1048"/>
                  </a:cubicBezTo>
                  <a:cubicBezTo>
                    <a:pt x="2076" y="1048"/>
                    <a:pt x="2070" y="1048"/>
                    <a:pt x="2064" y="1048"/>
                  </a:cubicBezTo>
                  <a:cubicBezTo>
                    <a:pt x="2064" y="821"/>
                    <a:pt x="2064" y="595"/>
                    <a:pt x="2064" y="368"/>
                  </a:cubicBezTo>
                  <a:close/>
                  <a:moveTo>
                    <a:pt x="2199" y="1275"/>
                  </a:moveTo>
                  <a:cubicBezTo>
                    <a:pt x="2164" y="1275"/>
                    <a:pt x="2129" y="1275"/>
                    <a:pt x="2093" y="1275"/>
                  </a:cubicBezTo>
                  <a:cubicBezTo>
                    <a:pt x="2093" y="1272"/>
                    <a:pt x="2093" y="1269"/>
                    <a:pt x="2093" y="1265"/>
                  </a:cubicBezTo>
                  <a:cubicBezTo>
                    <a:pt x="2129" y="1265"/>
                    <a:pt x="2164" y="1265"/>
                    <a:pt x="2199" y="1265"/>
                  </a:cubicBezTo>
                  <a:cubicBezTo>
                    <a:pt x="2199" y="1269"/>
                    <a:pt x="2199" y="1272"/>
                    <a:pt x="2199" y="1275"/>
                  </a:cubicBezTo>
                  <a:close/>
                  <a:moveTo>
                    <a:pt x="2199" y="1240"/>
                  </a:moveTo>
                  <a:cubicBezTo>
                    <a:pt x="2081" y="1240"/>
                    <a:pt x="2081" y="1240"/>
                    <a:pt x="2081" y="1240"/>
                  </a:cubicBezTo>
                  <a:cubicBezTo>
                    <a:pt x="2081" y="1230"/>
                    <a:pt x="2081" y="1230"/>
                    <a:pt x="2081" y="1230"/>
                  </a:cubicBezTo>
                  <a:cubicBezTo>
                    <a:pt x="2199" y="1230"/>
                    <a:pt x="2199" y="1230"/>
                    <a:pt x="2199" y="1230"/>
                  </a:cubicBezTo>
                  <a:lnTo>
                    <a:pt x="2199" y="1240"/>
                  </a:lnTo>
                  <a:close/>
                  <a:moveTo>
                    <a:pt x="2235" y="811"/>
                  </a:moveTo>
                  <a:cubicBezTo>
                    <a:pt x="2249" y="811"/>
                    <a:pt x="2257" y="825"/>
                    <a:pt x="2257" y="842"/>
                  </a:cubicBezTo>
                  <a:cubicBezTo>
                    <a:pt x="2242" y="842"/>
                    <a:pt x="2228" y="842"/>
                    <a:pt x="2214" y="842"/>
                  </a:cubicBezTo>
                  <a:cubicBezTo>
                    <a:pt x="2214" y="825"/>
                    <a:pt x="2221" y="811"/>
                    <a:pt x="2235" y="811"/>
                  </a:cubicBezTo>
                  <a:close/>
                  <a:moveTo>
                    <a:pt x="2263" y="1088"/>
                  </a:moveTo>
                  <a:cubicBezTo>
                    <a:pt x="2216" y="1088"/>
                    <a:pt x="2216" y="1088"/>
                    <a:pt x="2216" y="1088"/>
                  </a:cubicBezTo>
                  <a:cubicBezTo>
                    <a:pt x="2216" y="1053"/>
                    <a:pt x="2216" y="1053"/>
                    <a:pt x="2216" y="1053"/>
                  </a:cubicBezTo>
                  <a:cubicBezTo>
                    <a:pt x="2263" y="1053"/>
                    <a:pt x="2263" y="1053"/>
                    <a:pt x="2263" y="1053"/>
                  </a:cubicBezTo>
                  <a:lnTo>
                    <a:pt x="2263" y="1088"/>
                  </a:lnTo>
                  <a:close/>
                  <a:moveTo>
                    <a:pt x="2263" y="927"/>
                  </a:moveTo>
                  <a:cubicBezTo>
                    <a:pt x="2216" y="927"/>
                    <a:pt x="2216" y="927"/>
                    <a:pt x="2216" y="927"/>
                  </a:cubicBezTo>
                  <a:cubicBezTo>
                    <a:pt x="2216" y="892"/>
                    <a:pt x="2216" y="892"/>
                    <a:pt x="2216" y="892"/>
                  </a:cubicBezTo>
                  <a:cubicBezTo>
                    <a:pt x="2263" y="892"/>
                    <a:pt x="2263" y="892"/>
                    <a:pt x="2263" y="892"/>
                  </a:cubicBezTo>
                  <a:lnTo>
                    <a:pt x="2263" y="927"/>
                  </a:lnTo>
                  <a:close/>
                  <a:moveTo>
                    <a:pt x="2270" y="733"/>
                  </a:moveTo>
                  <a:cubicBezTo>
                    <a:pt x="2309" y="733"/>
                    <a:pt x="2348" y="733"/>
                    <a:pt x="2387" y="733"/>
                  </a:cubicBezTo>
                  <a:cubicBezTo>
                    <a:pt x="2387" y="738"/>
                    <a:pt x="2387" y="743"/>
                    <a:pt x="2387" y="748"/>
                  </a:cubicBezTo>
                  <a:cubicBezTo>
                    <a:pt x="2348" y="748"/>
                    <a:pt x="2309" y="748"/>
                    <a:pt x="2270" y="748"/>
                  </a:cubicBezTo>
                  <a:cubicBezTo>
                    <a:pt x="2270" y="743"/>
                    <a:pt x="2270" y="738"/>
                    <a:pt x="2270" y="733"/>
                  </a:cubicBezTo>
                  <a:close/>
                  <a:moveTo>
                    <a:pt x="2355" y="874"/>
                  </a:moveTo>
                  <a:cubicBezTo>
                    <a:pt x="2355" y="910"/>
                    <a:pt x="2355" y="910"/>
                    <a:pt x="2355" y="910"/>
                  </a:cubicBezTo>
                  <a:cubicBezTo>
                    <a:pt x="2307" y="910"/>
                    <a:pt x="2307" y="910"/>
                    <a:pt x="2307" y="910"/>
                  </a:cubicBezTo>
                  <a:cubicBezTo>
                    <a:pt x="2307" y="874"/>
                    <a:pt x="2307" y="874"/>
                    <a:pt x="2307" y="874"/>
                  </a:cubicBezTo>
                  <a:lnTo>
                    <a:pt x="2355" y="874"/>
                  </a:lnTo>
                  <a:close/>
                  <a:moveTo>
                    <a:pt x="2355" y="969"/>
                  </a:moveTo>
                  <a:cubicBezTo>
                    <a:pt x="2339" y="969"/>
                    <a:pt x="2323" y="969"/>
                    <a:pt x="2307" y="969"/>
                  </a:cubicBezTo>
                  <a:cubicBezTo>
                    <a:pt x="2307" y="957"/>
                    <a:pt x="2307" y="946"/>
                    <a:pt x="2307" y="934"/>
                  </a:cubicBezTo>
                  <a:cubicBezTo>
                    <a:pt x="2323" y="934"/>
                    <a:pt x="2339" y="934"/>
                    <a:pt x="2355" y="934"/>
                  </a:cubicBezTo>
                  <a:cubicBezTo>
                    <a:pt x="2355" y="946"/>
                    <a:pt x="2355" y="957"/>
                    <a:pt x="2355" y="969"/>
                  </a:cubicBezTo>
                  <a:close/>
                  <a:moveTo>
                    <a:pt x="2430" y="1028"/>
                  </a:moveTo>
                  <a:cubicBezTo>
                    <a:pt x="2414" y="1028"/>
                    <a:pt x="2398" y="1028"/>
                    <a:pt x="2383" y="1028"/>
                  </a:cubicBezTo>
                  <a:cubicBezTo>
                    <a:pt x="2383" y="1017"/>
                    <a:pt x="2383" y="1005"/>
                    <a:pt x="2383" y="993"/>
                  </a:cubicBezTo>
                  <a:cubicBezTo>
                    <a:pt x="2398" y="993"/>
                    <a:pt x="2414" y="993"/>
                    <a:pt x="2430" y="993"/>
                  </a:cubicBezTo>
                  <a:cubicBezTo>
                    <a:pt x="2430" y="1005"/>
                    <a:pt x="2430" y="1017"/>
                    <a:pt x="2430" y="1028"/>
                  </a:cubicBezTo>
                  <a:close/>
                  <a:moveTo>
                    <a:pt x="2430" y="910"/>
                  </a:moveTo>
                  <a:cubicBezTo>
                    <a:pt x="2414" y="910"/>
                    <a:pt x="2398" y="910"/>
                    <a:pt x="2383" y="910"/>
                  </a:cubicBezTo>
                  <a:cubicBezTo>
                    <a:pt x="2383" y="898"/>
                    <a:pt x="2383" y="886"/>
                    <a:pt x="2383" y="874"/>
                  </a:cubicBezTo>
                  <a:cubicBezTo>
                    <a:pt x="2398" y="874"/>
                    <a:pt x="2414" y="874"/>
                    <a:pt x="2430" y="874"/>
                  </a:cubicBezTo>
                  <a:cubicBezTo>
                    <a:pt x="2430" y="886"/>
                    <a:pt x="2430" y="898"/>
                    <a:pt x="2430" y="910"/>
                  </a:cubicBezTo>
                  <a:close/>
                  <a:moveTo>
                    <a:pt x="2361" y="842"/>
                  </a:moveTo>
                  <a:cubicBezTo>
                    <a:pt x="2361" y="809"/>
                    <a:pt x="2377" y="783"/>
                    <a:pt x="2406" y="783"/>
                  </a:cubicBezTo>
                  <a:cubicBezTo>
                    <a:pt x="2434" y="783"/>
                    <a:pt x="2452" y="809"/>
                    <a:pt x="2452" y="842"/>
                  </a:cubicBezTo>
                  <a:lnTo>
                    <a:pt x="2361" y="842"/>
                  </a:lnTo>
                  <a:close/>
                  <a:moveTo>
                    <a:pt x="2505" y="1088"/>
                  </a:moveTo>
                  <a:cubicBezTo>
                    <a:pt x="2458" y="1088"/>
                    <a:pt x="2458" y="1088"/>
                    <a:pt x="2458" y="1088"/>
                  </a:cubicBezTo>
                  <a:cubicBezTo>
                    <a:pt x="2458" y="1053"/>
                    <a:pt x="2458" y="1053"/>
                    <a:pt x="2458" y="1053"/>
                  </a:cubicBezTo>
                  <a:cubicBezTo>
                    <a:pt x="2505" y="1053"/>
                    <a:pt x="2505" y="1053"/>
                    <a:pt x="2505" y="1053"/>
                  </a:cubicBezTo>
                  <a:lnTo>
                    <a:pt x="2505" y="1088"/>
                  </a:lnTo>
                  <a:close/>
                  <a:moveTo>
                    <a:pt x="2505" y="969"/>
                  </a:moveTo>
                  <a:cubicBezTo>
                    <a:pt x="2489" y="969"/>
                    <a:pt x="2474" y="969"/>
                    <a:pt x="2458" y="969"/>
                  </a:cubicBezTo>
                  <a:cubicBezTo>
                    <a:pt x="2458" y="957"/>
                    <a:pt x="2458" y="946"/>
                    <a:pt x="2458" y="934"/>
                  </a:cubicBezTo>
                  <a:cubicBezTo>
                    <a:pt x="2474" y="934"/>
                    <a:pt x="2489" y="934"/>
                    <a:pt x="2505" y="934"/>
                  </a:cubicBezTo>
                  <a:cubicBezTo>
                    <a:pt x="2505" y="946"/>
                    <a:pt x="2505" y="957"/>
                    <a:pt x="2505" y="969"/>
                  </a:cubicBezTo>
                  <a:close/>
                  <a:moveTo>
                    <a:pt x="2644" y="811"/>
                  </a:moveTo>
                  <a:cubicBezTo>
                    <a:pt x="2658" y="811"/>
                    <a:pt x="2666" y="825"/>
                    <a:pt x="2666" y="842"/>
                  </a:cubicBezTo>
                  <a:cubicBezTo>
                    <a:pt x="2622" y="842"/>
                    <a:pt x="2622" y="842"/>
                    <a:pt x="2622" y="842"/>
                  </a:cubicBezTo>
                  <a:cubicBezTo>
                    <a:pt x="2622" y="825"/>
                    <a:pt x="2631" y="811"/>
                    <a:pt x="2644" y="811"/>
                  </a:cubicBezTo>
                  <a:close/>
                  <a:moveTo>
                    <a:pt x="2597" y="1146"/>
                  </a:moveTo>
                  <a:cubicBezTo>
                    <a:pt x="2581" y="1146"/>
                    <a:pt x="2565" y="1146"/>
                    <a:pt x="2550" y="1146"/>
                  </a:cubicBezTo>
                  <a:cubicBezTo>
                    <a:pt x="2550" y="1135"/>
                    <a:pt x="2550" y="1123"/>
                    <a:pt x="2550" y="1111"/>
                  </a:cubicBezTo>
                  <a:cubicBezTo>
                    <a:pt x="2565" y="1111"/>
                    <a:pt x="2581" y="1111"/>
                    <a:pt x="2597" y="1111"/>
                  </a:cubicBezTo>
                  <a:cubicBezTo>
                    <a:pt x="2597" y="1123"/>
                    <a:pt x="2597" y="1135"/>
                    <a:pt x="2597" y="1146"/>
                  </a:cubicBezTo>
                  <a:close/>
                  <a:moveTo>
                    <a:pt x="2597" y="988"/>
                  </a:moveTo>
                  <a:cubicBezTo>
                    <a:pt x="2550" y="988"/>
                    <a:pt x="2550" y="988"/>
                    <a:pt x="2550" y="988"/>
                  </a:cubicBezTo>
                  <a:cubicBezTo>
                    <a:pt x="2550" y="953"/>
                    <a:pt x="2550" y="953"/>
                    <a:pt x="2550" y="953"/>
                  </a:cubicBezTo>
                  <a:cubicBezTo>
                    <a:pt x="2597" y="953"/>
                    <a:pt x="2597" y="953"/>
                    <a:pt x="2597" y="953"/>
                  </a:cubicBezTo>
                  <a:lnTo>
                    <a:pt x="2597" y="988"/>
                  </a:lnTo>
                  <a:close/>
                  <a:moveTo>
                    <a:pt x="2556" y="842"/>
                  </a:moveTo>
                  <a:cubicBezTo>
                    <a:pt x="2556" y="825"/>
                    <a:pt x="2564" y="811"/>
                    <a:pt x="2577" y="811"/>
                  </a:cubicBezTo>
                  <a:cubicBezTo>
                    <a:pt x="2591" y="811"/>
                    <a:pt x="2599" y="825"/>
                    <a:pt x="2599" y="842"/>
                  </a:cubicBezTo>
                  <a:cubicBezTo>
                    <a:pt x="2584" y="842"/>
                    <a:pt x="2570" y="842"/>
                    <a:pt x="2556" y="842"/>
                  </a:cubicBezTo>
                  <a:close/>
                  <a:moveTo>
                    <a:pt x="2669" y="1205"/>
                  </a:moveTo>
                  <a:cubicBezTo>
                    <a:pt x="2621" y="1205"/>
                    <a:pt x="2621" y="1205"/>
                    <a:pt x="2621" y="1205"/>
                  </a:cubicBezTo>
                  <a:cubicBezTo>
                    <a:pt x="2621" y="1170"/>
                    <a:pt x="2621" y="1170"/>
                    <a:pt x="2621" y="1170"/>
                  </a:cubicBezTo>
                  <a:cubicBezTo>
                    <a:pt x="2669" y="1170"/>
                    <a:pt x="2669" y="1170"/>
                    <a:pt x="2669" y="1170"/>
                  </a:cubicBezTo>
                  <a:lnTo>
                    <a:pt x="2669" y="1205"/>
                  </a:lnTo>
                  <a:close/>
                  <a:moveTo>
                    <a:pt x="2669" y="1088"/>
                  </a:moveTo>
                  <a:cubicBezTo>
                    <a:pt x="2621" y="1088"/>
                    <a:pt x="2621" y="1088"/>
                    <a:pt x="2621" y="1088"/>
                  </a:cubicBezTo>
                  <a:cubicBezTo>
                    <a:pt x="2621" y="1053"/>
                    <a:pt x="2621" y="1053"/>
                    <a:pt x="2621" y="1053"/>
                  </a:cubicBezTo>
                  <a:cubicBezTo>
                    <a:pt x="2669" y="1053"/>
                    <a:pt x="2669" y="1053"/>
                    <a:pt x="2669" y="1053"/>
                  </a:cubicBezTo>
                  <a:lnTo>
                    <a:pt x="2669" y="1088"/>
                  </a:lnTo>
                  <a:close/>
                  <a:moveTo>
                    <a:pt x="2669" y="927"/>
                  </a:moveTo>
                  <a:cubicBezTo>
                    <a:pt x="2621" y="927"/>
                    <a:pt x="2621" y="927"/>
                    <a:pt x="2621" y="927"/>
                  </a:cubicBezTo>
                  <a:cubicBezTo>
                    <a:pt x="2621" y="892"/>
                    <a:pt x="2621" y="892"/>
                    <a:pt x="2621" y="892"/>
                  </a:cubicBezTo>
                  <a:cubicBezTo>
                    <a:pt x="2669" y="892"/>
                    <a:pt x="2669" y="892"/>
                    <a:pt x="2669" y="892"/>
                  </a:cubicBezTo>
                  <a:lnTo>
                    <a:pt x="2669" y="927"/>
                  </a:lnTo>
                  <a:close/>
                  <a:moveTo>
                    <a:pt x="2785" y="1068"/>
                  </a:moveTo>
                  <a:cubicBezTo>
                    <a:pt x="2732" y="1068"/>
                    <a:pt x="2732" y="1068"/>
                    <a:pt x="2732" y="1068"/>
                  </a:cubicBezTo>
                  <a:cubicBezTo>
                    <a:pt x="2732" y="1034"/>
                    <a:pt x="2732" y="1034"/>
                    <a:pt x="2732" y="1034"/>
                  </a:cubicBezTo>
                  <a:cubicBezTo>
                    <a:pt x="2785" y="1034"/>
                    <a:pt x="2785" y="1034"/>
                    <a:pt x="2785" y="1034"/>
                  </a:cubicBezTo>
                  <a:lnTo>
                    <a:pt x="2785" y="1068"/>
                  </a:lnTo>
                  <a:close/>
                  <a:moveTo>
                    <a:pt x="2942" y="1130"/>
                  </a:moveTo>
                  <a:cubicBezTo>
                    <a:pt x="2916" y="1130"/>
                    <a:pt x="2890" y="1130"/>
                    <a:pt x="2865" y="1130"/>
                  </a:cubicBezTo>
                  <a:cubicBezTo>
                    <a:pt x="2865" y="1114"/>
                    <a:pt x="2865" y="1097"/>
                    <a:pt x="2865" y="1081"/>
                  </a:cubicBezTo>
                  <a:cubicBezTo>
                    <a:pt x="2890" y="1081"/>
                    <a:pt x="2916" y="1081"/>
                    <a:pt x="2942" y="1081"/>
                  </a:cubicBezTo>
                  <a:cubicBezTo>
                    <a:pt x="2942" y="1097"/>
                    <a:pt x="2942" y="1114"/>
                    <a:pt x="2942" y="1130"/>
                  </a:cubicBezTo>
                  <a:close/>
                  <a:moveTo>
                    <a:pt x="2942" y="1052"/>
                  </a:moveTo>
                  <a:cubicBezTo>
                    <a:pt x="2916" y="1052"/>
                    <a:pt x="2890" y="1052"/>
                    <a:pt x="2865" y="1052"/>
                  </a:cubicBezTo>
                  <a:cubicBezTo>
                    <a:pt x="2865" y="1035"/>
                    <a:pt x="2865" y="1019"/>
                    <a:pt x="2865" y="1003"/>
                  </a:cubicBezTo>
                  <a:cubicBezTo>
                    <a:pt x="2890" y="1003"/>
                    <a:pt x="2916" y="1003"/>
                    <a:pt x="2942" y="1003"/>
                  </a:cubicBezTo>
                  <a:cubicBezTo>
                    <a:pt x="2942" y="1019"/>
                    <a:pt x="2942" y="1035"/>
                    <a:pt x="2942" y="1052"/>
                  </a:cubicBezTo>
                  <a:close/>
                  <a:moveTo>
                    <a:pt x="3120" y="1130"/>
                  </a:moveTo>
                  <a:cubicBezTo>
                    <a:pt x="3095" y="1130"/>
                    <a:pt x="3069" y="1130"/>
                    <a:pt x="3043" y="1130"/>
                  </a:cubicBezTo>
                  <a:cubicBezTo>
                    <a:pt x="3043" y="1114"/>
                    <a:pt x="3043" y="1097"/>
                    <a:pt x="3043" y="1081"/>
                  </a:cubicBezTo>
                  <a:cubicBezTo>
                    <a:pt x="3069" y="1081"/>
                    <a:pt x="3095" y="1081"/>
                    <a:pt x="3120" y="1081"/>
                  </a:cubicBezTo>
                  <a:cubicBezTo>
                    <a:pt x="3120" y="1097"/>
                    <a:pt x="3120" y="1114"/>
                    <a:pt x="3120" y="1130"/>
                  </a:cubicBezTo>
                  <a:close/>
                  <a:moveTo>
                    <a:pt x="3240" y="1161"/>
                  </a:moveTo>
                  <a:cubicBezTo>
                    <a:pt x="3222" y="1161"/>
                    <a:pt x="3204" y="1161"/>
                    <a:pt x="3186" y="1161"/>
                  </a:cubicBezTo>
                  <a:cubicBezTo>
                    <a:pt x="3186" y="1149"/>
                    <a:pt x="3186" y="1138"/>
                    <a:pt x="3186" y="1127"/>
                  </a:cubicBezTo>
                  <a:cubicBezTo>
                    <a:pt x="3204" y="1127"/>
                    <a:pt x="3222" y="1127"/>
                    <a:pt x="3240" y="1127"/>
                  </a:cubicBezTo>
                  <a:cubicBezTo>
                    <a:pt x="3240" y="1138"/>
                    <a:pt x="3240" y="1149"/>
                    <a:pt x="3240" y="1161"/>
                  </a:cubicBezTo>
                  <a:close/>
                  <a:moveTo>
                    <a:pt x="3240" y="1058"/>
                  </a:moveTo>
                  <a:cubicBezTo>
                    <a:pt x="3186" y="1058"/>
                    <a:pt x="3186" y="1058"/>
                    <a:pt x="3186" y="1058"/>
                  </a:cubicBezTo>
                  <a:cubicBezTo>
                    <a:pt x="3186" y="1024"/>
                    <a:pt x="3186" y="1024"/>
                    <a:pt x="3186" y="1024"/>
                  </a:cubicBezTo>
                  <a:cubicBezTo>
                    <a:pt x="3240" y="1024"/>
                    <a:pt x="3240" y="1024"/>
                    <a:pt x="3240" y="1024"/>
                  </a:cubicBezTo>
                  <a:lnTo>
                    <a:pt x="3240" y="1058"/>
                  </a:lnTo>
                  <a:close/>
                  <a:moveTo>
                    <a:pt x="3481" y="875"/>
                  </a:moveTo>
                  <a:cubicBezTo>
                    <a:pt x="3492" y="875"/>
                    <a:pt x="3503" y="875"/>
                    <a:pt x="3514" y="875"/>
                  </a:cubicBezTo>
                  <a:cubicBezTo>
                    <a:pt x="3514" y="883"/>
                    <a:pt x="3514" y="891"/>
                    <a:pt x="3514" y="899"/>
                  </a:cubicBezTo>
                  <a:cubicBezTo>
                    <a:pt x="3503" y="899"/>
                    <a:pt x="3492" y="899"/>
                    <a:pt x="3481" y="899"/>
                  </a:cubicBezTo>
                  <a:cubicBezTo>
                    <a:pt x="3481" y="891"/>
                    <a:pt x="3481" y="883"/>
                    <a:pt x="3481" y="875"/>
                  </a:cubicBezTo>
                  <a:close/>
                  <a:moveTo>
                    <a:pt x="3400" y="821"/>
                  </a:moveTo>
                  <a:cubicBezTo>
                    <a:pt x="3408" y="821"/>
                    <a:pt x="3416" y="821"/>
                    <a:pt x="3424" y="821"/>
                  </a:cubicBezTo>
                  <a:cubicBezTo>
                    <a:pt x="3424" y="827"/>
                    <a:pt x="3424" y="833"/>
                    <a:pt x="3424" y="839"/>
                  </a:cubicBezTo>
                  <a:cubicBezTo>
                    <a:pt x="3416" y="839"/>
                    <a:pt x="3408" y="839"/>
                    <a:pt x="3400" y="839"/>
                  </a:cubicBezTo>
                  <a:cubicBezTo>
                    <a:pt x="3400" y="833"/>
                    <a:pt x="3400" y="827"/>
                    <a:pt x="3400" y="821"/>
                  </a:cubicBezTo>
                  <a:close/>
                  <a:moveTo>
                    <a:pt x="3448" y="1057"/>
                  </a:moveTo>
                  <a:cubicBezTo>
                    <a:pt x="3448" y="1071"/>
                    <a:pt x="3448" y="1084"/>
                    <a:pt x="3448" y="1098"/>
                  </a:cubicBezTo>
                  <a:cubicBezTo>
                    <a:pt x="3426" y="1098"/>
                    <a:pt x="3404" y="1098"/>
                    <a:pt x="3381" y="1098"/>
                  </a:cubicBezTo>
                  <a:cubicBezTo>
                    <a:pt x="3381" y="1084"/>
                    <a:pt x="3381" y="1071"/>
                    <a:pt x="3381" y="1057"/>
                  </a:cubicBezTo>
                  <a:cubicBezTo>
                    <a:pt x="3404" y="1057"/>
                    <a:pt x="3426" y="1057"/>
                    <a:pt x="3448" y="1057"/>
                  </a:cubicBezTo>
                  <a:close/>
                  <a:moveTo>
                    <a:pt x="3370" y="875"/>
                  </a:moveTo>
                  <a:cubicBezTo>
                    <a:pt x="3381" y="875"/>
                    <a:pt x="3392" y="875"/>
                    <a:pt x="3403" y="875"/>
                  </a:cubicBezTo>
                  <a:cubicBezTo>
                    <a:pt x="3403" y="883"/>
                    <a:pt x="3403" y="891"/>
                    <a:pt x="3403" y="899"/>
                  </a:cubicBezTo>
                  <a:cubicBezTo>
                    <a:pt x="3392" y="899"/>
                    <a:pt x="3381" y="899"/>
                    <a:pt x="3370" y="899"/>
                  </a:cubicBezTo>
                  <a:cubicBezTo>
                    <a:pt x="3370" y="891"/>
                    <a:pt x="3370" y="883"/>
                    <a:pt x="3370" y="875"/>
                  </a:cubicBezTo>
                  <a:close/>
                  <a:moveTo>
                    <a:pt x="3315" y="875"/>
                  </a:moveTo>
                  <a:cubicBezTo>
                    <a:pt x="3326" y="875"/>
                    <a:pt x="3337" y="875"/>
                    <a:pt x="3348" y="875"/>
                  </a:cubicBezTo>
                  <a:cubicBezTo>
                    <a:pt x="3348" y="883"/>
                    <a:pt x="3348" y="891"/>
                    <a:pt x="3348" y="899"/>
                  </a:cubicBezTo>
                  <a:cubicBezTo>
                    <a:pt x="3337" y="899"/>
                    <a:pt x="3326" y="899"/>
                    <a:pt x="3315" y="899"/>
                  </a:cubicBezTo>
                  <a:cubicBezTo>
                    <a:pt x="3315" y="891"/>
                    <a:pt x="3315" y="883"/>
                    <a:pt x="3315" y="875"/>
                  </a:cubicBezTo>
                  <a:close/>
                  <a:moveTo>
                    <a:pt x="3291" y="998"/>
                  </a:moveTo>
                  <a:cubicBezTo>
                    <a:pt x="3313" y="998"/>
                    <a:pt x="3335" y="998"/>
                    <a:pt x="3357" y="998"/>
                  </a:cubicBezTo>
                  <a:cubicBezTo>
                    <a:pt x="3357" y="1011"/>
                    <a:pt x="3357" y="1025"/>
                    <a:pt x="3357" y="1039"/>
                  </a:cubicBezTo>
                  <a:cubicBezTo>
                    <a:pt x="3335" y="1039"/>
                    <a:pt x="3313" y="1039"/>
                    <a:pt x="3291" y="1039"/>
                  </a:cubicBezTo>
                  <a:cubicBezTo>
                    <a:pt x="3291" y="1025"/>
                    <a:pt x="3291" y="1011"/>
                    <a:pt x="3291" y="998"/>
                  </a:cubicBezTo>
                  <a:close/>
                  <a:moveTo>
                    <a:pt x="3290" y="1251"/>
                  </a:moveTo>
                  <a:cubicBezTo>
                    <a:pt x="3277" y="1251"/>
                    <a:pt x="3277" y="1251"/>
                    <a:pt x="3277" y="1251"/>
                  </a:cubicBezTo>
                  <a:cubicBezTo>
                    <a:pt x="3277" y="1170"/>
                    <a:pt x="3277" y="1170"/>
                    <a:pt x="3277" y="1170"/>
                  </a:cubicBezTo>
                  <a:cubicBezTo>
                    <a:pt x="3290" y="1170"/>
                    <a:pt x="3290" y="1170"/>
                    <a:pt x="3290" y="1170"/>
                  </a:cubicBezTo>
                  <a:lnTo>
                    <a:pt x="3290" y="1251"/>
                  </a:lnTo>
                  <a:close/>
                  <a:moveTo>
                    <a:pt x="3291" y="1157"/>
                  </a:moveTo>
                  <a:cubicBezTo>
                    <a:pt x="3291" y="1157"/>
                    <a:pt x="3291" y="1157"/>
                    <a:pt x="3291" y="1157"/>
                  </a:cubicBezTo>
                  <a:cubicBezTo>
                    <a:pt x="3272" y="1157"/>
                    <a:pt x="3272" y="1157"/>
                    <a:pt x="3272" y="1157"/>
                  </a:cubicBezTo>
                  <a:cubicBezTo>
                    <a:pt x="3272" y="1149"/>
                    <a:pt x="3272" y="1149"/>
                    <a:pt x="3272" y="1149"/>
                  </a:cubicBezTo>
                  <a:cubicBezTo>
                    <a:pt x="3291" y="1149"/>
                    <a:pt x="3291" y="1149"/>
                    <a:pt x="3291" y="1149"/>
                  </a:cubicBezTo>
                  <a:cubicBezTo>
                    <a:pt x="3291" y="1146"/>
                    <a:pt x="3291" y="1144"/>
                    <a:pt x="3291" y="1142"/>
                  </a:cubicBezTo>
                  <a:cubicBezTo>
                    <a:pt x="3272" y="1142"/>
                    <a:pt x="3272" y="1142"/>
                    <a:pt x="3272" y="1142"/>
                  </a:cubicBezTo>
                  <a:cubicBezTo>
                    <a:pt x="3272" y="1133"/>
                    <a:pt x="3272" y="1133"/>
                    <a:pt x="3272" y="1133"/>
                  </a:cubicBezTo>
                  <a:cubicBezTo>
                    <a:pt x="3291" y="1133"/>
                    <a:pt x="3291" y="1133"/>
                    <a:pt x="3291" y="1133"/>
                  </a:cubicBezTo>
                  <a:cubicBezTo>
                    <a:pt x="3291" y="1128"/>
                    <a:pt x="3291" y="1122"/>
                    <a:pt x="3291" y="1117"/>
                  </a:cubicBezTo>
                  <a:cubicBezTo>
                    <a:pt x="3313" y="1117"/>
                    <a:pt x="3335" y="1117"/>
                    <a:pt x="3357" y="1117"/>
                  </a:cubicBezTo>
                  <a:cubicBezTo>
                    <a:pt x="3357" y="1122"/>
                    <a:pt x="3357" y="1128"/>
                    <a:pt x="3357" y="1133"/>
                  </a:cubicBezTo>
                  <a:cubicBezTo>
                    <a:pt x="3395" y="1133"/>
                    <a:pt x="3395" y="1133"/>
                    <a:pt x="3395" y="1133"/>
                  </a:cubicBezTo>
                  <a:cubicBezTo>
                    <a:pt x="3395" y="1142"/>
                    <a:pt x="3395" y="1142"/>
                    <a:pt x="3395" y="1142"/>
                  </a:cubicBezTo>
                  <a:cubicBezTo>
                    <a:pt x="3357" y="1142"/>
                    <a:pt x="3357" y="1142"/>
                    <a:pt x="3357" y="1142"/>
                  </a:cubicBezTo>
                  <a:cubicBezTo>
                    <a:pt x="3357" y="1144"/>
                    <a:pt x="3357" y="1146"/>
                    <a:pt x="3357" y="1149"/>
                  </a:cubicBezTo>
                  <a:cubicBezTo>
                    <a:pt x="3395" y="1149"/>
                    <a:pt x="3395" y="1149"/>
                    <a:pt x="3395" y="1149"/>
                  </a:cubicBezTo>
                  <a:cubicBezTo>
                    <a:pt x="3395" y="1157"/>
                    <a:pt x="3395" y="1157"/>
                    <a:pt x="3395" y="1157"/>
                  </a:cubicBezTo>
                  <a:cubicBezTo>
                    <a:pt x="3357" y="1157"/>
                    <a:pt x="3357" y="1157"/>
                    <a:pt x="3357" y="1157"/>
                  </a:cubicBezTo>
                  <a:cubicBezTo>
                    <a:pt x="3357" y="1157"/>
                    <a:pt x="3357" y="1157"/>
                    <a:pt x="3357" y="1157"/>
                  </a:cubicBezTo>
                  <a:cubicBezTo>
                    <a:pt x="3335" y="1157"/>
                    <a:pt x="3313" y="1157"/>
                    <a:pt x="3291" y="1157"/>
                  </a:cubicBezTo>
                  <a:close/>
                  <a:moveTo>
                    <a:pt x="3448" y="1217"/>
                  </a:moveTo>
                  <a:cubicBezTo>
                    <a:pt x="3426" y="1217"/>
                    <a:pt x="3404" y="1217"/>
                    <a:pt x="3381" y="1217"/>
                  </a:cubicBezTo>
                  <a:cubicBezTo>
                    <a:pt x="3381" y="1203"/>
                    <a:pt x="3381" y="1190"/>
                    <a:pt x="3381" y="1176"/>
                  </a:cubicBezTo>
                  <a:cubicBezTo>
                    <a:pt x="3404" y="1176"/>
                    <a:pt x="3426" y="1176"/>
                    <a:pt x="3448" y="1176"/>
                  </a:cubicBezTo>
                  <a:cubicBezTo>
                    <a:pt x="3448" y="1190"/>
                    <a:pt x="3448" y="1203"/>
                    <a:pt x="3448" y="1217"/>
                  </a:cubicBezTo>
                  <a:close/>
                  <a:moveTo>
                    <a:pt x="3458" y="899"/>
                  </a:moveTo>
                  <a:cubicBezTo>
                    <a:pt x="3447" y="899"/>
                    <a:pt x="3436" y="899"/>
                    <a:pt x="3425" y="899"/>
                  </a:cubicBezTo>
                  <a:cubicBezTo>
                    <a:pt x="3425" y="891"/>
                    <a:pt x="3425" y="883"/>
                    <a:pt x="3425" y="875"/>
                  </a:cubicBezTo>
                  <a:cubicBezTo>
                    <a:pt x="3436" y="875"/>
                    <a:pt x="3447" y="875"/>
                    <a:pt x="3458" y="875"/>
                  </a:cubicBezTo>
                  <a:cubicBezTo>
                    <a:pt x="3458" y="883"/>
                    <a:pt x="3458" y="891"/>
                    <a:pt x="3458" y="899"/>
                  </a:cubicBezTo>
                  <a:close/>
                  <a:moveTo>
                    <a:pt x="3538" y="1039"/>
                  </a:moveTo>
                  <a:cubicBezTo>
                    <a:pt x="3516" y="1039"/>
                    <a:pt x="3494" y="1039"/>
                    <a:pt x="3472" y="1039"/>
                  </a:cubicBezTo>
                  <a:cubicBezTo>
                    <a:pt x="3472" y="1025"/>
                    <a:pt x="3472" y="1011"/>
                    <a:pt x="3472" y="998"/>
                  </a:cubicBezTo>
                  <a:cubicBezTo>
                    <a:pt x="3494" y="998"/>
                    <a:pt x="3516" y="998"/>
                    <a:pt x="3538" y="998"/>
                  </a:cubicBezTo>
                  <a:cubicBezTo>
                    <a:pt x="3538" y="1011"/>
                    <a:pt x="3538" y="1025"/>
                    <a:pt x="3538" y="1039"/>
                  </a:cubicBezTo>
                  <a:close/>
                  <a:moveTo>
                    <a:pt x="3621" y="1115"/>
                  </a:moveTo>
                  <a:cubicBezTo>
                    <a:pt x="3608" y="1115"/>
                    <a:pt x="3594" y="1115"/>
                    <a:pt x="3581" y="1115"/>
                  </a:cubicBezTo>
                  <a:cubicBezTo>
                    <a:pt x="3581" y="1105"/>
                    <a:pt x="3581" y="1095"/>
                    <a:pt x="3581" y="1085"/>
                  </a:cubicBezTo>
                  <a:cubicBezTo>
                    <a:pt x="3594" y="1085"/>
                    <a:pt x="3608" y="1085"/>
                    <a:pt x="3621" y="1085"/>
                  </a:cubicBezTo>
                  <a:cubicBezTo>
                    <a:pt x="3621" y="1095"/>
                    <a:pt x="3621" y="1105"/>
                    <a:pt x="3621" y="1115"/>
                  </a:cubicBezTo>
                  <a:close/>
                  <a:moveTo>
                    <a:pt x="3677" y="1217"/>
                  </a:moveTo>
                  <a:cubicBezTo>
                    <a:pt x="3636" y="1217"/>
                    <a:pt x="3636" y="1217"/>
                    <a:pt x="3636" y="1217"/>
                  </a:cubicBezTo>
                  <a:cubicBezTo>
                    <a:pt x="3636" y="1187"/>
                    <a:pt x="3636" y="1187"/>
                    <a:pt x="3636" y="1187"/>
                  </a:cubicBezTo>
                  <a:cubicBezTo>
                    <a:pt x="3677" y="1187"/>
                    <a:pt x="3677" y="1187"/>
                    <a:pt x="3677" y="1187"/>
                  </a:cubicBezTo>
                  <a:lnTo>
                    <a:pt x="3677" y="1217"/>
                  </a:lnTo>
                  <a:close/>
                  <a:moveTo>
                    <a:pt x="3677" y="1065"/>
                  </a:moveTo>
                  <a:cubicBezTo>
                    <a:pt x="3636" y="1065"/>
                    <a:pt x="3636" y="1065"/>
                    <a:pt x="3636" y="1065"/>
                  </a:cubicBezTo>
                  <a:cubicBezTo>
                    <a:pt x="3636" y="1035"/>
                    <a:pt x="3636" y="1035"/>
                    <a:pt x="3636" y="1035"/>
                  </a:cubicBezTo>
                  <a:cubicBezTo>
                    <a:pt x="3677" y="1035"/>
                    <a:pt x="3677" y="1035"/>
                    <a:pt x="3677" y="1035"/>
                  </a:cubicBezTo>
                  <a:lnTo>
                    <a:pt x="3677" y="1065"/>
                  </a:lnTo>
                  <a:close/>
                  <a:moveTo>
                    <a:pt x="3814" y="1154"/>
                  </a:moveTo>
                  <a:cubicBezTo>
                    <a:pt x="3793" y="1154"/>
                    <a:pt x="3772" y="1154"/>
                    <a:pt x="3750" y="1154"/>
                  </a:cubicBezTo>
                  <a:cubicBezTo>
                    <a:pt x="3750" y="1149"/>
                    <a:pt x="3750" y="1144"/>
                    <a:pt x="3750" y="1139"/>
                  </a:cubicBezTo>
                  <a:cubicBezTo>
                    <a:pt x="3772" y="1139"/>
                    <a:pt x="3793" y="1139"/>
                    <a:pt x="3814" y="1139"/>
                  </a:cubicBezTo>
                  <a:cubicBezTo>
                    <a:pt x="3814" y="1144"/>
                    <a:pt x="3814" y="1149"/>
                    <a:pt x="3814" y="1154"/>
                  </a:cubicBezTo>
                  <a:close/>
                  <a:moveTo>
                    <a:pt x="3814" y="1123"/>
                  </a:moveTo>
                  <a:cubicBezTo>
                    <a:pt x="3705" y="1123"/>
                    <a:pt x="3705" y="1123"/>
                    <a:pt x="3705" y="1123"/>
                  </a:cubicBezTo>
                  <a:cubicBezTo>
                    <a:pt x="3705" y="1108"/>
                    <a:pt x="3705" y="1108"/>
                    <a:pt x="3705" y="1108"/>
                  </a:cubicBezTo>
                  <a:cubicBezTo>
                    <a:pt x="3814" y="1108"/>
                    <a:pt x="3814" y="1108"/>
                    <a:pt x="3814" y="1108"/>
                  </a:cubicBezTo>
                  <a:lnTo>
                    <a:pt x="3814" y="1123"/>
                  </a:lnTo>
                  <a:close/>
                </a:path>
              </a:pathLst>
            </a:custGeom>
            <a:solidFill>
              <a:schemeClr val="accent2">
                <a:lumMod val="20000"/>
                <a:lumOff val="80000"/>
                <a:alpha val="6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129" name="Rectangle 128"/>
            <p:cNvSpPr/>
            <p:nvPr/>
          </p:nvSpPr>
          <p:spPr>
            <a:xfrm>
              <a:off x="8568031" y="4128319"/>
              <a:ext cx="574774" cy="59546"/>
            </a:xfrm>
            <a:prstGeom prst="rect">
              <a:avLst/>
            </a:prstGeom>
            <a:solidFill>
              <a:srgbClr val="6F8F3C"/>
            </a:solidFill>
            <a:ln w="9525">
              <a:noFill/>
              <a:round/>
              <a:headEnd/>
              <a:tailEnd/>
            </a:ln>
          </p:spPr>
          <p:txBody>
            <a:bodyPr vert="horz" wrap="square" lIns="91440" tIns="45720" rIns="91440" bIns="45720" numCol="1" anchor="t" anchorCtr="0" compatLnSpc="1">
              <a:prstTxWarp prst="textNoShape">
                <a:avLst/>
              </a:prstTxWarp>
            </a:bodyPr>
            <a:lstStyle/>
            <a:p>
              <a:endParaRPr lang="en-US" sz="900" dirty="0" smtClean="0">
                <a:solidFill>
                  <a:schemeClr val="tx1"/>
                </a:solidFill>
                <a:latin typeface="+mj-lt"/>
                <a:ea typeface="ＭＳ Ｐゴシック" pitchFamily="34" charset="-128"/>
              </a:endParaRPr>
            </a:p>
          </p:txBody>
        </p:sp>
        <p:grpSp>
          <p:nvGrpSpPr>
            <p:cNvPr id="130" name="Group 300"/>
            <p:cNvGrpSpPr/>
            <p:nvPr/>
          </p:nvGrpSpPr>
          <p:grpSpPr>
            <a:xfrm>
              <a:off x="4351495" y="3151870"/>
              <a:ext cx="4267144" cy="1035995"/>
              <a:chOff x="4351495" y="3151870"/>
              <a:chExt cx="4267144" cy="1035995"/>
            </a:xfrm>
          </p:grpSpPr>
          <p:sp>
            <p:nvSpPr>
              <p:cNvPr id="159" name="Freeform 29"/>
              <p:cNvSpPr>
                <a:spLocks noEditPoints="1"/>
              </p:cNvSpPr>
              <p:nvPr/>
            </p:nvSpPr>
            <p:spPr bwMode="auto">
              <a:xfrm>
                <a:off x="4742807" y="3473039"/>
                <a:ext cx="208128" cy="71482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solidFill>
                <a:schemeClr val="accent6">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160" name="Group 28"/>
              <p:cNvGrpSpPr/>
              <p:nvPr/>
            </p:nvGrpSpPr>
            <p:grpSpPr>
              <a:xfrm>
                <a:off x="4611308" y="3779759"/>
                <a:ext cx="171727" cy="408106"/>
                <a:chOff x="1790700" y="2979738"/>
                <a:chExt cx="539750" cy="1282700"/>
              </a:xfrm>
            </p:grpSpPr>
            <p:sp>
              <p:nvSpPr>
                <p:cNvPr id="183" name="Rectangle 23"/>
                <p:cNvSpPr>
                  <a:spLocks noChangeArrowheads="1"/>
                </p:cNvSpPr>
                <p:nvPr/>
              </p:nvSpPr>
              <p:spPr bwMode="auto">
                <a:xfrm>
                  <a:off x="1790700" y="2986088"/>
                  <a:ext cx="525463" cy="12763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84"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solidFill>
                  <a:schemeClr val="accent1">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161" name="Group 58"/>
              <p:cNvGrpSpPr/>
              <p:nvPr/>
            </p:nvGrpSpPr>
            <p:grpSpPr>
              <a:xfrm>
                <a:off x="4351495" y="3551470"/>
                <a:ext cx="286085" cy="636395"/>
                <a:chOff x="50589" y="3098960"/>
                <a:chExt cx="550863" cy="1225389"/>
              </a:xfrm>
            </p:grpSpPr>
            <p:sp>
              <p:nvSpPr>
                <p:cNvPr id="181"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solidFill>
                  <a:schemeClr val="accent4">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82"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162" name="Group 56"/>
              <p:cNvGrpSpPr/>
              <p:nvPr/>
            </p:nvGrpSpPr>
            <p:grpSpPr>
              <a:xfrm>
                <a:off x="4912233" y="3769867"/>
                <a:ext cx="1634068" cy="417998"/>
                <a:chOff x="1130300" y="3522663"/>
                <a:chExt cx="3146425" cy="804862"/>
              </a:xfrm>
            </p:grpSpPr>
            <p:sp>
              <p:nvSpPr>
                <p:cNvPr id="179"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solidFill>
                  <a:srgbClr val="8DB54C"/>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80"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solidFill>
                  <a:srgbClr val="049FD9"/>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163" name="Group 55"/>
              <p:cNvGrpSpPr/>
              <p:nvPr/>
            </p:nvGrpSpPr>
            <p:grpSpPr>
              <a:xfrm>
                <a:off x="6493052" y="3787180"/>
                <a:ext cx="646636" cy="400684"/>
                <a:chOff x="4127500" y="2292350"/>
                <a:chExt cx="889000" cy="550863"/>
              </a:xfrm>
            </p:grpSpPr>
            <p:sp>
              <p:nvSpPr>
                <p:cNvPr id="175"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solidFill>
                  <a:srgbClr val="63656A"/>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6"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solidFill>
                  <a:srgbClr val="C6C7C9"/>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7"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solidFill>
                  <a:srgbClr val="9D9DA1"/>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8"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solidFill>
                  <a:srgbClr val="E8EBF0"/>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sp>
            <p:nvSpPr>
              <p:cNvPr id="164" name="Freeform 70"/>
              <p:cNvSpPr>
                <a:spLocks noEditPoints="1"/>
              </p:cNvSpPr>
              <p:nvPr/>
            </p:nvSpPr>
            <p:spPr bwMode="auto">
              <a:xfrm>
                <a:off x="7992084" y="3304916"/>
                <a:ext cx="251948" cy="882947"/>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solidFill>
                <a:schemeClr val="accent4">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165" name="Group 89"/>
              <p:cNvGrpSpPr/>
              <p:nvPr/>
            </p:nvGrpSpPr>
            <p:grpSpPr>
              <a:xfrm>
                <a:off x="7139689" y="3556518"/>
                <a:ext cx="878259" cy="631346"/>
                <a:chOff x="5820057" y="3111857"/>
                <a:chExt cx="1691103" cy="1215668"/>
              </a:xfrm>
            </p:grpSpPr>
            <p:grpSp>
              <p:nvGrpSpPr>
                <p:cNvPr id="169" name="Group 81"/>
                <p:cNvGrpSpPr/>
                <p:nvPr/>
              </p:nvGrpSpPr>
              <p:grpSpPr>
                <a:xfrm>
                  <a:off x="5850148" y="3367629"/>
                  <a:ext cx="1642959" cy="959896"/>
                  <a:chOff x="9172575" y="1344613"/>
                  <a:chExt cx="1733551" cy="1012825"/>
                </a:xfrm>
                <a:solidFill>
                  <a:schemeClr val="bg1"/>
                </a:solidFill>
              </p:grpSpPr>
              <p:sp>
                <p:nvSpPr>
                  <p:cNvPr id="171" name="Rectangle 170"/>
                  <p:cNvSpPr/>
                  <p:nvPr/>
                </p:nvSpPr>
                <p:spPr>
                  <a:xfrm>
                    <a:off x="9527381" y="1344613"/>
                    <a:ext cx="1226344" cy="32702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latin typeface="+mj-lt"/>
                    </a:endParaRPr>
                  </a:p>
                </p:txBody>
              </p:sp>
              <p:grpSp>
                <p:nvGrpSpPr>
                  <p:cNvPr id="172" name="Group 79"/>
                  <p:cNvGrpSpPr/>
                  <p:nvPr/>
                </p:nvGrpSpPr>
                <p:grpSpPr>
                  <a:xfrm>
                    <a:off x="9172575" y="1344613"/>
                    <a:ext cx="1733551" cy="1012825"/>
                    <a:chOff x="9172575" y="1344613"/>
                    <a:chExt cx="1733551" cy="1012825"/>
                  </a:xfrm>
                  <a:grpFill/>
                </p:grpSpPr>
                <p:sp>
                  <p:nvSpPr>
                    <p:cNvPr id="173"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4" name="Rectangle 173"/>
                    <p:cNvSpPr/>
                    <p:nvPr/>
                  </p:nvSpPr>
                  <p:spPr>
                    <a:xfrm>
                      <a:off x="9172575" y="1985963"/>
                      <a:ext cx="1454944" cy="37147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latin typeface="+mj-lt"/>
                      </a:endParaRPr>
                    </a:p>
                  </p:txBody>
                </p:sp>
              </p:grpSp>
            </p:grpSp>
            <p:sp>
              <p:nvSpPr>
                <p:cNvPr id="170"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166" name="Group 223"/>
              <p:cNvGrpSpPr/>
              <p:nvPr/>
            </p:nvGrpSpPr>
            <p:grpSpPr>
              <a:xfrm>
                <a:off x="8245399" y="3151870"/>
                <a:ext cx="373240" cy="1035678"/>
                <a:chOff x="7291388" y="2198688"/>
                <a:chExt cx="655637" cy="1819275"/>
              </a:xfrm>
            </p:grpSpPr>
            <p:sp>
              <p:nvSpPr>
                <p:cNvPr id="167"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solidFill>
                  <a:srgbClr val="14A792"/>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68"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solidFill>
                  <a:srgbClr val="22C6AA"/>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131" name="Group 301"/>
            <p:cNvGrpSpPr/>
            <p:nvPr/>
          </p:nvGrpSpPr>
          <p:grpSpPr>
            <a:xfrm>
              <a:off x="4351495" y="3151870"/>
              <a:ext cx="4267144" cy="1035995"/>
              <a:chOff x="4351495" y="3151870"/>
              <a:chExt cx="4267144" cy="1035995"/>
            </a:xfrm>
          </p:grpSpPr>
          <p:sp>
            <p:nvSpPr>
              <p:cNvPr id="133" name="Freeform 29"/>
              <p:cNvSpPr>
                <a:spLocks noEditPoints="1"/>
              </p:cNvSpPr>
              <p:nvPr/>
            </p:nvSpPr>
            <p:spPr bwMode="auto">
              <a:xfrm>
                <a:off x="4742807" y="3473039"/>
                <a:ext cx="208128" cy="71482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nvGrpSpPr>
              <p:cNvPr id="134" name="Group 28"/>
              <p:cNvGrpSpPr/>
              <p:nvPr/>
            </p:nvGrpSpPr>
            <p:grpSpPr>
              <a:xfrm>
                <a:off x="4611308" y="3779759"/>
                <a:ext cx="171727" cy="408106"/>
                <a:chOff x="1790700" y="2979738"/>
                <a:chExt cx="539750" cy="1282700"/>
              </a:xfrm>
            </p:grpSpPr>
            <p:sp>
              <p:nvSpPr>
                <p:cNvPr id="157" name="Rectangle 23"/>
                <p:cNvSpPr>
                  <a:spLocks noChangeArrowheads="1"/>
                </p:cNvSpPr>
                <p:nvPr/>
              </p:nvSpPr>
              <p:spPr bwMode="auto">
                <a:xfrm>
                  <a:off x="1790700" y="2986088"/>
                  <a:ext cx="525463" cy="1276350"/>
                </a:xfrm>
                <a:prstGeom prst="rect">
                  <a:avLst/>
                </a:pr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158"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grpSp>
            <p:nvGrpSpPr>
              <p:cNvPr id="135" name="Group 58"/>
              <p:cNvGrpSpPr/>
              <p:nvPr/>
            </p:nvGrpSpPr>
            <p:grpSpPr>
              <a:xfrm>
                <a:off x="4351495" y="3551470"/>
                <a:ext cx="286085" cy="636395"/>
                <a:chOff x="50589" y="3098960"/>
                <a:chExt cx="550863" cy="1225389"/>
              </a:xfrm>
            </p:grpSpPr>
            <p:sp>
              <p:nvSpPr>
                <p:cNvPr id="155"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156"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grpSp>
            <p:nvGrpSpPr>
              <p:cNvPr id="136" name="Group 56"/>
              <p:cNvGrpSpPr/>
              <p:nvPr/>
            </p:nvGrpSpPr>
            <p:grpSpPr>
              <a:xfrm>
                <a:off x="4912233" y="3769867"/>
                <a:ext cx="1634068" cy="417998"/>
                <a:chOff x="1130300" y="3522663"/>
                <a:chExt cx="3146425" cy="804862"/>
              </a:xfrm>
            </p:grpSpPr>
            <p:sp>
              <p:nvSpPr>
                <p:cNvPr id="153"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154"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grpSp>
            <p:nvGrpSpPr>
              <p:cNvPr id="137" name="Group 55"/>
              <p:cNvGrpSpPr/>
              <p:nvPr/>
            </p:nvGrpSpPr>
            <p:grpSpPr>
              <a:xfrm>
                <a:off x="6493052" y="3787180"/>
                <a:ext cx="646636" cy="400684"/>
                <a:chOff x="4127500" y="2292350"/>
                <a:chExt cx="889000" cy="550863"/>
              </a:xfrm>
            </p:grpSpPr>
            <p:sp>
              <p:nvSpPr>
                <p:cNvPr id="149"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150"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151"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152"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sp>
            <p:nvSpPr>
              <p:cNvPr id="138" name="Freeform 70"/>
              <p:cNvSpPr>
                <a:spLocks noEditPoints="1"/>
              </p:cNvSpPr>
              <p:nvPr/>
            </p:nvSpPr>
            <p:spPr bwMode="auto">
              <a:xfrm>
                <a:off x="7992084" y="3304916"/>
                <a:ext cx="251948" cy="882947"/>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nvGrpSpPr>
              <p:cNvPr id="139" name="Group 89"/>
              <p:cNvGrpSpPr/>
              <p:nvPr/>
            </p:nvGrpSpPr>
            <p:grpSpPr>
              <a:xfrm>
                <a:off x="7139689" y="3556518"/>
                <a:ext cx="878259" cy="631346"/>
                <a:chOff x="5820057" y="3111857"/>
                <a:chExt cx="1691103" cy="1215668"/>
              </a:xfrm>
            </p:grpSpPr>
            <p:grpSp>
              <p:nvGrpSpPr>
                <p:cNvPr id="143" name="Group 81"/>
                <p:cNvGrpSpPr/>
                <p:nvPr/>
              </p:nvGrpSpPr>
              <p:grpSpPr>
                <a:xfrm>
                  <a:off x="5850148" y="3367629"/>
                  <a:ext cx="1642959" cy="959896"/>
                  <a:chOff x="9172575" y="1344613"/>
                  <a:chExt cx="1733551" cy="1012825"/>
                </a:xfrm>
                <a:solidFill>
                  <a:schemeClr val="bg1"/>
                </a:solidFill>
              </p:grpSpPr>
              <p:sp>
                <p:nvSpPr>
                  <p:cNvPr id="145" name="Rectangle 144"/>
                  <p:cNvSpPr/>
                  <p:nvPr/>
                </p:nvSpPr>
                <p:spPr>
                  <a:xfrm>
                    <a:off x="9527381" y="1344613"/>
                    <a:ext cx="1226344" cy="327025"/>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spc="-30" dirty="0" smtClean="0">
                      <a:solidFill>
                        <a:schemeClr val="bg1"/>
                      </a:solidFill>
                      <a:latin typeface="+mj-lt"/>
                      <a:ea typeface="ＭＳ Ｐゴシック" pitchFamily="34" charset="-128"/>
                    </a:endParaRPr>
                  </a:p>
                </p:txBody>
              </p:sp>
              <p:grpSp>
                <p:nvGrpSpPr>
                  <p:cNvPr id="146" name="Group 79"/>
                  <p:cNvGrpSpPr/>
                  <p:nvPr/>
                </p:nvGrpSpPr>
                <p:grpSpPr>
                  <a:xfrm>
                    <a:off x="9172575" y="1344613"/>
                    <a:ext cx="1733551" cy="1012825"/>
                    <a:chOff x="9172575" y="1344613"/>
                    <a:chExt cx="1733551" cy="1012825"/>
                  </a:xfrm>
                  <a:grpFill/>
                </p:grpSpPr>
                <p:sp>
                  <p:nvSpPr>
                    <p:cNvPr id="147"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148" name="Rectangle 147"/>
                    <p:cNvSpPr/>
                    <p:nvPr/>
                  </p:nvSpPr>
                  <p:spPr>
                    <a:xfrm>
                      <a:off x="9172575" y="1985963"/>
                      <a:ext cx="1454944" cy="371475"/>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spc="-30" dirty="0" smtClean="0">
                        <a:solidFill>
                          <a:schemeClr val="bg1"/>
                        </a:solidFill>
                        <a:latin typeface="+mj-lt"/>
                        <a:ea typeface="ＭＳ Ｐゴシック" pitchFamily="34" charset="-128"/>
                      </a:endParaRPr>
                    </a:p>
                  </p:txBody>
                </p:sp>
              </p:grpSp>
            </p:grpSp>
            <p:sp>
              <p:nvSpPr>
                <p:cNvPr id="144"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grpSp>
            <p:nvGrpSpPr>
              <p:cNvPr id="140" name="Group 223"/>
              <p:cNvGrpSpPr/>
              <p:nvPr/>
            </p:nvGrpSpPr>
            <p:grpSpPr>
              <a:xfrm>
                <a:off x="8245399" y="3151870"/>
                <a:ext cx="373240" cy="1035678"/>
                <a:chOff x="7291388" y="2198688"/>
                <a:chExt cx="655637" cy="1819275"/>
              </a:xfrm>
            </p:grpSpPr>
            <p:sp>
              <p:nvSpPr>
                <p:cNvPr id="141"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dirty="0" smtClean="0">
                    <a:solidFill>
                      <a:schemeClr val="bg1"/>
                    </a:solidFill>
                    <a:latin typeface="+mj-lt"/>
                  </a:endParaRPr>
                </a:p>
              </p:txBody>
            </p:sp>
            <p:sp>
              <p:nvSpPr>
                <p:cNvPr id="142"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dirty="0" smtClean="0">
                    <a:solidFill>
                      <a:schemeClr val="bg1"/>
                    </a:solidFill>
                    <a:latin typeface="+mj-lt"/>
                  </a:endParaRPr>
                </a:p>
              </p:txBody>
            </p:sp>
          </p:grpSp>
        </p:grpSp>
        <p:sp>
          <p:nvSpPr>
            <p:cNvPr id="132" name="Rectangle 131"/>
            <p:cNvSpPr/>
            <p:nvPr/>
          </p:nvSpPr>
          <p:spPr>
            <a:xfrm>
              <a:off x="8568031" y="4128319"/>
              <a:ext cx="574774" cy="59546"/>
            </a:xfrm>
            <a:prstGeom prst="rect">
              <a:avLst/>
            </a:pr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dirty="0" smtClean="0">
                <a:solidFill>
                  <a:schemeClr val="bg1"/>
                </a:solidFill>
                <a:latin typeface="+mj-lt"/>
              </a:endParaRPr>
            </a:p>
          </p:txBody>
        </p:sp>
      </p:grpSp>
      <p:sp>
        <p:nvSpPr>
          <p:cNvPr id="185" name="Oval 2"/>
          <p:cNvSpPr/>
          <p:nvPr/>
        </p:nvSpPr>
        <p:spPr>
          <a:xfrm>
            <a:off x="4237864" y="3707334"/>
            <a:ext cx="951835" cy="480530"/>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6" name="Oval 2"/>
          <p:cNvSpPr/>
          <p:nvPr/>
        </p:nvSpPr>
        <p:spPr>
          <a:xfrm>
            <a:off x="5601117" y="2817490"/>
            <a:ext cx="3156579" cy="1370374"/>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7" name="Oval 2"/>
          <p:cNvSpPr/>
          <p:nvPr/>
        </p:nvSpPr>
        <p:spPr>
          <a:xfrm>
            <a:off x="4726232" y="3356765"/>
            <a:ext cx="1646243" cy="831099"/>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8" name="Oval 2"/>
          <p:cNvSpPr/>
          <p:nvPr/>
        </p:nvSpPr>
        <p:spPr>
          <a:xfrm>
            <a:off x="7497123" y="3750631"/>
            <a:ext cx="866072" cy="437233"/>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9" name="Oval 2"/>
          <p:cNvSpPr/>
          <p:nvPr/>
        </p:nvSpPr>
        <p:spPr>
          <a:xfrm>
            <a:off x="8370996" y="3840534"/>
            <a:ext cx="687990" cy="347329"/>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01" name="Group 359"/>
          <p:cNvGrpSpPr/>
          <p:nvPr/>
        </p:nvGrpSpPr>
        <p:grpSpPr>
          <a:xfrm>
            <a:off x="6316177" y="3458023"/>
            <a:ext cx="292608" cy="292608"/>
            <a:chOff x="6309991" y="3586785"/>
            <a:chExt cx="292608" cy="292608"/>
          </a:xfrm>
        </p:grpSpPr>
        <p:sp>
          <p:nvSpPr>
            <p:cNvPr id="202" name="Oval 201"/>
            <p:cNvSpPr/>
            <p:nvPr/>
          </p:nvSpPr>
          <p:spPr>
            <a:xfrm>
              <a:off x="6309991" y="3586785"/>
              <a:ext cx="292608" cy="292608"/>
            </a:xfrm>
            <a:prstGeom prst="ellipse">
              <a:avLst/>
            </a:prstGeom>
            <a:solidFill>
              <a:schemeClr val="bg2">
                <a:lumMod val="75000"/>
              </a:schemeClr>
            </a:solidFill>
            <a:ln w="952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03" name="Freeform 6"/>
            <p:cNvSpPr>
              <a:spLocks noEditPoints="1"/>
            </p:cNvSpPr>
            <p:nvPr/>
          </p:nvSpPr>
          <p:spPr bwMode="auto">
            <a:xfrm>
              <a:off x="6346601" y="3649137"/>
              <a:ext cx="196761" cy="150586"/>
            </a:xfrm>
            <a:custGeom>
              <a:avLst/>
              <a:gdLst/>
              <a:ahLst/>
              <a:cxnLst>
                <a:cxn ang="0">
                  <a:pos x="1949" y="744"/>
                </a:cxn>
                <a:cxn ang="0">
                  <a:pos x="1846" y="1024"/>
                </a:cxn>
                <a:cxn ang="0">
                  <a:pos x="1232" y="956"/>
                </a:cxn>
                <a:cxn ang="0">
                  <a:pos x="1090" y="834"/>
                </a:cxn>
                <a:cxn ang="0">
                  <a:pos x="1488" y="389"/>
                </a:cxn>
                <a:cxn ang="0">
                  <a:pos x="1300" y="194"/>
                </a:cxn>
                <a:cxn ang="0">
                  <a:pos x="1119" y="10"/>
                </a:cxn>
                <a:cxn ang="0">
                  <a:pos x="1071" y="10"/>
                </a:cxn>
                <a:cxn ang="0">
                  <a:pos x="88" y="983"/>
                </a:cxn>
                <a:cxn ang="0">
                  <a:pos x="122" y="1031"/>
                </a:cxn>
                <a:cxn ang="0">
                  <a:pos x="44" y="1123"/>
                </a:cxn>
                <a:cxn ang="0">
                  <a:pos x="80" y="1172"/>
                </a:cxn>
                <a:cxn ang="0">
                  <a:pos x="13" y="1287"/>
                </a:cxn>
                <a:cxn ang="0">
                  <a:pos x="232" y="1492"/>
                </a:cxn>
                <a:cxn ang="0">
                  <a:pos x="320" y="1413"/>
                </a:cxn>
                <a:cxn ang="0">
                  <a:pos x="368" y="1447"/>
                </a:cxn>
                <a:cxn ang="0">
                  <a:pos x="460" y="1369"/>
                </a:cxn>
                <a:cxn ang="0">
                  <a:pos x="508" y="1403"/>
                </a:cxn>
                <a:cxn ang="0">
                  <a:pos x="899" y="1026"/>
                </a:cxn>
                <a:cxn ang="0">
                  <a:pos x="1027" y="1160"/>
                </a:cxn>
                <a:cxn ang="0">
                  <a:pos x="1384" y="1297"/>
                </a:cxn>
                <a:cxn ang="0">
                  <a:pos x="1846" y="1468"/>
                </a:cxn>
                <a:cxn ang="0">
                  <a:pos x="2017" y="1570"/>
                </a:cxn>
                <a:cxn ang="0">
                  <a:pos x="2051" y="778"/>
                </a:cxn>
                <a:cxn ang="0">
                  <a:pos x="228" y="1406"/>
                </a:cxn>
                <a:cxn ang="0">
                  <a:pos x="129" y="1222"/>
                </a:cxn>
                <a:cxn ang="0">
                  <a:pos x="228" y="1406"/>
                </a:cxn>
                <a:cxn ang="0">
                  <a:pos x="249" y="1244"/>
                </a:cxn>
                <a:cxn ang="0">
                  <a:pos x="150" y="1144"/>
                </a:cxn>
                <a:cxn ang="0">
                  <a:pos x="170" y="1079"/>
                </a:cxn>
                <a:cxn ang="0">
                  <a:pos x="368" y="1365"/>
                </a:cxn>
                <a:cxn ang="0">
                  <a:pos x="484" y="1297"/>
                </a:cxn>
                <a:cxn ang="0">
                  <a:pos x="170" y="983"/>
                </a:cxn>
                <a:cxn ang="0">
                  <a:pos x="1228" y="219"/>
                </a:cxn>
                <a:cxn ang="0">
                  <a:pos x="1153" y="341"/>
                </a:cxn>
                <a:cxn ang="0">
                  <a:pos x="1201" y="341"/>
                </a:cxn>
                <a:cxn ang="0">
                  <a:pos x="1322" y="316"/>
                </a:cxn>
                <a:cxn ang="0">
                  <a:pos x="1201" y="485"/>
                </a:cxn>
                <a:cxn ang="0">
                  <a:pos x="1249" y="485"/>
                </a:cxn>
                <a:cxn ang="0">
                  <a:pos x="1416" y="413"/>
                </a:cxn>
                <a:cxn ang="0">
                  <a:pos x="1045" y="1076"/>
                </a:cxn>
                <a:cxn ang="0">
                  <a:pos x="1044" y="884"/>
                </a:cxn>
                <a:cxn ang="0">
                  <a:pos x="1045" y="1076"/>
                </a:cxn>
                <a:cxn ang="0">
                  <a:pos x="1368" y="1167"/>
                </a:cxn>
                <a:cxn ang="0">
                  <a:pos x="1368" y="1173"/>
                </a:cxn>
                <a:cxn ang="0">
                  <a:pos x="1367" y="1179"/>
                </a:cxn>
                <a:cxn ang="0">
                  <a:pos x="1366" y="1184"/>
                </a:cxn>
                <a:cxn ang="0">
                  <a:pos x="1232" y="1297"/>
                </a:cxn>
                <a:cxn ang="0">
                  <a:pos x="1175" y="1036"/>
                </a:cxn>
                <a:cxn ang="0">
                  <a:pos x="1210" y="1026"/>
                </a:cxn>
                <a:cxn ang="0">
                  <a:pos x="1345" y="1084"/>
                </a:cxn>
                <a:cxn ang="0">
                  <a:pos x="1367" y="1139"/>
                </a:cxn>
                <a:cxn ang="0">
                  <a:pos x="1367" y="1145"/>
                </a:cxn>
                <a:cxn ang="0">
                  <a:pos x="1368" y="1152"/>
                </a:cxn>
                <a:cxn ang="0">
                  <a:pos x="1368" y="1160"/>
                </a:cxn>
                <a:cxn ang="0">
                  <a:pos x="1846" y="1229"/>
                </a:cxn>
                <a:cxn ang="0">
                  <a:pos x="1440" y="1160"/>
                </a:cxn>
                <a:cxn ang="0">
                  <a:pos x="1846" y="1092"/>
                </a:cxn>
                <a:cxn ang="0">
                  <a:pos x="1983" y="1502"/>
                </a:cxn>
                <a:cxn ang="0">
                  <a:pos x="1914" y="1468"/>
                </a:cxn>
                <a:cxn ang="0">
                  <a:pos x="1949" y="812"/>
                </a:cxn>
                <a:cxn ang="0">
                  <a:pos x="1983" y="1502"/>
                </a:cxn>
              </a:cxnLst>
              <a:rect l="0" t="0" r="r" b="b"/>
              <a:pathLst>
                <a:path w="2051" h="1570">
                  <a:moveTo>
                    <a:pt x="2017" y="744"/>
                  </a:moveTo>
                  <a:cubicBezTo>
                    <a:pt x="1949" y="744"/>
                    <a:pt x="1949" y="744"/>
                    <a:pt x="1949" y="744"/>
                  </a:cubicBezTo>
                  <a:cubicBezTo>
                    <a:pt x="1891" y="744"/>
                    <a:pt x="1846" y="788"/>
                    <a:pt x="1846" y="846"/>
                  </a:cubicBezTo>
                  <a:cubicBezTo>
                    <a:pt x="1846" y="1024"/>
                    <a:pt x="1846" y="1024"/>
                    <a:pt x="1846" y="1024"/>
                  </a:cubicBezTo>
                  <a:cubicBezTo>
                    <a:pt x="1384" y="1024"/>
                    <a:pt x="1384" y="1024"/>
                    <a:pt x="1384" y="1024"/>
                  </a:cubicBezTo>
                  <a:cubicBezTo>
                    <a:pt x="1347" y="982"/>
                    <a:pt x="1292" y="956"/>
                    <a:pt x="1232" y="956"/>
                  </a:cubicBezTo>
                  <a:cubicBezTo>
                    <a:pt x="1225" y="956"/>
                    <a:pt x="1219" y="956"/>
                    <a:pt x="1212" y="957"/>
                  </a:cubicBezTo>
                  <a:cubicBezTo>
                    <a:pt x="1090" y="834"/>
                    <a:pt x="1090" y="834"/>
                    <a:pt x="1090" y="834"/>
                  </a:cubicBezTo>
                  <a:cubicBezTo>
                    <a:pt x="1488" y="437"/>
                    <a:pt x="1488" y="437"/>
                    <a:pt x="1488" y="437"/>
                  </a:cubicBezTo>
                  <a:cubicBezTo>
                    <a:pt x="1501" y="423"/>
                    <a:pt x="1501" y="403"/>
                    <a:pt x="1488" y="389"/>
                  </a:cubicBezTo>
                  <a:cubicBezTo>
                    <a:pt x="1306" y="202"/>
                    <a:pt x="1306" y="202"/>
                    <a:pt x="1306" y="202"/>
                  </a:cubicBezTo>
                  <a:cubicBezTo>
                    <a:pt x="1304" y="199"/>
                    <a:pt x="1302" y="197"/>
                    <a:pt x="1300" y="194"/>
                  </a:cubicBezTo>
                  <a:cubicBezTo>
                    <a:pt x="1298" y="192"/>
                    <a:pt x="1296" y="191"/>
                    <a:pt x="1293" y="189"/>
                  </a:cubicBezTo>
                  <a:cubicBezTo>
                    <a:pt x="1119" y="10"/>
                    <a:pt x="1119" y="10"/>
                    <a:pt x="1119" y="10"/>
                  </a:cubicBezTo>
                  <a:cubicBezTo>
                    <a:pt x="1112" y="3"/>
                    <a:pt x="1106" y="0"/>
                    <a:pt x="1095" y="0"/>
                  </a:cubicBezTo>
                  <a:cubicBezTo>
                    <a:pt x="1085" y="0"/>
                    <a:pt x="1078" y="3"/>
                    <a:pt x="1071" y="10"/>
                  </a:cubicBezTo>
                  <a:cubicBezTo>
                    <a:pt x="99" y="959"/>
                    <a:pt x="99" y="959"/>
                    <a:pt x="99" y="959"/>
                  </a:cubicBezTo>
                  <a:cubicBezTo>
                    <a:pt x="92" y="966"/>
                    <a:pt x="88" y="973"/>
                    <a:pt x="88" y="983"/>
                  </a:cubicBezTo>
                  <a:cubicBezTo>
                    <a:pt x="88" y="993"/>
                    <a:pt x="92" y="1000"/>
                    <a:pt x="99" y="1007"/>
                  </a:cubicBezTo>
                  <a:cubicBezTo>
                    <a:pt x="122" y="1031"/>
                    <a:pt x="122" y="1031"/>
                    <a:pt x="122" y="1031"/>
                  </a:cubicBezTo>
                  <a:cubicBezTo>
                    <a:pt x="54" y="1099"/>
                    <a:pt x="54" y="1099"/>
                    <a:pt x="54" y="1099"/>
                  </a:cubicBezTo>
                  <a:cubicBezTo>
                    <a:pt x="47" y="1106"/>
                    <a:pt x="44" y="1113"/>
                    <a:pt x="44" y="1123"/>
                  </a:cubicBezTo>
                  <a:cubicBezTo>
                    <a:pt x="44" y="1133"/>
                    <a:pt x="47" y="1140"/>
                    <a:pt x="54" y="1147"/>
                  </a:cubicBezTo>
                  <a:cubicBezTo>
                    <a:pt x="80" y="1172"/>
                    <a:pt x="80" y="1172"/>
                    <a:pt x="80" y="1172"/>
                  </a:cubicBezTo>
                  <a:cubicBezTo>
                    <a:pt x="13" y="1239"/>
                    <a:pt x="13" y="1239"/>
                    <a:pt x="13" y="1239"/>
                  </a:cubicBezTo>
                  <a:cubicBezTo>
                    <a:pt x="0" y="1253"/>
                    <a:pt x="0" y="1273"/>
                    <a:pt x="13" y="1287"/>
                  </a:cubicBezTo>
                  <a:cubicBezTo>
                    <a:pt x="208" y="1481"/>
                    <a:pt x="208" y="1481"/>
                    <a:pt x="208" y="1481"/>
                  </a:cubicBezTo>
                  <a:cubicBezTo>
                    <a:pt x="215" y="1488"/>
                    <a:pt x="221" y="1492"/>
                    <a:pt x="232" y="1492"/>
                  </a:cubicBezTo>
                  <a:cubicBezTo>
                    <a:pt x="239" y="1492"/>
                    <a:pt x="249" y="1488"/>
                    <a:pt x="252" y="1481"/>
                  </a:cubicBezTo>
                  <a:cubicBezTo>
                    <a:pt x="320" y="1413"/>
                    <a:pt x="320" y="1413"/>
                    <a:pt x="320" y="1413"/>
                  </a:cubicBezTo>
                  <a:cubicBezTo>
                    <a:pt x="344" y="1437"/>
                    <a:pt x="344" y="1437"/>
                    <a:pt x="344" y="1437"/>
                  </a:cubicBezTo>
                  <a:cubicBezTo>
                    <a:pt x="351" y="1444"/>
                    <a:pt x="358" y="1447"/>
                    <a:pt x="368" y="1447"/>
                  </a:cubicBezTo>
                  <a:cubicBezTo>
                    <a:pt x="378" y="1447"/>
                    <a:pt x="389" y="1444"/>
                    <a:pt x="392" y="1437"/>
                  </a:cubicBezTo>
                  <a:cubicBezTo>
                    <a:pt x="460" y="1369"/>
                    <a:pt x="460" y="1369"/>
                    <a:pt x="460" y="1369"/>
                  </a:cubicBezTo>
                  <a:cubicBezTo>
                    <a:pt x="484" y="1393"/>
                    <a:pt x="484" y="1393"/>
                    <a:pt x="484" y="1393"/>
                  </a:cubicBezTo>
                  <a:cubicBezTo>
                    <a:pt x="491" y="1399"/>
                    <a:pt x="498" y="1403"/>
                    <a:pt x="508" y="1403"/>
                  </a:cubicBezTo>
                  <a:cubicBezTo>
                    <a:pt x="518" y="1403"/>
                    <a:pt x="525" y="1399"/>
                    <a:pt x="532" y="1393"/>
                  </a:cubicBezTo>
                  <a:cubicBezTo>
                    <a:pt x="899" y="1026"/>
                    <a:pt x="899" y="1026"/>
                    <a:pt x="899" y="1026"/>
                  </a:cubicBezTo>
                  <a:cubicBezTo>
                    <a:pt x="1027" y="1154"/>
                    <a:pt x="1027" y="1154"/>
                    <a:pt x="1027" y="1154"/>
                  </a:cubicBezTo>
                  <a:cubicBezTo>
                    <a:pt x="1027" y="1156"/>
                    <a:pt x="1027" y="1158"/>
                    <a:pt x="1027" y="1160"/>
                  </a:cubicBezTo>
                  <a:cubicBezTo>
                    <a:pt x="1027" y="1273"/>
                    <a:pt x="1119" y="1365"/>
                    <a:pt x="1232" y="1365"/>
                  </a:cubicBezTo>
                  <a:cubicBezTo>
                    <a:pt x="1292" y="1365"/>
                    <a:pt x="1347" y="1339"/>
                    <a:pt x="1384" y="1297"/>
                  </a:cubicBezTo>
                  <a:cubicBezTo>
                    <a:pt x="1846" y="1297"/>
                    <a:pt x="1846" y="1297"/>
                    <a:pt x="1846" y="1297"/>
                  </a:cubicBezTo>
                  <a:cubicBezTo>
                    <a:pt x="1846" y="1468"/>
                    <a:pt x="1846" y="1468"/>
                    <a:pt x="1846" y="1468"/>
                  </a:cubicBezTo>
                  <a:cubicBezTo>
                    <a:pt x="1846" y="1526"/>
                    <a:pt x="1891" y="1570"/>
                    <a:pt x="1949" y="1570"/>
                  </a:cubicBezTo>
                  <a:cubicBezTo>
                    <a:pt x="2017" y="1570"/>
                    <a:pt x="2017" y="1570"/>
                    <a:pt x="2017" y="1570"/>
                  </a:cubicBezTo>
                  <a:cubicBezTo>
                    <a:pt x="2037" y="1570"/>
                    <a:pt x="2051" y="1556"/>
                    <a:pt x="2051" y="1536"/>
                  </a:cubicBezTo>
                  <a:cubicBezTo>
                    <a:pt x="2051" y="778"/>
                    <a:pt x="2051" y="778"/>
                    <a:pt x="2051" y="778"/>
                  </a:cubicBezTo>
                  <a:cubicBezTo>
                    <a:pt x="2051" y="758"/>
                    <a:pt x="2037" y="744"/>
                    <a:pt x="2017" y="744"/>
                  </a:cubicBezTo>
                  <a:close/>
                  <a:moveTo>
                    <a:pt x="228" y="1406"/>
                  </a:moveTo>
                  <a:cubicBezTo>
                    <a:pt x="85" y="1263"/>
                    <a:pt x="85" y="1263"/>
                    <a:pt x="85" y="1263"/>
                  </a:cubicBezTo>
                  <a:cubicBezTo>
                    <a:pt x="129" y="1222"/>
                    <a:pt x="129" y="1222"/>
                    <a:pt x="129" y="1222"/>
                  </a:cubicBezTo>
                  <a:cubicBezTo>
                    <a:pt x="273" y="1365"/>
                    <a:pt x="273" y="1365"/>
                    <a:pt x="273" y="1365"/>
                  </a:cubicBezTo>
                  <a:lnTo>
                    <a:pt x="228" y="1406"/>
                  </a:lnTo>
                  <a:close/>
                  <a:moveTo>
                    <a:pt x="368" y="1365"/>
                  </a:moveTo>
                  <a:cubicBezTo>
                    <a:pt x="249" y="1244"/>
                    <a:pt x="249" y="1244"/>
                    <a:pt x="249" y="1244"/>
                  </a:cubicBezTo>
                  <a:cubicBezTo>
                    <a:pt x="153" y="1147"/>
                    <a:pt x="153" y="1147"/>
                    <a:pt x="153" y="1147"/>
                  </a:cubicBezTo>
                  <a:cubicBezTo>
                    <a:pt x="152" y="1146"/>
                    <a:pt x="151" y="1145"/>
                    <a:pt x="150" y="1144"/>
                  </a:cubicBezTo>
                  <a:cubicBezTo>
                    <a:pt x="129" y="1123"/>
                    <a:pt x="129" y="1123"/>
                    <a:pt x="129" y="1123"/>
                  </a:cubicBezTo>
                  <a:cubicBezTo>
                    <a:pt x="170" y="1079"/>
                    <a:pt x="170" y="1079"/>
                    <a:pt x="170" y="1079"/>
                  </a:cubicBezTo>
                  <a:cubicBezTo>
                    <a:pt x="413" y="1321"/>
                    <a:pt x="413" y="1321"/>
                    <a:pt x="413" y="1321"/>
                  </a:cubicBezTo>
                  <a:lnTo>
                    <a:pt x="368" y="1365"/>
                  </a:lnTo>
                  <a:close/>
                  <a:moveTo>
                    <a:pt x="508" y="1321"/>
                  </a:moveTo>
                  <a:cubicBezTo>
                    <a:pt x="484" y="1297"/>
                    <a:pt x="484" y="1297"/>
                    <a:pt x="484" y="1297"/>
                  </a:cubicBezTo>
                  <a:cubicBezTo>
                    <a:pt x="194" y="1007"/>
                    <a:pt x="194" y="1007"/>
                    <a:pt x="194" y="1007"/>
                  </a:cubicBezTo>
                  <a:cubicBezTo>
                    <a:pt x="170" y="983"/>
                    <a:pt x="170" y="983"/>
                    <a:pt x="170" y="983"/>
                  </a:cubicBezTo>
                  <a:cubicBezTo>
                    <a:pt x="1095" y="82"/>
                    <a:pt x="1095" y="82"/>
                    <a:pt x="1095" y="82"/>
                  </a:cubicBezTo>
                  <a:cubicBezTo>
                    <a:pt x="1228" y="219"/>
                    <a:pt x="1228" y="219"/>
                    <a:pt x="1228" y="219"/>
                  </a:cubicBezTo>
                  <a:cubicBezTo>
                    <a:pt x="1153" y="293"/>
                    <a:pt x="1153" y="293"/>
                    <a:pt x="1153" y="293"/>
                  </a:cubicBezTo>
                  <a:cubicBezTo>
                    <a:pt x="1140" y="307"/>
                    <a:pt x="1140" y="328"/>
                    <a:pt x="1153" y="341"/>
                  </a:cubicBezTo>
                  <a:cubicBezTo>
                    <a:pt x="1160" y="348"/>
                    <a:pt x="1167" y="352"/>
                    <a:pt x="1177" y="352"/>
                  </a:cubicBezTo>
                  <a:cubicBezTo>
                    <a:pt x="1184" y="352"/>
                    <a:pt x="1194" y="348"/>
                    <a:pt x="1201" y="341"/>
                  </a:cubicBezTo>
                  <a:cubicBezTo>
                    <a:pt x="1275" y="267"/>
                    <a:pt x="1275" y="267"/>
                    <a:pt x="1275" y="267"/>
                  </a:cubicBezTo>
                  <a:cubicBezTo>
                    <a:pt x="1322" y="316"/>
                    <a:pt x="1322" y="316"/>
                    <a:pt x="1322" y="316"/>
                  </a:cubicBezTo>
                  <a:cubicBezTo>
                    <a:pt x="1201" y="437"/>
                    <a:pt x="1201" y="437"/>
                    <a:pt x="1201" y="437"/>
                  </a:cubicBezTo>
                  <a:cubicBezTo>
                    <a:pt x="1187" y="450"/>
                    <a:pt x="1187" y="471"/>
                    <a:pt x="1201" y="485"/>
                  </a:cubicBezTo>
                  <a:cubicBezTo>
                    <a:pt x="1208" y="491"/>
                    <a:pt x="1215" y="495"/>
                    <a:pt x="1225" y="495"/>
                  </a:cubicBezTo>
                  <a:cubicBezTo>
                    <a:pt x="1232" y="495"/>
                    <a:pt x="1242" y="491"/>
                    <a:pt x="1249" y="485"/>
                  </a:cubicBezTo>
                  <a:cubicBezTo>
                    <a:pt x="1369" y="364"/>
                    <a:pt x="1369" y="364"/>
                    <a:pt x="1369" y="364"/>
                  </a:cubicBezTo>
                  <a:cubicBezTo>
                    <a:pt x="1416" y="413"/>
                    <a:pt x="1416" y="413"/>
                    <a:pt x="1416" y="413"/>
                  </a:cubicBezTo>
                  <a:lnTo>
                    <a:pt x="508" y="1321"/>
                  </a:lnTo>
                  <a:close/>
                  <a:moveTo>
                    <a:pt x="1045" y="1076"/>
                  </a:moveTo>
                  <a:cubicBezTo>
                    <a:pt x="948" y="980"/>
                    <a:pt x="948" y="980"/>
                    <a:pt x="948" y="980"/>
                  </a:cubicBezTo>
                  <a:cubicBezTo>
                    <a:pt x="1044" y="884"/>
                    <a:pt x="1044" y="884"/>
                    <a:pt x="1044" y="884"/>
                  </a:cubicBezTo>
                  <a:cubicBezTo>
                    <a:pt x="1138" y="978"/>
                    <a:pt x="1138" y="978"/>
                    <a:pt x="1138" y="978"/>
                  </a:cubicBezTo>
                  <a:cubicBezTo>
                    <a:pt x="1097" y="1000"/>
                    <a:pt x="1064" y="1034"/>
                    <a:pt x="1045" y="1076"/>
                  </a:cubicBezTo>
                  <a:close/>
                  <a:moveTo>
                    <a:pt x="1368" y="1161"/>
                  </a:moveTo>
                  <a:cubicBezTo>
                    <a:pt x="1368" y="1163"/>
                    <a:pt x="1368" y="1165"/>
                    <a:pt x="1368" y="1167"/>
                  </a:cubicBezTo>
                  <a:cubicBezTo>
                    <a:pt x="1368" y="1168"/>
                    <a:pt x="1368" y="1168"/>
                    <a:pt x="1368" y="1169"/>
                  </a:cubicBezTo>
                  <a:cubicBezTo>
                    <a:pt x="1368" y="1170"/>
                    <a:pt x="1368" y="1172"/>
                    <a:pt x="1368" y="1173"/>
                  </a:cubicBezTo>
                  <a:cubicBezTo>
                    <a:pt x="1368" y="1174"/>
                    <a:pt x="1368" y="1175"/>
                    <a:pt x="1367" y="1176"/>
                  </a:cubicBezTo>
                  <a:cubicBezTo>
                    <a:pt x="1367" y="1177"/>
                    <a:pt x="1367" y="1178"/>
                    <a:pt x="1367" y="1179"/>
                  </a:cubicBezTo>
                  <a:cubicBezTo>
                    <a:pt x="1367" y="1180"/>
                    <a:pt x="1367" y="1181"/>
                    <a:pt x="1367" y="1182"/>
                  </a:cubicBezTo>
                  <a:cubicBezTo>
                    <a:pt x="1366" y="1183"/>
                    <a:pt x="1366" y="1184"/>
                    <a:pt x="1366" y="1184"/>
                  </a:cubicBezTo>
                  <a:cubicBezTo>
                    <a:pt x="1363" y="1203"/>
                    <a:pt x="1355" y="1221"/>
                    <a:pt x="1345" y="1237"/>
                  </a:cubicBezTo>
                  <a:cubicBezTo>
                    <a:pt x="1320" y="1273"/>
                    <a:pt x="1279" y="1297"/>
                    <a:pt x="1232" y="1297"/>
                  </a:cubicBezTo>
                  <a:cubicBezTo>
                    <a:pt x="1157" y="1297"/>
                    <a:pt x="1095" y="1236"/>
                    <a:pt x="1095" y="1160"/>
                  </a:cubicBezTo>
                  <a:cubicBezTo>
                    <a:pt x="1095" y="1105"/>
                    <a:pt x="1128" y="1058"/>
                    <a:pt x="1175" y="1036"/>
                  </a:cubicBezTo>
                  <a:cubicBezTo>
                    <a:pt x="1185" y="1032"/>
                    <a:pt x="1194" y="1029"/>
                    <a:pt x="1204" y="1027"/>
                  </a:cubicBezTo>
                  <a:cubicBezTo>
                    <a:pt x="1206" y="1027"/>
                    <a:pt x="1208" y="1026"/>
                    <a:pt x="1210" y="1026"/>
                  </a:cubicBezTo>
                  <a:cubicBezTo>
                    <a:pt x="1217" y="1025"/>
                    <a:pt x="1224" y="1024"/>
                    <a:pt x="1232" y="1024"/>
                  </a:cubicBezTo>
                  <a:cubicBezTo>
                    <a:pt x="1279" y="1024"/>
                    <a:pt x="1320" y="1048"/>
                    <a:pt x="1345" y="1084"/>
                  </a:cubicBezTo>
                  <a:cubicBezTo>
                    <a:pt x="1355" y="1100"/>
                    <a:pt x="1363" y="1118"/>
                    <a:pt x="1366" y="1137"/>
                  </a:cubicBezTo>
                  <a:cubicBezTo>
                    <a:pt x="1366" y="1137"/>
                    <a:pt x="1366" y="1138"/>
                    <a:pt x="1367" y="1139"/>
                  </a:cubicBezTo>
                  <a:cubicBezTo>
                    <a:pt x="1367" y="1140"/>
                    <a:pt x="1367" y="1141"/>
                    <a:pt x="1367" y="1142"/>
                  </a:cubicBezTo>
                  <a:cubicBezTo>
                    <a:pt x="1367" y="1143"/>
                    <a:pt x="1367" y="1144"/>
                    <a:pt x="1367" y="1145"/>
                  </a:cubicBezTo>
                  <a:cubicBezTo>
                    <a:pt x="1368" y="1146"/>
                    <a:pt x="1368" y="1147"/>
                    <a:pt x="1368" y="1148"/>
                  </a:cubicBezTo>
                  <a:cubicBezTo>
                    <a:pt x="1368" y="1149"/>
                    <a:pt x="1368" y="1151"/>
                    <a:pt x="1368" y="1152"/>
                  </a:cubicBezTo>
                  <a:cubicBezTo>
                    <a:pt x="1368" y="1153"/>
                    <a:pt x="1368" y="1153"/>
                    <a:pt x="1368" y="1154"/>
                  </a:cubicBezTo>
                  <a:cubicBezTo>
                    <a:pt x="1368" y="1156"/>
                    <a:pt x="1368" y="1158"/>
                    <a:pt x="1368" y="1160"/>
                  </a:cubicBezTo>
                  <a:lnTo>
                    <a:pt x="1368" y="1161"/>
                  </a:lnTo>
                  <a:close/>
                  <a:moveTo>
                    <a:pt x="1846" y="1229"/>
                  </a:moveTo>
                  <a:cubicBezTo>
                    <a:pt x="1426" y="1229"/>
                    <a:pt x="1426" y="1229"/>
                    <a:pt x="1426" y="1229"/>
                  </a:cubicBezTo>
                  <a:cubicBezTo>
                    <a:pt x="1433" y="1208"/>
                    <a:pt x="1440" y="1184"/>
                    <a:pt x="1440" y="1160"/>
                  </a:cubicBezTo>
                  <a:cubicBezTo>
                    <a:pt x="1440" y="1137"/>
                    <a:pt x="1433" y="1113"/>
                    <a:pt x="1426" y="1092"/>
                  </a:cubicBezTo>
                  <a:cubicBezTo>
                    <a:pt x="1846" y="1092"/>
                    <a:pt x="1846" y="1092"/>
                    <a:pt x="1846" y="1092"/>
                  </a:cubicBezTo>
                  <a:lnTo>
                    <a:pt x="1846" y="1229"/>
                  </a:lnTo>
                  <a:close/>
                  <a:moveTo>
                    <a:pt x="1983" y="1502"/>
                  </a:moveTo>
                  <a:cubicBezTo>
                    <a:pt x="1949" y="1502"/>
                    <a:pt x="1949" y="1502"/>
                    <a:pt x="1949" y="1502"/>
                  </a:cubicBezTo>
                  <a:cubicBezTo>
                    <a:pt x="1928" y="1502"/>
                    <a:pt x="1914" y="1488"/>
                    <a:pt x="1914" y="1468"/>
                  </a:cubicBezTo>
                  <a:cubicBezTo>
                    <a:pt x="1914" y="846"/>
                    <a:pt x="1914" y="846"/>
                    <a:pt x="1914" y="846"/>
                  </a:cubicBezTo>
                  <a:cubicBezTo>
                    <a:pt x="1914" y="826"/>
                    <a:pt x="1928" y="812"/>
                    <a:pt x="1949" y="812"/>
                  </a:cubicBezTo>
                  <a:cubicBezTo>
                    <a:pt x="1983" y="812"/>
                    <a:pt x="1983" y="812"/>
                    <a:pt x="1983" y="812"/>
                  </a:cubicBezTo>
                  <a:lnTo>
                    <a:pt x="1983" y="150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04" name="Group 360"/>
          <p:cNvGrpSpPr/>
          <p:nvPr/>
        </p:nvGrpSpPr>
        <p:grpSpPr>
          <a:xfrm>
            <a:off x="4479057" y="3219903"/>
            <a:ext cx="469448" cy="469448"/>
            <a:chOff x="682652" y="2569917"/>
            <a:chExt cx="679152" cy="679152"/>
          </a:xfrm>
        </p:grpSpPr>
        <p:sp>
          <p:nvSpPr>
            <p:cNvPr id="205" name="Teardrop 204"/>
            <p:cNvSpPr/>
            <p:nvPr/>
          </p:nvSpPr>
          <p:spPr>
            <a:xfrm rot="8100000">
              <a:off x="682652" y="2569917"/>
              <a:ext cx="679152" cy="679152"/>
            </a:xfrm>
            <a:prstGeom prst="teardrop">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206" name="Rectangle 205"/>
            <p:cNvSpPr/>
            <p:nvPr/>
          </p:nvSpPr>
          <p:spPr>
            <a:xfrm>
              <a:off x="734891" y="2742273"/>
              <a:ext cx="574677" cy="311684"/>
            </a:xfrm>
            <a:prstGeom prst="rect">
              <a:avLst/>
            </a:prstGeom>
          </p:spPr>
          <p:txBody>
            <a:bodyPr wrap="square" lIns="0" tIns="0" rIns="0" bIns="0">
              <a:spAutoFit/>
            </a:bodyPr>
            <a:lstStyle/>
            <a:p>
              <a:pPr algn="ctr"/>
              <a:r>
                <a:rPr lang="en-US" sz="700" b="1" dirty="0" err="1" smtClean="0">
                  <a:solidFill>
                    <a:schemeClr val="bg1"/>
                  </a:solidFill>
                  <a:latin typeface="+mj-lt"/>
                </a:rPr>
                <a:t>LoRa</a:t>
              </a:r>
              <a:endParaRPr lang="en-US" sz="700" b="1" dirty="0" smtClean="0">
                <a:solidFill>
                  <a:schemeClr val="bg1"/>
                </a:solidFill>
                <a:latin typeface="+mj-lt"/>
              </a:endParaRPr>
            </a:p>
            <a:p>
              <a:pPr algn="ctr"/>
              <a:r>
                <a:rPr lang="en-US" sz="700" b="1" dirty="0" smtClean="0">
                  <a:solidFill>
                    <a:schemeClr val="bg1"/>
                  </a:solidFill>
                  <a:latin typeface="+mj-lt"/>
                </a:rPr>
                <a:t>WAN</a:t>
              </a:r>
              <a:endParaRPr lang="en-US" sz="700" b="1" dirty="0">
                <a:solidFill>
                  <a:schemeClr val="bg1"/>
                </a:solidFill>
                <a:latin typeface="+mj-lt"/>
              </a:endParaRPr>
            </a:p>
          </p:txBody>
        </p:sp>
      </p:grpSp>
      <p:grpSp>
        <p:nvGrpSpPr>
          <p:cNvPr id="207" name="Group 363"/>
          <p:cNvGrpSpPr/>
          <p:nvPr/>
        </p:nvGrpSpPr>
        <p:grpSpPr>
          <a:xfrm>
            <a:off x="5316181" y="2872696"/>
            <a:ext cx="466344" cy="466344"/>
            <a:chOff x="2209800" y="1885950"/>
            <a:chExt cx="679152" cy="679152"/>
          </a:xfrm>
        </p:grpSpPr>
        <p:sp>
          <p:nvSpPr>
            <p:cNvPr id="208" name="Teardrop 207"/>
            <p:cNvSpPr/>
            <p:nvPr/>
          </p:nvSpPr>
          <p:spPr>
            <a:xfrm rot="8100000">
              <a:off x="2209800" y="1885950"/>
              <a:ext cx="679152" cy="679152"/>
            </a:xfrm>
            <a:prstGeom prst="teardrop">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209" name="Rectangle 208"/>
            <p:cNvSpPr/>
            <p:nvPr/>
          </p:nvSpPr>
          <p:spPr>
            <a:xfrm>
              <a:off x="2260201" y="2150207"/>
              <a:ext cx="569106" cy="179291"/>
            </a:xfrm>
            <a:prstGeom prst="rect">
              <a:avLst/>
            </a:prstGeom>
          </p:spPr>
          <p:txBody>
            <a:bodyPr wrap="square" lIns="0" tIns="0" rIns="0" bIns="0">
              <a:spAutoFit/>
            </a:bodyPr>
            <a:lstStyle/>
            <a:p>
              <a:pPr algn="ctr"/>
              <a:r>
                <a:rPr lang="en-US" sz="800" b="1" dirty="0" smtClean="0">
                  <a:solidFill>
                    <a:schemeClr val="bg1"/>
                  </a:solidFill>
                  <a:latin typeface="+mj-lt"/>
                </a:rPr>
                <a:t>Wi-Fi</a:t>
              </a:r>
            </a:p>
          </p:txBody>
        </p:sp>
      </p:grpSp>
      <p:grpSp>
        <p:nvGrpSpPr>
          <p:cNvPr id="210" name="Group 375"/>
          <p:cNvGrpSpPr/>
          <p:nvPr/>
        </p:nvGrpSpPr>
        <p:grpSpPr>
          <a:xfrm>
            <a:off x="6946234" y="2349791"/>
            <a:ext cx="466344" cy="466344"/>
            <a:chOff x="2209800" y="1885950"/>
            <a:chExt cx="679152" cy="679152"/>
          </a:xfrm>
        </p:grpSpPr>
        <p:sp>
          <p:nvSpPr>
            <p:cNvPr id="211" name="Teardrop 210"/>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212" name="Rectangle 211"/>
            <p:cNvSpPr/>
            <p:nvPr/>
          </p:nvSpPr>
          <p:spPr>
            <a:xfrm>
              <a:off x="2260201" y="2113217"/>
              <a:ext cx="569106" cy="358580"/>
            </a:xfrm>
            <a:prstGeom prst="rect">
              <a:avLst/>
            </a:prstGeom>
          </p:spPr>
          <p:txBody>
            <a:bodyPr wrap="square" lIns="0" tIns="0" rIns="0" bIns="0">
              <a:spAutoFit/>
            </a:bodyPr>
            <a:lstStyle/>
            <a:p>
              <a:pPr algn="ctr"/>
              <a:r>
                <a:rPr lang="en-US" sz="800" b="1" dirty="0" smtClean="0">
                  <a:solidFill>
                    <a:schemeClr val="bg1"/>
                  </a:solidFill>
                  <a:latin typeface="+mj-lt"/>
                </a:rPr>
                <a:t>2G, 3G,</a:t>
              </a:r>
              <a:br>
                <a:rPr lang="en-US" sz="800" b="1" dirty="0" smtClean="0">
                  <a:solidFill>
                    <a:schemeClr val="bg1"/>
                  </a:solidFill>
                  <a:latin typeface="+mj-lt"/>
                </a:rPr>
              </a:br>
              <a:r>
                <a:rPr lang="en-US" sz="800" b="1" dirty="0" smtClean="0">
                  <a:solidFill>
                    <a:schemeClr val="bg1"/>
                  </a:solidFill>
                  <a:latin typeface="+mj-lt"/>
                </a:rPr>
                <a:t>LTE</a:t>
              </a:r>
            </a:p>
          </p:txBody>
        </p:sp>
      </p:grpSp>
      <p:grpSp>
        <p:nvGrpSpPr>
          <p:cNvPr id="213" name="Group 378"/>
          <p:cNvGrpSpPr/>
          <p:nvPr/>
        </p:nvGrpSpPr>
        <p:grpSpPr>
          <a:xfrm>
            <a:off x="7696987" y="3257550"/>
            <a:ext cx="466344" cy="466344"/>
            <a:chOff x="2209800" y="1885950"/>
            <a:chExt cx="679152" cy="679152"/>
          </a:xfrm>
        </p:grpSpPr>
        <p:sp>
          <p:nvSpPr>
            <p:cNvPr id="214" name="Teardrop 213"/>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215" name="Rectangle 214"/>
            <p:cNvSpPr/>
            <p:nvPr/>
          </p:nvSpPr>
          <p:spPr>
            <a:xfrm>
              <a:off x="2260201" y="2039235"/>
              <a:ext cx="569106" cy="358580"/>
            </a:xfrm>
            <a:prstGeom prst="rect">
              <a:avLst/>
            </a:prstGeom>
          </p:spPr>
          <p:txBody>
            <a:bodyPr wrap="square" lIns="0" tIns="0" rIns="0" bIns="0">
              <a:spAutoFit/>
            </a:bodyPr>
            <a:lstStyle/>
            <a:p>
              <a:pPr algn="ctr"/>
              <a:r>
                <a:rPr lang="en-US" sz="800" b="1" dirty="0" smtClean="0">
                  <a:solidFill>
                    <a:schemeClr val="bg1"/>
                  </a:solidFill>
                  <a:latin typeface="+mj-lt"/>
                </a:rPr>
                <a:t>LTE/</a:t>
              </a:r>
              <a:br>
                <a:rPr lang="en-US" sz="800" b="1" dirty="0" smtClean="0">
                  <a:solidFill>
                    <a:schemeClr val="bg1"/>
                  </a:solidFill>
                  <a:latin typeface="+mj-lt"/>
                </a:rPr>
              </a:br>
              <a:r>
                <a:rPr lang="en-US" sz="800" b="1" dirty="0" smtClean="0">
                  <a:solidFill>
                    <a:schemeClr val="bg1"/>
                  </a:solidFill>
                  <a:latin typeface="+mj-lt"/>
                </a:rPr>
                <a:t>CAT-M1</a:t>
              </a:r>
            </a:p>
          </p:txBody>
        </p:sp>
      </p:grpSp>
      <p:grpSp>
        <p:nvGrpSpPr>
          <p:cNvPr id="216" name="Group 381"/>
          <p:cNvGrpSpPr/>
          <p:nvPr/>
        </p:nvGrpSpPr>
        <p:grpSpPr>
          <a:xfrm>
            <a:off x="8481819" y="3297690"/>
            <a:ext cx="466344" cy="466344"/>
            <a:chOff x="2209800" y="1885950"/>
            <a:chExt cx="679152" cy="679152"/>
          </a:xfrm>
        </p:grpSpPr>
        <p:sp>
          <p:nvSpPr>
            <p:cNvPr id="217" name="Teardrop 216"/>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218" name="Rectangle 217"/>
            <p:cNvSpPr/>
            <p:nvPr/>
          </p:nvSpPr>
          <p:spPr>
            <a:xfrm>
              <a:off x="2260201" y="2113217"/>
              <a:ext cx="569106" cy="358580"/>
            </a:xfrm>
            <a:prstGeom prst="rect">
              <a:avLst/>
            </a:prstGeom>
          </p:spPr>
          <p:txBody>
            <a:bodyPr wrap="square" lIns="0" tIns="0" rIns="0" bIns="0">
              <a:spAutoFit/>
            </a:bodyPr>
            <a:lstStyle/>
            <a:p>
              <a:pPr algn="ctr"/>
              <a:r>
                <a:rPr lang="en-US" sz="800" b="1" dirty="0" smtClean="0">
                  <a:solidFill>
                    <a:schemeClr val="bg1"/>
                  </a:solidFill>
                  <a:latin typeface="+mj-lt"/>
                </a:rPr>
                <a:t>NB-</a:t>
              </a:r>
              <a:br>
                <a:rPr lang="en-US" sz="800" b="1" dirty="0" smtClean="0">
                  <a:solidFill>
                    <a:schemeClr val="bg1"/>
                  </a:solidFill>
                  <a:latin typeface="+mj-lt"/>
                </a:rPr>
              </a:br>
              <a:r>
                <a:rPr lang="en-US" sz="800" b="1" dirty="0" err="1" smtClean="0">
                  <a:solidFill>
                    <a:schemeClr val="bg1"/>
                  </a:solidFill>
                  <a:latin typeface="+mj-lt"/>
                </a:rPr>
                <a:t>IoT</a:t>
              </a:r>
              <a:endParaRPr lang="en-US" sz="800" b="1" dirty="0" smtClean="0">
                <a:solidFill>
                  <a:schemeClr val="bg1"/>
                </a:solidFill>
                <a:latin typeface="+mj-lt"/>
              </a:endParaRPr>
            </a:p>
          </p:txBody>
        </p:sp>
      </p:grpSp>
      <p:cxnSp>
        <p:nvCxnSpPr>
          <p:cNvPr id="220" name="Straight Connector 219"/>
          <p:cNvCxnSpPr>
            <a:endCxn id="211" idx="3"/>
          </p:cNvCxnSpPr>
          <p:nvPr/>
        </p:nvCxnSpPr>
        <p:spPr>
          <a:xfrm>
            <a:off x="2866176" y="1791068"/>
            <a:ext cx="4313229" cy="55872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1" name="Straight Connector 220"/>
          <p:cNvCxnSpPr>
            <a:endCxn id="208" idx="3"/>
          </p:cNvCxnSpPr>
          <p:nvPr/>
        </p:nvCxnSpPr>
        <p:spPr>
          <a:xfrm>
            <a:off x="2866176" y="1791068"/>
            <a:ext cx="2683176" cy="10816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22" name="Straight Connector 221"/>
          <p:cNvCxnSpPr>
            <a:endCxn id="205" idx="3"/>
          </p:cNvCxnSpPr>
          <p:nvPr/>
        </p:nvCxnSpPr>
        <p:spPr>
          <a:xfrm>
            <a:off x="2866176" y="1791068"/>
            <a:ext cx="1847605" cy="142883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3" name="Straight Connector 222"/>
          <p:cNvCxnSpPr>
            <a:endCxn id="214" idx="3"/>
          </p:cNvCxnSpPr>
          <p:nvPr/>
        </p:nvCxnSpPr>
        <p:spPr>
          <a:xfrm>
            <a:off x="2866176" y="1791068"/>
            <a:ext cx="5063982" cy="1466482"/>
          </a:xfrm>
          <a:prstGeom prst="line">
            <a:avLst/>
          </a:prstGeom>
        </p:spPr>
        <p:style>
          <a:lnRef idx="1">
            <a:schemeClr val="accent1"/>
          </a:lnRef>
          <a:fillRef idx="0">
            <a:schemeClr val="accent1"/>
          </a:fillRef>
          <a:effectRef idx="0">
            <a:schemeClr val="accent1"/>
          </a:effectRef>
          <a:fontRef idx="minor">
            <a:schemeClr val="tx1"/>
          </a:fontRef>
        </p:style>
      </p:cxnSp>
      <p:grpSp>
        <p:nvGrpSpPr>
          <p:cNvPr id="227" name="Group 444"/>
          <p:cNvGrpSpPr/>
          <p:nvPr/>
        </p:nvGrpSpPr>
        <p:grpSpPr>
          <a:xfrm>
            <a:off x="8380538" y="3807154"/>
            <a:ext cx="292608" cy="292608"/>
            <a:chOff x="8376516" y="3864204"/>
            <a:chExt cx="292608" cy="292608"/>
          </a:xfrm>
        </p:grpSpPr>
        <p:sp>
          <p:nvSpPr>
            <p:cNvPr id="228" name="Oval 227"/>
            <p:cNvSpPr/>
            <p:nvPr/>
          </p:nvSpPr>
          <p:spPr>
            <a:xfrm>
              <a:off x="8376516" y="3864204"/>
              <a:ext cx="292608" cy="292608"/>
            </a:xfrm>
            <a:prstGeom prst="ellipse">
              <a:avLst/>
            </a:prstGeom>
            <a:solidFill>
              <a:schemeClr val="bg2">
                <a:lumMod val="75000"/>
              </a:schemeClr>
            </a:solidFill>
            <a:ln w="952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29" name="Freeform 11"/>
            <p:cNvSpPr>
              <a:spLocks noEditPoints="1"/>
            </p:cNvSpPr>
            <p:nvPr/>
          </p:nvSpPr>
          <p:spPr bwMode="auto">
            <a:xfrm>
              <a:off x="8413012" y="3952154"/>
              <a:ext cx="219617" cy="147607"/>
            </a:xfrm>
            <a:custGeom>
              <a:avLst/>
              <a:gdLst/>
              <a:ahLst/>
              <a:cxnLst>
                <a:cxn ang="0">
                  <a:pos x="1184" y="960"/>
                </a:cxn>
                <a:cxn ang="0">
                  <a:pos x="864" y="960"/>
                </a:cxn>
                <a:cxn ang="0">
                  <a:pos x="1024" y="864"/>
                </a:cxn>
                <a:cxn ang="0">
                  <a:pos x="1024" y="1056"/>
                </a:cxn>
                <a:cxn ang="0">
                  <a:pos x="1024" y="864"/>
                </a:cxn>
                <a:cxn ang="0">
                  <a:pos x="0" y="64"/>
                </a:cxn>
                <a:cxn ang="0">
                  <a:pos x="160" y="384"/>
                </a:cxn>
                <a:cxn ang="0">
                  <a:pos x="288" y="512"/>
                </a:cxn>
                <a:cxn ang="0">
                  <a:pos x="320" y="672"/>
                </a:cxn>
                <a:cxn ang="0">
                  <a:pos x="1728" y="672"/>
                </a:cxn>
                <a:cxn ang="0">
                  <a:pos x="1760" y="512"/>
                </a:cxn>
                <a:cxn ang="0">
                  <a:pos x="1888" y="384"/>
                </a:cxn>
                <a:cxn ang="0">
                  <a:pos x="2048" y="64"/>
                </a:cxn>
                <a:cxn ang="0">
                  <a:pos x="0" y="0"/>
                </a:cxn>
                <a:cxn ang="0">
                  <a:pos x="1024" y="1312"/>
                </a:cxn>
                <a:cxn ang="0">
                  <a:pos x="384" y="512"/>
                </a:cxn>
                <a:cxn ang="0">
                  <a:pos x="1664" y="672"/>
                </a:cxn>
                <a:cxn ang="0">
                  <a:pos x="352" y="448"/>
                </a:cxn>
                <a:cxn ang="0">
                  <a:pos x="1696" y="384"/>
                </a:cxn>
                <a:cxn ang="0">
                  <a:pos x="1824" y="320"/>
                </a:cxn>
                <a:cxn ang="0">
                  <a:pos x="224" y="64"/>
                </a:cxn>
                <a:cxn ang="0">
                  <a:pos x="1824" y="320"/>
                </a:cxn>
                <a:cxn ang="0">
                  <a:pos x="1033" y="905"/>
                </a:cxn>
                <a:cxn ang="0">
                  <a:pos x="1015" y="1015"/>
                </a:cxn>
                <a:cxn ang="0">
                  <a:pos x="928" y="160"/>
                </a:cxn>
                <a:cxn ang="0">
                  <a:pos x="864" y="224"/>
                </a:cxn>
                <a:cxn ang="0">
                  <a:pos x="928" y="160"/>
                </a:cxn>
                <a:cxn ang="0">
                  <a:pos x="1312" y="960"/>
                </a:cxn>
                <a:cxn ang="0">
                  <a:pos x="736" y="960"/>
                </a:cxn>
                <a:cxn ang="0">
                  <a:pos x="1024" y="736"/>
                </a:cxn>
                <a:cxn ang="0">
                  <a:pos x="1024" y="1184"/>
                </a:cxn>
                <a:cxn ang="0">
                  <a:pos x="1024" y="736"/>
                </a:cxn>
                <a:cxn ang="0">
                  <a:pos x="1120" y="160"/>
                </a:cxn>
                <a:cxn ang="0">
                  <a:pos x="1184" y="224"/>
                </a:cxn>
                <a:cxn ang="0">
                  <a:pos x="1056" y="160"/>
                </a:cxn>
                <a:cxn ang="0">
                  <a:pos x="992" y="224"/>
                </a:cxn>
                <a:cxn ang="0">
                  <a:pos x="1056" y="160"/>
                </a:cxn>
              </a:cxnLst>
              <a:rect l="0" t="0" r="r" b="b"/>
              <a:pathLst>
                <a:path w="2048" h="1376">
                  <a:moveTo>
                    <a:pt x="1024" y="1120"/>
                  </a:moveTo>
                  <a:cubicBezTo>
                    <a:pt x="1112" y="1120"/>
                    <a:pt x="1184" y="1048"/>
                    <a:pt x="1184" y="960"/>
                  </a:cubicBezTo>
                  <a:cubicBezTo>
                    <a:pt x="1184" y="872"/>
                    <a:pt x="1112" y="800"/>
                    <a:pt x="1024" y="800"/>
                  </a:cubicBezTo>
                  <a:cubicBezTo>
                    <a:pt x="936" y="800"/>
                    <a:pt x="864" y="872"/>
                    <a:pt x="864" y="960"/>
                  </a:cubicBezTo>
                  <a:cubicBezTo>
                    <a:pt x="864" y="1048"/>
                    <a:pt x="936" y="1120"/>
                    <a:pt x="1024" y="1120"/>
                  </a:cubicBezTo>
                  <a:close/>
                  <a:moveTo>
                    <a:pt x="1024" y="864"/>
                  </a:moveTo>
                  <a:cubicBezTo>
                    <a:pt x="1077" y="864"/>
                    <a:pt x="1120" y="907"/>
                    <a:pt x="1120" y="960"/>
                  </a:cubicBezTo>
                  <a:cubicBezTo>
                    <a:pt x="1120" y="1013"/>
                    <a:pt x="1077" y="1056"/>
                    <a:pt x="1024" y="1056"/>
                  </a:cubicBezTo>
                  <a:cubicBezTo>
                    <a:pt x="971" y="1056"/>
                    <a:pt x="928" y="1013"/>
                    <a:pt x="928" y="960"/>
                  </a:cubicBezTo>
                  <a:cubicBezTo>
                    <a:pt x="928" y="907"/>
                    <a:pt x="971" y="864"/>
                    <a:pt x="1024" y="864"/>
                  </a:cubicBezTo>
                  <a:close/>
                  <a:moveTo>
                    <a:pt x="0" y="0"/>
                  </a:moveTo>
                  <a:cubicBezTo>
                    <a:pt x="0" y="64"/>
                    <a:pt x="0" y="64"/>
                    <a:pt x="0" y="64"/>
                  </a:cubicBezTo>
                  <a:cubicBezTo>
                    <a:pt x="160" y="64"/>
                    <a:pt x="160" y="64"/>
                    <a:pt x="160" y="64"/>
                  </a:cubicBezTo>
                  <a:cubicBezTo>
                    <a:pt x="160" y="384"/>
                    <a:pt x="160" y="384"/>
                    <a:pt x="160" y="384"/>
                  </a:cubicBezTo>
                  <a:cubicBezTo>
                    <a:pt x="288" y="384"/>
                    <a:pt x="288" y="384"/>
                    <a:pt x="288" y="384"/>
                  </a:cubicBezTo>
                  <a:cubicBezTo>
                    <a:pt x="288" y="512"/>
                    <a:pt x="288" y="512"/>
                    <a:pt x="288" y="512"/>
                  </a:cubicBezTo>
                  <a:cubicBezTo>
                    <a:pt x="320" y="512"/>
                    <a:pt x="320" y="512"/>
                    <a:pt x="320" y="512"/>
                  </a:cubicBezTo>
                  <a:cubicBezTo>
                    <a:pt x="320" y="672"/>
                    <a:pt x="320" y="672"/>
                    <a:pt x="320" y="672"/>
                  </a:cubicBezTo>
                  <a:cubicBezTo>
                    <a:pt x="320" y="1060"/>
                    <a:pt x="636" y="1376"/>
                    <a:pt x="1024" y="1376"/>
                  </a:cubicBezTo>
                  <a:cubicBezTo>
                    <a:pt x="1412" y="1376"/>
                    <a:pt x="1728" y="1060"/>
                    <a:pt x="1728" y="672"/>
                  </a:cubicBezTo>
                  <a:cubicBezTo>
                    <a:pt x="1728" y="512"/>
                    <a:pt x="1728" y="512"/>
                    <a:pt x="1728" y="512"/>
                  </a:cubicBezTo>
                  <a:cubicBezTo>
                    <a:pt x="1760" y="512"/>
                    <a:pt x="1760" y="512"/>
                    <a:pt x="1760" y="512"/>
                  </a:cubicBezTo>
                  <a:cubicBezTo>
                    <a:pt x="1760" y="384"/>
                    <a:pt x="1760" y="384"/>
                    <a:pt x="1760" y="384"/>
                  </a:cubicBezTo>
                  <a:cubicBezTo>
                    <a:pt x="1888" y="384"/>
                    <a:pt x="1888" y="384"/>
                    <a:pt x="1888" y="384"/>
                  </a:cubicBezTo>
                  <a:cubicBezTo>
                    <a:pt x="1888" y="64"/>
                    <a:pt x="1888" y="64"/>
                    <a:pt x="1888" y="64"/>
                  </a:cubicBezTo>
                  <a:cubicBezTo>
                    <a:pt x="2048" y="64"/>
                    <a:pt x="2048" y="64"/>
                    <a:pt x="2048" y="64"/>
                  </a:cubicBezTo>
                  <a:cubicBezTo>
                    <a:pt x="2048" y="0"/>
                    <a:pt x="2048" y="0"/>
                    <a:pt x="2048" y="0"/>
                  </a:cubicBezTo>
                  <a:lnTo>
                    <a:pt x="0" y="0"/>
                  </a:lnTo>
                  <a:close/>
                  <a:moveTo>
                    <a:pt x="1664" y="672"/>
                  </a:moveTo>
                  <a:cubicBezTo>
                    <a:pt x="1664" y="1025"/>
                    <a:pt x="1377" y="1312"/>
                    <a:pt x="1024" y="1312"/>
                  </a:cubicBezTo>
                  <a:cubicBezTo>
                    <a:pt x="671" y="1312"/>
                    <a:pt x="384" y="1025"/>
                    <a:pt x="384" y="672"/>
                  </a:cubicBezTo>
                  <a:cubicBezTo>
                    <a:pt x="384" y="512"/>
                    <a:pt x="384" y="512"/>
                    <a:pt x="384" y="512"/>
                  </a:cubicBezTo>
                  <a:cubicBezTo>
                    <a:pt x="1664" y="512"/>
                    <a:pt x="1664" y="512"/>
                    <a:pt x="1664" y="512"/>
                  </a:cubicBezTo>
                  <a:lnTo>
                    <a:pt x="1664" y="672"/>
                  </a:lnTo>
                  <a:close/>
                  <a:moveTo>
                    <a:pt x="1696" y="448"/>
                  </a:moveTo>
                  <a:cubicBezTo>
                    <a:pt x="352" y="448"/>
                    <a:pt x="352" y="448"/>
                    <a:pt x="352" y="448"/>
                  </a:cubicBezTo>
                  <a:cubicBezTo>
                    <a:pt x="352" y="384"/>
                    <a:pt x="352" y="384"/>
                    <a:pt x="352" y="384"/>
                  </a:cubicBezTo>
                  <a:cubicBezTo>
                    <a:pt x="1696" y="384"/>
                    <a:pt x="1696" y="384"/>
                    <a:pt x="1696" y="384"/>
                  </a:cubicBezTo>
                  <a:lnTo>
                    <a:pt x="1696" y="448"/>
                  </a:lnTo>
                  <a:close/>
                  <a:moveTo>
                    <a:pt x="1824" y="320"/>
                  </a:moveTo>
                  <a:cubicBezTo>
                    <a:pt x="224" y="320"/>
                    <a:pt x="224" y="320"/>
                    <a:pt x="224" y="320"/>
                  </a:cubicBezTo>
                  <a:cubicBezTo>
                    <a:pt x="224" y="64"/>
                    <a:pt x="224" y="64"/>
                    <a:pt x="224" y="64"/>
                  </a:cubicBezTo>
                  <a:cubicBezTo>
                    <a:pt x="1824" y="64"/>
                    <a:pt x="1824" y="64"/>
                    <a:pt x="1824" y="64"/>
                  </a:cubicBezTo>
                  <a:lnTo>
                    <a:pt x="1824" y="320"/>
                  </a:lnTo>
                  <a:close/>
                  <a:moveTo>
                    <a:pt x="1079" y="951"/>
                  </a:moveTo>
                  <a:cubicBezTo>
                    <a:pt x="1033" y="905"/>
                    <a:pt x="1033" y="905"/>
                    <a:pt x="1033" y="905"/>
                  </a:cubicBezTo>
                  <a:cubicBezTo>
                    <a:pt x="969" y="969"/>
                    <a:pt x="969" y="969"/>
                    <a:pt x="969" y="969"/>
                  </a:cubicBezTo>
                  <a:cubicBezTo>
                    <a:pt x="1015" y="1015"/>
                    <a:pt x="1015" y="1015"/>
                    <a:pt x="1015" y="1015"/>
                  </a:cubicBezTo>
                  <a:lnTo>
                    <a:pt x="1079" y="951"/>
                  </a:lnTo>
                  <a:close/>
                  <a:moveTo>
                    <a:pt x="928" y="160"/>
                  </a:moveTo>
                  <a:cubicBezTo>
                    <a:pt x="864" y="160"/>
                    <a:pt x="864" y="160"/>
                    <a:pt x="864" y="160"/>
                  </a:cubicBezTo>
                  <a:cubicBezTo>
                    <a:pt x="864" y="224"/>
                    <a:pt x="864" y="224"/>
                    <a:pt x="864" y="224"/>
                  </a:cubicBezTo>
                  <a:cubicBezTo>
                    <a:pt x="928" y="224"/>
                    <a:pt x="928" y="224"/>
                    <a:pt x="928" y="224"/>
                  </a:cubicBezTo>
                  <a:lnTo>
                    <a:pt x="928" y="160"/>
                  </a:lnTo>
                  <a:close/>
                  <a:moveTo>
                    <a:pt x="1024" y="1248"/>
                  </a:moveTo>
                  <a:cubicBezTo>
                    <a:pt x="1183" y="1248"/>
                    <a:pt x="1312" y="1119"/>
                    <a:pt x="1312" y="960"/>
                  </a:cubicBezTo>
                  <a:cubicBezTo>
                    <a:pt x="1312" y="801"/>
                    <a:pt x="1183" y="672"/>
                    <a:pt x="1024" y="672"/>
                  </a:cubicBezTo>
                  <a:cubicBezTo>
                    <a:pt x="865" y="672"/>
                    <a:pt x="736" y="801"/>
                    <a:pt x="736" y="960"/>
                  </a:cubicBezTo>
                  <a:cubicBezTo>
                    <a:pt x="736" y="1119"/>
                    <a:pt x="865" y="1248"/>
                    <a:pt x="1024" y="1248"/>
                  </a:cubicBezTo>
                  <a:close/>
                  <a:moveTo>
                    <a:pt x="1024" y="736"/>
                  </a:moveTo>
                  <a:cubicBezTo>
                    <a:pt x="1148" y="736"/>
                    <a:pt x="1248" y="836"/>
                    <a:pt x="1248" y="960"/>
                  </a:cubicBezTo>
                  <a:cubicBezTo>
                    <a:pt x="1248" y="1084"/>
                    <a:pt x="1148" y="1184"/>
                    <a:pt x="1024" y="1184"/>
                  </a:cubicBezTo>
                  <a:cubicBezTo>
                    <a:pt x="900" y="1184"/>
                    <a:pt x="800" y="1084"/>
                    <a:pt x="800" y="960"/>
                  </a:cubicBezTo>
                  <a:cubicBezTo>
                    <a:pt x="800" y="836"/>
                    <a:pt x="900" y="736"/>
                    <a:pt x="1024" y="736"/>
                  </a:cubicBezTo>
                  <a:close/>
                  <a:moveTo>
                    <a:pt x="1184" y="160"/>
                  </a:moveTo>
                  <a:cubicBezTo>
                    <a:pt x="1120" y="160"/>
                    <a:pt x="1120" y="160"/>
                    <a:pt x="1120" y="160"/>
                  </a:cubicBezTo>
                  <a:cubicBezTo>
                    <a:pt x="1120" y="224"/>
                    <a:pt x="1120" y="224"/>
                    <a:pt x="1120" y="224"/>
                  </a:cubicBezTo>
                  <a:cubicBezTo>
                    <a:pt x="1184" y="224"/>
                    <a:pt x="1184" y="224"/>
                    <a:pt x="1184" y="224"/>
                  </a:cubicBezTo>
                  <a:lnTo>
                    <a:pt x="1184" y="160"/>
                  </a:lnTo>
                  <a:close/>
                  <a:moveTo>
                    <a:pt x="1056" y="160"/>
                  </a:moveTo>
                  <a:cubicBezTo>
                    <a:pt x="992" y="160"/>
                    <a:pt x="992" y="160"/>
                    <a:pt x="992" y="160"/>
                  </a:cubicBezTo>
                  <a:cubicBezTo>
                    <a:pt x="992" y="224"/>
                    <a:pt x="992" y="224"/>
                    <a:pt x="992" y="224"/>
                  </a:cubicBezTo>
                  <a:cubicBezTo>
                    <a:pt x="1056" y="224"/>
                    <a:pt x="1056" y="224"/>
                    <a:pt x="1056" y="224"/>
                  </a:cubicBezTo>
                  <a:lnTo>
                    <a:pt x="1056" y="16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2" name="Title 1"/>
          <p:cNvSpPr>
            <a:spLocks noGrp="1"/>
          </p:cNvSpPr>
          <p:nvPr>
            <p:ph type="title"/>
          </p:nvPr>
        </p:nvSpPr>
        <p:spPr/>
        <p:txBody>
          <a:bodyPr/>
          <a:lstStyle/>
          <a:p>
            <a:r>
              <a:rPr lang="en-US" smtClean="0"/>
              <a:t>Cisco Ultra IoT</a:t>
            </a:r>
            <a:endParaRPr lang="en-US" dirty="0"/>
          </a:p>
        </p:txBody>
      </p:sp>
      <p:sp>
        <p:nvSpPr>
          <p:cNvPr id="316" name="Rectangle 315"/>
          <p:cNvSpPr/>
          <p:nvPr/>
        </p:nvSpPr>
        <p:spPr>
          <a:xfrm>
            <a:off x="265429" y="1152009"/>
            <a:ext cx="3020611" cy="338554"/>
          </a:xfrm>
          <a:prstGeom prst="rect">
            <a:avLst/>
          </a:prstGeom>
          <a:solidFill>
            <a:schemeClr val="accent1"/>
          </a:solidFill>
        </p:spPr>
        <p:txBody>
          <a:bodyPr wrap="square">
            <a:spAutoFit/>
          </a:bodyPr>
          <a:lstStyle/>
          <a:p>
            <a:r>
              <a:rPr lang="en-US" sz="1600" dirty="0" smtClean="0">
                <a:solidFill>
                  <a:srgbClr val="FFFFFF"/>
                </a:solidFill>
                <a:latin typeface="+mj-lt"/>
              </a:rPr>
              <a:t>New Ultra Capabilities for </a:t>
            </a:r>
            <a:r>
              <a:rPr lang="en-US" sz="1600" dirty="0" err="1" smtClean="0">
                <a:solidFill>
                  <a:srgbClr val="FFFFFF"/>
                </a:solidFill>
                <a:latin typeface="+mj-lt"/>
              </a:rPr>
              <a:t>IoT</a:t>
            </a:r>
            <a:endParaRPr lang="en-US" sz="1600" dirty="0" smtClean="0">
              <a:solidFill>
                <a:srgbClr val="FFFFFF"/>
              </a:solidFill>
              <a:latin typeface="+mj-lt"/>
            </a:endParaRPr>
          </a:p>
        </p:txBody>
      </p:sp>
      <p:sp>
        <p:nvSpPr>
          <p:cNvPr id="318" name="Rectangle 11"/>
          <p:cNvSpPr>
            <a:spLocks noChangeArrowheads="1"/>
          </p:cNvSpPr>
          <p:nvPr/>
        </p:nvSpPr>
        <p:spPr bwMode="auto">
          <a:xfrm>
            <a:off x="172665" y="4187035"/>
            <a:ext cx="8878571" cy="546711"/>
          </a:xfrm>
          <a:prstGeom prst="rect">
            <a:avLst/>
          </a:prstGeom>
          <a:solidFill>
            <a:schemeClr val="accent1"/>
          </a:solidFill>
          <a:ln w="9525">
            <a:noFill/>
            <a:miter lim="800000"/>
            <a:headEnd/>
            <a:tailEnd/>
          </a:ln>
        </p:spPr>
        <p:txBody>
          <a:bodyPr vert="horz" wrap="square" lIns="274320" tIns="0" rIns="91440" bIns="0" numCol="2" anchor="ctr" anchorCtr="0" compatLnSpc="1">
            <a:prstTxWarp prst="textNoShape">
              <a:avLst/>
            </a:prstTxWarp>
          </a:bodyPr>
          <a:lstStyle/>
          <a:p>
            <a:pPr marL="182880" indent="-182880">
              <a:spcBef>
                <a:spcPts val="200"/>
              </a:spcBef>
              <a:buFont typeface="Wingdings" pitchFamily="2" charset="2"/>
              <a:buChar char="§"/>
            </a:pPr>
            <a:endParaRPr lang="en-US" sz="900" dirty="0" smtClean="0">
              <a:solidFill>
                <a:srgbClr val="FFFFFF"/>
              </a:solidFill>
              <a:latin typeface="+mj-lt"/>
            </a:endParaRPr>
          </a:p>
        </p:txBody>
      </p:sp>
      <p:sp>
        <p:nvSpPr>
          <p:cNvPr id="358" name="Freeform 6"/>
          <p:cNvSpPr>
            <a:spLocks/>
          </p:cNvSpPr>
          <p:nvPr/>
        </p:nvSpPr>
        <p:spPr bwMode="auto">
          <a:xfrm>
            <a:off x="265429" y="1561951"/>
            <a:ext cx="3657744" cy="2341127"/>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60" name="Rectangle 359"/>
          <p:cNvSpPr/>
          <p:nvPr/>
        </p:nvSpPr>
        <p:spPr>
          <a:xfrm>
            <a:off x="1428750" y="1824750"/>
            <a:ext cx="1628880" cy="623248"/>
          </a:xfrm>
          <a:prstGeom prst="rect">
            <a:avLst/>
          </a:prstGeom>
          <a:noFill/>
          <a:ln w="25400" cap="rnd" cmpd="sng" algn="ctr">
            <a:noFill/>
            <a:prstDash val="solid"/>
          </a:ln>
          <a:effectLst/>
        </p:spPr>
        <p:txBody>
          <a:bodyPr wrap="square" lIns="0" tIns="0" rIns="0" bIns="0" rtlCol="0" anchor="t" anchorCtr="0">
            <a:spAutoFit/>
          </a:bodyPr>
          <a:lstStyle/>
          <a:p>
            <a:pPr lvl="0" algn="ctr">
              <a:lnSpc>
                <a:spcPct val="90000"/>
              </a:lnSpc>
            </a:pPr>
            <a:r>
              <a:rPr lang="en-US" sz="1500" kern="0" dirty="0" smtClean="0">
                <a:solidFill>
                  <a:schemeClr val="accent1"/>
                </a:solidFill>
                <a:latin typeface="+mj-lt"/>
              </a:rPr>
              <a:t>Cisco Ultra Services</a:t>
            </a:r>
            <a:br>
              <a:rPr lang="en-US" sz="1500" kern="0" dirty="0" smtClean="0">
                <a:solidFill>
                  <a:schemeClr val="accent1"/>
                </a:solidFill>
                <a:latin typeface="+mj-lt"/>
              </a:rPr>
            </a:br>
            <a:r>
              <a:rPr lang="en-US" sz="1500" kern="0" dirty="0" smtClean="0">
                <a:solidFill>
                  <a:schemeClr val="accent1"/>
                </a:solidFill>
                <a:latin typeface="+mj-lt"/>
              </a:rPr>
              <a:t>Platform for </a:t>
            </a:r>
            <a:r>
              <a:rPr lang="en-US" sz="1500" kern="0" dirty="0" err="1" smtClean="0">
                <a:solidFill>
                  <a:schemeClr val="accent1"/>
                </a:solidFill>
                <a:latin typeface="+mj-lt"/>
              </a:rPr>
              <a:t>IoT</a:t>
            </a:r>
            <a:endParaRPr lang="en-US" sz="1500" kern="0" dirty="0" smtClean="0">
              <a:solidFill>
                <a:schemeClr val="accent1"/>
              </a:solidFill>
              <a:latin typeface="+mj-lt"/>
            </a:endParaRPr>
          </a:p>
        </p:txBody>
      </p:sp>
      <p:sp>
        <p:nvSpPr>
          <p:cNvPr id="362" name="Rounded Rectangle 361"/>
          <p:cNvSpPr/>
          <p:nvPr/>
        </p:nvSpPr>
        <p:spPr>
          <a:xfrm>
            <a:off x="709921" y="3194837"/>
            <a:ext cx="885036" cy="555794"/>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800" b="1" dirty="0" smtClean="0">
                <a:latin typeface="+mj-lt"/>
              </a:rPr>
              <a:t>Ultra Packet Core</a:t>
            </a:r>
          </a:p>
        </p:txBody>
      </p:sp>
      <p:sp>
        <p:nvSpPr>
          <p:cNvPr id="363" name="Rounded Rectangle 362"/>
          <p:cNvSpPr/>
          <p:nvPr/>
        </p:nvSpPr>
        <p:spPr>
          <a:xfrm>
            <a:off x="1652107" y="3194837"/>
            <a:ext cx="885036" cy="555794"/>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800" b="1" dirty="0" smtClean="0">
                <a:latin typeface="+mj-lt"/>
              </a:rPr>
              <a:t>Ultra Policy Platform</a:t>
            </a:r>
          </a:p>
        </p:txBody>
      </p:sp>
      <p:sp>
        <p:nvSpPr>
          <p:cNvPr id="364" name="Rounded Rectangle 363"/>
          <p:cNvSpPr/>
          <p:nvPr/>
        </p:nvSpPr>
        <p:spPr>
          <a:xfrm>
            <a:off x="2594293" y="3194837"/>
            <a:ext cx="885036" cy="555794"/>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800" b="1" dirty="0" smtClean="0">
                <a:latin typeface="+mj-lt"/>
              </a:rPr>
              <a:t>Ultra Services Framework</a:t>
            </a:r>
          </a:p>
        </p:txBody>
      </p:sp>
      <p:sp>
        <p:nvSpPr>
          <p:cNvPr id="365" name="Rounded Rectangle 364"/>
          <p:cNvSpPr/>
          <p:nvPr/>
        </p:nvSpPr>
        <p:spPr>
          <a:xfrm>
            <a:off x="665471" y="2968944"/>
            <a:ext cx="2857660" cy="818235"/>
          </a:xfrm>
          <a:prstGeom prst="roundRect">
            <a:avLst/>
          </a:prstGeom>
          <a:no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366" name="Rectangle 365"/>
          <p:cNvSpPr/>
          <p:nvPr/>
        </p:nvSpPr>
        <p:spPr>
          <a:xfrm>
            <a:off x="1249519" y="3008374"/>
            <a:ext cx="1689566" cy="184666"/>
          </a:xfrm>
          <a:prstGeom prst="rect">
            <a:avLst/>
          </a:prstGeom>
        </p:spPr>
        <p:txBody>
          <a:bodyPr wrap="none" lIns="0" tIns="0" rIns="0" bIns="0">
            <a:spAutoFit/>
          </a:bodyPr>
          <a:lstStyle/>
          <a:p>
            <a:pPr algn="ctr"/>
            <a:r>
              <a:rPr lang="en-GB" sz="1200" b="1" dirty="0" smtClean="0">
                <a:solidFill>
                  <a:schemeClr val="accent5"/>
                </a:solidFill>
                <a:latin typeface="+mj-lt"/>
              </a:rPr>
              <a:t>Ultra Services Platform</a:t>
            </a:r>
          </a:p>
        </p:txBody>
      </p:sp>
      <p:sp>
        <p:nvSpPr>
          <p:cNvPr id="367" name="TextBox 366"/>
          <p:cNvSpPr txBox="1"/>
          <p:nvPr/>
        </p:nvSpPr>
        <p:spPr>
          <a:xfrm>
            <a:off x="1488769" y="3892844"/>
            <a:ext cx="1297150" cy="261610"/>
          </a:xfrm>
          <a:prstGeom prst="rect">
            <a:avLst/>
          </a:prstGeom>
          <a:noFill/>
        </p:spPr>
        <p:txBody>
          <a:bodyPr wrap="none" rtlCol="0">
            <a:spAutoFit/>
          </a:bodyPr>
          <a:lstStyle/>
          <a:p>
            <a:pPr algn="ctr"/>
            <a:r>
              <a:rPr lang="en-US" sz="1100" b="1" dirty="0" smtClean="0">
                <a:solidFill>
                  <a:schemeClr val="accent1"/>
                </a:solidFill>
                <a:latin typeface="+mj-lt"/>
              </a:rPr>
              <a:t>Service Provider</a:t>
            </a:r>
            <a:endParaRPr lang="en-US" sz="1100" b="1" dirty="0">
              <a:solidFill>
                <a:schemeClr val="accent1"/>
              </a:solidFill>
              <a:latin typeface="+mj-lt"/>
            </a:endParaRPr>
          </a:p>
        </p:txBody>
      </p:sp>
      <p:sp>
        <p:nvSpPr>
          <p:cNvPr id="382" name="Rectangle 381"/>
          <p:cNvSpPr/>
          <p:nvPr/>
        </p:nvSpPr>
        <p:spPr>
          <a:xfrm>
            <a:off x="206310" y="4291113"/>
            <a:ext cx="2518029" cy="369332"/>
          </a:xfrm>
          <a:prstGeom prst="rect">
            <a:avLst/>
          </a:prstGeom>
        </p:spPr>
        <p:txBody>
          <a:bodyPr wrap="square" lIns="0" tIns="0" rIns="0" bIns="0" numCol="1" spcCol="45720">
            <a:spAutoFit/>
          </a:bodyPr>
          <a:lstStyle/>
          <a:p>
            <a:pPr marL="182880" indent="-182880">
              <a:spcBef>
                <a:spcPts val="200"/>
              </a:spcBef>
              <a:buFont typeface="Wingdings" pitchFamily="2" charset="2"/>
              <a:buChar char="§"/>
            </a:pPr>
            <a:r>
              <a:rPr lang="en-US" sz="1200" dirty="0" smtClean="0">
                <a:solidFill>
                  <a:srgbClr val="FFFFFF"/>
                </a:solidFill>
                <a:latin typeface="+mj-lt"/>
              </a:rPr>
              <a:t>Evolves Ultra Services Platform to </a:t>
            </a:r>
            <a:r>
              <a:rPr lang="en-US" sz="1200" dirty="0" err="1" smtClean="0">
                <a:solidFill>
                  <a:srgbClr val="FFFFFF"/>
                </a:solidFill>
                <a:latin typeface="+mj-lt"/>
              </a:rPr>
              <a:t>CIoT</a:t>
            </a:r>
            <a:r>
              <a:rPr lang="en-US" sz="1200" dirty="0" smtClean="0">
                <a:solidFill>
                  <a:srgbClr val="FFFFFF"/>
                </a:solidFill>
                <a:latin typeface="+mj-lt"/>
              </a:rPr>
              <a:t> architecture: CSGN, SCEF</a:t>
            </a:r>
          </a:p>
        </p:txBody>
      </p:sp>
      <p:sp>
        <p:nvSpPr>
          <p:cNvPr id="383" name="Rectangle 382"/>
          <p:cNvSpPr/>
          <p:nvPr/>
        </p:nvSpPr>
        <p:spPr>
          <a:xfrm>
            <a:off x="2873701" y="4291113"/>
            <a:ext cx="2360633" cy="369332"/>
          </a:xfrm>
          <a:prstGeom prst="rect">
            <a:avLst/>
          </a:prstGeom>
        </p:spPr>
        <p:txBody>
          <a:bodyPr wrap="square" lIns="0" tIns="0" rIns="0" bIns="0" numCol="1" spcCol="18288">
            <a:spAutoFit/>
          </a:bodyPr>
          <a:lstStyle/>
          <a:p>
            <a:pPr marL="182880" indent="-182880">
              <a:spcBef>
                <a:spcPts val="200"/>
              </a:spcBef>
              <a:buFont typeface="Wingdings" pitchFamily="2" charset="2"/>
              <a:buChar char="§"/>
            </a:pPr>
            <a:r>
              <a:rPr lang="en-US" sz="1200" dirty="0" smtClean="0">
                <a:solidFill>
                  <a:srgbClr val="FFFFFF"/>
                </a:solidFill>
                <a:latin typeface="+mj-lt"/>
              </a:rPr>
              <a:t>New </a:t>
            </a:r>
            <a:r>
              <a:rPr lang="en-US" sz="1200" dirty="0" err="1" smtClean="0">
                <a:solidFill>
                  <a:srgbClr val="FFFFFF"/>
                </a:solidFill>
                <a:latin typeface="+mj-lt"/>
              </a:rPr>
              <a:t>eSCEF</a:t>
            </a:r>
            <a:r>
              <a:rPr lang="en-US" sz="1200" dirty="0" smtClean="0">
                <a:solidFill>
                  <a:srgbClr val="FFFFFF"/>
                </a:solidFill>
                <a:latin typeface="+mj-lt"/>
              </a:rPr>
              <a:t> function with network service capabilities: </a:t>
            </a:r>
          </a:p>
        </p:txBody>
      </p:sp>
      <p:sp>
        <p:nvSpPr>
          <p:cNvPr id="384" name="Rectangle 383"/>
          <p:cNvSpPr/>
          <p:nvPr/>
        </p:nvSpPr>
        <p:spPr>
          <a:xfrm>
            <a:off x="5176448" y="4210320"/>
            <a:ext cx="3814248" cy="512961"/>
          </a:xfrm>
          <a:prstGeom prst="rect">
            <a:avLst/>
          </a:prstGeom>
        </p:spPr>
        <p:txBody>
          <a:bodyPr wrap="square" lIns="0" tIns="0" rIns="0" bIns="0" numCol="1" spcCol="18288">
            <a:spAutoFit/>
          </a:bodyPr>
          <a:lstStyle/>
          <a:p>
            <a:pPr marL="365760" indent="-182880">
              <a:spcBef>
                <a:spcPts val="200"/>
              </a:spcBef>
              <a:buFont typeface="Arial" pitchFamily="34" charset="0"/>
              <a:buChar char="­"/>
            </a:pPr>
            <a:r>
              <a:rPr lang="en-US" sz="1000" dirty="0" smtClean="0">
                <a:solidFill>
                  <a:srgbClr val="FFFFFF"/>
                </a:solidFill>
                <a:latin typeface="+mj-lt"/>
              </a:rPr>
              <a:t>organizes device data, associates endpoints with apps</a:t>
            </a:r>
          </a:p>
          <a:p>
            <a:pPr marL="365760" indent="-182880">
              <a:spcBef>
                <a:spcPts val="200"/>
              </a:spcBef>
              <a:buFont typeface="Arial" pitchFamily="34" charset="0"/>
              <a:buChar char="­"/>
            </a:pPr>
            <a:r>
              <a:rPr lang="en-US" sz="1000" dirty="0" smtClean="0">
                <a:solidFill>
                  <a:srgbClr val="FFFFFF"/>
                </a:solidFill>
                <a:latin typeface="+mj-lt"/>
              </a:rPr>
              <a:t>Open API to expose network capabilities to devices and apps</a:t>
            </a:r>
          </a:p>
          <a:p>
            <a:pPr marL="365760" indent="-182880">
              <a:spcBef>
                <a:spcPts val="200"/>
              </a:spcBef>
              <a:buFont typeface="Arial" pitchFamily="34" charset="0"/>
              <a:buChar char="­"/>
            </a:pPr>
            <a:r>
              <a:rPr lang="en-US" sz="1000" dirty="0" smtClean="0">
                <a:solidFill>
                  <a:srgbClr val="FFFFFF"/>
                </a:solidFill>
                <a:latin typeface="+mj-lt"/>
              </a:rPr>
              <a:t>Complies with oneM2M architecture</a:t>
            </a:r>
          </a:p>
        </p:txBody>
      </p:sp>
      <p:sp>
        <p:nvSpPr>
          <p:cNvPr id="385" name="Isosceles Triangle 384"/>
          <p:cNvSpPr/>
          <p:nvPr/>
        </p:nvSpPr>
        <p:spPr>
          <a:xfrm rot="5400000">
            <a:off x="5067831" y="4372591"/>
            <a:ext cx="264524" cy="168371"/>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cxnSp>
        <p:nvCxnSpPr>
          <p:cNvPr id="387" name="Straight Connector 386"/>
          <p:cNvCxnSpPr/>
          <p:nvPr/>
        </p:nvCxnSpPr>
        <p:spPr>
          <a:xfrm>
            <a:off x="2799916" y="4270595"/>
            <a:ext cx="0" cy="37959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57" name="Group 399"/>
          <p:cNvGrpSpPr/>
          <p:nvPr/>
        </p:nvGrpSpPr>
        <p:grpSpPr>
          <a:xfrm>
            <a:off x="1687517" y="2447998"/>
            <a:ext cx="813569" cy="520946"/>
            <a:chOff x="1687517" y="2447998"/>
            <a:chExt cx="813569" cy="520946"/>
          </a:xfrm>
        </p:grpSpPr>
        <p:cxnSp>
          <p:nvCxnSpPr>
            <p:cNvPr id="390" name="Straight Arrow Connector 389"/>
            <p:cNvCxnSpPr>
              <a:endCxn id="365" idx="0"/>
            </p:cNvCxnSpPr>
            <p:nvPr/>
          </p:nvCxnSpPr>
          <p:spPr>
            <a:xfrm>
              <a:off x="2090738" y="2447998"/>
              <a:ext cx="3563" cy="52094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88" name="Rectangle 15"/>
            <p:cNvSpPr>
              <a:spLocks noChangeArrowheads="1"/>
            </p:cNvSpPr>
            <p:nvPr/>
          </p:nvSpPr>
          <p:spPr bwMode="auto">
            <a:xfrm>
              <a:off x="1687517" y="2607808"/>
              <a:ext cx="813569" cy="168304"/>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bodyPr>
            <a:lstStyle/>
            <a:p>
              <a:pPr algn="ctr"/>
              <a:r>
                <a:rPr lang="en-US" sz="1050" dirty="0" smtClean="0">
                  <a:solidFill>
                    <a:schemeClr val="bg1"/>
                  </a:solidFill>
                  <a:latin typeface="+mj-lt"/>
                </a:rPr>
                <a:t>API</a:t>
              </a:r>
              <a:endParaRPr lang="en-US" sz="1050" dirty="0">
                <a:solidFill>
                  <a:schemeClr val="bg1"/>
                </a:solidFill>
                <a:latin typeface="+mj-lt"/>
              </a:endParaRPr>
            </a:p>
          </p:txBody>
        </p:sp>
      </p:grpSp>
      <p:sp>
        <p:nvSpPr>
          <p:cNvPr id="396" name="Rounded Rectangle 395"/>
          <p:cNvSpPr/>
          <p:nvPr/>
        </p:nvSpPr>
        <p:spPr>
          <a:xfrm>
            <a:off x="1852034" y="3555215"/>
            <a:ext cx="485183" cy="122330"/>
          </a:xfrm>
          <a:prstGeom prst="round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err="1" smtClean="0">
                <a:solidFill>
                  <a:schemeClr val="bg1"/>
                </a:solidFill>
                <a:latin typeface="+mj-lt"/>
              </a:rPr>
              <a:t>eSCEF</a:t>
            </a:r>
            <a:endParaRPr lang="en-US" sz="700" dirty="0">
              <a:solidFill>
                <a:schemeClr val="bg1"/>
              </a:solidFill>
              <a:latin typeface="+mj-lt"/>
            </a:endParaRPr>
          </a:p>
        </p:txBody>
      </p:sp>
      <p:sp>
        <p:nvSpPr>
          <p:cNvPr id="399" name="Rounded Rectangle 398"/>
          <p:cNvSpPr/>
          <p:nvPr/>
        </p:nvSpPr>
        <p:spPr>
          <a:xfrm>
            <a:off x="909848" y="3555215"/>
            <a:ext cx="485183" cy="122330"/>
          </a:xfrm>
          <a:prstGeom prst="round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solidFill>
                  <a:schemeClr val="bg1"/>
                </a:solidFill>
                <a:latin typeface="+mj-lt"/>
              </a:rPr>
              <a:t>CSGN</a:t>
            </a:r>
          </a:p>
        </p:txBody>
      </p:sp>
      <p:grpSp>
        <p:nvGrpSpPr>
          <p:cNvPr id="231" name="Group 230"/>
          <p:cNvGrpSpPr/>
          <p:nvPr/>
        </p:nvGrpSpPr>
        <p:grpSpPr>
          <a:xfrm>
            <a:off x="6849993" y="3827628"/>
            <a:ext cx="292608" cy="292608"/>
            <a:chOff x="6849993" y="3827628"/>
            <a:chExt cx="292608" cy="292608"/>
          </a:xfrm>
        </p:grpSpPr>
        <p:sp>
          <p:nvSpPr>
            <p:cNvPr id="232" name="Oval 231"/>
            <p:cNvSpPr/>
            <p:nvPr/>
          </p:nvSpPr>
          <p:spPr>
            <a:xfrm>
              <a:off x="6849993" y="3827628"/>
              <a:ext cx="292608" cy="29260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33" name="Freeform 15"/>
            <p:cNvSpPr>
              <a:spLocks noEditPoints="1"/>
            </p:cNvSpPr>
            <p:nvPr/>
          </p:nvSpPr>
          <p:spPr bwMode="auto">
            <a:xfrm>
              <a:off x="6912832" y="3890449"/>
              <a:ext cx="166931" cy="166966"/>
            </a:xfrm>
            <a:custGeom>
              <a:avLst/>
              <a:gdLst/>
              <a:ahLst/>
              <a:cxnLst>
                <a:cxn ang="0">
                  <a:pos x="1420" y="1718"/>
                </a:cxn>
                <a:cxn ang="0">
                  <a:pos x="1354" y="1453"/>
                </a:cxn>
                <a:cxn ang="0">
                  <a:pos x="1212" y="1156"/>
                </a:cxn>
                <a:cxn ang="0">
                  <a:pos x="1652" y="567"/>
                </a:cxn>
                <a:cxn ang="0">
                  <a:pos x="1718" y="231"/>
                </a:cxn>
                <a:cxn ang="0">
                  <a:pos x="793" y="132"/>
                </a:cxn>
                <a:cxn ang="0">
                  <a:pos x="157" y="0"/>
                </a:cxn>
                <a:cxn ang="0">
                  <a:pos x="264" y="198"/>
                </a:cxn>
                <a:cxn ang="0">
                  <a:pos x="0" y="384"/>
                </a:cxn>
                <a:cxn ang="0">
                  <a:pos x="661" y="330"/>
                </a:cxn>
                <a:cxn ang="0">
                  <a:pos x="1268" y="396"/>
                </a:cxn>
                <a:cxn ang="0">
                  <a:pos x="593" y="1267"/>
                </a:cxn>
                <a:cxn ang="0">
                  <a:pos x="892" y="1519"/>
                </a:cxn>
                <a:cxn ang="0">
                  <a:pos x="892" y="1718"/>
                </a:cxn>
                <a:cxn ang="0">
                  <a:pos x="529" y="2048"/>
                </a:cxn>
                <a:cxn ang="0">
                  <a:pos x="1354" y="1784"/>
                </a:cxn>
                <a:cxn ang="0">
                  <a:pos x="66" y="343"/>
                </a:cxn>
                <a:cxn ang="0">
                  <a:pos x="330" y="132"/>
                </a:cxn>
                <a:cxn ang="0">
                  <a:pos x="173" y="66"/>
                </a:cxn>
                <a:cxn ang="0">
                  <a:pos x="595" y="396"/>
                </a:cxn>
                <a:cxn ang="0">
                  <a:pos x="595" y="66"/>
                </a:cxn>
                <a:cxn ang="0">
                  <a:pos x="661" y="264"/>
                </a:cxn>
                <a:cxn ang="0">
                  <a:pos x="793" y="264"/>
                </a:cxn>
                <a:cxn ang="0">
                  <a:pos x="1288" y="1586"/>
                </a:cxn>
                <a:cxn ang="0">
                  <a:pos x="1288" y="1718"/>
                </a:cxn>
                <a:cxn ang="0">
                  <a:pos x="958" y="1718"/>
                </a:cxn>
                <a:cxn ang="0">
                  <a:pos x="1024" y="1586"/>
                </a:cxn>
                <a:cxn ang="0">
                  <a:pos x="1024" y="1652"/>
                </a:cxn>
                <a:cxn ang="0">
                  <a:pos x="1222" y="1586"/>
                </a:cxn>
                <a:cxn ang="0">
                  <a:pos x="958" y="1519"/>
                </a:cxn>
                <a:cxn ang="0">
                  <a:pos x="1288" y="1519"/>
                </a:cxn>
                <a:cxn ang="0">
                  <a:pos x="1551" y="774"/>
                </a:cxn>
                <a:cxn ang="0">
                  <a:pos x="1040" y="1092"/>
                </a:cxn>
                <a:cxn ang="0">
                  <a:pos x="925" y="330"/>
                </a:cxn>
                <a:cxn ang="0">
                  <a:pos x="925" y="132"/>
                </a:cxn>
                <a:cxn ang="0">
                  <a:pos x="991" y="132"/>
                </a:cxn>
                <a:cxn ang="0">
                  <a:pos x="1652" y="330"/>
                </a:cxn>
                <a:cxn ang="0">
                  <a:pos x="1652" y="396"/>
                </a:cxn>
                <a:cxn ang="0">
                  <a:pos x="993" y="1045"/>
                </a:cxn>
                <a:cxn ang="0">
                  <a:pos x="1367" y="396"/>
                </a:cxn>
                <a:cxn ang="0">
                  <a:pos x="595" y="1112"/>
                </a:cxn>
                <a:cxn ang="0">
                  <a:pos x="1076" y="1222"/>
                </a:cxn>
                <a:cxn ang="0">
                  <a:pos x="806" y="1387"/>
                </a:cxn>
                <a:cxn ang="0">
                  <a:pos x="958" y="1652"/>
                </a:cxn>
                <a:cxn ang="0">
                  <a:pos x="1982" y="1982"/>
                </a:cxn>
                <a:cxn ang="0">
                  <a:pos x="1850" y="1916"/>
                </a:cxn>
                <a:cxn ang="0">
                  <a:pos x="1784" y="1916"/>
                </a:cxn>
                <a:cxn ang="0">
                  <a:pos x="1652" y="1982"/>
                </a:cxn>
                <a:cxn ang="0">
                  <a:pos x="1586" y="1982"/>
                </a:cxn>
                <a:cxn ang="0">
                  <a:pos x="1453" y="1916"/>
                </a:cxn>
                <a:cxn ang="0">
                  <a:pos x="1387" y="1916"/>
                </a:cxn>
                <a:cxn ang="0">
                  <a:pos x="1255" y="1982"/>
                </a:cxn>
                <a:cxn ang="0">
                  <a:pos x="1189" y="1982"/>
                </a:cxn>
                <a:cxn ang="0">
                  <a:pos x="1057" y="1916"/>
                </a:cxn>
                <a:cxn ang="0">
                  <a:pos x="991" y="1916"/>
                </a:cxn>
                <a:cxn ang="0">
                  <a:pos x="859" y="1982"/>
                </a:cxn>
                <a:cxn ang="0">
                  <a:pos x="793" y="1982"/>
                </a:cxn>
                <a:cxn ang="0">
                  <a:pos x="661" y="1916"/>
                </a:cxn>
                <a:cxn ang="0">
                  <a:pos x="595" y="1850"/>
                </a:cxn>
                <a:cxn ang="0">
                  <a:pos x="743" y="1024"/>
                </a:cxn>
                <a:cxn ang="0">
                  <a:pos x="826" y="1107"/>
                </a:cxn>
                <a:cxn ang="0">
                  <a:pos x="727" y="1107"/>
                </a:cxn>
                <a:cxn ang="0">
                  <a:pos x="743" y="1123"/>
                </a:cxn>
              </a:cxnLst>
              <a:rect l="0" t="0" r="r" b="b"/>
              <a:pathLst>
                <a:path w="2048" h="2048">
                  <a:moveTo>
                    <a:pt x="1354" y="1784"/>
                  </a:moveTo>
                  <a:cubicBezTo>
                    <a:pt x="1354" y="1718"/>
                    <a:pt x="1354" y="1718"/>
                    <a:pt x="1354" y="1718"/>
                  </a:cubicBezTo>
                  <a:cubicBezTo>
                    <a:pt x="1420" y="1718"/>
                    <a:pt x="1420" y="1718"/>
                    <a:pt x="1420" y="1718"/>
                  </a:cubicBezTo>
                  <a:cubicBezTo>
                    <a:pt x="1420" y="1519"/>
                    <a:pt x="1420" y="1519"/>
                    <a:pt x="1420" y="1519"/>
                  </a:cubicBezTo>
                  <a:cubicBezTo>
                    <a:pt x="1354" y="1519"/>
                    <a:pt x="1354" y="1519"/>
                    <a:pt x="1354" y="1519"/>
                  </a:cubicBezTo>
                  <a:cubicBezTo>
                    <a:pt x="1354" y="1453"/>
                    <a:pt x="1354" y="1453"/>
                    <a:pt x="1354" y="1453"/>
                  </a:cubicBezTo>
                  <a:cubicBezTo>
                    <a:pt x="1486" y="1453"/>
                    <a:pt x="1486" y="1453"/>
                    <a:pt x="1486" y="1453"/>
                  </a:cubicBezTo>
                  <a:cubicBezTo>
                    <a:pt x="1486" y="1156"/>
                    <a:pt x="1486" y="1156"/>
                    <a:pt x="1486" y="1156"/>
                  </a:cubicBezTo>
                  <a:cubicBezTo>
                    <a:pt x="1212" y="1156"/>
                    <a:pt x="1212" y="1156"/>
                    <a:pt x="1212" y="1156"/>
                  </a:cubicBezTo>
                  <a:cubicBezTo>
                    <a:pt x="1595" y="824"/>
                    <a:pt x="1595" y="824"/>
                    <a:pt x="1595" y="824"/>
                  </a:cubicBezTo>
                  <a:cubicBezTo>
                    <a:pt x="1631" y="793"/>
                    <a:pt x="1652" y="747"/>
                    <a:pt x="1652" y="699"/>
                  </a:cubicBezTo>
                  <a:cubicBezTo>
                    <a:pt x="1652" y="567"/>
                    <a:pt x="1652" y="567"/>
                    <a:pt x="1652" y="567"/>
                  </a:cubicBezTo>
                  <a:cubicBezTo>
                    <a:pt x="1683" y="540"/>
                    <a:pt x="1683" y="540"/>
                    <a:pt x="1683" y="540"/>
                  </a:cubicBezTo>
                  <a:cubicBezTo>
                    <a:pt x="1705" y="521"/>
                    <a:pt x="1718" y="494"/>
                    <a:pt x="1718" y="465"/>
                  </a:cubicBezTo>
                  <a:cubicBezTo>
                    <a:pt x="1718" y="231"/>
                    <a:pt x="1718" y="231"/>
                    <a:pt x="1718" y="231"/>
                  </a:cubicBezTo>
                  <a:cubicBezTo>
                    <a:pt x="1718" y="140"/>
                    <a:pt x="1644" y="66"/>
                    <a:pt x="1553" y="66"/>
                  </a:cubicBezTo>
                  <a:cubicBezTo>
                    <a:pt x="793" y="66"/>
                    <a:pt x="793" y="66"/>
                    <a:pt x="793" y="66"/>
                  </a:cubicBezTo>
                  <a:cubicBezTo>
                    <a:pt x="793" y="132"/>
                    <a:pt x="793" y="132"/>
                    <a:pt x="793" y="132"/>
                  </a:cubicBezTo>
                  <a:cubicBezTo>
                    <a:pt x="661" y="132"/>
                    <a:pt x="661" y="132"/>
                    <a:pt x="661" y="132"/>
                  </a:cubicBezTo>
                  <a:cubicBezTo>
                    <a:pt x="661" y="0"/>
                    <a:pt x="661" y="0"/>
                    <a:pt x="661" y="0"/>
                  </a:cubicBezTo>
                  <a:cubicBezTo>
                    <a:pt x="157" y="0"/>
                    <a:pt x="157" y="0"/>
                    <a:pt x="157" y="0"/>
                  </a:cubicBezTo>
                  <a:cubicBezTo>
                    <a:pt x="0" y="79"/>
                    <a:pt x="0" y="79"/>
                    <a:pt x="0" y="79"/>
                  </a:cubicBezTo>
                  <a:cubicBezTo>
                    <a:pt x="0" y="198"/>
                    <a:pt x="0" y="198"/>
                    <a:pt x="0" y="198"/>
                  </a:cubicBezTo>
                  <a:cubicBezTo>
                    <a:pt x="264" y="198"/>
                    <a:pt x="264" y="198"/>
                    <a:pt x="264" y="198"/>
                  </a:cubicBezTo>
                  <a:cubicBezTo>
                    <a:pt x="264" y="264"/>
                    <a:pt x="264" y="264"/>
                    <a:pt x="264" y="264"/>
                  </a:cubicBezTo>
                  <a:cubicBezTo>
                    <a:pt x="0" y="264"/>
                    <a:pt x="0" y="264"/>
                    <a:pt x="0" y="264"/>
                  </a:cubicBezTo>
                  <a:cubicBezTo>
                    <a:pt x="0" y="384"/>
                    <a:pt x="0" y="384"/>
                    <a:pt x="0" y="384"/>
                  </a:cubicBezTo>
                  <a:cubicBezTo>
                    <a:pt x="157" y="462"/>
                    <a:pt x="157" y="462"/>
                    <a:pt x="157" y="462"/>
                  </a:cubicBezTo>
                  <a:cubicBezTo>
                    <a:pt x="661" y="462"/>
                    <a:pt x="661" y="462"/>
                    <a:pt x="661" y="462"/>
                  </a:cubicBezTo>
                  <a:cubicBezTo>
                    <a:pt x="661" y="330"/>
                    <a:pt x="661" y="330"/>
                    <a:pt x="661" y="330"/>
                  </a:cubicBezTo>
                  <a:cubicBezTo>
                    <a:pt x="793" y="330"/>
                    <a:pt x="793" y="330"/>
                    <a:pt x="793" y="330"/>
                  </a:cubicBezTo>
                  <a:cubicBezTo>
                    <a:pt x="793" y="396"/>
                    <a:pt x="793" y="396"/>
                    <a:pt x="793" y="396"/>
                  </a:cubicBezTo>
                  <a:cubicBezTo>
                    <a:pt x="1268" y="396"/>
                    <a:pt x="1268" y="396"/>
                    <a:pt x="1268" y="396"/>
                  </a:cubicBezTo>
                  <a:cubicBezTo>
                    <a:pt x="710" y="895"/>
                    <a:pt x="710" y="895"/>
                    <a:pt x="710" y="895"/>
                  </a:cubicBezTo>
                  <a:cubicBezTo>
                    <a:pt x="607" y="914"/>
                    <a:pt x="529" y="1004"/>
                    <a:pt x="529" y="1112"/>
                  </a:cubicBezTo>
                  <a:cubicBezTo>
                    <a:pt x="529" y="1170"/>
                    <a:pt x="551" y="1226"/>
                    <a:pt x="593" y="1267"/>
                  </a:cubicBezTo>
                  <a:cubicBezTo>
                    <a:pt x="779" y="1453"/>
                    <a:pt x="779" y="1453"/>
                    <a:pt x="779" y="1453"/>
                  </a:cubicBezTo>
                  <a:cubicBezTo>
                    <a:pt x="892" y="1453"/>
                    <a:pt x="892" y="1453"/>
                    <a:pt x="892" y="1453"/>
                  </a:cubicBezTo>
                  <a:cubicBezTo>
                    <a:pt x="892" y="1519"/>
                    <a:pt x="892" y="1519"/>
                    <a:pt x="892" y="1519"/>
                  </a:cubicBezTo>
                  <a:cubicBezTo>
                    <a:pt x="826" y="1519"/>
                    <a:pt x="826" y="1519"/>
                    <a:pt x="826" y="1519"/>
                  </a:cubicBezTo>
                  <a:cubicBezTo>
                    <a:pt x="826" y="1718"/>
                    <a:pt x="826" y="1718"/>
                    <a:pt x="826" y="1718"/>
                  </a:cubicBezTo>
                  <a:cubicBezTo>
                    <a:pt x="892" y="1718"/>
                    <a:pt x="892" y="1718"/>
                    <a:pt x="892" y="1718"/>
                  </a:cubicBezTo>
                  <a:cubicBezTo>
                    <a:pt x="892" y="1784"/>
                    <a:pt x="892" y="1784"/>
                    <a:pt x="892" y="1784"/>
                  </a:cubicBezTo>
                  <a:cubicBezTo>
                    <a:pt x="529" y="1784"/>
                    <a:pt x="529" y="1784"/>
                    <a:pt x="529" y="1784"/>
                  </a:cubicBezTo>
                  <a:cubicBezTo>
                    <a:pt x="529" y="2048"/>
                    <a:pt x="529" y="2048"/>
                    <a:pt x="529" y="2048"/>
                  </a:cubicBezTo>
                  <a:cubicBezTo>
                    <a:pt x="2048" y="2048"/>
                    <a:pt x="2048" y="2048"/>
                    <a:pt x="2048" y="2048"/>
                  </a:cubicBezTo>
                  <a:cubicBezTo>
                    <a:pt x="2048" y="1784"/>
                    <a:pt x="2048" y="1784"/>
                    <a:pt x="2048" y="1784"/>
                  </a:cubicBezTo>
                  <a:lnTo>
                    <a:pt x="1354" y="1784"/>
                  </a:lnTo>
                  <a:close/>
                  <a:moveTo>
                    <a:pt x="396" y="396"/>
                  </a:moveTo>
                  <a:cubicBezTo>
                    <a:pt x="173" y="396"/>
                    <a:pt x="173" y="396"/>
                    <a:pt x="173" y="396"/>
                  </a:cubicBezTo>
                  <a:cubicBezTo>
                    <a:pt x="66" y="343"/>
                    <a:pt x="66" y="343"/>
                    <a:pt x="66" y="343"/>
                  </a:cubicBezTo>
                  <a:cubicBezTo>
                    <a:pt x="66" y="330"/>
                    <a:pt x="66" y="330"/>
                    <a:pt x="66" y="330"/>
                  </a:cubicBezTo>
                  <a:cubicBezTo>
                    <a:pt x="330" y="330"/>
                    <a:pt x="330" y="330"/>
                    <a:pt x="330" y="330"/>
                  </a:cubicBezTo>
                  <a:cubicBezTo>
                    <a:pt x="330" y="132"/>
                    <a:pt x="330" y="132"/>
                    <a:pt x="330" y="132"/>
                  </a:cubicBezTo>
                  <a:cubicBezTo>
                    <a:pt x="66" y="132"/>
                    <a:pt x="66" y="132"/>
                    <a:pt x="66" y="132"/>
                  </a:cubicBezTo>
                  <a:cubicBezTo>
                    <a:pt x="66" y="120"/>
                    <a:pt x="66" y="120"/>
                    <a:pt x="66" y="120"/>
                  </a:cubicBezTo>
                  <a:cubicBezTo>
                    <a:pt x="173" y="66"/>
                    <a:pt x="173" y="66"/>
                    <a:pt x="173" y="66"/>
                  </a:cubicBezTo>
                  <a:cubicBezTo>
                    <a:pt x="396" y="66"/>
                    <a:pt x="396" y="66"/>
                    <a:pt x="396" y="66"/>
                  </a:cubicBezTo>
                  <a:lnTo>
                    <a:pt x="396" y="396"/>
                  </a:lnTo>
                  <a:close/>
                  <a:moveTo>
                    <a:pt x="595" y="396"/>
                  </a:moveTo>
                  <a:cubicBezTo>
                    <a:pt x="462" y="396"/>
                    <a:pt x="462" y="396"/>
                    <a:pt x="462" y="396"/>
                  </a:cubicBezTo>
                  <a:cubicBezTo>
                    <a:pt x="462" y="66"/>
                    <a:pt x="462" y="66"/>
                    <a:pt x="462" y="66"/>
                  </a:cubicBezTo>
                  <a:cubicBezTo>
                    <a:pt x="595" y="66"/>
                    <a:pt x="595" y="66"/>
                    <a:pt x="595" y="66"/>
                  </a:cubicBezTo>
                  <a:lnTo>
                    <a:pt x="595" y="396"/>
                  </a:lnTo>
                  <a:close/>
                  <a:moveTo>
                    <a:pt x="793" y="264"/>
                  </a:moveTo>
                  <a:cubicBezTo>
                    <a:pt x="661" y="264"/>
                    <a:pt x="661" y="264"/>
                    <a:pt x="661" y="264"/>
                  </a:cubicBezTo>
                  <a:cubicBezTo>
                    <a:pt x="661" y="198"/>
                    <a:pt x="661" y="198"/>
                    <a:pt x="661" y="198"/>
                  </a:cubicBezTo>
                  <a:cubicBezTo>
                    <a:pt x="793" y="198"/>
                    <a:pt x="793" y="198"/>
                    <a:pt x="793" y="198"/>
                  </a:cubicBezTo>
                  <a:lnTo>
                    <a:pt x="793" y="264"/>
                  </a:lnTo>
                  <a:close/>
                  <a:moveTo>
                    <a:pt x="1354" y="1652"/>
                  </a:moveTo>
                  <a:cubicBezTo>
                    <a:pt x="1288" y="1652"/>
                    <a:pt x="1288" y="1652"/>
                    <a:pt x="1288" y="1652"/>
                  </a:cubicBezTo>
                  <a:cubicBezTo>
                    <a:pt x="1288" y="1586"/>
                    <a:pt x="1288" y="1586"/>
                    <a:pt x="1288" y="1586"/>
                  </a:cubicBezTo>
                  <a:cubicBezTo>
                    <a:pt x="1354" y="1586"/>
                    <a:pt x="1354" y="1586"/>
                    <a:pt x="1354" y="1586"/>
                  </a:cubicBezTo>
                  <a:lnTo>
                    <a:pt x="1354" y="1652"/>
                  </a:lnTo>
                  <a:close/>
                  <a:moveTo>
                    <a:pt x="1288" y="1718"/>
                  </a:moveTo>
                  <a:cubicBezTo>
                    <a:pt x="1288" y="1784"/>
                    <a:pt x="1288" y="1784"/>
                    <a:pt x="1288" y="1784"/>
                  </a:cubicBezTo>
                  <a:cubicBezTo>
                    <a:pt x="958" y="1784"/>
                    <a:pt x="958" y="1784"/>
                    <a:pt x="958" y="1784"/>
                  </a:cubicBezTo>
                  <a:cubicBezTo>
                    <a:pt x="958" y="1718"/>
                    <a:pt x="958" y="1718"/>
                    <a:pt x="958" y="1718"/>
                  </a:cubicBezTo>
                  <a:lnTo>
                    <a:pt x="1288" y="1718"/>
                  </a:lnTo>
                  <a:close/>
                  <a:moveTo>
                    <a:pt x="1024" y="1652"/>
                  </a:moveTo>
                  <a:cubicBezTo>
                    <a:pt x="1024" y="1586"/>
                    <a:pt x="1024" y="1586"/>
                    <a:pt x="1024" y="1586"/>
                  </a:cubicBezTo>
                  <a:cubicBezTo>
                    <a:pt x="1090" y="1586"/>
                    <a:pt x="1090" y="1586"/>
                    <a:pt x="1090" y="1586"/>
                  </a:cubicBezTo>
                  <a:cubicBezTo>
                    <a:pt x="1090" y="1652"/>
                    <a:pt x="1090" y="1652"/>
                    <a:pt x="1090" y="1652"/>
                  </a:cubicBezTo>
                  <a:lnTo>
                    <a:pt x="1024" y="1652"/>
                  </a:lnTo>
                  <a:close/>
                  <a:moveTo>
                    <a:pt x="1156" y="1652"/>
                  </a:moveTo>
                  <a:cubicBezTo>
                    <a:pt x="1156" y="1586"/>
                    <a:pt x="1156" y="1586"/>
                    <a:pt x="1156" y="1586"/>
                  </a:cubicBezTo>
                  <a:cubicBezTo>
                    <a:pt x="1222" y="1586"/>
                    <a:pt x="1222" y="1586"/>
                    <a:pt x="1222" y="1586"/>
                  </a:cubicBezTo>
                  <a:cubicBezTo>
                    <a:pt x="1222" y="1652"/>
                    <a:pt x="1222" y="1652"/>
                    <a:pt x="1222" y="1652"/>
                  </a:cubicBezTo>
                  <a:lnTo>
                    <a:pt x="1156" y="1652"/>
                  </a:lnTo>
                  <a:close/>
                  <a:moveTo>
                    <a:pt x="958" y="1519"/>
                  </a:moveTo>
                  <a:cubicBezTo>
                    <a:pt x="958" y="1453"/>
                    <a:pt x="958" y="1453"/>
                    <a:pt x="958" y="1453"/>
                  </a:cubicBezTo>
                  <a:cubicBezTo>
                    <a:pt x="1288" y="1453"/>
                    <a:pt x="1288" y="1453"/>
                    <a:pt x="1288" y="1453"/>
                  </a:cubicBezTo>
                  <a:cubicBezTo>
                    <a:pt x="1288" y="1519"/>
                    <a:pt x="1288" y="1519"/>
                    <a:pt x="1288" y="1519"/>
                  </a:cubicBezTo>
                  <a:lnTo>
                    <a:pt x="958" y="1519"/>
                  </a:lnTo>
                  <a:close/>
                  <a:moveTo>
                    <a:pt x="1586" y="699"/>
                  </a:moveTo>
                  <a:cubicBezTo>
                    <a:pt x="1586" y="728"/>
                    <a:pt x="1573" y="755"/>
                    <a:pt x="1551" y="774"/>
                  </a:cubicBezTo>
                  <a:cubicBezTo>
                    <a:pt x="1111" y="1156"/>
                    <a:pt x="1111" y="1156"/>
                    <a:pt x="1111" y="1156"/>
                  </a:cubicBezTo>
                  <a:cubicBezTo>
                    <a:pt x="1104" y="1156"/>
                    <a:pt x="1104" y="1156"/>
                    <a:pt x="1104" y="1156"/>
                  </a:cubicBezTo>
                  <a:cubicBezTo>
                    <a:pt x="1040" y="1092"/>
                    <a:pt x="1040" y="1092"/>
                    <a:pt x="1040" y="1092"/>
                  </a:cubicBezTo>
                  <a:cubicBezTo>
                    <a:pt x="1586" y="624"/>
                    <a:pt x="1586" y="624"/>
                    <a:pt x="1586" y="624"/>
                  </a:cubicBezTo>
                  <a:lnTo>
                    <a:pt x="1586" y="699"/>
                  </a:lnTo>
                  <a:close/>
                  <a:moveTo>
                    <a:pt x="925" y="330"/>
                  </a:moveTo>
                  <a:cubicBezTo>
                    <a:pt x="859" y="330"/>
                    <a:pt x="859" y="330"/>
                    <a:pt x="859" y="330"/>
                  </a:cubicBezTo>
                  <a:cubicBezTo>
                    <a:pt x="859" y="132"/>
                    <a:pt x="859" y="132"/>
                    <a:pt x="859" y="132"/>
                  </a:cubicBezTo>
                  <a:cubicBezTo>
                    <a:pt x="925" y="132"/>
                    <a:pt x="925" y="132"/>
                    <a:pt x="925" y="132"/>
                  </a:cubicBezTo>
                  <a:lnTo>
                    <a:pt x="925" y="330"/>
                  </a:lnTo>
                  <a:close/>
                  <a:moveTo>
                    <a:pt x="991" y="330"/>
                  </a:moveTo>
                  <a:cubicBezTo>
                    <a:pt x="991" y="132"/>
                    <a:pt x="991" y="132"/>
                    <a:pt x="991" y="132"/>
                  </a:cubicBezTo>
                  <a:cubicBezTo>
                    <a:pt x="1553" y="132"/>
                    <a:pt x="1553" y="132"/>
                    <a:pt x="1553" y="132"/>
                  </a:cubicBezTo>
                  <a:cubicBezTo>
                    <a:pt x="1607" y="132"/>
                    <a:pt x="1652" y="177"/>
                    <a:pt x="1652" y="231"/>
                  </a:cubicBezTo>
                  <a:cubicBezTo>
                    <a:pt x="1652" y="330"/>
                    <a:pt x="1652" y="330"/>
                    <a:pt x="1652" y="330"/>
                  </a:cubicBezTo>
                  <a:lnTo>
                    <a:pt x="991" y="330"/>
                  </a:lnTo>
                  <a:close/>
                  <a:moveTo>
                    <a:pt x="1367" y="396"/>
                  </a:moveTo>
                  <a:cubicBezTo>
                    <a:pt x="1652" y="396"/>
                    <a:pt x="1652" y="396"/>
                    <a:pt x="1652" y="396"/>
                  </a:cubicBezTo>
                  <a:cubicBezTo>
                    <a:pt x="1652" y="465"/>
                    <a:pt x="1652" y="465"/>
                    <a:pt x="1652" y="465"/>
                  </a:cubicBezTo>
                  <a:cubicBezTo>
                    <a:pt x="1652" y="475"/>
                    <a:pt x="1647" y="484"/>
                    <a:pt x="1640" y="490"/>
                  </a:cubicBezTo>
                  <a:cubicBezTo>
                    <a:pt x="993" y="1045"/>
                    <a:pt x="993" y="1045"/>
                    <a:pt x="993" y="1045"/>
                  </a:cubicBezTo>
                  <a:cubicBezTo>
                    <a:pt x="904" y="956"/>
                    <a:pt x="904" y="956"/>
                    <a:pt x="904" y="956"/>
                  </a:cubicBezTo>
                  <a:cubicBezTo>
                    <a:pt x="876" y="928"/>
                    <a:pt x="842" y="909"/>
                    <a:pt x="805" y="899"/>
                  </a:cubicBezTo>
                  <a:lnTo>
                    <a:pt x="1367" y="396"/>
                  </a:lnTo>
                  <a:close/>
                  <a:moveTo>
                    <a:pt x="806" y="1387"/>
                  </a:moveTo>
                  <a:cubicBezTo>
                    <a:pt x="640" y="1221"/>
                    <a:pt x="640" y="1221"/>
                    <a:pt x="640" y="1221"/>
                  </a:cubicBezTo>
                  <a:cubicBezTo>
                    <a:pt x="611" y="1191"/>
                    <a:pt x="595" y="1153"/>
                    <a:pt x="595" y="1112"/>
                  </a:cubicBezTo>
                  <a:cubicBezTo>
                    <a:pt x="595" y="1027"/>
                    <a:pt x="664" y="958"/>
                    <a:pt x="748" y="958"/>
                  </a:cubicBezTo>
                  <a:cubicBezTo>
                    <a:pt x="790" y="958"/>
                    <a:pt x="828" y="974"/>
                    <a:pt x="857" y="1003"/>
                  </a:cubicBezTo>
                  <a:cubicBezTo>
                    <a:pt x="1076" y="1222"/>
                    <a:pt x="1076" y="1222"/>
                    <a:pt x="1076" y="1222"/>
                  </a:cubicBezTo>
                  <a:cubicBezTo>
                    <a:pt x="1420" y="1222"/>
                    <a:pt x="1420" y="1222"/>
                    <a:pt x="1420" y="1222"/>
                  </a:cubicBezTo>
                  <a:cubicBezTo>
                    <a:pt x="1420" y="1387"/>
                    <a:pt x="1420" y="1387"/>
                    <a:pt x="1420" y="1387"/>
                  </a:cubicBezTo>
                  <a:lnTo>
                    <a:pt x="806" y="1387"/>
                  </a:lnTo>
                  <a:close/>
                  <a:moveTo>
                    <a:pt x="892" y="1586"/>
                  </a:moveTo>
                  <a:cubicBezTo>
                    <a:pt x="958" y="1586"/>
                    <a:pt x="958" y="1586"/>
                    <a:pt x="958" y="1586"/>
                  </a:cubicBezTo>
                  <a:cubicBezTo>
                    <a:pt x="958" y="1652"/>
                    <a:pt x="958" y="1652"/>
                    <a:pt x="958" y="1652"/>
                  </a:cubicBezTo>
                  <a:cubicBezTo>
                    <a:pt x="892" y="1652"/>
                    <a:pt x="892" y="1652"/>
                    <a:pt x="892" y="1652"/>
                  </a:cubicBezTo>
                  <a:lnTo>
                    <a:pt x="892" y="1586"/>
                  </a:lnTo>
                  <a:close/>
                  <a:moveTo>
                    <a:pt x="1982" y="1982"/>
                  </a:moveTo>
                  <a:cubicBezTo>
                    <a:pt x="1916" y="1982"/>
                    <a:pt x="1916" y="1982"/>
                    <a:pt x="1916" y="1982"/>
                  </a:cubicBezTo>
                  <a:cubicBezTo>
                    <a:pt x="1916" y="1916"/>
                    <a:pt x="1916" y="1916"/>
                    <a:pt x="1916" y="1916"/>
                  </a:cubicBezTo>
                  <a:cubicBezTo>
                    <a:pt x="1850" y="1916"/>
                    <a:pt x="1850" y="1916"/>
                    <a:pt x="1850" y="1916"/>
                  </a:cubicBezTo>
                  <a:cubicBezTo>
                    <a:pt x="1850" y="1982"/>
                    <a:pt x="1850" y="1982"/>
                    <a:pt x="1850" y="1982"/>
                  </a:cubicBezTo>
                  <a:cubicBezTo>
                    <a:pt x="1784" y="1982"/>
                    <a:pt x="1784" y="1982"/>
                    <a:pt x="1784" y="1982"/>
                  </a:cubicBezTo>
                  <a:cubicBezTo>
                    <a:pt x="1784" y="1916"/>
                    <a:pt x="1784" y="1916"/>
                    <a:pt x="1784" y="1916"/>
                  </a:cubicBezTo>
                  <a:cubicBezTo>
                    <a:pt x="1718" y="1916"/>
                    <a:pt x="1718" y="1916"/>
                    <a:pt x="1718" y="1916"/>
                  </a:cubicBezTo>
                  <a:cubicBezTo>
                    <a:pt x="1718" y="1982"/>
                    <a:pt x="1718" y="1982"/>
                    <a:pt x="1718" y="1982"/>
                  </a:cubicBezTo>
                  <a:cubicBezTo>
                    <a:pt x="1652" y="1982"/>
                    <a:pt x="1652" y="1982"/>
                    <a:pt x="1652" y="1982"/>
                  </a:cubicBezTo>
                  <a:cubicBezTo>
                    <a:pt x="1652" y="1916"/>
                    <a:pt x="1652" y="1916"/>
                    <a:pt x="1652" y="1916"/>
                  </a:cubicBezTo>
                  <a:cubicBezTo>
                    <a:pt x="1586" y="1916"/>
                    <a:pt x="1586" y="1916"/>
                    <a:pt x="1586" y="1916"/>
                  </a:cubicBezTo>
                  <a:cubicBezTo>
                    <a:pt x="1586" y="1982"/>
                    <a:pt x="1586" y="1982"/>
                    <a:pt x="1586" y="1982"/>
                  </a:cubicBezTo>
                  <a:cubicBezTo>
                    <a:pt x="1519" y="1982"/>
                    <a:pt x="1519" y="1982"/>
                    <a:pt x="1519" y="1982"/>
                  </a:cubicBezTo>
                  <a:cubicBezTo>
                    <a:pt x="1519" y="1916"/>
                    <a:pt x="1519" y="1916"/>
                    <a:pt x="1519" y="1916"/>
                  </a:cubicBezTo>
                  <a:cubicBezTo>
                    <a:pt x="1453" y="1916"/>
                    <a:pt x="1453" y="1916"/>
                    <a:pt x="1453" y="1916"/>
                  </a:cubicBezTo>
                  <a:cubicBezTo>
                    <a:pt x="1453" y="1982"/>
                    <a:pt x="1453" y="1982"/>
                    <a:pt x="1453" y="1982"/>
                  </a:cubicBezTo>
                  <a:cubicBezTo>
                    <a:pt x="1387" y="1982"/>
                    <a:pt x="1387" y="1982"/>
                    <a:pt x="1387" y="1982"/>
                  </a:cubicBezTo>
                  <a:cubicBezTo>
                    <a:pt x="1387" y="1916"/>
                    <a:pt x="1387" y="1916"/>
                    <a:pt x="1387" y="1916"/>
                  </a:cubicBezTo>
                  <a:cubicBezTo>
                    <a:pt x="1321" y="1916"/>
                    <a:pt x="1321" y="1916"/>
                    <a:pt x="1321" y="1916"/>
                  </a:cubicBezTo>
                  <a:cubicBezTo>
                    <a:pt x="1321" y="1982"/>
                    <a:pt x="1321" y="1982"/>
                    <a:pt x="1321" y="1982"/>
                  </a:cubicBezTo>
                  <a:cubicBezTo>
                    <a:pt x="1255" y="1982"/>
                    <a:pt x="1255" y="1982"/>
                    <a:pt x="1255" y="1982"/>
                  </a:cubicBezTo>
                  <a:cubicBezTo>
                    <a:pt x="1255" y="1916"/>
                    <a:pt x="1255" y="1916"/>
                    <a:pt x="1255" y="1916"/>
                  </a:cubicBezTo>
                  <a:cubicBezTo>
                    <a:pt x="1189" y="1916"/>
                    <a:pt x="1189" y="1916"/>
                    <a:pt x="1189" y="1916"/>
                  </a:cubicBezTo>
                  <a:cubicBezTo>
                    <a:pt x="1189" y="1982"/>
                    <a:pt x="1189" y="1982"/>
                    <a:pt x="1189" y="1982"/>
                  </a:cubicBezTo>
                  <a:cubicBezTo>
                    <a:pt x="1123" y="1982"/>
                    <a:pt x="1123" y="1982"/>
                    <a:pt x="1123" y="1982"/>
                  </a:cubicBezTo>
                  <a:cubicBezTo>
                    <a:pt x="1123" y="1916"/>
                    <a:pt x="1123" y="1916"/>
                    <a:pt x="1123" y="1916"/>
                  </a:cubicBezTo>
                  <a:cubicBezTo>
                    <a:pt x="1057" y="1916"/>
                    <a:pt x="1057" y="1916"/>
                    <a:pt x="1057" y="1916"/>
                  </a:cubicBezTo>
                  <a:cubicBezTo>
                    <a:pt x="1057" y="1982"/>
                    <a:pt x="1057" y="1982"/>
                    <a:pt x="1057" y="1982"/>
                  </a:cubicBezTo>
                  <a:cubicBezTo>
                    <a:pt x="991" y="1982"/>
                    <a:pt x="991" y="1982"/>
                    <a:pt x="991" y="1982"/>
                  </a:cubicBezTo>
                  <a:cubicBezTo>
                    <a:pt x="991" y="1916"/>
                    <a:pt x="991" y="1916"/>
                    <a:pt x="991" y="1916"/>
                  </a:cubicBezTo>
                  <a:cubicBezTo>
                    <a:pt x="925" y="1916"/>
                    <a:pt x="925" y="1916"/>
                    <a:pt x="925" y="1916"/>
                  </a:cubicBezTo>
                  <a:cubicBezTo>
                    <a:pt x="925" y="1982"/>
                    <a:pt x="925" y="1982"/>
                    <a:pt x="925" y="1982"/>
                  </a:cubicBezTo>
                  <a:cubicBezTo>
                    <a:pt x="859" y="1982"/>
                    <a:pt x="859" y="1982"/>
                    <a:pt x="859" y="1982"/>
                  </a:cubicBezTo>
                  <a:cubicBezTo>
                    <a:pt x="859" y="1916"/>
                    <a:pt x="859" y="1916"/>
                    <a:pt x="859" y="1916"/>
                  </a:cubicBezTo>
                  <a:cubicBezTo>
                    <a:pt x="793" y="1916"/>
                    <a:pt x="793" y="1916"/>
                    <a:pt x="793" y="1916"/>
                  </a:cubicBezTo>
                  <a:cubicBezTo>
                    <a:pt x="793" y="1982"/>
                    <a:pt x="793" y="1982"/>
                    <a:pt x="793" y="1982"/>
                  </a:cubicBezTo>
                  <a:cubicBezTo>
                    <a:pt x="727" y="1982"/>
                    <a:pt x="727" y="1982"/>
                    <a:pt x="727" y="1982"/>
                  </a:cubicBezTo>
                  <a:cubicBezTo>
                    <a:pt x="727" y="1916"/>
                    <a:pt x="727" y="1916"/>
                    <a:pt x="727" y="1916"/>
                  </a:cubicBezTo>
                  <a:cubicBezTo>
                    <a:pt x="661" y="1916"/>
                    <a:pt x="661" y="1916"/>
                    <a:pt x="661" y="1916"/>
                  </a:cubicBezTo>
                  <a:cubicBezTo>
                    <a:pt x="661" y="1982"/>
                    <a:pt x="661" y="1982"/>
                    <a:pt x="661" y="1982"/>
                  </a:cubicBezTo>
                  <a:cubicBezTo>
                    <a:pt x="595" y="1982"/>
                    <a:pt x="595" y="1982"/>
                    <a:pt x="595" y="1982"/>
                  </a:cubicBezTo>
                  <a:cubicBezTo>
                    <a:pt x="595" y="1850"/>
                    <a:pt x="595" y="1850"/>
                    <a:pt x="595" y="1850"/>
                  </a:cubicBezTo>
                  <a:cubicBezTo>
                    <a:pt x="1982" y="1850"/>
                    <a:pt x="1982" y="1850"/>
                    <a:pt x="1982" y="1850"/>
                  </a:cubicBezTo>
                  <a:lnTo>
                    <a:pt x="1982" y="1982"/>
                  </a:lnTo>
                  <a:close/>
                  <a:moveTo>
                    <a:pt x="743" y="1024"/>
                  </a:moveTo>
                  <a:cubicBezTo>
                    <a:pt x="698" y="1024"/>
                    <a:pt x="661" y="1061"/>
                    <a:pt x="661" y="1107"/>
                  </a:cubicBezTo>
                  <a:cubicBezTo>
                    <a:pt x="661" y="1152"/>
                    <a:pt x="698" y="1189"/>
                    <a:pt x="743" y="1189"/>
                  </a:cubicBezTo>
                  <a:cubicBezTo>
                    <a:pt x="789" y="1189"/>
                    <a:pt x="826" y="1152"/>
                    <a:pt x="826" y="1107"/>
                  </a:cubicBezTo>
                  <a:cubicBezTo>
                    <a:pt x="826" y="1061"/>
                    <a:pt x="789" y="1024"/>
                    <a:pt x="743" y="1024"/>
                  </a:cubicBezTo>
                  <a:close/>
                  <a:moveTo>
                    <a:pt x="743" y="1123"/>
                  </a:moveTo>
                  <a:cubicBezTo>
                    <a:pt x="734" y="1123"/>
                    <a:pt x="727" y="1116"/>
                    <a:pt x="727" y="1107"/>
                  </a:cubicBezTo>
                  <a:cubicBezTo>
                    <a:pt x="727" y="1097"/>
                    <a:pt x="734" y="1090"/>
                    <a:pt x="743" y="1090"/>
                  </a:cubicBezTo>
                  <a:cubicBezTo>
                    <a:pt x="752" y="1090"/>
                    <a:pt x="760" y="1097"/>
                    <a:pt x="760" y="1107"/>
                  </a:cubicBezTo>
                  <a:cubicBezTo>
                    <a:pt x="760" y="1116"/>
                    <a:pt x="752" y="1123"/>
                    <a:pt x="743" y="1123"/>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grpSp>
        <p:nvGrpSpPr>
          <p:cNvPr id="234" name="Group 233"/>
          <p:cNvGrpSpPr/>
          <p:nvPr/>
        </p:nvGrpSpPr>
        <p:grpSpPr>
          <a:xfrm>
            <a:off x="7666444" y="3840534"/>
            <a:ext cx="292608" cy="292608"/>
            <a:chOff x="7666444" y="3840534"/>
            <a:chExt cx="292608" cy="292608"/>
          </a:xfrm>
        </p:grpSpPr>
        <p:sp>
          <p:nvSpPr>
            <p:cNvPr id="235" name="Oval 234"/>
            <p:cNvSpPr/>
            <p:nvPr/>
          </p:nvSpPr>
          <p:spPr>
            <a:xfrm>
              <a:off x="7666444" y="3840534"/>
              <a:ext cx="292608" cy="29260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36" name="Freeform 22"/>
            <p:cNvSpPr>
              <a:spLocks noEditPoints="1"/>
            </p:cNvSpPr>
            <p:nvPr/>
          </p:nvSpPr>
          <p:spPr bwMode="auto">
            <a:xfrm>
              <a:off x="7730976" y="3907771"/>
              <a:ext cx="163545" cy="158135"/>
            </a:xfrm>
            <a:custGeom>
              <a:avLst/>
              <a:gdLst/>
              <a:ahLst/>
              <a:cxnLst>
                <a:cxn ang="0">
                  <a:pos x="341" y="819"/>
                </a:cxn>
                <a:cxn ang="0">
                  <a:pos x="273" y="888"/>
                </a:cxn>
                <a:cxn ang="0">
                  <a:pos x="273" y="751"/>
                </a:cxn>
                <a:cxn ang="0">
                  <a:pos x="273" y="546"/>
                </a:cxn>
                <a:cxn ang="0">
                  <a:pos x="341" y="615"/>
                </a:cxn>
                <a:cxn ang="0">
                  <a:pos x="341" y="1297"/>
                </a:cxn>
                <a:cxn ang="0">
                  <a:pos x="205" y="1161"/>
                </a:cxn>
                <a:cxn ang="0">
                  <a:pos x="341" y="1229"/>
                </a:cxn>
                <a:cxn ang="0">
                  <a:pos x="410" y="1502"/>
                </a:cxn>
                <a:cxn ang="0">
                  <a:pos x="205" y="1502"/>
                </a:cxn>
                <a:cxn ang="0">
                  <a:pos x="273" y="1502"/>
                </a:cxn>
                <a:cxn ang="0">
                  <a:pos x="1843" y="888"/>
                </a:cxn>
                <a:cxn ang="0">
                  <a:pos x="1707" y="1024"/>
                </a:cxn>
                <a:cxn ang="0">
                  <a:pos x="1707" y="888"/>
                </a:cxn>
                <a:cxn ang="0">
                  <a:pos x="887" y="1127"/>
                </a:cxn>
                <a:cxn ang="0">
                  <a:pos x="819" y="1195"/>
                </a:cxn>
                <a:cxn ang="0">
                  <a:pos x="1707" y="751"/>
                </a:cxn>
                <a:cxn ang="0">
                  <a:pos x="1707" y="546"/>
                </a:cxn>
                <a:cxn ang="0">
                  <a:pos x="1775" y="615"/>
                </a:cxn>
                <a:cxn ang="0">
                  <a:pos x="1775" y="1297"/>
                </a:cxn>
                <a:cxn ang="0">
                  <a:pos x="1638" y="1161"/>
                </a:cxn>
                <a:cxn ang="0">
                  <a:pos x="1775" y="1229"/>
                </a:cxn>
                <a:cxn ang="0">
                  <a:pos x="1297" y="444"/>
                </a:cxn>
                <a:cxn ang="0">
                  <a:pos x="1092" y="444"/>
                </a:cxn>
                <a:cxn ang="0">
                  <a:pos x="1161" y="444"/>
                </a:cxn>
                <a:cxn ang="0">
                  <a:pos x="1843" y="1434"/>
                </a:cxn>
                <a:cxn ang="0">
                  <a:pos x="1707" y="1570"/>
                </a:cxn>
                <a:cxn ang="0">
                  <a:pos x="1707" y="1434"/>
                </a:cxn>
                <a:cxn ang="0">
                  <a:pos x="1843" y="376"/>
                </a:cxn>
                <a:cxn ang="0">
                  <a:pos x="1638" y="376"/>
                </a:cxn>
                <a:cxn ang="0">
                  <a:pos x="1161" y="68"/>
                </a:cxn>
                <a:cxn ang="0">
                  <a:pos x="956" y="68"/>
                </a:cxn>
                <a:cxn ang="0">
                  <a:pos x="580" y="68"/>
                </a:cxn>
                <a:cxn ang="0">
                  <a:pos x="375" y="341"/>
                </a:cxn>
                <a:cxn ang="0">
                  <a:pos x="171" y="341"/>
                </a:cxn>
                <a:cxn ang="0">
                  <a:pos x="0" y="1946"/>
                </a:cxn>
                <a:cxn ang="0">
                  <a:pos x="2014" y="410"/>
                </a:cxn>
                <a:cxn ang="0">
                  <a:pos x="546" y="1912"/>
                </a:cxn>
                <a:cxn ang="0">
                  <a:pos x="546" y="1639"/>
                </a:cxn>
                <a:cxn ang="0">
                  <a:pos x="990" y="1912"/>
                </a:cxn>
                <a:cxn ang="0">
                  <a:pos x="1263" y="1912"/>
                </a:cxn>
                <a:cxn ang="0">
                  <a:pos x="751" y="1570"/>
                </a:cxn>
                <a:cxn ang="0">
                  <a:pos x="614" y="1673"/>
                </a:cxn>
                <a:cxn ang="0">
                  <a:pos x="1502" y="1912"/>
                </a:cxn>
                <a:cxn ang="0">
                  <a:pos x="1502" y="1639"/>
                </a:cxn>
                <a:cxn ang="0">
                  <a:pos x="1229" y="1058"/>
                </a:cxn>
                <a:cxn ang="0">
                  <a:pos x="1092" y="922"/>
                </a:cxn>
                <a:cxn ang="0">
                  <a:pos x="1229" y="990"/>
                </a:cxn>
                <a:cxn ang="0">
                  <a:pos x="956" y="990"/>
                </a:cxn>
                <a:cxn ang="0">
                  <a:pos x="751" y="990"/>
                </a:cxn>
                <a:cxn ang="0">
                  <a:pos x="819" y="990"/>
                </a:cxn>
                <a:cxn ang="0">
                  <a:pos x="1297" y="649"/>
                </a:cxn>
                <a:cxn ang="0">
                  <a:pos x="1161" y="785"/>
                </a:cxn>
                <a:cxn ang="0">
                  <a:pos x="1161" y="649"/>
                </a:cxn>
                <a:cxn ang="0">
                  <a:pos x="1229" y="1127"/>
                </a:cxn>
                <a:cxn ang="0">
                  <a:pos x="1161" y="1195"/>
                </a:cxn>
                <a:cxn ang="0">
                  <a:pos x="819" y="785"/>
                </a:cxn>
                <a:cxn ang="0">
                  <a:pos x="819" y="580"/>
                </a:cxn>
                <a:cxn ang="0">
                  <a:pos x="887" y="649"/>
                </a:cxn>
                <a:cxn ang="0">
                  <a:pos x="887" y="512"/>
                </a:cxn>
                <a:cxn ang="0">
                  <a:pos x="751" y="376"/>
                </a:cxn>
                <a:cxn ang="0">
                  <a:pos x="887" y="444"/>
                </a:cxn>
              </a:cxnLst>
              <a:rect l="0" t="0" r="r" b="b"/>
              <a:pathLst>
                <a:path w="2048" h="1980">
                  <a:moveTo>
                    <a:pt x="273" y="1024"/>
                  </a:moveTo>
                  <a:cubicBezTo>
                    <a:pt x="341" y="1024"/>
                    <a:pt x="341" y="1024"/>
                    <a:pt x="341" y="1024"/>
                  </a:cubicBezTo>
                  <a:cubicBezTo>
                    <a:pt x="379" y="1024"/>
                    <a:pt x="410" y="993"/>
                    <a:pt x="410" y="956"/>
                  </a:cubicBezTo>
                  <a:cubicBezTo>
                    <a:pt x="410" y="888"/>
                    <a:pt x="410" y="888"/>
                    <a:pt x="410" y="888"/>
                  </a:cubicBezTo>
                  <a:cubicBezTo>
                    <a:pt x="410" y="850"/>
                    <a:pt x="379" y="819"/>
                    <a:pt x="341" y="819"/>
                  </a:cubicBezTo>
                  <a:cubicBezTo>
                    <a:pt x="273" y="819"/>
                    <a:pt x="273" y="819"/>
                    <a:pt x="273" y="819"/>
                  </a:cubicBezTo>
                  <a:cubicBezTo>
                    <a:pt x="236" y="819"/>
                    <a:pt x="205" y="850"/>
                    <a:pt x="205" y="888"/>
                  </a:cubicBezTo>
                  <a:cubicBezTo>
                    <a:pt x="205" y="956"/>
                    <a:pt x="205" y="956"/>
                    <a:pt x="205" y="956"/>
                  </a:cubicBezTo>
                  <a:cubicBezTo>
                    <a:pt x="205" y="993"/>
                    <a:pt x="236" y="1024"/>
                    <a:pt x="273" y="1024"/>
                  </a:cubicBezTo>
                  <a:close/>
                  <a:moveTo>
                    <a:pt x="273" y="888"/>
                  </a:moveTo>
                  <a:cubicBezTo>
                    <a:pt x="341" y="888"/>
                    <a:pt x="341" y="888"/>
                    <a:pt x="341" y="888"/>
                  </a:cubicBezTo>
                  <a:cubicBezTo>
                    <a:pt x="341" y="956"/>
                    <a:pt x="341" y="956"/>
                    <a:pt x="341" y="956"/>
                  </a:cubicBezTo>
                  <a:cubicBezTo>
                    <a:pt x="273" y="956"/>
                    <a:pt x="273" y="956"/>
                    <a:pt x="273" y="956"/>
                  </a:cubicBezTo>
                  <a:lnTo>
                    <a:pt x="273" y="888"/>
                  </a:lnTo>
                  <a:close/>
                  <a:moveTo>
                    <a:pt x="273" y="751"/>
                  </a:moveTo>
                  <a:cubicBezTo>
                    <a:pt x="341" y="751"/>
                    <a:pt x="341" y="751"/>
                    <a:pt x="341" y="751"/>
                  </a:cubicBezTo>
                  <a:cubicBezTo>
                    <a:pt x="379" y="751"/>
                    <a:pt x="410" y="720"/>
                    <a:pt x="410" y="683"/>
                  </a:cubicBezTo>
                  <a:cubicBezTo>
                    <a:pt x="410" y="615"/>
                    <a:pt x="410" y="615"/>
                    <a:pt x="410" y="615"/>
                  </a:cubicBezTo>
                  <a:cubicBezTo>
                    <a:pt x="410" y="577"/>
                    <a:pt x="379" y="546"/>
                    <a:pt x="341" y="546"/>
                  </a:cubicBezTo>
                  <a:cubicBezTo>
                    <a:pt x="273" y="546"/>
                    <a:pt x="273" y="546"/>
                    <a:pt x="273" y="546"/>
                  </a:cubicBezTo>
                  <a:cubicBezTo>
                    <a:pt x="236" y="546"/>
                    <a:pt x="205" y="577"/>
                    <a:pt x="205" y="615"/>
                  </a:cubicBezTo>
                  <a:cubicBezTo>
                    <a:pt x="205" y="683"/>
                    <a:pt x="205" y="683"/>
                    <a:pt x="205" y="683"/>
                  </a:cubicBezTo>
                  <a:cubicBezTo>
                    <a:pt x="205" y="720"/>
                    <a:pt x="236" y="751"/>
                    <a:pt x="273" y="751"/>
                  </a:cubicBezTo>
                  <a:close/>
                  <a:moveTo>
                    <a:pt x="273" y="615"/>
                  </a:moveTo>
                  <a:cubicBezTo>
                    <a:pt x="341" y="615"/>
                    <a:pt x="341" y="615"/>
                    <a:pt x="341" y="615"/>
                  </a:cubicBezTo>
                  <a:cubicBezTo>
                    <a:pt x="341" y="683"/>
                    <a:pt x="341" y="683"/>
                    <a:pt x="341" y="683"/>
                  </a:cubicBezTo>
                  <a:cubicBezTo>
                    <a:pt x="273" y="683"/>
                    <a:pt x="273" y="683"/>
                    <a:pt x="273" y="683"/>
                  </a:cubicBezTo>
                  <a:lnTo>
                    <a:pt x="273" y="615"/>
                  </a:lnTo>
                  <a:close/>
                  <a:moveTo>
                    <a:pt x="273" y="1297"/>
                  </a:moveTo>
                  <a:cubicBezTo>
                    <a:pt x="341" y="1297"/>
                    <a:pt x="341" y="1297"/>
                    <a:pt x="341" y="1297"/>
                  </a:cubicBezTo>
                  <a:cubicBezTo>
                    <a:pt x="379" y="1297"/>
                    <a:pt x="410" y="1266"/>
                    <a:pt x="410" y="1229"/>
                  </a:cubicBezTo>
                  <a:cubicBezTo>
                    <a:pt x="410" y="1161"/>
                    <a:pt x="410" y="1161"/>
                    <a:pt x="410" y="1161"/>
                  </a:cubicBezTo>
                  <a:cubicBezTo>
                    <a:pt x="410" y="1123"/>
                    <a:pt x="379" y="1092"/>
                    <a:pt x="341" y="1092"/>
                  </a:cubicBezTo>
                  <a:cubicBezTo>
                    <a:pt x="273" y="1092"/>
                    <a:pt x="273" y="1092"/>
                    <a:pt x="273" y="1092"/>
                  </a:cubicBezTo>
                  <a:cubicBezTo>
                    <a:pt x="236" y="1092"/>
                    <a:pt x="205" y="1123"/>
                    <a:pt x="205" y="1161"/>
                  </a:cubicBezTo>
                  <a:cubicBezTo>
                    <a:pt x="205" y="1229"/>
                    <a:pt x="205" y="1229"/>
                    <a:pt x="205" y="1229"/>
                  </a:cubicBezTo>
                  <a:cubicBezTo>
                    <a:pt x="205" y="1266"/>
                    <a:pt x="236" y="1297"/>
                    <a:pt x="273" y="1297"/>
                  </a:cubicBezTo>
                  <a:close/>
                  <a:moveTo>
                    <a:pt x="273" y="1161"/>
                  </a:moveTo>
                  <a:cubicBezTo>
                    <a:pt x="341" y="1161"/>
                    <a:pt x="341" y="1161"/>
                    <a:pt x="341" y="1161"/>
                  </a:cubicBezTo>
                  <a:cubicBezTo>
                    <a:pt x="341" y="1229"/>
                    <a:pt x="341" y="1229"/>
                    <a:pt x="341" y="1229"/>
                  </a:cubicBezTo>
                  <a:cubicBezTo>
                    <a:pt x="273" y="1229"/>
                    <a:pt x="273" y="1229"/>
                    <a:pt x="273" y="1229"/>
                  </a:cubicBezTo>
                  <a:lnTo>
                    <a:pt x="273" y="1161"/>
                  </a:lnTo>
                  <a:close/>
                  <a:moveTo>
                    <a:pt x="273" y="1570"/>
                  </a:moveTo>
                  <a:cubicBezTo>
                    <a:pt x="341" y="1570"/>
                    <a:pt x="341" y="1570"/>
                    <a:pt x="341" y="1570"/>
                  </a:cubicBezTo>
                  <a:cubicBezTo>
                    <a:pt x="379" y="1570"/>
                    <a:pt x="410" y="1540"/>
                    <a:pt x="410" y="1502"/>
                  </a:cubicBezTo>
                  <a:cubicBezTo>
                    <a:pt x="410" y="1434"/>
                    <a:pt x="410" y="1434"/>
                    <a:pt x="410" y="1434"/>
                  </a:cubicBezTo>
                  <a:cubicBezTo>
                    <a:pt x="410" y="1396"/>
                    <a:pt x="379" y="1365"/>
                    <a:pt x="341" y="1365"/>
                  </a:cubicBezTo>
                  <a:cubicBezTo>
                    <a:pt x="273" y="1365"/>
                    <a:pt x="273" y="1365"/>
                    <a:pt x="273" y="1365"/>
                  </a:cubicBezTo>
                  <a:cubicBezTo>
                    <a:pt x="236" y="1365"/>
                    <a:pt x="205" y="1396"/>
                    <a:pt x="205" y="1434"/>
                  </a:cubicBezTo>
                  <a:cubicBezTo>
                    <a:pt x="205" y="1502"/>
                    <a:pt x="205" y="1502"/>
                    <a:pt x="205" y="1502"/>
                  </a:cubicBezTo>
                  <a:cubicBezTo>
                    <a:pt x="205" y="1540"/>
                    <a:pt x="236" y="1570"/>
                    <a:pt x="273" y="1570"/>
                  </a:cubicBezTo>
                  <a:close/>
                  <a:moveTo>
                    <a:pt x="273" y="1434"/>
                  </a:moveTo>
                  <a:cubicBezTo>
                    <a:pt x="341" y="1434"/>
                    <a:pt x="341" y="1434"/>
                    <a:pt x="341" y="1434"/>
                  </a:cubicBezTo>
                  <a:cubicBezTo>
                    <a:pt x="341" y="1502"/>
                    <a:pt x="341" y="1502"/>
                    <a:pt x="341" y="1502"/>
                  </a:cubicBezTo>
                  <a:cubicBezTo>
                    <a:pt x="273" y="1502"/>
                    <a:pt x="273" y="1502"/>
                    <a:pt x="273" y="1502"/>
                  </a:cubicBezTo>
                  <a:lnTo>
                    <a:pt x="273" y="1434"/>
                  </a:lnTo>
                  <a:close/>
                  <a:moveTo>
                    <a:pt x="1707" y="1024"/>
                  </a:moveTo>
                  <a:cubicBezTo>
                    <a:pt x="1775" y="1024"/>
                    <a:pt x="1775" y="1024"/>
                    <a:pt x="1775" y="1024"/>
                  </a:cubicBezTo>
                  <a:cubicBezTo>
                    <a:pt x="1812" y="1024"/>
                    <a:pt x="1843" y="993"/>
                    <a:pt x="1843" y="956"/>
                  </a:cubicBezTo>
                  <a:cubicBezTo>
                    <a:pt x="1843" y="888"/>
                    <a:pt x="1843" y="888"/>
                    <a:pt x="1843" y="888"/>
                  </a:cubicBezTo>
                  <a:cubicBezTo>
                    <a:pt x="1843" y="850"/>
                    <a:pt x="1812" y="819"/>
                    <a:pt x="1775" y="819"/>
                  </a:cubicBezTo>
                  <a:cubicBezTo>
                    <a:pt x="1707" y="819"/>
                    <a:pt x="1707" y="819"/>
                    <a:pt x="1707" y="819"/>
                  </a:cubicBezTo>
                  <a:cubicBezTo>
                    <a:pt x="1669" y="819"/>
                    <a:pt x="1638" y="850"/>
                    <a:pt x="1638" y="888"/>
                  </a:cubicBezTo>
                  <a:cubicBezTo>
                    <a:pt x="1638" y="956"/>
                    <a:pt x="1638" y="956"/>
                    <a:pt x="1638" y="956"/>
                  </a:cubicBezTo>
                  <a:cubicBezTo>
                    <a:pt x="1638" y="993"/>
                    <a:pt x="1669" y="1024"/>
                    <a:pt x="1707" y="1024"/>
                  </a:cubicBezTo>
                  <a:close/>
                  <a:moveTo>
                    <a:pt x="1707" y="888"/>
                  </a:moveTo>
                  <a:cubicBezTo>
                    <a:pt x="1775" y="888"/>
                    <a:pt x="1775" y="888"/>
                    <a:pt x="1775" y="888"/>
                  </a:cubicBezTo>
                  <a:cubicBezTo>
                    <a:pt x="1775" y="956"/>
                    <a:pt x="1775" y="956"/>
                    <a:pt x="1775" y="956"/>
                  </a:cubicBezTo>
                  <a:cubicBezTo>
                    <a:pt x="1707" y="956"/>
                    <a:pt x="1707" y="956"/>
                    <a:pt x="1707" y="956"/>
                  </a:cubicBezTo>
                  <a:lnTo>
                    <a:pt x="1707" y="888"/>
                  </a:lnTo>
                  <a:close/>
                  <a:moveTo>
                    <a:pt x="819" y="1331"/>
                  </a:moveTo>
                  <a:cubicBezTo>
                    <a:pt x="887" y="1331"/>
                    <a:pt x="887" y="1331"/>
                    <a:pt x="887" y="1331"/>
                  </a:cubicBezTo>
                  <a:cubicBezTo>
                    <a:pt x="925" y="1331"/>
                    <a:pt x="956" y="1301"/>
                    <a:pt x="956" y="1263"/>
                  </a:cubicBezTo>
                  <a:cubicBezTo>
                    <a:pt x="956" y="1195"/>
                    <a:pt x="956" y="1195"/>
                    <a:pt x="956" y="1195"/>
                  </a:cubicBezTo>
                  <a:cubicBezTo>
                    <a:pt x="956" y="1157"/>
                    <a:pt x="925" y="1127"/>
                    <a:pt x="887" y="1127"/>
                  </a:cubicBezTo>
                  <a:cubicBezTo>
                    <a:pt x="819" y="1127"/>
                    <a:pt x="819" y="1127"/>
                    <a:pt x="819" y="1127"/>
                  </a:cubicBezTo>
                  <a:cubicBezTo>
                    <a:pt x="782" y="1127"/>
                    <a:pt x="751" y="1157"/>
                    <a:pt x="751" y="1195"/>
                  </a:cubicBezTo>
                  <a:cubicBezTo>
                    <a:pt x="751" y="1263"/>
                    <a:pt x="751" y="1263"/>
                    <a:pt x="751" y="1263"/>
                  </a:cubicBezTo>
                  <a:cubicBezTo>
                    <a:pt x="751" y="1301"/>
                    <a:pt x="782" y="1331"/>
                    <a:pt x="819" y="1331"/>
                  </a:cubicBezTo>
                  <a:close/>
                  <a:moveTo>
                    <a:pt x="819" y="1195"/>
                  </a:moveTo>
                  <a:cubicBezTo>
                    <a:pt x="887" y="1195"/>
                    <a:pt x="887" y="1195"/>
                    <a:pt x="887" y="1195"/>
                  </a:cubicBezTo>
                  <a:cubicBezTo>
                    <a:pt x="887" y="1263"/>
                    <a:pt x="887" y="1263"/>
                    <a:pt x="887" y="1263"/>
                  </a:cubicBezTo>
                  <a:cubicBezTo>
                    <a:pt x="819" y="1263"/>
                    <a:pt x="819" y="1263"/>
                    <a:pt x="819" y="1263"/>
                  </a:cubicBezTo>
                  <a:lnTo>
                    <a:pt x="819" y="1195"/>
                  </a:lnTo>
                  <a:close/>
                  <a:moveTo>
                    <a:pt x="1707" y="751"/>
                  </a:moveTo>
                  <a:cubicBezTo>
                    <a:pt x="1775" y="751"/>
                    <a:pt x="1775" y="751"/>
                    <a:pt x="1775" y="751"/>
                  </a:cubicBezTo>
                  <a:cubicBezTo>
                    <a:pt x="1812" y="751"/>
                    <a:pt x="1843" y="720"/>
                    <a:pt x="1843" y="683"/>
                  </a:cubicBezTo>
                  <a:cubicBezTo>
                    <a:pt x="1843" y="615"/>
                    <a:pt x="1843" y="615"/>
                    <a:pt x="1843" y="615"/>
                  </a:cubicBezTo>
                  <a:cubicBezTo>
                    <a:pt x="1843" y="577"/>
                    <a:pt x="1812" y="546"/>
                    <a:pt x="1775" y="546"/>
                  </a:cubicBezTo>
                  <a:cubicBezTo>
                    <a:pt x="1707" y="546"/>
                    <a:pt x="1707" y="546"/>
                    <a:pt x="1707" y="546"/>
                  </a:cubicBezTo>
                  <a:cubicBezTo>
                    <a:pt x="1669" y="546"/>
                    <a:pt x="1638" y="577"/>
                    <a:pt x="1638" y="615"/>
                  </a:cubicBezTo>
                  <a:cubicBezTo>
                    <a:pt x="1638" y="683"/>
                    <a:pt x="1638" y="683"/>
                    <a:pt x="1638" y="683"/>
                  </a:cubicBezTo>
                  <a:cubicBezTo>
                    <a:pt x="1638" y="720"/>
                    <a:pt x="1669" y="751"/>
                    <a:pt x="1707" y="751"/>
                  </a:cubicBezTo>
                  <a:close/>
                  <a:moveTo>
                    <a:pt x="1707" y="615"/>
                  </a:moveTo>
                  <a:cubicBezTo>
                    <a:pt x="1775" y="615"/>
                    <a:pt x="1775" y="615"/>
                    <a:pt x="1775" y="615"/>
                  </a:cubicBezTo>
                  <a:cubicBezTo>
                    <a:pt x="1775" y="683"/>
                    <a:pt x="1775" y="683"/>
                    <a:pt x="1775" y="683"/>
                  </a:cubicBezTo>
                  <a:cubicBezTo>
                    <a:pt x="1707" y="683"/>
                    <a:pt x="1707" y="683"/>
                    <a:pt x="1707" y="683"/>
                  </a:cubicBezTo>
                  <a:lnTo>
                    <a:pt x="1707" y="615"/>
                  </a:lnTo>
                  <a:close/>
                  <a:moveTo>
                    <a:pt x="1707" y="1297"/>
                  </a:moveTo>
                  <a:cubicBezTo>
                    <a:pt x="1775" y="1297"/>
                    <a:pt x="1775" y="1297"/>
                    <a:pt x="1775" y="1297"/>
                  </a:cubicBezTo>
                  <a:cubicBezTo>
                    <a:pt x="1812" y="1297"/>
                    <a:pt x="1843" y="1266"/>
                    <a:pt x="1843" y="1229"/>
                  </a:cubicBezTo>
                  <a:cubicBezTo>
                    <a:pt x="1843" y="1161"/>
                    <a:pt x="1843" y="1161"/>
                    <a:pt x="1843" y="1161"/>
                  </a:cubicBezTo>
                  <a:cubicBezTo>
                    <a:pt x="1843" y="1123"/>
                    <a:pt x="1812" y="1092"/>
                    <a:pt x="1775" y="1092"/>
                  </a:cubicBezTo>
                  <a:cubicBezTo>
                    <a:pt x="1707" y="1092"/>
                    <a:pt x="1707" y="1092"/>
                    <a:pt x="1707" y="1092"/>
                  </a:cubicBezTo>
                  <a:cubicBezTo>
                    <a:pt x="1669" y="1092"/>
                    <a:pt x="1638" y="1123"/>
                    <a:pt x="1638" y="1161"/>
                  </a:cubicBezTo>
                  <a:cubicBezTo>
                    <a:pt x="1638" y="1229"/>
                    <a:pt x="1638" y="1229"/>
                    <a:pt x="1638" y="1229"/>
                  </a:cubicBezTo>
                  <a:cubicBezTo>
                    <a:pt x="1638" y="1266"/>
                    <a:pt x="1669" y="1297"/>
                    <a:pt x="1707" y="1297"/>
                  </a:cubicBezTo>
                  <a:close/>
                  <a:moveTo>
                    <a:pt x="1707" y="1161"/>
                  </a:moveTo>
                  <a:cubicBezTo>
                    <a:pt x="1775" y="1161"/>
                    <a:pt x="1775" y="1161"/>
                    <a:pt x="1775" y="1161"/>
                  </a:cubicBezTo>
                  <a:cubicBezTo>
                    <a:pt x="1775" y="1229"/>
                    <a:pt x="1775" y="1229"/>
                    <a:pt x="1775" y="1229"/>
                  </a:cubicBezTo>
                  <a:cubicBezTo>
                    <a:pt x="1707" y="1229"/>
                    <a:pt x="1707" y="1229"/>
                    <a:pt x="1707" y="1229"/>
                  </a:cubicBezTo>
                  <a:lnTo>
                    <a:pt x="1707" y="1161"/>
                  </a:lnTo>
                  <a:close/>
                  <a:moveTo>
                    <a:pt x="1161" y="512"/>
                  </a:moveTo>
                  <a:cubicBezTo>
                    <a:pt x="1229" y="512"/>
                    <a:pt x="1229" y="512"/>
                    <a:pt x="1229" y="512"/>
                  </a:cubicBezTo>
                  <a:cubicBezTo>
                    <a:pt x="1266" y="512"/>
                    <a:pt x="1297" y="481"/>
                    <a:pt x="1297" y="444"/>
                  </a:cubicBezTo>
                  <a:cubicBezTo>
                    <a:pt x="1297" y="376"/>
                    <a:pt x="1297" y="376"/>
                    <a:pt x="1297" y="376"/>
                  </a:cubicBezTo>
                  <a:cubicBezTo>
                    <a:pt x="1297" y="338"/>
                    <a:pt x="1266" y="307"/>
                    <a:pt x="1229" y="307"/>
                  </a:cubicBezTo>
                  <a:cubicBezTo>
                    <a:pt x="1161" y="307"/>
                    <a:pt x="1161" y="307"/>
                    <a:pt x="1161" y="307"/>
                  </a:cubicBezTo>
                  <a:cubicBezTo>
                    <a:pt x="1123" y="307"/>
                    <a:pt x="1092" y="338"/>
                    <a:pt x="1092" y="376"/>
                  </a:cubicBezTo>
                  <a:cubicBezTo>
                    <a:pt x="1092" y="444"/>
                    <a:pt x="1092" y="444"/>
                    <a:pt x="1092" y="444"/>
                  </a:cubicBezTo>
                  <a:cubicBezTo>
                    <a:pt x="1092" y="481"/>
                    <a:pt x="1123" y="512"/>
                    <a:pt x="1161" y="512"/>
                  </a:cubicBezTo>
                  <a:close/>
                  <a:moveTo>
                    <a:pt x="1161" y="376"/>
                  </a:moveTo>
                  <a:cubicBezTo>
                    <a:pt x="1229" y="376"/>
                    <a:pt x="1229" y="376"/>
                    <a:pt x="1229" y="376"/>
                  </a:cubicBezTo>
                  <a:cubicBezTo>
                    <a:pt x="1229" y="444"/>
                    <a:pt x="1229" y="444"/>
                    <a:pt x="1229" y="444"/>
                  </a:cubicBezTo>
                  <a:cubicBezTo>
                    <a:pt x="1161" y="444"/>
                    <a:pt x="1161" y="444"/>
                    <a:pt x="1161" y="444"/>
                  </a:cubicBezTo>
                  <a:lnTo>
                    <a:pt x="1161" y="376"/>
                  </a:lnTo>
                  <a:close/>
                  <a:moveTo>
                    <a:pt x="1707" y="1570"/>
                  </a:moveTo>
                  <a:cubicBezTo>
                    <a:pt x="1775" y="1570"/>
                    <a:pt x="1775" y="1570"/>
                    <a:pt x="1775" y="1570"/>
                  </a:cubicBezTo>
                  <a:cubicBezTo>
                    <a:pt x="1812" y="1570"/>
                    <a:pt x="1843" y="1540"/>
                    <a:pt x="1843" y="1502"/>
                  </a:cubicBezTo>
                  <a:cubicBezTo>
                    <a:pt x="1843" y="1434"/>
                    <a:pt x="1843" y="1434"/>
                    <a:pt x="1843" y="1434"/>
                  </a:cubicBezTo>
                  <a:cubicBezTo>
                    <a:pt x="1843" y="1396"/>
                    <a:pt x="1812" y="1365"/>
                    <a:pt x="1775" y="1365"/>
                  </a:cubicBezTo>
                  <a:cubicBezTo>
                    <a:pt x="1707" y="1365"/>
                    <a:pt x="1707" y="1365"/>
                    <a:pt x="1707" y="1365"/>
                  </a:cubicBezTo>
                  <a:cubicBezTo>
                    <a:pt x="1669" y="1365"/>
                    <a:pt x="1638" y="1396"/>
                    <a:pt x="1638" y="1434"/>
                  </a:cubicBezTo>
                  <a:cubicBezTo>
                    <a:pt x="1638" y="1502"/>
                    <a:pt x="1638" y="1502"/>
                    <a:pt x="1638" y="1502"/>
                  </a:cubicBezTo>
                  <a:cubicBezTo>
                    <a:pt x="1638" y="1540"/>
                    <a:pt x="1669" y="1570"/>
                    <a:pt x="1707" y="1570"/>
                  </a:cubicBezTo>
                  <a:close/>
                  <a:moveTo>
                    <a:pt x="1707" y="1434"/>
                  </a:moveTo>
                  <a:cubicBezTo>
                    <a:pt x="1775" y="1434"/>
                    <a:pt x="1775" y="1434"/>
                    <a:pt x="1775" y="1434"/>
                  </a:cubicBezTo>
                  <a:cubicBezTo>
                    <a:pt x="1775" y="1502"/>
                    <a:pt x="1775" y="1502"/>
                    <a:pt x="1775" y="1502"/>
                  </a:cubicBezTo>
                  <a:cubicBezTo>
                    <a:pt x="1707" y="1502"/>
                    <a:pt x="1707" y="1502"/>
                    <a:pt x="1707" y="1502"/>
                  </a:cubicBezTo>
                  <a:lnTo>
                    <a:pt x="1707" y="1434"/>
                  </a:lnTo>
                  <a:close/>
                  <a:moveTo>
                    <a:pt x="2014" y="410"/>
                  </a:moveTo>
                  <a:cubicBezTo>
                    <a:pt x="1911" y="410"/>
                    <a:pt x="1911" y="410"/>
                    <a:pt x="1911" y="410"/>
                  </a:cubicBezTo>
                  <a:cubicBezTo>
                    <a:pt x="1911" y="376"/>
                    <a:pt x="1911" y="376"/>
                    <a:pt x="1911" y="376"/>
                  </a:cubicBezTo>
                  <a:cubicBezTo>
                    <a:pt x="1911" y="355"/>
                    <a:pt x="1898" y="341"/>
                    <a:pt x="1877" y="341"/>
                  </a:cubicBezTo>
                  <a:cubicBezTo>
                    <a:pt x="1857" y="341"/>
                    <a:pt x="1843" y="355"/>
                    <a:pt x="1843" y="376"/>
                  </a:cubicBezTo>
                  <a:cubicBezTo>
                    <a:pt x="1843" y="410"/>
                    <a:pt x="1843" y="410"/>
                    <a:pt x="1843" y="410"/>
                  </a:cubicBezTo>
                  <a:cubicBezTo>
                    <a:pt x="1707" y="410"/>
                    <a:pt x="1707" y="410"/>
                    <a:pt x="1707" y="410"/>
                  </a:cubicBezTo>
                  <a:cubicBezTo>
                    <a:pt x="1707" y="376"/>
                    <a:pt x="1707" y="376"/>
                    <a:pt x="1707" y="376"/>
                  </a:cubicBezTo>
                  <a:cubicBezTo>
                    <a:pt x="1707" y="355"/>
                    <a:pt x="1693" y="341"/>
                    <a:pt x="1673" y="341"/>
                  </a:cubicBezTo>
                  <a:cubicBezTo>
                    <a:pt x="1652" y="341"/>
                    <a:pt x="1638" y="355"/>
                    <a:pt x="1638" y="376"/>
                  </a:cubicBezTo>
                  <a:cubicBezTo>
                    <a:pt x="1638" y="410"/>
                    <a:pt x="1638" y="410"/>
                    <a:pt x="1638" y="410"/>
                  </a:cubicBezTo>
                  <a:cubicBezTo>
                    <a:pt x="1502" y="410"/>
                    <a:pt x="1502" y="410"/>
                    <a:pt x="1502" y="410"/>
                  </a:cubicBezTo>
                  <a:cubicBezTo>
                    <a:pt x="1502" y="103"/>
                    <a:pt x="1502" y="103"/>
                    <a:pt x="1502" y="103"/>
                  </a:cubicBezTo>
                  <a:cubicBezTo>
                    <a:pt x="1502" y="82"/>
                    <a:pt x="1488" y="68"/>
                    <a:pt x="1468" y="68"/>
                  </a:cubicBezTo>
                  <a:cubicBezTo>
                    <a:pt x="1161" y="68"/>
                    <a:pt x="1161" y="68"/>
                    <a:pt x="1161" y="68"/>
                  </a:cubicBezTo>
                  <a:cubicBezTo>
                    <a:pt x="1161" y="34"/>
                    <a:pt x="1161" y="34"/>
                    <a:pt x="1161" y="34"/>
                  </a:cubicBezTo>
                  <a:cubicBezTo>
                    <a:pt x="1161" y="14"/>
                    <a:pt x="1147" y="0"/>
                    <a:pt x="1126" y="0"/>
                  </a:cubicBezTo>
                  <a:cubicBezTo>
                    <a:pt x="1106" y="0"/>
                    <a:pt x="1092" y="14"/>
                    <a:pt x="1092" y="34"/>
                  </a:cubicBezTo>
                  <a:cubicBezTo>
                    <a:pt x="1092" y="68"/>
                    <a:pt x="1092" y="68"/>
                    <a:pt x="1092" y="68"/>
                  </a:cubicBezTo>
                  <a:cubicBezTo>
                    <a:pt x="956" y="68"/>
                    <a:pt x="956" y="68"/>
                    <a:pt x="956" y="68"/>
                  </a:cubicBezTo>
                  <a:cubicBezTo>
                    <a:pt x="956" y="34"/>
                    <a:pt x="956" y="34"/>
                    <a:pt x="956" y="34"/>
                  </a:cubicBezTo>
                  <a:cubicBezTo>
                    <a:pt x="956" y="14"/>
                    <a:pt x="942" y="0"/>
                    <a:pt x="922" y="0"/>
                  </a:cubicBezTo>
                  <a:cubicBezTo>
                    <a:pt x="901" y="0"/>
                    <a:pt x="887" y="14"/>
                    <a:pt x="887" y="34"/>
                  </a:cubicBezTo>
                  <a:cubicBezTo>
                    <a:pt x="887" y="68"/>
                    <a:pt x="887" y="68"/>
                    <a:pt x="887" y="68"/>
                  </a:cubicBezTo>
                  <a:cubicBezTo>
                    <a:pt x="580" y="68"/>
                    <a:pt x="580" y="68"/>
                    <a:pt x="580" y="68"/>
                  </a:cubicBezTo>
                  <a:cubicBezTo>
                    <a:pt x="560" y="68"/>
                    <a:pt x="546" y="82"/>
                    <a:pt x="546" y="103"/>
                  </a:cubicBezTo>
                  <a:cubicBezTo>
                    <a:pt x="546" y="410"/>
                    <a:pt x="546" y="410"/>
                    <a:pt x="546" y="410"/>
                  </a:cubicBezTo>
                  <a:cubicBezTo>
                    <a:pt x="410" y="410"/>
                    <a:pt x="410" y="410"/>
                    <a:pt x="410" y="410"/>
                  </a:cubicBezTo>
                  <a:cubicBezTo>
                    <a:pt x="410" y="376"/>
                    <a:pt x="410" y="376"/>
                    <a:pt x="410" y="376"/>
                  </a:cubicBezTo>
                  <a:cubicBezTo>
                    <a:pt x="410" y="355"/>
                    <a:pt x="396" y="341"/>
                    <a:pt x="375" y="341"/>
                  </a:cubicBezTo>
                  <a:cubicBezTo>
                    <a:pt x="355" y="341"/>
                    <a:pt x="341" y="355"/>
                    <a:pt x="341" y="376"/>
                  </a:cubicBezTo>
                  <a:cubicBezTo>
                    <a:pt x="341" y="410"/>
                    <a:pt x="341" y="410"/>
                    <a:pt x="341" y="410"/>
                  </a:cubicBezTo>
                  <a:cubicBezTo>
                    <a:pt x="205" y="410"/>
                    <a:pt x="205" y="410"/>
                    <a:pt x="205" y="410"/>
                  </a:cubicBezTo>
                  <a:cubicBezTo>
                    <a:pt x="205" y="376"/>
                    <a:pt x="205" y="376"/>
                    <a:pt x="205" y="376"/>
                  </a:cubicBezTo>
                  <a:cubicBezTo>
                    <a:pt x="205" y="355"/>
                    <a:pt x="191" y="341"/>
                    <a:pt x="171" y="341"/>
                  </a:cubicBezTo>
                  <a:cubicBezTo>
                    <a:pt x="150" y="341"/>
                    <a:pt x="137" y="355"/>
                    <a:pt x="137" y="376"/>
                  </a:cubicBezTo>
                  <a:cubicBezTo>
                    <a:pt x="137" y="410"/>
                    <a:pt x="137" y="410"/>
                    <a:pt x="137" y="410"/>
                  </a:cubicBezTo>
                  <a:cubicBezTo>
                    <a:pt x="34" y="410"/>
                    <a:pt x="34" y="410"/>
                    <a:pt x="34" y="410"/>
                  </a:cubicBezTo>
                  <a:cubicBezTo>
                    <a:pt x="14" y="410"/>
                    <a:pt x="0" y="423"/>
                    <a:pt x="0" y="444"/>
                  </a:cubicBezTo>
                  <a:cubicBezTo>
                    <a:pt x="0" y="1946"/>
                    <a:pt x="0" y="1946"/>
                    <a:pt x="0" y="1946"/>
                  </a:cubicBezTo>
                  <a:cubicBezTo>
                    <a:pt x="0" y="1966"/>
                    <a:pt x="14" y="1980"/>
                    <a:pt x="34" y="1980"/>
                  </a:cubicBezTo>
                  <a:cubicBezTo>
                    <a:pt x="2014" y="1980"/>
                    <a:pt x="2014" y="1980"/>
                    <a:pt x="2014" y="1980"/>
                  </a:cubicBezTo>
                  <a:cubicBezTo>
                    <a:pt x="2034" y="1980"/>
                    <a:pt x="2048" y="1966"/>
                    <a:pt x="2048" y="1946"/>
                  </a:cubicBezTo>
                  <a:cubicBezTo>
                    <a:pt x="2048" y="444"/>
                    <a:pt x="2048" y="444"/>
                    <a:pt x="2048" y="444"/>
                  </a:cubicBezTo>
                  <a:cubicBezTo>
                    <a:pt x="2048" y="423"/>
                    <a:pt x="2034" y="410"/>
                    <a:pt x="2014" y="410"/>
                  </a:cubicBezTo>
                  <a:close/>
                  <a:moveTo>
                    <a:pt x="546" y="1912"/>
                  </a:moveTo>
                  <a:cubicBezTo>
                    <a:pt x="68" y="1912"/>
                    <a:pt x="68" y="1912"/>
                    <a:pt x="68" y="1912"/>
                  </a:cubicBezTo>
                  <a:cubicBezTo>
                    <a:pt x="68" y="1707"/>
                    <a:pt x="68" y="1707"/>
                    <a:pt x="68" y="1707"/>
                  </a:cubicBezTo>
                  <a:cubicBezTo>
                    <a:pt x="546" y="1707"/>
                    <a:pt x="546" y="1707"/>
                    <a:pt x="546" y="1707"/>
                  </a:cubicBezTo>
                  <a:lnTo>
                    <a:pt x="546" y="1912"/>
                  </a:lnTo>
                  <a:close/>
                  <a:moveTo>
                    <a:pt x="546" y="1639"/>
                  </a:moveTo>
                  <a:cubicBezTo>
                    <a:pt x="68" y="1639"/>
                    <a:pt x="68" y="1639"/>
                    <a:pt x="68" y="1639"/>
                  </a:cubicBezTo>
                  <a:cubicBezTo>
                    <a:pt x="68" y="478"/>
                    <a:pt x="68" y="478"/>
                    <a:pt x="68" y="478"/>
                  </a:cubicBezTo>
                  <a:cubicBezTo>
                    <a:pt x="546" y="478"/>
                    <a:pt x="546" y="478"/>
                    <a:pt x="546" y="478"/>
                  </a:cubicBezTo>
                  <a:lnTo>
                    <a:pt x="546" y="1639"/>
                  </a:lnTo>
                  <a:close/>
                  <a:moveTo>
                    <a:pt x="990" y="1912"/>
                  </a:moveTo>
                  <a:cubicBezTo>
                    <a:pt x="785" y="1912"/>
                    <a:pt x="785" y="1912"/>
                    <a:pt x="785" y="1912"/>
                  </a:cubicBezTo>
                  <a:cubicBezTo>
                    <a:pt x="785" y="1639"/>
                    <a:pt x="785" y="1639"/>
                    <a:pt x="785" y="1639"/>
                  </a:cubicBezTo>
                  <a:cubicBezTo>
                    <a:pt x="990" y="1639"/>
                    <a:pt x="990" y="1639"/>
                    <a:pt x="990" y="1639"/>
                  </a:cubicBezTo>
                  <a:lnTo>
                    <a:pt x="990" y="1912"/>
                  </a:lnTo>
                  <a:close/>
                  <a:moveTo>
                    <a:pt x="1263" y="1912"/>
                  </a:moveTo>
                  <a:cubicBezTo>
                    <a:pt x="1058" y="1912"/>
                    <a:pt x="1058" y="1912"/>
                    <a:pt x="1058" y="1912"/>
                  </a:cubicBezTo>
                  <a:cubicBezTo>
                    <a:pt x="1058" y="1639"/>
                    <a:pt x="1058" y="1639"/>
                    <a:pt x="1058" y="1639"/>
                  </a:cubicBezTo>
                  <a:cubicBezTo>
                    <a:pt x="1263" y="1639"/>
                    <a:pt x="1263" y="1639"/>
                    <a:pt x="1263" y="1639"/>
                  </a:cubicBezTo>
                  <a:lnTo>
                    <a:pt x="1263" y="1912"/>
                  </a:lnTo>
                  <a:close/>
                  <a:moveTo>
                    <a:pt x="1434" y="1912"/>
                  </a:moveTo>
                  <a:cubicBezTo>
                    <a:pt x="1331" y="1912"/>
                    <a:pt x="1331" y="1912"/>
                    <a:pt x="1331" y="1912"/>
                  </a:cubicBezTo>
                  <a:cubicBezTo>
                    <a:pt x="1331" y="1604"/>
                    <a:pt x="1331" y="1604"/>
                    <a:pt x="1331" y="1604"/>
                  </a:cubicBezTo>
                  <a:cubicBezTo>
                    <a:pt x="1331" y="1584"/>
                    <a:pt x="1318" y="1570"/>
                    <a:pt x="1297" y="1570"/>
                  </a:cubicBezTo>
                  <a:cubicBezTo>
                    <a:pt x="751" y="1570"/>
                    <a:pt x="751" y="1570"/>
                    <a:pt x="751" y="1570"/>
                  </a:cubicBezTo>
                  <a:cubicBezTo>
                    <a:pt x="730" y="1570"/>
                    <a:pt x="717" y="1584"/>
                    <a:pt x="717" y="1604"/>
                  </a:cubicBezTo>
                  <a:cubicBezTo>
                    <a:pt x="717" y="1912"/>
                    <a:pt x="717" y="1912"/>
                    <a:pt x="717" y="1912"/>
                  </a:cubicBezTo>
                  <a:cubicBezTo>
                    <a:pt x="614" y="1912"/>
                    <a:pt x="614" y="1912"/>
                    <a:pt x="614" y="1912"/>
                  </a:cubicBezTo>
                  <a:cubicBezTo>
                    <a:pt x="614" y="1673"/>
                    <a:pt x="614" y="1673"/>
                    <a:pt x="614" y="1673"/>
                  </a:cubicBezTo>
                  <a:cubicBezTo>
                    <a:pt x="614" y="1673"/>
                    <a:pt x="614" y="1673"/>
                    <a:pt x="614" y="1673"/>
                  </a:cubicBezTo>
                  <a:cubicBezTo>
                    <a:pt x="614" y="137"/>
                    <a:pt x="614" y="137"/>
                    <a:pt x="614" y="137"/>
                  </a:cubicBezTo>
                  <a:cubicBezTo>
                    <a:pt x="1434" y="137"/>
                    <a:pt x="1434" y="137"/>
                    <a:pt x="1434" y="137"/>
                  </a:cubicBezTo>
                  <a:lnTo>
                    <a:pt x="1434" y="1912"/>
                  </a:lnTo>
                  <a:close/>
                  <a:moveTo>
                    <a:pt x="1980" y="1912"/>
                  </a:moveTo>
                  <a:cubicBezTo>
                    <a:pt x="1502" y="1912"/>
                    <a:pt x="1502" y="1912"/>
                    <a:pt x="1502" y="1912"/>
                  </a:cubicBezTo>
                  <a:cubicBezTo>
                    <a:pt x="1502" y="1707"/>
                    <a:pt x="1502" y="1707"/>
                    <a:pt x="1502" y="1707"/>
                  </a:cubicBezTo>
                  <a:cubicBezTo>
                    <a:pt x="1980" y="1707"/>
                    <a:pt x="1980" y="1707"/>
                    <a:pt x="1980" y="1707"/>
                  </a:cubicBezTo>
                  <a:lnTo>
                    <a:pt x="1980" y="1912"/>
                  </a:lnTo>
                  <a:close/>
                  <a:moveTo>
                    <a:pt x="1980" y="1639"/>
                  </a:moveTo>
                  <a:cubicBezTo>
                    <a:pt x="1502" y="1639"/>
                    <a:pt x="1502" y="1639"/>
                    <a:pt x="1502" y="1639"/>
                  </a:cubicBezTo>
                  <a:cubicBezTo>
                    <a:pt x="1502" y="478"/>
                    <a:pt x="1502" y="478"/>
                    <a:pt x="1502" y="478"/>
                  </a:cubicBezTo>
                  <a:cubicBezTo>
                    <a:pt x="1980" y="478"/>
                    <a:pt x="1980" y="478"/>
                    <a:pt x="1980" y="478"/>
                  </a:cubicBezTo>
                  <a:lnTo>
                    <a:pt x="1980" y="1639"/>
                  </a:lnTo>
                  <a:close/>
                  <a:moveTo>
                    <a:pt x="1161" y="1058"/>
                  </a:moveTo>
                  <a:cubicBezTo>
                    <a:pt x="1229" y="1058"/>
                    <a:pt x="1229" y="1058"/>
                    <a:pt x="1229" y="1058"/>
                  </a:cubicBezTo>
                  <a:cubicBezTo>
                    <a:pt x="1266" y="1058"/>
                    <a:pt x="1297" y="1028"/>
                    <a:pt x="1297" y="990"/>
                  </a:cubicBezTo>
                  <a:cubicBezTo>
                    <a:pt x="1297" y="922"/>
                    <a:pt x="1297" y="922"/>
                    <a:pt x="1297" y="922"/>
                  </a:cubicBezTo>
                  <a:cubicBezTo>
                    <a:pt x="1297" y="884"/>
                    <a:pt x="1266" y="853"/>
                    <a:pt x="1229" y="853"/>
                  </a:cubicBezTo>
                  <a:cubicBezTo>
                    <a:pt x="1161" y="853"/>
                    <a:pt x="1161" y="853"/>
                    <a:pt x="1161" y="853"/>
                  </a:cubicBezTo>
                  <a:cubicBezTo>
                    <a:pt x="1123" y="853"/>
                    <a:pt x="1092" y="884"/>
                    <a:pt x="1092" y="922"/>
                  </a:cubicBezTo>
                  <a:cubicBezTo>
                    <a:pt x="1092" y="990"/>
                    <a:pt x="1092" y="990"/>
                    <a:pt x="1092" y="990"/>
                  </a:cubicBezTo>
                  <a:cubicBezTo>
                    <a:pt x="1092" y="1028"/>
                    <a:pt x="1123" y="1058"/>
                    <a:pt x="1161" y="1058"/>
                  </a:cubicBezTo>
                  <a:close/>
                  <a:moveTo>
                    <a:pt x="1161" y="922"/>
                  </a:moveTo>
                  <a:cubicBezTo>
                    <a:pt x="1229" y="922"/>
                    <a:pt x="1229" y="922"/>
                    <a:pt x="1229" y="922"/>
                  </a:cubicBezTo>
                  <a:cubicBezTo>
                    <a:pt x="1229" y="990"/>
                    <a:pt x="1229" y="990"/>
                    <a:pt x="1229" y="990"/>
                  </a:cubicBezTo>
                  <a:cubicBezTo>
                    <a:pt x="1161" y="990"/>
                    <a:pt x="1161" y="990"/>
                    <a:pt x="1161" y="990"/>
                  </a:cubicBezTo>
                  <a:lnTo>
                    <a:pt x="1161" y="922"/>
                  </a:lnTo>
                  <a:close/>
                  <a:moveTo>
                    <a:pt x="819" y="1058"/>
                  </a:moveTo>
                  <a:cubicBezTo>
                    <a:pt x="887" y="1058"/>
                    <a:pt x="887" y="1058"/>
                    <a:pt x="887" y="1058"/>
                  </a:cubicBezTo>
                  <a:cubicBezTo>
                    <a:pt x="925" y="1058"/>
                    <a:pt x="956" y="1028"/>
                    <a:pt x="956" y="990"/>
                  </a:cubicBezTo>
                  <a:cubicBezTo>
                    <a:pt x="956" y="922"/>
                    <a:pt x="956" y="922"/>
                    <a:pt x="956" y="922"/>
                  </a:cubicBezTo>
                  <a:cubicBezTo>
                    <a:pt x="956" y="884"/>
                    <a:pt x="925" y="853"/>
                    <a:pt x="887" y="853"/>
                  </a:cubicBezTo>
                  <a:cubicBezTo>
                    <a:pt x="819" y="853"/>
                    <a:pt x="819" y="853"/>
                    <a:pt x="819" y="853"/>
                  </a:cubicBezTo>
                  <a:cubicBezTo>
                    <a:pt x="782" y="853"/>
                    <a:pt x="751" y="884"/>
                    <a:pt x="751" y="922"/>
                  </a:cubicBezTo>
                  <a:cubicBezTo>
                    <a:pt x="751" y="990"/>
                    <a:pt x="751" y="990"/>
                    <a:pt x="751" y="990"/>
                  </a:cubicBezTo>
                  <a:cubicBezTo>
                    <a:pt x="751" y="1028"/>
                    <a:pt x="782" y="1058"/>
                    <a:pt x="819" y="1058"/>
                  </a:cubicBezTo>
                  <a:close/>
                  <a:moveTo>
                    <a:pt x="819" y="922"/>
                  </a:moveTo>
                  <a:cubicBezTo>
                    <a:pt x="887" y="922"/>
                    <a:pt x="887" y="922"/>
                    <a:pt x="887" y="922"/>
                  </a:cubicBezTo>
                  <a:cubicBezTo>
                    <a:pt x="887" y="990"/>
                    <a:pt x="887" y="990"/>
                    <a:pt x="887" y="990"/>
                  </a:cubicBezTo>
                  <a:cubicBezTo>
                    <a:pt x="819" y="990"/>
                    <a:pt x="819" y="990"/>
                    <a:pt x="819" y="990"/>
                  </a:cubicBezTo>
                  <a:lnTo>
                    <a:pt x="819" y="922"/>
                  </a:lnTo>
                  <a:close/>
                  <a:moveTo>
                    <a:pt x="1161" y="785"/>
                  </a:moveTo>
                  <a:cubicBezTo>
                    <a:pt x="1229" y="785"/>
                    <a:pt x="1229" y="785"/>
                    <a:pt x="1229" y="785"/>
                  </a:cubicBezTo>
                  <a:cubicBezTo>
                    <a:pt x="1266" y="785"/>
                    <a:pt x="1297" y="754"/>
                    <a:pt x="1297" y="717"/>
                  </a:cubicBezTo>
                  <a:cubicBezTo>
                    <a:pt x="1297" y="649"/>
                    <a:pt x="1297" y="649"/>
                    <a:pt x="1297" y="649"/>
                  </a:cubicBezTo>
                  <a:cubicBezTo>
                    <a:pt x="1297" y="611"/>
                    <a:pt x="1266" y="580"/>
                    <a:pt x="1229" y="580"/>
                  </a:cubicBezTo>
                  <a:cubicBezTo>
                    <a:pt x="1161" y="580"/>
                    <a:pt x="1161" y="580"/>
                    <a:pt x="1161" y="580"/>
                  </a:cubicBezTo>
                  <a:cubicBezTo>
                    <a:pt x="1123" y="580"/>
                    <a:pt x="1092" y="611"/>
                    <a:pt x="1092" y="649"/>
                  </a:cubicBezTo>
                  <a:cubicBezTo>
                    <a:pt x="1092" y="717"/>
                    <a:pt x="1092" y="717"/>
                    <a:pt x="1092" y="717"/>
                  </a:cubicBezTo>
                  <a:cubicBezTo>
                    <a:pt x="1092" y="754"/>
                    <a:pt x="1123" y="785"/>
                    <a:pt x="1161" y="785"/>
                  </a:cubicBezTo>
                  <a:close/>
                  <a:moveTo>
                    <a:pt x="1161" y="649"/>
                  </a:moveTo>
                  <a:cubicBezTo>
                    <a:pt x="1229" y="649"/>
                    <a:pt x="1229" y="649"/>
                    <a:pt x="1229" y="649"/>
                  </a:cubicBezTo>
                  <a:cubicBezTo>
                    <a:pt x="1229" y="717"/>
                    <a:pt x="1229" y="717"/>
                    <a:pt x="1229" y="717"/>
                  </a:cubicBezTo>
                  <a:cubicBezTo>
                    <a:pt x="1161" y="717"/>
                    <a:pt x="1161" y="717"/>
                    <a:pt x="1161" y="717"/>
                  </a:cubicBezTo>
                  <a:lnTo>
                    <a:pt x="1161" y="649"/>
                  </a:lnTo>
                  <a:close/>
                  <a:moveTo>
                    <a:pt x="1161" y="1331"/>
                  </a:moveTo>
                  <a:cubicBezTo>
                    <a:pt x="1229" y="1331"/>
                    <a:pt x="1229" y="1331"/>
                    <a:pt x="1229" y="1331"/>
                  </a:cubicBezTo>
                  <a:cubicBezTo>
                    <a:pt x="1266" y="1331"/>
                    <a:pt x="1297" y="1301"/>
                    <a:pt x="1297" y="1263"/>
                  </a:cubicBezTo>
                  <a:cubicBezTo>
                    <a:pt x="1297" y="1195"/>
                    <a:pt x="1297" y="1195"/>
                    <a:pt x="1297" y="1195"/>
                  </a:cubicBezTo>
                  <a:cubicBezTo>
                    <a:pt x="1297" y="1157"/>
                    <a:pt x="1266" y="1127"/>
                    <a:pt x="1229" y="1127"/>
                  </a:cubicBezTo>
                  <a:cubicBezTo>
                    <a:pt x="1161" y="1127"/>
                    <a:pt x="1161" y="1127"/>
                    <a:pt x="1161" y="1127"/>
                  </a:cubicBezTo>
                  <a:cubicBezTo>
                    <a:pt x="1123" y="1127"/>
                    <a:pt x="1092" y="1157"/>
                    <a:pt x="1092" y="1195"/>
                  </a:cubicBezTo>
                  <a:cubicBezTo>
                    <a:pt x="1092" y="1263"/>
                    <a:pt x="1092" y="1263"/>
                    <a:pt x="1092" y="1263"/>
                  </a:cubicBezTo>
                  <a:cubicBezTo>
                    <a:pt x="1092" y="1301"/>
                    <a:pt x="1123" y="1331"/>
                    <a:pt x="1161" y="1331"/>
                  </a:cubicBezTo>
                  <a:close/>
                  <a:moveTo>
                    <a:pt x="1161" y="1195"/>
                  </a:moveTo>
                  <a:cubicBezTo>
                    <a:pt x="1229" y="1195"/>
                    <a:pt x="1229" y="1195"/>
                    <a:pt x="1229" y="1195"/>
                  </a:cubicBezTo>
                  <a:cubicBezTo>
                    <a:pt x="1229" y="1263"/>
                    <a:pt x="1229" y="1263"/>
                    <a:pt x="1229" y="1263"/>
                  </a:cubicBezTo>
                  <a:cubicBezTo>
                    <a:pt x="1161" y="1263"/>
                    <a:pt x="1161" y="1263"/>
                    <a:pt x="1161" y="1263"/>
                  </a:cubicBezTo>
                  <a:lnTo>
                    <a:pt x="1161" y="1195"/>
                  </a:lnTo>
                  <a:close/>
                  <a:moveTo>
                    <a:pt x="819" y="785"/>
                  </a:moveTo>
                  <a:cubicBezTo>
                    <a:pt x="887" y="785"/>
                    <a:pt x="887" y="785"/>
                    <a:pt x="887" y="785"/>
                  </a:cubicBezTo>
                  <a:cubicBezTo>
                    <a:pt x="925" y="785"/>
                    <a:pt x="956" y="754"/>
                    <a:pt x="956" y="717"/>
                  </a:cubicBezTo>
                  <a:cubicBezTo>
                    <a:pt x="956" y="649"/>
                    <a:pt x="956" y="649"/>
                    <a:pt x="956" y="649"/>
                  </a:cubicBezTo>
                  <a:cubicBezTo>
                    <a:pt x="956" y="611"/>
                    <a:pt x="925" y="580"/>
                    <a:pt x="887" y="580"/>
                  </a:cubicBezTo>
                  <a:cubicBezTo>
                    <a:pt x="819" y="580"/>
                    <a:pt x="819" y="580"/>
                    <a:pt x="819" y="580"/>
                  </a:cubicBezTo>
                  <a:cubicBezTo>
                    <a:pt x="782" y="580"/>
                    <a:pt x="751" y="611"/>
                    <a:pt x="751" y="649"/>
                  </a:cubicBezTo>
                  <a:cubicBezTo>
                    <a:pt x="751" y="717"/>
                    <a:pt x="751" y="717"/>
                    <a:pt x="751" y="717"/>
                  </a:cubicBezTo>
                  <a:cubicBezTo>
                    <a:pt x="751" y="754"/>
                    <a:pt x="782" y="785"/>
                    <a:pt x="819" y="785"/>
                  </a:cubicBezTo>
                  <a:close/>
                  <a:moveTo>
                    <a:pt x="819" y="649"/>
                  </a:moveTo>
                  <a:cubicBezTo>
                    <a:pt x="887" y="649"/>
                    <a:pt x="887" y="649"/>
                    <a:pt x="887" y="649"/>
                  </a:cubicBezTo>
                  <a:cubicBezTo>
                    <a:pt x="887" y="717"/>
                    <a:pt x="887" y="717"/>
                    <a:pt x="887" y="717"/>
                  </a:cubicBezTo>
                  <a:cubicBezTo>
                    <a:pt x="819" y="717"/>
                    <a:pt x="819" y="717"/>
                    <a:pt x="819" y="717"/>
                  </a:cubicBezTo>
                  <a:lnTo>
                    <a:pt x="819" y="649"/>
                  </a:lnTo>
                  <a:close/>
                  <a:moveTo>
                    <a:pt x="819" y="512"/>
                  </a:moveTo>
                  <a:cubicBezTo>
                    <a:pt x="887" y="512"/>
                    <a:pt x="887" y="512"/>
                    <a:pt x="887" y="512"/>
                  </a:cubicBezTo>
                  <a:cubicBezTo>
                    <a:pt x="925" y="512"/>
                    <a:pt x="956" y="481"/>
                    <a:pt x="956" y="444"/>
                  </a:cubicBezTo>
                  <a:cubicBezTo>
                    <a:pt x="956" y="376"/>
                    <a:pt x="956" y="376"/>
                    <a:pt x="956" y="376"/>
                  </a:cubicBezTo>
                  <a:cubicBezTo>
                    <a:pt x="956" y="338"/>
                    <a:pt x="925" y="307"/>
                    <a:pt x="887" y="307"/>
                  </a:cubicBezTo>
                  <a:cubicBezTo>
                    <a:pt x="819" y="307"/>
                    <a:pt x="819" y="307"/>
                    <a:pt x="819" y="307"/>
                  </a:cubicBezTo>
                  <a:cubicBezTo>
                    <a:pt x="782" y="307"/>
                    <a:pt x="751" y="338"/>
                    <a:pt x="751" y="376"/>
                  </a:cubicBezTo>
                  <a:cubicBezTo>
                    <a:pt x="751" y="444"/>
                    <a:pt x="751" y="444"/>
                    <a:pt x="751" y="444"/>
                  </a:cubicBezTo>
                  <a:cubicBezTo>
                    <a:pt x="751" y="481"/>
                    <a:pt x="782" y="512"/>
                    <a:pt x="819" y="512"/>
                  </a:cubicBezTo>
                  <a:close/>
                  <a:moveTo>
                    <a:pt x="819" y="376"/>
                  </a:moveTo>
                  <a:cubicBezTo>
                    <a:pt x="887" y="376"/>
                    <a:pt x="887" y="376"/>
                    <a:pt x="887" y="376"/>
                  </a:cubicBezTo>
                  <a:cubicBezTo>
                    <a:pt x="887" y="444"/>
                    <a:pt x="887" y="444"/>
                    <a:pt x="887" y="444"/>
                  </a:cubicBezTo>
                  <a:cubicBezTo>
                    <a:pt x="819" y="444"/>
                    <a:pt x="819" y="444"/>
                    <a:pt x="819" y="444"/>
                  </a:cubicBezTo>
                  <a:lnTo>
                    <a:pt x="819" y="376"/>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grpSp>
        <p:nvGrpSpPr>
          <p:cNvPr id="237" name="Group 236"/>
          <p:cNvGrpSpPr/>
          <p:nvPr/>
        </p:nvGrpSpPr>
        <p:grpSpPr>
          <a:xfrm>
            <a:off x="8711339" y="3807154"/>
            <a:ext cx="292608" cy="292608"/>
            <a:chOff x="8711339" y="3807154"/>
            <a:chExt cx="292608" cy="292608"/>
          </a:xfrm>
        </p:grpSpPr>
        <p:sp>
          <p:nvSpPr>
            <p:cNvPr id="238" name="Oval 237"/>
            <p:cNvSpPr/>
            <p:nvPr/>
          </p:nvSpPr>
          <p:spPr>
            <a:xfrm>
              <a:off x="8711339" y="3807154"/>
              <a:ext cx="292608" cy="29260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39" name="Freeform 28"/>
            <p:cNvSpPr>
              <a:spLocks noEditPoints="1"/>
            </p:cNvSpPr>
            <p:nvPr/>
          </p:nvSpPr>
          <p:spPr bwMode="auto">
            <a:xfrm>
              <a:off x="8793811" y="3871238"/>
              <a:ext cx="127664" cy="164441"/>
            </a:xfrm>
            <a:custGeom>
              <a:avLst/>
              <a:gdLst/>
              <a:ahLst/>
              <a:cxnLst>
                <a:cxn ang="0">
                  <a:pos x="2613" y="1778"/>
                </a:cxn>
                <a:cxn ang="0">
                  <a:pos x="2247" y="1778"/>
                </a:cxn>
                <a:cxn ang="0">
                  <a:pos x="2247" y="4167"/>
                </a:cxn>
                <a:cxn ang="0">
                  <a:pos x="2613" y="4167"/>
                </a:cxn>
                <a:cxn ang="0">
                  <a:pos x="2613" y="1778"/>
                </a:cxn>
                <a:cxn ang="0">
                  <a:pos x="1509" y="1778"/>
                </a:cxn>
                <a:cxn ang="0">
                  <a:pos x="1143" y="1778"/>
                </a:cxn>
                <a:cxn ang="0">
                  <a:pos x="1143" y="4167"/>
                </a:cxn>
                <a:cxn ang="0">
                  <a:pos x="1509" y="4167"/>
                </a:cxn>
                <a:cxn ang="0">
                  <a:pos x="1509" y="1778"/>
                </a:cxn>
                <a:cxn ang="0">
                  <a:pos x="2901" y="309"/>
                </a:cxn>
                <a:cxn ang="0">
                  <a:pos x="2901" y="0"/>
                </a:cxn>
                <a:cxn ang="0">
                  <a:pos x="855" y="0"/>
                </a:cxn>
                <a:cxn ang="0">
                  <a:pos x="855" y="309"/>
                </a:cxn>
                <a:cxn ang="0">
                  <a:pos x="0" y="309"/>
                </a:cxn>
                <a:cxn ang="0">
                  <a:pos x="0" y="1478"/>
                </a:cxn>
                <a:cxn ang="0">
                  <a:pos x="257" y="1478"/>
                </a:cxn>
                <a:cxn ang="0">
                  <a:pos x="257" y="4838"/>
                </a:cxn>
                <a:cxn ang="0">
                  <a:pos x="3499" y="4838"/>
                </a:cxn>
                <a:cxn ang="0">
                  <a:pos x="3499" y="1478"/>
                </a:cxn>
                <a:cxn ang="0">
                  <a:pos x="3756" y="1478"/>
                </a:cxn>
                <a:cxn ang="0">
                  <a:pos x="3756" y="309"/>
                </a:cxn>
                <a:cxn ang="0">
                  <a:pos x="2901" y="309"/>
                </a:cxn>
                <a:cxn ang="0">
                  <a:pos x="3130" y="4469"/>
                </a:cxn>
                <a:cxn ang="0">
                  <a:pos x="626" y="4469"/>
                </a:cxn>
                <a:cxn ang="0">
                  <a:pos x="626" y="1478"/>
                </a:cxn>
                <a:cxn ang="0">
                  <a:pos x="3130" y="1478"/>
                </a:cxn>
                <a:cxn ang="0">
                  <a:pos x="3130" y="4469"/>
                </a:cxn>
                <a:cxn ang="0">
                  <a:pos x="3388" y="1108"/>
                </a:cxn>
                <a:cxn ang="0">
                  <a:pos x="368" y="1108"/>
                </a:cxn>
                <a:cxn ang="0">
                  <a:pos x="368" y="675"/>
                </a:cxn>
                <a:cxn ang="0">
                  <a:pos x="1221" y="675"/>
                </a:cxn>
                <a:cxn ang="0">
                  <a:pos x="1221" y="368"/>
                </a:cxn>
                <a:cxn ang="0">
                  <a:pos x="2535" y="368"/>
                </a:cxn>
                <a:cxn ang="0">
                  <a:pos x="2535" y="675"/>
                </a:cxn>
                <a:cxn ang="0">
                  <a:pos x="3388" y="675"/>
                </a:cxn>
                <a:cxn ang="0">
                  <a:pos x="3388" y="1108"/>
                </a:cxn>
              </a:cxnLst>
              <a:rect l="0" t="0" r="r" b="b"/>
              <a:pathLst>
                <a:path w="3756" h="4838">
                  <a:moveTo>
                    <a:pt x="2613" y="1778"/>
                  </a:moveTo>
                  <a:lnTo>
                    <a:pt x="2247" y="1778"/>
                  </a:lnTo>
                  <a:lnTo>
                    <a:pt x="2247" y="4167"/>
                  </a:lnTo>
                  <a:lnTo>
                    <a:pt x="2613" y="4167"/>
                  </a:lnTo>
                  <a:lnTo>
                    <a:pt x="2613" y="1778"/>
                  </a:lnTo>
                  <a:close/>
                  <a:moveTo>
                    <a:pt x="1509" y="1778"/>
                  </a:moveTo>
                  <a:lnTo>
                    <a:pt x="1143" y="1778"/>
                  </a:lnTo>
                  <a:lnTo>
                    <a:pt x="1143" y="4167"/>
                  </a:lnTo>
                  <a:lnTo>
                    <a:pt x="1509" y="4167"/>
                  </a:lnTo>
                  <a:lnTo>
                    <a:pt x="1509" y="1778"/>
                  </a:lnTo>
                  <a:close/>
                  <a:moveTo>
                    <a:pt x="2901" y="309"/>
                  </a:moveTo>
                  <a:lnTo>
                    <a:pt x="2901" y="0"/>
                  </a:lnTo>
                  <a:lnTo>
                    <a:pt x="855" y="0"/>
                  </a:lnTo>
                  <a:lnTo>
                    <a:pt x="855" y="309"/>
                  </a:lnTo>
                  <a:lnTo>
                    <a:pt x="0" y="309"/>
                  </a:lnTo>
                  <a:lnTo>
                    <a:pt x="0" y="1478"/>
                  </a:lnTo>
                  <a:lnTo>
                    <a:pt x="257" y="1478"/>
                  </a:lnTo>
                  <a:lnTo>
                    <a:pt x="257" y="4838"/>
                  </a:lnTo>
                  <a:lnTo>
                    <a:pt x="3499" y="4838"/>
                  </a:lnTo>
                  <a:lnTo>
                    <a:pt x="3499" y="1478"/>
                  </a:lnTo>
                  <a:lnTo>
                    <a:pt x="3756" y="1478"/>
                  </a:lnTo>
                  <a:lnTo>
                    <a:pt x="3756" y="309"/>
                  </a:lnTo>
                  <a:lnTo>
                    <a:pt x="2901" y="309"/>
                  </a:lnTo>
                  <a:close/>
                  <a:moveTo>
                    <a:pt x="3130" y="4469"/>
                  </a:moveTo>
                  <a:lnTo>
                    <a:pt x="626" y="4469"/>
                  </a:lnTo>
                  <a:lnTo>
                    <a:pt x="626" y="1478"/>
                  </a:lnTo>
                  <a:lnTo>
                    <a:pt x="3130" y="1478"/>
                  </a:lnTo>
                  <a:lnTo>
                    <a:pt x="3130" y="4469"/>
                  </a:lnTo>
                  <a:close/>
                  <a:moveTo>
                    <a:pt x="3388" y="1108"/>
                  </a:moveTo>
                  <a:lnTo>
                    <a:pt x="368" y="1108"/>
                  </a:lnTo>
                  <a:lnTo>
                    <a:pt x="368" y="675"/>
                  </a:lnTo>
                  <a:lnTo>
                    <a:pt x="1221" y="675"/>
                  </a:lnTo>
                  <a:lnTo>
                    <a:pt x="1221" y="368"/>
                  </a:lnTo>
                  <a:lnTo>
                    <a:pt x="2535" y="368"/>
                  </a:lnTo>
                  <a:lnTo>
                    <a:pt x="2535" y="675"/>
                  </a:lnTo>
                  <a:lnTo>
                    <a:pt x="3388" y="675"/>
                  </a:lnTo>
                  <a:lnTo>
                    <a:pt x="3388" y="1108"/>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grpSp>
        <p:nvGrpSpPr>
          <p:cNvPr id="240" name="Group 239"/>
          <p:cNvGrpSpPr/>
          <p:nvPr/>
        </p:nvGrpSpPr>
        <p:grpSpPr>
          <a:xfrm>
            <a:off x="5189699" y="3571596"/>
            <a:ext cx="292608" cy="292608"/>
            <a:chOff x="5189699" y="3571596"/>
            <a:chExt cx="292608" cy="292608"/>
          </a:xfrm>
        </p:grpSpPr>
        <p:sp>
          <p:nvSpPr>
            <p:cNvPr id="241" name="Oval 240"/>
            <p:cNvSpPr/>
            <p:nvPr/>
          </p:nvSpPr>
          <p:spPr>
            <a:xfrm>
              <a:off x="5189699" y="3571596"/>
              <a:ext cx="292608" cy="292608"/>
            </a:xfrm>
            <a:prstGeom prst="ellipse">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42" name="Freeform 5"/>
            <p:cNvSpPr>
              <a:spLocks noEditPoints="1"/>
            </p:cNvSpPr>
            <p:nvPr/>
          </p:nvSpPr>
          <p:spPr bwMode="auto">
            <a:xfrm>
              <a:off x="5252800" y="3648596"/>
              <a:ext cx="166407" cy="138609"/>
            </a:xfrm>
            <a:custGeom>
              <a:avLst/>
              <a:gdLst/>
              <a:ahLst/>
              <a:cxnLst>
                <a:cxn ang="0">
                  <a:pos x="1365" y="442"/>
                </a:cxn>
                <a:cxn ang="0">
                  <a:pos x="1451" y="213"/>
                </a:cxn>
                <a:cxn ang="0">
                  <a:pos x="1536" y="128"/>
                </a:cxn>
                <a:cxn ang="0">
                  <a:pos x="1365" y="85"/>
                </a:cxn>
                <a:cxn ang="0">
                  <a:pos x="1280" y="42"/>
                </a:cxn>
                <a:cxn ang="0">
                  <a:pos x="768" y="435"/>
                </a:cxn>
                <a:cxn ang="0">
                  <a:pos x="853" y="213"/>
                </a:cxn>
                <a:cxn ang="0">
                  <a:pos x="939" y="128"/>
                </a:cxn>
                <a:cxn ang="0">
                  <a:pos x="768" y="85"/>
                </a:cxn>
                <a:cxn ang="0">
                  <a:pos x="683" y="42"/>
                </a:cxn>
                <a:cxn ang="0">
                  <a:pos x="97" y="589"/>
                </a:cxn>
                <a:cxn ang="0">
                  <a:pos x="97" y="1544"/>
                </a:cxn>
                <a:cxn ang="0">
                  <a:pos x="1150" y="1704"/>
                </a:cxn>
                <a:cxn ang="0">
                  <a:pos x="1729" y="1630"/>
                </a:cxn>
                <a:cxn ang="0">
                  <a:pos x="2048" y="725"/>
                </a:cxn>
                <a:cxn ang="0">
                  <a:pos x="1707" y="585"/>
                </a:cxn>
                <a:cxn ang="0">
                  <a:pos x="1334" y="793"/>
                </a:cxn>
                <a:cxn ang="0">
                  <a:pos x="1024" y="512"/>
                </a:cxn>
                <a:cxn ang="0">
                  <a:pos x="1024" y="768"/>
                </a:cxn>
                <a:cxn ang="0">
                  <a:pos x="1024" y="512"/>
                </a:cxn>
                <a:cxn ang="0">
                  <a:pos x="829" y="777"/>
                </a:cxn>
                <a:cxn ang="0">
                  <a:pos x="274" y="605"/>
                </a:cxn>
                <a:cxn ang="0">
                  <a:pos x="85" y="1408"/>
                </a:cxn>
                <a:cxn ang="0">
                  <a:pos x="299" y="1291"/>
                </a:cxn>
                <a:cxn ang="0">
                  <a:pos x="208" y="1168"/>
                </a:cxn>
                <a:cxn ang="0">
                  <a:pos x="146" y="891"/>
                </a:cxn>
                <a:cxn ang="0">
                  <a:pos x="208" y="826"/>
                </a:cxn>
                <a:cxn ang="0">
                  <a:pos x="563" y="864"/>
                </a:cxn>
                <a:cxn ang="0">
                  <a:pos x="208" y="826"/>
                </a:cxn>
                <a:cxn ang="0">
                  <a:pos x="384" y="1312"/>
                </a:cxn>
                <a:cxn ang="0">
                  <a:pos x="725" y="1270"/>
                </a:cxn>
                <a:cxn ang="0">
                  <a:pos x="725" y="1015"/>
                </a:cxn>
                <a:cxn ang="0">
                  <a:pos x="811" y="1615"/>
                </a:cxn>
                <a:cxn ang="0">
                  <a:pos x="853" y="1617"/>
                </a:cxn>
                <a:cxn ang="0">
                  <a:pos x="939" y="1620"/>
                </a:cxn>
                <a:cxn ang="0">
                  <a:pos x="1109" y="1364"/>
                </a:cxn>
                <a:cxn ang="0">
                  <a:pos x="1195" y="1617"/>
                </a:cxn>
                <a:cxn ang="0">
                  <a:pos x="1237" y="1615"/>
                </a:cxn>
                <a:cxn ang="0">
                  <a:pos x="811" y="1275"/>
                </a:cxn>
                <a:cxn ang="0">
                  <a:pos x="1237" y="1019"/>
                </a:cxn>
                <a:cxn ang="0">
                  <a:pos x="758" y="919"/>
                </a:cxn>
                <a:cxn ang="0">
                  <a:pos x="1024" y="853"/>
                </a:cxn>
                <a:cxn ang="0">
                  <a:pos x="1290" y="919"/>
                </a:cxn>
                <a:cxn ang="0">
                  <a:pos x="1323" y="1609"/>
                </a:cxn>
                <a:cxn ang="0">
                  <a:pos x="1664" y="1558"/>
                </a:cxn>
                <a:cxn ang="0">
                  <a:pos x="1323" y="1015"/>
                </a:cxn>
                <a:cxn ang="0">
                  <a:pos x="1698" y="875"/>
                </a:cxn>
                <a:cxn ang="0">
                  <a:pos x="1493" y="896"/>
                </a:cxn>
                <a:cxn ang="0">
                  <a:pos x="1963" y="725"/>
                </a:cxn>
                <a:cxn ang="0">
                  <a:pos x="1749" y="949"/>
                </a:cxn>
                <a:cxn ang="0">
                  <a:pos x="1963" y="1066"/>
                </a:cxn>
                <a:cxn ang="0">
                  <a:pos x="1749" y="949"/>
                </a:cxn>
                <a:cxn ang="0">
                  <a:pos x="1749" y="1291"/>
                </a:cxn>
                <a:cxn ang="0">
                  <a:pos x="1963" y="1408"/>
                </a:cxn>
              </a:cxnLst>
              <a:rect l="0" t="0" r="r" b="b"/>
              <a:pathLst>
                <a:path w="2048" h="1706">
                  <a:moveTo>
                    <a:pt x="1951" y="589"/>
                  </a:moveTo>
                  <a:cubicBezTo>
                    <a:pt x="1898" y="556"/>
                    <a:pt x="1823" y="527"/>
                    <a:pt x="1729" y="503"/>
                  </a:cubicBezTo>
                  <a:cubicBezTo>
                    <a:pt x="1624" y="475"/>
                    <a:pt x="1500" y="455"/>
                    <a:pt x="1365" y="442"/>
                  </a:cubicBezTo>
                  <a:cubicBezTo>
                    <a:pt x="1365" y="170"/>
                    <a:pt x="1365" y="170"/>
                    <a:pt x="1365" y="170"/>
                  </a:cubicBezTo>
                  <a:cubicBezTo>
                    <a:pt x="1408" y="170"/>
                    <a:pt x="1408" y="170"/>
                    <a:pt x="1408" y="170"/>
                  </a:cubicBezTo>
                  <a:cubicBezTo>
                    <a:pt x="1408" y="194"/>
                    <a:pt x="1427" y="213"/>
                    <a:pt x="1451" y="213"/>
                  </a:cubicBezTo>
                  <a:cubicBezTo>
                    <a:pt x="1536" y="213"/>
                    <a:pt x="1536" y="213"/>
                    <a:pt x="1536" y="213"/>
                  </a:cubicBezTo>
                  <a:cubicBezTo>
                    <a:pt x="1560" y="213"/>
                    <a:pt x="1579" y="194"/>
                    <a:pt x="1579" y="170"/>
                  </a:cubicBezTo>
                  <a:cubicBezTo>
                    <a:pt x="1579" y="147"/>
                    <a:pt x="1560" y="128"/>
                    <a:pt x="1536" y="128"/>
                  </a:cubicBezTo>
                  <a:cubicBezTo>
                    <a:pt x="1493" y="128"/>
                    <a:pt x="1493" y="128"/>
                    <a:pt x="1493" y="128"/>
                  </a:cubicBezTo>
                  <a:cubicBezTo>
                    <a:pt x="1493" y="104"/>
                    <a:pt x="1474" y="85"/>
                    <a:pt x="1451" y="85"/>
                  </a:cubicBezTo>
                  <a:cubicBezTo>
                    <a:pt x="1365" y="85"/>
                    <a:pt x="1365" y="85"/>
                    <a:pt x="1365" y="85"/>
                  </a:cubicBezTo>
                  <a:cubicBezTo>
                    <a:pt x="1365" y="42"/>
                    <a:pt x="1365" y="42"/>
                    <a:pt x="1365" y="42"/>
                  </a:cubicBezTo>
                  <a:cubicBezTo>
                    <a:pt x="1365" y="19"/>
                    <a:pt x="1346" y="0"/>
                    <a:pt x="1323" y="0"/>
                  </a:cubicBezTo>
                  <a:cubicBezTo>
                    <a:pt x="1299" y="0"/>
                    <a:pt x="1280" y="19"/>
                    <a:pt x="1280" y="42"/>
                  </a:cubicBezTo>
                  <a:cubicBezTo>
                    <a:pt x="1280" y="435"/>
                    <a:pt x="1280" y="435"/>
                    <a:pt x="1280" y="435"/>
                  </a:cubicBezTo>
                  <a:cubicBezTo>
                    <a:pt x="1197" y="429"/>
                    <a:pt x="1112" y="426"/>
                    <a:pt x="1024" y="426"/>
                  </a:cubicBezTo>
                  <a:cubicBezTo>
                    <a:pt x="936" y="426"/>
                    <a:pt x="851" y="429"/>
                    <a:pt x="768" y="435"/>
                  </a:cubicBezTo>
                  <a:cubicBezTo>
                    <a:pt x="768" y="170"/>
                    <a:pt x="768" y="170"/>
                    <a:pt x="768" y="170"/>
                  </a:cubicBezTo>
                  <a:cubicBezTo>
                    <a:pt x="811" y="170"/>
                    <a:pt x="811" y="170"/>
                    <a:pt x="811" y="170"/>
                  </a:cubicBezTo>
                  <a:cubicBezTo>
                    <a:pt x="811" y="194"/>
                    <a:pt x="830" y="213"/>
                    <a:pt x="853" y="213"/>
                  </a:cubicBezTo>
                  <a:cubicBezTo>
                    <a:pt x="939" y="213"/>
                    <a:pt x="939" y="213"/>
                    <a:pt x="939" y="213"/>
                  </a:cubicBezTo>
                  <a:cubicBezTo>
                    <a:pt x="962" y="213"/>
                    <a:pt x="981" y="194"/>
                    <a:pt x="981" y="170"/>
                  </a:cubicBezTo>
                  <a:cubicBezTo>
                    <a:pt x="981" y="147"/>
                    <a:pt x="962" y="128"/>
                    <a:pt x="939" y="128"/>
                  </a:cubicBezTo>
                  <a:cubicBezTo>
                    <a:pt x="896" y="128"/>
                    <a:pt x="896" y="128"/>
                    <a:pt x="896" y="128"/>
                  </a:cubicBezTo>
                  <a:cubicBezTo>
                    <a:pt x="896" y="104"/>
                    <a:pt x="877" y="85"/>
                    <a:pt x="853" y="85"/>
                  </a:cubicBezTo>
                  <a:cubicBezTo>
                    <a:pt x="768" y="85"/>
                    <a:pt x="768" y="85"/>
                    <a:pt x="768" y="85"/>
                  </a:cubicBezTo>
                  <a:cubicBezTo>
                    <a:pt x="768" y="42"/>
                    <a:pt x="768" y="42"/>
                    <a:pt x="768" y="42"/>
                  </a:cubicBezTo>
                  <a:cubicBezTo>
                    <a:pt x="768" y="19"/>
                    <a:pt x="749" y="0"/>
                    <a:pt x="725" y="0"/>
                  </a:cubicBezTo>
                  <a:cubicBezTo>
                    <a:pt x="702" y="0"/>
                    <a:pt x="683" y="19"/>
                    <a:pt x="683" y="42"/>
                  </a:cubicBezTo>
                  <a:cubicBezTo>
                    <a:pt x="683" y="442"/>
                    <a:pt x="683" y="442"/>
                    <a:pt x="683" y="442"/>
                  </a:cubicBezTo>
                  <a:cubicBezTo>
                    <a:pt x="548" y="455"/>
                    <a:pt x="424" y="475"/>
                    <a:pt x="319" y="503"/>
                  </a:cubicBezTo>
                  <a:cubicBezTo>
                    <a:pt x="225" y="527"/>
                    <a:pt x="150" y="556"/>
                    <a:pt x="97" y="589"/>
                  </a:cubicBezTo>
                  <a:cubicBezTo>
                    <a:pt x="33" y="629"/>
                    <a:pt x="0" y="675"/>
                    <a:pt x="0" y="725"/>
                  </a:cubicBezTo>
                  <a:cubicBezTo>
                    <a:pt x="0" y="1408"/>
                    <a:pt x="0" y="1408"/>
                    <a:pt x="0" y="1408"/>
                  </a:cubicBezTo>
                  <a:cubicBezTo>
                    <a:pt x="0" y="1458"/>
                    <a:pt x="33" y="1504"/>
                    <a:pt x="97" y="1544"/>
                  </a:cubicBezTo>
                  <a:cubicBezTo>
                    <a:pt x="150" y="1576"/>
                    <a:pt x="225" y="1605"/>
                    <a:pt x="319" y="1630"/>
                  </a:cubicBezTo>
                  <a:cubicBezTo>
                    <a:pt x="508" y="1679"/>
                    <a:pt x="758" y="1706"/>
                    <a:pt x="1024" y="1706"/>
                  </a:cubicBezTo>
                  <a:cubicBezTo>
                    <a:pt x="1066" y="1706"/>
                    <a:pt x="1108" y="1706"/>
                    <a:pt x="1150" y="1704"/>
                  </a:cubicBezTo>
                  <a:cubicBezTo>
                    <a:pt x="1151" y="1704"/>
                    <a:pt x="1151" y="1704"/>
                    <a:pt x="1152" y="1704"/>
                  </a:cubicBezTo>
                  <a:cubicBezTo>
                    <a:pt x="1154" y="1704"/>
                    <a:pt x="1155" y="1704"/>
                    <a:pt x="1157" y="1704"/>
                  </a:cubicBezTo>
                  <a:cubicBezTo>
                    <a:pt x="1373" y="1696"/>
                    <a:pt x="1572" y="1671"/>
                    <a:pt x="1729" y="1630"/>
                  </a:cubicBezTo>
                  <a:cubicBezTo>
                    <a:pt x="1823" y="1605"/>
                    <a:pt x="1898" y="1576"/>
                    <a:pt x="1951" y="1544"/>
                  </a:cubicBezTo>
                  <a:cubicBezTo>
                    <a:pt x="2015" y="1504"/>
                    <a:pt x="2048" y="1458"/>
                    <a:pt x="2048" y="1408"/>
                  </a:cubicBezTo>
                  <a:cubicBezTo>
                    <a:pt x="2048" y="725"/>
                    <a:pt x="2048" y="725"/>
                    <a:pt x="2048" y="725"/>
                  </a:cubicBezTo>
                  <a:cubicBezTo>
                    <a:pt x="2048" y="675"/>
                    <a:pt x="2015" y="629"/>
                    <a:pt x="1951" y="589"/>
                  </a:cubicBezTo>
                  <a:close/>
                  <a:moveTo>
                    <a:pt x="1348" y="526"/>
                  </a:moveTo>
                  <a:cubicBezTo>
                    <a:pt x="1481" y="538"/>
                    <a:pt x="1604" y="558"/>
                    <a:pt x="1707" y="585"/>
                  </a:cubicBezTo>
                  <a:cubicBezTo>
                    <a:pt x="1731" y="592"/>
                    <a:pt x="1754" y="598"/>
                    <a:pt x="1774" y="605"/>
                  </a:cubicBezTo>
                  <a:cubicBezTo>
                    <a:pt x="1405" y="811"/>
                    <a:pt x="1405" y="811"/>
                    <a:pt x="1405" y="811"/>
                  </a:cubicBezTo>
                  <a:cubicBezTo>
                    <a:pt x="1382" y="804"/>
                    <a:pt x="1357" y="798"/>
                    <a:pt x="1334" y="793"/>
                  </a:cubicBezTo>
                  <a:cubicBezTo>
                    <a:pt x="1300" y="787"/>
                    <a:pt x="1261" y="781"/>
                    <a:pt x="1219" y="777"/>
                  </a:cubicBezTo>
                  <a:lnTo>
                    <a:pt x="1348" y="526"/>
                  </a:lnTo>
                  <a:close/>
                  <a:moveTo>
                    <a:pt x="1024" y="512"/>
                  </a:moveTo>
                  <a:cubicBezTo>
                    <a:pt x="1103" y="512"/>
                    <a:pt x="1181" y="514"/>
                    <a:pt x="1255" y="519"/>
                  </a:cubicBezTo>
                  <a:cubicBezTo>
                    <a:pt x="1127" y="770"/>
                    <a:pt x="1127" y="770"/>
                    <a:pt x="1127" y="770"/>
                  </a:cubicBezTo>
                  <a:cubicBezTo>
                    <a:pt x="1093" y="768"/>
                    <a:pt x="1059" y="768"/>
                    <a:pt x="1024" y="768"/>
                  </a:cubicBezTo>
                  <a:cubicBezTo>
                    <a:pt x="989" y="768"/>
                    <a:pt x="955" y="768"/>
                    <a:pt x="921" y="770"/>
                  </a:cubicBezTo>
                  <a:cubicBezTo>
                    <a:pt x="793" y="519"/>
                    <a:pt x="793" y="519"/>
                    <a:pt x="793" y="519"/>
                  </a:cubicBezTo>
                  <a:cubicBezTo>
                    <a:pt x="867" y="514"/>
                    <a:pt x="945" y="512"/>
                    <a:pt x="1024" y="512"/>
                  </a:cubicBezTo>
                  <a:close/>
                  <a:moveTo>
                    <a:pt x="341" y="585"/>
                  </a:moveTo>
                  <a:cubicBezTo>
                    <a:pt x="444" y="558"/>
                    <a:pt x="566" y="538"/>
                    <a:pt x="700" y="526"/>
                  </a:cubicBezTo>
                  <a:cubicBezTo>
                    <a:pt x="829" y="777"/>
                    <a:pt x="829" y="777"/>
                    <a:pt x="829" y="777"/>
                  </a:cubicBezTo>
                  <a:cubicBezTo>
                    <a:pt x="787" y="781"/>
                    <a:pt x="748" y="787"/>
                    <a:pt x="714" y="793"/>
                  </a:cubicBezTo>
                  <a:cubicBezTo>
                    <a:pt x="691" y="798"/>
                    <a:pt x="666" y="804"/>
                    <a:pt x="643" y="811"/>
                  </a:cubicBezTo>
                  <a:cubicBezTo>
                    <a:pt x="274" y="605"/>
                    <a:pt x="274" y="605"/>
                    <a:pt x="274" y="605"/>
                  </a:cubicBezTo>
                  <a:cubicBezTo>
                    <a:pt x="294" y="598"/>
                    <a:pt x="316" y="592"/>
                    <a:pt x="341" y="585"/>
                  </a:cubicBezTo>
                  <a:close/>
                  <a:moveTo>
                    <a:pt x="299" y="1536"/>
                  </a:moveTo>
                  <a:cubicBezTo>
                    <a:pt x="131" y="1486"/>
                    <a:pt x="85" y="1433"/>
                    <a:pt x="85" y="1408"/>
                  </a:cubicBezTo>
                  <a:cubicBezTo>
                    <a:pt x="85" y="1195"/>
                    <a:pt x="85" y="1195"/>
                    <a:pt x="85" y="1195"/>
                  </a:cubicBezTo>
                  <a:cubicBezTo>
                    <a:pt x="102" y="1207"/>
                    <a:pt x="122" y="1220"/>
                    <a:pt x="146" y="1232"/>
                  </a:cubicBezTo>
                  <a:cubicBezTo>
                    <a:pt x="188" y="1254"/>
                    <a:pt x="240" y="1274"/>
                    <a:pt x="299" y="1291"/>
                  </a:cubicBezTo>
                  <a:lnTo>
                    <a:pt x="299" y="1536"/>
                  </a:lnTo>
                  <a:close/>
                  <a:moveTo>
                    <a:pt x="299" y="1202"/>
                  </a:moveTo>
                  <a:cubicBezTo>
                    <a:pt x="262" y="1190"/>
                    <a:pt x="232" y="1179"/>
                    <a:pt x="208" y="1168"/>
                  </a:cubicBezTo>
                  <a:cubicBezTo>
                    <a:pt x="99" y="1118"/>
                    <a:pt x="86" y="1070"/>
                    <a:pt x="85" y="1064"/>
                  </a:cubicBezTo>
                  <a:cubicBezTo>
                    <a:pt x="85" y="853"/>
                    <a:pt x="85" y="853"/>
                    <a:pt x="85" y="853"/>
                  </a:cubicBezTo>
                  <a:cubicBezTo>
                    <a:pt x="102" y="866"/>
                    <a:pt x="122" y="878"/>
                    <a:pt x="146" y="891"/>
                  </a:cubicBezTo>
                  <a:cubicBezTo>
                    <a:pt x="188" y="913"/>
                    <a:pt x="240" y="933"/>
                    <a:pt x="299" y="949"/>
                  </a:cubicBezTo>
                  <a:lnTo>
                    <a:pt x="299" y="1202"/>
                  </a:lnTo>
                  <a:close/>
                  <a:moveTo>
                    <a:pt x="208" y="826"/>
                  </a:moveTo>
                  <a:cubicBezTo>
                    <a:pt x="101" y="777"/>
                    <a:pt x="87" y="730"/>
                    <a:pt x="85" y="723"/>
                  </a:cubicBezTo>
                  <a:cubicBezTo>
                    <a:pt x="87" y="706"/>
                    <a:pt x="108" y="677"/>
                    <a:pt x="172" y="645"/>
                  </a:cubicBezTo>
                  <a:cubicBezTo>
                    <a:pt x="563" y="864"/>
                    <a:pt x="563" y="864"/>
                    <a:pt x="563" y="864"/>
                  </a:cubicBezTo>
                  <a:cubicBezTo>
                    <a:pt x="558" y="874"/>
                    <a:pt x="555" y="884"/>
                    <a:pt x="555" y="896"/>
                  </a:cubicBezTo>
                  <a:cubicBezTo>
                    <a:pt x="555" y="902"/>
                    <a:pt x="555" y="907"/>
                    <a:pt x="557" y="913"/>
                  </a:cubicBezTo>
                  <a:cubicBezTo>
                    <a:pt x="382" y="890"/>
                    <a:pt x="274" y="857"/>
                    <a:pt x="208" y="826"/>
                  </a:cubicBezTo>
                  <a:close/>
                  <a:moveTo>
                    <a:pt x="725" y="1609"/>
                  </a:moveTo>
                  <a:cubicBezTo>
                    <a:pt x="600" y="1598"/>
                    <a:pt x="484" y="1581"/>
                    <a:pt x="384" y="1558"/>
                  </a:cubicBezTo>
                  <a:cubicBezTo>
                    <a:pt x="384" y="1312"/>
                    <a:pt x="384" y="1312"/>
                    <a:pt x="384" y="1312"/>
                  </a:cubicBezTo>
                  <a:cubicBezTo>
                    <a:pt x="481" y="1333"/>
                    <a:pt x="595" y="1347"/>
                    <a:pt x="725" y="1356"/>
                  </a:cubicBezTo>
                  <a:lnTo>
                    <a:pt x="725" y="1609"/>
                  </a:lnTo>
                  <a:close/>
                  <a:moveTo>
                    <a:pt x="725" y="1270"/>
                  </a:moveTo>
                  <a:cubicBezTo>
                    <a:pt x="581" y="1260"/>
                    <a:pt x="469" y="1243"/>
                    <a:pt x="384" y="1224"/>
                  </a:cubicBezTo>
                  <a:cubicBezTo>
                    <a:pt x="384" y="971"/>
                    <a:pt x="384" y="971"/>
                    <a:pt x="384" y="971"/>
                  </a:cubicBezTo>
                  <a:cubicBezTo>
                    <a:pt x="481" y="991"/>
                    <a:pt x="595" y="1006"/>
                    <a:pt x="725" y="1015"/>
                  </a:cubicBezTo>
                  <a:lnTo>
                    <a:pt x="725" y="1270"/>
                  </a:lnTo>
                  <a:close/>
                  <a:moveTo>
                    <a:pt x="853" y="1617"/>
                  </a:moveTo>
                  <a:cubicBezTo>
                    <a:pt x="839" y="1616"/>
                    <a:pt x="825" y="1616"/>
                    <a:pt x="811" y="1615"/>
                  </a:cubicBezTo>
                  <a:cubicBezTo>
                    <a:pt x="811" y="1361"/>
                    <a:pt x="811" y="1361"/>
                    <a:pt x="811" y="1361"/>
                  </a:cubicBezTo>
                  <a:cubicBezTo>
                    <a:pt x="825" y="1361"/>
                    <a:pt x="839" y="1362"/>
                    <a:pt x="853" y="1362"/>
                  </a:cubicBezTo>
                  <a:lnTo>
                    <a:pt x="853" y="1617"/>
                  </a:lnTo>
                  <a:close/>
                  <a:moveTo>
                    <a:pt x="1109" y="1620"/>
                  </a:moveTo>
                  <a:cubicBezTo>
                    <a:pt x="1081" y="1621"/>
                    <a:pt x="1053" y="1621"/>
                    <a:pt x="1024" y="1621"/>
                  </a:cubicBezTo>
                  <a:cubicBezTo>
                    <a:pt x="995" y="1621"/>
                    <a:pt x="967" y="1621"/>
                    <a:pt x="939" y="1620"/>
                  </a:cubicBezTo>
                  <a:cubicBezTo>
                    <a:pt x="939" y="1364"/>
                    <a:pt x="939" y="1364"/>
                    <a:pt x="939" y="1364"/>
                  </a:cubicBezTo>
                  <a:cubicBezTo>
                    <a:pt x="967" y="1365"/>
                    <a:pt x="995" y="1365"/>
                    <a:pt x="1024" y="1365"/>
                  </a:cubicBezTo>
                  <a:cubicBezTo>
                    <a:pt x="1053" y="1365"/>
                    <a:pt x="1081" y="1365"/>
                    <a:pt x="1109" y="1364"/>
                  </a:cubicBezTo>
                  <a:lnTo>
                    <a:pt x="1109" y="1620"/>
                  </a:lnTo>
                  <a:close/>
                  <a:moveTo>
                    <a:pt x="1237" y="1615"/>
                  </a:moveTo>
                  <a:cubicBezTo>
                    <a:pt x="1223" y="1616"/>
                    <a:pt x="1209" y="1616"/>
                    <a:pt x="1195" y="1617"/>
                  </a:cubicBezTo>
                  <a:cubicBezTo>
                    <a:pt x="1195" y="1362"/>
                    <a:pt x="1195" y="1362"/>
                    <a:pt x="1195" y="1362"/>
                  </a:cubicBezTo>
                  <a:cubicBezTo>
                    <a:pt x="1209" y="1362"/>
                    <a:pt x="1223" y="1361"/>
                    <a:pt x="1237" y="1361"/>
                  </a:cubicBezTo>
                  <a:lnTo>
                    <a:pt x="1237" y="1615"/>
                  </a:lnTo>
                  <a:close/>
                  <a:moveTo>
                    <a:pt x="1237" y="1275"/>
                  </a:moveTo>
                  <a:cubicBezTo>
                    <a:pt x="1163" y="1278"/>
                    <a:pt x="1091" y="1280"/>
                    <a:pt x="1024" y="1280"/>
                  </a:cubicBezTo>
                  <a:cubicBezTo>
                    <a:pt x="947" y="1280"/>
                    <a:pt x="876" y="1278"/>
                    <a:pt x="811" y="1275"/>
                  </a:cubicBezTo>
                  <a:cubicBezTo>
                    <a:pt x="811" y="1019"/>
                    <a:pt x="811" y="1019"/>
                    <a:pt x="811" y="1019"/>
                  </a:cubicBezTo>
                  <a:cubicBezTo>
                    <a:pt x="878" y="1022"/>
                    <a:pt x="949" y="1024"/>
                    <a:pt x="1024" y="1024"/>
                  </a:cubicBezTo>
                  <a:cubicBezTo>
                    <a:pt x="1099" y="1024"/>
                    <a:pt x="1170" y="1022"/>
                    <a:pt x="1237" y="1019"/>
                  </a:cubicBezTo>
                  <a:lnTo>
                    <a:pt x="1237" y="1275"/>
                  </a:lnTo>
                  <a:close/>
                  <a:moveTo>
                    <a:pt x="1024" y="938"/>
                  </a:moveTo>
                  <a:cubicBezTo>
                    <a:pt x="926" y="938"/>
                    <a:pt x="832" y="931"/>
                    <a:pt x="758" y="919"/>
                  </a:cubicBezTo>
                  <a:cubicBezTo>
                    <a:pt x="710" y="911"/>
                    <a:pt x="680" y="903"/>
                    <a:pt x="662" y="896"/>
                  </a:cubicBezTo>
                  <a:cubicBezTo>
                    <a:pt x="680" y="889"/>
                    <a:pt x="710" y="880"/>
                    <a:pt x="758" y="872"/>
                  </a:cubicBezTo>
                  <a:cubicBezTo>
                    <a:pt x="832" y="860"/>
                    <a:pt x="926" y="853"/>
                    <a:pt x="1024" y="853"/>
                  </a:cubicBezTo>
                  <a:cubicBezTo>
                    <a:pt x="1122" y="853"/>
                    <a:pt x="1216" y="860"/>
                    <a:pt x="1290" y="872"/>
                  </a:cubicBezTo>
                  <a:cubicBezTo>
                    <a:pt x="1338" y="880"/>
                    <a:pt x="1368" y="889"/>
                    <a:pt x="1386" y="896"/>
                  </a:cubicBezTo>
                  <a:cubicBezTo>
                    <a:pt x="1368" y="903"/>
                    <a:pt x="1338" y="911"/>
                    <a:pt x="1290" y="919"/>
                  </a:cubicBezTo>
                  <a:cubicBezTo>
                    <a:pt x="1216" y="931"/>
                    <a:pt x="1122" y="938"/>
                    <a:pt x="1024" y="938"/>
                  </a:cubicBezTo>
                  <a:close/>
                  <a:moveTo>
                    <a:pt x="1664" y="1558"/>
                  </a:moveTo>
                  <a:cubicBezTo>
                    <a:pt x="1564" y="1581"/>
                    <a:pt x="1448" y="1598"/>
                    <a:pt x="1323" y="1609"/>
                  </a:cubicBezTo>
                  <a:cubicBezTo>
                    <a:pt x="1323" y="1356"/>
                    <a:pt x="1323" y="1356"/>
                    <a:pt x="1323" y="1356"/>
                  </a:cubicBezTo>
                  <a:cubicBezTo>
                    <a:pt x="1453" y="1347"/>
                    <a:pt x="1567" y="1333"/>
                    <a:pt x="1664" y="1312"/>
                  </a:cubicBezTo>
                  <a:lnTo>
                    <a:pt x="1664" y="1558"/>
                  </a:lnTo>
                  <a:close/>
                  <a:moveTo>
                    <a:pt x="1664" y="1224"/>
                  </a:moveTo>
                  <a:cubicBezTo>
                    <a:pt x="1560" y="1248"/>
                    <a:pt x="1441" y="1262"/>
                    <a:pt x="1323" y="1270"/>
                  </a:cubicBezTo>
                  <a:cubicBezTo>
                    <a:pt x="1323" y="1015"/>
                    <a:pt x="1323" y="1015"/>
                    <a:pt x="1323" y="1015"/>
                  </a:cubicBezTo>
                  <a:cubicBezTo>
                    <a:pt x="1453" y="1006"/>
                    <a:pt x="1567" y="991"/>
                    <a:pt x="1664" y="971"/>
                  </a:cubicBezTo>
                  <a:lnTo>
                    <a:pt x="1664" y="1224"/>
                  </a:lnTo>
                  <a:close/>
                  <a:moveTo>
                    <a:pt x="1698" y="875"/>
                  </a:moveTo>
                  <a:cubicBezTo>
                    <a:pt x="1697" y="875"/>
                    <a:pt x="1695" y="875"/>
                    <a:pt x="1694" y="876"/>
                  </a:cubicBezTo>
                  <a:cubicBezTo>
                    <a:pt x="1631" y="892"/>
                    <a:pt x="1562" y="904"/>
                    <a:pt x="1491" y="913"/>
                  </a:cubicBezTo>
                  <a:cubicBezTo>
                    <a:pt x="1493" y="907"/>
                    <a:pt x="1493" y="902"/>
                    <a:pt x="1493" y="896"/>
                  </a:cubicBezTo>
                  <a:cubicBezTo>
                    <a:pt x="1493" y="884"/>
                    <a:pt x="1490" y="874"/>
                    <a:pt x="1485" y="864"/>
                  </a:cubicBezTo>
                  <a:cubicBezTo>
                    <a:pt x="1876" y="645"/>
                    <a:pt x="1876" y="645"/>
                    <a:pt x="1876" y="645"/>
                  </a:cubicBezTo>
                  <a:cubicBezTo>
                    <a:pt x="1942" y="678"/>
                    <a:pt x="1963" y="708"/>
                    <a:pt x="1963" y="725"/>
                  </a:cubicBezTo>
                  <a:cubicBezTo>
                    <a:pt x="1963" y="725"/>
                    <a:pt x="1952" y="769"/>
                    <a:pt x="1863" y="815"/>
                  </a:cubicBezTo>
                  <a:cubicBezTo>
                    <a:pt x="1817" y="839"/>
                    <a:pt x="1761" y="859"/>
                    <a:pt x="1698" y="875"/>
                  </a:cubicBezTo>
                  <a:close/>
                  <a:moveTo>
                    <a:pt x="1749" y="949"/>
                  </a:moveTo>
                  <a:cubicBezTo>
                    <a:pt x="1808" y="933"/>
                    <a:pt x="1860" y="913"/>
                    <a:pt x="1902" y="891"/>
                  </a:cubicBezTo>
                  <a:cubicBezTo>
                    <a:pt x="1926" y="878"/>
                    <a:pt x="1946" y="866"/>
                    <a:pt x="1963" y="853"/>
                  </a:cubicBezTo>
                  <a:cubicBezTo>
                    <a:pt x="1963" y="1066"/>
                    <a:pt x="1963" y="1066"/>
                    <a:pt x="1963" y="1066"/>
                  </a:cubicBezTo>
                  <a:cubicBezTo>
                    <a:pt x="1963" y="1067"/>
                    <a:pt x="1952" y="1110"/>
                    <a:pt x="1863" y="1156"/>
                  </a:cubicBezTo>
                  <a:cubicBezTo>
                    <a:pt x="1830" y="1174"/>
                    <a:pt x="1791" y="1189"/>
                    <a:pt x="1749" y="1202"/>
                  </a:cubicBezTo>
                  <a:lnTo>
                    <a:pt x="1749" y="949"/>
                  </a:lnTo>
                  <a:close/>
                  <a:moveTo>
                    <a:pt x="1963" y="1408"/>
                  </a:moveTo>
                  <a:cubicBezTo>
                    <a:pt x="1963" y="1433"/>
                    <a:pt x="1916" y="1486"/>
                    <a:pt x="1749" y="1536"/>
                  </a:cubicBezTo>
                  <a:cubicBezTo>
                    <a:pt x="1749" y="1291"/>
                    <a:pt x="1749" y="1291"/>
                    <a:pt x="1749" y="1291"/>
                  </a:cubicBezTo>
                  <a:cubicBezTo>
                    <a:pt x="1808" y="1274"/>
                    <a:pt x="1860" y="1254"/>
                    <a:pt x="1902" y="1232"/>
                  </a:cubicBezTo>
                  <a:cubicBezTo>
                    <a:pt x="1926" y="1220"/>
                    <a:pt x="1946" y="1207"/>
                    <a:pt x="1963" y="1195"/>
                  </a:cubicBezTo>
                  <a:lnTo>
                    <a:pt x="1963" y="1408"/>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grpSp>
        <p:nvGrpSpPr>
          <p:cNvPr id="243" name="Group 242"/>
          <p:cNvGrpSpPr/>
          <p:nvPr/>
        </p:nvGrpSpPr>
        <p:grpSpPr>
          <a:xfrm>
            <a:off x="4422598" y="3840534"/>
            <a:ext cx="287785" cy="287785"/>
            <a:chOff x="4422598" y="3840534"/>
            <a:chExt cx="287785" cy="287785"/>
          </a:xfrm>
        </p:grpSpPr>
        <p:sp>
          <p:nvSpPr>
            <p:cNvPr id="244" name="Oval 243"/>
            <p:cNvSpPr/>
            <p:nvPr/>
          </p:nvSpPr>
          <p:spPr>
            <a:xfrm>
              <a:off x="4422598" y="3840534"/>
              <a:ext cx="287785" cy="287785"/>
            </a:xfrm>
            <a:prstGeom prst="ellipse">
              <a:avLst/>
            </a:prstGeom>
            <a:solidFill>
              <a:schemeClr val="accent4">
                <a:lumMod val="75000"/>
              </a:schemeClr>
            </a:solidFill>
            <a:ln w="9525">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45" name="Freeform 10"/>
            <p:cNvSpPr>
              <a:spLocks noEditPoints="1"/>
            </p:cNvSpPr>
            <p:nvPr/>
          </p:nvSpPr>
          <p:spPr bwMode="auto">
            <a:xfrm>
              <a:off x="4445604" y="3929064"/>
              <a:ext cx="198918" cy="160872"/>
            </a:xfrm>
            <a:custGeom>
              <a:avLst/>
              <a:gdLst/>
              <a:ahLst/>
              <a:cxnLst>
                <a:cxn ang="0">
                  <a:pos x="1413" y="976"/>
                </a:cxn>
                <a:cxn ang="0">
                  <a:pos x="2053" y="42"/>
                </a:cxn>
                <a:cxn ang="0">
                  <a:pos x="2012" y="1"/>
                </a:cxn>
                <a:cxn ang="0">
                  <a:pos x="1075" y="636"/>
                </a:cxn>
                <a:cxn ang="0">
                  <a:pos x="532" y="1264"/>
                </a:cxn>
                <a:cxn ang="0">
                  <a:pos x="553" y="1046"/>
                </a:cxn>
                <a:cxn ang="0">
                  <a:pos x="615" y="78"/>
                </a:cxn>
                <a:cxn ang="0">
                  <a:pos x="267" y="571"/>
                </a:cxn>
                <a:cxn ang="0">
                  <a:pos x="436" y="1185"/>
                </a:cxn>
                <a:cxn ang="0">
                  <a:pos x="353" y="1354"/>
                </a:cxn>
                <a:cxn ang="0">
                  <a:pos x="28" y="1517"/>
                </a:cxn>
                <a:cxn ang="0">
                  <a:pos x="43" y="1590"/>
                </a:cxn>
                <a:cxn ang="0">
                  <a:pos x="569" y="1330"/>
                </a:cxn>
                <a:cxn ang="0">
                  <a:pos x="1013" y="1381"/>
                </a:cxn>
                <a:cxn ang="0">
                  <a:pos x="1442" y="1661"/>
                </a:cxn>
                <a:cxn ang="0">
                  <a:pos x="1896" y="1408"/>
                </a:cxn>
                <a:cxn ang="0">
                  <a:pos x="1145" y="1174"/>
                </a:cxn>
                <a:cxn ang="0">
                  <a:pos x="772" y="1208"/>
                </a:cxn>
                <a:cxn ang="0">
                  <a:pos x="1348" y="982"/>
                </a:cxn>
                <a:cxn ang="0">
                  <a:pos x="342" y="576"/>
                </a:cxn>
                <a:cxn ang="0">
                  <a:pos x="775" y="603"/>
                </a:cxn>
                <a:cxn ang="0">
                  <a:pos x="567" y="969"/>
                </a:cxn>
                <a:cxn ang="0">
                  <a:pos x="553" y="557"/>
                </a:cxn>
                <a:cxn ang="0">
                  <a:pos x="491" y="961"/>
                </a:cxn>
                <a:cxn ang="0">
                  <a:pos x="1424" y="1350"/>
                </a:cxn>
                <a:cxn ang="0">
                  <a:pos x="1181" y="1241"/>
                </a:cxn>
                <a:cxn ang="0">
                  <a:pos x="1814" y="1426"/>
                </a:cxn>
                <a:cxn ang="0">
                  <a:pos x="1159" y="1501"/>
                </a:cxn>
                <a:cxn ang="0">
                  <a:pos x="1423" y="1426"/>
                </a:cxn>
                <a:cxn ang="0">
                  <a:pos x="1461" y="1389"/>
                </a:cxn>
                <a:cxn ang="0">
                  <a:pos x="1149" y="651"/>
                </a:cxn>
                <a:cxn ang="0">
                  <a:pos x="1972" y="82"/>
                </a:cxn>
                <a:cxn ang="0">
                  <a:pos x="1399" y="902"/>
                </a:cxn>
                <a:cxn ang="0">
                  <a:pos x="1473" y="645"/>
                </a:cxn>
                <a:cxn ang="0">
                  <a:pos x="1416" y="595"/>
                </a:cxn>
                <a:cxn ang="0">
                  <a:pos x="1149" y="651"/>
                </a:cxn>
              </a:cxnLst>
              <a:rect l="0" t="0" r="r" b="b"/>
              <a:pathLst>
                <a:path w="2054" h="1661">
                  <a:moveTo>
                    <a:pt x="1348" y="982"/>
                  </a:moveTo>
                  <a:cubicBezTo>
                    <a:pt x="1369" y="982"/>
                    <a:pt x="1391" y="980"/>
                    <a:pt x="1413" y="976"/>
                  </a:cubicBezTo>
                  <a:cubicBezTo>
                    <a:pt x="1523" y="955"/>
                    <a:pt x="1639" y="883"/>
                    <a:pt x="1761" y="762"/>
                  </a:cubicBezTo>
                  <a:cubicBezTo>
                    <a:pt x="2013" y="511"/>
                    <a:pt x="2051" y="61"/>
                    <a:pt x="2053" y="42"/>
                  </a:cubicBezTo>
                  <a:cubicBezTo>
                    <a:pt x="2054" y="31"/>
                    <a:pt x="2050" y="20"/>
                    <a:pt x="2042" y="12"/>
                  </a:cubicBezTo>
                  <a:cubicBezTo>
                    <a:pt x="2034" y="4"/>
                    <a:pt x="2023" y="0"/>
                    <a:pt x="2012" y="1"/>
                  </a:cubicBezTo>
                  <a:cubicBezTo>
                    <a:pt x="1993" y="2"/>
                    <a:pt x="1544" y="40"/>
                    <a:pt x="1292" y="291"/>
                  </a:cubicBezTo>
                  <a:cubicBezTo>
                    <a:pt x="1170" y="412"/>
                    <a:pt x="1098" y="528"/>
                    <a:pt x="1075" y="636"/>
                  </a:cubicBezTo>
                  <a:cubicBezTo>
                    <a:pt x="1057" y="723"/>
                    <a:pt x="1073" y="803"/>
                    <a:pt x="1122" y="868"/>
                  </a:cubicBezTo>
                  <a:cubicBezTo>
                    <a:pt x="919" y="1032"/>
                    <a:pt x="703" y="1167"/>
                    <a:pt x="532" y="1264"/>
                  </a:cubicBezTo>
                  <a:cubicBezTo>
                    <a:pt x="512" y="1276"/>
                    <a:pt x="492" y="1287"/>
                    <a:pt x="473" y="1297"/>
                  </a:cubicBezTo>
                  <a:cubicBezTo>
                    <a:pt x="499" y="1240"/>
                    <a:pt x="529" y="1158"/>
                    <a:pt x="553" y="1046"/>
                  </a:cubicBezTo>
                  <a:cubicBezTo>
                    <a:pt x="691" y="1041"/>
                    <a:pt x="832" y="907"/>
                    <a:pt x="850" y="608"/>
                  </a:cubicBezTo>
                  <a:cubicBezTo>
                    <a:pt x="868" y="326"/>
                    <a:pt x="625" y="88"/>
                    <a:pt x="615" y="78"/>
                  </a:cubicBezTo>
                  <a:cubicBezTo>
                    <a:pt x="602" y="65"/>
                    <a:pt x="581" y="63"/>
                    <a:pt x="566" y="75"/>
                  </a:cubicBezTo>
                  <a:cubicBezTo>
                    <a:pt x="555" y="83"/>
                    <a:pt x="284" y="289"/>
                    <a:pt x="267" y="571"/>
                  </a:cubicBezTo>
                  <a:cubicBezTo>
                    <a:pt x="249" y="848"/>
                    <a:pt x="353" y="997"/>
                    <a:pt x="477" y="1036"/>
                  </a:cubicBezTo>
                  <a:cubicBezTo>
                    <a:pt x="464" y="1097"/>
                    <a:pt x="450" y="1146"/>
                    <a:pt x="436" y="1185"/>
                  </a:cubicBezTo>
                  <a:cubicBezTo>
                    <a:pt x="396" y="1302"/>
                    <a:pt x="354" y="1353"/>
                    <a:pt x="353" y="1354"/>
                  </a:cubicBezTo>
                  <a:cubicBezTo>
                    <a:pt x="353" y="1354"/>
                    <a:pt x="353" y="1354"/>
                    <a:pt x="353" y="1354"/>
                  </a:cubicBezTo>
                  <a:cubicBezTo>
                    <a:pt x="344" y="1364"/>
                    <a:pt x="334" y="1372"/>
                    <a:pt x="323" y="1377"/>
                  </a:cubicBezTo>
                  <a:cubicBezTo>
                    <a:pt x="149" y="1467"/>
                    <a:pt x="30" y="1517"/>
                    <a:pt x="28" y="1517"/>
                  </a:cubicBezTo>
                  <a:cubicBezTo>
                    <a:pt x="9" y="1525"/>
                    <a:pt x="0" y="1547"/>
                    <a:pt x="8" y="1567"/>
                  </a:cubicBezTo>
                  <a:cubicBezTo>
                    <a:pt x="14" y="1581"/>
                    <a:pt x="28" y="1590"/>
                    <a:pt x="43" y="1590"/>
                  </a:cubicBezTo>
                  <a:cubicBezTo>
                    <a:pt x="48" y="1590"/>
                    <a:pt x="53" y="1589"/>
                    <a:pt x="57" y="1587"/>
                  </a:cubicBezTo>
                  <a:cubicBezTo>
                    <a:pt x="60" y="1586"/>
                    <a:pt x="284" y="1492"/>
                    <a:pt x="569" y="1330"/>
                  </a:cubicBezTo>
                  <a:cubicBezTo>
                    <a:pt x="611" y="1307"/>
                    <a:pt x="655" y="1280"/>
                    <a:pt x="702" y="1252"/>
                  </a:cubicBezTo>
                  <a:cubicBezTo>
                    <a:pt x="729" y="1273"/>
                    <a:pt x="822" y="1337"/>
                    <a:pt x="1013" y="1381"/>
                  </a:cubicBezTo>
                  <a:cubicBezTo>
                    <a:pt x="1017" y="1507"/>
                    <a:pt x="1136" y="1637"/>
                    <a:pt x="1406" y="1660"/>
                  </a:cubicBezTo>
                  <a:cubicBezTo>
                    <a:pt x="1418" y="1661"/>
                    <a:pt x="1430" y="1661"/>
                    <a:pt x="1442" y="1661"/>
                  </a:cubicBezTo>
                  <a:cubicBezTo>
                    <a:pt x="1682" y="1661"/>
                    <a:pt x="1883" y="1466"/>
                    <a:pt x="1892" y="1457"/>
                  </a:cubicBezTo>
                  <a:cubicBezTo>
                    <a:pt x="1905" y="1444"/>
                    <a:pt x="1907" y="1423"/>
                    <a:pt x="1896" y="1408"/>
                  </a:cubicBezTo>
                  <a:cubicBezTo>
                    <a:pt x="1889" y="1397"/>
                    <a:pt x="1707" y="1148"/>
                    <a:pt x="1451" y="1126"/>
                  </a:cubicBezTo>
                  <a:cubicBezTo>
                    <a:pt x="1329" y="1116"/>
                    <a:pt x="1223" y="1132"/>
                    <a:pt x="1145" y="1174"/>
                  </a:cubicBezTo>
                  <a:cubicBezTo>
                    <a:pt x="1085" y="1206"/>
                    <a:pt x="1044" y="1252"/>
                    <a:pt x="1025" y="1306"/>
                  </a:cubicBezTo>
                  <a:cubicBezTo>
                    <a:pt x="890" y="1274"/>
                    <a:pt x="810" y="1232"/>
                    <a:pt x="772" y="1208"/>
                  </a:cubicBezTo>
                  <a:cubicBezTo>
                    <a:pt x="901" y="1127"/>
                    <a:pt x="1041" y="1031"/>
                    <a:pt x="1175" y="922"/>
                  </a:cubicBezTo>
                  <a:cubicBezTo>
                    <a:pt x="1224" y="962"/>
                    <a:pt x="1283" y="982"/>
                    <a:pt x="1348" y="982"/>
                  </a:cubicBezTo>
                  <a:close/>
                  <a:moveTo>
                    <a:pt x="392" y="870"/>
                  </a:moveTo>
                  <a:cubicBezTo>
                    <a:pt x="352" y="797"/>
                    <a:pt x="335" y="696"/>
                    <a:pt x="342" y="576"/>
                  </a:cubicBezTo>
                  <a:cubicBezTo>
                    <a:pt x="355" y="377"/>
                    <a:pt x="521" y="214"/>
                    <a:pt x="586" y="157"/>
                  </a:cubicBezTo>
                  <a:cubicBezTo>
                    <a:pt x="643" y="221"/>
                    <a:pt x="787" y="404"/>
                    <a:pt x="775" y="603"/>
                  </a:cubicBezTo>
                  <a:cubicBezTo>
                    <a:pt x="767" y="723"/>
                    <a:pt x="738" y="822"/>
                    <a:pt x="688" y="888"/>
                  </a:cubicBezTo>
                  <a:cubicBezTo>
                    <a:pt x="654" y="935"/>
                    <a:pt x="612" y="963"/>
                    <a:pt x="567" y="969"/>
                  </a:cubicBezTo>
                  <a:cubicBezTo>
                    <a:pt x="583" y="866"/>
                    <a:pt x="593" y="742"/>
                    <a:pt x="591" y="595"/>
                  </a:cubicBezTo>
                  <a:cubicBezTo>
                    <a:pt x="591" y="574"/>
                    <a:pt x="574" y="557"/>
                    <a:pt x="553" y="557"/>
                  </a:cubicBezTo>
                  <a:cubicBezTo>
                    <a:pt x="532" y="558"/>
                    <a:pt x="515" y="575"/>
                    <a:pt x="516" y="596"/>
                  </a:cubicBezTo>
                  <a:cubicBezTo>
                    <a:pt x="517" y="742"/>
                    <a:pt x="507" y="863"/>
                    <a:pt x="491" y="961"/>
                  </a:cubicBezTo>
                  <a:cubicBezTo>
                    <a:pt x="452" y="947"/>
                    <a:pt x="418" y="916"/>
                    <a:pt x="392" y="870"/>
                  </a:cubicBezTo>
                  <a:close/>
                  <a:moveTo>
                    <a:pt x="1424" y="1350"/>
                  </a:moveTo>
                  <a:cubicBezTo>
                    <a:pt x="1295" y="1349"/>
                    <a:pt x="1188" y="1338"/>
                    <a:pt x="1100" y="1322"/>
                  </a:cubicBezTo>
                  <a:cubicBezTo>
                    <a:pt x="1114" y="1289"/>
                    <a:pt x="1141" y="1262"/>
                    <a:pt x="1181" y="1241"/>
                  </a:cubicBezTo>
                  <a:cubicBezTo>
                    <a:pt x="1246" y="1206"/>
                    <a:pt x="1337" y="1192"/>
                    <a:pt x="1445" y="1202"/>
                  </a:cubicBezTo>
                  <a:cubicBezTo>
                    <a:pt x="1620" y="1216"/>
                    <a:pt x="1762" y="1364"/>
                    <a:pt x="1814" y="1426"/>
                  </a:cubicBezTo>
                  <a:cubicBezTo>
                    <a:pt x="1752" y="1477"/>
                    <a:pt x="1588" y="1599"/>
                    <a:pt x="1412" y="1584"/>
                  </a:cubicBezTo>
                  <a:cubicBezTo>
                    <a:pt x="1305" y="1575"/>
                    <a:pt x="1217" y="1547"/>
                    <a:pt x="1159" y="1501"/>
                  </a:cubicBezTo>
                  <a:cubicBezTo>
                    <a:pt x="1120" y="1471"/>
                    <a:pt x="1096" y="1436"/>
                    <a:pt x="1090" y="1397"/>
                  </a:cubicBezTo>
                  <a:cubicBezTo>
                    <a:pt x="1182" y="1413"/>
                    <a:pt x="1292" y="1425"/>
                    <a:pt x="1423" y="1426"/>
                  </a:cubicBezTo>
                  <a:cubicBezTo>
                    <a:pt x="1423" y="1426"/>
                    <a:pt x="1423" y="1426"/>
                    <a:pt x="1423" y="1426"/>
                  </a:cubicBezTo>
                  <a:cubicBezTo>
                    <a:pt x="1444" y="1426"/>
                    <a:pt x="1461" y="1409"/>
                    <a:pt x="1461" y="1389"/>
                  </a:cubicBezTo>
                  <a:cubicBezTo>
                    <a:pt x="1462" y="1368"/>
                    <a:pt x="1445" y="1351"/>
                    <a:pt x="1424" y="1350"/>
                  </a:cubicBezTo>
                  <a:close/>
                  <a:moveTo>
                    <a:pt x="1149" y="651"/>
                  </a:moveTo>
                  <a:cubicBezTo>
                    <a:pt x="1168" y="559"/>
                    <a:pt x="1236" y="453"/>
                    <a:pt x="1345" y="344"/>
                  </a:cubicBezTo>
                  <a:cubicBezTo>
                    <a:pt x="1533" y="158"/>
                    <a:pt x="1853" y="98"/>
                    <a:pt x="1972" y="82"/>
                  </a:cubicBezTo>
                  <a:cubicBezTo>
                    <a:pt x="1956" y="201"/>
                    <a:pt x="1895" y="522"/>
                    <a:pt x="1708" y="709"/>
                  </a:cubicBezTo>
                  <a:cubicBezTo>
                    <a:pt x="1599" y="817"/>
                    <a:pt x="1492" y="884"/>
                    <a:pt x="1399" y="902"/>
                  </a:cubicBezTo>
                  <a:cubicBezTo>
                    <a:pt x="1336" y="914"/>
                    <a:pt x="1281" y="904"/>
                    <a:pt x="1235" y="872"/>
                  </a:cubicBezTo>
                  <a:cubicBezTo>
                    <a:pt x="1318" y="801"/>
                    <a:pt x="1399" y="725"/>
                    <a:pt x="1473" y="645"/>
                  </a:cubicBezTo>
                  <a:cubicBezTo>
                    <a:pt x="1487" y="629"/>
                    <a:pt x="1485" y="604"/>
                    <a:pt x="1468" y="590"/>
                  </a:cubicBezTo>
                  <a:cubicBezTo>
                    <a:pt x="1452" y="577"/>
                    <a:pt x="1429" y="580"/>
                    <a:pt x="1416" y="595"/>
                  </a:cubicBezTo>
                  <a:cubicBezTo>
                    <a:pt x="1343" y="674"/>
                    <a:pt x="1263" y="749"/>
                    <a:pt x="1180" y="819"/>
                  </a:cubicBezTo>
                  <a:cubicBezTo>
                    <a:pt x="1147" y="772"/>
                    <a:pt x="1136" y="716"/>
                    <a:pt x="1149" y="651"/>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cxnSp>
        <p:nvCxnSpPr>
          <p:cNvPr id="193" name="Straight Connector 192"/>
          <p:cNvCxnSpPr/>
          <p:nvPr/>
        </p:nvCxnSpPr>
        <p:spPr>
          <a:xfrm>
            <a:off x="2913983" y="1793220"/>
            <a:ext cx="5801007" cy="150447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8005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06" name="think-cell Slide" r:id="rId5" imgW="476" imgH="357" progId="TCLayout.ActiveDocument.1">
                  <p:embed/>
                </p:oleObj>
              </mc:Choice>
              <mc:Fallback>
                <p:oleObj name="think-cell Slide" r:id="rId5" imgW="476" imgH="357"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 name="Rectangle 50"/>
          <p:cNvSpPr/>
          <p:nvPr/>
        </p:nvSpPr>
        <p:spPr>
          <a:xfrm>
            <a:off x="0" y="1079500"/>
            <a:ext cx="9144000" cy="3638550"/>
          </a:xfrm>
          <a:prstGeom prst="rect">
            <a:avLst/>
          </a:prstGeom>
          <a:solidFill>
            <a:schemeClr val="bg1">
              <a:lumMod val="95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 name="Title 1"/>
          <p:cNvSpPr>
            <a:spLocks noGrp="1"/>
          </p:cNvSpPr>
          <p:nvPr>
            <p:ph type="title"/>
          </p:nvPr>
        </p:nvSpPr>
        <p:spPr/>
        <p:txBody>
          <a:bodyPr/>
          <a:lstStyle/>
          <a:p>
            <a:r>
              <a:rPr smtClean="0"/>
              <a:t>Cisco Ultra IoT – Key Features </a:t>
            </a:r>
            <a:endParaRPr lang="en-US" dirty="0"/>
          </a:p>
        </p:txBody>
      </p:sp>
      <p:sp>
        <p:nvSpPr>
          <p:cNvPr id="27" name="Rectangle 26"/>
          <p:cNvSpPr/>
          <p:nvPr/>
        </p:nvSpPr>
        <p:spPr>
          <a:xfrm>
            <a:off x="5277810" y="1270000"/>
            <a:ext cx="1024128" cy="502920"/>
          </a:xfrm>
          <a:prstGeom prst="rect">
            <a:avLst/>
          </a:prstGeom>
          <a:solidFill>
            <a:schemeClr val="accent6"/>
          </a:solidFill>
          <a:ln w="19050" cap="flat" cmpd="sng" algn="ctr">
            <a:noFill/>
            <a:prstDash val="solid"/>
          </a:ln>
          <a:effectLst/>
        </p:spPr>
        <p:txBody>
          <a:bodyPr lIns="91416" tIns="45708" rIns="91416" bIns="45708"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mj-lt"/>
                <a:ea typeface="+mn-ea"/>
                <a:cs typeface="+mn-cs"/>
              </a:rPr>
              <a:t>Application </a:t>
            </a:r>
            <a:r>
              <a:rPr kumimoji="0" lang="en-US" sz="1100" b="0" i="0" u="none" strike="noStrike" kern="1200" cap="none" spc="0" normalizeH="0" baseline="0" noProof="0" dirty="0" smtClean="0">
                <a:ln>
                  <a:noFill/>
                </a:ln>
                <a:solidFill>
                  <a:srgbClr val="FFFFFF"/>
                </a:solidFill>
                <a:effectLst/>
                <a:uLnTx/>
                <a:uFillTx/>
                <a:latin typeface="+mj-lt"/>
                <a:ea typeface="+mn-ea"/>
                <a:cs typeface="+mn-cs"/>
              </a:rPr>
              <a:t>Servers</a:t>
            </a:r>
            <a:endParaRPr kumimoji="0" lang="en-US" sz="1100" b="0" i="0" u="none" strike="noStrike" kern="1200" cap="none" spc="0" normalizeH="0" baseline="0" noProof="0" dirty="0">
              <a:ln>
                <a:noFill/>
              </a:ln>
              <a:solidFill>
                <a:srgbClr val="FFFFFF"/>
              </a:solidFill>
              <a:effectLst/>
              <a:uLnTx/>
              <a:uFillTx/>
              <a:latin typeface="+mj-lt"/>
              <a:ea typeface="+mn-ea"/>
              <a:cs typeface="+mn-cs"/>
            </a:endParaRPr>
          </a:p>
        </p:txBody>
      </p:sp>
      <p:sp>
        <p:nvSpPr>
          <p:cNvPr id="29" name="TextBox 28"/>
          <p:cNvSpPr txBox="1"/>
          <p:nvPr/>
        </p:nvSpPr>
        <p:spPr>
          <a:xfrm>
            <a:off x="4346728" y="1665985"/>
            <a:ext cx="557076" cy="156966"/>
          </a:xfrm>
          <a:prstGeom prst="rect">
            <a:avLst/>
          </a:prstGeom>
          <a:noFill/>
          <a:ln>
            <a:noFill/>
          </a:ln>
        </p:spPr>
        <p:txBody>
          <a:bodyPr wrap="square" lIns="9144" tIns="9144" rIns="9144" bIns="9144" rtlCol="0">
            <a:spAutoFit/>
          </a:bodyPr>
          <a:lstStyle/>
          <a:p>
            <a:pPr algn="ctr" defTabSz="457200" rtl="0" fontAlgn="base">
              <a:spcBef>
                <a:spcPct val="0"/>
              </a:spcBef>
              <a:spcAft>
                <a:spcPct val="0"/>
              </a:spcAft>
            </a:pPr>
            <a:r>
              <a:rPr lang="en-US" sz="900" b="1" kern="1200" dirty="0">
                <a:solidFill>
                  <a:srgbClr val="676767"/>
                </a:solidFill>
                <a:latin typeface="+mj-lt"/>
                <a:ea typeface="ＭＳ Ｐゴシック" charset="0"/>
              </a:rPr>
              <a:t>Rest APIs</a:t>
            </a:r>
          </a:p>
        </p:txBody>
      </p:sp>
      <p:sp>
        <p:nvSpPr>
          <p:cNvPr id="30" name="Rectangle 29"/>
          <p:cNvSpPr/>
          <p:nvPr/>
        </p:nvSpPr>
        <p:spPr>
          <a:xfrm>
            <a:off x="2901428" y="1270000"/>
            <a:ext cx="1024128" cy="502920"/>
          </a:xfrm>
          <a:prstGeom prst="rect">
            <a:avLst/>
          </a:prstGeom>
          <a:solidFill>
            <a:schemeClr val="accent6"/>
          </a:solidFill>
          <a:ln w="19050" cap="flat" cmpd="sng" algn="ctr">
            <a:noFill/>
            <a:prstDash val="solid"/>
          </a:ln>
          <a:effectLst/>
        </p:spPr>
        <p:txBody>
          <a:bodyPr lIns="0" tIns="45708" rIns="0" bIns="45708"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mj-lt"/>
                <a:ea typeface="+mn-ea"/>
                <a:cs typeface="+mn-cs"/>
              </a:rPr>
              <a:t>Connectivity Mgmt Platform</a:t>
            </a:r>
          </a:p>
        </p:txBody>
      </p:sp>
      <p:cxnSp>
        <p:nvCxnSpPr>
          <p:cNvPr id="31" name="Straight Connector 30"/>
          <p:cNvCxnSpPr/>
          <p:nvPr/>
        </p:nvCxnSpPr>
        <p:spPr>
          <a:xfrm rot="16200000" flipH="1">
            <a:off x="5681162" y="1849353"/>
            <a:ext cx="216698" cy="0"/>
          </a:xfrm>
          <a:prstGeom prst="line">
            <a:avLst/>
          </a:prstGeom>
          <a:noFill/>
          <a:ln w="19050" cap="rnd" cmpd="sng" algn="ctr">
            <a:solidFill>
              <a:schemeClr val="tx2"/>
            </a:solidFill>
            <a:prstDash val="solid"/>
            <a:headEnd type="triangle" w="med" len="med"/>
            <a:tailEnd type="triangle" w="med" len="med"/>
          </a:ln>
          <a:effectLst/>
        </p:spPr>
      </p:cxnSp>
      <p:cxnSp>
        <p:nvCxnSpPr>
          <p:cNvPr id="32" name="Straight Connector 31"/>
          <p:cNvCxnSpPr/>
          <p:nvPr/>
        </p:nvCxnSpPr>
        <p:spPr>
          <a:xfrm rot="16200000" flipH="1">
            <a:off x="3314706" y="1849028"/>
            <a:ext cx="216047" cy="0"/>
          </a:xfrm>
          <a:prstGeom prst="line">
            <a:avLst/>
          </a:prstGeom>
          <a:noFill/>
          <a:ln w="19050" cap="rnd" cmpd="sng" algn="ctr">
            <a:solidFill>
              <a:schemeClr val="tx2"/>
            </a:solidFill>
            <a:prstDash val="solid"/>
            <a:headEnd type="triangle" w="med" len="med"/>
            <a:tailEnd type="triangle" w="med" len="med"/>
          </a:ln>
          <a:effectLst/>
        </p:spPr>
      </p:cxnSp>
      <p:sp>
        <p:nvSpPr>
          <p:cNvPr id="33" name="Text Placeholder 1"/>
          <p:cNvSpPr txBox="1">
            <a:spLocks/>
          </p:cNvSpPr>
          <p:nvPr/>
        </p:nvSpPr>
        <p:spPr>
          <a:xfrm>
            <a:off x="6707536" y="1355724"/>
            <a:ext cx="2216884" cy="2555387"/>
          </a:xfrm>
          <a:prstGeom prst="rect">
            <a:avLst/>
          </a:prstGeom>
        </p:spPr>
        <p:txBody>
          <a:bodyPr lIns="91416" tIns="45708" rIns="91416" bIns="45708"/>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lnSpc>
                <a:spcPct val="105000"/>
              </a:lnSpc>
              <a:spcBef>
                <a:spcPts val="450"/>
              </a:spcBef>
              <a:spcAft>
                <a:spcPct val="0"/>
              </a:spcAft>
            </a:pPr>
            <a:r>
              <a:rPr lang="en-US" sz="1400" b="1" dirty="0" err="1" smtClean="0">
                <a:solidFill>
                  <a:schemeClr val="tx2">
                    <a:lumMod val="75000"/>
                  </a:schemeClr>
                </a:solidFill>
                <a:latin typeface="+mj-lt"/>
                <a:cs typeface="CiscoSansTT Light" panose="020B0604020202020204" charset="0"/>
              </a:rPr>
              <a:t>eSCEF</a:t>
            </a:r>
            <a:r>
              <a:rPr lang="en-US" sz="1400" b="1" dirty="0" smtClean="0">
                <a:solidFill>
                  <a:schemeClr val="tx2">
                    <a:lumMod val="75000"/>
                  </a:schemeClr>
                </a:solidFill>
                <a:latin typeface="+mj-lt"/>
                <a:cs typeface="CiscoSansTT Light" panose="020B0604020202020204" charset="0"/>
              </a:rPr>
              <a:t> Key Functions</a:t>
            </a:r>
          </a:p>
          <a:p>
            <a:pPr marL="182880" indent="-182880" fontAlgn="base">
              <a:lnSpc>
                <a:spcPct val="105000"/>
              </a:lnSpc>
              <a:spcBef>
                <a:spcPts val="450"/>
              </a:spcBef>
              <a:spcAft>
                <a:spcPct val="0"/>
              </a:spcAft>
              <a:buFont typeface="Wingdings" pitchFamily="2" charset="2"/>
              <a:buChar char="§"/>
            </a:pPr>
            <a:r>
              <a:rPr lang="en-US" sz="1200" dirty="0" smtClean="0">
                <a:solidFill>
                  <a:schemeClr val="tx2">
                    <a:lumMod val="75000"/>
                  </a:schemeClr>
                </a:solidFill>
                <a:latin typeface="+mj-lt"/>
                <a:cs typeface="CiscoSansTT Light" panose="020B0604020202020204" charset="0"/>
              </a:rPr>
              <a:t>Standardized </a:t>
            </a:r>
            <a:r>
              <a:rPr lang="en-US" sz="1200" dirty="0">
                <a:solidFill>
                  <a:schemeClr val="tx2">
                    <a:lumMod val="75000"/>
                  </a:schemeClr>
                </a:solidFill>
                <a:latin typeface="+mj-lt"/>
                <a:cs typeface="CiscoSansTT Light" panose="020B0604020202020204" charset="0"/>
              </a:rPr>
              <a:t>APIs to deliver IP </a:t>
            </a:r>
            <a:r>
              <a:rPr lang="en-US" sz="1200" dirty="0" smtClean="0">
                <a:solidFill>
                  <a:schemeClr val="tx2">
                    <a:lumMod val="75000"/>
                  </a:schemeClr>
                </a:solidFill>
                <a:latin typeface="+mj-lt"/>
                <a:cs typeface="CiscoSansTT Light" panose="020B0604020202020204" charset="0"/>
              </a:rPr>
              <a:t>and </a:t>
            </a:r>
            <a:r>
              <a:rPr lang="en-US" sz="1200" dirty="0">
                <a:solidFill>
                  <a:schemeClr val="tx2">
                    <a:lumMod val="75000"/>
                  </a:schemeClr>
                </a:solidFill>
                <a:latin typeface="+mj-lt"/>
                <a:cs typeface="CiscoSansTT Light" panose="020B0604020202020204" charset="0"/>
              </a:rPr>
              <a:t>non-IP </a:t>
            </a:r>
            <a:r>
              <a:rPr lang="en-US" sz="1200" dirty="0" smtClean="0">
                <a:solidFill>
                  <a:schemeClr val="tx2">
                    <a:lumMod val="75000"/>
                  </a:schemeClr>
                </a:solidFill>
                <a:latin typeface="+mj-lt"/>
                <a:cs typeface="CiscoSansTT Light" panose="020B0604020202020204" charset="0"/>
              </a:rPr>
              <a:t>data</a:t>
            </a:r>
          </a:p>
          <a:p>
            <a:pPr marL="182880" indent="-182880" fontAlgn="base">
              <a:lnSpc>
                <a:spcPct val="105000"/>
              </a:lnSpc>
              <a:spcBef>
                <a:spcPts val="450"/>
              </a:spcBef>
              <a:spcAft>
                <a:spcPct val="0"/>
              </a:spcAft>
              <a:buFont typeface="Wingdings" pitchFamily="2" charset="2"/>
              <a:buChar char="§"/>
            </a:pPr>
            <a:r>
              <a:rPr lang="en-US" sz="1200" dirty="0">
                <a:solidFill>
                  <a:schemeClr val="tx2">
                    <a:lumMod val="75000"/>
                  </a:schemeClr>
                </a:solidFill>
                <a:latin typeface="+mj-lt"/>
                <a:cs typeface="CiscoSansTT Light" panose="020B0604020202020204" charset="0"/>
              </a:rPr>
              <a:t>E</a:t>
            </a:r>
            <a:r>
              <a:rPr lang="en-US" sz="1200" dirty="0" smtClean="0">
                <a:solidFill>
                  <a:schemeClr val="tx2">
                    <a:lumMod val="75000"/>
                  </a:schemeClr>
                </a:solidFill>
                <a:latin typeface="+mj-lt"/>
                <a:cs typeface="CiscoSansTT Light" panose="020B0604020202020204" charset="0"/>
              </a:rPr>
              <a:t>xpose network capabilities </a:t>
            </a:r>
            <a:r>
              <a:rPr lang="en-US" sz="1200" dirty="0">
                <a:solidFill>
                  <a:schemeClr val="tx2">
                    <a:lumMod val="75000"/>
                  </a:schemeClr>
                </a:solidFill>
                <a:latin typeface="+mj-lt"/>
                <a:cs typeface="CiscoSansTT Light" panose="020B0604020202020204" charset="0"/>
              </a:rPr>
              <a:t>to </a:t>
            </a:r>
            <a:r>
              <a:rPr lang="en-US" sz="1200" dirty="0" smtClean="0">
                <a:solidFill>
                  <a:schemeClr val="tx2">
                    <a:lumMod val="75000"/>
                  </a:schemeClr>
                </a:solidFill>
                <a:latin typeface="+mj-lt"/>
                <a:cs typeface="CiscoSansTT Light" panose="020B0604020202020204" charset="0"/>
              </a:rPr>
              <a:t>apps</a:t>
            </a:r>
            <a:br>
              <a:rPr lang="en-US" sz="1200" dirty="0" smtClean="0">
                <a:solidFill>
                  <a:schemeClr val="tx2">
                    <a:lumMod val="75000"/>
                  </a:schemeClr>
                </a:solidFill>
                <a:latin typeface="+mj-lt"/>
                <a:cs typeface="CiscoSansTT Light" panose="020B0604020202020204" charset="0"/>
              </a:rPr>
            </a:br>
            <a:r>
              <a:rPr lang="en-US" sz="1200" dirty="0" smtClean="0">
                <a:solidFill>
                  <a:schemeClr val="tx2">
                    <a:lumMod val="75000"/>
                  </a:schemeClr>
                </a:solidFill>
                <a:latin typeface="+mj-lt"/>
                <a:cs typeface="CiscoSansTT Light" panose="020B0604020202020204" charset="0"/>
              </a:rPr>
              <a:t>for monetization</a:t>
            </a:r>
            <a:endParaRPr lang="en-US" sz="1200" dirty="0">
              <a:solidFill>
                <a:schemeClr val="tx2">
                  <a:lumMod val="75000"/>
                </a:schemeClr>
              </a:solidFill>
              <a:latin typeface="+mj-lt"/>
              <a:cs typeface="CiscoSansTT Light" panose="020B0604020202020204" charset="0"/>
            </a:endParaRPr>
          </a:p>
          <a:p>
            <a:pPr marL="182880" indent="-182880" fontAlgn="base">
              <a:lnSpc>
                <a:spcPct val="105000"/>
              </a:lnSpc>
              <a:spcBef>
                <a:spcPts val="450"/>
              </a:spcBef>
              <a:spcAft>
                <a:spcPct val="0"/>
              </a:spcAft>
              <a:buFont typeface="Wingdings" pitchFamily="2" charset="2"/>
              <a:buChar char="§"/>
            </a:pPr>
            <a:r>
              <a:rPr lang="en-US" sz="1200" dirty="0" smtClean="0">
                <a:solidFill>
                  <a:schemeClr val="tx2">
                    <a:lumMod val="75000"/>
                  </a:schemeClr>
                </a:solidFill>
                <a:latin typeface="+mj-lt"/>
                <a:cs typeface="CiscoSansTT Light" panose="020B0604020202020204" charset="0"/>
              </a:rPr>
              <a:t>Mediates </a:t>
            </a:r>
            <a:r>
              <a:rPr lang="en-US" sz="1200" dirty="0" err="1">
                <a:solidFill>
                  <a:schemeClr val="tx2">
                    <a:lumMod val="75000"/>
                  </a:schemeClr>
                </a:solidFill>
                <a:latin typeface="+mj-lt"/>
                <a:cs typeface="CiscoSansTT Light" panose="020B0604020202020204" charset="0"/>
              </a:rPr>
              <a:t>IoT</a:t>
            </a:r>
            <a:r>
              <a:rPr lang="en-US" sz="1200" dirty="0">
                <a:solidFill>
                  <a:schemeClr val="tx2">
                    <a:lumMod val="75000"/>
                  </a:schemeClr>
                </a:solidFill>
                <a:latin typeface="+mj-lt"/>
                <a:cs typeface="CiscoSansTT Light" panose="020B0604020202020204" charset="0"/>
              </a:rPr>
              <a:t> </a:t>
            </a:r>
            <a:r>
              <a:rPr lang="en-US" sz="1200" dirty="0" smtClean="0">
                <a:solidFill>
                  <a:schemeClr val="tx2">
                    <a:lumMod val="75000"/>
                  </a:schemeClr>
                </a:solidFill>
                <a:latin typeface="+mj-lt"/>
                <a:cs typeface="CiscoSansTT Light" panose="020B0604020202020204" charset="0"/>
              </a:rPr>
              <a:t>protocols</a:t>
            </a:r>
            <a:br>
              <a:rPr lang="en-US" sz="1200" dirty="0" smtClean="0">
                <a:solidFill>
                  <a:schemeClr val="tx2">
                    <a:lumMod val="75000"/>
                  </a:schemeClr>
                </a:solidFill>
                <a:latin typeface="+mj-lt"/>
                <a:cs typeface="CiscoSansTT Light" panose="020B0604020202020204" charset="0"/>
              </a:rPr>
            </a:br>
            <a:r>
              <a:rPr lang="en-US" sz="1200" dirty="0" smtClean="0">
                <a:solidFill>
                  <a:schemeClr val="tx2">
                    <a:lumMod val="75000"/>
                  </a:schemeClr>
                </a:solidFill>
                <a:latin typeface="+mj-lt"/>
                <a:cs typeface="CiscoSansTT Light" panose="020B0604020202020204" charset="0"/>
              </a:rPr>
              <a:t>to hide complexity </a:t>
            </a:r>
            <a:r>
              <a:rPr lang="en-US" sz="1200" dirty="0">
                <a:solidFill>
                  <a:schemeClr val="tx2">
                    <a:lumMod val="75000"/>
                  </a:schemeClr>
                </a:solidFill>
                <a:latin typeface="+mj-lt"/>
                <a:cs typeface="CiscoSansTT Light" panose="020B0604020202020204" charset="0"/>
              </a:rPr>
              <a:t>of </a:t>
            </a:r>
            <a:r>
              <a:rPr lang="en-US" sz="1200" dirty="0" smtClean="0">
                <a:solidFill>
                  <a:schemeClr val="tx2">
                    <a:lumMod val="75000"/>
                  </a:schemeClr>
                </a:solidFill>
                <a:latin typeface="+mj-lt"/>
                <a:cs typeface="CiscoSansTT Light" panose="020B0604020202020204" charset="0"/>
              </a:rPr>
              <a:t>transport networks</a:t>
            </a:r>
            <a:endParaRPr lang="en-US" sz="1200" dirty="0">
              <a:solidFill>
                <a:schemeClr val="tx2">
                  <a:lumMod val="75000"/>
                </a:schemeClr>
              </a:solidFill>
              <a:latin typeface="+mj-lt"/>
              <a:cs typeface="CiscoSansTT Light" panose="020B0604020202020204" charset="0"/>
            </a:endParaRPr>
          </a:p>
          <a:p>
            <a:pPr marL="182880" indent="-182880" fontAlgn="base">
              <a:lnSpc>
                <a:spcPct val="105000"/>
              </a:lnSpc>
              <a:spcBef>
                <a:spcPts val="450"/>
              </a:spcBef>
              <a:spcAft>
                <a:spcPct val="0"/>
              </a:spcAft>
              <a:buFont typeface="Wingdings" pitchFamily="2" charset="2"/>
              <a:buChar char="§"/>
            </a:pPr>
            <a:r>
              <a:rPr lang="en-US" sz="1200" dirty="0" smtClean="0">
                <a:solidFill>
                  <a:schemeClr val="tx2">
                    <a:lumMod val="75000"/>
                  </a:schemeClr>
                </a:solidFill>
                <a:latin typeface="+mj-lt"/>
                <a:cs typeface="CiscoSansTT Light" panose="020B0604020202020204" charset="0"/>
              </a:rPr>
              <a:t>Associates endpoint app identity to </a:t>
            </a:r>
            <a:r>
              <a:rPr lang="en-US" sz="1200" dirty="0">
                <a:solidFill>
                  <a:schemeClr val="tx2">
                    <a:lumMod val="75000"/>
                  </a:schemeClr>
                </a:solidFill>
                <a:latin typeface="+mj-lt"/>
                <a:cs typeface="CiscoSansTT Light" panose="020B0604020202020204" charset="0"/>
              </a:rPr>
              <a:t>transport </a:t>
            </a:r>
            <a:r>
              <a:rPr lang="en-US" sz="1200" dirty="0" smtClean="0">
                <a:solidFill>
                  <a:schemeClr val="tx2">
                    <a:lumMod val="75000"/>
                  </a:schemeClr>
                </a:solidFill>
                <a:latin typeface="+mj-lt"/>
                <a:cs typeface="CiscoSansTT Light" panose="020B0604020202020204" charset="0"/>
              </a:rPr>
              <a:t>identity</a:t>
            </a:r>
          </a:p>
        </p:txBody>
      </p:sp>
      <p:sp>
        <p:nvSpPr>
          <p:cNvPr id="34" name="Text Placeholder 1"/>
          <p:cNvSpPr txBox="1">
            <a:spLocks/>
          </p:cNvSpPr>
          <p:nvPr/>
        </p:nvSpPr>
        <p:spPr>
          <a:xfrm>
            <a:off x="273050" y="1355725"/>
            <a:ext cx="2331550" cy="2112572"/>
          </a:xfrm>
          <a:prstGeom prst="rect">
            <a:avLst/>
          </a:prstGeom>
        </p:spPr>
        <p:txBody>
          <a:bodyPr lIns="91416" tIns="45708" rIns="91416" bIns="45708"/>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ts val="450"/>
              </a:spcBef>
              <a:spcAft>
                <a:spcPct val="0"/>
              </a:spcAft>
            </a:pPr>
            <a:r>
              <a:rPr lang="en-US" sz="1400" b="1" dirty="0">
                <a:solidFill>
                  <a:schemeClr val="tx2">
                    <a:lumMod val="75000"/>
                  </a:schemeClr>
                </a:solidFill>
                <a:latin typeface="+mj-lt"/>
                <a:cs typeface="CiscoSansTT Light" panose="020B0604020202020204" charset="0"/>
              </a:rPr>
              <a:t>CSGN </a:t>
            </a:r>
            <a:r>
              <a:rPr lang="en-US" sz="1400" b="1" dirty="0" smtClean="0">
                <a:solidFill>
                  <a:schemeClr val="tx2">
                    <a:lumMod val="75000"/>
                  </a:schemeClr>
                </a:solidFill>
                <a:latin typeface="+mj-lt"/>
                <a:cs typeface="CiscoSansTT Light" panose="020B0604020202020204" charset="0"/>
              </a:rPr>
              <a:t>Key Functions</a:t>
            </a:r>
          </a:p>
          <a:p>
            <a:pPr marL="182880" indent="-182880" fontAlgn="base">
              <a:spcBef>
                <a:spcPts val="450"/>
              </a:spcBef>
              <a:spcAft>
                <a:spcPct val="0"/>
              </a:spcAft>
              <a:buFont typeface="Wingdings" pitchFamily="2" charset="2"/>
              <a:buChar char="§"/>
            </a:pPr>
            <a:r>
              <a:rPr lang="en-US" sz="1200" dirty="0" smtClean="0">
                <a:solidFill>
                  <a:schemeClr val="tx2">
                    <a:lumMod val="75000"/>
                  </a:schemeClr>
                </a:solidFill>
                <a:latin typeface="+mj-lt"/>
                <a:cs typeface="CiscoSansTT Light" panose="020B0604020202020204" charset="0"/>
              </a:rPr>
              <a:t>Terminates multiple</a:t>
            </a:r>
            <a:br>
              <a:rPr lang="en-US" sz="1200" dirty="0" smtClean="0">
                <a:solidFill>
                  <a:schemeClr val="tx2">
                    <a:lumMod val="75000"/>
                  </a:schemeClr>
                </a:solidFill>
                <a:latin typeface="+mj-lt"/>
                <a:cs typeface="CiscoSansTT Light" panose="020B0604020202020204" charset="0"/>
              </a:rPr>
            </a:br>
            <a:r>
              <a:rPr lang="en-US" sz="1200" dirty="0" smtClean="0">
                <a:solidFill>
                  <a:schemeClr val="tx2">
                    <a:lumMod val="75000"/>
                  </a:schemeClr>
                </a:solidFill>
                <a:latin typeface="+mj-lt"/>
                <a:cs typeface="CiscoSansTT Light" panose="020B0604020202020204" charset="0"/>
              </a:rPr>
              <a:t>access types</a:t>
            </a:r>
          </a:p>
          <a:p>
            <a:pPr marL="182880" indent="-182880" fontAlgn="base">
              <a:spcBef>
                <a:spcPts val="450"/>
              </a:spcBef>
              <a:spcAft>
                <a:spcPct val="0"/>
              </a:spcAft>
              <a:buFont typeface="Wingdings" pitchFamily="2" charset="2"/>
              <a:buChar char="§"/>
            </a:pPr>
            <a:r>
              <a:rPr lang="en-US" sz="1200" dirty="0">
                <a:solidFill>
                  <a:schemeClr val="tx2">
                    <a:lumMod val="75000"/>
                  </a:schemeClr>
                </a:solidFill>
                <a:latin typeface="+mj-lt"/>
                <a:cs typeface="CiscoSansTT Light" panose="020B0604020202020204" charset="0"/>
              </a:rPr>
              <a:t>U</a:t>
            </a:r>
            <a:r>
              <a:rPr lang="en-US" sz="1200" dirty="0" smtClean="0">
                <a:solidFill>
                  <a:schemeClr val="tx2">
                    <a:lumMod val="75000"/>
                  </a:schemeClr>
                </a:solidFill>
                <a:latin typeface="+mj-lt"/>
                <a:cs typeface="CiscoSansTT Light" panose="020B0604020202020204" charset="0"/>
              </a:rPr>
              <a:t>niform </a:t>
            </a:r>
            <a:r>
              <a:rPr lang="en-US" sz="1200" dirty="0">
                <a:solidFill>
                  <a:schemeClr val="tx2">
                    <a:lumMod val="75000"/>
                  </a:schemeClr>
                </a:solidFill>
                <a:latin typeface="+mj-lt"/>
                <a:cs typeface="CiscoSansTT Light" panose="020B0604020202020204" charset="0"/>
              </a:rPr>
              <a:t>identity, authentication and security </a:t>
            </a:r>
          </a:p>
          <a:p>
            <a:pPr marL="182880" indent="-182880" fontAlgn="base">
              <a:spcBef>
                <a:spcPts val="450"/>
              </a:spcBef>
              <a:spcAft>
                <a:spcPct val="0"/>
              </a:spcAft>
              <a:buFont typeface="Wingdings" pitchFamily="2" charset="2"/>
              <a:buChar char="§"/>
            </a:pPr>
            <a:r>
              <a:rPr lang="en-US" sz="1200" dirty="0" smtClean="0">
                <a:solidFill>
                  <a:schemeClr val="tx2">
                    <a:lumMod val="75000"/>
                  </a:schemeClr>
                </a:solidFill>
                <a:latin typeface="+mj-lt"/>
                <a:cs typeface="CiscoSansTT Light" panose="020B0604020202020204" charset="0"/>
              </a:rPr>
              <a:t>Delivers </a:t>
            </a:r>
            <a:r>
              <a:rPr lang="en-US" sz="1200" dirty="0">
                <a:solidFill>
                  <a:schemeClr val="tx2">
                    <a:lumMod val="75000"/>
                  </a:schemeClr>
                </a:solidFill>
                <a:latin typeface="+mj-lt"/>
                <a:cs typeface="CiscoSansTT Light" panose="020B0604020202020204" charset="0"/>
              </a:rPr>
              <a:t>Cellular IoT (</a:t>
            </a:r>
            <a:r>
              <a:rPr lang="en-US" sz="1200" dirty="0" err="1">
                <a:solidFill>
                  <a:schemeClr val="tx2">
                    <a:lumMod val="75000"/>
                  </a:schemeClr>
                </a:solidFill>
                <a:latin typeface="+mj-lt"/>
                <a:cs typeface="CiscoSansTT Light" panose="020B0604020202020204" charset="0"/>
              </a:rPr>
              <a:t>CIoT</a:t>
            </a:r>
            <a:r>
              <a:rPr lang="en-US" sz="1200" dirty="0">
                <a:solidFill>
                  <a:schemeClr val="tx2">
                    <a:lumMod val="75000"/>
                  </a:schemeClr>
                </a:solidFill>
                <a:latin typeface="+mj-lt"/>
                <a:cs typeface="CiscoSansTT Light" panose="020B0604020202020204" charset="0"/>
              </a:rPr>
              <a:t>) optimizations</a:t>
            </a:r>
          </a:p>
          <a:p>
            <a:pPr marL="182880" indent="-182880" fontAlgn="base">
              <a:spcBef>
                <a:spcPts val="450"/>
              </a:spcBef>
              <a:spcAft>
                <a:spcPct val="0"/>
              </a:spcAft>
              <a:buFont typeface="Wingdings" pitchFamily="2" charset="2"/>
              <a:buChar char="§"/>
            </a:pPr>
            <a:r>
              <a:rPr lang="en-US" sz="1200" dirty="0" smtClean="0">
                <a:solidFill>
                  <a:schemeClr val="tx2">
                    <a:lumMod val="75000"/>
                  </a:schemeClr>
                </a:solidFill>
                <a:latin typeface="+mj-lt"/>
                <a:cs typeface="CiscoSansTT Light" panose="020B0604020202020204" charset="0"/>
              </a:rPr>
              <a:t>Dynamic scalability</a:t>
            </a:r>
          </a:p>
          <a:p>
            <a:pPr marL="182880" indent="-182880" fontAlgn="base">
              <a:spcBef>
                <a:spcPts val="450"/>
              </a:spcBef>
              <a:spcAft>
                <a:spcPct val="0"/>
              </a:spcAft>
              <a:buFont typeface="Wingdings" pitchFamily="2" charset="2"/>
              <a:buChar char="§"/>
            </a:pPr>
            <a:r>
              <a:rPr lang="en-US" sz="1200" dirty="0" smtClean="0">
                <a:solidFill>
                  <a:schemeClr val="tx2">
                    <a:lumMod val="75000"/>
                  </a:schemeClr>
                </a:solidFill>
                <a:latin typeface="+mj-lt"/>
                <a:cs typeface="CiscoSansTT Light" panose="020B0604020202020204" charset="0"/>
              </a:rPr>
              <a:t>Deployment Flexibility</a:t>
            </a:r>
            <a:endParaRPr lang="en-US" sz="1200" dirty="0">
              <a:solidFill>
                <a:schemeClr val="tx2">
                  <a:lumMod val="75000"/>
                </a:schemeClr>
              </a:solidFill>
              <a:latin typeface="+mj-lt"/>
              <a:cs typeface="CiscoSansTT Light" panose="020B0604020202020204" charset="0"/>
            </a:endParaRPr>
          </a:p>
        </p:txBody>
      </p:sp>
      <p:sp>
        <p:nvSpPr>
          <p:cNvPr id="35" name="Rectangle 34"/>
          <p:cNvSpPr/>
          <p:nvPr/>
        </p:nvSpPr>
        <p:spPr>
          <a:xfrm>
            <a:off x="273050" y="4415210"/>
            <a:ext cx="8594725" cy="302840"/>
          </a:xfrm>
          <a:prstGeom prst="rect">
            <a:avLst/>
          </a:prstGeom>
          <a:solidFill>
            <a:schemeClr val="accent1"/>
          </a:solidFill>
          <a:ln w="15875">
            <a:noFill/>
          </a:ln>
        </p:spPr>
        <p:txBody>
          <a:bodyPr wrap="square">
            <a:spAutoFit/>
          </a:bodyPr>
          <a:lstStyle/>
          <a:p>
            <a:pPr algn="ctr" defTabSz="457200" rtl="0" fontAlgn="base">
              <a:lnSpc>
                <a:spcPct val="105000"/>
              </a:lnSpc>
              <a:spcBef>
                <a:spcPts val="450"/>
              </a:spcBef>
              <a:spcAft>
                <a:spcPct val="0"/>
              </a:spcAft>
            </a:pPr>
            <a:r>
              <a:rPr lang="en-US" sz="1400" kern="1200" dirty="0">
                <a:solidFill>
                  <a:schemeClr val="bg1"/>
                </a:solidFill>
                <a:latin typeface="+mj-lt"/>
                <a:ea typeface="ＭＳ Ｐゴシック" charset="0"/>
                <a:cs typeface="CiscoSansTT Light" panose="020B0604020202020204" charset="0"/>
              </a:rPr>
              <a:t>Ultra IoT provides application level security, policy, authentication, access control</a:t>
            </a:r>
          </a:p>
        </p:txBody>
      </p:sp>
      <p:sp>
        <p:nvSpPr>
          <p:cNvPr id="36" name="Freeform 6"/>
          <p:cNvSpPr>
            <a:spLocks/>
          </p:cNvSpPr>
          <p:nvPr/>
        </p:nvSpPr>
        <p:spPr bwMode="auto">
          <a:xfrm>
            <a:off x="2488392" y="1942287"/>
            <a:ext cx="4273748" cy="2445884"/>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eaLnBrk="1" latinLnBrk="0" hangingPunct="1">
              <a:lnSpc>
                <a:spcPct val="100000"/>
              </a:lnSpc>
              <a:buClrTx/>
              <a:buSzTx/>
              <a:buFontTx/>
              <a:buNone/>
              <a:tabLst/>
              <a:defRPr/>
            </a:pPr>
            <a:endParaRPr lang="en-US">
              <a:latin typeface="+mj-lt"/>
            </a:endParaRPr>
          </a:p>
        </p:txBody>
      </p:sp>
      <p:cxnSp>
        <p:nvCxnSpPr>
          <p:cNvPr id="37" name="Straight Connector 36"/>
          <p:cNvCxnSpPr/>
          <p:nvPr/>
        </p:nvCxnSpPr>
        <p:spPr>
          <a:xfrm>
            <a:off x="4625266" y="1941603"/>
            <a:ext cx="0" cy="1274436"/>
          </a:xfrm>
          <a:prstGeom prst="line">
            <a:avLst/>
          </a:prstGeom>
          <a:noFill/>
          <a:ln w="19050" cap="rnd" cmpd="sng" algn="ctr">
            <a:solidFill>
              <a:schemeClr val="tx2"/>
            </a:solidFill>
            <a:prstDash val="dash"/>
            <a:headEnd type="triangle" w="med" len="med"/>
            <a:tailEnd type="triangle" w="med" len="med"/>
          </a:ln>
          <a:effectLst/>
        </p:spPr>
      </p:cxnSp>
      <p:sp>
        <p:nvSpPr>
          <p:cNvPr id="38" name="Rectangle 15"/>
          <p:cNvSpPr>
            <a:spLocks noChangeArrowheads="1"/>
          </p:cNvSpPr>
          <p:nvPr/>
        </p:nvSpPr>
        <p:spPr bwMode="auto">
          <a:xfrm>
            <a:off x="4218482" y="2523249"/>
            <a:ext cx="813569" cy="242172"/>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bodyPr>
          <a:lstStyle/>
          <a:p>
            <a:pPr algn="ctr" defTabSz="457200" rtl="0" fontAlgn="base">
              <a:spcBef>
                <a:spcPct val="0"/>
              </a:spcBef>
              <a:spcAft>
                <a:spcPct val="0"/>
              </a:spcAft>
            </a:pPr>
            <a:r>
              <a:rPr lang="en-US" sz="1100" kern="1200" dirty="0">
                <a:solidFill>
                  <a:schemeClr val="bg1"/>
                </a:solidFill>
                <a:latin typeface="+mj-lt"/>
                <a:ea typeface="ＭＳ Ｐゴシック" charset="0"/>
              </a:rPr>
              <a:t>API</a:t>
            </a:r>
          </a:p>
        </p:txBody>
      </p:sp>
      <p:cxnSp>
        <p:nvCxnSpPr>
          <p:cNvPr id="28" name="Straight Connector 27"/>
          <p:cNvCxnSpPr/>
          <p:nvPr/>
        </p:nvCxnSpPr>
        <p:spPr>
          <a:xfrm flipH="1">
            <a:off x="3446389" y="1953021"/>
            <a:ext cx="2357755" cy="7633"/>
          </a:xfrm>
          <a:prstGeom prst="line">
            <a:avLst/>
          </a:prstGeom>
          <a:noFill/>
          <a:ln w="19050" cap="flat" cmpd="sng" algn="ctr">
            <a:solidFill>
              <a:schemeClr val="tx2"/>
            </a:solidFill>
            <a:prstDash val="dash"/>
          </a:ln>
          <a:effectLst/>
        </p:spPr>
      </p:cxnSp>
      <p:grpSp>
        <p:nvGrpSpPr>
          <p:cNvPr id="3" name="Group 67"/>
          <p:cNvGrpSpPr/>
          <p:nvPr/>
        </p:nvGrpSpPr>
        <p:grpSpPr>
          <a:xfrm>
            <a:off x="2901636" y="3216039"/>
            <a:ext cx="3447261" cy="988765"/>
            <a:chOff x="2813838" y="2999034"/>
            <a:chExt cx="3447261" cy="988765"/>
          </a:xfrm>
        </p:grpSpPr>
        <p:sp>
          <p:nvSpPr>
            <p:cNvPr id="61" name="Rounded Rectangle 60"/>
            <p:cNvSpPr/>
            <p:nvPr/>
          </p:nvSpPr>
          <p:spPr>
            <a:xfrm>
              <a:off x="2867459"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228600" rtlCol="0" anchor="ctr"/>
            <a:lstStyle/>
            <a:p>
              <a:pPr algn="ctr"/>
              <a:r>
                <a:rPr lang="en-US" sz="900" b="1" dirty="0" smtClean="0">
                  <a:latin typeface="+mj-lt"/>
                </a:rPr>
                <a:t>Ultra Packet Core</a:t>
              </a:r>
            </a:p>
          </p:txBody>
        </p:sp>
        <p:sp>
          <p:nvSpPr>
            <p:cNvPr id="64" name="Rounded Rectangle 63"/>
            <p:cNvSpPr/>
            <p:nvPr/>
          </p:nvSpPr>
          <p:spPr>
            <a:xfrm>
              <a:off x="4004040"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228600" rtlCol="0" anchor="ctr"/>
            <a:lstStyle/>
            <a:p>
              <a:pPr algn="ctr"/>
              <a:r>
                <a:rPr lang="en-US" sz="900" b="1" dirty="0" smtClean="0">
                  <a:latin typeface="+mj-lt"/>
                </a:rPr>
                <a:t>Ultra Policy Platform</a:t>
              </a:r>
            </a:p>
          </p:txBody>
        </p:sp>
        <p:sp>
          <p:nvSpPr>
            <p:cNvPr id="65" name="Rounded Rectangle 64"/>
            <p:cNvSpPr/>
            <p:nvPr/>
          </p:nvSpPr>
          <p:spPr>
            <a:xfrm>
              <a:off x="5140620"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Ultra Services Framework</a:t>
              </a:r>
            </a:p>
          </p:txBody>
        </p:sp>
        <p:sp>
          <p:nvSpPr>
            <p:cNvPr id="66" name="Rounded Rectangle 65"/>
            <p:cNvSpPr/>
            <p:nvPr/>
          </p:nvSpPr>
          <p:spPr>
            <a:xfrm>
              <a:off x="2813838" y="2999034"/>
              <a:ext cx="3447261" cy="988765"/>
            </a:xfrm>
            <a:prstGeom prst="roundRect">
              <a:avLst/>
            </a:prstGeom>
            <a:no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accent5"/>
                </a:solidFill>
                <a:latin typeface="+mj-lt"/>
              </a:endParaRPr>
            </a:p>
          </p:txBody>
        </p:sp>
        <p:sp>
          <p:nvSpPr>
            <p:cNvPr id="67" name="Rectangle 66"/>
            <p:cNvSpPr/>
            <p:nvPr/>
          </p:nvSpPr>
          <p:spPr>
            <a:xfrm>
              <a:off x="3692687" y="3082015"/>
              <a:ext cx="1689566" cy="184666"/>
            </a:xfrm>
            <a:prstGeom prst="rect">
              <a:avLst/>
            </a:prstGeom>
          </p:spPr>
          <p:txBody>
            <a:bodyPr wrap="none" lIns="0" tIns="0" rIns="0" bIns="0">
              <a:spAutoFit/>
            </a:bodyPr>
            <a:lstStyle/>
            <a:p>
              <a:pPr algn="ctr"/>
              <a:r>
                <a:rPr lang="en-GB" sz="1200" b="1" dirty="0" smtClean="0">
                  <a:solidFill>
                    <a:schemeClr val="accent5"/>
                  </a:solidFill>
                  <a:latin typeface="+mj-lt"/>
                </a:rPr>
                <a:t>Ultra Services Platform</a:t>
              </a:r>
              <a:endParaRPr lang="en-GB" sz="1200" b="1" dirty="0">
                <a:solidFill>
                  <a:schemeClr val="accent5"/>
                </a:solidFill>
                <a:latin typeface="+mj-lt"/>
              </a:endParaRPr>
            </a:p>
          </p:txBody>
        </p:sp>
        <p:grpSp>
          <p:nvGrpSpPr>
            <p:cNvPr id="4" name="Group 52"/>
            <p:cNvGrpSpPr/>
            <p:nvPr/>
          </p:nvGrpSpPr>
          <p:grpSpPr>
            <a:xfrm>
              <a:off x="3124333" y="3707894"/>
              <a:ext cx="553890" cy="182880"/>
              <a:chOff x="3116974" y="3638783"/>
              <a:chExt cx="553890" cy="182880"/>
            </a:xfrm>
          </p:grpSpPr>
          <p:sp>
            <p:nvSpPr>
              <p:cNvPr id="46" name="Rectangle 45"/>
              <p:cNvSpPr/>
              <p:nvPr/>
            </p:nvSpPr>
            <p:spPr>
              <a:xfrm>
                <a:off x="3116974" y="3638783"/>
                <a:ext cx="553890" cy="182880"/>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eaLnBrk="1" latinLnBrk="0" hangingPunct="1">
                  <a:lnSpc>
                    <a:spcPct val="100000"/>
                  </a:lnSpc>
                  <a:buClrTx/>
                  <a:buSzTx/>
                  <a:buFontTx/>
                  <a:buNone/>
                  <a:tabLst/>
                  <a:defRPr/>
                </a:pPr>
                <a:endParaRPr lang="en-US" sz="700" dirty="0" smtClean="0">
                  <a:solidFill>
                    <a:schemeClr val="bg1"/>
                  </a:solidFill>
                  <a:latin typeface="+mj-lt"/>
                  <a:ea typeface="+mn-ea"/>
                </a:endParaRPr>
              </a:p>
            </p:txBody>
          </p:sp>
          <p:sp>
            <p:nvSpPr>
              <p:cNvPr id="47" name="Rectangle 46"/>
              <p:cNvSpPr/>
              <p:nvPr/>
            </p:nvSpPr>
            <p:spPr>
              <a:xfrm>
                <a:off x="3199539" y="3644046"/>
                <a:ext cx="388761" cy="172355"/>
              </a:xfrm>
              <a:prstGeom prst="rect">
                <a:avLst/>
              </a:prstGeom>
            </p:spPr>
            <p:txBody>
              <a:bodyPr wrap="square" lIns="9144" tIns="9144" rIns="9144" bIns="9144">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mj-lt"/>
                    <a:ea typeface="ＭＳ Ｐゴシック" charset="0"/>
                  </a:rPr>
                  <a:t>CSGN</a:t>
                </a:r>
              </a:p>
            </p:txBody>
          </p:sp>
        </p:grpSp>
        <p:grpSp>
          <p:nvGrpSpPr>
            <p:cNvPr id="5" name="Group 47"/>
            <p:cNvGrpSpPr/>
            <p:nvPr/>
          </p:nvGrpSpPr>
          <p:grpSpPr>
            <a:xfrm>
              <a:off x="4260914" y="3707894"/>
              <a:ext cx="553890" cy="182880"/>
              <a:chOff x="3853745" y="889011"/>
              <a:chExt cx="553890" cy="182880"/>
            </a:xfrm>
          </p:grpSpPr>
          <p:sp>
            <p:nvSpPr>
              <p:cNvPr id="49" name="Rectangle 48"/>
              <p:cNvSpPr/>
              <p:nvPr/>
            </p:nvSpPr>
            <p:spPr>
              <a:xfrm>
                <a:off x="3853745" y="889011"/>
                <a:ext cx="553890" cy="182880"/>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eaLnBrk="1" latinLnBrk="0" hangingPunct="1">
                  <a:lnSpc>
                    <a:spcPct val="100000"/>
                  </a:lnSpc>
                  <a:buClrTx/>
                  <a:buSzTx/>
                  <a:buFontTx/>
                  <a:buNone/>
                  <a:tabLst/>
                  <a:defRPr/>
                </a:pPr>
                <a:endParaRPr lang="en-US" sz="700" dirty="0" smtClean="0">
                  <a:solidFill>
                    <a:schemeClr val="bg1"/>
                  </a:solidFill>
                  <a:latin typeface="+mj-lt"/>
                  <a:ea typeface="+mn-ea"/>
                </a:endParaRPr>
              </a:p>
            </p:txBody>
          </p:sp>
          <p:sp>
            <p:nvSpPr>
              <p:cNvPr id="50" name="Rectangle 49"/>
              <p:cNvSpPr/>
              <p:nvPr/>
            </p:nvSpPr>
            <p:spPr>
              <a:xfrm>
                <a:off x="3915471" y="894274"/>
                <a:ext cx="430439" cy="172355"/>
              </a:xfrm>
              <a:prstGeom prst="rect">
                <a:avLst/>
              </a:prstGeom>
            </p:spPr>
            <p:txBody>
              <a:bodyPr wrap="square" lIns="9144" tIns="9144" rIns="9144" bIns="9144">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err="1" smtClean="0">
                    <a:ln>
                      <a:noFill/>
                    </a:ln>
                    <a:solidFill>
                      <a:srgbClr val="FFFFFF"/>
                    </a:solidFill>
                    <a:effectLst/>
                    <a:uLnTx/>
                    <a:uFillTx/>
                    <a:latin typeface="+mj-lt"/>
                    <a:ea typeface="ＭＳ Ｐゴシック" charset="0"/>
                  </a:rPr>
                  <a:t>eSCEF</a:t>
                </a:r>
                <a:endParaRPr kumimoji="0" lang="en-US" sz="1000" b="0" i="0" u="none" strike="noStrike" kern="1200" cap="none" spc="0" normalizeH="0" baseline="0" noProof="0" dirty="0">
                  <a:ln>
                    <a:noFill/>
                  </a:ln>
                  <a:solidFill>
                    <a:srgbClr val="FFFFFF"/>
                  </a:solidFill>
                  <a:effectLst/>
                  <a:uLnTx/>
                  <a:uFillTx/>
                  <a:latin typeface="+mj-lt"/>
                  <a:ea typeface="ＭＳ Ｐゴシック" charset="0"/>
                </a:endParaRPr>
              </a:p>
            </p:txBody>
          </p:sp>
        </p:grpSp>
      </p:grpSp>
    </p:spTree>
    <p:extLst>
      <p:ext uri="{BB962C8B-B14F-4D97-AF65-F5344CB8AC3E}">
        <p14:creationId xmlns:p14="http://schemas.microsoft.com/office/powerpoint/2010/main" val="135430165"/>
      </p:ext>
    </p:extLst>
  </p:cSld>
  <p:clrMapOvr>
    <a:masterClrMapping/>
  </p:clrMapOvr>
  <p:transition spd="med">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smtClean="0"/>
              <a:t>Cisco Ultra IoT – New Monetization</a:t>
            </a:r>
            <a:endParaRPr lang="en-US" dirty="0"/>
          </a:p>
        </p:txBody>
      </p:sp>
      <p:sp>
        <p:nvSpPr>
          <p:cNvPr id="3" name="Rectangle 2"/>
          <p:cNvSpPr/>
          <p:nvPr/>
        </p:nvSpPr>
        <p:spPr>
          <a:xfrm>
            <a:off x="0" y="1079500"/>
            <a:ext cx="9144000" cy="3638550"/>
          </a:xfrm>
          <a:prstGeom prst="rect">
            <a:avLst/>
          </a:prstGeom>
          <a:solidFill>
            <a:schemeClr val="bg1">
              <a:lumMod val="95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6" name="Rectangle 5"/>
          <p:cNvSpPr/>
          <p:nvPr/>
        </p:nvSpPr>
        <p:spPr>
          <a:xfrm>
            <a:off x="5096051" y="1432532"/>
            <a:ext cx="1024128" cy="502920"/>
          </a:xfrm>
          <a:prstGeom prst="rect">
            <a:avLst/>
          </a:prstGeom>
          <a:solidFill>
            <a:schemeClr val="accent6"/>
          </a:solidFill>
          <a:ln w="19050" cap="flat" cmpd="sng" algn="ctr">
            <a:noFill/>
            <a:prstDash val="solid"/>
          </a:ln>
          <a:effectLst/>
        </p:spPr>
        <p:txBody>
          <a:bodyPr lIns="0" tIns="45708" rIns="0" bIns="45708" rtlCol="0" anchor="ctr"/>
          <a:lstStyle/>
          <a:p>
            <a:pPr algn="ctr"/>
            <a:r>
              <a:rPr lang="en-US" sz="1100" dirty="0" smtClean="0">
                <a:solidFill>
                  <a:srgbClr val="FFFFFF"/>
                </a:solidFill>
                <a:latin typeface="+mj-lt"/>
              </a:rPr>
              <a:t>Vending Services</a:t>
            </a:r>
            <a:endParaRPr lang="en-US" sz="1100" dirty="0">
              <a:solidFill>
                <a:srgbClr val="FFFFFF"/>
              </a:solidFill>
              <a:latin typeface="+mj-lt"/>
            </a:endParaRPr>
          </a:p>
        </p:txBody>
      </p:sp>
      <p:cxnSp>
        <p:nvCxnSpPr>
          <p:cNvPr id="7" name="Straight Connector 6"/>
          <p:cNvCxnSpPr/>
          <p:nvPr/>
        </p:nvCxnSpPr>
        <p:spPr>
          <a:xfrm flipH="1">
            <a:off x="3548405" y="2123186"/>
            <a:ext cx="4324579" cy="0"/>
          </a:xfrm>
          <a:prstGeom prst="line">
            <a:avLst/>
          </a:prstGeom>
          <a:noFill/>
          <a:ln w="19050" cap="rnd" cmpd="sng" algn="ctr">
            <a:solidFill>
              <a:schemeClr val="tx2"/>
            </a:solidFill>
            <a:prstDash val="dash"/>
            <a:headEnd type="none" w="med" len="med"/>
            <a:tailEnd type="none" w="med" len="med"/>
          </a:ln>
          <a:effectLst/>
        </p:spPr>
      </p:cxnSp>
      <p:sp>
        <p:nvSpPr>
          <p:cNvPr id="8" name="TextBox 7"/>
          <p:cNvSpPr txBox="1"/>
          <p:nvPr/>
        </p:nvSpPr>
        <p:spPr>
          <a:xfrm>
            <a:off x="4222623" y="1894983"/>
            <a:ext cx="805287" cy="246237"/>
          </a:xfrm>
          <a:prstGeom prst="rect">
            <a:avLst/>
          </a:prstGeom>
          <a:noFill/>
          <a:ln>
            <a:noFill/>
          </a:ln>
        </p:spPr>
        <p:txBody>
          <a:bodyPr wrap="square" lIns="91416" tIns="45708" rIns="91416" bIns="45708" rtlCol="0">
            <a:noAutofit/>
          </a:bodyPr>
          <a:lstStyle/>
          <a:p>
            <a:r>
              <a:rPr lang="en-US" sz="900" b="1" dirty="0">
                <a:latin typeface="+mj-lt"/>
              </a:rPr>
              <a:t>Rest APIs</a:t>
            </a:r>
          </a:p>
        </p:txBody>
      </p:sp>
      <p:cxnSp>
        <p:nvCxnSpPr>
          <p:cNvPr id="9" name="Straight Connector 8"/>
          <p:cNvCxnSpPr/>
          <p:nvPr/>
        </p:nvCxnSpPr>
        <p:spPr>
          <a:xfrm>
            <a:off x="5608115" y="1916840"/>
            <a:ext cx="0" cy="210312"/>
          </a:xfrm>
          <a:prstGeom prst="line">
            <a:avLst/>
          </a:prstGeom>
          <a:noFill/>
          <a:ln w="19050" cap="rnd" cmpd="sng" algn="ctr">
            <a:solidFill>
              <a:schemeClr val="tx2"/>
            </a:solidFill>
            <a:prstDash val="solid"/>
            <a:headEnd type="triangle" w="med" len="med"/>
            <a:tailEnd type="triangle" w="med" len="med"/>
          </a:ln>
          <a:effectLst/>
        </p:spPr>
      </p:cxnSp>
      <p:sp>
        <p:nvSpPr>
          <p:cNvPr id="23" name="TextBox 22"/>
          <p:cNvSpPr txBox="1"/>
          <p:nvPr/>
        </p:nvSpPr>
        <p:spPr>
          <a:xfrm>
            <a:off x="548508" y="2144004"/>
            <a:ext cx="1642161" cy="523220"/>
          </a:xfrm>
          <a:prstGeom prst="rect">
            <a:avLst/>
          </a:prstGeom>
          <a:noFill/>
        </p:spPr>
        <p:txBody>
          <a:bodyPr wrap="square" rtlCol="0">
            <a:spAutoFit/>
          </a:bodyPr>
          <a:lstStyle/>
          <a:p>
            <a:r>
              <a:rPr lang="en-US" sz="1400" dirty="0" smtClean="0">
                <a:solidFill>
                  <a:schemeClr val="tx2"/>
                </a:solidFill>
                <a:latin typeface="+mj-lt"/>
              </a:rPr>
              <a:t>Use Case: </a:t>
            </a:r>
            <a:br>
              <a:rPr lang="en-US" sz="1400" dirty="0" smtClean="0">
                <a:solidFill>
                  <a:schemeClr val="tx2"/>
                </a:solidFill>
                <a:latin typeface="+mj-lt"/>
              </a:rPr>
            </a:br>
            <a:r>
              <a:rPr lang="en-US" sz="1400" dirty="0" smtClean="0">
                <a:solidFill>
                  <a:schemeClr val="tx2"/>
                </a:solidFill>
                <a:latin typeface="+mj-lt"/>
              </a:rPr>
              <a:t>Smart Vending</a:t>
            </a:r>
            <a:endParaRPr lang="en-US" sz="1400" dirty="0">
              <a:solidFill>
                <a:schemeClr val="tx2"/>
              </a:solidFill>
              <a:latin typeface="+mj-lt"/>
            </a:endParaRPr>
          </a:p>
        </p:txBody>
      </p:sp>
      <p:sp>
        <p:nvSpPr>
          <p:cNvPr id="24" name="Rectangle 23"/>
          <p:cNvSpPr/>
          <p:nvPr/>
        </p:nvSpPr>
        <p:spPr>
          <a:xfrm>
            <a:off x="393394" y="1432532"/>
            <a:ext cx="2029147" cy="502920"/>
          </a:xfrm>
          <a:prstGeom prst="rect">
            <a:avLst/>
          </a:prstGeom>
          <a:solidFill>
            <a:schemeClr val="accent1"/>
          </a:solidFill>
          <a:ln cap="rnd">
            <a:noFill/>
          </a:ln>
        </p:spPr>
        <p:style>
          <a:lnRef idx="2">
            <a:schemeClr val="accent1">
              <a:shade val="50000"/>
            </a:schemeClr>
          </a:lnRef>
          <a:fillRef idx="1">
            <a:schemeClr val="accent1"/>
          </a:fillRef>
          <a:effectRef idx="0">
            <a:schemeClr val="accent1"/>
          </a:effectRef>
          <a:fontRef idx="minor">
            <a:schemeClr val="lt1"/>
          </a:fontRef>
        </p:style>
        <p:txBody>
          <a:bodyPr wrap="square" tIns="45720" bIns="45720" rtlCol="0" anchor="t" anchorCtr="0">
            <a:spAutoFit/>
          </a:bodyPr>
          <a:lstStyle/>
          <a:p>
            <a:pPr algn="ctr"/>
            <a:r>
              <a:rPr lang="en-US" sz="1400" dirty="0" smtClean="0">
                <a:solidFill>
                  <a:srgbClr val="FFFFFF"/>
                </a:solidFill>
                <a:latin typeface="+mj-lt"/>
              </a:rPr>
              <a:t>API for Application </a:t>
            </a:r>
            <a:br>
              <a:rPr lang="en-US" sz="1400" dirty="0" smtClean="0">
                <a:solidFill>
                  <a:srgbClr val="FFFFFF"/>
                </a:solidFill>
                <a:latin typeface="+mj-lt"/>
              </a:rPr>
            </a:br>
            <a:r>
              <a:rPr lang="en-US" sz="1400" dirty="0" smtClean="0">
                <a:solidFill>
                  <a:srgbClr val="FFFFFF"/>
                </a:solidFill>
                <a:latin typeface="+mj-lt"/>
              </a:rPr>
              <a:t>and Data Monetization</a:t>
            </a:r>
            <a:endParaRPr lang="en-US" sz="1400" dirty="0">
              <a:solidFill>
                <a:srgbClr val="FFFFFF"/>
              </a:solidFill>
              <a:latin typeface="+mj-lt"/>
            </a:endParaRPr>
          </a:p>
        </p:txBody>
      </p:sp>
      <p:cxnSp>
        <p:nvCxnSpPr>
          <p:cNvPr id="25" name="Straight Connector 24"/>
          <p:cNvCxnSpPr/>
          <p:nvPr/>
        </p:nvCxnSpPr>
        <p:spPr>
          <a:xfrm>
            <a:off x="6739207" y="1916840"/>
            <a:ext cx="0" cy="210312"/>
          </a:xfrm>
          <a:prstGeom prst="line">
            <a:avLst/>
          </a:prstGeom>
          <a:noFill/>
          <a:ln w="19050" cap="rnd" cmpd="sng" algn="ctr">
            <a:solidFill>
              <a:schemeClr val="tx2"/>
            </a:solidFill>
            <a:prstDash val="solid"/>
            <a:headEnd type="triangle" w="med" len="med"/>
            <a:tailEnd type="triangle" w="med" len="med"/>
          </a:ln>
          <a:effectLst/>
        </p:spPr>
      </p:cxnSp>
      <p:cxnSp>
        <p:nvCxnSpPr>
          <p:cNvPr id="26" name="Straight Connector 25"/>
          <p:cNvCxnSpPr/>
          <p:nvPr/>
        </p:nvCxnSpPr>
        <p:spPr>
          <a:xfrm>
            <a:off x="7870298" y="1916840"/>
            <a:ext cx="0" cy="210312"/>
          </a:xfrm>
          <a:prstGeom prst="line">
            <a:avLst/>
          </a:prstGeom>
          <a:noFill/>
          <a:ln w="19050" cap="rnd" cmpd="sng" algn="ctr">
            <a:solidFill>
              <a:schemeClr val="tx2"/>
            </a:solidFill>
            <a:prstDash val="solid"/>
            <a:headEnd type="triangle" w="med" len="med"/>
            <a:tailEnd type="triangle" w="med" len="med"/>
          </a:ln>
          <a:effectLst/>
        </p:spPr>
      </p:cxnSp>
      <p:sp>
        <p:nvSpPr>
          <p:cNvPr id="27" name="Rectangle 26"/>
          <p:cNvSpPr/>
          <p:nvPr/>
        </p:nvSpPr>
        <p:spPr>
          <a:xfrm>
            <a:off x="6227143" y="1432532"/>
            <a:ext cx="1024128" cy="502920"/>
          </a:xfrm>
          <a:prstGeom prst="rect">
            <a:avLst/>
          </a:prstGeom>
          <a:solidFill>
            <a:schemeClr val="accent6"/>
          </a:solidFill>
          <a:ln w="19050" cap="flat" cmpd="sng" algn="ctr">
            <a:noFill/>
            <a:prstDash val="solid"/>
          </a:ln>
          <a:effectLst/>
        </p:spPr>
        <p:txBody>
          <a:bodyPr lIns="0" tIns="45708" rIns="0" bIns="45708" rtlCol="0" anchor="ctr"/>
          <a:lstStyle/>
          <a:p>
            <a:pPr algn="ctr"/>
            <a:r>
              <a:rPr lang="en-US" sz="1100" dirty="0" smtClean="0">
                <a:solidFill>
                  <a:srgbClr val="FFFFFF"/>
                </a:solidFill>
                <a:latin typeface="+mj-lt"/>
              </a:rPr>
              <a:t>Advertising</a:t>
            </a:r>
            <a:endParaRPr lang="en-US" sz="1100" dirty="0">
              <a:solidFill>
                <a:srgbClr val="FFFFFF"/>
              </a:solidFill>
              <a:latin typeface="+mj-lt"/>
            </a:endParaRPr>
          </a:p>
        </p:txBody>
      </p:sp>
      <p:sp>
        <p:nvSpPr>
          <p:cNvPr id="28" name="Rectangle 27"/>
          <p:cNvSpPr/>
          <p:nvPr/>
        </p:nvSpPr>
        <p:spPr>
          <a:xfrm>
            <a:off x="7358234" y="1432532"/>
            <a:ext cx="1024128" cy="502920"/>
          </a:xfrm>
          <a:prstGeom prst="rect">
            <a:avLst/>
          </a:prstGeom>
          <a:solidFill>
            <a:schemeClr val="accent6"/>
          </a:solidFill>
          <a:ln w="19050" cap="flat" cmpd="sng" algn="ctr">
            <a:noFill/>
            <a:prstDash val="solid"/>
          </a:ln>
          <a:effectLst/>
        </p:spPr>
        <p:txBody>
          <a:bodyPr lIns="0" tIns="45708" rIns="0" bIns="45708" rtlCol="0" anchor="ctr"/>
          <a:lstStyle/>
          <a:p>
            <a:pPr algn="ctr"/>
            <a:r>
              <a:rPr lang="en-US" sz="1100" dirty="0" smtClean="0">
                <a:solidFill>
                  <a:srgbClr val="FFFFFF"/>
                </a:solidFill>
                <a:latin typeface="+mj-lt"/>
              </a:rPr>
              <a:t>Social Media</a:t>
            </a:r>
            <a:endParaRPr lang="en-US" sz="1100" dirty="0">
              <a:solidFill>
                <a:srgbClr val="FFFFFF"/>
              </a:solidFill>
              <a:latin typeface="+mj-lt"/>
            </a:endParaRPr>
          </a:p>
        </p:txBody>
      </p:sp>
      <p:sp>
        <p:nvSpPr>
          <p:cNvPr id="29" name="TextBox 28"/>
          <p:cNvSpPr txBox="1"/>
          <p:nvPr/>
        </p:nvSpPr>
        <p:spPr>
          <a:xfrm>
            <a:off x="6289257" y="1079500"/>
            <a:ext cx="864084" cy="313932"/>
          </a:xfrm>
          <a:prstGeom prst="rect">
            <a:avLst/>
          </a:prstGeom>
          <a:noFill/>
        </p:spPr>
        <p:txBody>
          <a:bodyPr wrap="none" lIns="18288" tIns="18288" rIns="18288" bIns="18288" rtlCol="0">
            <a:spAutoFit/>
          </a:bodyPr>
          <a:lstStyle/>
          <a:p>
            <a:pPr algn="ctr"/>
            <a:r>
              <a:rPr lang="en-US" sz="900" b="1" i="1" dirty="0" smtClean="0">
                <a:latin typeface="+mj-lt"/>
              </a:rPr>
              <a:t>“You are What </a:t>
            </a:r>
            <a:br>
              <a:rPr lang="en-US" sz="900" b="1" i="1" dirty="0" smtClean="0">
                <a:latin typeface="+mj-lt"/>
              </a:rPr>
            </a:br>
            <a:r>
              <a:rPr lang="en-US" sz="900" b="1" i="1" dirty="0" smtClean="0">
                <a:latin typeface="+mj-lt"/>
              </a:rPr>
              <a:t>You Eat”</a:t>
            </a:r>
            <a:endParaRPr lang="en-US" sz="900" b="1" i="1" dirty="0">
              <a:latin typeface="+mj-lt"/>
            </a:endParaRPr>
          </a:p>
        </p:txBody>
      </p:sp>
      <p:sp>
        <p:nvSpPr>
          <p:cNvPr id="30" name="TextBox 29"/>
          <p:cNvSpPr txBox="1"/>
          <p:nvPr/>
        </p:nvSpPr>
        <p:spPr>
          <a:xfrm>
            <a:off x="5244857" y="1079500"/>
            <a:ext cx="735842" cy="313932"/>
          </a:xfrm>
          <a:prstGeom prst="rect">
            <a:avLst/>
          </a:prstGeom>
          <a:noFill/>
        </p:spPr>
        <p:txBody>
          <a:bodyPr wrap="none" lIns="18288" tIns="18288" rIns="18288" bIns="18288" rtlCol="0">
            <a:spAutoFit/>
          </a:bodyPr>
          <a:lstStyle/>
          <a:p>
            <a:pPr algn="ctr"/>
            <a:r>
              <a:rPr lang="en-US" sz="900" b="1" i="1" dirty="0" smtClean="0">
                <a:latin typeface="+mj-lt"/>
              </a:rPr>
              <a:t>Auto-Stock,</a:t>
            </a:r>
            <a:br>
              <a:rPr lang="en-US" sz="900" b="1" i="1" dirty="0" smtClean="0">
                <a:latin typeface="+mj-lt"/>
              </a:rPr>
            </a:br>
            <a:r>
              <a:rPr lang="en-US" sz="900" b="1" i="1" dirty="0" smtClean="0">
                <a:latin typeface="+mj-lt"/>
              </a:rPr>
              <a:t>Notifications</a:t>
            </a:r>
            <a:endParaRPr lang="en-US" sz="900" b="1" i="1" dirty="0">
              <a:latin typeface="+mj-lt"/>
            </a:endParaRPr>
          </a:p>
        </p:txBody>
      </p:sp>
      <p:sp>
        <p:nvSpPr>
          <p:cNvPr id="31" name="TextBox 30"/>
          <p:cNvSpPr txBox="1"/>
          <p:nvPr/>
        </p:nvSpPr>
        <p:spPr>
          <a:xfrm>
            <a:off x="7386961" y="1079500"/>
            <a:ext cx="966676" cy="313932"/>
          </a:xfrm>
          <a:prstGeom prst="rect">
            <a:avLst/>
          </a:prstGeom>
          <a:noFill/>
        </p:spPr>
        <p:txBody>
          <a:bodyPr wrap="none" lIns="18288" tIns="18288" rIns="18288" bIns="18288" rtlCol="0">
            <a:spAutoFit/>
          </a:bodyPr>
          <a:lstStyle/>
          <a:p>
            <a:pPr algn="ctr"/>
            <a:r>
              <a:rPr lang="en-US" sz="900" b="1" i="1" dirty="0" smtClean="0">
                <a:latin typeface="+mj-lt"/>
              </a:rPr>
              <a:t>Location, Habits,</a:t>
            </a:r>
            <a:br>
              <a:rPr lang="en-US" sz="900" b="1" i="1" dirty="0" smtClean="0">
                <a:latin typeface="+mj-lt"/>
              </a:rPr>
            </a:br>
            <a:r>
              <a:rPr lang="en-US" sz="900" b="1" i="1" dirty="0" smtClean="0">
                <a:latin typeface="+mj-lt"/>
              </a:rPr>
              <a:t>Interaction</a:t>
            </a:r>
            <a:endParaRPr lang="en-US" sz="900" b="1" i="1" dirty="0">
              <a:latin typeface="+mj-lt"/>
            </a:endParaRPr>
          </a:p>
        </p:txBody>
      </p:sp>
      <p:sp>
        <p:nvSpPr>
          <p:cNvPr id="32" name="Rectangle 31"/>
          <p:cNvSpPr/>
          <p:nvPr/>
        </p:nvSpPr>
        <p:spPr>
          <a:xfrm>
            <a:off x="3052708" y="1432532"/>
            <a:ext cx="1024128" cy="502920"/>
          </a:xfrm>
          <a:prstGeom prst="rect">
            <a:avLst/>
          </a:prstGeom>
          <a:solidFill>
            <a:schemeClr val="accent6"/>
          </a:solidFill>
          <a:ln w="19050" cap="flat" cmpd="sng" algn="ctr">
            <a:noFill/>
            <a:prstDash val="solid"/>
          </a:ln>
          <a:effectLst/>
        </p:spPr>
        <p:txBody>
          <a:bodyPr lIns="0" tIns="45708" rIns="0" bIns="45708" rtlCol="0" anchor="ctr"/>
          <a:lstStyle/>
          <a:p>
            <a:pPr algn="ctr"/>
            <a:r>
              <a:rPr lang="en-US" sz="1100" dirty="0">
                <a:solidFill>
                  <a:srgbClr val="FFFFFF"/>
                </a:solidFill>
                <a:latin typeface="+mj-lt"/>
              </a:rPr>
              <a:t>Connectivity Mgmt Platform</a:t>
            </a:r>
          </a:p>
        </p:txBody>
      </p:sp>
      <p:cxnSp>
        <p:nvCxnSpPr>
          <p:cNvPr id="33" name="Straight Connector 32"/>
          <p:cNvCxnSpPr/>
          <p:nvPr/>
        </p:nvCxnSpPr>
        <p:spPr>
          <a:xfrm>
            <a:off x="3543529" y="1916840"/>
            <a:ext cx="0" cy="210312"/>
          </a:xfrm>
          <a:prstGeom prst="line">
            <a:avLst/>
          </a:prstGeom>
          <a:noFill/>
          <a:ln w="19050" cap="rnd" cmpd="sng" algn="ctr">
            <a:solidFill>
              <a:schemeClr val="tx2"/>
            </a:solidFill>
            <a:prstDash val="solid"/>
            <a:headEnd type="triangle" w="med" len="med"/>
            <a:tailEnd type="triangle" w="med" len="med"/>
          </a:ln>
          <a:effectLst/>
        </p:spPr>
      </p:cxnSp>
      <p:pic>
        <p:nvPicPr>
          <p:cNvPr id="34" name="Picture 2" descr="mage result for smart vending machine"/>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5886" y="2650056"/>
            <a:ext cx="1510216" cy="1995341"/>
          </a:xfrm>
          <a:prstGeom prst="rect">
            <a:avLst/>
          </a:prstGeom>
          <a:noFill/>
          <a:extLst>
            <a:ext uri="{909E8E84-426E-40DD-AFC4-6F175D3DCCD1}">
              <a14:hiddenFill xmlns:a14="http://schemas.microsoft.com/office/drawing/2010/main">
                <a:solidFill>
                  <a:srgbClr val="FFFFFF"/>
                </a:solidFill>
              </a14:hiddenFill>
            </a:ext>
          </a:extLst>
        </p:spPr>
      </p:pic>
      <p:cxnSp>
        <p:nvCxnSpPr>
          <p:cNvPr id="35" name="Straight Connector 34"/>
          <p:cNvCxnSpPr/>
          <p:nvPr/>
        </p:nvCxnSpPr>
        <p:spPr>
          <a:xfrm flipH="1" flipV="1">
            <a:off x="1566504" y="3689452"/>
            <a:ext cx="938173" cy="81613"/>
          </a:xfrm>
          <a:prstGeom prst="line">
            <a:avLst/>
          </a:prstGeom>
          <a:ln w="12700" cap="flat">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18750826">
            <a:off x="1602683" y="3312888"/>
            <a:ext cx="527452" cy="190821"/>
          </a:xfrm>
          <a:prstGeom prst="rect">
            <a:avLst/>
          </a:prstGeom>
          <a:noFill/>
          <a:ln>
            <a:noFill/>
          </a:ln>
        </p:spPr>
        <p:txBody>
          <a:bodyPr wrap="square" lIns="18288" tIns="18288" rIns="18288" bIns="18288" rtlCol="0">
            <a:spAutoFit/>
          </a:bodyPr>
          <a:lstStyle/>
          <a:p>
            <a:r>
              <a:rPr lang="en-US" sz="1000" dirty="0" smtClean="0">
                <a:solidFill>
                  <a:schemeClr val="tx2"/>
                </a:solidFill>
                <a:latin typeface="+mj-lt"/>
              </a:rPr>
              <a:t>Services</a:t>
            </a:r>
            <a:endParaRPr lang="en-US" sz="1000" dirty="0">
              <a:solidFill>
                <a:schemeClr val="tx2"/>
              </a:solidFill>
              <a:latin typeface="+mj-lt"/>
            </a:endParaRPr>
          </a:p>
        </p:txBody>
      </p:sp>
      <p:sp>
        <p:nvSpPr>
          <p:cNvPr id="37" name="TextBox 36"/>
          <p:cNvSpPr txBox="1"/>
          <p:nvPr/>
        </p:nvSpPr>
        <p:spPr>
          <a:xfrm rot="18782000">
            <a:off x="1873584" y="3291554"/>
            <a:ext cx="668516" cy="190821"/>
          </a:xfrm>
          <a:prstGeom prst="rect">
            <a:avLst/>
          </a:prstGeom>
          <a:noFill/>
          <a:ln>
            <a:noFill/>
          </a:ln>
        </p:spPr>
        <p:txBody>
          <a:bodyPr wrap="square" lIns="18288" tIns="18288" rIns="18288" bIns="18288" rtlCol="0">
            <a:spAutoFit/>
          </a:bodyPr>
          <a:lstStyle/>
          <a:p>
            <a:r>
              <a:rPr lang="en-US" sz="1000" dirty="0" smtClean="0">
                <a:solidFill>
                  <a:schemeClr val="tx2"/>
                </a:solidFill>
                <a:latin typeface="+mj-lt"/>
              </a:rPr>
              <a:t>Advertising</a:t>
            </a:r>
            <a:endParaRPr lang="en-US" sz="1000" dirty="0">
              <a:solidFill>
                <a:schemeClr val="tx2"/>
              </a:solidFill>
              <a:latin typeface="+mj-lt"/>
            </a:endParaRPr>
          </a:p>
        </p:txBody>
      </p:sp>
      <p:sp>
        <p:nvSpPr>
          <p:cNvPr id="38" name="TextBox 37"/>
          <p:cNvSpPr txBox="1"/>
          <p:nvPr/>
        </p:nvSpPr>
        <p:spPr>
          <a:xfrm rot="18813644">
            <a:off x="2165324" y="3253438"/>
            <a:ext cx="767903" cy="190821"/>
          </a:xfrm>
          <a:prstGeom prst="rect">
            <a:avLst/>
          </a:prstGeom>
          <a:noFill/>
          <a:ln>
            <a:noFill/>
          </a:ln>
        </p:spPr>
        <p:txBody>
          <a:bodyPr wrap="square" lIns="18288" tIns="18288" rIns="18288" bIns="18288" rtlCol="0">
            <a:spAutoFit/>
          </a:bodyPr>
          <a:lstStyle/>
          <a:p>
            <a:r>
              <a:rPr lang="en-US" sz="1000" dirty="0" smtClean="0">
                <a:solidFill>
                  <a:schemeClr val="tx2"/>
                </a:solidFill>
                <a:latin typeface="+mj-lt"/>
              </a:rPr>
              <a:t>Social Media</a:t>
            </a:r>
            <a:endParaRPr lang="en-US" sz="1000" dirty="0">
              <a:solidFill>
                <a:schemeClr val="tx2"/>
              </a:solidFill>
              <a:latin typeface="+mj-lt"/>
            </a:endParaRPr>
          </a:p>
        </p:txBody>
      </p:sp>
      <p:sp>
        <p:nvSpPr>
          <p:cNvPr id="58" name="Freeform 6"/>
          <p:cNvSpPr>
            <a:spLocks/>
          </p:cNvSpPr>
          <p:nvPr/>
        </p:nvSpPr>
        <p:spPr bwMode="auto">
          <a:xfrm>
            <a:off x="2488392" y="2248721"/>
            <a:ext cx="4273748" cy="2445884"/>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a:latin typeface="+mj-lt"/>
            </a:endParaRPr>
          </a:p>
        </p:txBody>
      </p:sp>
      <p:cxnSp>
        <p:nvCxnSpPr>
          <p:cNvPr id="60" name="Straight Connector 59"/>
          <p:cNvCxnSpPr/>
          <p:nvPr/>
        </p:nvCxnSpPr>
        <p:spPr>
          <a:xfrm rot="16200000" flipH="1">
            <a:off x="3941118" y="2808682"/>
            <a:ext cx="1368296" cy="0"/>
          </a:xfrm>
          <a:prstGeom prst="line">
            <a:avLst/>
          </a:prstGeom>
          <a:noFill/>
          <a:ln w="19050" cap="rnd" cmpd="sng" algn="ctr">
            <a:solidFill>
              <a:schemeClr val="tx2"/>
            </a:solidFill>
            <a:prstDash val="dash"/>
            <a:headEnd type="triangle" w="med" len="med"/>
            <a:tailEnd type="triangle" w="med" len="med"/>
          </a:ln>
          <a:effectLst/>
        </p:spPr>
      </p:cxnSp>
      <p:sp>
        <p:nvSpPr>
          <p:cNvPr id="61" name="Rectangle 15"/>
          <p:cNvSpPr>
            <a:spLocks noChangeArrowheads="1"/>
          </p:cNvSpPr>
          <p:nvPr/>
        </p:nvSpPr>
        <p:spPr bwMode="auto">
          <a:xfrm>
            <a:off x="4218482" y="2687596"/>
            <a:ext cx="813569" cy="242172"/>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bodyPr>
          <a:lstStyle/>
          <a:p>
            <a:pPr algn="ctr"/>
            <a:r>
              <a:rPr lang="en-US" sz="1100" dirty="0">
                <a:solidFill>
                  <a:schemeClr val="bg1"/>
                </a:solidFill>
                <a:latin typeface="+mj-lt"/>
                <a:ea typeface="ＭＳ Ｐゴシック" charset="0"/>
              </a:rPr>
              <a:t>API</a:t>
            </a:r>
          </a:p>
        </p:txBody>
      </p:sp>
      <p:grpSp>
        <p:nvGrpSpPr>
          <p:cNvPr id="4" name="Group 42"/>
          <p:cNvGrpSpPr/>
          <p:nvPr/>
        </p:nvGrpSpPr>
        <p:grpSpPr>
          <a:xfrm>
            <a:off x="2901636" y="3490101"/>
            <a:ext cx="3447261" cy="988765"/>
            <a:chOff x="2813838" y="2999034"/>
            <a:chExt cx="3447261" cy="988765"/>
          </a:xfrm>
        </p:grpSpPr>
        <p:sp>
          <p:nvSpPr>
            <p:cNvPr id="44" name="Rounded Rectangle 43"/>
            <p:cNvSpPr/>
            <p:nvPr/>
          </p:nvSpPr>
          <p:spPr>
            <a:xfrm>
              <a:off x="2867459"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228600" rtlCol="0" anchor="ctr"/>
            <a:lstStyle/>
            <a:p>
              <a:pPr algn="ctr"/>
              <a:r>
                <a:rPr lang="en-US" sz="900" b="1" dirty="0" smtClean="0">
                  <a:latin typeface="+mj-lt"/>
                </a:rPr>
                <a:t>Ultra Packet Core</a:t>
              </a:r>
            </a:p>
          </p:txBody>
        </p:sp>
        <p:sp>
          <p:nvSpPr>
            <p:cNvPr id="45" name="Rounded Rectangle 44"/>
            <p:cNvSpPr/>
            <p:nvPr/>
          </p:nvSpPr>
          <p:spPr>
            <a:xfrm>
              <a:off x="4004040"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228600" rtlCol="0" anchor="ctr"/>
            <a:lstStyle/>
            <a:p>
              <a:pPr algn="ctr"/>
              <a:r>
                <a:rPr lang="en-US" sz="900" b="1" dirty="0" smtClean="0">
                  <a:latin typeface="+mj-lt"/>
                </a:rPr>
                <a:t>Ultra Policy Platform</a:t>
              </a:r>
            </a:p>
          </p:txBody>
        </p:sp>
        <p:sp>
          <p:nvSpPr>
            <p:cNvPr id="46" name="Rounded Rectangle 45"/>
            <p:cNvSpPr/>
            <p:nvPr/>
          </p:nvSpPr>
          <p:spPr>
            <a:xfrm>
              <a:off x="5140620"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Ultra Services Framework</a:t>
              </a:r>
            </a:p>
          </p:txBody>
        </p:sp>
        <p:sp>
          <p:nvSpPr>
            <p:cNvPr id="47" name="Rounded Rectangle 46"/>
            <p:cNvSpPr/>
            <p:nvPr/>
          </p:nvSpPr>
          <p:spPr>
            <a:xfrm>
              <a:off x="2813838" y="2999034"/>
              <a:ext cx="3447261" cy="988765"/>
            </a:xfrm>
            <a:prstGeom prst="roundRect">
              <a:avLst/>
            </a:prstGeom>
            <a:no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accent5"/>
                </a:solidFill>
                <a:latin typeface="+mj-lt"/>
              </a:endParaRPr>
            </a:p>
          </p:txBody>
        </p:sp>
        <p:sp>
          <p:nvSpPr>
            <p:cNvPr id="48" name="Rectangle 47"/>
            <p:cNvSpPr/>
            <p:nvPr/>
          </p:nvSpPr>
          <p:spPr>
            <a:xfrm>
              <a:off x="3692687" y="3082015"/>
              <a:ext cx="1689566" cy="184666"/>
            </a:xfrm>
            <a:prstGeom prst="rect">
              <a:avLst/>
            </a:prstGeom>
          </p:spPr>
          <p:txBody>
            <a:bodyPr wrap="none" lIns="0" tIns="0" rIns="0" bIns="0">
              <a:spAutoFit/>
            </a:bodyPr>
            <a:lstStyle/>
            <a:p>
              <a:pPr algn="ctr"/>
              <a:r>
                <a:rPr lang="en-GB" sz="1200" b="1" dirty="0" smtClean="0">
                  <a:solidFill>
                    <a:schemeClr val="accent5"/>
                  </a:solidFill>
                  <a:latin typeface="+mj-lt"/>
                </a:rPr>
                <a:t>Ultra Services Platform</a:t>
              </a:r>
              <a:endParaRPr lang="en-GB" sz="1200" b="1" dirty="0">
                <a:solidFill>
                  <a:schemeClr val="accent5"/>
                </a:solidFill>
                <a:latin typeface="+mj-lt"/>
              </a:endParaRPr>
            </a:p>
          </p:txBody>
        </p:sp>
        <p:grpSp>
          <p:nvGrpSpPr>
            <p:cNvPr id="5" name="Group 52"/>
            <p:cNvGrpSpPr/>
            <p:nvPr/>
          </p:nvGrpSpPr>
          <p:grpSpPr>
            <a:xfrm>
              <a:off x="3124333" y="3707894"/>
              <a:ext cx="553890" cy="182880"/>
              <a:chOff x="3116974" y="3638783"/>
              <a:chExt cx="553890" cy="182880"/>
            </a:xfrm>
          </p:grpSpPr>
          <p:sp>
            <p:nvSpPr>
              <p:cNvPr id="53" name="Rectangle 52"/>
              <p:cNvSpPr/>
              <p:nvPr/>
            </p:nvSpPr>
            <p:spPr>
              <a:xfrm>
                <a:off x="3116974" y="3638783"/>
                <a:ext cx="553890" cy="182880"/>
              </a:xfrm>
              <a:prstGeom prst="rect">
                <a:avLst/>
              </a:prstGeom>
              <a:solidFill>
                <a:schemeClr val="accent4">
                  <a:lumMod val="75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mj-lt"/>
                  <a:ea typeface="+mn-ea"/>
                  <a:cs typeface="+mn-cs"/>
                </a:endParaRPr>
              </a:p>
            </p:txBody>
          </p:sp>
          <p:sp>
            <p:nvSpPr>
              <p:cNvPr id="54" name="Rectangle 53"/>
              <p:cNvSpPr/>
              <p:nvPr/>
            </p:nvSpPr>
            <p:spPr>
              <a:xfrm>
                <a:off x="3199539" y="3644046"/>
                <a:ext cx="388761" cy="172355"/>
              </a:xfrm>
              <a:prstGeom prst="rect">
                <a:avLst/>
              </a:prstGeom>
            </p:spPr>
            <p:txBody>
              <a:bodyPr wrap="square" lIns="9144" tIns="9144" rIns="9144" bIns="9144">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mj-lt"/>
                    <a:ea typeface="ＭＳ Ｐゴシック" charset="0"/>
                  </a:rPr>
                  <a:t>CSGN</a:t>
                </a:r>
              </a:p>
            </p:txBody>
          </p:sp>
        </p:grpSp>
        <p:grpSp>
          <p:nvGrpSpPr>
            <p:cNvPr id="10" name="Group 47"/>
            <p:cNvGrpSpPr/>
            <p:nvPr/>
          </p:nvGrpSpPr>
          <p:grpSpPr>
            <a:xfrm>
              <a:off x="4260914" y="3707894"/>
              <a:ext cx="553890" cy="182880"/>
              <a:chOff x="3853745" y="889011"/>
              <a:chExt cx="553890" cy="182880"/>
            </a:xfrm>
          </p:grpSpPr>
          <p:sp>
            <p:nvSpPr>
              <p:cNvPr id="51" name="Rectangle 50"/>
              <p:cNvSpPr/>
              <p:nvPr/>
            </p:nvSpPr>
            <p:spPr>
              <a:xfrm>
                <a:off x="3853745" y="889011"/>
                <a:ext cx="553890" cy="182880"/>
              </a:xfrm>
              <a:prstGeom prst="rect">
                <a:avLst/>
              </a:prstGeom>
              <a:solidFill>
                <a:schemeClr val="accent4">
                  <a:lumMod val="75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mj-lt"/>
                  <a:ea typeface="+mn-ea"/>
                  <a:cs typeface="+mn-cs"/>
                </a:endParaRPr>
              </a:p>
            </p:txBody>
          </p:sp>
          <p:sp>
            <p:nvSpPr>
              <p:cNvPr id="52" name="Rectangle 51"/>
              <p:cNvSpPr/>
              <p:nvPr/>
            </p:nvSpPr>
            <p:spPr>
              <a:xfrm>
                <a:off x="3915471" y="894274"/>
                <a:ext cx="430439" cy="172355"/>
              </a:xfrm>
              <a:prstGeom prst="rect">
                <a:avLst/>
              </a:prstGeom>
            </p:spPr>
            <p:txBody>
              <a:bodyPr wrap="square" lIns="9144" tIns="9144" rIns="9144" bIns="9144">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err="1" smtClean="0">
                    <a:ln>
                      <a:noFill/>
                    </a:ln>
                    <a:solidFill>
                      <a:srgbClr val="FFFFFF"/>
                    </a:solidFill>
                    <a:effectLst/>
                    <a:uLnTx/>
                    <a:uFillTx/>
                    <a:latin typeface="+mj-lt"/>
                    <a:ea typeface="ＭＳ Ｐゴシック" charset="0"/>
                  </a:rPr>
                  <a:t>eSCEF</a:t>
                </a:r>
                <a:endParaRPr kumimoji="0" lang="en-US" sz="1000" b="0" i="0" u="none" strike="noStrike" kern="1200" cap="none" spc="0" normalizeH="0" baseline="0" noProof="0" dirty="0">
                  <a:ln>
                    <a:noFill/>
                  </a:ln>
                  <a:solidFill>
                    <a:srgbClr val="FFFFFF"/>
                  </a:solidFill>
                  <a:effectLst/>
                  <a:uLnTx/>
                  <a:uFillTx/>
                  <a:latin typeface="+mj-lt"/>
                  <a:ea typeface="ＭＳ Ｐゴシック" charset="0"/>
                </a:endParaRPr>
              </a:p>
            </p:txBody>
          </p:sp>
        </p:grpSp>
      </p:grpSp>
    </p:spTree>
    <p:extLst>
      <p:ext uri="{BB962C8B-B14F-4D97-AF65-F5344CB8AC3E}">
        <p14:creationId xmlns:p14="http://schemas.microsoft.com/office/powerpoint/2010/main" val="755837037"/>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5774" y="0"/>
            <a:ext cx="3634659" cy="5143500"/>
          </a:xfrm>
          <a:prstGeom prst="rect">
            <a:avLst/>
          </a:prstGeom>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1478" y="1039528"/>
            <a:ext cx="4608576" cy="3456432"/>
          </a:xfrm>
          <a:prstGeom prst="rect">
            <a:avLst/>
          </a:prstGeom>
        </p:spPr>
      </p:pic>
    </p:spTree>
    <p:extLst>
      <p:ext uri="{BB962C8B-B14F-4D97-AF65-F5344CB8AC3E}">
        <p14:creationId xmlns:p14="http://schemas.microsoft.com/office/powerpoint/2010/main" val="985952613"/>
      </p:ext>
    </p:extLst>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sco </a:t>
            </a:r>
            <a:r>
              <a:rPr lang="en-US" dirty="0" err="1" smtClean="0"/>
              <a:t>IoT</a:t>
            </a:r>
            <a:r>
              <a:rPr lang="en-US" dirty="0" smtClean="0"/>
              <a:t> Solutions for Key Vertical Markets</a:t>
            </a:r>
            <a:endParaRPr lang="en-US" dirty="0"/>
          </a:p>
        </p:txBody>
      </p:sp>
      <p:sp>
        <p:nvSpPr>
          <p:cNvPr id="213" name="Rectangle 11"/>
          <p:cNvSpPr>
            <a:spLocks noChangeArrowheads="1"/>
          </p:cNvSpPr>
          <p:nvPr/>
        </p:nvSpPr>
        <p:spPr bwMode="auto">
          <a:xfrm>
            <a:off x="273050" y="4441825"/>
            <a:ext cx="8594723" cy="279400"/>
          </a:xfrm>
          <a:prstGeom prst="rect">
            <a:avLst/>
          </a:prstGeom>
          <a:solidFill>
            <a:schemeClr val="bg1"/>
          </a:solidFill>
          <a:ln w="9525">
            <a:noFill/>
            <a:miter lim="800000"/>
            <a:headEnd/>
            <a:tailEnd/>
          </a:ln>
        </p:spPr>
        <p:txBody>
          <a:bodyPr vert="horz" wrap="square" lIns="91440" tIns="45720" rIns="91440" bIns="45720" numCol="2" anchor="t" anchorCtr="0" compatLnSpc="1">
            <a:prstTxWarp prst="textNoShape">
              <a:avLst/>
            </a:prstTxWarp>
          </a:bodyPr>
          <a:lstStyle/>
          <a:p>
            <a:pPr marL="173736" indent="-173736">
              <a:lnSpc>
                <a:spcPct val="110000"/>
              </a:lnSpc>
              <a:spcBef>
                <a:spcPts val="200"/>
              </a:spcBef>
              <a:buFont typeface="Wingdings" panose="05000000000000000000" pitchFamily="2" charset="2"/>
              <a:buChar char="§"/>
            </a:pPr>
            <a:endParaRPr lang="en-US" sz="1400" dirty="0" smtClean="0">
              <a:solidFill>
                <a:schemeClr val="bg1"/>
              </a:solidFill>
              <a:latin typeface="+mj-lt"/>
            </a:endParaRPr>
          </a:p>
        </p:txBody>
      </p:sp>
      <p:sp>
        <p:nvSpPr>
          <p:cNvPr id="214" name="Freeform 6"/>
          <p:cNvSpPr>
            <a:spLocks noEditPoints="1"/>
          </p:cNvSpPr>
          <p:nvPr/>
        </p:nvSpPr>
        <p:spPr bwMode="auto">
          <a:xfrm>
            <a:off x="280669" y="2143740"/>
            <a:ext cx="8595360" cy="2589212"/>
          </a:xfrm>
          <a:custGeom>
            <a:avLst/>
            <a:gdLst/>
            <a:ahLst/>
            <a:cxnLst>
              <a:cxn ang="0">
                <a:pos x="3437" y="824"/>
              </a:cxn>
              <a:cxn ang="0">
                <a:pos x="3240" y="956"/>
              </a:cxn>
              <a:cxn ang="0">
                <a:pos x="2664" y="781"/>
              </a:cxn>
              <a:cxn ang="0">
                <a:pos x="2420" y="456"/>
              </a:cxn>
              <a:cxn ang="0">
                <a:pos x="2152" y="781"/>
              </a:cxn>
              <a:cxn ang="0">
                <a:pos x="2113" y="290"/>
              </a:cxn>
              <a:cxn ang="0">
                <a:pos x="1908" y="817"/>
              </a:cxn>
              <a:cxn ang="0">
                <a:pos x="1734" y="654"/>
              </a:cxn>
              <a:cxn ang="0">
                <a:pos x="1237" y="91"/>
              </a:cxn>
              <a:cxn ang="0">
                <a:pos x="1028" y="522"/>
              </a:cxn>
              <a:cxn ang="0">
                <a:pos x="763" y="917"/>
              </a:cxn>
              <a:cxn ang="0">
                <a:pos x="615" y="811"/>
              </a:cxn>
              <a:cxn ang="0">
                <a:pos x="341" y="812"/>
              </a:cxn>
              <a:cxn ang="0">
                <a:pos x="2507" y="1283"/>
              </a:cxn>
              <a:cxn ang="0">
                <a:pos x="3816" y="1035"/>
              </a:cxn>
              <a:cxn ang="0">
                <a:pos x="51" y="1143"/>
              </a:cxn>
              <a:cxn ang="0">
                <a:pos x="228" y="1180"/>
              </a:cxn>
              <a:cxn ang="0">
                <a:pos x="555" y="825"/>
              </a:cxn>
              <a:cxn ang="0">
                <a:pos x="414" y="1011"/>
              </a:cxn>
              <a:cxn ang="0">
                <a:pos x="430" y="825"/>
              </a:cxn>
              <a:cxn ang="0">
                <a:pos x="545" y="1214"/>
              </a:cxn>
              <a:cxn ang="0">
                <a:pos x="697" y="986"/>
              </a:cxn>
              <a:cxn ang="0">
                <a:pos x="848" y="1059"/>
              </a:cxn>
              <a:cxn ang="0">
                <a:pos x="1052" y="597"/>
              </a:cxn>
              <a:cxn ang="0">
                <a:pos x="1052" y="1113"/>
              </a:cxn>
              <a:cxn ang="0">
                <a:pos x="983" y="972"/>
              </a:cxn>
              <a:cxn ang="0">
                <a:pos x="1052" y="863"/>
              </a:cxn>
              <a:cxn ang="0">
                <a:pos x="1052" y="738"/>
              </a:cxn>
              <a:cxn ang="0">
                <a:pos x="900" y="629"/>
              </a:cxn>
              <a:cxn ang="0">
                <a:pos x="1230" y="811"/>
              </a:cxn>
              <a:cxn ang="0">
                <a:pos x="1334" y="155"/>
              </a:cxn>
              <a:cxn ang="0">
                <a:pos x="1294" y="1045"/>
              </a:cxn>
              <a:cxn ang="0">
                <a:pos x="1393" y="866"/>
              </a:cxn>
              <a:cxn ang="0">
                <a:pos x="1478" y="1153"/>
              </a:cxn>
              <a:cxn ang="0">
                <a:pos x="1694" y="773"/>
              </a:cxn>
              <a:cxn ang="0">
                <a:pos x="1541" y="1135"/>
              </a:cxn>
              <a:cxn ang="0">
                <a:pos x="1645" y="890"/>
              </a:cxn>
              <a:cxn ang="0">
                <a:pos x="1748" y="1226"/>
              </a:cxn>
              <a:cxn ang="0">
                <a:pos x="1800" y="708"/>
              </a:cxn>
              <a:cxn ang="0">
                <a:pos x="1816" y="708"/>
              </a:cxn>
              <a:cxn ang="0">
                <a:pos x="1901" y="901"/>
              </a:cxn>
              <a:cxn ang="0">
                <a:pos x="2270" y="497"/>
              </a:cxn>
              <a:cxn ang="0">
                <a:pos x="2387" y="606"/>
              </a:cxn>
              <a:cxn ang="0">
                <a:pos x="2270" y="686"/>
              </a:cxn>
              <a:cxn ang="0">
                <a:pos x="2082" y="368"/>
              </a:cxn>
              <a:cxn ang="0">
                <a:pos x="2199" y="1230"/>
              </a:cxn>
              <a:cxn ang="0">
                <a:pos x="2216" y="927"/>
              </a:cxn>
              <a:cxn ang="0">
                <a:pos x="2307" y="874"/>
              </a:cxn>
              <a:cxn ang="0">
                <a:pos x="2430" y="910"/>
              </a:cxn>
              <a:cxn ang="0">
                <a:pos x="2505" y="1053"/>
              </a:cxn>
              <a:cxn ang="0">
                <a:pos x="2550" y="1146"/>
              </a:cxn>
              <a:cxn ang="0">
                <a:pos x="2556" y="842"/>
              </a:cxn>
              <a:cxn ang="0">
                <a:pos x="2621" y="927"/>
              </a:cxn>
              <a:cxn ang="0">
                <a:pos x="2942" y="1081"/>
              </a:cxn>
              <a:cxn ang="0">
                <a:pos x="3240" y="1161"/>
              </a:cxn>
              <a:cxn ang="0">
                <a:pos x="3514" y="899"/>
              </a:cxn>
              <a:cxn ang="0">
                <a:pos x="3448" y="1057"/>
              </a:cxn>
              <a:cxn ang="0">
                <a:pos x="3357" y="998"/>
              </a:cxn>
              <a:cxn ang="0">
                <a:pos x="3272" y="1149"/>
              </a:cxn>
              <a:cxn ang="0">
                <a:pos x="3357" y="1149"/>
              </a:cxn>
              <a:cxn ang="0">
                <a:pos x="3425" y="899"/>
              </a:cxn>
              <a:cxn ang="0">
                <a:pos x="3621" y="1085"/>
              </a:cxn>
              <a:cxn ang="0">
                <a:pos x="3814" y="1154"/>
              </a:cxn>
            </a:cxnLst>
            <a:rect l="0" t="0" r="r" b="b"/>
            <a:pathLst>
              <a:path w="3836" h="1283">
                <a:moveTo>
                  <a:pt x="3816" y="1035"/>
                </a:moveTo>
                <a:cubicBezTo>
                  <a:pt x="3699" y="1035"/>
                  <a:pt x="3699" y="1035"/>
                  <a:pt x="3699" y="1035"/>
                </a:cubicBezTo>
                <a:cubicBezTo>
                  <a:pt x="3699" y="1006"/>
                  <a:pt x="3699" y="1006"/>
                  <a:pt x="3699" y="1006"/>
                </a:cubicBezTo>
                <a:cubicBezTo>
                  <a:pt x="3720" y="1006"/>
                  <a:pt x="3720" y="1006"/>
                  <a:pt x="3720" y="1006"/>
                </a:cubicBezTo>
                <a:cubicBezTo>
                  <a:pt x="3687" y="938"/>
                  <a:pt x="3687" y="938"/>
                  <a:pt x="3687" y="938"/>
                </a:cubicBezTo>
                <a:cubicBezTo>
                  <a:pt x="3581" y="938"/>
                  <a:pt x="3581" y="938"/>
                  <a:pt x="3581" y="938"/>
                </a:cubicBezTo>
                <a:cubicBezTo>
                  <a:pt x="3557" y="881"/>
                  <a:pt x="3557" y="881"/>
                  <a:pt x="3557" y="881"/>
                </a:cubicBezTo>
                <a:cubicBezTo>
                  <a:pt x="3536" y="881"/>
                  <a:pt x="3536" y="881"/>
                  <a:pt x="3536" y="881"/>
                </a:cubicBezTo>
                <a:cubicBezTo>
                  <a:pt x="3536" y="864"/>
                  <a:pt x="3536" y="864"/>
                  <a:pt x="3536" y="864"/>
                </a:cubicBezTo>
                <a:cubicBezTo>
                  <a:pt x="3543" y="863"/>
                  <a:pt x="3543" y="863"/>
                  <a:pt x="3543" y="863"/>
                </a:cubicBezTo>
                <a:cubicBezTo>
                  <a:pt x="3514" y="824"/>
                  <a:pt x="3514" y="824"/>
                  <a:pt x="3514" y="824"/>
                </a:cubicBezTo>
                <a:cubicBezTo>
                  <a:pt x="3437" y="824"/>
                  <a:pt x="3437" y="824"/>
                  <a:pt x="3437" y="824"/>
                </a:cubicBezTo>
                <a:cubicBezTo>
                  <a:pt x="3437" y="822"/>
                  <a:pt x="3437" y="822"/>
                  <a:pt x="3437" y="822"/>
                </a:cubicBezTo>
                <a:cubicBezTo>
                  <a:pt x="3437" y="822"/>
                  <a:pt x="3437" y="822"/>
                  <a:pt x="3437" y="822"/>
                </a:cubicBezTo>
                <a:cubicBezTo>
                  <a:pt x="3412" y="802"/>
                  <a:pt x="3412" y="802"/>
                  <a:pt x="3412" y="802"/>
                </a:cubicBezTo>
                <a:cubicBezTo>
                  <a:pt x="3389" y="820"/>
                  <a:pt x="3389" y="820"/>
                  <a:pt x="3389" y="820"/>
                </a:cubicBezTo>
                <a:cubicBezTo>
                  <a:pt x="3389" y="823"/>
                  <a:pt x="3389" y="823"/>
                  <a:pt x="3389" y="823"/>
                </a:cubicBezTo>
                <a:cubicBezTo>
                  <a:pt x="3389" y="824"/>
                  <a:pt x="3389" y="824"/>
                  <a:pt x="3389" y="824"/>
                </a:cubicBezTo>
                <a:cubicBezTo>
                  <a:pt x="3310" y="824"/>
                  <a:pt x="3310" y="824"/>
                  <a:pt x="3310" y="824"/>
                </a:cubicBezTo>
                <a:cubicBezTo>
                  <a:pt x="3285" y="863"/>
                  <a:pt x="3285" y="863"/>
                  <a:pt x="3285" y="863"/>
                </a:cubicBezTo>
                <a:cubicBezTo>
                  <a:pt x="3295" y="863"/>
                  <a:pt x="3295" y="863"/>
                  <a:pt x="3295" y="863"/>
                </a:cubicBezTo>
                <a:cubicBezTo>
                  <a:pt x="3295" y="880"/>
                  <a:pt x="3295" y="880"/>
                  <a:pt x="3295" y="880"/>
                </a:cubicBezTo>
                <a:cubicBezTo>
                  <a:pt x="3281" y="881"/>
                  <a:pt x="3281" y="881"/>
                  <a:pt x="3281" y="881"/>
                </a:cubicBezTo>
                <a:cubicBezTo>
                  <a:pt x="3240" y="956"/>
                  <a:pt x="3240" y="956"/>
                  <a:pt x="3240" y="956"/>
                </a:cubicBezTo>
                <a:cubicBezTo>
                  <a:pt x="3168" y="955"/>
                  <a:pt x="3168" y="955"/>
                  <a:pt x="3168" y="955"/>
                </a:cubicBezTo>
                <a:cubicBezTo>
                  <a:pt x="3145" y="895"/>
                  <a:pt x="3145" y="895"/>
                  <a:pt x="3145" y="895"/>
                </a:cubicBezTo>
                <a:cubicBezTo>
                  <a:pt x="2840" y="895"/>
                  <a:pt x="2840" y="895"/>
                  <a:pt x="2840" y="895"/>
                </a:cubicBezTo>
                <a:cubicBezTo>
                  <a:pt x="2810" y="942"/>
                  <a:pt x="2810" y="942"/>
                  <a:pt x="2810" y="942"/>
                </a:cubicBezTo>
                <a:cubicBezTo>
                  <a:pt x="2706" y="944"/>
                  <a:pt x="2706" y="944"/>
                  <a:pt x="2706" y="944"/>
                </a:cubicBezTo>
                <a:cubicBezTo>
                  <a:pt x="2706" y="850"/>
                  <a:pt x="2706" y="850"/>
                  <a:pt x="2706" y="850"/>
                </a:cubicBezTo>
                <a:cubicBezTo>
                  <a:pt x="2734" y="850"/>
                  <a:pt x="2734" y="850"/>
                  <a:pt x="2734" y="850"/>
                </a:cubicBezTo>
                <a:cubicBezTo>
                  <a:pt x="2706" y="783"/>
                  <a:pt x="2706" y="783"/>
                  <a:pt x="2706" y="783"/>
                </a:cubicBezTo>
                <a:cubicBezTo>
                  <a:pt x="2670" y="782"/>
                  <a:pt x="2670" y="782"/>
                  <a:pt x="2670" y="782"/>
                </a:cubicBezTo>
                <a:cubicBezTo>
                  <a:pt x="2670" y="746"/>
                  <a:pt x="2670" y="746"/>
                  <a:pt x="2670" y="746"/>
                </a:cubicBezTo>
                <a:cubicBezTo>
                  <a:pt x="2664" y="746"/>
                  <a:pt x="2664" y="746"/>
                  <a:pt x="2664" y="746"/>
                </a:cubicBezTo>
                <a:cubicBezTo>
                  <a:pt x="2664" y="781"/>
                  <a:pt x="2664" y="781"/>
                  <a:pt x="2664" y="781"/>
                </a:cubicBezTo>
                <a:cubicBezTo>
                  <a:pt x="2578" y="777"/>
                  <a:pt x="2578" y="777"/>
                  <a:pt x="2578" y="777"/>
                </a:cubicBezTo>
                <a:cubicBezTo>
                  <a:pt x="2578" y="755"/>
                  <a:pt x="2578" y="755"/>
                  <a:pt x="2578" y="755"/>
                </a:cubicBezTo>
                <a:cubicBezTo>
                  <a:pt x="2571" y="755"/>
                  <a:pt x="2571" y="755"/>
                  <a:pt x="2571" y="755"/>
                </a:cubicBezTo>
                <a:cubicBezTo>
                  <a:pt x="2571" y="777"/>
                  <a:pt x="2571" y="777"/>
                  <a:pt x="2571" y="777"/>
                </a:cubicBezTo>
                <a:cubicBezTo>
                  <a:pt x="2553" y="776"/>
                  <a:pt x="2553" y="776"/>
                  <a:pt x="2553" y="776"/>
                </a:cubicBezTo>
                <a:cubicBezTo>
                  <a:pt x="2553" y="742"/>
                  <a:pt x="2553" y="742"/>
                  <a:pt x="2553" y="742"/>
                </a:cubicBezTo>
                <a:cubicBezTo>
                  <a:pt x="2547" y="742"/>
                  <a:pt x="2547" y="742"/>
                  <a:pt x="2547" y="742"/>
                </a:cubicBezTo>
                <a:cubicBezTo>
                  <a:pt x="2547" y="776"/>
                  <a:pt x="2547" y="776"/>
                  <a:pt x="2547" y="776"/>
                </a:cubicBezTo>
                <a:cubicBezTo>
                  <a:pt x="2478" y="773"/>
                  <a:pt x="2478" y="773"/>
                  <a:pt x="2478" y="773"/>
                </a:cubicBezTo>
                <a:cubicBezTo>
                  <a:pt x="2438" y="743"/>
                  <a:pt x="2438" y="743"/>
                  <a:pt x="2438" y="743"/>
                </a:cubicBezTo>
                <a:cubicBezTo>
                  <a:pt x="2432" y="743"/>
                  <a:pt x="2426" y="743"/>
                  <a:pt x="2420" y="743"/>
                </a:cubicBezTo>
                <a:cubicBezTo>
                  <a:pt x="2420" y="456"/>
                  <a:pt x="2420" y="456"/>
                  <a:pt x="2420" y="456"/>
                </a:cubicBezTo>
                <a:cubicBezTo>
                  <a:pt x="2395" y="433"/>
                  <a:pt x="2362" y="422"/>
                  <a:pt x="2328" y="422"/>
                </a:cubicBezTo>
                <a:cubicBezTo>
                  <a:pt x="2295" y="422"/>
                  <a:pt x="2261" y="433"/>
                  <a:pt x="2237" y="456"/>
                </a:cubicBezTo>
                <a:cubicBezTo>
                  <a:pt x="2237" y="777"/>
                  <a:pt x="2237" y="777"/>
                  <a:pt x="2237" y="777"/>
                </a:cubicBezTo>
                <a:cubicBezTo>
                  <a:pt x="2194" y="779"/>
                  <a:pt x="2194" y="779"/>
                  <a:pt x="2194" y="779"/>
                </a:cubicBezTo>
                <a:cubicBezTo>
                  <a:pt x="2194" y="735"/>
                  <a:pt x="2194" y="735"/>
                  <a:pt x="2194" y="735"/>
                </a:cubicBezTo>
                <a:cubicBezTo>
                  <a:pt x="2187" y="735"/>
                  <a:pt x="2187" y="735"/>
                  <a:pt x="2187" y="735"/>
                </a:cubicBezTo>
                <a:cubicBezTo>
                  <a:pt x="2187" y="780"/>
                  <a:pt x="2187" y="780"/>
                  <a:pt x="2187" y="780"/>
                </a:cubicBezTo>
                <a:cubicBezTo>
                  <a:pt x="2168" y="780"/>
                  <a:pt x="2168" y="780"/>
                  <a:pt x="2168" y="780"/>
                </a:cubicBezTo>
                <a:cubicBezTo>
                  <a:pt x="2168" y="754"/>
                  <a:pt x="2168" y="754"/>
                  <a:pt x="2168" y="754"/>
                </a:cubicBezTo>
                <a:cubicBezTo>
                  <a:pt x="2162" y="754"/>
                  <a:pt x="2162" y="754"/>
                  <a:pt x="2162" y="754"/>
                </a:cubicBezTo>
                <a:cubicBezTo>
                  <a:pt x="2162" y="781"/>
                  <a:pt x="2162" y="781"/>
                  <a:pt x="2162" y="781"/>
                </a:cubicBezTo>
                <a:cubicBezTo>
                  <a:pt x="2152" y="781"/>
                  <a:pt x="2152" y="781"/>
                  <a:pt x="2152" y="781"/>
                </a:cubicBezTo>
                <a:cubicBezTo>
                  <a:pt x="2152" y="317"/>
                  <a:pt x="2152" y="317"/>
                  <a:pt x="2152" y="317"/>
                </a:cubicBezTo>
                <a:cubicBezTo>
                  <a:pt x="2120" y="317"/>
                  <a:pt x="2120" y="317"/>
                  <a:pt x="2120" y="317"/>
                </a:cubicBezTo>
                <a:cubicBezTo>
                  <a:pt x="2120" y="290"/>
                  <a:pt x="2120" y="290"/>
                  <a:pt x="2120" y="290"/>
                </a:cubicBezTo>
                <a:cubicBezTo>
                  <a:pt x="2129" y="290"/>
                  <a:pt x="2129" y="290"/>
                  <a:pt x="2129" y="290"/>
                </a:cubicBezTo>
                <a:cubicBezTo>
                  <a:pt x="2129" y="283"/>
                  <a:pt x="2129" y="283"/>
                  <a:pt x="2129" y="283"/>
                </a:cubicBezTo>
                <a:cubicBezTo>
                  <a:pt x="2120" y="283"/>
                  <a:pt x="2120" y="283"/>
                  <a:pt x="2120" y="283"/>
                </a:cubicBezTo>
                <a:cubicBezTo>
                  <a:pt x="2120" y="217"/>
                  <a:pt x="2120" y="217"/>
                  <a:pt x="2120" y="217"/>
                </a:cubicBezTo>
                <a:cubicBezTo>
                  <a:pt x="2113" y="217"/>
                  <a:pt x="2113" y="217"/>
                  <a:pt x="2113" y="217"/>
                </a:cubicBezTo>
                <a:cubicBezTo>
                  <a:pt x="2113" y="283"/>
                  <a:pt x="2113" y="283"/>
                  <a:pt x="2113" y="283"/>
                </a:cubicBezTo>
                <a:cubicBezTo>
                  <a:pt x="2104" y="283"/>
                  <a:pt x="2104" y="283"/>
                  <a:pt x="2104" y="283"/>
                </a:cubicBezTo>
                <a:cubicBezTo>
                  <a:pt x="2104" y="290"/>
                  <a:pt x="2104" y="290"/>
                  <a:pt x="2104" y="290"/>
                </a:cubicBezTo>
                <a:cubicBezTo>
                  <a:pt x="2113" y="290"/>
                  <a:pt x="2113" y="290"/>
                  <a:pt x="2113" y="290"/>
                </a:cubicBezTo>
                <a:cubicBezTo>
                  <a:pt x="2113" y="317"/>
                  <a:pt x="2113" y="317"/>
                  <a:pt x="2113" y="317"/>
                </a:cubicBezTo>
                <a:cubicBezTo>
                  <a:pt x="2007" y="317"/>
                  <a:pt x="2007" y="317"/>
                  <a:pt x="2007" y="317"/>
                </a:cubicBezTo>
                <a:cubicBezTo>
                  <a:pt x="2007" y="287"/>
                  <a:pt x="2007" y="287"/>
                  <a:pt x="2007" y="287"/>
                </a:cubicBezTo>
                <a:cubicBezTo>
                  <a:pt x="1962" y="287"/>
                  <a:pt x="1962" y="287"/>
                  <a:pt x="1962" y="287"/>
                </a:cubicBezTo>
                <a:cubicBezTo>
                  <a:pt x="1962" y="317"/>
                  <a:pt x="1962" y="317"/>
                  <a:pt x="1962" y="317"/>
                </a:cubicBezTo>
                <a:cubicBezTo>
                  <a:pt x="1946" y="317"/>
                  <a:pt x="1946" y="317"/>
                  <a:pt x="1946" y="317"/>
                </a:cubicBezTo>
                <a:cubicBezTo>
                  <a:pt x="1946" y="254"/>
                  <a:pt x="1946" y="254"/>
                  <a:pt x="1946" y="254"/>
                </a:cubicBezTo>
                <a:cubicBezTo>
                  <a:pt x="1940" y="254"/>
                  <a:pt x="1940" y="254"/>
                  <a:pt x="1940" y="254"/>
                </a:cubicBezTo>
                <a:cubicBezTo>
                  <a:pt x="1940" y="317"/>
                  <a:pt x="1940" y="317"/>
                  <a:pt x="1940" y="317"/>
                </a:cubicBezTo>
                <a:cubicBezTo>
                  <a:pt x="1919" y="317"/>
                  <a:pt x="1919" y="317"/>
                  <a:pt x="1919" y="317"/>
                </a:cubicBezTo>
                <a:cubicBezTo>
                  <a:pt x="1919" y="831"/>
                  <a:pt x="1919" y="831"/>
                  <a:pt x="1919" y="831"/>
                </a:cubicBezTo>
                <a:cubicBezTo>
                  <a:pt x="1908" y="817"/>
                  <a:pt x="1908" y="817"/>
                  <a:pt x="1908" y="817"/>
                </a:cubicBezTo>
                <a:cubicBezTo>
                  <a:pt x="1872" y="817"/>
                  <a:pt x="1872" y="817"/>
                  <a:pt x="1872" y="817"/>
                </a:cubicBezTo>
                <a:cubicBezTo>
                  <a:pt x="1872" y="655"/>
                  <a:pt x="1872" y="655"/>
                  <a:pt x="1872" y="655"/>
                </a:cubicBezTo>
                <a:cubicBezTo>
                  <a:pt x="1867" y="654"/>
                  <a:pt x="1861" y="654"/>
                  <a:pt x="1856" y="654"/>
                </a:cubicBezTo>
                <a:cubicBezTo>
                  <a:pt x="1856" y="637"/>
                  <a:pt x="1856" y="637"/>
                  <a:pt x="1856" y="637"/>
                </a:cubicBezTo>
                <a:cubicBezTo>
                  <a:pt x="1830" y="637"/>
                  <a:pt x="1830" y="637"/>
                  <a:pt x="1830" y="637"/>
                </a:cubicBezTo>
                <a:cubicBezTo>
                  <a:pt x="1830" y="653"/>
                  <a:pt x="1830" y="653"/>
                  <a:pt x="1830" y="653"/>
                </a:cubicBezTo>
                <a:cubicBezTo>
                  <a:pt x="1810" y="653"/>
                  <a:pt x="1789" y="653"/>
                  <a:pt x="1768" y="653"/>
                </a:cubicBezTo>
                <a:cubicBezTo>
                  <a:pt x="1768" y="618"/>
                  <a:pt x="1768" y="618"/>
                  <a:pt x="1768" y="618"/>
                </a:cubicBezTo>
                <a:cubicBezTo>
                  <a:pt x="1764" y="618"/>
                  <a:pt x="1764" y="618"/>
                  <a:pt x="1764" y="618"/>
                </a:cubicBezTo>
                <a:cubicBezTo>
                  <a:pt x="1764" y="653"/>
                  <a:pt x="1764" y="653"/>
                  <a:pt x="1764" y="653"/>
                </a:cubicBezTo>
                <a:cubicBezTo>
                  <a:pt x="1767" y="653"/>
                  <a:pt x="1767" y="653"/>
                  <a:pt x="1767" y="653"/>
                </a:cubicBezTo>
                <a:cubicBezTo>
                  <a:pt x="1756" y="653"/>
                  <a:pt x="1745" y="653"/>
                  <a:pt x="1734" y="654"/>
                </a:cubicBezTo>
                <a:cubicBezTo>
                  <a:pt x="1734" y="637"/>
                  <a:pt x="1734" y="637"/>
                  <a:pt x="1734" y="637"/>
                </a:cubicBezTo>
                <a:cubicBezTo>
                  <a:pt x="1726" y="637"/>
                  <a:pt x="1726" y="637"/>
                  <a:pt x="1726" y="637"/>
                </a:cubicBezTo>
                <a:cubicBezTo>
                  <a:pt x="1726" y="551"/>
                  <a:pt x="1726" y="551"/>
                  <a:pt x="1726" y="551"/>
                </a:cubicBezTo>
                <a:cubicBezTo>
                  <a:pt x="1514" y="618"/>
                  <a:pt x="1514" y="618"/>
                  <a:pt x="1514" y="618"/>
                </a:cubicBezTo>
                <a:cubicBezTo>
                  <a:pt x="1514" y="660"/>
                  <a:pt x="1514" y="660"/>
                  <a:pt x="1514" y="660"/>
                </a:cubicBezTo>
                <a:cubicBezTo>
                  <a:pt x="1489" y="660"/>
                  <a:pt x="1489" y="660"/>
                  <a:pt x="1489" y="660"/>
                </a:cubicBezTo>
                <a:cubicBezTo>
                  <a:pt x="1489" y="91"/>
                  <a:pt x="1489" y="91"/>
                  <a:pt x="1489" y="91"/>
                </a:cubicBezTo>
                <a:cubicBezTo>
                  <a:pt x="1452" y="91"/>
                  <a:pt x="1452" y="91"/>
                  <a:pt x="1452" y="91"/>
                </a:cubicBezTo>
                <a:cubicBezTo>
                  <a:pt x="1452" y="0"/>
                  <a:pt x="1452" y="0"/>
                  <a:pt x="1452" y="0"/>
                </a:cubicBezTo>
                <a:cubicBezTo>
                  <a:pt x="1394" y="0"/>
                  <a:pt x="1331" y="0"/>
                  <a:pt x="1274" y="0"/>
                </a:cubicBezTo>
                <a:cubicBezTo>
                  <a:pt x="1274" y="91"/>
                  <a:pt x="1274" y="91"/>
                  <a:pt x="1274" y="91"/>
                </a:cubicBezTo>
                <a:cubicBezTo>
                  <a:pt x="1237" y="91"/>
                  <a:pt x="1237" y="91"/>
                  <a:pt x="1237" y="91"/>
                </a:cubicBezTo>
                <a:cubicBezTo>
                  <a:pt x="1237" y="660"/>
                  <a:pt x="1237" y="660"/>
                  <a:pt x="1237" y="660"/>
                </a:cubicBezTo>
                <a:cubicBezTo>
                  <a:pt x="1130" y="660"/>
                  <a:pt x="1130" y="660"/>
                  <a:pt x="1130" y="660"/>
                </a:cubicBezTo>
                <a:cubicBezTo>
                  <a:pt x="1101" y="728"/>
                  <a:pt x="1101" y="728"/>
                  <a:pt x="1101" y="728"/>
                </a:cubicBezTo>
                <a:cubicBezTo>
                  <a:pt x="1118" y="727"/>
                  <a:pt x="1118" y="727"/>
                  <a:pt x="1118" y="727"/>
                </a:cubicBezTo>
                <a:cubicBezTo>
                  <a:pt x="1118" y="806"/>
                  <a:pt x="1118" y="886"/>
                  <a:pt x="1118" y="965"/>
                </a:cubicBezTo>
                <a:cubicBezTo>
                  <a:pt x="1097" y="981"/>
                  <a:pt x="1097" y="981"/>
                  <a:pt x="1097" y="981"/>
                </a:cubicBezTo>
                <a:cubicBezTo>
                  <a:pt x="1096" y="981"/>
                  <a:pt x="1096" y="981"/>
                  <a:pt x="1096" y="981"/>
                </a:cubicBezTo>
                <a:cubicBezTo>
                  <a:pt x="1096" y="522"/>
                  <a:pt x="1096" y="522"/>
                  <a:pt x="1096" y="522"/>
                </a:cubicBezTo>
                <a:cubicBezTo>
                  <a:pt x="1070" y="522"/>
                  <a:pt x="1070" y="522"/>
                  <a:pt x="1070" y="522"/>
                </a:cubicBezTo>
                <a:cubicBezTo>
                  <a:pt x="1070" y="500"/>
                  <a:pt x="1070" y="500"/>
                  <a:pt x="1070" y="500"/>
                </a:cubicBezTo>
                <a:cubicBezTo>
                  <a:pt x="1028" y="500"/>
                  <a:pt x="1028" y="500"/>
                  <a:pt x="1028" y="500"/>
                </a:cubicBezTo>
                <a:cubicBezTo>
                  <a:pt x="1028" y="522"/>
                  <a:pt x="1028" y="522"/>
                  <a:pt x="1028" y="522"/>
                </a:cubicBezTo>
                <a:cubicBezTo>
                  <a:pt x="954" y="522"/>
                  <a:pt x="954" y="522"/>
                  <a:pt x="954" y="522"/>
                </a:cubicBezTo>
                <a:cubicBezTo>
                  <a:pt x="954" y="468"/>
                  <a:pt x="954" y="468"/>
                  <a:pt x="954" y="468"/>
                </a:cubicBezTo>
                <a:cubicBezTo>
                  <a:pt x="947" y="468"/>
                  <a:pt x="947" y="468"/>
                  <a:pt x="947" y="468"/>
                </a:cubicBezTo>
                <a:cubicBezTo>
                  <a:pt x="947" y="522"/>
                  <a:pt x="947" y="522"/>
                  <a:pt x="947" y="522"/>
                </a:cubicBezTo>
                <a:cubicBezTo>
                  <a:pt x="918" y="522"/>
                  <a:pt x="918" y="522"/>
                  <a:pt x="918" y="522"/>
                </a:cubicBezTo>
                <a:cubicBezTo>
                  <a:pt x="918" y="495"/>
                  <a:pt x="918" y="495"/>
                  <a:pt x="918" y="495"/>
                </a:cubicBezTo>
                <a:cubicBezTo>
                  <a:pt x="911" y="495"/>
                  <a:pt x="911" y="495"/>
                  <a:pt x="911" y="495"/>
                </a:cubicBezTo>
                <a:cubicBezTo>
                  <a:pt x="911" y="522"/>
                  <a:pt x="911" y="522"/>
                  <a:pt x="911" y="522"/>
                </a:cubicBezTo>
                <a:cubicBezTo>
                  <a:pt x="861" y="522"/>
                  <a:pt x="861" y="522"/>
                  <a:pt x="861" y="522"/>
                </a:cubicBezTo>
                <a:cubicBezTo>
                  <a:pt x="861" y="926"/>
                  <a:pt x="861" y="926"/>
                  <a:pt x="861" y="926"/>
                </a:cubicBezTo>
                <a:cubicBezTo>
                  <a:pt x="763" y="926"/>
                  <a:pt x="763" y="926"/>
                  <a:pt x="763" y="926"/>
                </a:cubicBezTo>
                <a:cubicBezTo>
                  <a:pt x="763" y="917"/>
                  <a:pt x="763" y="917"/>
                  <a:pt x="763" y="917"/>
                </a:cubicBezTo>
                <a:cubicBezTo>
                  <a:pt x="726" y="917"/>
                  <a:pt x="726" y="917"/>
                  <a:pt x="726" y="917"/>
                </a:cubicBezTo>
                <a:cubicBezTo>
                  <a:pt x="726" y="926"/>
                  <a:pt x="726" y="926"/>
                  <a:pt x="726" y="926"/>
                </a:cubicBezTo>
                <a:cubicBezTo>
                  <a:pt x="695" y="926"/>
                  <a:pt x="695" y="926"/>
                  <a:pt x="695" y="926"/>
                </a:cubicBezTo>
                <a:cubicBezTo>
                  <a:pt x="695" y="883"/>
                  <a:pt x="695" y="883"/>
                  <a:pt x="695" y="883"/>
                </a:cubicBezTo>
                <a:cubicBezTo>
                  <a:pt x="690" y="883"/>
                  <a:pt x="690" y="883"/>
                  <a:pt x="690" y="883"/>
                </a:cubicBezTo>
                <a:cubicBezTo>
                  <a:pt x="690" y="926"/>
                  <a:pt x="690" y="926"/>
                  <a:pt x="690" y="926"/>
                </a:cubicBezTo>
                <a:cubicBezTo>
                  <a:pt x="653" y="926"/>
                  <a:pt x="653" y="926"/>
                  <a:pt x="653" y="926"/>
                </a:cubicBezTo>
                <a:cubicBezTo>
                  <a:pt x="653" y="926"/>
                  <a:pt x="653" y="926"/>
                  <a:pt x="653" y="926"/>
                </a:cubicBezTo>
                <a:cubicBezTo>
                  <a:pt x="681" y="924"/>
                  <a:pt x="681" y="924"/>
                  <a:pt x="681" y="924"/>
                </a:cubicBezTo>
                <a:cubicBezTo>
                  <a:pt x="631" y="831"/>
                  <a:pt x="631" y="831"/>
                  <a:pt x="631" y="831"/>
                </a:cubicBezTo>
                <a:cubicBezTo>
                  <a:pt x="616" y="831"/>
                  <a:pt x="616" y="831"/>
                  <a:pt x="616" y="831"/>
                </a:cubicBezTo>
                <a:cubicBezTo>
                  <a:pt x="615" y="811"/>
                  <a:pt x="615" y="811"/>
                  <a:pt x="615" y="811"/>
                </a:cubicBezTo>
                <a:cubicBezTo>
                  <a:pt x="627" y="811"/>
                  <a:pt x="627" y="811"/>
                  <a:pt x="627" y="811"/>
                </a:cubicBezTo>
                <a:cubicBezTo>
                  <a:pt x="599" y="767"/>
                  <a:pt x="599" y="767"/>
                  <a:pt x="599" y="767"/>
                </a:cubicBezTo>
                <a:cubicBezTo>
                  <a:pt x="509" y="767"/>
                  <a:pt x="509" y="767"/>
                  <a:pt x="509" y="767"/>
                </a:cubicBezTo>
                <a:cubicBezTo>
                  <a:pt x="509" y="766"/>
                  <a:pt x="509" y="766"/>
                  <a:pt x="509" y="766"/>
                </a:cubicBezTo>
                <a:cubicBezTo>
                  <a:pt x="509" y="763"/>
                  <a:pt x="509" y="763"/>
                  <a:pt x="509" y="763"/>
                </a:cubicBezTo>
                <a:cubicBezTo>
                  <a:pt x="483" y="742"/>
                  <a:pt x="483" y="742"/>
                  <a:pt x="483" y="742"/>
                </a:cubicBezTo>
                <a:cubicBezTo>
                  <a:pt x="454" y="765"/>
                  <a:pt x="454" y="765"/>
                  <a:pt x="454" y="765"/>
                </a:cubicBezTo>
                <a:cubicBezTo>
                  <a:pt x="454" y="765"/>
                  <a:pt x="454" y="765"/>
                  <a:pt x="454" y="765"/>
                </a:cubicBezTo>
                <a:cubicBezTo>
                  <a:pt x="454" y="767"/>
                  <a:pt x="454" y="767"/>
                  <a:pt x="454" y="767"/>
                </a:cubicBezTo>
                <a:cubicBezTo>
                  <a:pt x="366" y="767"/>
                  <a:pt x="366" y="767"/>
                  <a:pt x="366" y="767"/>
                </a:cubicBezTo>
                <a:cubicBezTo>
                  <a:pt x="334" y="811"/>
                  <a:pt x="334" y="811"/>
                  <a:pt x="334" y="811"/>
                </a:cubicBezTo>
                <a:cubicBezTo>
                  <a:pt x="341" y="812"/>
                  <a:pt x="341" y="812"/>
                  <a:pt x="341" y="812"/>
                </a:cubicBezTo>
                <a:cubicBezTo>
                  <a:pt x="341" y="832"/>
                  <a:pt x="341" y="832"/>
                  <a:pt x="341" y="832"/>
                </a:cubicBezTo>
                <a:cubicBezTo>
                  <a:pt x="317" y="832"/>
                  <a:pt x="317" y="832"/>
                  <a:pt x="317" y="832"/>
                </a:cubicBezTo>
                <a:cubicBezTo>
                  <a:pt x="290" y="897"/>
                  <a:pt x="290" y="897"/>
                  <a:pt x="290" y="897"/>
                </a:cubicBezTo>
                <a:cubicBezTo>
                  <a:pt x="170" y="897"/>
                  <a:pt x="170" y="897"/>
                  <a:pt x="170" y="897"/>
                </a:cubicBezTo>
                <a:cubicBezTo>
                  <a:pt x="132" y="975"/>
                  <a:pt x="132" y="975"/>
                  <a:pt x="132" y="975"/>
                </a:cubicBezTo>
                <a:cubicBezTo>
                  <a:pt x="156" y="975"/>
                  <a:pt x="156" y="975"/>
                  <a:pt x="156" y="975"/>
                </a:cubicBezTo>
                <a:cubicBezTo>
                  <a:pt x="156" y="1007"/>
                  <a:pt x="156" y="1007"/>
                  <a:pt x="156" y="1007"/>
                </a:cubicBezTo>
                <a:cubicBezTo>
                  <a:pt x="24" y="1007"/>
                  <a:pt x="24" y="1007"/>
                  <a:pt x="24" y="1007"/>
                </a:cubicBezTo>
                <a:cubicBezTo>
                  <a:pt x="0" y="1037"/>
                  <a:pt x="0" y="1037"/>
                  <a:pt x="0" y="1037"/>
                </a:cubicBezTo>
                <a:cubicBezTo>
                  <a:pt x="0" y="1064"/>
                  <a:pt x="0" y="1064"/>
                  <a:pt x="0" y="1064"/>
                </a:cubicBezTo>
                <a:cubicBezTo>
                  <a:pt x="0" y="1283"/>
                  <a:pt x="0" y="1283"/>
                  <a:pt x="0" y="1283"/>
                </a:cubicBezTo>
                <a:cubicBezTo>
                  <a:pt x="844" y="1283"/>
                  <a:pt x="1680" y="1283"/>
                  <a:pt x="2507" y="1283"/>
                </a:cubicBezTo>
                <a:cubicBezTo>
                  <a:pt x="2507" y="1282"/>
                  <a:pt x="2507" y="1280"/>
                  <a:pt x="2507" y="1279"/>
                </a:cubicBezTo>
                <a:cubicBezTo>
                  <a:pt x="2514" y="1279"/>
                  <a:pt x="2521" y="1279"/>
                  <a:pt x="2528" y="1279"/>
                </a:cubicBezTo>
                <a:cubicBezTo>
                  <a:pt x="2528" y="1280"/>
                  <a:pt x="2528" y="1282"/>
                  <a:pt x="2528" y="1283"/>
                </a:cubicBezTo>
                <a:cubicBezTo>
                  <a:pt x="2787" y="1283"/>
                  <a:pt x="3045" y="1283"/>
                  <a:pt x="3302" y="1283"/>
                </a:cubicBezTo>
                <a:cubicBezTo>
                  <a:pt x="3302" y="1245"/>
                  <a:pt x="3302" y="1207"/>
                  <a:pt x="3302" y="1170"/>
                </a:cubicBezTo>
                <a:cubicBezTo>
                  <a:pt x="3306" y="1170"/>
                  <a:pt x="3311" y="1170"/>
                  <a:pt x="3315" y="1170"/>
                </a:cubicBezTo>
                <a:cubicBezTo>
                  <a:pt x="3315" y="1207"/>
                  <a:pt x="3315" y="1245"/>
                  <a:pt x="3315" y="1283"/>
                </a:cubicBezTo>
                <a:cubicBezTo>
                  <a:pt x="3489" y="1283"/>
                  <a:pt x="3663" y="1283"/>
                  <a:pt x="3836" y="1283"/>
                </a:cubicBezTo>
                <a:cubicBezTo>
                  <a:pt x="3836" y="1221"/>
                  <a:pt x="3836" y="1221"/>
                  <a:pt x="3836" y="1221"/>
                </a:cubicBezTo>
                <a:cubicBezTo>
                  <a:pt x="3836" y="1085"/>
                  <a:pt x="3836" y="1085"/>
                  <a:pt x="3836" y="1085"/>
                </a:cubicBezTo>
                <a:cubicBezTo>
                  <a:pt x="3836" y="1062"/>
                  <a:pt x="3836" y="1062"/>
                  <a:pt x="3836" y="1062"/>
                </a:cubicBezTo>
                <a:lnTo>
                  <a:pt x="3816" y="1035"/>
                </a:lnTo>
                <a:close/>
                <a:moveTo>
                  <a:pt x="25" y="1090"/>
                </a:moveTo>
                <a:cubicBezTo>
                  <a:pt x="150" y="1090"/>
                  <a:pt x="150" y="1090"/>
                  <a:pt x="150" y="1090"/>
                </a:cubicBezTo>
                <a:cubicBezTo>
                  <a:pt x="150" y="1107"/>
                  <a:pt x="150" y="1107"/>
                  <a:pt x="150" y="1107"/>
                </a:cubicBezTo>
                <a:cubicBezTo>
                  <a:pt x="25" y="1107"/>
                  <a:pt x="25" y="1107"/>
                  <a:pt x="25" y="1107"/>
                </a:cubicBezTo>
                <a:lnTo>
                  <a:pt x="25" y="1090"/>
                </a:lnTo>
                <a:close/>
                <a:moveTo>
                  <a:pt x="150" y="1178"/>
                </a:moveTo>
                <a:cubicBezTo>
                  <a:pt x="132" y="1178"/>
                  <a:pt x="114" y="1178"/>
                  <a:pt x="96" y="1178"/>
                </a:cubicBezTo>
                <a:cubicBezTo>
                  <a:pt x="96" y="1173"/>
                  <a:pt x="96" y="1167"/>
                  <a:pt x="96" y="1161"/>
                </a:cubicBezTo>
                <a:cubicBezTo>
                  <a:pt x="114" y="1161"/>
                  <a:pt x="132" y="1161"/>
                  <a:pt x="150" y="1161"/>
                </a:cubicBezTo>
                <a:cubicBezTo>
                  <a:pt x="150" y="1167"/>
                  <a:pt x="150" y="1173"/>
                  <a:pt x="150" y="1178"/>
                </a:cubicBezTo>
                <a:close/>
                <a:moveTo>
                  <a:pt x="150" y="1143"/>
                </a:moveTo>
                <a:cubicBezTo>
                  <a:pt x="117" y="1143"/>
                  <a:pt x="84" y="1143"/>
                  <a:pt x="51" y="1143"/>
                </a:cubicBezTo>
                <a:cubicBezTo>
                  <a:pt x="51" y="1137"/>
                  <a:pt x="51" y="1131"/>
                  <a:pt x="51" y="1125"/>
                </a:cubicBezTo>
                <a:cubicBezTo>
                  <a:pt x="84" y="1125"/>
                  <a:pt x="117" y="1125"/>
                  <a:pt x="150" y="1125"/>
                </a:cubicBezTo>
                <a:cubicBezTo>
                  <a:pt x="150" y="1131"/>
                  <a:pt x="150" y="1137"/>
                  <a:pt x="150" y="1143"/>
                </a:cubicBezTo>
                <a:close/>
                <a:moveTo>
                  <a:pt x="181" y="1007"/>
                </a:moveTo>
                <a:cubicBezTo>
                  <a:pt x="228" y="1007"/>
                  <a:pt x="228" y="1007"/>
                  <a:pt x="228" y="1007"/>
                </a:cubicBezTo>
                <a:cubicBezTo>
                  <a:pt x="228" y="1041"/>
                  <a:pt x="228" y="1041"/>
                  <a:pt x="228" y="1041"/>
                </a:cubicBezTo>
                <a:cubicBezTo>
                  <a:pt x="181" y="1041"/>
                  <a:pt x="181" y="1041"/>
                  <a:pt x="181" y="1041"/>
                </a:cubicBezTo>
                <a:lnTo>
                  <a:pt x="181" y="1007"/>
                </a:lnTo>
                <a:close/>
                <a:moveTo>
                  <a:pt x="228" y="1214"/>
                </a:moveTo>
                <a:cubicBezTo>
                  <a:pt x="181" y="1214"/>
                  <a:pt x="181" y="1214"/>
                  <a:pt x="181" y="1214"/>
                </a:cubicBezTo>
                <a:cubicBezTo>
                  <a:pt x="181" y="1180"/>
                  <a:pt x="181" y="1180"/>
                  <a:pt x="181" y="1180"/>
                </a:cubicBezTo>
                <a:cubicBezTo>
                  <a:pt x="228" y="1180"/>
                  <a:pt x="228" y="1180"/>
                  <a:pt x="228" y="1180"/>
                </a:cubicBezTo>
                <a:lnTo>
                  <a:pt x="228" y="1214"/>
                </a:lnTo>
                <a:close/>
                <a:moveTo>
                  <a:pt x="228" y="1099"/>
                </a:moveTo>
                <a:cubicBezTo>
                  <a:pt x="212" y="1099"/>
                  <a:pt x="197" y="1099"/>
                  <a:pt x="181" y="1099"/>
                </a:cubicBezTo>
                <a:cubicBezTo>
                  <a:pt x="181" y="1087"/>
                  <a:pt x="181" y="1076"/>
                  <a:pt x="181" y="1064"/>
                </a:cubicBezTo>
                <a:cubicBezTo>
                  <a:pt x="197" y="1064"/>
                  <a:pt x="212" y="1064"/>
                  <a:pt x="228" y="1064"/>
                </a:cubicBezTo>
                <a:cubicBezTo>
                  <a:pt x="228" y="1076"/>
                  <a:pt x="228" y="1087"/>
                  <a:pt x="228" y="1099"/>
                </a:cubicBezTo>
                <a:close/>
                <a:moveTo>
                  <a:pt x="290" y="1041"/>
                </a:moveTo>
                <a:cubicBezTo>
                  <a:pt x="244" y="1041"/>
                  <a:pt x="244" y="1041"/>
                  <a:pt x="244" y="1041"/>
                </a:cubicBezTo>
                <a:cubicBezTo>
                  <a:pt x="244" y="1007"/>
                  <a:pt x="244" y="1007"/>
                  <a:pt x="244" y="1007"/>
                </a:cubicBezTo>
                <a:cubicBezTo>
                  <a:pt x="290" y="1007"/>
                  <a:pt x="290" y="1007"/>
                  <a:pt x="290" y="1007"/>
                </a:cubicBezTo>
                <a:lnTo>
                  <a:pt x="290" y="1041"/>
                </a:lnTo>
                <a:close/>
                <a:moveTo>
                  <a:pt x="555" y="825"/>
                </a:moveTo>
                <a:cubicBezTo>
                  <a:pt x="567" y="825"/>
                  <a:pt x="580" y="825"/>
                  <a:pt x="592" y="825"/>
                </a:cubicBezTo>
                <a:cubicBezTo>
                  <a:pt x="592" y="834"/>
                  <a:pt x="592" y="843"/>
                  <a:pt x="592" y="853"/>
                </a:cubicBezTo>
                <a:cubicBezTo>
                  <a:pt x="580" y="853"/>
                  <a:pt x="567" y="853"/>
                  <a:pt x="555" y="853"/>
                </a:cubicBezTo>
                <a:cubicBezTo>
                  <a:pt x="555" y="843"/>
                  <a:pt x="555" y="834"/>
                  <a:pt x="555" y="825"/>
                </a:cubicBezTo>
                <a:close/>
                <a:moveTo>
                  <a:pt x="468" y="764"/>
                </a:moveTo>
                <a:cubicBezTo>
                  <a:pt x="478" y="764"/>
                  <a:pt x="487" y="764"/>
                  <a:pt x="496" y="764"/>
                </a:cubicBezTo>
                <a:cubicBezTo>
                  <a:pt x="496" y="771"/>
                  <a:pt x="496" y="777"/>
                  <a:pt x="496" y="784"/>
                </a:cubicBezTo>
                <a:cubicBezTo>
                  <a:pt x="487" y="784"/>
                  <a:pt x="478" y="784"/>
                  <a:pt x="468" y="784"/>
                </a:cubicBezTo>
                <a:cubicBezTo>
                  <a:pt x="468" y="777"/>
                  <a:pt x="468" y="771"/>
                  <a:pt x="468" y="764"/>
                </a:cubicBezTo>
                <a:close/>
                <a:moveTo>
                  <a:pt x="339" y="965"/>
                </a:moveTo>
                <a:cubicBezTo>
                  <a:pt x="364" y="965"/>
                  <a:pt x="389" y="965"/>
                  <a:pt x="414" y="965"/>
                </a:cubicBezTo>
                <a:cubicBezTo>
                  <a:pt x="414" y="980"/>
                  <a:pt x="414" y="996"/>
                  <a:pt x="414" y="1011"/>
                </a:cubicBezTo>
                <a:cubicBezTo>
                  <a:pt x="389" y="1011"/>
                  <a:pt x="364" y="1011"/>
                  <a:pt x="339" y="1011"/>
                </a:cubicBezTo>
                <a:cubicBezTo>
                  <a:pt x="339" y="996"/>
                  <a:pt x="339" y="980"/>
                  <a:pt x="339" y="965"/>
                </a:cubicBezTo>
                <a:close/>
                <a:moveTo>
                  <a:pt x="414" y="1079"/>
                </a:moveTo>
                <a:cubicBezTo>
                  <a:pt x="389" y="1079"/>
                  <a:pt x="364" y="1079"/>
                  <a:pt x="339" y="1079"/>
                </a:cubicBezTo>
                <a:cubicBezTo>
                  <a:pt x="339" y="1063"/>
                  <a:pt x="339" y="1048"/>
                  <a:pt x="339" y="1032"/>
                </a:cubicBezTo>
                <a:cubicBezTo>
                  <a:pt x="364" y="1032"/>
                  <a:pt x="389" y="1032"/>
                  <a:pt x="414" y="1032"/>
                </a:cubicBezTo>
                <a:cubicBezTo>
                  <a:pt x="414" y="1048"/>
                  <a:pt x="414" y="1063"/>
                  <a:pt x="414" y="1079"/>
                </a:cubicBezTo>
                <a:close/>
                <a:moveTo>
                  <a:pt x="430" y="825"/>
                </a:moveTo>
                <a:cubicBezTo>
                  <a:pt x="442" y="825"/>
                  <a:pt x="455" y="825"/>
                  <a:pt x="467" y="825"/>
                </a:cubicBezTo>
                <a:cubicBezTo>
                  <a:pt x="467" y="834"/>
                  <a:pt x="467" y="843"/>
                  <a:pt x="467" y="853"/>
                </a:cubicBezTo>
                <a:cubicBezTo>
                  <a:pt x="455" y="853"/>
                  <a:pt x="442" y="853"/>
                  <a:pt x="430" y="853"/>
                </a:cubicBezTo>
                <a:cubicBezTo>
                  <a:pt x="430" y="843"/>
                  <a:pt x="430" y="834"/>
                  <a:pt x="430" y="825"/>
                </a:cubicBezTo>
                <a:close/>
                <a:moveTo>
                  <a:pt x="442" y="965"/>
                </a:moveTo>
                <a:cubicBezTo>
                  <a:pt x="467" y="965"/>
                  <a:pt x="492" y="965"/>
                  <a:pt x="517" y="965"/>
                </a:cubicBezTo>
                <a:cubicBezTo>
                  <a:pt x="517" y="980"/>
                  <a:pt x="517" y="996"/>
                  <a:pt x="517" y="1011"/>
                </a:cubicBezTo>
                <a:cubicBezTo>
                  <a:pt x="492" y="1011"/>
                  <a:pt x="467" y="1011"/>
                  <a:pt x="442" y="1011"/>
                </a:cubicBezTo>
                <a:cubicBezTo>
                  <a:pt x="442" y="996"/>
                  <a:pt x="442" y="980"/>
                  <a:pt x="442" y="965"/>
                </a:cubicBezTo>
                <a:close/>
                <a:moveTo>
                  <a:pt x="517" y="1146"/>
                </a:moveTo>
                <a:cubicBezTo>
                  <a:pt x="492" y="1146"/>
                  <a:pt x="467" y="1146"/>
                  <a:pt x="442" y="1146"/>
                </a:cubicBezTo>
                <a:cubicBezTo>
                  <a:pt x="442" y="1131"/>
                  <a:pt x="442" y="1115"/>
                  <a:pt x="442" y="1100"/>
                </a:cubicBezTo>
                <a:cubicBezTo>
                  <a:pt x="467" y="1100"/>
                  <a:pt x="492" y="1100"/>
                  <a:pt x="517" y="1100"/>
                </a:cubicBezTo>
                <a:cubicBezTo>
                  <a:pt x="517" y="1115"/>
                  <a:pt x="517" y="1131"/>
                  <a:pt x="517" y="1146"/>
                </a:cubicBezTo>
                <a:close/>
                <a:moveTo>
                  <a:pt x="620" y="1214"/>
                </a:moveTo>
                <a:cubicBezTo>
                  <a:pt x="595" y="1214"/>
                  <a:pt x="570" y="1214"/>
                  <a:pt x="545" y="1214"/>
                </a:cubicBezTo>
                <a:cubicBezTo>
                  <a:pt x="545" y="1198"/>
                  <a:pt x="545" y="1183"/>
                  <a:pt x="545" y="1167"/>
                </a:cubicBezTo>
                <a:cubicBezTo>
                  <a:pt x="570" y="1167"/>
                  <a:pt x="595" y="1167"/>
                  <a:pt x="620" y="1167"/>
                </a:cubicBezTo>
                <a:cubicBezTo>
                  <a:pt x="620" y="1183"/>
                  <a:pt x="620" y="1198"/>
                  <a:pt x="620" y="1214"/>
                </a:cubicBezTo>
                <a:close/>
                <a:moveTo>
                  <a:pt x="620" y="1079"/>
                </a:moveTo>
                <a:cubicBezTo>
                  <a:pt x="595" y="1079"/>
                  <a:pt x="570" y="1079"/>
                  <a:pt x="545" y="1079"/>
                </a:cubicBezTo>
                <a:cubicBezTo>
                  <a:pt x="545" y="1063"/>
                  <a:pt x="545" y="1048"/>
                  <a:pt x="545" y="1032"/>
                </a:cubicBezTo>
                <a:cubicBezTo>
                  <a:pt x="570" y="1032"/>
                  <a:pt x="595" y="1032"/>
                  <a:pt x="620" y="1032"/>
                </a:cubicBezTo>
                <a:cubicBezTo>
                  <a:pt x="620" y="1048"/>
                  <a:pt x="620" y="1063"/>
                  <a:pt x="620" y="1079"/>
                </a:cubicBezTo>
                <a:close/>
                <a:moveTo>
                  <a:pt x="697" y="1009"/>
                </a:moveTo>
                <a:cubicBezTo>
                  <a:pt x="684" y="1009"/>
                  <a:pt x="671" y="1009"/>
                  <a:pt x="658" y="1009"/>
                </a:cubicBezTo>
                <a:cubicBezTo>
                  <a:pt x="658" y="1001"/>
                  <a:pt x="658" y="994"/>
                  <a:pt x="658" y="986"/>
                </a:cubicBezTo>
                <a:cubicBezTo>
                  <a:pt x="671" y="986"/>
                  <a:pt x="684" y="986"/>
                  <a:pt x="697" y="986"/>
                </a:cubicBezTo>
                <a:cubicBezTo>
                  <a:pt x="697" y="994"/>
                  <a:pt x="697" y="1001"/>
                  <a:pt x="697" y="1009"/>
                </a:cubicBezTo>
                <a:close/>
                <a:moveTo>
                  <a:pt x="766" y="1109"/>
                </a:moveTo>
                <a:cubicBezTo>
                  <a:pt x="753" y="1109"/>
                  <a:pt x="740" y="1109"/>
                  <a:pt x="727" y="1109"/>
                </a:cubicBezTo>
                <a:cubicBezTo>
                  <a:pt x="727" y="1101"/>
                  <a:pt x="727" y="1094"/>
                  <a:pt x="727" y="1086"/>
                </a:cubicBezTo>
                <a:cubicBezTo>
                  <a:pt x="740" y="1086"/>
                  <a:pt x="753" y="1086"/>
                  <a:pt x="766" y="1086"/>
                </a:cubicBezTo>
                <a:cubicBezTo>
                  <a:pt x="766" y="1094"/>
                  <a:pt x="766" y="1101"/>
                  <a:pt x="766" y="1109"/>
                </a:cubicBezTo>
                <a:close/>
                <a:moveTo>
                  <a:pt x="848" y="1159"/>
                </a:moveTo>
                <a:cubicBezTo>
                  <a:pt x="835" y="1159"/>
                  <a:pt x="822" y="1159"/>
                  <a:pt x="810" y="1159"/>
                </a:cubicBezTo>
                <a:cubicBezTo>
                  <a:pt x="810" y="1151"/>
                  <a:pt x="810" y="1144"/>
                  <a:pt x="810" y="1136"/>
                </a:cubicBezTo>
                <a:cubicBezTo>
                  <a:pt x="822" y="1136"/>
                  <a:pt x="835" y="1136"/>
                  <a:pt x="848" y="1136"/>
                </a:cubicBezTo>
                <a:cubicBezTo>
                  <a:pt x="848" y="1144"/>
                  <a:pt x="848" y="1151"/>
                  <a:pt x="848" y="1159"/>
                </a:cubicBezTo>
                <a:close/>
                <a:moveTo>
                  <a:pt x="848" y="1059"/>
                </a:moveTo>
                <a:cubicBezTo>
                  <a:pt x="835" y="1059"/>
                  <a:pt x="822" y="1059"/>
                  <a:pt x="810" y="1059"/>
                </a:cubicBezTo>
                <a:cubicBezTo>
                  <a:pt x="810" y="1051"/>
                  <a:pt x="810" y="1044"/>
                  <a:pt x="810" y="1036"/>
                </a:cubicBezTo>
                <a:cubicBezTo>
                  <a:pt x="822" y="1036"/>
                  <a:pt x="835" y="1036"/>
                  <a:pt x="848" y="1036"/>
                </a:cubicBezTo>
                <a:cubicBezTo>
                  <a:pt x="848" y="1044"/>
                  <a:pt x="848" y="1051"/>
                  <a:pt x="848" y="1059"/>
                </a:cubicBezTo>
                <a:close/>
                <a:moveTo>
                  <a:pt x="848" y="1009"/>
                </a:moveTo>
                <a:cubicBezTo>
                  <a:pt x="810" y="1009"/>
                  <a:pt x="810" y="1009"/>
                  <a:pt x="810" y="1009"/>
                </a:cubicBezTo>
                <a:cubicBezTo>
                  <a:pt x="810" y="986"/>
                  <a:pt x="810" y="986"/>
                  <a:pt x="810" y="986"/>
                </a:cubicBezTo>
                <a:cubicBezTo>
                  <a:pt x="848" y="986"/>
                  <a:pt x="848" y="986"/>
                  <a:pt x="848" y="986"/>
                </a:cubicBezTo>
                <a:lnTo>
                  <a:pt x="848" y="1009"/>
                </a:lnTo>
                <a:close/>
                <a:moveTo>
                  <a:pt x="900" y="582"/>
                </a:moveTo>
                <a:cubicBezTo>
                  <a:pt x="1052" y="582"/>
                  <a:pt x="1052" y="582"/>
                  <a:pt x="1052" y="582"/>
                </a:cubicBezTo>
                <a:cubicBezTo>
                  <a:pt x="1052" y="597"/>
                  <a:pt x="1052" y="597"/>
                  <a:pt x="1052" y="597"/>
                </a:cubicBezTo>
                <a:cubicBezTo>
                  <a:pt x="900" y="597"/>
                  <a:pt x="900" y="597"/>
                  <a:pt x="900" y="597"/>
                </a:cubicBezTo>
                <a:lnTo>
                  <a:pt x="900" y="582"/>
                </a:lnTo>
                <a:close/>
                <a:moveTo>
                  <a:pt x="1052" y="1160"/>
                </a:moveTo>
                <a:cubicBezTo>
                  <a:pt x="1023" y="1160"/>
                  <a:pt x="1023" y="1160"/>
                  <a:pt x="1023" y="1160"/>
                </a:cubicBezTo>
                <a:cubicBezTo>
                  <a:pt x="1023" y="1145"/>
                  <a:pt x="1023" y="1145"/>
                  <a:pt x="1023" y="1145"/>
                </a:cubicBezTo>
                <a:cubicBezTo>
                  <a:pt x="1052" y="1145"/>
                  <a:pt x="1052" y="1145"/>
                  <a:pt x="1052" y="1145"/>
                </a:cubicBezTo>
                <a:cubicBezTo>
                  <a:pt x="1052" y="1150"/>
                  <a:pt x="1052" y="1155"/>
                  <a:pt x="1052" y="1160"/>
                </a:cubicBezTo>
                <a:close/>
                <a:moveTo>
                  <a:pt x="1052" y="1113"/>
                </a:moveTo>
                <a:cubicBezTo>
                  <a:pt x="1023" y="1113"/>
                  <a:pt x="1023" y="1113"/>
                  <a:pt x="1023" y="1113"/>
                </a:cubicBezTo>
                <a:cubicBezTo>
                  <a:pt x="1023" y="1098"/>
                  <a:pt x="1023" y="1098"/>
                  <a:pt x="1023" y="1098"/>
                </a:cubicBezTo>
                <a:cubicBezTo>
                  <a:pt x="1052" y="1098"/>
                  <a:pt x="1052" y="1098"/>
                  <a:pt x="1052" y="1098"/>
                </a:cubicBezTo>
                <a:cubicBezTo>
                  <a:pt x="1052" y="1103"/>
                  <a:pt x="1052" y="1108"/>
                  <a:pt x="1052" y="1113"/>
                </a:cubicBezTo>
                <a:close/>
                <a:moveTo>
                  <a:pt x="1052" y="1066"/>
                </a:moveTo>
                <a:cubicBezTo>
                  <a:pt x="1023" y="1066"/>
                  <a:pt x="1023" y="1066"/>
                  <a:pt x="1023" y="1066"/>
                </a:cubicBezTo>
                <a:cubicBezTo>
                  <a:pt x="1023" y="1051"/>
                  <a:pt x="1023" y="1051"/>
                  <a:pt x="1023" y="1051"/>
                </a:cubicBezTo>
                <a:cubicBezTo>
                  <a:pt x="1052" y="1051"/>
                  <a:pt x="1052" y="1051"/>
                  <a:pt x="1052" y="1051"/>
                </a:cubicBezTo>
                <a:cubicBezTo>
                  <a:pt x="1052" y="1056"/>
                  <a:pt x="1052" y="1061"/>
                  <a:pt x="1052" y="1066"/>
                </a:cubicBezTo>
                <a:close/>
                <a:moveTo>
                  <a:pt x="1052" y="1019"/>
                </a:moveTo>
                <a:cubicBezTo>
                  <a:pt x="1023" y="1019"/>
                  <a:pt x="1023" y="1019"/>
                  <a:pt x="1023" y="1019"/>
                </a:cubicBezTo>
                <a:cubicBezTo>
                  <a:pt x="1023" y="1004"/>
                  <a:pt x="1023" y="1004"/>
                  <a:pt x="1023" y="1004"/>
                </a:cubicBezTo>
                <a:cubicBezTo>
                  <a:pt x="1052" y="1004"/>
                  <a:pt x="1052" y="1004"/>
                  <a:pt x="1052" y="1004"/>
                </a:cubicBezTo>
                <a:cubicBezTo>
                  <a:pt x="1052" y="1009"/>
                  <a:pt x="1052" y="1014"/>
                  <a:pt x="1052" y="1019"/>
                </a:cubicBezTo>
                <a:close/>
                <a:moveTo>
                  <a:pt x="1052" y="972"/>
                </a:moveTo>
                <a:cubicBezTo>
                  <a:pt x="1029" y="972"/>
                  <a:pt x="1006" y="972"/>
                  <a:pt x="983" y="972"/>
                </a:cubicBezTo>
                <a:cubicBezTo>
                  <a:pt x="983" y="967"/>
                  <a:pt x="983" y="962"/>
                  <a:pt x="983" y="957"/>
                </a:cubicBezTo>
                <a:cubicBezTo>
                  <a:pt x="1006" y="957"/>
                  <a:pt x="1029" y="957"/>
                  <a:pt x="1052" y="957"/>
                </a:cubicBezTo>
                <a:cubicBezTo>
                  <a:pt x="1052" y="962"/>
                  <a:pt x="1052" y="967"/>
                  <a:pt x="1052" y="972"/>
                </a:cubicBezTo>
                <a:close/>
                <a:moveTo>
                  <a:pt x="1052" y="925"/>
                </a:moveTo>
                <a:cubicBezTo>
                  <a:pt x="1020" y="925"/>
                  <a:pt x="987" y="925"/>
                  <a:pt x="954" y="925"/>
                </a:cubicBezTo>
                <a:cubicBezTo>
                  <a:pt x="954" y="920"/>
                  <a:pt x="954" y="915"/>
                  <a:pt x="954" y="910"/>
                </a:cubicBezTo>
                <a:cubicBezTo>
                  <a:pt x="987" y="910"/>
                  <a:pt x="1020" y="910"/>
                  <a:pt x="1052" y="910"/>
                </a:cubicBezTo>
                <a:cubicBezTo>
                  <a:pt x="1052" y="915"/>
                  <a:pt x="1052" y="920"/>
                  <a:pt x="1052" y="925"/>
                </a:cubicBezTo>
                <a:close/>
                <a:moveTo>
                  <a:pt x="1052" y="878"/>
                </a:moveTo>
                <a:cubicBezTo>
                  <a:pt x="1009" y="878"/>
                  <a:pt x="966" y="878"/>
                  <a:pt x="923" y="878"/>
                </a:cubicBezTo>
                <a:cubicBezTo>
                  <a:pt x="923" y="873"/>
                  <a:pt x="923" y="868"/>
                  <a:pt x="923" y="863"/>
                </a:cubicBezTo>
                <a:cubicBezTo>
                  <a:pt x="966" y="863"/>
                  <a:pt x="1009" y="863"/>
                  <a:pt x="1052" y="863"/>
                </a:cubicBezTo>
                <a:cubicBezTo>
                  <a:pt x="1052" y="868"/>
                  <a:pt x="1052" y="873"/>
                  <a:pt x="1052" y="878"/>
                </a:cubicBezTo>
                <a:close/>
                <a:moveTo>
                  <a:pt x="1052" y="832"/>
                </a:moveTo>
                <a:cubicBezTo>
                  <a:pt x="1002" y="832"/>
                  <a:pt x="951" y="832"/>
                  <a:pt x="900" y="832"/>
                </a:cubicBezTo>
                <a:cubicBezTo>
                  <a:pt x="900" y="827"/>
                  <a:pt x="900" y="822"/>
                  <a:pt x="900" y="816"/>
                </a:cubicBezTo>
                <a:cubicBezTo>
                  <a:pt x="951" y="816"/>
                  <a:pt x="1002" y="816"/>
                  <a:pt x="1052" y="816"/>
                </a:cubicBezTo>
                <a:cubicBezTo>
                  <a:pt x="1052" y="822"/>
                  <a:pt x="1052" y="827"/>
                  <a:pt x="1052" y="832"/>
                </a:cubicBezTo>
                <a:close/>
                <a:moveTo>
                  <a:pt x="1052" y="785"/>
                </a:moveTo>
                <a:cubicBezTo>
                  <a:pt x="1002" y="785"/>
                  <a:pt x="951" y="785"/>
                  <a:pt x="900" y="785"/>
                </a:cubicBezTo>
                <a:cubicBezTo>
                  <a:pt x="900" y="780"/>
                  <a:pt x="900" y="775"/>
                  <a:pt x="900" y="770"/>
                </a:cubicBezTo>
                <a:cubicBezTo>
                  <a:pt x="951" y="770"/>
                  <a:pt x="1002" y="770"/>
                  <a:pt x="1052" y="770"/>
                </a:cubicBezTo>
                <a:cubicBezTo>
                  <a:pt x="1052" y="775"/>
                  <a:pt x="1052" y="780"/>
                  <a:pt x="1052" y="785"/>
                </a:cubicBezTo>
                <a:close/>
                <a:moveTo>
                  <a:pt x="1052" y="738"/>
                </a:moveTo>
                <a:cubicBezTo>
                  <a:pt x="1002" y="738"/>
                  <a:pt x="951" y="738"/>
                  <a:pt x="900" y="738"/>
                </a:cubicBezTo>
                <a:cubicBezTo>
                  <a:pt x="900" y="733"/>
                  <a:pt x="900" y="728"/>
                  <a:pt x="900" y="723"/>
                </a:cubicBezTo>
                <a:cubicBezTo>
                  <a:pt x="951" y="723"/>
                  <a:pt x="1002" y="723"/>
                  <a:pt x="1052" y="723"/>
                </a:cubicBezTo>
                <a:cubicBezTo>
                  <a:pt x="1052" y="728"/>
                  <a:pt x="1052" y="733"/>
                  <a:pt x="1052" y="738"/>
                </a:cubicBezTo>
                <a:close/>
                <a:moveTo>
                  <a:pt x="1052" y="691"/>
                </a:moveTo>
                <a:cubicBezTo>
                  <a:pt x="1002" y="691"/>
                  <a:pt x="951" y="691"/>
                  <a:pt x="900" y="691"/>
                </a:cubicBezTo>
                <a:cubicBezTo>
                  <a:pt x="900" y="686"/>
                  <a:pt x="900" y="681"/>
                  <a:pt x="900" y="676"/>
                </a:cubicBezTo>
                <a:cubicBezTo>
                  <a:pt x="951" y="676"/>
                  <a:pt x="1002" y="676"/>
                  <a:pt x="1052" y="676"/>
                </a:cubicBezTo>
                <a:cubicBezTo>
                  <a:pt x="1052" y="681"/>
                  <a:pt x="1052" y="686"/>
                  <a:pt x="1052" y="691"/>
                </a:cubicBezTo>
                <a:close/>
                <a:moveTo>
                  <a:pt x="1052" y="644"/>
                </a:moveTo>
                <a:cubicBezTo>
                  <a:pt x="1002" y="644"/>
                  <a:pt x="951" y="644"/>
                  <a:pt x="900" y="644"/>
                </a:cubicBezTo>
                <a:cubicBezTo>
                  <a:pt x="900" y="639"/>
                  <a:pt x="900" y="634"/>
                  <a:pt x="900" y="629"/>
                </a:cubicBezTo>
                <a:cubicBezTo>
                  <a:pt x="951" y="629"/>
                  <a:pt x="1002" y="629"/>
                  <a:pt x="1052" y="629"/>
                </a:cubicBezTo>
                <a:cubicBezTo>
                  <a:pt x="1052" y="634"/>
                  <a:pt x="1052" y="639"/>
                  <a:pt x="1052" y="644"/>
                </a:cubicBezTo>
                <a:close/>
                <a:moveTo>
                  <a:pt x="1151" y="1135"/>
                </a:moveTo>
                <a:cubicBezTo>
                  <a:pt x="1105" y="1135"/>
                  <a:pt x="1105" y="1135"/>
                  <a:pt x="1105" y="1135"/>
                </a:cubicBezTo>
                <a:cubicBezTo>
                  <a:pt x="1105" y="1071"/>
                  <a:pt x="1105" y="1071"/>
                  <a:pt x="1105" y="1071"/>
                </a:cubicBezTo>
                <a:cubicBezTo>
                  <a:pt x="1151" y="1071"/>
                  <a:pt x="1151" y="1071"/>
                  <a:pt x="1151" y="1071"/>
                </a:cubicBezTo>
                <a:lnTo>
                  <a:pt x="1151" y="1135"/>
                </a:lnTo>
                <a:close/>
                <a:moveTo>
                  <a:pt x="1230" y="811"/>
                </a:moveTo>
                <a:cubicBezTo>
                  <a:pt x="1206" y="811"/>
                  <a:pt x="1182" y="811"/>
                  <a:pt x="1158" y="811"/>
                </a:cubicBezTo>
                <a:cubicBezTo>
                  <a:pt x="1158" y="805"/>
                  <a:pt x="1158" y="800"/>
                  <a:pt x="1158" y="794"/>
                </a:cubicBezTo>
                <a:cubicBezTo>
                  <a:pt x="1182" y="794"/>
                  <a:pt x="1206" y="794"/>
                  <a:pt x="1230" y="794"/>
                </a:cubicBezTo>
                <a:cubicBezTo>
                  <a:pt x="1230" y="800"/>
                  <a:pt x="1230" y="805"/>
                  <a:pt x="1230" y="811"/>
                </a:cubicBezTo>
                <a:close/>
                <a:moveTo>
                  <a:pt x="1230" y="775"/>
                </a:moveTo>
                <a:cubicBezTo>
                  <a:pt x="1158" y="775"/>
                  <a:pt x="1158" y="775"/>
                  <a:pt x="1158" y="775"/>
                </a:cubicBezTo>
                <a:cubicBezTo>
                  <a:pt x="1158" y="758"/>
                  <a:pt x="1158" y="758"/>
                  <a:pt x="1158" y="758"/>
                </a:cubicBezTo>
                <a:cubicBezTo>
                  <a:pt x="1230" y="758"/>
                  <a:pt x="1230" y="758"/>
                  <a:pt x="1230" y="758"/>
                </a:cubicBezTo>
                <a:lnTo>
                  <a:pt x="1230" y="775"/>
                </a:lnTo>
                <a:close/>
                <a:moveTo>
                  <a:pt x="1355" y="155"/>
                </a:moveTo>
                <a:cubicBezTo>
                  <a:pt x="1360" y="155"/>
                  <a:pt x="1366" y="155"/>
                  <a:pt x="1372" y="155"/>
                </a:cubicBezTo>
                <a:cubicBezTo>
                  <a:pt x="1372" y="345"/>
                  <a:pt x="1372" y="536"/>
                  <a:pt x="1372" y="726"/>
                </a:cubicBezTo>
                <a:cubicBezTo>
                  <a:pt x="1366" y="726"/>
                  <a:pt x="1360" y="726"/>
                  <a:pt x="1355" y="726"/>
                </a:cubicBezTo>
                <a:cubicBezTo>
                  <a:pt x="1355" y="536"/>
                  <a:pt x="1355" y="345"/>
                  <a:pt x="1355" y="155"/>
                </a:cubicBezTo>
                <a:close/>
                <a:moveTo>
                  <a:pt x="1316" y="155"/>
                </a:moveTo>
                <a:cubicBezTo>
                  <a:pt x="1322" y="155"/>
                  <a:pt x="1328" y="155"/>
                  <a:pt x="1334" y="155"/>
                </a:cubicBezTo>
                <a:cubicBezTo>
                  <a:pt x="1334" y="307"/>
                  <a:pt x="1334" y="458"/>
                  <a:pt x="1334" y="610"/>
                </a:cubicBezTo>
                <a:cubicBezTo>
                  <a:pt x="1328" y="610"/>
                  <a:pt x="1322" y="610"/>
                  <a:pt x="1316" y="610"/>
                </a:cubicBezTo>
                <a:cubicBezTo>
                  <a:pt x="1316" y="458"/>
                  <a:pt x="1316" y="307"/>
                  <a:pt x="1316" y="155"/>
                </a:cubicBezTo>
                <a:close/>
                <a:moveTo>
                  <a:pt x="1278" y="155"/>
                </a:moveTo>
                <a:cubicBezTo>
                  <a:pt x="1296" y="155"/>
                  <a:pt x="1296" y="155"/>
                  <a:pt x="1296" y="155"/>
                </a:cubicBezTo>
                <a:cubicBezTo>
                  <a:pt x="1296" y="510"/>
                  <a:pt x="1296" y="510"/>
                  <a:pt x="1296" y="510"/>
                </a:cubicBezTo>
                <a:cubicBezTo>
                  <a:pt x="1278" y="510"/>
                  <a:pt x="1278" y="510"/>
                  <a:pt x="1278" y="510"/>
                </a:cubicBezTo>
                <a:lnTo>
                  <a:pt x="1278" y="155"/>
                </a:lnTo>
                <a:close/>
                <a:moveTo>
                  <a:pt x="1294" y="1136"/>
                </a:moveTo>
                <a:cubicBezTo>
                  <a:pt x="1267" y="1136"/>
                  <a:pt x="1267" y="1136"/>
                  <a:pt x="1267" y="1136"/>
                </a:cubicBezTo>
                <a:cubicBezTo>
                  <a:pt x="1267" y="1045"/>
                  <a:pt x="1267" y="1045"/>
                  <a:pt x="1267" y="1045"/>
                </a:cubicBezTo>
                <a:cubicBezTo>
                  <a:pt x="1294" y="1045"/>
                  <a:pt x="1294" y="1045"/>
                  <a:pt x="1294" y="1045"/>
                </a:cubicBezTo>
                <a:lnTo>
                  <a:pt x="1294" y="1136"/>
                </a:lnTo>
                <a:close/>
                <a:moveTo>
                  <a:pt x="1337" y="1136"/>
                </a:moveTo>
                <a:cubicBezTo>
                  <a:pt x="1328" y="1136"/>
                  <a:pt x="1318" y="1136"/>
                  <a:pt x="1309" y="1136"/>
                </a:cubicBezTo>
                <a:cubicBezTo>
                  <a:pt x="1309" y="1105"/>
                  <a:pt x="1309" y="1075"/>
                  <a:pt x="1309" y="1045"/>
                </a:cubicBezTo>
                <a:cubicBezTo>
                  <a:pt x="1318" y="1045"/>
                  <a:pt x="1328" y="1045"/>
                  <a:pt x="1337" y="1045"/>
                </a:cubicBezTo>
                <a:cubicBezTo>
                  <a:pt x="1337" y="1075"/>
                  <a:pt x="1337" y="1105"/>
                  <a:pt x="1337" y="1136"/>
                </a:cubicBezTo>
                <a:close/>
                <a:moveTo>
                  <a:pt x="1267" y="1021"/>
                </a:moveTo>
                <a:cubicBezTo>
                  <a:pt x="1267" y="990"/>
                  <a:pt x="1292" y="965"/>
                  <a:pt x="1323" y="965"/>
                </a:cubicBezTo>
                <a:cubicBezTo>
                  <a:pt x="1354" y="965"/>
                  <a:pt x="1379" y="990"/>
                  <a:pt x="1379" y="1021"/>
                </a:cubicBezTo>
                <a:lnTo>
                  <a:pt x="1267" y="1021"/>
                </a:lnTo>
                <a:close/>
                <a:moveTo>
                  <a:pt x="1410" y="866"/>
                </a:moveTo>
                <a:cubicBezTo>
                  <a:pt x="1405" y="866"/>
                  <a:pt x="1399" y="866"/>
                  <a:pt x="1393" y="866"/>
                </a:cubicBezTo>
                <a:cubicBezTo>
                  <a:pt x="1393" y="629"/>
                  <a:pt x="1393" y="392"/>
                  <a:pt x="1393" y="155"/>
                </a:cubicBezTo>
                <a:cubicBezTo>
                  <a:pt x="1399" y="155"/>
                  <a:pt x="1405" y="155"/>
                  <a:pt x="1410" y="155"/>
                </a:cubicBezTo>
                <a:cubicBezTo>
                  <a:pt x="1410" y="392"/>
                  <a:pt x="1410" y="629"/>
                  <a:pt x="1410" y="866"/>
                </a:cubicBezTo>
                <a:close/>
                <a:moveTo>
                  <a:pt x="1431" y="155"/>
                </a:moveTo>
                <a:cubicBezTo>
                  <a:pt x="1449" y="155"/>
                  <a:pt x="1449" y="155"/>
                  <a:pt x="1449" y="155"/>
                </a:cubicBezTo>
                <a:cubicBezTo>
                  <a:pt x="1449" y="866"/>
                  <a:pt x="1449" y="866"/>
                  <a:pt x="1449" y="866"/>
                </a:cubicBezTo>
                <a:cubicBezTo>
                  <a:pt x="1431" y="866"/>
                  <a:pt x="1431" y="866"/>
                  <a:pt x="1431" y="866"/>
                </a:cubicBezTo>
                <a:lnTo>
                  <a:pt x="1431" y="155"/>
                </a:lnTo>
                <a:close/>
                <a:moveTo>
                  <a:pt x="1478" y="1218"/>
                </a:moveTo>
                <a:cubicBezTo>
                  <a:pt x="1433" y="1218"/>
                  <a:pt x="1433" y="1218"/>
                  <a:pt x="1433" y="1218"/>
                </a:cubicBezTo>
                <a:cubicBezTo>
                  <a:pt x="1433" y="1153"/>
                  <a:pt x="1433" y="1153"/>
                  <a:pt x="1433" y="1153"/>
                </a:cubicBezTo>
                <a:cubicBezTo>
                  <a:pt x="1478" y="1153"/>
                  <a:pt x="1478" y="1153"/>
                  <a:pt x="1478" y="1153"/>
                </a:cubicBezTo>
                <a:lnTo>
                  <a:pt x="1478" y="1218"/>
                </a:lnTo>
                <a:close/>
                <a:moveTo>
                  <a:pt x="1478" y="1135"/>
                </a:moveTo>
                <a:cubicBezTo>
                  <a:pt x="1433" y="1135"/>
                  <a:pt x="1433" y="1135"/>
                  <a:pt x="1433" y="1135"/>
                </a:cubicBezTo>
                <a:cubicBezTo>
                  <a:pt x="1433" y="1071"/>
                  <a:pt x="1433" y="1071"/>
                  <a:pt x="1433" y="1071"/>
                </a:cubicBezTo>
                <a:cubicBezTo>
                  <a:pt x="1478" y="1071"/>
                  <a:pt x="1478" y="1071"/>
                  <a:pt x="1478" y="1071"/>
                </a:cubicBezTo>
                <a:lnTo>
                  <a:pt x="1478" y="1135"/>
                </a:lnTo>
                <a:close/>
                <a:moveTo>
                  <a:pt x="1546" y="737"/>
                </a:moveTo>
                <a:cubicBezTo>
                  <a:pt x="1546" y="730"/>
                  <a:pt x="1546" y="723"/>
                  <a:pt x="1546" y="715"/>
                </a:cubicBezTo>
                <a:cubicBezTo>
                  <a:pt x="1595" y="715"/>
                  <a:pt x="1645" y="715"/>
                  <a:pt x="1694" y="715"/>
                </a:cubicBezTo>
                <a:cubicBezTo>
                  <a:pt x="1694" y="723"/>
                  <a:pt x="1694" y="730"/>
                  <a:pt x="1694" y="737"/>
                </a:cubicBezTo>
                <a:cubicBezTo>
                  <a:pt x="1645" y="737"/>
                  <a:pt x="1595" y="737"/>
                  <a:pt x="1546" y="737"/>
                </a:cubicBezTo>
                <a:close/>
                <a:moveTo>
                  <a:pt x="1694" y="773"/>
                </a:moveTo>
                <a:cubicBezTo>
                  <a:pt x="1694" y="780"/>
                  <a:pt x="1694" y="788"/>
                  <a:pt x="1694" y="795"/>
                </a:cubicBezTo>
                <a:cubicBezTo>
                  <a:pt x="1645" y="795"/>
                  <a:pt x="1595" y="795"/>
                  <a:pt x="1546" y="795"/>
                </a:cubicBezTo>
                <a:cubicBezTo>
                  <a:pt x="1546" y="788"/>
                  <a:pt x="1546" y="780"/>
                  <a:pt x="1546" y="773"/>
                </a:cubicBezTo>
                <a:cubicBezTo>
                  <a:pt x="1595" y="773"/>
                  <a:pt x="1645" y="773"/>
                  <a:pt x="1694" y="773"/>
                </a:cubicBezTo>
                <a:close/>
                <a:moveTo>
                  <a:pt x="1546" y="658"/>
                </a:moveTo>
                <a:cubicBezTo>
                  <a:pt x="1694" y="658"/>
                  <a:pt x="1694" y="658"/>
                  <a:pt x="1694" y="658"/>
                </a:cubicBezTo>
                <a:cubicBezTo>
                  <a:pt x="1694" y="680"/>
                  <a:pt x="1694" y="680"/>
                  <a:pt x="1694" y="680"/>
                </a:cubicBezTo>
                <a:cubicBezTo>
                  <a:pt x="1546" y="680"/>
                  <a:pt x="1546" y="680"/>
                  <a:pt x="1546" y="680"/>
                </a:cubicBezTo>
                <a:lnTo>
                  <a:pt x="1546" y="658"/>
                </a:lnTo>
                <a:close/>
                <a:moveTo>
                  <a:pt x="1554" y="1255"/>
                </a:moveTo>
                <a:cubicBezTo>
                  <a:pt x="1541" y="1255"/>
                  <a:pt x="1541" y="1255"/>
                  <a:pt x="1541" y="1255"/>
                </a:cubicBezTo>
                <a:cubicBezTo>
                  <a:pt x="1541" y="1135"/>
                  <a:pt x="1541" y="1135"/>
                  <a:pt x="1541" y="1135"/>
                </a:cubicBezTo>
                <a:cubicBezTo>
                  <a:pt x="1496" y="1135"/>
                  <a:pt x="1496" y="1135"/>
                  <a:pt x="1496" y="1135"/>
                </a:cubicBezTo>
                <a:cubicBezTo>
                  <a:pt x="1496" y="1071"/>
                  <a:pt x="1496" y="1071"/>
                  <a:pt x="1496" y="1071"/>
                </a:cubicBezTo>
                <a:cubicBezTo>
                  <a:pt x="1541" y="1071"/>
                  <a:pt x="1541" y="1071"/>
                  <a:pt x="1541" y="1071"/>
                </a:cubicBezTo>
                <a:cubicBezTo>
                  <a:pt x="1541" y="1113"/>
                  <a:pt x="1541" y="1113"/>
                  <a:pt x="1541" y="1113"/>
                </a:cubicBezTo>
                <a:cubicBezTo>
                  <a:pt x="1554" y="1113"/>
                  <a:pt x="1554" y="1113"/>
                  <a:pt x="1554" y="1113"/>
                </a:cubicBezTo>
                <a:lnTo>
                  <a:pt x="1554" y="1255"/>
                </a:lnTo>
                <a:close/>
                <a:moveTo>
                  <a:pt x="1597" y="831"/>
                </a:moveTo>
                <a:cubicBezTo>
                  <a:pt x="1629" y="831"/>
                  <a:pt x="1661" y="831"/>
                  <a:pt x="1694" y="831"/>
                </a:cubicBezTo>
                <a:cubicBezTo>
                  <a:pt x="1694" y="839"/>
                  <a:pt x="1694" y="846"/>
                  <a:pt x="1694" y="854"/>
                </a:cubicBezTo>
                <a:cubicBezTo>
                  <a:pt x="1661" y="854"/>
                  <a:pt x="1629" y="854"/>
                  <a:pt x="1597" y="854"/>
                </a:cubicBezTo>
                <a:cubicBezTo>
                  <a:pt x="1597" y="846"/>
                  <a:pt x="1597" y="839"/>
                  <a:pt x="1597" y="831"/>
                </a:cubicBezTo>
                <a:close/>
                <a:moveTo>
                  <a:pt x="1645" y="890"/>
                </a:moveTo>
                <a:cubicBezTo>
                  <a:pt x="1661" y="890"/>
                  <a:pt x="1678" y="890"/>
                  <a:pt x="1694" y="890"/>
                </a:cubicBezTo>
                <a:cubicBezTo>
                  <a:pt x="1694" y="898"/>
                  <a:pt x="1694" y="905"/>
                  <a:pt x="1694" y="912"/>
                </a:cubicBezTo>
                <a:cubicBezTo>
                  <a:pt x="1678" y="912"/>
                  <a:pt x="1661" y="912"/>
                  <a:pt x="1645" y="912"/>
                </a:cubicBezTo>
                <a:cubicBezTo>
                  <a:pt x="1645" y="905"/>
                  <a:pt x="1645" y="898"/>
                  <a:pt x="1645" y="890"/>
                </a:cubicBezTo>
                <a:close/>
                <a:moveTo>
                  <a:pt x="1721" y="1250"/>
                </a:moveTo>
                <a:cubicBezTo>
                  <a:pt x="1686" y="1250"/>
                  <a:pt x="1686" y="1250"/>
                  <a:pt x="1686" y="1250"/>
                </a:cubicBezTo>
                <a:cubicBezTo>
                  <a:pt x="1686" y="1226"/>
                  <a:pt x="1686" y="1226"/>
                  <a:pt x="1686" y="1226"/>
                </a:cubicBezTo>
                <a:cubicBezTo>
                  <a:pt x="1721" y="1226"/>
                  <a:pt x="1721" y="1226"/>
                  <a:pt x="1721" y="1226"/>
                </a:cubicBezTo>
                <a:lnTo>
                  <a:pt x="1721" y="1250"/>
                </a:lnTo>
                <a:close/>
                <a:moveTo>
                  <a:pt x="1782" y="1250"/>
                </a:moveTo>
                <a:cubicBezTo>
                  <a:pt x="1771" y="1250"/>
                  <a:pt x="1759" y="1250"/>
                  <a:pt x="1748" y="1250"/>
                </a:cubicBezTo>
                <a:cubicBezTo>
                  <a:pt x="1748" y="1242"/>
                  <a:pt x="1748" y="1234"/>
                  <a:pt x="1748" y="1226"/>
                </a:cubicBezTo>
                <a:cubicBezTo>
                  <a:pt x="1759" y="1226"/>
                  <a:pt x="1771" y="1226"/>
                  <a:pt x="1782" y="1226"/>
                </a:cubicBezTo>
                <a:cubicBezTo>
                  <a:pt x="1782" y="1234"/>
                  <a:pt x="1782" y="1242"/>
                  <a:pt x="1782" y="1250"/>
                </a:cubicBezTo>
                <a:close/>
                <a:moveTo>
                  <a:pt x="1785" y="982"/>
                </a:moveTo>
                <a:cubicBezTo>
                  <a:pt x="1758" y="982"/>
                  <a:pt x="1758" y="982"/>
                  <a:pt x="1758" y="982"/>
                </a:cubicBezTo>
                <a:cubicBezTo>
                  <a:pt x="1758" y="901"/>
                  <a:pt x="1758" y="901"/>
                  <a:pt x="1758" y="901"/>
                </a:cubicBezTo>
                <a:cubicBezTo>
                  <a:pt x="1785" y="901"/>
                  <a:pt x="1785" y="901"/>
                  <a:pt x="1785" y="901"/>
                </a:cubicBezTo>
                <a:lnTo>
                  <a:pt x="1785" y="982"/>
                </a:lnTo>
                <a:close/>
                <a:moveTo>
                  <a:pt x="1800" y="708"/>
                </a:moveTo>
                <a:cubicBezTo>
                  <a:pt x="1789" y="708"/>
                  <a:pt x="1777" y="708"/>
                  <a:pt x="1765" y="708"/>
                </a:cubicBezTo>
                <a:cubicBezTo>
                  <a:pt x="1765" y="700"/>
                  <a:pt x="1765" y="693"/>
                  <a:pt x="1765" y="685"/>
                </a:cubicBezTo>
                <a:cubicBezTo>
                  <a:pt x="1777" y="685"/>
                  <a:pt x="1789" y="685"/>
                  <a:pt x="1800" y="685"/>
                </a:cubicBezTo>
                <a:cubicBezTo>
                  <a:pt x="1800" y="693"/>
                  <a:pt x="1800" y="700"/>
                  <a:pt x="1800" y="708"/>
                </a:cubicBezTo>
                <a:close/>
                <a:moveTo>
                  <a:pt x="1843" y="1094"/>
                </a:moveTo>
                <a:cubicBezTo>
                  <a:pt x="1834" y="1094"/>
                  <a:pt x="1825" y="1094"/>
                  <a:pt x="1815" y="1094"/>
                </a:cubicBezTo>
                <a:cubicBezTo>
                  <a:pt x="1815" y="1067"/>
                  <a:pt x="1815" y="1040"/>
                  <a:pt x="1815" y="1013"/>
                </a:cubicBezTo>
                <a:cubicBezTo>
                  <a:pt x="1825" y="1013"/>
                  <a:pt x="1834" y="1013"/>
                  <a:pt x="1843" y="1013"/>
                </a:cubicBezTo>
                <a:cubicBezTo>
                  <a:pt x="1843" y="1040"/>
                  <a:pt x="1843" y="1067"/>
                  <a:pt x="1843" y="1094"/>
                </a:cubicBezTo>
                <a:close/>
                <a:moveTo>
                  <a:pt x="1851" y="753"/>
                </a:moveTo>
                <a:cubicBezTo>
                  <a:pt x="1839" y="753"/>
                  <a:pt x="1827" y="753"/>
                  <a:pt x="1816" y="753"/>
                </a:cubicBezTo>
                <a:cubicBezTo>
                  <a:pt x="1816" y="745"/>
                  <a:pt x="1816" y="737"/>
                  <a:pt x="1816" y="729"/>
                </a:cubicBezTo>
                <a:cubicBezTo>
                  <a:pt x="1827" y="729"/>
                  <a:pt x="1839" y="729"/>
                  <a:pt x="1851" y="729"/>
                </a:cubicBezTo>
                <a:cubicBezTo>
                  <a:pt x="1851" y="737"/>
                  <a:pt x="1851" y="745"/>
                  <a:pt x="1851" y="753"/>
                </a:cubicBezTo>
                <a:close/>
                <a:moveTo>
                  <a:pt x="1851" y="708"/>
                </a:moveTo>
                <a:cubicBezTo>
                  <a:pt x="1816" y="708"/>
                  <a:pt x="1816" y="708"/>
                  <a:pt x="1816" y="708"/>
                </a:cubicBezTo>
                <a:cubicBezTo>
                  <a:pt x="1816" y="685"/>
                  <a:pt x="1816" y="685"/>
                  <a:pt x="1816" y="685"/>
                </a:cubicBezTo>
                <a:cubicBezTo>
                  <a:pt x="1851" y="685"/>
                  <a:pt x="1851" y="685"/>
                  <a:pt x="1851" y="685"/>
                </a:cubicBezTo>
                <a:lnTo>
                  <a:pt x="1851" y="708"/>
                </a:lnTo>
                <a:close/>
                <a:moveTo>
                  <a:pt x="1901" y="1207"/>
                </a:moveTo>
                <a:cubicBezTo>
                  <a:pt x="1874" y="1207"/>
                  <a:pt x="1874" y="1207"/>
                  <a:pt x="1874" y="1207"/>
                </a:cubicBezTo>
                <a:cubicBezTo>
                  <a:pt x="1874" y="1126"/>
                  <a:pt x="1874" y="1126"/>
                  <a:pt x="1874" y="1126"/>
                </a:cubicBezTo>
                <a:cubicBezTo>
                  <a:pt x="1901" y="1126"/>
                  <a:pt x="1901" y="1126"/>
                  <a:pt x="1901" y="1126"/>
                </a:cubicBezTo>
                <a:lnTo>
                  <a:pt x="1901" y="1207"/>
                </a:lnTo>
                <a:close/>
                <a:moveTo>
                  <a:pt x="1901" y="982"/>
                </a:moveTo>
                <a:cubicBezTo>
                  <a:pt x="1874" y="982"/>
                  <a:pt x="1874" y="982"/>
                  <a:pt x="1874" y="982"/>
                </a:cubicBezTo>
                <a:cubicBezTo>
                  <a:pt x="1874" y="901"/>
                  <a:pt x="1874" y="901"/>
                  <a:pt x="1874" y="901"/>
                </a:cubicBezTo>
                <a:cubicBezTo>
                  <a:pt x="1901" y="901"/>
                  <a:pt x="1901" y="901"/>
                  <a:pt x="1901" y="901"/>
                </a:cubicBezTo>
                <a:lnTo>
                  <a:pt x="1901" y="982"/>
                </a:lnTo>
                <a:close/>
                <a:moveTo>
                  <a:pt x="1970" y="591"/>
                </a:moveTo>
                <a:cubicBezTo>
                  <a:pt x="1952" y="591"/>
                  <a:pt x="1952" y="591"/>
                  <a:pt x="1952" y="591"/>
                </a:cubicBezTo>
                <a:cubicBezTo>
                  <a:pt x="1952" y="368"/>
                  <a:pt x="1952" y="368"/>
                  <a:pt x="1952" y="368"/>
                </a:cubicBezTo>
                <a:cubicBezTo>
                  <a:pt x="1970" y="368"/>
                  <a:pt x="1970" y="368"/>
                  <a:pt x="1970" y="368"/>
                </a:cubicBezTo>
                <a:lnTo>
                  <a:pt x="1970" y="591"/>
                </a:lnTo>
                <a:close/>
                <a:moveTo>
                  <a:pt x="2007" y="743"/>
                </a:moveTo>
                <a:cubicBezTo>
                  <a:pt x="2001" y="743"/>
                  <a:pt x="1995" y="743"/>
                  <a:pt x="1990" y="743"/>
                </a:cubicBezTo>
                <a:cubicBezTo>
                  <a:pt x="1990" y="618"/>
                  <a:pt x="1990" y="493"/>
                  <a:pt x="1990" y="368"/>
                </a:cubicBezTo>
                <a:cubicBezTo>
                  <a:pt x="1995" y="368"/>
                  <a:pt x="2001" y="368"/>
                  <a:pt x="2007" y="368"/>
                </a:cubicBezTo>
                <a:cubicBezTo>
                  <a:pt x="2007" y="493"/>
                  <a:pt x="2007" y="618"/>
                  <a:pt x="2007" y="743"/>
                </a:cubicBezTo>
                <a:close/>
                <a:moveTo>
                  <a:pt x="2270" y="497"/>
                </a:moveTo>
                <a:cubicBezTo>
                  <a:pt x="2387" y="497"/>
                  <a:pt x="2387" y="497"/>
                  <a:pt x="2387" y="497"/>
                </a:cubicBezTo>
                <a:cubicBezTo>
                  <a:pt x="2387" y="511"/>
                  <a:pt x="2387" y="511"/>
                  <a:pt x="2387" y="511"/>
                </a:cubicBezTo>
                <a:cubicBezTo>
                  <a:pt x="2270" y="511"/>
                  <a:pt x="2270" y="511"/>
                  <a:pt x="2270" y="511"/>
                </a:cubicBezTo>
                <a:lnTo>
                  <a:pt x="2270" y="497"/>
                </a:lnTo>
                <a:close/>
                <a:moveTo>
                  <a:pt x="2270" y="544"/>
                </a:moveTo>
                <a:cubicBezTo>
                  <a:pt x="2309" y="544"/>
                  <a:pt x="2348" y="544"/>
                  <a:pt x="2387" y="544"/>
                </a:cubicBezTo>
                <a:cubicBezTo>
                  <a:pt x="2387" y="549"/>
                  <a:pt x="2387" y="554"/>
                  <a:pt x="2387" y="559"/>
                </a:cubicBezTo>
                <a:cubicBezTo>
                  <a:pt x="2348" y="559"/>
                  <a:pt x="2309" y="559"/>
                  <a:pt x="2270" y="559"/>
                </a:cubicBezTo>
                <a:cubicBezTo>
                  <a:pt x="2270" y="554"/>
                  <a:pt x="2270" y="549"/>
                  <a:pt x="2270" y="544"/>
                </a:cubicBezTo>
                <a:close/>
                <a:moveTo>
                  <a:pt x="2270" y="591"/>
                </a:moveTo>
                <a:cubicBezTo>
                  <a:pt x="2309" y="591"/>
                  <a:pt x="2348" y="591"/>
                  <a:pt x="2387" y="591"/>
                </a:cubicBezTo>
                <a:cubicBezTo>
                  <a:pt x="2387" y="596"/>
                  <a:pt x="2387" y="601"/>
                  <a:pt x="2387" y="606"/>
                </a:cubicBezTo>
                <a:cubicBezTo>
                  <a:pt x="2348" y="606"/>
                  <a:pt x="2309" y="606"/>
                  <a:pt x="2270" y="606"/>
                </a:cubicBezTo>
                <a:cubicBezTo>
                  <a:pt x="2270" y="601"/>
                  <a:pt x="2270" y="596"/>
                  <a:pt x="2270" y="591"/>
                </a:cubicBezTo>
                <a:close/>
                <a:moveTo>
                  <a:pt x="2270" y="639"/>
                </a:moveTo>
                <a:cubicBezTo>
                  <a:pt x="2309" y="639"/>
                  <a:pt x="2348" y="639"/>
                  <a:pt x="2387" y="639"/>
                </a:cubicBezTo>
                <a:cubicBezTo>
                  <a:pt x="2387" y="643"/>
                  <a:pt x="2387" y="648"/>
                  <a:pt x="2387" y="653"/>
                </a:cubicBezTo>
                <a:cubicBezTo>
                  <a:pt x="2348" y="653"/>
                  <a:pt x="2309" y="653"/>
                  <a:pt x="2270" y="653"/>
                </a:cubicBezTo>
                <a:cubicBezTo>
                  <a:pt x="2270" y="648"/>
                  <a:pt x="2270" y="643"/>
                  <a:pt x="2270" y="639"/>
                </a:cubicBezTo>
                <a:close/>
                <a:moveTo>
                  <a:pt x="2270" y="686"/>
                </a:moveTo>
                <a:cubicBezTo>
                  <a:pt x="2309" y="686"/>
                  <a:pt x="2348" y="686"/>
                  <a:pt x="2387" y="686"/>
                </a:cubicBezTo>
                <a:cubicBezTo>
                  <a:pt x="2387" y="691"/>
                  <a:pt x="2387" y="696"/>
                  <a:pt x="2387" y="700"/>
                </a:cubicBezTo>
                <a:cubicBezTo>
                  <a:pt x="2348" y="700"/>
                  <a:pt x="2309" y="700"/>
                  <a:pt x="2270" y="700"/>
                </a:cubicBezTo>
                <a:cubicBezTo>
                  <a:pt x="2270" y="696"/>
                  <a:pt x="2270" y="691"/>
                  <a:pt x="2270" y="686"/>
                </a:cubicBezTo>
                <a:close/>
                <a:moveTo>
                  <a:pt x="2144" y="1170"/>
                </a:moveTo>
                <a:cubicBezTo>
                  <a:pt x="2191" y="1170"/>
                  <a:pt x="2191" y="1170"/>
                  <a:pt x="2191" y="1170"/>
                </a:cubicBezTo>
                <a:cubicBezTo>
                  <a:pt x="2191" y="1205"/>
                  <a:pt x="2191" y="1205"/>
                  <a:pt x="2191" y="1205"/>
                </a:cubicBezTo>
                <a:cubicBezTo>
                  <a:pt x="2144" y="1205"/>
                  <a:pt x="2144" y="1205"/>
                  <a:pt x="2144" y="1205"/>
                </a:cubicBezTo>
                <a:lnTo>
                  <a:pt x="2144" y="1170"/>
                </a:lnTo>
                <a:close/>
                <a:moveTo>
                  <a:pt x="2044" y="895"/>
                </a:moveTo>
                <a:cubicBezTo>
                  <a:pt x="2039" y="895"/>
                  <a:pt x="2033" y="895"/>
                  <a:pt x="2027" y="895"/>
                </a:cubicBezTo>
                <a:cubicBezTo>
                  <a:pt x="2027" y="720"/>
                  <a:pt x="2027" y="544"/>
                  <a:pt x="2027" y="368"/>
                </a:cubicBezTo>
                <a:cubicBezTo>
                  <a:pt x="2033" y="368"/>
                  <a:pt x="2039" y="368"/>
                  <a:pt x="2044" y="368"/>
                </a:cubicBezTo>
                <a:cubicBezTo>
                  <a:pt x="2044" y="544"/>
                  <a:pt x="2044" y="720"/>
                  <a:pt x="2044" y="895"/>
                </a:cubicBezTo>
                <a:close/>
                <a:moveTo>
                  <a:pt x="2064" y="368"/>
                </a:moveTo>
                <a:cubicBezTo>
                  <a:pt x="2070" y="368"/>
                  <a:pt x="2076" y="368"/>
                  <a:pt x="2082" y="368"/>
                </a:cubicBezTo>
                <a:cubicBezTo>
                  <a:pt x="2082" y="595"/>
                  <a:pt x="2082" y="821"/>
                  <a:pt x="2082" y="1048"/>
                </a:cubicBezTo>
                <a:cubicBezTo>
                  <a:pt x="2076" y="1048"/>
                  <a:pt x="2070" y="1048"/>
                  <a:pt x="2064" y="1048"/>
                </a:cubicBezTo>
                <a:cubicBezTo>
                  <a:pt x="2064" y="821"/>
                  <a:pt x="2064" y="595"/>
                  <a:pt x="2064" y="368"/>
                </a:cubicBezTo>
                <a:close/>
                <a:moveTo>
                  <a:pt x="2199" y="1275"/>
                </a:moveTo>
                <a:cubicBezTo>
                  <a:pt x="2164" y="1275"/>
                  <a:pt x="2129" y="1275"/>
                  <a:pt x="2093" y="1275"/>
                </a:cubicBezTo>
                <a:cubicBezTo>
                  <a:pt x="2093" y="1272"/>
                  <a:pt x="2093" y="1269"/>
                  <a:pt x="2093" y="1265"/>
                </a:cubicBezTo>
                <a:cubicBezTo>
                  <a:pt x="2129" y="1265"/>
                  <a:pt x="2164" y="1265"/>
                  <a:pt x="2199" y="1265"/>
                </a:cubicBezTo>
                <a:cubicBezTo>
                  <a:pt x="2199" y="1269"/>
                  <a:pt x="2199" y="1272"/>
                  <a:pt x="2199" y="1275"/>
                </a:cubicBezTo>
                <a:close/>
                <a:moveTo>
                  <a:pt x="2199" y="1240"/>
                </a:moveTo>
                <a:cubicBezTo>
                  <a:pt x="2081" y="1240"/>
                  <a:pt x="2081" y="1240"/>
                  <a:pt x="2081" y="1240"/>
                </a:cubicBezTo>
                <a:cubicBezTo>
                  <a:pt x="2081" y="1230"/>
                  <a:pt x="2081" y="1230"/>
                  <a:pt x="2081" y="1230"/>
                </a:cubicBezTo>
                <a:cubicBezTo>
                  <a:pt x="2199" y="1230"/>
                  <a:pt x="2199" y="1230"/>
                  <a:pt x="2199" y="1230"/>
                </a:cubicBezTo>
                <a:lnTo>
                  <a:pt x="2199" y="1240"/>
                </a:lnTo>
                <a:close/>
                <a:moveTo>
                  <a:pt x="2235" y="811"/>
                </a:moveTo>
                <a:cubicBezTo>
                  <a:pt x="2249" y="811"/>
                  <a:pt x="2257" y="825"/>
                  <a:pt x="2257" y="842"/>
                </a:cubicBezTo>
                <a:cubicBezTo>
                  <a:pt x="2242" y="842"/>
                  <a:pt x="2228" y="842"/>
                  <a:pt x="2214" y="842"/>
                </a:cubicBezTo>
                <a:cubicBezTo>
                  <a:pt x="2214" y="825"/>
                  <a:pt x="2221" y="811"/>
                  <a:pt x="2235" y="811"/>
                </a:cubicBezTo>
                <a:close/>
                <a:moveTo>
                  <a:pt x="2263" y="1088"/>
                </a:moveTo>
                <a:cubicBezTo>
                  <a:pt x="2216" y="1088"/>
                  <a:pt x="2216" y="1088"/>
                  <a:pt x="2216" y="1088"/>
                </a:cubicBezTo>
                <a:cubicBezTo>
                  <a:pt x="2216" y="1053"/>
                  <a:pt x="2216" y="1053"/>
                  <a:pt x="2216" y="1053"/>
                </a:cubicBezTo>
                <a:cubicBezTo>
                  <a:pt x="2263" y="1053"/>
                  <a:pt x="2263" y="1053"/>
                  <a:pt x="2263" y="1053"/>
                </a:cubicBezTo>
                <a:lnTo>
                  <a:pt x="2263" y="1088"/>
                </a:lnTo>
                <a:close/>
                <a:moveTo>
                  <a:pt x="2263" y="927"/>
                </a:moveTo>
                <a:cubicBezTo>
                  <a:pt x="2216" y="927"/>
                  <a:pt x="2216" y="927"/>
                  <a:pt x="2216" y="927"/>
                </a:cubicBezTo>
                <a:cubicBezTo>
                  <a:pt x="2216" y="892"/>
                  <a:pt x="2216" y="892"/>
                  <a:pt x="2216" y="892"/>
                </a:cubicBezTo>
                <a:cubicBezTo>
                  <a:pt x="2263" y="892"/>
                  <a:pt x="2263" y="892"/>
                  <a:pt x="2263" y="892"/>
                </a:cubicBezTo>
                <a:lnTo>
                  <a:pt x="2263" y="927"/>
                </a:lnTo>
                <a:close/>
                <a:moveTo>
                  <a:pt x="2270" y="733"/>
                </a:moveTo>
                <a:cubicBezTo>
                  <a:pt x="2309" y="733"/>
                  <a:pt x="2348" y="733"/>
                  <a:pt x="2387" y="733"/>
                </a:cubicBezTo>
                <a:cubicBezTo>
                  <a:pt x="2387" y="738"/>
                  <a:pt x="2387" y="743"/>
                  <a:pt x="2387" y="748"/>
                </a:cubicBezTo>
                <a:cubicBezTo>
                  <a:pt x="2348" y="748"/>
                  <a:pt x="2309" y="748"/>
                  <a:pt x="2270" y="748"/>
                </a:cubicBezTo>
                <a:cubicBezTo>
                  <a:pt x="2270" y="743"/>
                  <a:pt x="2270" y="738"/>
                  <a:pt x="2270" y="733"/>
                </a:cubicBezTo>
                <a:close/>
                <a:moveTo>
                  <a:pt x="2355" y="874"/>
                </a:moveTo>
                <a:cubicBezTo>
                  <a:pt x="2355" y="910"/>
                  <a:pt x="2355" y="910"/>
                  <a:pt x="2355" y="910"/>
                </a:cubicBezTo>
                <a:cubicBezTo>
                  <a:pt x="2307" y="910"/>
                  <a:pt x="2307" y="910"/>
                  <a:pt x="2307" y="910"/>
                </a:cubicBezTo>
                <a:cubicBezTo>
                  <a:pt x="2307" y="874"/>
                  <a:pt x="2307" y="874"/>
                  <a:pt x="2307" y="874"/>
                </a:cubicBezTo>
                <a:lnTo>
                  <a:pt x="2355" y="874"/>
                </a:lnTo>
                <a:close/>
                <a:moveTo>
                  <a:pt x="2355" y="969"/>
                </a:moveTo>
                <a:cubicBezTo>
                  <a:pt x="2339" y="969"/>
                  <a:pt x="2323" y="969"/>
                  <a:pt x="2307" y="969"/>
                </a:cubicBezTo>
                <a:cubicBezTo>
                  <a:pt x="2307" y="957"/>
                  <a:pt x="2307" y="946"/>
                  <a:pt x="2307" y="934"/>
                </a:cubicBezTo>
                <a:cubicBezTo>
                  <a:pt x="2323" y="934"/>
                  <a:pt x="2339" y="934"/>
                  <a:pt x="2355" y="934"/>
                </a:cubicBezTo>
                <a:cubicBezTo>
                  <a:pt x="2355" y="946"/>
                  <a:pt x="2355" y="957"/>
                  <a:pt x="2355" y="969"/>
                </a:cubicBezTo>
                <a:close/>
                <a:moveTo>
                  <a:pt x="2430" y="1028"/>
                </a:moveTo>
                <a:cubicBezTo>
                  <a:pt x="2414" y="1028"/>
                  <a:pt x="2398" y="1028"/>
                  <a:pt x="2383" y="1028"/>
                </a:cubicBezTo>
                <a:cubicBezTo>
                  <a:pt x="2383" y="1017"/>
                  <a:pt x="2383" y="1005"/>
                  <a:pt x="2383" y="993"/>
                </a:cubicBezTo>
                <a:cubicBezTo>
                  <a:pt x="2398" y="993"/>
                  <a:pt x="2414" y="993"/>
                  <a:pt x="2430" y="993"/>
                </a:cubicBezTo>
                <a:cubicBezTo>
                  <a:pt x="2430" y="1005"/>
                  <a:pt x="2430" y="1017"/>
                  <a:pt x="2430" y="1028"/>
                </a:cubicBezTo>
                <a:close/>
                <a:moveTo>
                  <a:pt x="2430" y="910"/>
                </a:moveTo>
                <a:cubicBezTo>
                  <a:pt x="2414" y="910"/>
                  <a:pt x="2398" y="910"/>
                  <a:pt x="2383" y="910"/>
                </a:cubicBezTo>
                <a:cubicBezTo>
                  <a:pt x="2383" y="898"/>
                  <a:pt x="2383" y="886"/>
                  <a:pt x="2383" y="874"/>
                </a:cubicBezTo>
                <a:cubicBezTo>
                  <a:pt x="2398" y="874"/>
                  <a:pt x="2414" y="874"/>
                  <a:pt x="2430" y="874"/>
                </a:cubicBezTo>
                <a:cubicBezTo>
                  <a:pt x="2430" y="886"/>
                  <a:pt x="2430" y="898"/>
                  <a:pt x="2430" y="910"/>
                </a:cubicBezTo>
                <a:close/>
                <a:moveTo>
                  <a:pt x="2361" y="842"/>
                </a:moveTo>
                <a:cubicBezTo>
                  <a:pt x="2361" y="809"/>
                  <a:pt x="2377" y="783"/>
                  <a:pt x="2406" y="783"/>
                </a:cubicBezTo>
                <a:cubicBezTo>
                  <a:pt x="2434" y="783"/>
                  <a:pt x="2452" y="809"/>
                  <a:pt x="2452" y="842"/>
                </a:cubicBezTo>
                <a:lnTo>
                  <a:pt x="2361" y="842"/>
                </a:lnTo>
                <a:close/>
                <a:moveTo>
                  <a:pt x="2505" y="1088"/>
                </a:moveTo>
                <a:cubicBezTo>
                  <a:pt x="2458" y="1088"/>
                  <a:pt x="2458" y="1088"/>
                  <a:pt x="2458" y="1088"/>
                </a:cubicBezTo>
                <a:cubicBezTo>
                  <a:pt x="2458" y="1053"/>
                  <a:pt x="2458" y="1053"/>
                  <a:pt x="2458" y="1053"/>
                </a:cubicBezTo>
                <a:cubicBezTo>
                  <a:pt x="2505" y="1053"/>
                  <a:pt x="2505" y="1053"/>
                  <a:pt x="2505" y="1053"/>
                </a:cubicBezTo>
                <a:lnTo>
                  <a:pt x="2505" y="1088"/>
                </a:lnTo>
                <a:close/>
                <a:moveTo>
                  <a:pt x="2505" y="969"/>
                </a:moveTo>
                <a:cubicBezTo>
                  <a:pt x="2489" y="969"/>
                  <a:pt x="2474" y="969"/>
                  <a:pt x="2458" y="969"/>
                </a:cubicBezTo>
                <a:cubicBezTo>
                  <a:pt x="2458" y="957"/>
                  <a:pt x="2458" y="946"/>
                  <a:pt x="2458" y="934"/>
                </a:cubicBezTo>
                <a:cubicBezTo>
                  <a:pt x="2474" y="934"/>
                  <a:pt x="2489" y="934"/>
                  <a:pt x="2505" y="934"/>
                </a:cubicBezTo>
                <a:cubicBezTo>
                  <a:pt x="2505" y="946"/>
                  <a:pt x="2505" y="957"/>
                  <a:pt x="2505" y="969"/>
                </a:cubicBezTo>
                <a:close/>
                <a:moveTo>
                  <a:pt x="2644" y="811"/>
                </a:moveTo>
                <a:cubicBezTo>
                  <a:pt x="2658" y="811"/>
                  <a:pt x="2666" y="825"/>
                  <a:pt x="2666" y="842"/>
                </a:cubicBezTo>
                <a:cubicBezTo>
                  <a:pt x="2622" y="842"/>
                  <a:pt x="2622" y="842"/>
                  <a:pt x="2622" y="842"/>
                </a:cubicBezTo>
                <a:cubicBezTo>
                  <a:pt x="2622" y="825"/>
                  <a:pt x="2631" y="811"/>
                  <a:pt x="2644" y="811"/>
                </a:cubicBezTo>
                <a:close/>
                <a:moveTo>
                  <a:pt x="2597" y="1146"/>
                </a:moveTo>
                <a:cubicBezTo>
                  <a:pt x="2581" y="1146"/>
                  <a:pt x="2565" y="1146"/>
                  <a:pt x="2550" y="1146"/>
                </a:cubicBezTo>
                <a:cubicBezTo>
                  <a:pt x="2550" y="1135"/>
                  <a:pt x="2550" y="1123"/>
                  <a:pt x="2550" y="1111"/>
                </a:cubicBezTo>
                <a:cubicBezTo>
                  <a:pt x="2565" y="1111"/>
                  <a:pt x="2581" y="1111"/>
                  <a:pt x="2597" y="1111"/>
                </a:cubicBezTo>
                <a:cubicBezTo>
                  <a:pt x="2597" y="1123"/>
                  <a:pt x="2597" y="1135"/>
                  <a:pt x="2597" y="1146"/>
                </a:cubicBezTo>
                <a:close/>
                <a:moveTo>
                  <a:pt x="2597" y="988"/>
                </a:moveTo>
                <a:cubicBezTo>
                  <a:pt x="2550" y="988"/>
                  <a:pt x="2550" y="988"/>
                  <a:pt x="2550" y="988"/>
                </a:cubicBezTo>
                <a:cubicBezTo>
                  <a:pt x="2550" y="953"/>
                  <a:pt x="2550" y="953"/>
                  <a:pt x="2550" y="953"/>
                </a:cubicBezTo>
                <a:cubicBezTo>
                  <a:pt x="2597" y="953"/>
                  <a:pt x="2597" y="953"/>
                  <a:pt x="2597" y="953"/>
                </a:cubicBezTo>
                <a:lnTo>
                  <a:pt x="2597" y="988"/>
                </a:lnTo>
                <a:close/>
                <a:moveTo>
                  <a:pt x="2556" y="842"/>
                </a:moveTo>
                <a:cubicBezTo>
                  <a:pt x="2556" y="825"/>
                  <a:pt x="2564" y="811"/>
                  <a:pt x="2577" y="811"/>
                </a:cubicBezTo>
                <a:cubicBezTo>
                  <a:pt x="2591" y="811"/>
                  <a:pt x="2599" y="825"/>
                  <a:pt x="2599" y="842"/>
                </a:cubicBezTo>
                <a:cubicBezTo>
                  <a:pt x="2584" y="842"/>
                  <a:pt x="2570" y="842"/>
                  <a:pt x="2556" y="842"/>
                </a:cubicBezTo>
                <a:close/>
                <a:moveTo>
                  <a:pt x="2669" y="1205"/>
                </a:moveTo>
                <a:cubicBezTo>
                  <a:pt x="2621" y="1205"/>
                  <a:pt x="2621" y="1205"/>
                  <a:pt x="2621" y="1205"/>
                </a:cubicBezTo>
                <a:cubicBezTo>
                  <a:pt x="2621" y="1170"/>
                  <a:pt x="2621" y="1170"/>
                  <a:pt x="2621" y="1170"/>
                </a:cubicBezTo>
                <a:cubicBezTo>
                  <a:pt x="2669" y="1170"/>
                  <a:pt x="2669" y="1170"/>
                  <a:pt x="2669" y="1170"/>
                </a:cubicBezTo>
                <a:lnTo>
                  <a:pt x="2669" y="1205"/>
                </a:lnTo>
                <a:close/>
                <a:moveTo>
                  <a:pt x="2669" y="1088"/>
                </a:moveTo>
                <a:cubicBezTo>
                  <a:pt x="2621" y="1088"/>
                  <a:pt x="2621" y="1088"/>
                  <a:pt x="2621" y="1088"/>
                </a:cubicBezTo>
                <a:cubicBezTo>
                  <a:pt x="2621" y="1053"/>
                  <a:pt x="2621" y="1053"/>
                  <a:pt x="2621" y="1053"/>
                </a:cubicBezTo>
                <a:cubicBezTo>
                  <a:pt x="2669" y="1053"/>
                  <a:pt x="2669" y="1053"/>
                  <a:pt x="2669" y="1053"/>
                </a:cubicBezTo>
                <a:lnTo>
                  <a:pt x="2669" y="1088"/>
                </a:lnTo>
                <a:close/>
                <a:moveTo>
                  <a:pt x="2669" y="927"/>
                </a:moveTo>
                <a:cubicBezTo>
                  <a:pt x="2621" y="927"/>
                  <a:pt x="2621" y="927"/>
                  <a:pt x="2621" y="927"/>
                </a:cubicBezTo>
                <a:cubicBezTo>
                  <a:pt x="2621" y="892"/>
                  <a:pt x="2621" y="892"/>
                  <a:pt x="2621" y="892"/>
                </a:cubicBezTo>
                <a:cubicBezTo>
                  <a:pt x="2669" y="892"/>
                  <a:pt x="2669" y="892"/>
                  <a:pt x="2669" y="892"/>
                </a:cubicBezTo>
                <a:lnTo>
                  <a:pt x="2669" y="927"/>
                </a:lnTo>
                <a:close/>
                <a:moveTo>
                  <a:pt x="2785" y="1068"/>
                </a:moveTo>
                <a:cubicBezTo>
                  <a:pt x="2732" y="1068"/>
                  <a:pt x="2732" y="1068"/>
                  <a:pt x="2732" y="1068"/>
                </a:cubicBezTo>
                <a:cubicBezTo>
                  <a:pt x="2732" y="1034"/>
                  <a:pt x="2732" y="1034"/>
                  <a:pt x="2732" y="1034"/>
                </a:cubicBezTo>
                <a:cubicBezTo>
                  <a:pt x="2785" y="1034"/>
                  <a:pt x="2785" y="1034"/>
                  <a:pt x="2785" y="1034"/>
                </a:cubicBezTo>
                <a:lnTo>
                  <a:pt x="2785" y="1068"/>
                </a:lnTo>
                <a:close/>
                <a:moveTo>
                  <a:pt x="2942" y="1130"/>
                </a:moveTo>
                <a:cubicBezTo>
                  <a:pt x="2916" y="1130"/>
                  <a:pt x="2890" y="1130"/>
                  <a:pt x="2865" y="1130"/>
                </a:cubicBezTo>
                <a:cubicBezTo>
                  <a:pt x="2865" y="1114"/>
                  <a:pt x="2865" y="1097"/>
                  <a:pt x="2865" y="1081"/>
                </a:cubicBezTo>
                <a:cubicBezTo>
                  <a:pt x="2890" y="1081"/>
                  <a:pt x="2916" y="1081"/>
                  <a:pt x="2942" y="1081"/>
                </a:cubicBezTo>
                <a:cubicBezTo>
                  <a:pt x="2942" y="1097"/>
                  <a:pt x="2942" y="1114"/>
                  <a:pt x="2942" y="1130"/>
                </a:cubicBezTo>
                <a:close/>
                <a:moveTo>
                  <a:pt x="2942" y="1052"/>
                </a:moveTo>
                <a:cubicBezTo>
                  <a:pt x="2916" y="1052"/>
                  <a:pt x="2890" y="1052"/>
                  <a:pt x="2865" y="1052"/>
                </a:cubicBezTo>
                <a:cubicBezTo>
                  <a:pt x="2865" y="1035"/>
                  <a:pt x="2865" y="1019"/>
                  <a:pt x="2865" y="1003"/>
                </a:cubicBezTo>
                <a:cubicBezTo>
                  <a:pt x="2890" y="1003"/>
                  <a:pt x="2916" y="1003"/>
                  <a:pt x="2942" y="1003"/>
                </a:cubicBezTo>
                <a:cubicBezTo>
                  <a:pt x="2942" y="1019"/>
                  <a:pt x="2942" y="1035"/>
                  <a:pt x="2942" y="1052"/>
                </a:cubicBezTo>
                <a:close/>
                <a:moveTo>
                  <a:pt x="3120" y="1130"/>
                </a:moveTo>
                <a:cubicBezTo>
                  <a:pt x="3095" y="1130"/>
                  <a:pt x="3069" y="1130"/>
                  <a:pt x="3043" y="1130"/>
                </a:cubicBezTo>
                <a:cubicBezTo>
                  <a:pt x="3043" y="1114"/>
                  <a:pt x="3043" y="1097"/>
                  <a:pt x="3043" y="1081"/>
                </a:cubicBezTo>
                <a:cubicBezTo>
                  <a:pt x="3069" y="1081"/>
                  <a:pt x="3095" y="1081"/>
                  <a:pt x="3120" y="1081"/>
                </a:cubicBezTo>
                <a:cubicBezTo>
                  <a:pt x="3120" y="1097"/>
                  <a:pt x="3120" y="1114"/>
                  <a:pt x="3120" y="1130"/>
                </a:cubicBezTo>
                <a:close/>
                <a:moveTo>
                  <a:pt x="3240" y="1161"/>
                </a:moveTo>
                <a:cubicBezTo>
                  <a:pt x="3222" y="1161"/>
                  <a:pt x="3204" y="1161"/>
                  <a:pt x="3186" y="1161"/>
                </a:cubicBezTo>
                <a:cubicBezTo>
                  <a:pt x="3186" y="1149"/>
                  <a:pt x="3186" y="1138"/>
                  <a:pt x="3186" y="1127"/>
                </a:cubicBezTo>
                <a:cubicBezTo>
                  <a:pt x="3204" y="1127"/>
                  <a:pt x="3222" y="1127"/>
                  <a:pt x="3240" y="1127"/>
                </a:cubicBezTo>
                <a:cubicBezTo>
                  <a:pt x="3240" y="1138"/>
                  <a:pt x="3240" y="1149"/>
                  <a:pt x="3240" y="1161"/>
                </a:cubicBezTo>
                <a:close/>
                <a:moveTo>
                  <a:pt x="3240" y="1058"/>
                </a:moveTo>
                <a:cubicBezTo>
                  <a:pt x="3186" y="1058"/>
                  <a:pt x="3186" y="1058"/>
                  <a:pt x="3186" y="1058"/>
                </a:cubicBezTo>
                <a:cubicBezTo>
                  <a:pt x="3186" y="1024"/>
                  <a:pt x="3186" y="1024"/>
                  <a:pt x="3186" y="1024"/>
                </a:cubicBezTo>
                <a:cubicBezTo>
                  <a:pt x="3240" y="1024"/>
                  <a:pt x="3240" y="1024"/>
                  <a:pt x="3240" y="1024"/>
                </a:cubicBezTo>
                <a:lnTo>
                  <a:pt x="3240" y="1058"/>
                </a:lnTo>
                <a:close/>
                <a:moveTo>
                  <a:pt x="3481" y="875"/>
                </a:moveTo>
                <a:cubicBezTo>
                  <a:pt x="3492" y="875"/>
                  <a:pt x="3503" y="875"/>
                  <a:pt x="3514" y="875"/>
                </a:cubicBezTo>
                <a:cubicBezTo>
                  <a:pt x="3514" y="883"/>
                  <a:pt x="3514" y="891"/>
                  <a:pt x="3514" y="899"/>
                </a:cubicBezTo>
                <a:cubicBezTo>
                  <a:pt x="3503" y="899"/>
                  <a:pt x="3492" y="899"/>
                  <a:pt x="3481" y="899"/>
                </a:cubicBezTo>
                <a:cubicBezTo>
                  <a:pt x="3481" y="891"/>
                  <a:pt x="3481" y="883"/>
                  <a:pt x="3481" y="875"/>
                </a:cubicBezTo>
                <a:close/>
                <a:moveTo>
                  <a:pt x="3400" y="821"/>
                </a:moveTo>
                <a:cubicBezTo>
                  <a:pt x="3408" y="821"/>
                  <a:pt x="3416" y="821"/>
                  <a:pt x="3424" y="821"/>
                </a:cubicBezTo>
                <a:cubicBezTo>
                  <a:pt x="3424" y="827"/>
                  <a:pt x="3424" y="833"/>
                  <a:pt x="3424" y="839"/>
                </a:cubicBezTo>
                <a:cubicBezTo>
                  <a:pt x="3416" y="839"/>
                  <a:pt x="3408" y="839"/>
                  <a:pt x="3400" y="839"/>
                </a:cubicBezTo>
                <a:cubicBezTo>
                  <a:pt x="3400" y="833"/>
                  <a:pt x="3400" y="827"/>
                  <a:pt x="3400" y="821"/>
                </a:cubicBezTo>
                <a:close/>
                <a:moveTo>
                  <a:pt x="3448" y="1057"/>
                </a:moveTo>
                <a:cubicBezTo>
                  <a:pt x="3448" y="1071"/>
                  <a:pt x="3448" y="1084"/>
                  <a:pt x="3448" y="1098"/>
                </a:cubicBezTo>
                <a:cubicBezTo>
                  <a:pt x="3426" y="1098"/>
                  <a:pt x="3404" y="1098"/>
                  <a:pt x="3381" y="1098"/>
                </a:cubicBezTo>
                <a:cubicBezTo>
                  <a:pt x="3381" y="1084"/>
                  <a:pt x="3381" y="1071"/>
                  <a:pt x="3381" y="1057"/>
                </a:cubicBezTo>
                <a:cubicBezTo>
                  <a:pt x="3404" y="1057"/>
                  <a:pt x="3426" y="1057"/>
                  <a:pt x="3448" y="1057"/>
                </a:cubicBezTo>
                <a:close/>
                <a:moveTo>
                  <a:pt x="3370" y="875"/>
                </a:moveTo>
                <a:cubicBezTo>
                  <a:pt x="3381" y="875"/>
                  <a:pt x="3392" y="875"/>
                  <a:pt x="3403" y="875"/>
                </a:cubicBezTo>
                <a:cubicBezTo>
                  <a:pt x="3403" y="883"/>
                  <a:pt x="3403" y="891"/>
                  <a:pt x="3403" y="899"/>
                </a:cubicBezTo>
                <a:cubicBezTo>
                  <a:pt x="3392" y="899"/>
                  <a:pt x="3381" y="899"/>
                  <a:pt x="3370" y="899"/>
                </a:cubicBezTo>
                <a:cubicBezTo>
                  <a:pt x="3370" y="891"/>
                  <a:pt x="3370" y="883"/>
                  <a:pt x="3370" y="875"/>
                </a:cubicBezTo>
                <a:close/>
                <a:moveTo>
                  <a:pt x="3315" y="875"/>
                </a:moveTo>
                <a:cubicBezTo>
                  <a:pt x="3326" y="875"/>
                  <a:pt x="3337" y="875"/>
                  <a:pt x="3348" y="875"/>
                </a:cubicBezTo>
                <a:cubicBezTo>
                  <a:pt x="3348" y="883"/>
                  <a:pt x="3348" y="891"/>
                  <a:pt x="3348" y="899"/>
                </a:cubicBezTo>
                <a:cubicBezTo>
                  <a:pt x="3337" y="899"/>
                  <a:pt x="3326" y="899"/>
                  <a:pt x="3315" y="899"/>
                </a:cubicBezTo>
                <a:cubicBezTo>
                  <a:pt x="3315" y="891"/>
                  <a:pt x="3315" y="883"/>
                  <a:pt x="3315" y="875"/>
                </a:cubicBezTo>
                <a:close/>
                <a:moveTo>
                  <a:pt x="3291" y="998"/>
                </a:moveTo>
                <a:cubicBezTo>
                  <a:pt x="3313" y="998"/>
                  <a:pt x="3335" y="998"/>
                  <a:pt x="3357" y="998"/>
                </a:cubicBezTo>
                <a:cubicBezTo>
                  <a:pt x="3357" y="1011"/>
                  <a:pt x="3357" y="1025"/>
                  <a:pt x="3357" y="1039"/>
                </a:cubicBezTo>
                <a:cubicBezTo>
                  <a:pt x="3335" y="1039"/>
                  <a:pt x="3313" y="1039"/>
                  <a:pt x="3291" y="1039"/>
                </a:cubicBezTo>
                <a:cubicBezTo>
                  <a:pt x="3291" y="1025"/>
                  <a:pt x="3291" y="1011"/>
                  <a:pt x="3291" y="998"/>
                </a:cubicBezTo>
                <a:close/>
                <a:moveTo>
                  <a:pt x="3290" y="1251"/>
                </a:moveTo>
                <a:cubicBezTo>
                  <a:pt x="3277" y="1251"/>
                  <a:pt x="3277" y="1251"/>
                  <a:pt x="3277" y="1251"/>
                </a:cubicBezTo>
                <a:cubicBezTo>
                  <a:pt x="3277" y="1170"/>
                  <a:pt x="3277" y="1170"/>
                  <a:pt x="3277" y="1170"/>
                </a:cubicBezTo>
                <a:cubicBezTo>
                  <a:pt x="3290" y="1170"/>
                  <a:pt x="3290" y="1170"/>
                  <a:pt x="3290" y="1170"/>
                </a:cubicBezTo>
                <a:lnTo>
                  <a:pt x="3290" y="1251"/>
                </a:lnTo>
                <a:close/>
                <a:moveTo>
                  <a:pt x="3291" y="1157"/>
                </a:moveTo>
                <a:cubicBezTo>
                  <a:pt x="3291" y="1157"/>
                  <a:pt x="3291" y="1157"/>
                  <a:pt x="3291" y="1157"/>
                </a:cubicBezTo>
                <a:cubicBezTo>
                  <a:pt x="3272" y="1157"/>
                  <a:pt x="3272" y="1157"/>
                  <a:pt x="3272" y="1157"/>
                </a:cubicBezTo>
                <a:cubicBezTo>
                  <a:pt x="3272" y="1149"/>
                  <a:pt x="3272" y="1149"/>
                  <a:pt x="3272" y="1149"/>
                </a:cubicBezTo>
                <a:cubicBezTo>
                  <a:pt x="3291" y="1149"/>
                  <a:pt x="3291" y="1149"/>
                  <a:pt x="3291" y="1149"/>
                </a:cubicBezTo>
                <a:cubicBezTo>
                  <a:pt x="3291" y="1146"/>
                  <a:pt x="3291" y="1144"/>
                  <a:pt x="3291" y="1142"/>
                </a:cubicBezTo>
                <a:cubicBezTo>
                  <a:pt x="3272" y="1142"/>
                  <a:pt x="3272" y="1142"/>
                  <a:pt x="3272" y="1142"/>
                </a:cubicBezTo>
                <a:cubicBezTo>
                  <a:pt x="3272" y="1133"/>
                  <a:pt x="3272" y="1133"/>
                  <a:pt x="3272" y="1133"/>
                </a:cubicBezTo>
                <a:cubicBezTo>
                  <a:pt x="3291" y="1133"/>
                  <a:pt x="3291" y="1133"/>
                  <a:pt x="3291" y="1133"/>
                </a:cubicBezTo>
                <a:cubicBezTo>
                  <a:pt x="3291" y="1128"/>
                  <a:pt x="3291" y="1122"/>
                  <a:pt x="3291" y="1117"/>
                </a:cubicBezTo>
                <a:cubicBezTo>
                  <a:pt x="3313" y="1117"/>
                  <a:pt x="3335" y="1117"/>
                  <a:pt x="3357" y="1117"/>
                </a:cubicBezTo>
                <a:cubicBezTo>
                  <a:pt x="3357" y="1122"/>
                  <a:pt x="3357" y="1128"/>
                  <a:pt x="3357" y="1133"/>
                </a:cubicBezTo>
                <a:cubicBezTo>
                  <a:pt x="3395" y="1133"/>
                  <a:pt x="3395" y="1133"/>
                  <a:pt x="3395" y="1133"/>
                </a:cubicBezTo>
                <a:cubicBezTo>
                  <a:pt x="3395" y="1142"/>
                  <a:pt x="3395" y="1142"/>
                  <a:pt x="3395" y="1142"/>
                </a:cubicBezTo>
                <a:cubicBezTo>
                  <a:pt x="3357" y="1142"/>
                  <a:pt x="3357" y="1142"/>
                  <a:pt x="3357" y="1142"/>
                </a:cubicBezTo>
                <a:cubicBezTo>
                  <a:pt x="3357" y="1144"/>
                  <a:pt x="3357" y="1146"/>
                  <a:pt x="3357" y="1149"/>
                </a:cubicBezTo>
                <a:cubicBezTo>
                  <a:pt x="3395" y="1149"/>
                  <a:pt x="3395" y="1149"/>
                  <a:pt x="3395" y="1149"/>
                </a:cubicBezTo>
                <a:cubicBezTo>
                  <a:pt x="3395" y="1157"/>
                  <a:pt x="3395" y="1157"/>
                  <a:pt x="3395" y="1157"/>
                </a:cubicBezTo>
                <a:cubicBezTo>
                  <a:pt x="3357" y="1157"/>
                  <a:pt x="3357" y="1157"/>
                  <a:pt x="3357" y="1157"/>
                </a:cubicBezTo>
                <a:cubicBezTo>
                  <a:pt x="3357" y="1157"/>
                  <a:pt x="3357" y="1157"/>
                  <a:pt x="3357" y="1157"/>
                </a:cubicBezTo>
                <a:cubicBezTo>
                  <a:pt x="3335" y="1157"/>
                  <a:pt x="3313" y="1157"/>
                  <a:pt x="3291" y="1157"/>
                </a:cubicBezTo>
                <a:close/>
                <a:moveTo>
                  <a:pt x="3448" y="1217"/>
                </a:moveTo>
                <a:cubicBezTo>
                  <a:pt x="3426" y="1217"/>
                  <a:pt x="3404" y="1217"/>
                  <a:pt x="3381" y="1217"/>
                </a:cubicBezTo>
                <a:cubicBezTo>
                  <a:pt x="3381" y="1203"/>
                  <a:pt x="3381" y="1190"/>
                  <a:pt x="3381" y="1176"/>
                </a:cubicBezTo>
                <a:cubicBezTo>
                  <a:pt x="3404" y="1176"/>
                  <a:pt x="3426" y="1176"/>
                  <a:pt x="3448" y="1176"/>
                </a:cubicBezTo>
                <a:cubicBezTo>
                  <a:pt x="3448" y="1190"/>
                  <a:pt x="3448" y="1203"/>
                  <a:pt x="3448" y="1217"/>
                </a:cubicBezTo>
                <a:close/>
                <a:moveTo>
                  <a:pt x="3458" y="899"/>
                </a:moveTo>
                <a:cubicBezTo>
                  <a:pt x="3447" y="899"/>
                  <a:pt x="3436" y="899"/>
                  <a:pt x="3425" y="899"/>
                </a:cubicBezTo>
                <a:cubicBezTo>
                  <a:pt x="3425" y="891"/>
                  <a:pt x="3425" y="883"/>
                  <a:pt x="3425" y="875"/>
                </a:cubicBezTo>
                <a:cubicBezTo>
                  <a:pt x="3436" y="875"/>
                  <a:pt x="3447" y="875"/>
                  <a:pt x="3458" y="875"/>
                </a:cubicBezTo>
                <a:cubicBezTo>
                  <a:pt x="3458" y="883"/>
                  <a:pt x="3458" y="891"/>
                  <a:pt x="3458" y="899"/>
                </a:cubicBezTo>
                <a:close/>
                <a:moveTo>
                  <a:pt x="3538" y="1039"/>
                </a:moveTo>
                <a:cubicBezTo>
                  <a:pt x="3516" y="1039"/>
                  <a:pt x="3494" y="1039"/>
                  <a:pt x="3472" y="1039"/>
                </a:cubicBezTo>
                <a:cubicBezTo>
                  <a:pt x="3472" y="1025"/>
                  <a:pt x="3472" y="1011"/>
                  <a:pt x="3472" y="998"/>
                </a:cubicBezTo>
                <a:cubicBezTo>
                  <a:pt x="3494" y="998"/>
                  <a:pt x="3516" y="998"/>
                  <a:pt x="3538" y="998"/>
                </a:cubicBezTo>
                <a:cubicBezTo>
                  <a:pt x="3538" y="1011"/>
                  <a:pt x="3538" y="1025"/>
                  <a:pt x="3538" y="1039"/>
                </a:cubicBezTo>
                <a:close/>
                <a:moveTo>
                  <a:pt x="3621" y="1115"/>
                </a:moveTo>
                <a:cubicBezTo>
                  <a:pt x="3608" y="1115"/>
                  <a:pt x="3594" y="1115"/>
                  <a:pt x="3581" y="1115"/>
                </a:cubicBezTo>
                <a:cubicBezTo>
                  <a:pt x="3581" y="1105"/>
                  <a:pt x="3581" y="1095"/>
                  <a:pt x="3581" y="1085"/>
                </a:cubicBezTo>
                <a:cubicBezTo>
                  <a:pt x="3594" y="1085"/>
                  <a:pt x="3608" y="1085"/>
                  <a:pt x="3621" y="1085"/>
                </a:cubicBezTo>
                <a:cubicBezTo>
                  <a:pt x="3621" y="1095"/>
                  <a:pt x="3621" y="1105"/>
                  <a:pt x="3621" y="1115"/>
                </a:cubicBezTo>
                <a:close/>
                <a:moveTo>
                  <a:pt x="3677" y="1217"/>
                </a:moveTo>
                <a:cubicBezTo>
                  <a:pt x="3636" y="1217"/>
                  <a:pt x="3636" y="1217"/>
                  <a:pt x="3636" y="1217"/>
                </a:cubicBezTo>
                <a:cubicBezTo>
                  <a:pt x="3636" y="1187"/>
                  <a:pt x="3636" y="1187"/>
                  <a:pt x="3636" y="1187"/>
                </a:cubicBezTo>
                <a:cubicBezTo>
                  <a:pt x="3677" y="1187"/>
                  <a:pt x="3677" y="1187"/>
                  <a:pt x="3677" y="1187"/>
                </a:cubicBezTo>
                <a:lnTo>
                  <a:pt x="3677" y="1217"/>
                </a:lnTo>
                <a:close/>
                <a:moveTo>
                  <a:pt x="3677" y="1065"/>
                </a:moveTo>
                <a:cubicBezTo>
                  <a:pt x="3636" y="1065"/>
                  <a:pt x="3636" y="1065"/>
                  <a:pt x="3636" y="1065"/>
                </a:cubicBezTo>
                <a:cubicBezTo>
                  <a:pt x="3636" y="1035"/>
                  <a:pt x="3636" y="1035"/>
                  <a:pt x="3636" y="1035"/>
                </a:cubicBezTo>
                <a:cubicBezTo>
                  <a:pt x="3677" y="1035"/>
                  <a:pt x="3677" y="1035"/>
                  <a:pt x="3677" y="1035"/>
                </a:cubicBezTo>
                <a:lnTo>
                  <a:pt x="3677" y="1065"/>
                </a:lnTo>
                <a:close/>
                <a:moveTo>
                  <a:pt x="3814" y="1154"/>
                </a:moveTo>
                <a:cubicBezTo>
                  <a:pt x="3793" y="1154"/>
                  <a:pt x="3772" y="1154"/>
                  <a:pt x="3750" y="1154"/>
                </a:cubicBezTo>
                <a:cubicBezTo>
                  <a:pt x="3750" y="1149"/>
                  <a:pt x="3750" y="1144"/>
                  <a:pt x="3750" y="1139"/>
                </a:cubicBezTo>
                <a:cubicBezTo>
                  <a:pt x="3772" y="1139"/>
                  <a:pt x="3793" y="1139"/>
                  <a:pt x="3814" y="1139"/>
                </a:cubicBezTo>
                <a:cubicBezTo>
                  <a:pt x="3814" y="1144"/>
                  <a:pt x="3814" y="1149"/>
                  <a:pt x="3814" y="1154"/>
                </a:cubicBezTo>
                <a:close/>
                <a:moveTo>
                  <a:pt x="3814" y="1123"/>
                </a:moveTo>
                <a:cubicBezTo>
                  <a:pt x="3705" y="1123"/>
                  <a:pt x="3705" y="1123"/>
                  <a:pt x="3705" y="1123"/>
                </a:cubicBezTo>
                <a:cubicBezTo>
                  <a:pt x="3705" y="1108"/>
                  <a:pt x="3705" y="1108"/>
                  <a:pt x="3705" y="1108"/>
                </a:cubicBezTo>
                <a:cubicBezTo>
                  <a:pt x="3814" y="1108"/>
                  <a:pt x="3814" y="1108"/>
                  <a:pt x="3814" y="1108"/>
                </a:cubicBezTo>
                <a:lnTo>
                  <a:pt x="3814" y="1123"/>
                </a:lnTo>
                <a:close/>
              </a:path>
            </a:pathLst>
          </a:custGeom>
          <a:solidFill>
            <a:schemeClr val="accent2">
              <a:lumMod val="20000"/>
              <a:lumOff val="80000"/>
              <a:alpha val="6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3" name="Group 214"/>
          <p:cNvGrpSpPr/>
          <p:nvPr/>
        </p:nvGrpSpPr>
        <p:grpSpPr>
          <a:xfrm>
            <a:off x="451344" y="2913122"/>
            <a:ext cx="8416431" cy="1819830"/>
            <a:chOff x="451344" y="2731115"/>
            <a:chExt cx="8416431" cy="1819830"/>
          </a:xfrm>
        </p:grpSpPr>
        <p:sp>
          <p:nvSpPr>
            <p:cNvPr id="216" name="Rectangle 215"/>
            <p:cNvSpPr/>
            <p:nvPr/>
          </p:nvSpPr>
          <p:spPr>
            <a:xfrm>
              <a:off x="7858125" y="4446347"/>
              <a:ext cx="1009650" cy="104598"/>
            </a:xfrm>
            <a:prstGeom prst="rect">
              <a:avLst/>
            </a:prstGeom>
            <a:solidFill>
              <a:srgbClr val="6F8F3C"/>
            </a:solidFill>
            <a:ln w="9525">
              <a:noFill/>
              <a:round/>
              <a:headEnd/>
              <a:tailEnd/>
            </a:ln>
          </p:spPr>
          <p:txBody>
            <a:bodyPr vert="horz" wrap="square" lIns="91440" tIns="45720" rIns="91440" bIns="45720" numCol="1" anchor="t" anchorCtr="0" compatLnSpc="1">
              <a:prstTxWarp prst="textNoShape">
                <a:avLst/>
              </a:prstTxWarp>
            </a:bodyPr>
            <a:lstStyle/>
            <a:p>
              <a:endParaRPr lang="en-US" dirty="0" smtClean="0">
                <a:solidFill>
                  <a:schemeClr val="tx1"/>
                </a:solidFill>
                <a:latin typeface="+mj-lt"/>
                <a:ea typeface="ＭＳ Ｐゴシック" pitchFamily="34" charset="-128"/>
              </a:endParaRPr>
            </a:p>
          </p:txBody>
        </p:sp>
        <p:sp>
          <p:nvSpPr>
            <p:cNvPr id="217" name="Freeform 29"/>
            <p:cNvSpPr>
              <a:spLocks noEditPoints="1"/>
            </p:cNvSpPr>
            <p:nvPr/>
          </p:nvSpPr>
          <p:spPr bwMode="auto">
            <a:xfrm>
              <a:off x="1138724" y="3295279"/>
              <a:ext cx="365599" cy="125566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solidFill>
              <a:schemeClr val="accent6">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4" name="Group 28"/>
            <p:cNvGrpSpPr/>
            <p:nvPr/>
          </p:nvGrpSpPr>
          <p:grpSpPr>
            <a:xfrm>
              <a:off x="907732" y="3834066"/>
              <a:ext cx="301657" cy="716879"/>
              <a:chOff x="1790700" y="2979738"/>
              <a:chExt cx="539750" cy="1282700"/>
            </a:xfrm>
          </p:grpSpPr>
          <p:sp>
            <p:nvSpPr>
              <p:cNvPr id="403" name="Rectangle 23"/>
              <p:cNvSpPr>
                <a:spLocks noChangeArrowheads="1"/>
              </p:cNvSpPr>
              <p:nvPr/>
            </p:nvSpPr>
            <p:spPr bwMode="auto">
              <a:xfrm>
                <a:off x="1790700" y="2986088"/>
                <a:ext cx="525463" cy="12763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4"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solidFill>
                <a:schemeClr val="accent1">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5" name="Group 58"/>
            <p:cNvGrpSpPr/>
            <p:nvPr/>
          </p:nvGrpSpPr>
          <p:grpSpPr>
            <a:xfrm>
              <a:off x="451344" y="3433051"/>
              <a:ext cx="502539" cy="1117894"/>
              <a:chOff x="50589" y="3098960"/>
              <a:chExt cx="550863" cy="1225389"/>
            </a:xfrm>
          </p:grpSpPr>
          <p:sp>
            <p:nvSpPr>
              <p:cNvPr id="401"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solidFill>
                <a:schemeClr val="accent4">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2"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6" name="Group 56"/>
            <p:cNvGrpSpPr/>
            <p:nvPr/>
          </p:nvGrpSpPr>
          <p:grpSpPr>
            <a:xfrm>
              <a:off x="1436339" y="3816688"/>
              <a:ext cx="2870409" cy="734257"/>
              <a:chOff x="1130300" y="3522663"/>
              <a:chExt cx="3146425" cy="804862"/>
            </a:xfrm>
          </p:grpSpPr>
          <p:sp>
            <p:nvSpPr>
              <p:cNvPr id="399"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solidFill>
                <a:srgbClr val="8DB54C"/>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0"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solidFill>
                <a:srgbClr val="049FD9"/>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7" name="Group 55"/>
            <p:cNvGrpSpPr/>
            <p:nvPr/>
          </p:nvGrpSpPr>
          <p:grpSpPr>
            <a:xfrm>
              <a:off x="4213209" y="3847101"/>
              <a:ext cx="1135885" cy="703844"/>
              <a:chOff x="4127500" y="2292350"/>
              <a:chExt cx="889000" cy="550863"/>
            </a:xfrm>
          </p:grpSpPr>
          <p:sp>
            <p:nvSpPr>
              <p:cNvPr id="395"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solidFill>
                <a:srgbClr val="63656A"/>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6"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solidFill>
                <a:srgbClr val="C6C7C9"/>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7"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solidFill>
                <a:srgbClr val="9D9DA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8"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solidFill>
                <a:srgbClr val="E8EBF0"/>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226" name="Freeform 70"/>
            <p:cNvSpPr>
              <a:spLocks noEditPoints="1"/>
            </p:cNvSpPr>
            <p:nvPr/>
          </p:nvSpPr>
          <p:spPr bwMode="auto">
            <a:xfrm>
              <a:off x="6846414" y="2999956"/>
              <a:ext cx="442573" cy="1550989"/>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solidFill>
              <a:schemeClr val="accent4">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8" name="Group 89"/>
            <p:cNvGrpSpPr/>
            <p:nvPr/>
          </p:nvGrpSpPr>
          <p:grpSpPr>
            <a:xfrm>
              <a:off x="5349095" y="3441920"/>
              <a:ext cx="1542753" cy="1109025"/>
              <a:chOff x="5820057" y="3111857"/>
              <a:chExt cx="1691103" cy="1215668"/>
            </a:xfrm>
          </p:grpSpPr>
          <p:grpSp>
            <p:nvGrpSpPr>
              <p:cNvPr id="9" name="Group 81"/>
              <p:cNvGrpSpPr/>
              <p:nvPr/>
            </p:nvGrpSpPr>
            <p:grpSpPr>
              <a:xfrm>
                <a:off x="5850148" y="3367629"/>
                <a:ext cx="1642959" cy="959896"/>
                <a:chOff x="9172575" y="1344613"/>
                <a:chExt cx="1733551" cy="1012825"/>
              </a:xfrm>
              <a:solidFill>
                <a:schemeClr val="bg1"/>
              </a:solidFill>
            </p:grpSpPr>
            <p:sp>
              <p:nvSpPr>
                <p:cNvPr id="391" name="Rectangle 390"/>
                <p:cNvSpPr/>
                <p:nvPr/>
              </p:nvSpPr>
              <p:spPr>
                <a:xfrm>
                  <a:off x="9527381" y="1344613"/>
                  <a:ext cx="1226344" cy="32702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10" name="Group 79"/>
                <p:cNvGrpSpPr/>
                <p:nvPr/>
              </p:nvGrpSpPr>
              <p:grpSpPr>
                <a:xfrm>
                  <a:off x="9172575" y="1344613"/>
                  <a:ext cx="1733551" cy="1012825"/>
                  <a:chOff x="9172575" y="1344613"/>
                  <a:chExt cx="1733551" cy="1012825"/>
                </a:xfrm>
                <a:grpFill/>
              </p:grpSpPr>
              <p:sp>
                <p:nvSpPr>
                  <p:cNvPr id="393"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4" name="Rectangle 393"/>
                  <p:cNvSpPr/>
                  <p:nvPr/>
                </p:nvSpPr>
                <p:spPr>
                  <a:xfrm>
                    <a:off x="9172575" y="1985963"/>
                    <a:ext cx="1454944" cy="37147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grpSp>
          <p:sp>
            <p:nvSpPr>
              <p:cNvPr id="390"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1" name="Group 116"/>
            <p:cNvGrpSpPr/>
            <p:nvPr/>
          </p:nvGrpSpPr>
          <p:grpSpPr>
            <a:xfrm>
              <a:off x="7291388" y="2731115"/>
              <a:ext cx="655637" cy="1819275"/>
              <a:chOff x="7291388" y="2198688"/>
              <a:chExt cx="655637" cy="1819275"/>
            </a:xfrm>
          </p:grpSpPr>
          <p:sp>
            <p:nvSpPr>
              <p:cNvPr id="387"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solidFill>
                <a:srgbClr val="14A79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8"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solidFill>
                <a:srgbClr val="22C6AA"/>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2" name="Group 109"/>
            <p:cNvGrpSpPr/>
            <p:nvPr/>
          </p:nvGrpSpPr>
          <p:grpSpPr>
            <a:xfrm>
              <a:off x="451344" y="2731115"/>
              <a:ext cx="8416431" cy="1819830"/>
              <a:chOff x="603744" y="2351088"/>
              <a:chExt cx="8416431" cy="1819830"/>
            </a:xfrm>
            <a:solidFill>
              <a:schemeClr val="accent1">
                <a:lumMod val="20000"/>
                <a:lumOff val="80000"/>
                <a:alpha val="77000"/>
              </a:schemeClr>
            </a:solidFill>
          </p:grpSpPr>
          <p:sp>
            <p:nvSpPr>
              <p:cNvPr id="255" name="Rectangle 254"/>
              <p:cNvSpPr/>
              <p:nvPr/>
            </p:nvSpPr>
            <p:spPr>
              <a:xfrm>
                <a:off x="8010525" y="4066320"/>
                <a:ext cx="1009650" cy="104598"/>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smtClean="0">
                  <a:solidFill>
                    <a:schemeClr val="tx1"/>
                  </a:solidFill>
                  <a:latin typeface="+mj-lt"/>
                  <a:ea typeface="ＭＳ Ｐゴシック" pitchFamily="34" charset="-128"/>
                </a:endParaRPr>
              </a:p>
            </p:txBody>
          </p:sp>
          <p:sp>
            <p:nvSpPr>
              <p:cNvPr id="261" name="Freeform 29"/>
              <p:cNvSpPr>
                <a:spLocks noEditPoints="1"/>
              </p:cNvSpPr>
              <p:nvPr/>
            </p:nvSpPr>
            <p:spPr bwMode="auto">
              <a:xfrm>
                <a:off x="1291124" y="2915252"/>
                <a:ext cx="365599" cy="125566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3" name="Group 28"/>
              <p:cNvGrpSpPr/>
              <p:nvPr/>
            </p:nvGrpSpPr>
            <p:grpSpPr>
              <a:xfrm>
                <a:off x="1060132" y="3454039"/>
                <a:ext cx="301657" cy="716879"/>
                <a:chOff x="1790700" y="2979738"/>
                <a:chExt cx="539750" cy="1282700"/>
              </a:xfrm>
              <a:grpFill/>
            </p:grpSpPr>
            <p:sp>
              <p:nvSpPr>
                <p:cNvPr id="385" name="Rectangle 23"/>
                <p:cNvSpPr>
                  <a:spLocks noChangeArrowheads="1"/>
                </p:cNvSpPr>
                <p:nvPr/>
              </p:nvSpPr>
              <p:spPr bwMode="auto">
                <a:xfrm>
                  <a:off x="1790700" y="2986088"/>
                  <a:ext cx="525463" cy="12763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6"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4" name="Group 58"/>
              <p:cNvGrpSpPr/>
              <p:nvPr/>
            </p:nvGrpSpPr>
            <p:grpSpPr>
              <a:xfrm>
                <a:off x="603744" y="3053024"/>
                <a:ext cx="502539" cy="1117894"/>
                <a:chOff x="50589" y="3098960"/>
                <a:chExt cx="550863" cy="1225389"/>
              </a:xfrm>
              <a:grpFill/>
            </p:grpSpPr>
            <p:sp>
              <p:nvSpPr>
                <p:cNvPr id="383"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4"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5" name="Group 56"/>
              <p:cNvGrpSpPr/>
              <p:nvPr/>
            </p:nvGrpSpPr>
            <p:grpSpPr>
              <a:xfrm>
                <a:off x="1588739" y="3436661"/>
                <a:ext cx="2870409" cy="734257"/>
                <a:chOff x="1130300" y="3522663"/>
                <a:chExt cx="3146425" cy="804862"/>
              </a:xfrm>
              <a:grpFill/>
            </p:grpSpPr>
            <p:sp>
              <p:nvSpPr>
                <p:cNvPr id="381"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2"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6" name="Group 55"/>
              <p:cNvGrpSpPr/>
              <p:nvPr/>
            </p:nvGrpSpPr>
            <p:grpSpPr>
              <a:xfrm>
                <a:off x="4365609" y="3467074"/>
                <a:ext cx="1135885" cy="703844"/>
                <a:chOff x="4127500" y="2292350"/>
                <a:chExt cx="889000" cy="550863"/>
              </a:xfrm>
              <a:grpFill/>
            </p:grpSpPr>
            <p:sp>
              <p:nvSpPr>
                <p:cNvPr id="377"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8"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9"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0"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66" name="Freeform 70"/>
              <p:cNvSpPr>
                <a:spLocks noEditPoints="1"/>
              </p:cNvSpPr>
              <p:nvPr/>
            </p:nvSpPr>
            <p:spPr bwMode="auto">
              <a:xfrm>
                <a:off x="6998814" y="2619929"/>
                <a:ext cx="442573" cy="1550989"/>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7" name="Group 89"/>
              <p:cNvGrpSpPr/>
              <p:nvPr/>
            </p:nvGrpSpPr>
            <p:grpSpPr>
              <a:xfrm>
                <a:off x="5501495" y="3061893"/>
                <a:ext cx="1542753" cy="1109025"/>
                <a:chOff x="5820057" y="3111857"/>
                <a:chExt cx="1691103" cy="1215668"/>
              </a:xfrm>
              <a:grpFill/>
            </p:grpSpPr>
            <p:grpSp>
              <p:nvGrpSpPr>
                <p:cNvPr id="18" name="Group 81"/>
                <p:cNvGrpSpPr/>
                <p:nvPr/>
              </p:nvGrpSpPr>
              <p:grpSpPr>
                <a:xfrm>
                  <a:off x="5850148" y="3367629"/>
                  <a:ext cx="1642959" cy="959896"/>
                  <a:chOff x="9172575" y="1344613"/>
                  <a:chExt cx="1733551" cy="1012825"/>
                </a:xfrm>
                <a:grpFill/>
              </p:grpSpPr>
              <p:sp>
                <p:nvSpPr>
                  <p:cNvPr id="373" name="Rectangle 372"/>
                  <p:cNvSpPr/>
                  <p:nvPr/>
                </p:nvSpPr>
                <p:spPr>
                  <a:xfrm>
                    <a:off x="9527381" y="1344613"/>
                    <a:ext cx="1226344" cy="32702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19" name="Group 79"/>
                  <p:cNvGrpSpPr/>
                  <p:nvPr/>
                </p:nvGrpSpPr>
                <p:grpSpPr>
                  <a:xfrm>
                    <a:off x="9172575" y="1344613"/>
                    <a:ext cx="1733551" cy="1012825"/>
                    <a:chOff x="9172575" y="1344613"/>
                    <a:chExt cx="1733551" cy="1012825"/>
                  </a:xfrm>
                  <a:grpFill/>
                </p:grpSpPr>
                <p:sp>
                  <p:nvSpPr>
                    <p:cNvPr id="375"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6" name="Rectangle 375"/>
                    <p:cNvSpPr/>
                    <p:nvPr/>
                  </p:nvSpPr>
                  <p:spPr>
                    <a:xfrm>
                      <a:off x="9172575" y="1985963"/>
                      <a:ext cx="1454944" cy="37147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grpSp>
            <p:sp>
              <p:nvSpPr>
                <p:cNvPr id="372"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0" name="Group 116"/>
              <p:cNvGrpSpPr/>
              <p:nvPr/>
            </p:nvGrpSpPr>
            <p:grpSpPr>
              <a:xfrm>
                <a:off x="7443788" y="2351088"/>
                <a:ext cx="655637" cy="1819275"/>
                <a:chOff x="7291388" y="2198688"/>
                <a:chExt cx="655637" cy="1819275"/>
              </a:xfrm>
              <a:grpFill/>
            </p:grpSpPr>
            <p:sp>
              <p:nvSpPr>
                <p:cNvPr id="369"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0"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grpSp>
      <p:sp>
        <p:nvSpPr>
          <p:cNvPr id="412" name="Oval 2"/>
          <p:cNvSpPr/>
          <p:nvPr/>
        </p:nvSpPr>
        <p:spPr>
          <a:xfrm>
            <a:off x="273050" y="4116819"/>
            <a:ext cx="1183410" cy="591706"/>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13" name="Oval 2"/>
          <p:cNvSpPr/>
          <p:nvPr/>
        </p:nvSpPr>
        <p:spPr>
          <a:xfrm>
            <a:off x="2836897" y="3214863"/>
            <a:ext cx="3473911" cy="1493662"/>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14" name="Oval 2"/>
          <p:cNvSpPr/>
          <p:nvPr/>
        </p:nvSpPr>
        <p:spPr>
          <a:xfrm>
            <a:off x="1250084" y="3811930"/>
            <a:ext cx="1793189" cy="896595"/>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15" name="Oval 2"/>
          <p:cNvSpPr/>
          <p:nvPr/>
        </p:nvSpPr>
        <p:spPr>
          <a:xfrm>
            <a:off x="6104432" y="3811930"/>
            <a:ext cx="1793189" cy="896595"/>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16" name="Oval 2"/>
          <p:cNvSpPr/>
          <p:nvPr/>
        </p:nvSpPr>
        <p:spPr>
          <a:xfrm>
            <a:off x="7691246" y="4116819"/>
            <a:ext cx="1183410" cy="591706"/>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1" name="Group 416"/>
          <p:cNvGrpSpPr/>
          <p:nvPr/>
        </p:nvGrpSpPr>
        <p:grpSpPr>
          <a:xfrm>
            <a:off x="1850960" y="3406968"/>
            <a:ext cx="591437" cy="591437"/>
            <a:chOff x="2209800" y="1885950"/>
            <a:chExt cx="679152" cy="679152"/>
          </a:xfrm>
        </p:grpSpPr>
        <p:sp>
          <p:nvSpPr>
            <p:cNvPr id="418" name="Teardrop 417"/>
            <p:cNvSpPr/>
            <p:nvPr/>
          </p:nvSpPr>
          <p:spPr>
            <a:xfrm rot="8100000">
              <a:off x="2209800" y="1885950"/>
              <a:ext cx="679152" cy="679152"/>
            </a:xfrm>
            <a:prstGeom prst="teardrop">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mj-lt"/>
              </a:endParaRPr>
            </a:p>
          </p:txBody>
        </p:sp>
        <p:sp>
          <p:nvSpPr>
            <p:cNvPr id="419" name="Rectangle 418"/>
            <p:cNvSpPr/>
            <p:nvPr/>
          </p:nvSpPr>
          <p:spPr>
            <a:xfrm>
              <a:off x="2260202" y="2150207"/>
              <a:ext cx="569106" cy="176711"/>
            </a:xfrm>
            <a:prstGeom prst="rect">
              <a:avLst/>
            </a:prstGeom>
          </p:spPr>
          <p:txBody>
            <a:bodyPr wrap="square" lIns="0" tIns="0" rIns="0" bIns="0">
              <a:spAutoFit/>
            </a:bodyPr>
            <a:lstStyle/>
            <a:p>
              <a:pPr algn="ctr"/>
              <a:r>
                <a:rPr lang="en-US" sz="1000" b="1" dirty="0" smtClean="0">
                  <a:solidFill>
                    <a:schemeClr val="bg1"/>
                  </a:solidFill>
                  <a:latin typeface="+mj-lt"/>
                </a:rPr>
                <a:t>Wi-Fi</a:t>
              </a:r>
            </a:p>
          </p:txBody>
        </p:sp>
      </p:grpSp>
      <p:grpSp>
        <p:nvGrpSpPr>
          <p:cNvPr id="22" name="Group 419"/>
          <p:cNvGrpSpPr/>
          <p:nvPr/>
        </p:nvGrpSpPr>
        <p:grpSpPr>
          <a:xfrm>
            <a:off x="4278134" y="2885849"/>
            <a:ext cx="591437" cy="591437"/>
            <a:chOff x="2209800" y="1885950"/>
            <a:chExt cx="679152" cy="679152"/>
          </a:xfrm>
        </p:grpSpPr>
        <p:sp>
          <p:nvSpPr>
            <p:cNvPr id="421" name="Teardrop 420"/>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mj-lt"/>
              </a:endParaRPr>
            </a:p>
          </p:txBody>
        </p:sp>
        <p:sp>
          <p:nvSpPr>
            <p:cNvPr id="422" name="Rectangle 421"/>
            <p:cNvSpPr/>
            <p:nvPr/>
          </p:nvSpPr>
          <p:spPr>
            <a:xfrm>
              <a:off x="2260202" y="2113217"/>
              <a:ext cx="569106" cy="353423"/>
            </a:xfrm>
            <a:prstGeom prst="rect">
              <a:avLst/>
            </a:prstGeom>
          </p:spPr>
          <p:txBody>
            <a:bodyPr wrap="square" lIns="0" tIns="0" rIns="0" bIns="0">
              <a:spAutoFit/>
            </a:bodyPr>
            <a:lstStyle/>
            <a:p>
              <a:pPr algn="ctr"/>
              <a:r>
                <a:rPr lang="en-US" sz="1000" b="1" dirty="0" smtClean="0">
                  <a:solidFill>
                    <a:schemeClr val="bg1"/>
                  </a:solidFill>
                  <a:latin typeface="+mj-lt"/>
                </a:rPr>
                <a:t>2G, 3G,</a:t>
              </a:r>
              <a:br>
                <a:rPr lang="en-US" sz="1000" b="1" dirty="0" smtClean="0">
                  <a:solidFill>
                    <a:schemeClr val="bg1"/>
                  </a:solidFill>
                  <a:latin typeface="+mj-lt"/>
                </a:rPr>
              </a:br>
              <a:r>
                <a:rPr lang="en-US" sz="1000" b="1" dirty="0" smtClean="0">
                  <a:solidFill>
                    <a:schemeClr val="bg1"/>
                  </a:solidFill>
                  <a:latin typeface="+mj-lt"/>
                </a:rPr>
                <a:t>LTE</a:t>
              </a:r>
            </a:p>
          </p:txBody>
        </p:sp>
      </p:grpSp>
      <p:grpSp>
        <p:nvGrpSpPr>
          <p:cNvPr id="23" name="Group 422"/>
          <p:cNvGrpSpPr/>
          <p:nvPr/>
        </p:nvGrpSpPr>
        <p:grpSpPr>
          <a:xfrm>
            <a:off x="6705308" y="3406968"/>
            <a:ext cx="591437" cy="591437"/>
            <a:chOff x="2209800" y="1885950"/>
            <a:chExt cx="679152" cy="679152"/>
          </a:xfrm>
        </p:grpSpPr>
        <p:sp>
          <p:nvSpPr>
            <p:cNvPr id="424" name="Teardrop 423"/>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mj-lt"/>
              </a:endParaRPr>
            </a:p>
          </p:txBody>
        </p:sp>
        <p:sp>
          <p:nvSpPr>
            <p:cNvPr id="425" name="Rectangle 424"/>
            <p:cNvSpPr/>
            <p:nvPr/>
          </p:nvSpPr>
          <p:spPr>
            <a:xfrm>
              <a:off x="2260202" y="2039234"/>
              <a:ext cx="569106" cy="353423"/>
            </a:xfrm>
            <a:prstGeom prst="rect">
              <a:avLst/>
            </a:prstGeom>
          </p:spPr>
          <p:txBody>
            <a:bodyPr wrap="square" lIns="0" tIns="0" rIns="0" bIns="0">
              <a:spAutoFit/>
            </a:bodyPr>
            <a:lstStyle/>
            <a:p>
              <a:pPr algn="ctr"/>
              <a:r>
                <a:rPr lang="en-US" sz="1000" b="1" dirty="0" smtClean="0">
                  <a:solidFill>
                    <a:schemeClr val="bg1"/>
                  </a:solidFill>
                  <a:latin typeface="+mj-lt"/>
                </a:rPr>
                <a:t>LTE/</a:t>
              </a:r>
              <a:br>
                <a:rPr lang="en-US" sz="1000" b="1" dirty="0" smtClean="0">
                  <a:solidFill>
                    <a:schemeClr val="bg1"/>
                  </a:solidFill>
                  <a:latin typeface="+mj-lt"/>
                </a:rPr>
              </a:br>
              <a:r>
                <a:rPr lang="en-US" sz="1000" b="1" dirty="0" smtClean="0">
                  <a:solidFill>
                    <a:schemeClr val="bg1"/>
                  </a:solidFill>
                  <a:latin typeface="+mj-lt"/>
                </a:rPr>
                <a:t>CAT-M1</a:t>
              </a:r>
            </a:p>
          </p:txBody>
        </p:sp>
      </p:grpSp>
      <p:grpSp>
        <p:nvGrpSpPr>
          <p:cNvPr id="24" name="Group 425"/>
          <p:cNvGrpSpPr/>
          <p:nvPr/>
        </p:nvGrpSpPr>
        <p:grpSpPr>
          <a:xfrm>
            <a:off x="7987233" y="3704800"/>
            <a:ext cx="591437" cy="591437"/>
            <a:chOff x="2209800" y="1885950"/>
            <a:chExt cx="679152" cy="679152"/>
          </a:xfrm>
        </p:grpSpPr>
        <p:sp>
          <p:nvSpPr>
            <p:cNvPr id="427" name="Teardrop 426"/>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mj-lt"/>
              </a:endParaRPr>
            </a:p>
          </p:txBody>
        </p:sp>
        <p:sp>
          <p:nvSpPr>
            <p:cNvPr id="428" name="Rectangle 427"/>
            <p:cNvSpPr/>
            <p:nvPr/>
          </p:nvSpPr>
          <p:spPr>
            <a:xfrm>
              <a:off x="2260202" y="2113217"/>
              <a:ext cx="569106" cy="353423"/>
            </a:xfrm>
            <a:prstGeom prst="rect">
              <a:avLst/>
            </a:prstGeom>
          </p:spPr>
          <p:txBody>
            <a:bodyPr wrap="square" lIns="0" tIns="0" rIns="0" bIns="0">
              <a:spAutoFit/>
            </a:bodyPr>
            <a:lstStyle/>
            <a:p>
              <a:pPr algn="ctr"/>
              <a:r>
                <a:rPr lang="en-US" sz="1000" b="1" dirty="0" smtClean="0">
                  <a:solidFill>
                    <a:schemeClr val="bg1"/>
                  </a:solidFill>
                  <a:latin typeface="+mj-lt"/>
                </a:rPr>
                <a:t>NB-</a:t>
              </a:r>
              <a:br>
                <a:rPr lang="en-US" sz="1000" b="1" dirty="0" smtClean="0">
                  <a:solidFill>
                    <a:schemeClr val="bg1"/>
                  </a:solidFill>
                  <a:latin typeface="+mj-lt"/>
                </a:rPr>
              </a:br>
              <a:r>
                <a:rPr lang="en-US" sz="1000" b="1" dirty="0" err="1" smtClean="0">
                  <a:solidFill>
                    <a:schemeClr val="bg1"/>
                  </a:solidFill>
                  <a:latin typeface="+mj-lt"/>
                </a:rPr>
                <a:t>IoT</a:t>
              </a:r>
              <a:endParaRPr lang="en-US" sz="1000" b="1" dirty="0" smtClean="0">
                <a:solidFill>
                  <a:schemeClr val="bg1"/>
                </a:solidFill>
                <a:latin typeface="+mj-lt"/>
              </a:endParaRPr>
            </a:p>
          </p:txBody>
        </p:sp>
      </p:grpSp>
      <p:grpSp>
        <p:nvGrpSpPr>
          <p:cNvPr id="25" name="Group 428"/>
          <p:cNvGrpSpPr/>
          <p:nvPr/>
        </p:nvGrpSpPr>
        <p:grpSpPr>
          <a:xfrm>
            <a:off x="567069" y="3700864"/>
            <a:ext cx="595373" cy="595373"/>
            <a:chOff x="682652" y="2569917"/>
            <a:chExt cx="679152" cy="679152"/>
          </a:xfrm>
        </p:grpSpPr>
        <p:sp>
          <p:nvSpPr>
            <p:cNvPr id="430" name="Teardrop 429"/>
            <p:cNvSpPr/>
            <p:nvPr/>
          </p:nvSpPr>
          <p:spPr>
            <a:xfrm rot="8100000">
              <a:off x="682652" y="2569917"/>
              <a:ext cx="679152" cy="679152"/>
            </a:xfrm>
            <a:prstGeom prst="teardrop">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mj-lt"/>
              </a:endParaRPr>
            </a:p>
          </p:txBody>
        </p:sp>
        <p:sp>
          <p:nvSpPr>
            <p:cNvPr id="431" name="Rectangle 430"/>
            <p:cNvSpPr/>
            <p:nvPr/>
          </p:nvSpPr>
          <p:spPr>
            <a:xfrm>
              <a:off x="734891" y="2742272"/>
              <a:ext cx="574677" cy="315977"/>
            </a:xfrm>
            <a:prstGeom prst="rect">
              <a:avLst/>
            </a:prstGeom>
          </p:spPr>
          <p:txBody>
            <a:bodyPr wrap="square" lIns="0" tIns="0" rIns="0" bIns="0">
              <a:spAutoFit/>
            </a:bodyPr>
            <a:lstStyle/>
            <a:p>
              <a:pPr algn="ctr"/>
              <a:r>
                <a:rPr lang="en-US" sz="900" b="1" dirty="0" err="1" smtClean="0">
                  <a:solidFill>
                    <a:schemeClr val="bg1"/>
                  </a:solidFill>
                  <a:latin typeface="+mj-lt"/>
                </a:rPr>
                <a:t>LoRa</a:t>
              </a:r>
              <a:endParaRPr lang="en-US" sz="900" b="1" dirty="0" smtClean="0">
                <a:solidFill>
                  <a:schemeClr val="bg1"/>
                </a:solidFill>
                <a:latin typeface="+mj-lt"/>
              </a:endParaRPr>
            </a:p>
            <a:p>
              <a:pPr algn="ctr"/>
              <a:r>
                <a:rPr lang="en-US" sz="900" b="1" dirty="0" smtClean="0">
                  <a:solidFill>
                    <a:schemeClr val="bg1"/>
                  </a:solidFill>
                  <a:latin typeface="+mj-lt"/>
                </a:rPr>
                <a:t>WAN</a:t>
              </a:r>
              <a:endParaRPr lang="en-US" sz="900" b="1" dirty="0">
                <a:solidFill>
                  <a:schemeClr val="bg1"/>
                </a:solidFill>
                <a:latin typeface="+mj-lt"/>
              </a:endParaRPr>
            </a:p>
          </p:txBody>
        </p:sp>
      </p:grpSp>
      <p:sp>
        <p:nvSpPr>
          <p:cNvPr id="432" name="Rectangle 431"/>
          <p:cNvSpPr/>
          <p:nvPr/>
        </p:nvSpPr>
        <p:spPr>
          <a:xfrm>
            <a:off x="273049" y="4717712"/>
            <a:ext cx="8601607" cy="40896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pic>
        <p:nvPicPr>
          <p:cNvPr id="43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77679" y="4802382"/>
            <a:ext cx="424180" cy="2651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34" name="Rectangle 7"/>
          <p:cNvSpPr>
            <a:spLocks noChangeArrowheads="1"/>
          </p:cNvSpPr>
          <p:nvPr/>
        </p:nvSpPr>
        <p:spPr bwMode="ltGray">
          <a:xfrm>
            <a:off x="8523184" y="4919453"/>
            <a:ext cx="210937"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mj-lt"/>
                <a:ea typeface="+mn-ea"/>
                <a:cs typeface="CiscoSans Thin"/>
              </a:rPr>
              <a:pPr algn="r" defTabSz="610744" fontAlgn="auto">
                <a:spcBef>
                  <a:spcPts val="0"/>
                </a:spcBef>
                <a:spcAft>
                  <a:spcPts val="0"/>
                </a:spcAft>
                <a:defRPr/>
              </a:pPr>
              <a:t>30</a:t>
            </a:fld>
            <a:endParaRPr lang="en-US" sz="600" dirty="0">
              <a:solidFill>
                <a:srgbClr val="000000">
                  <a:alpha val="25000"/>
                </a:srgbClr>
              </a:solidFill>
              <a:latin typeface="+mj-lt"/>
              <a:ea typeface="+mn-ea"/>
              <a:cs typeface="CiscoSans Thin"/>
            </a:endParaRPr>
          </a:p>
        </p:txBody>
      </p:sp>
      <p:sp>
        <p:nvSpPr>
          <p:cNvPr id="435" name="Rectangle 4"/>
          <p:cNvSpPr>
            <a:spLocks noChangeArrowheads="1"/>
          </p:cNvSpPr>
          <p:nvPr/>
        </p:nvSpPr>
        <p:spPr bwMode="ltGray">
          <a:xfrm>
            <a:off x="5286375" y="4917739"/>
            <a:ext cx="3167715" cy="154518"/>
          </a:xfrm>
          <a:prstGeom prst="rect">
            <a:avLst/>
          </a:prstGeom>
          <a:noFill/>
          <a:ln w="9525">
            <a:noFill/>
            <a:miter lim="800000"/>
            <a:headEnd/>
            <a:tailEnd/>
          </a:ln>
          <a:effectLst/>
        </p:spPr>
        <p:txBody>
          <a:bodyPr wrap="square" lIns="61586" tIns="30792" rIns="61586" bIns="30792" anchor="b">
            <a:spAutoFit/>
          </a:bodyPr>
          <a:lstStyle/>
          <a:p>
            <a:pPr algn="r" defTabSz="610744" rtl="0" fontAlgn="auto">
              <a:spcBef>
                <a:spcPts val="0"/>
              </a:spcBef>
              <a:spcAft>
                <a:spcPts val="0"/>
              </a:spcAft>
              <a:defRPr/>
            </a:pPr>
            <a:r>
              <a:rPr lang="en-US" sz="600" kern="1200" dirty="0" smtClean="0">
                <a:solidFill>
                  <a:srgbClr val="000000">
                    <a:alpha val="25000"/>
                  </a:srgbClr>
                </a:solidFill>
                <a:latin typeface="+mj-lt"/>
                <a:ea typeface="+mn-ea"/>
                <a:cs typeface="CiscoSans Thin"/>
              </a:rPr>
              <a:t>C97-738596-00 © 2017  Cisco and/or its affiliates. All rights reserved.   Cisco Confidential</a:t>
            </a:r>
          </a:p>
        </p:txBody>
      </p:sp>
      <p:sp>
        <p:nvSpPr>
          <p:cNvPr id="411" name="Freeform 6"/>
          <p:cNvSpPr>
            <a:spLocks/>
          </p:cNvSpPr>
          <p:nvPr/>
        </p:nvSpPr>
        <p:spPr bwMode="auto">
          <a:xfrm>
            <a:off x="3886201" y="1875692"/>
            <a:ext cx="1371600" cy="877888"/>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7" name="Rectangle 436"/>
          <p:cNvSpPr/>
          <p:nvPr/>
        </p:nvSpPr>
        <p:spPr>
          <a:xfrm>
            <a:off x="3783566" y="2116542"/>
            <a:ext cx="1576867" cy="553998"/>
          </a:xfrm>
          <a:prstGeom prst="rect">
            <a:avLst/>
          </a:prstGeom>
        </p:spPr>
        <p:txBody>
          <a:bodyPr wrap="square" lIns="0" tIns="0" rIns="0" bIns="0">
            <a:spAutoFit/>
          </a:bodyPr>
          <a:lstStyle/>
          <a:p>
            <a:pPr lvl="0" algn="ctr"/>
            <a:r>
              <a:rPr lang="en-US" sz="1200" b="1" kern="0" dirty="0" smtClean="0">
                <a:solidFill>
                  <a:schemeClr val="tx2"/>
                </a:solidFill>
                <a:latin typeface="+mj-lt"/>
              </a:rPr>
              <a:t>Cisco</a:t>
            </a:r>
            <a:br>
              <a:rPr lang="en-US" sz="1200" b="1" kern="0" dirty="0" smtClean="0">
                <a:solidFill>
                  <a:schemeClr val="tx2"/>
                </a:solidFill>
                <a:latin typeface="+mj-lt"/>
              </a:rPr>
            </a:br>
            <a:r>
              <a:rPr lang="en-US" sz="1200" b="1" kern="0" dirty="0" smtClean="0">
                <a:solidFill>
                  <a:schemeClr val="tx2"/>
                </a:solidFill>
                <a:latin typeface="+mj-lt"/>
              </a:rPr>
              <a:t>Ultra Services</a:t>
            </a:r>
            <a:br>
              <a:rPr lang="en-US" sz="1200" b="1" kern="0" dirty="0" smtClean="0">
                <a:solidFill>
                  <a:schemeClr val="tx2"/>
                </a:solidFill>
                <a:latin typeface="+mj-lt"/>
              </a:rPr>
            </a:br>
            <a:r>
              <a:rPr lang="en-US" sz="1200" b="1" kern="0" dirty="0" smtClean="0">
                <a:solidFill>
                  <a:schemeClr val="tx2"/>
                </a:solidFill>
                <a:latin typeface="+mj-lt"/>
              </a:rPr>
              <a:t>Platform</a:t>
            </a:r>
            <a:endParaRPr lang="en-US" sz="1200" b="1" kern="0" dirty="0">
              <a:solidFill>
                <a:schemeClr val="tx2"/>
              </a:solidFill>
              <a:latin typeface="+mj-lt"/>
            </a:endParaRPr>
          </a:p>
        </p:txBody>
      </p:sp>
      <p:grpSp>
        <p:nvGrpSpPr>
          <p:cNvPr id="26" name="Group 459"/>
          <p:cNvGrpSpPr/>
          <p:nvPr/>
        </p:nvGrpSpPr>
        <p:grpSpPr>
          <a:xfrm>
            <a:off x="5135404" y="1875692"/>
            <a:ext cx="983031" cy="629186"/>
            <a:chOff x="5135405" y="1802864"/>
            <a:chExt cx="839020" cy="537012"/>
          </a:xfrm>
        </p:grpSpPr>
        <p:sp>
          <p:nvSpPr>
            <p:cNvPr id="458" name="Freeform 6"/>
            <p:cNvSpPr>
              <a:spLocks/>
            </p:cNvSpPr>
            <p:nvPr/>
          </p:nvSpPr>
          <p:spPr bwMode="auto">
            <a:xfrm>
              <a:off x="5135405" y="1802864"/>
              <a:ext cx="839020" cy="537012"/>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solidFill>
              <a:schemeClr val="accent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9" name="Rectangle 458"/>
            <p:cNvSpPr/>
            <p:nvPr/>
          </p:nvSpPr>
          <p:spPr>
            <a:xfrm>
              <a:off x="5178256" y="2020629"/>
              <a:ext cx="753318" cy="236419"/>
            </a:xfrm>
            <a:prstGeom prst="rect">
              <a:avLst/>
            </a:prstGeom>
          </p:spPr>
          <p:txBody>
            <a:bodyPr wrap="square" lIns="0" tIns="0" rIns="0" bIns="0">
              <a:spAutoFit/>
            </a:bodyPr>
            <a:lstStyle/>
            <a:p>
              <a:pPr lvl="0" algn="ctr"/>
              <a:r>
                <a:rPr lang="en-US" sz="900" kern="0" dirty="0" smtClean="0">
                  <a:solidFill>
                    <a:schemeClr val="bg1"/>
                  </a:solidFill>
                  <a:latin typeface="+mj-lt"/>
                </a:rPr>
                <a:t>Cisco Jasper</a:t>
              </a:r>
              <a:br>
                <a:rPr lang="en-US" sz="900" kern="0" dirty="0" smtClean="0">
                  <a:solidFill>
                    <a:schemeClr val="bg1"/>
                  </a:solidFill>
                  <a:latin typeface="+mj-lt"/>
                </a:rPr>
              </a:br>
              <a:r>
                <a:rPr lang="en-US" sz="900" kern="0" dirty="0" smtClean="0">
                  <a:solidFill>
                    <a:schemeClr val="bg1"/>
                  </a:solidFill>
                  <a:latin typeface="+mj-lt"/>
                </a:rPr>
                <a:t>Control Center</a:t>
              </a:r>
              <a:endParaRPr lang="en-US" sz="900" kern="0" dirty="0">
                <a:solidFill>
                  <a:schemeClr val="bg1"/>
                </a:solidFill>
                <a:latin typeface="+mj-lt"/>
              </a:endParaRPr>
            </a:p>
          </p:txBody>
        </p:sp>
      </p:grpSp>
      <p:sp>
        <p:nvSpPr>
          <p:cNvPr id="461" name="Rectangle 460"/>
          <p:cNvSpPr/>
          <p:nvPr/>
        </p:nvSpPr>
        <p:spPr>
          <a:xfrm>
            <a:off x="7173880" y="1718202"/>
            <a:ext cx="1566776" cy="338554"/>
          </a:xfrm>
          <a:prstGeom prst="rect">
            <a:avLst/>
          </a:prstGeom>
          <a:no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marL="137160" indent="-137160">
              <a:buFont typeface="Arial" pitchFamily="34" charset="0"/>
              <a:buChar char="•"/>
            </a:pPr>
            <a:r>
              <a:rPr lang="en-US" sz="1100" dirty="0" smtClean="0">
                <a:solidFill>
                  <a:schemeClr val="tx2"/>
                </a:solidFill>
                <a:latin typeface="+mj-lt"/>
              </a:rPr>
              <a:t>Pervasive Connectivity</a:t>
            </a:r>
            <a:br>
              <a:rPr lang="en-US" sz="1100" dirty="0" smtClean="0">
                <a:solidFill>
                  <a:schemeClr val="tx2"/>
                </a:solidFill>
                <a:latin typeface="+mj-lt"/>
              </a:rPr>
            </a:br>
            <a:r>
              <a:rPr lang="en-US" sz="1100" dirty="0" smtClean="0">
                <a:solidFill>
                  <a:schemeClr val="tx2"/>
                </a:solidFill>
                <a:latin typeface="+mj-lt"/>
              </a:rPr>
              <a:t>Management</a:t>
            </a:r>
            <a:endParaRPr lang="en-US" sz="1100" dirty="0">
              <a:solidFill>
                <a:schemeClr val="tx2"/>
              </a:solidFill>
              <a:latin typeface="+mj-lt"/>
            </a:endParaRPr>
          </a:p>
        </p:txBody>
      </p:sp>
      <p:sp>
        <p:nvSpPr>
          <p:cNvPr id="462" name="Rectangle 461"/>
          <p:cNvSpPr/>
          <p:nvPr/>
        </p:nvSpPr>
        <p:spPr>
          <a:xfrm>
            <a:off x="7173880" y="2095285"/>
            <a:ext cx="1393651" cy="338554"/>
          </a:xfrm>
          <a:prstGeom prst="rect">
            <a:avLst/>
          </a:prstGeom>
          <a:no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marL="137160" indent="-137160">
              <a:buFont typeface="Arial" pitchFamily="34" charset="0"/>
              <a:buChar char="•"/>
            </a:pPr>
            <a:r>
              <a:rPr lang="en-US" sz="1100" dirty="0" smtClean="0">
                <a:solidFill>
                  <a:schemeClr val="tx2"/>
                </a:solidFill>
                <a:latin typeface="+mj-lt"/>
              </a:rPr>
              <a:t>Multi-Access Mobile</a:t>
            </a:r>
            <a:br>
              <a:rPr lang="en-US" sz="1100" dirty="0" smtClean="0">
                <a:solidFill>
                  <a:schemeClr val="tx2"/>
                </a:solidFill>
                <a:latin typeface="+mj-lt"/>
              </a:rPr>
            </a:br>
            <a:r>
              <a:rPr lang="en-US" sz="1100" dirty="0" smtClean="0">
                <a:solidFill>
                  <a:schemeClr val="tx2"/>
                </a:solidFill>
                <a:latin typeface="+mj-lt"/>
              </a:rPr>
              <a:t>Core Network</a:t>
            </a:r>
          </a:p>
        </p:txBody>
      </p:sp>
      <p:sp>
        <p:nvSpPr>
          <p:cNvPr id="463" name="Rectangle 462"/>
          <p:cNvSpPr/>
          <p:nvPr/>
        </p:nvSpPr>
        <p:spPr>
          <a:xfrm>
            <a:off x="7173880" y="2472369"/>
            <a:ext cx="1717458" cy="338554"/>
          </a:xfrm>
          <a:prstGeom prst="rect">
            <a:avLst/>
          </a:prstGeom>
          <a:no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marL="137160" indent="-137160">
              <a:buFont typeface="Arial" pitchFamily="34" charset="0"/>
              <a:buChar char="•"/>
            </a:pPr>
            <a:r>
              <a:rPr lang="en-US" sz="1100" dirty="0" smtClean="0">
                <a:solidFill>
                  <a:schemeClr val="tx2"/>
                </a:solidFill>
                <a:latin typeface="+mj-lt"/>
              </a:rPr>
              <a:t>Licensed and Unlicensed</a:t>
            </a:r>
            <a:br>
              <a:rPr lang="en-US" sz="1100" dirty="0" smtClean="0">
                <a:solidFill>
                  <a:schemeClr val="tx2"/>
                </a:solidFill>
                <a:latin typeface="+mj-lt"/>
              </a:rPr>
            </a:br>
            <a:r>
              <a:rPr lang="en-US" sz="1100" dirty="0" smtClean="0">
                <a:solidFill>
                  <a:schemeClr val="tx2"/>
                </a:solidFill>
                <a:latin typeface="+mj-lt"/>
              </a:rPr>
              <a:t>Access Solutions</a:t>
            </a:r>
            <a:endParaRPr lang="en-US" sz="1100" dirty="0">
              <a:solidFill>
                <a:schemeClr val="tx2"/>
              </a:solidFill>
              <a:latin typeface="+mj-lt"/>
            </a:endParaRPr>
          </a:p>
        </p:txBody>
      </p:sp>
      <p:cxnSp>
        <p:nvCxnSpPr>
          <p:cNvPr id="469" name="Elbow Connector 468"/>
          <p:cNvCxnSpPr/>
          <p:nvPr/>
        </p:nvCxnSpPr>
        <p:spPr>
          <a:xfrm rot="10800000" flipV="1">
            <a:off x="873683" y="1787743"/>
            <a:ext cx="12700" cy="1554480"/>
          </a:xfrm>
          <a:prstGeom prst="bentConnector3">
            <a:avLst>
              <a:gd name="adj1" fmla="val 180000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70" name="Rectangle 469"/>
          <p:cNvSpPr/>
          <p:nvPr/>
        </p:nvSpPr>
        <p:spPr>
          <a:xfrm rot="16200000">
            <a:off x="195773" y="2457261"/>
            <a:ext cx="647613" cy="215444"/>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spAutoFit/>
          </a:bodyPr>
          <a:lstStyle/>
          <a:p>
            <a:pPr algn="ctr"/>
            <a:r>
              <a:rPr lang="en-US" sz="1400" dirty="0" smtClean="0">
                <a:solidFill>
                  <a:schemeClr val="tx2"/>
                </a:solidFill>
                <a:latin typeface="+mj-lt"/>
              </a:rPr>
              <a:t>Security</a:t>
            </a:r>
            <a:endParaRPr lang="en-US" sz="1400" dirty="0">
              <a:solidFill>
                <a:schemeClr val="tx2"/>
              </a:solidFill>
              <a:latin typeface="+mj-lt"/>
            </a:endParaRPr>
          </a:p>
        </p:txBody>
      </p:sp>
      <p:grpSp>
        <p:nvGrpSpPr>
          <p:cNvPr id="27" name="Group 487"/>
          <p:cNvGrpSpPr/>
          <p:nvPr/>
        </p:nvGrpSpPr>
        <p:grpSpPr>
          <a:xfrm>
            <a:off x="1436046" y="1086614"/>
            <a:ext cx="1954517" cy="634681"/>
            <a:chOff x="1436046" y="1094706"/>
            <a:chExt cx="1954517" cy="634681"/>
          </a:xfrm>
        </p:grpSpPr>
        <p:sp>
          <p:nvSpPr>
            <p:cNvPr id="471" name="Rectangle 470"/>
            <p:cNvSpPr/>
            <p:nvPr/>
          </p:nvSpPr>
          <p:spPr>
            <a:xfrm>
              <a:off x="2151506" y="1158131"/>
              <a:ext cx="1239057" cy="507831"/>
            </a:xfrm>
            <a:prstGeom prst="rect">
              <a:avLst/>
            </a:prstGeom>
          </p:spPr>
          <p:txBody>
            <a:bodyPr wrap="square" lIns="0" tIns="0" rIns="0" bIns="0">
              <a:spAutoFit/>
            </a:bodyPr>
            <a:lstStyle/>
            <a:p>
              <a:pPr marL="7144" lvl="5" defTabSz="685193">
                <a:spcBef>
                  <a:spcPts val="225"/>
                </a:spcBef>
                <a:defRPr/>
              </a:pPr>
              <a:r>
                <a:rPr lang="en-US" sz="1100" b="1" kern="0" dirty="0" smtClean="0">
                  <a:solidFill>
                    <a:schemeClr val="accent1"/>
                  </a:solidFill>
                  <a:latin typeface="+mj-lt"/>
                </a:rPr>
                <a:t>Cisco </a:t>
              </a:r>
              <a:r>
                <a:rPr lang="en-US" sz="1100" b="1" kern="0" dirty="0" err="1" smtClean="0">
                  <a:solidFill>
                    <a:schemeClr val="accent1"/>
                  </a:solidFill>
                  <a:latin typeface="+mj-lt"/>
                </a:rPr>
                <a:t>Smart+Connected</a:t>
              </a:r>
              <a:r>
                <a:rPr lang="en-US" sz="1100" b="1" kern="0" dirty="0" smtClean="0">
                  <a:solidFill>
                    <a:schemeClr val="accent1"/>
                  </a:solidFill>
                  <a:latin typeface="+mj-lt"/>
                </a:rPr>
                <a:t/>
              </a:r>
              <a:br>
                <a:rPr lang="en-US" sz="1100" b="1" kern="0" dirty="0" smtClean="0">
                  <a:solidFill>
                    <a:schemeClr val="accent1"/>
                  </a:solidFill>
                  <a:latin typeface="+mj-lt"/>
                </a:rPr>
              </a:br>
              <a:r>
                <a:rPr lang="en-US" sz="1100" b="1" kern="0" dirty="0" smtClean="0">
                  <a:solidFill>
                    <a:schemeClr val="accent1"/>
                  </a:solidFill>
                  <a:latin typeface="+mj-lt"/>
                </a:rPr>
                <a:t>Communities</a:t>
              </a:r>
              <a:endParaRPr lang="en-US" sz="1100" b="1" kern="0" dirty="0">
                <a:solidFill>
                  <a:schemeClr val="accent1"/>
                </a:solidFill>
                <a:latin typeface="+mj-lt"/>
              </a:endParaRPr>
            </a:p>
          </p:txBody>
        </p:sp>
        <p:grpSp>
          <p:nvGrpSpPr>
            <p:cNvPr id="28" name="Group 473"/>
            <p:cNvGrpSpPr/>
            <p:nvPr/>
          </p:nvGrpSpPr>
          <p:grpSpPr>
            <a:xfrm>
              <a:off x="1436046" y="1094706"/>
              <a:ext cx="634681" cy="634681"/>
              <a:chOff x="2469346" y="1514475"/>
              <a:chExt cx="634681" cy="634681"/>
            </a:xfrm>
          </p:grpSpPr>
          <p:sp>
            <p:nvSpPr>
              <p:cNvPr id="475" name="Oval 474"/>
              <p:cNvSpPr/>
              <p:nvPr/>
            </p:nvSpPr>
            <p:spPr>
              <a:xfrm>
                <a:off x="2469346" y="1514475"/>
                <a:ext cx="634681" cy="63468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76" name="Freeform 11"/>
              <p:cNvSpPr>
                <a:spLocks noEditPoints="1"/>
              </p:cNvSpPr>
              <p:nvPr/>
            </p:nvSpPr>
            <p:spPr bwMode="auto">
              <a:xfrm>
                <a:off x="2603009" y="1630037"/>
                <a:ext cx="367355" cy="403557"/>
              </a:xfrm>
              <a:custGeom>
                <a:avLst/>
                <a:gdLst/>
                <a:ahLst/>
                <a:cxnLst>
                  <a:cxn ang="0">
                    <a:pos x="276" y="1139"/>
                  </a:cxn>
                  <a:cxn ang="0">
                    <a:pos x="345" y="909"/>
                  </a:cxn>
                  <a:cxn ang="0">
                    <a:pos x="311" y="1450"/>
                  </a:cxn>
                  <a:cxn ang="0">
                    <a:pos x="276" y="1415"/>
                  </a:cxn>
                  <a:cxn ang="0">
                    <a:pos x="598" y="541"/>
                  </a:cxn>
                  <a:cxn ang="0">
                    <a:pos x="621" y="955"/>
                  </a:cxn>
                  <a:cxn ang="0">
                    <a:pos x="587" y="989"/>
                  </a:cxn>
                  <a:cxn ang="0">
                    <a:pos x="276" y="1599"/>
                  </a:cxn>
                  <a:cxn ang="0">
                    <a:pos x="483" y="909"/>
                  </a:cxn>
                  <a:cxn ang="0">
                    <a:pos x="449" y="1680"/>
                  </a:cxn>
                  <a:cxn ang="0">
                    <a:pos x="414" y="1645"/>
                  </a:cxn>
                  <a:cxn ang="0">
                    <a:pos x="587" y="1105"/>
                  </a:cxn>
                  <a:cxn ang="0">
                    <a:pos x="621" y="1415"/>
                  </a:cxn>
                  <a:cxn ang="0">
                    <a:pos x="587" y="1450"/>
                  </a:cxn>
                  <a:cxn ang="0">
                    <a:pos x="414" y="1369"/>
                  </a:cxn>
                  <a:cxn ang="0">
                    <a:pos x="483" y="1139"/>
                  </a:cxn>
                  <a:cxn ang="0">
                    <a:pos x="587" y="1680"/>
                  </a:cxn>
                  <a:cxn ang="0">
                    <a:pos x="552" y="1645"/>
                  </a:cxn>
                  <a:cxn ang="0">
                    <a:pos x="1415" y="782"/>
                  </a:cxn>
                  <a:cxn ang="0">
                    <a:pos x="1450" y="633"/>
                  </a:cxn>
                  <a:cxn ang="0">
                    <a:pos x="1415" y="667"/>
                  </a:cxn>
                  <a:cxn ang="0">
                    <a:pos x="1243" y="357"/>
                  </a:cxn>
                  <a:cxn ang="0">
                    <a:pos x="1588" y="1737"/>
                  </a:cxn>
                  <a:cxn ang="0">
                    <a:pos x="1415" y="437"/>
                  </a:cxn>
                  <a:cxn ang="0">
                    <a:pos x="1381" y="403"/>
                  </a:cxn>
                  <a:cxn ang="0">
                    <a:pos x="1277" y="552"/>
                  </a:cxn>
                  <a:cxn ang="0">
                    <a:pos x="1772" y="1979"/>
                  </a:cxn>
                  <a:cxn ang="0">
                    <a:pos x="1059" y="322"/>
                  </a:cxn>
                  <a:cxn ang="0">
                    <a:pos x="805" y="35"/>
                  </a:cxn>
                  <a:cxn ang="0">
                    <a:pos x="552" y="173"/>
                  </a:cxn>
                  <a:cxn ang="0">
                    <a:pos x="127" y="644"/>
                  </a:cxn>
                  <a:cxn ang="0">
                    <a:pos x="35" y="2048"/>
                  </a:cxn>
                  <a:cxn ang="0">
                    <a:pos x="920" y="207"/>
                  </a:cxn>
                  <a:cxn ang="0">
                    <a:pos x="483" y="1979"/>
                  </a:cxn>
                  <a:cxn ang="0">
                    <a:pos x="391" y="1979"/>
                  </a:cxn>
                  <a:cxn ang="0">
                    <a:pos x="575" y="1979"/>
                  </a:cxn>
                  <a:cxn ang="0">
                    <a:pos x="322" y="1979"/>
                  </a:cxn>
                  <a:cxn ang="0">
                    <a:pos x="771" y="644"/>
                  </a:cxn>
                  <a:cxn ang="0">
                    <a:pos x="805" y="1059"/>
                  </a:cxn>
                  <a:cxn ang="0">
                    <a:pos x="805" y="874"/>
                  </a:cxn>
                  <a:cxn ang="0">
                    <a:pos x="805" y="690"/>
                  </a:cxn>
                  <a:cxn ang="0">
                    <a:pos x="805" y="1128"/>
                  </a:cxn>
                  <a:cxn ang="0">
                    <a:pos x="1450" y="1047"/>
                  </a:cxn>
                  <a:cxn ang="0">
                    <a:pos x="1312" y="1047"/>
                  </a:cxn>
                  <a:cxn ang="0">
                    <a:pos x="1128" y="207"/>
                  </a:cxn>
                  <a:cxn ang="0">
                    <a:pos x="1312" y="817"/>
                  </a:cxn>
                  <a:cxn ang="0">
                    <a:pos x="1553" y="1358"/>
                  </a:cxn>
                  <a:cxn ang="0">
                    <a:pos x="1519" y="1323"/>
                  </a:cxn>
                  <a:cxn ang="0">
                    <a:pos x="1553" y="1473"/>
                  </a:cxn>
                  <a:cxn ang="0">
                    <a:pos x="990" y="1875"/>
                  </a:cxn>
                  <a:cxn ang="0">
                    <a:pos x="955" y="1910"/>
                  </a:cxn>
                  <a:cxn ang="0">
                    <a:pos x="1519" y="587"/>
                  </a:cxn>
                  <a:cxn ang="0">
                    <a:pos x="1128" y="1231"/>
                  </a:cxn>
                  <a:cxn ang="0">
                    <a:pos x="1553" y="437"/>
                  </a:cxn>
                  <a:cxn ang="0">
                    <a:pos x="1519" y="403"/>
                  </a:cxn>
                  <a:cxn ang="0">
                    <a:pos x="1553" y="782"/>
                  </a:cxn>
                  <a:cxn ang="0">
                    <a:pos x="1266" y="1875"/>
                  </a:cxn>
                  <a:cxn ang="0">
                    <a:pos x="1231" y="1910"/>
                  </a:cxn>
                  <a:cxn ang="0">
                    <a:pos x="1519" y="1047"/>
                  </a:cxn>
                </a:cxnLst>
                <a:rect l="0" t="0" r="r" b="b"/>
                <a:pathLst>
                  <a:path w="1864" h="2048">
                    <a:moveTo>
                      <a:pt x="311" y="1220"/>
                    </a:moveTo>
                    <a:cubicBezTo>
                      <a:pt x="330" y="1220"/>
                      <a:pt x="345" y="1204"/>
                      <a:pt x="345" y="1185"/>
                    </a:cubicBezTo>
                    <a:cubicBezTo>
                      <a:pt x="345" y="1139"/>
                      <a:pt x="345" y="1139"/>
                      <a:pt x="345" y="1139"/>
                    </a:cubicBezTo>
                    <a:cubicBezTo>
                      <a:pt x="345" y="1120"/>
                      <a:pt x="330" y="1105"/>
                      <a:pt x="311" y="1105"/>
                    </a:cubicBezTo>
                    <a:cubicBezTo>
                      <a:pt x="292" y="1105"/>
                      <a:pt x="276" y="1120"/>
                      <a:pt x="276" y="1139"/>
                    </a:cubicBezTo>
                    <a:cubicBezTo>
                      <a:pt x="276" y="1185"/>
                      <a:pt x="276" y="1185"/>
                      <a:pt x="276" y="1185"/>
                    </a:cubicBezTo>
                    <a:cubicBezTo>
                      <a:pt x="276" y="1204"/>
                      <a:pt x="292" y="1220"/>
                      <a:pt x="311" y="1220"/>
                    </a:cubicBezTo>
                    <a:close/>
                    <a:moveTo>
                      <a:pt x="311" y="989"/>
                    </a:moveTo>
                    <a:cubicBezTo>
                      <a:pt x="330" y="989"/>
                      <a:pt x="345" y="974"/>
                      <a:pt x="345" y="955"/>
                    </a:cubicBezTo>
                    <a:cubicBezTo>
                      <a:pt x="345" y="909"/>
                      <a:pt x="345" y="909"/>
                      <a:pt x="345" y="909"/>
                    </a:cubicBezTo>
                    <a:cubicBezTo>
                      <a:pt x="345" y="890"/>
                      <a:pt x="330" y="874"/>
                      <a:pt x="311" y="874"/>
                    </a:cubicBezTo>
                    <a:cubicBezTo>
                      <a:pt x="292" y="874"/>
                      <a:pt x="276" y="890"/>
                      <a:pt x="276" y="909"/>
                    </a:cubicBezTo>
                    <a:cubicBezTo>
                      <a:pt x="276" y="955"/>
                      <a:pt x="276" y="955"/>
                      <a:pt x="276" y="955"/>
                    </a:cubicBezTo>
                    <a:cubicBezTo>
                      <a:pt x="276" y="974"/>
                      <a:pt x="292" y="989"/>
                      <a:pt x="311" y="989"/>
                    </a:cubicBezTo>
                    <a:close/>
                    <a:moveTo>
                      <a:pt x="311" y="1450"/>
                    </a:moveTo>
                    <a:cubicBezTo>
                      <a:pt x="330" y="1450"/>
                      <a:pt x="345" y="1434"/>
                      <a:pt x="345" y="1415"/>
                    </a:cubicBezTo>
                    <a:cubicBezTo>
                      <a:pt x="345" y="1369"/>
                      <a:pt x="345" y="1369"/>
                      <a:pt x="345" y="1369"/>
                    </a:cubicBezTo>
                    <a:cubicBezTo>
                      <a:pt x="345" y="1350"/>
                      <a:pt x="330" y="1335"/>
                      <a:pt x="311" y="1335"/>
                    </a:cubicBezTo>
                    <a:cubicBezTo>
                      <a:pt x="292" y="1335"/>
                      <a:pt x="276" y="1350"/>
                      <a:pt x="276" y="1369"/>
                    </a:cubicBezTo>
                    <a:cubicBezTo>
                      <a:pt x="276" y="1415"/>
                      <a:pt x="276" y="1415"/>
                      <a:pt x="276" y="1415"/>
                    </a:cubicBezTo>
                    <a:cubicBezTo>
                      <a:pt x="276" y="1434"/>
                      <a:pt x="292" y="1450"/>
                      <a:pt x="311" y="1450"/>
                    </a:cubicBezTo>
                    <a:close/>
                    <a:moveTo>
                      <a:pt x="944" y="541"/>
                    </a:moveTo>
                    <a:cubicBezTo>
                      <a:pt x="944" y="522"/>
                      <a:pt x="928" y="506"/>
                      <a:pt x="909" y="506"/>
                    </a:cubicBezTo>
                    <a:cubicBezTo>
                      <a:pt x="633" y="506"/>
                      <a:pt x="633" y="506"/>
                      <a:pt x="633" y="506"/>
                    </a:cubicBezTo>
                    <a:cubicBezTo>
                      <a:pt x="614" y="506"/>
                      <a:pt x="598" y="522"/>
                      <a:pt x="598" y="541"/>
                    </a:cubicBezTo>
                    <a:cubicBezTo>
                      <a:pt x="598" y="560"/>
                      <a:pt x="614" y="575"/>
                      <a:pt x="633" y="575"/>
                    </a:cubicBezTo>
                    <a:cubicBezTo>
                      <a:pt x="909" y="575"/>
                      <a:pt x="909" y="575"/>
                      <a:pt x="909" y="575"/>
                    </a:cubicBezTo>
                    <a:cubicBezTo>
                      <a:pt x="928" y="575"/>
                      <a:pt x="944" y="560"/>
                      <a:pt x="944" y="541"/>
                    </a:cubicBezTo>
                    <a:close/>
                    <a:moveTo>
                      <a:pt x="587" y="989"/>
                    </a:moveTo>
                    <a:cubicBezTo>
                      <a:pt x="606" y="989"/>
                      <a:pt x="621" y="974"/>
                      <a:pt x="621" y="955"/>
                    </a:cubicBezTo>
                    <a:cubicBezTo>
                      <a:pt x="621" y="909"/>
                      <a:pt x="621" y="909"/>
                      <a:pt x="621" y="909"/>
                    </a:cubicBezTo>
                    <a:cubicBezTo>
                      <a:pt x="621" y="890"/>
                      <a:pt x="606" y="874"/>
                      <a:pt x="587" y="874"/>
                    </a:cubicBezTo>
                    <a:cubicBezTo>
                      <a:pt x="568" y="874"/>
                      <a:pt x="552" y="890"/>
                      <a:pt x="552" y="909"/>
                    </a:cubicBezTo>
                    <a:cubicBezTo>
                      <a:pt x="552" y="955"/>
                      <a:pt x="552" y="955"/>
                      <a:pt x="552" y="955"/>
                    </a:cubicBezTo>
                    <a:cubicBezTo>
                      <a:pt x="552" y="974"/>
                      <a:pt x="568" y="989"/>
                      <a:pt x="587" y="989"/>
                    </a:cubicBezTo>
                    <a:close/>
                    <a:moveTo>
                      <a:pt x="311" y="1680"/>
                    </a:moveTo>
                    <a:cubicBezTo>
                      <a:pt x="330" y="1680"/>
                      <a:pt x="345" y="1664"/>
                      <a:pt x="345" y="1645"/>
                    </a:cubicBezTo>
                    <a:cubicBezTo>
                      <a:pt x="345" y="1599"/>
                      <a:pt x="345" y="1599"/>
                      <a:pt x="345" y="1599"/>
                    </a:cubicBezTo>
                    <a:cubicBezTo>
                      <a:pt x="345" y="1580"/>
                      <a:pt x="330" y="1565"/>
                      <a:pt x="311" y="1565"/>
                    </a:cubicBezTo>
                    <a:cubicBezTo>
                      <a:pt x="292" y="1565"/>
                      <a:pt x="276" y="1580"/>
                      <a:pt x="276" y="1599"/>
                    </a:cubicBezTo>
                    <a:cubicBezTo>
                      <a:pt x="276" y="1645"/>
                      <a:pt x="276" y="1645"/>
                      <a:pt x="276" y="1645"/>
                    </a:cubicBezTo>
                    <a:cubicBezTo>
                      <a:pt x="276" y="1664"/>
                      <a:pt x="292" y="1680"/>
                      <a:pt x="311" y="1680"/>
                    </a:cubicBezTo>
                    <a:close/>
                    <a:moveTo>
                      <a:pt x="449" y="989"/>
                    </a:moveTo>
                    <a:cubicBezTo>
                      <a:pt x="468" y="989"/>
                      <a:pt x="483" y="974"/>
                      <a:pt x="483" y="955"/>
                    </a:cubicBezTo>
                    <a:cubicBezTo>
                      <a:pt x="483" y="909"/>
                      <a:pt x="483" y="909"/>
                      <a:pt x="483" y="909"/>
                    </a:cubicBezTo>
                    <a:cubicBezTo>
                      <a:pt x="483" y="890"/>
                      <a:pt x="468" y="874"/>
                      <a:pt x="449" y="874"/>
                    </a:cubicBezTo>
                    <a:cubicBezTo>
                      <a:pt x="430" y="874"/>
                      <a:pt x="414" y="890"/>
                      <a:pt x="414" y="909"/>
                    </a:cubicBezTo>
                    <a:cubicBezTo>
                      <a:pt x="414" y="955"/>
                      <a:pt x="414" y="955"/>
                      <a:pt x="414" y="955"/>
                    </a:cubicBezTo>
                    <a:cubicBezTo>
                      <a:pt x="414" y="974"/>
                      <a:pt x="430" y="989"/>
                      <a:pt x="449" y="989"/>
                    </a:cubicBezTo>
                    <a:close/>
                    <a:moveTo>
                      <a:pt x="449" y="1680"/>
                    </a:moveTo>
                    <a:cubicBezTo>
                      <a:pt x="468" y="1680"/>
                      <a:pt x="483" y="1664"/>
                      <a:pt x="483" y="1645"/>
                    </a:cubicBezTo>
                    <a:cubicBezTo>
                      <a:pt x="483" y="1599"/>
                      <a:pt x="483" y="1599"/>
                      <a:pt x="483" y="1599"/>
                    </a:cubicBezTo>
                    <a:cubicBezTo>
                      <a:pt x="483" y="1580"/>
                      <a:pt x="468" y="1565"/>
                      <a:pt x="449" y="1565"/>
                    </a:cubicBezTo>
                    <a:cubicBezTo>
                      <a:pt x="430" y="1565"/>
                      <a:pt x="414" y="1580"/>
                      <a:pt x="414" y="1599"/>
                    </a:cubicBezTo>
                    <a:cubicBezTo>
                      <a:pt x="414" y="1645"/>
                      <a:pt x="414" y="1645"/>
                      <a:pt x="414" y="1645"/>
                    </a:cubicBezTo>
                    <a:cubicBezTo>
                      <a:pt x="414" y="1664"/>
                      <a:pt x="430" y="1680"/>
                      <a:pt x="449" y="1680"/>
                    </a:cubicBezTo>
                    <a:close/>
                    <a:moveTo>
                      <a:pt x="587" y="1220"/>
                    </a:moveTo>
                    <a:cubicBezTo>
                      <a:pt x="606" y="1220"/>
                      <a:pt x="621" y="1204"/>
                      <a:pt x="621" y="1185"/>
                    </a:cubicBezTo>
                    <a:cubicBezTo>
                      <a:pt x="621" y="1139"/>
                      <a:pt x="621" y="1139"/>
                      <a:pt x="621" y="1139"/>
                    </a:cubicBezTo>
                    <a:cubicBezTo>
                      <a:pt x="621" y="1120"/>
                      <a:pt x="606" y="1105"/>
                      <a:pt x="587" y="1105"/>
                    </a:cubicBezTo>
                    <a:cubicBezTo>
                      <a:pt x="568" y="1105"/>
                      <a:pt x="552" y="1120"/>
                      <a:pt x="552" y="1139"/>
                    </a:cubicBezTo>
                    <a:cubicBezTo>
                      <a:pt x="552" y="1185"/>
                      <a:pt x="552" y="1185"/>
                      <a:pt x="552" y="1185"/>
                    </a:cubicBezTo>
                    <a:cubicBezTo>
                      <a:pt x="552" y="1204"/>
                      <a:pt x="568" y="1220"/>
                      <a:pt x="587" y="1220"/>
                    </a:cubicBezTo>
                    <a:close/>
                    <a:moveTo>
                      <a:pt x="587" y="1450"/>
                    </a:moveTo>
                    <a:cubicBezTo>
                      <a:pt x="606" y="1450"/>
                      <a:pt x="621" y="1434"/>
                      <a:pt x="621" y="1415"/>
                    </a:cubicBezTo>
                    <a:cubicBezTo>
                      <a:pt x="621" y="1369"/>
                      <a:pt x="621" y="1369"/>
                      <a:pt x="621" y="1369"/>
                    </a:cubicBezTo>
                    <a:cubicBezTo>
                      <a:pt x="621" y="1350"/>
                      <a:pt x="606" y="1335"/>
                      <a:pt x="587" y="1335"/>
                    </a:cubicBezTo>
                    <a:cubicBezTo>
                      <a:pt x="568" y="1335"/>
                      <a:pt x="552" y="1350"/>
                      <a:pt x="552" y="1369"/>
                    </a:cubicBezTo>
                    <a:cubicBezTo>
                      <a:pt x="552" y="1415"/>
                      <a:pt x="552" y="1415"/>
                      <a:pt x="552" y="1415"/>
                    </a:cubicBezTo>
                    <a:cubicBezTo>
                      <a:pt x="552" y="1434"/>
                      <a:pt x="568" y="1450"/>
                      <a:pt x="587" y="1450"/>
                    </a:cubicBezTo>
                    <a:close/>
                    <a:moveTo>
                      <a:pt x="449" y="1450"/>
                    </a:moveTo>
                    <a:cubicBezTo>
                      <a:pt x="468" y="1450"/>
                      <a:pt x="483" y="1434"/>
                      <a:pt x="483" y="1415"/>
                    </a:cubicBezTo>
                    <a:cubicBezTo>
                      <a:pt x="483" y="1369"/>
                      <a:pt x="483" y="1369"/>
                      <a:pt x="483" y="1369"/>
                    </a:cubicBezTo>
                    <a:cubicBezTo>
                      <a:pt x="483" y="1350"/>
                      <a:pt x="468" y="1335"/>
                      <a:pt x="449" y="1335"/>
                    </a:cubicBezTo>
                    <a:cubicBezTo>
                      <a:pt x="430" y="1335"/>
                      <a:pt x="414" y="1350"/>
                      <a:pt x="414" y="1369"/>
                    </a:cubicBezTo>
                    <a:cubicBezTo>
                      <a:pt x="414" y="1415"/>
                      <a:pt x="414" y="1415"/>
                      <a:pt x="414" y="1415"/>
                    </a:cubicBezTo>
                    <a:cubicBezTo>
                      <a:pt x="414" y="1434"/>
                      <a:pt x="430" y="1450"/>
                      <a:pt x="449" y="1450"/>
                    </a:cubicBezTo>
                    <a:close/>
                    <a:moveTo>
                      <a:pt x="449" y="1220"/>
                    </a:moveTo>
                    <a:cubicBezTo>
                      <a:pt x="468" y="1220"/>
                      <a:pt x="483" y="1204"/>
                      <a:pt x="483" y="1185"/>
                    </a:cubicBezTo>
                    <a:cubicBezTo>
                      <a:pt x="483" y="1139"/>
                      <a:pt x="483" y="1139"/>
                      <a:pt x="483" y="1139"/>
                    </a:cubicBezTo>
                    <a:cubicBezTo>
                      <a:pt x="483" y="1120"/>
                      <a:pt x="468" y="1105"/>
                      <a:pt x="449" y="1105"/>
                    </a:cubicBezTo>
                    <a:cubicBezTo>
                      <a:pt x="430" y="1105"/>
                      <a:pt x="414" y="1120"/>
                      <a:pt x="414" y="1139"/>
                    </a:cubicBezTo>
                    <a:cubicBezTo>
                      <a:pt x="414" y="1185"/>
                      <a:pt x="414" y="1185"/>
                      <a:pt x="414" y="1185"/>
                    </a:cubicBezTo>
                    <a:cubicBezTo>
                      <a:pt x="414" y="1204"/>
                      <a:pt x="430" y="1220"/>
                      <a:pt x="449" y="1220"/>
                    </a:cubicBezTo>
                    <a:close/>
                    <a:moveTo>
                      <a:pt x="587" y="1680"/>
                    </a:moveTo>
                    <a:cubicBezTo>
                      <a:pt x="606" y="1680"/>
                      <a:pt x="621" y="1664"/>
                      <a:pt x="621" y="1645"/>
                    </a:cubicBezTo>
                    <a:cubicBezTo>
                      <a:pt x="621" y="1599"/>
                      <a:pt x="621" y="1599"/>
                      <a:pt x="621" y="1599"/>
                    </a:cubicBezTo>
                    <a:cubicBezTo>
                      <a:pt x="621" y="1580"/>
                      <a:pt x="606" y="1565"/>
                      <a:pt x="587" y="1565"/>
                    </a:cubicBezTo>
                    <a:cubicBezTo>
                      <a:pt x="568" y="1565"/>
                      <a:pt x="552" y="1580"/>
                      <a:pt x="552" y="1599"/>
                    </a:cubicBezTo>
                    <a:cubicBezTo>
                      <a:pt x="552" y="1645"/>
                      <a:pt x="552" y="1645"/>
                      <a:pt x="552" y="1645"/>
                    </a:cubicBezTo>
                    <a:cubicBezTo>
                      <a:pt x="552" y="1664"/>
                      <a:pt x="568" y="1680"/>
                      <a:pt x="587" y="1680"/>
                    </a:cubicBezTo>
                    <a:close/>
                    <a:moveTo>
                      <a:pt x="1415" y="897"/>
                    </a:moveTo>
                    <a:cubicBezTo>
                      <a:pt x="1434" y="897"/>
                      <a:pt x="1450" y="882"/>
                      <a:pt x="1450" y="863"/>
                    </a:cubicBezTo>
                    <a:cubicBezTo>
                      <a:pt x="1450" y="817"/>
                      <a:pt x="1450" y="817"/>
                      <a:pt x="1450" y="817"/>
                    </a:cubicBezTo>
                    <a:cubicBezTo>
                      <a:pt x="1450" y="798"/>
                      <a:pt x="1434" y="782"/>
                      <a:pt x="1415" y="782"/>
                    </a:cubicBezTo>
                    <a:cubicBezTo>
                      <a:pt x="1396" y="782"/>
                      <a:pt x="1381" y="798"/>
                      <a:pt x="1381" y="817"/>
                    </a:cubicBezTo>
                    <a:cubicBezTo>
                      <a:pt x="1381" y="863"/>
                      <a:pt x="1381" y="863"/>
                      <a:pt x="1381" y="863"/>
                    </a:cubicBezTo>
                    <a:cubicBezTo>
                      <a:pt x="1381" y="882"/>
                      <a:pt x="1396" y="897"/>
                      <a:pt x="1415" y="897"/>
                    </a:cubicBezTo>
                    <a:close/>
                    <a:moveTo>
                      <a:pt x="1415" y="667"/>
                    </a:moveTo>
                    <a:cubicBezTo>
                      <a:pt x="1434" y="667"/>
                      <a:pt x="1450" y="652"/>
                      <a:pt x="1450" y="633"/>
                    </a:cubicBezTo>
                    <a:cubicBezTo>
                      <a:pt x="1450" y="587"/>
                      <a:pt x="1450" y="587"/>
                      <a:pt x="1450" y="587"/>
                    </a:cubicBezTo>
                    <a:cubicBezTo>
                      <a:pt x="1450" y="568"/>
                      <a:pt x="1434" y="552"/>
                      <a:pt x="1415" y="552"/>
                    </a:cubicBezTo>
                    <a:cubicBezTo>
                      <a:pt x="1396" y="552"/>
                      <a:pt x="1381" y="568"/>
                      <a:pt x="1381" y="587"/>
                    </a:cubicBezTo>
                    <a:cubicBezTo>
                      <a:pt x="1381" y="633"/>
                      <a:pt x="1381" y="633"/>
                      <a:pt x="1381" y="633"/>
                    </a:cubicBezTo>
                    <a:cubicBezTo>
                      <a:pt x="1381" y="652"/>
                      <a:pt x="1396" y="667"/>
                      <a:pt x="1415" y="667"/>
                    </a:cubicBezTo>
                    <a:close/>
                    <a:moveTo>
                      <a:pt x="1277" y="437"/>
                    </a:moveTo>
                    <a:cubicBezTo>
                      <a:pt x="1296" y="437"/>
                      <a:pt x="1312" y="422"/>
                      <a:pt x="1312" y="403"/>
                    </a:cubicBezTo>
                    <a:cubicBezTo>
                      <a:pt x="1312" y="357"/>
                      <a:pt x="1312" y="357"/>
                      <a:pt x="1312" y="357"/>
                    </a:cubicBezTo>
                    <a:cubicBezTo>
                      <a:pt x="1312" y="338"/>
                      <a:pt x="1296" y="322"/>
                      <a:pt x="1277" y="322"/>
                    </a:cubicBezTo>
                    <a:cubicBezTo>
                      <a:pt x="1258" y="322"/>
                      <a:pt x="1243" y="338"/>
                      <a:pt x="1243" y="357"/>
                    </a:cubicBezTo>
                    <a:cubicBezTo>
                      <a:pt x="1243" y="403"/>
                      <a:pt x="1243" y="403"/>
                      <a:pt x="1243" y="403"/>
                    </a:cubicBezTo>
                    <a:cubicBezTo>
                      <a:pt x="1243" y="422"/>
                      <a:pt x="1258" y="437"/>
                      <a:pt x="1277" y="437"/>
                    </a:cubicBezTo>
                    <a:close/>
                    <a:moveTo>
                      <a:pt x="1553" y="1818"/>
                    </a:moveTo>
                    <a:cubicBezTo>
                      <a:pt x="1572" y="1818"/>
                      <a:pt x="1588" y="1802"/>
                      <a:pt x="1588" y="1783"/>
                    </a:cubicBezTo>
                    <a:cubicBezTo>
                      <a:pt x="1588" y="1737"/>
                      <a:pt x="1588" y="1737"/>
                      <a:pt x="1588" y="1737"/>
                    </a:cubicBezTo>
                    <a:cubicBezTo>
                      <a:pt x="1588" y="1718"/>
                      <a:pt x="1572" y="1703"/>
                      <a:pt x="1553" y="1703"/>
                    </a:cubicBezTo>
                    <a:cubicBezTo>
                      <a:pt x="1534" y="1703"/>
                      <a:pt x="1519" y="1718"/>
                      <a:pt x="1519" y="1737"/>
                    </a:cubicBezTo>
                    <a:cubicBezTo>
                      <a:pt x="1519" y="1783"/>
                      <a:pt x="1519" y="1783"/>
                      <a:pt x="1519" y="1783"/>
                    </a:cubicBezTo>
                    <a:cubicBezTo>
                      <a:pt x="1519" y="1802"/>
                      <a:pt x="1534" y="1818"/>
                      <a:pt x="1553" y="1818"/>
                    </a:cubicBezTo>
                    <a:close/>
                    <a:moveTo>
                      <a:pt x="1415" y="437"/>
                    </a:moveTo>
                    <a:cubicBezTo>
                      <a:pt x="1434" y="437"/>
                      <a:pt x="1450" y="422"/>
                      <a:pt x="1450" y="403"/>
                    </a:cubicBezTo>
                    <a:cubicBezTo>
                      <a:pt x="1450" y="357"/>
                      <a:pt x="1450" y="357"/>
                      <a:pt x="1450" y="357"/>
                    </a:cubicBezTo>
                    <a:cubicBezTo>
                      <a:pt x="1450" y="338"/>
                      <a:pt x="1434" y="322"/>
                      <a:pt x="1415" y="322"/>
                    </a:cubicBezTo>
                    <a:cubicBezTo>
                      <a:pt x="1396" y="322"/>
                      <a:pt x="1381" y="338"/>
                      <a:pt x="1381" y="357"/>
                    </a:cubicBezTo>
                    <a:cubicBezTo>
                      <a:pt x="1381" y="403"/>
                      <a:pt x="1381" y="403"/>
                      <a:pt x="1381" y="403"/>
                    </a:cubicBezTo>
                    <a:cubicBezTo>
                      <a:pt x="1381" y="422"/>
                      <a:pt x="1396" y="437"/>
                      <a:pt x="1415" y="437"/>
                    </a:cubicBezTo>
                    <a:close/>
                    <a:moveTo>
                      <a:pt x="1277" y="667"/>
                    </a:moveTo>
                    <a:cubicBezTo>
                      <a:pt x="1296" y="667"/>
                      <a:pt x="1312" y="652"/>
                      <a:pt x="1312" y="633"/>
                    </a:cubicBezTo>
                    <a:cubicBezTo>
                      <a:pt x="1312" y="587"/>
                      <a:pt x="1312" y="587"/>
                      <a:pt x="1312" y="587"/>
                    </a:cubicBezTo>
                    <a:cubicBezTo>
                      <a:pt x="1312" y="568"/>
                      <a:pt x="1296" y="552"/>
                      <a:pt x="1277" y="552"/>
                    </a:cubicBezTo>
                    <a:cubicBezTo>
                      <a:pt x="1258" y="552"/>
                      <a:pt x="1243" y="568"/>
                      <a:pt x="1243" y="587"/>
                    </a:cubicBezTo>
                    <a:cubicBezTo>
                      <a:pt x="1243" y="633"/>
                      <a:pt x="1243" y="633"/>
                      <a:pt x="1243" y="633"/>
                    </a:cubicBezTo>
                    <a:cubicBezTo>
                      <a:pt x="1243" y="652"/>
                      <a:pt x="1258" y="667"/>
                      <a:pt x="1277" y="667"/>
                    </a:cubicBezTo>
                    <a:close/>
                    <a:moveTo>
                      <a:pt x="1829" y="1979"/>
                    </a:moveTo>
                    <a:cubicBezTo>
                      <a:pt x="1772" y="1979"/>
                      <a:pt x="1772" y="1979"/>
                      <a:pt x="1772" y="1979"/>
                    </a:cubicBezTo>
                    <a:cubicBezTo>
                      <a:pt x="1772" y="173"/>
                      <a:pt x="1772" y="173"/>
                      <a:pt x="1772" y="173"/>
                    </a:cubicBezTo>
                    <a:cubicBezTo>
                      <a:pt x="1772" y="154"/>
                      <a:pt x="1756" y="138"/>
                      <a:pt x="1737" y="138"/>
                    </a:cubicBezTo>
                    <a:cubicBezTo>
                      <a:pt x="1093" y="138"/>
                      <a:pt x="1093" y="138"/>
                      <a:pt x="1093" y="138"/>
                    </a:cubicBezTo>
                    <a:cubicBezTo>
                      <a:pt x="1074" y="138"/>
                      <a:pt x="1059" y="154"/>
                      <a:pt x="1059" y="173"/>
                    </a:cubicBezTo>
                    <a:cubicBezTo>
                      <a:pt x="1059" y="322"/>
                      <a:pt x="1059" y="322"/>
                      <a:pt x="1059" y="322"/>
                    </a:cubicBezTo>
                    <a:cubicBezTo>
                      <a:pt x="990" y="322"/>
                      <a:pt x="990" y="322"/>
                      <a:pt x="990" y="322"/>
                    </a:cubicBezTo>
                    <a:cubicBezTo>
                      <a:pt x="990" y="173"/>
                      <a:pt x="990" y="173"/>
                      <a:pt x="990" y="173"/>
                    </a:cubicBezTo>
                    <a:cubicBezTo>
                      <a:pt x="990" y="154"/>
                      <a:pt x="974" y="138"/>
                      <a:pt x="955" y="138"/>
                    </a:cubicBezTo>
                    <a:cubicBezTo>
                      <a:pt x="805" y="138"/>
                      <a:pt x="805" y="138"/>
                      <a:pt x="805" y="138"/>
                    </a:cubicBezTo>
                    <a:cubicBezTo>
                      <a:pt x="805" y="35"/>
                      <a:pt x="805" y="35"/>
                      <a:pt x="805" y="35"/>
                    </a:cubicBezTo>
                    <a:cubicBezTo>
                      <a:pt x="805" y="15"/>
                      <a:pt x="790" y="0"/>
                      <a:pt x="771" y="0"/>
                    </a:cubicBezTo>
                    <a:cubicBezTo>
                      <a:pt x="752" y="0"/>
                      <a:pt x="736" y="15"/>
                      <a:pt x="736" y="35"/>
                    </a:cubicBezTo>
                    <a:cubicBezTo>
                      <a:pt x="736" y="138"/>
                      <a:pt x="736" y="138"/>
                      <a:pt x="736" y="138"/>
                    </a:cubicBezTo>
                    <a:cubicBezTo>
                      <a:pt x="587" y="138"/>
                      <a:pt x="587" y="138"/>
                      <a:pt x="587" y="138"/>
                    </a:cubicBezTo>
                    <a:cubicBezTo>
                      <a:pt x="568" y="138"/>
                      <a:pt x="552" y="154"/>
                      <a:pt x="552" y="173"/>
                    </a:cubicBezTo>
                    <a:cubicBezTo>
                      <a:pt x="552" y="322"/>
                      <a:pt x="552" y="322"/>
                      <a:pt x="552" y="322"/>
                    </a:cubicBezTo>
                    <a:cubicBezTo>
                      <a:pt x="449" y="322"/>
                      <a:pt x="449" y="322"/>
                      <a:pt x="449" y="322"/>
                    </a:cubicBezTo>
                    <a:cubicBezTo>
                      <a:pt x="430" y="322"/>
                      <a:pt x="414" y="338"/>
                      <a:pt x="414" y="357"/>
                    </a:cubicBezTo>
                    <a:cubicBezTo>
                      <a:pt x="414" y="644"/>
                      <a:pt x="414" y="644"/>
                      <a:pt x="414" y="644"/>
                    </a:cubicBezTo>
                    <a:cubicBezTo>
                      <a:pt x="127" y="644"/>
                      <a:pt x="127" y="644"/>
                      <a:pt x="127" y="644"/>
                    </a:cubicBezTo>
                    <a:cubicBezTo>
                      <a:pt x="108" y="644"/>
                      <a:pt x="92" y="660"/>
                      <a:pt x="92" y="679"/>
                    </a:cubicBezTo>
                    <a:cubicBezTo>
                      <a:pt x="92" y="1979"/>
                      <a:pt x="92" y="1979"/>
                      <a:pt x="92" y="1979"/>
                    </a:cubicBezTo>
                    <a:cubicBezTo>
                      <a:pt x="35" y="1979"/>
                      <a:pt x="35" y="1979"/>
                      <a:pt x="35" y="1979"/>
                    </a:cubicBezTo>
                    <a:cubicBezTo>
                      <a:pt x="15" y="1979"/>
                      <a:pt x="0" y="1994"/>
                      <a:pt x="0" y="2013"/>
                    </a:cubicBezTo>
                    <a:cubicBezTo>
                      <a:pt x="0" y="2033"/>
                      <a:pt x="16" y="2048"/>
                      <a:pt x="35" y="2048"/>
                    </a:cubicBezTo>
                    <a:cubicBezTo>
                      <a:pt x="1829" y="2048"/>
                      <a:pt x="1829" y="2048"/>
                      <a:pt x="1829" y="2048"/>
                    </a:cubicBezTo>
                    <a:cubicBezTo>
                      <a:pt x="1849" y="2048"/>
                      <a:pt x="1864" y="2033"/>
                      <a:pt x="1864" y="2013"/>
                    </a:cubicBezTo>
                    <a:cubicBezTo>
                      <a:pt x="1864" y="1994"/>
                      <a:pt x="1849" y="1979"/>
                      <a:pt x="1829" y="1979"/>
                    </a:cubicBezTo>
                    <a:close/>
                    <a:moveTo>
                      <a:pt x="621" y="207"/>
                    </a:moveTo>
                    <a:cubicBezTo>
                      <a:pt x="920" y="207"/>
                      <a:pt x="920" y="207"/>
                      <a:pt x="920" y="207"/>
                    </a:cubicBezTo>
                    <a:cubicBezTo>
                      <a:pt x="920" y="322"/>
                      <a:pt x="920" y="322"/>
                      <a:pt x="920" y="322"/>
                    </a:cubicBezTo>
                    <a:cubicBezTo>
                      <a:pt x="621" y="322"/>
                      <a:pt x="621" y="322"/>
                      <a:pt x="621" y="322"/>
                    </a:cubicBezTo>
                    <a:lnTo>
                      <a:pt x="621" y="207"/>
                    </a:lnTo>
                    <a:close/>
                    <a:moveTo>
                      <a:pt x="506" y="1979"/>
                    </a:moveTo>
                    <a:cubicBezTo>
                      <a:pt x="483" y="1979"/>
                      <a:pt x="483" y="1979"/>
                      <a:pt x="483" y="1979"/>
                    </a:cubicBezTo>
                    <a:cubicBezTo>
                      <a:pt x="483" y="1921"/>
                      <a:pt x="483" y="1921"/>
                      <a:pt x="483" y="1921"/>
                    </a:cubicBezTo>
                    <a:cubicBezTo>
                      <a:pt x="483" y="1902"/>
                      <a:pt x="468" y="1887"/>
                      <a:pt x="449" y="1887"/>
                    </a:cubicBezTo>
                    <a:cubicBezTo>
                      <a:pt x="430" y="1887"/>
                      <a:pt x="414" y="1902"/>
                      <a:pt x="414" y="1921"/>
                    </a:cubicBezTo>
                    <a:cubicBezTo>
                      <a:pt x="414" y="1979"/>
                      <a:pt x="414" y="1979"/>
                      <a:pt x="414" y="1979"/>
                    </a:cubicBezTo>
                    <a:cubicBezTo>
                      <a:pt x="391" y="1979"/>
                      <a:pt x="391" y="1979"/>
                      <a:pt x="391" y="1979"/>
                    </a:cubicBezTo>
                    <a:cubicBezTo>
                      <a:pt x="391" y="1864"/>
                      <a:pt x="391" y="1864"/>
                      <a:pt x="391" y="1864"/>
                    </a:cubicBezTo>
                    <a:cubicBezTo>
                      <a:pt x="506" y="1864"/>
                      <a:pt x="506" y="1864"/>
                      <a:pt x="506" y="1864"/>
                    </a:cubicBezTo>
                    <a:lnTo>
                      <a:pt x="506" y="1979"/>
                    </a:lnTo>
                    <a:close/>
                    <a:moveTo>
                      <a:pt x="736" y="1979"/>
                    </a:moveTo>
                    <a:cubicBezTo>
                      <a:pt x="575" y="1979"/>
                      <a:pt x="575" y="1979"/>
                      <a:pt x="575" y="1979"/>
                    </a:cubicBezTo>
                    <a:cubicBezTo>
                      <a:pt x="575" y="1829"/>
                      <a:pt x="575" y="1829"/>
                      <a:pt x="575" y="1829"/>
                    </a:cubicBezTo>
                    <a:cubicBezTo>
                      <a:pt x="575" y="1810"/>
                      <a:pt x="560" y="1795"/>
                      <a:pt x="541" y="1795"/>
                    </a:cubicBezTo>
                    <a:cubicBezTo>
                      <a:pt x="357" y="1795"/>
                      <a:pt x="357" y="1795"/>
                      <a:pt x="357" y="1795"/>
                    </a:cubicBezTo>
                    <a:cubicBezTo>
                      <a:pt x="338" y="1795"/>
                      <a:pt x="322" y="1810"/>
                      <a:pt x="322" y="1829"/>
                    </a:cubicBezTo>
                    <a:cubicBezTo>
                      <a:pt x="322" y="1979"/>
                      <a:pt x="322" y="1979"/>
                      <a:pt x="322" y="1979"/>
                    </a:cubicBezTo>
                    <a:cubicBezTo>
                      <a:pt x="161" y="1979"/>
                      <a:pt x="161" y="1979"/>
                      <a:pt x="161" y="1979"/>
                    </a:cubicBezTo>
                    <a:cubicBezTo>
                      <a:pt x="161" y="713"/>
                      <a:pt x="161" y="713"/>
                      <a:pt x="161" y="713"/>
                    </a:cubicBezTo>
                    <a:cubicBezTo>
                      <a:pt x="736" y="713"/>
                      <a:pt x="736" y="713"/>
                      <a:pt x="736" y="713"/>
                    </a:cubicBezTo>
                    <a:lnTo>
                      <a:pt x="736" y="1979"/>
                    </a:lnTo>
                    <a:close/>
                    <a:moveTo>
                      <a:pt x="771" y="644"/>
                    </a:moveTo>
                    <a:cubicBezTo>
                      <a:pt x="483" y="644"/>
                      <a:pt x="483" y="644"/>
                      <a:pt x="483" y="644"/>
                    </a:cubicBezTo>
                    <a:cubicBezTo>
                      <a:pt x="483" y="391"/>
                      <a:pt x="483" y="391"/>
                      <a:pt x="483" y="391"/>
                    </a:cubicBezTo>
                    <a:cubicBezTo>
                      <a:pt x="1059" y="391"/>
                      <a:pt x="1059" y="391"/>
                      <a:pt x="1059" y="391"/>
                    </a:cubicBezTo>
                    <a:cubicBezTo>
                      <a:pt x="1059" y="1059"/>
                      <a:pt x="1059" y="1059"/>
                      <a:pt x="1059" y="1059"/>
                    </a:cubicBezTo>
                    <a:cubicBezTo>
                      <a:pt x="805" y="1059"/>
                      <a:pt x="805" y="1059"/>
                      <a:pt x="805" y="1059"/>
                    </a:cubicBezTo>
                    <a:cubicBezTo>
                      <a:pt x="805" y="943"/>
                      <a:pt x="805" y="943"/>
                      <a:pt x="805" y="943"/>
                    </a:cubicBezTo>
                    <a:cubicBezTo>
                      <a:pt x="909" y="943"/>
                      <a:pt x="909" y="943"/>
                      <a:pt x="909" y="943"/>
                    </a:cubicBezTo>
                    <a:cubicBezTo>
                      <a:pt x="928" y="943"/>
                      <a:pt x="944" y="928"/>
                      <a:pt x="944" y="909"/>
                    </a:cubicBezTo>
                    <a:cubicBezTo>
                      <a:pt x="944" y="890"/>
                      <a:pt x="928" y="874"/>
                      <a:pt x="909" y="874"/>
                    </a:cubicBezTo>
                    <a:cubicBezTo>
                      <a:pt x="805" y="874"/>
                      <a:pt x="805" y="874"/>
                      <a:pt x="805" y="874"/>
                    </a:cubicBezTo>
                    <a:cubicBezTo>
                      <a:pt x="805" y="759"/>
                      <a:pt x="805" y="759"/>
                      <a:pt x="805" y="759"/>
                    </a:cubicBezTo>
                    <a:cubicBezTo>
                      <a:pt x="909" y="759"/>
                      <a:pt x="909" y="759"/>
                      <a:pt x="909" y="759"/>
                    </a:cubicBezTo>
                    <a:cubicBezTo>
                      <a:pt x="928" y="759"/>
                      <a:pt x="944" y="744"/>
                      <a:pt x="944" y="725"/>
                    </a:cubicBezTo>
                    <a:cubicBezTo>
                      <a:pt x="944" y="706"/>
                      <a:pt x="928" y="690"/>
                      <a:pt x="909" y="690"/>
                    </a:cubicBezTo>
                    <a:cubicBezTo>
                      <a:pt x="805" y="690"/>
                      <a:pt x="805" y="690"/>
                      <a:pt x="805" y="690"/>
                    </a:cubicBezTo>
                    <a:cubicBezTo>
                      <a:pt x="805" y="679"/>
                      <a:pt x="805" y="679"/>
                      <a:pt x="805" y="679"/>
                    </a:cubicBezTo>
                    <a:cubicBezTo>
                      <a:pt x="805" y="660"/>
                      <a:pt x="790" y="644"/>
                      <a:pt x="771" y="644"/>
                    </a:cubicBezTo>
                    <a:close/>
                    <a:moveTo>
                      <a:pt x="1381" y="1979"/>
                    </a:moveTo>
                    <a:cubicBezTo>
                      <a:pt x="805" y="1979"/>
                      <a:pt x="805" y="1979"/>
                      <a:pt x="805" y="1979"/>
                    </a:cubicBezTo>
                    <a:cubicBezTo>
                      <a:pt x="805" y="1128"/>
                      <a:pt x="805" y="1128"/>
                      <a:pt x="805" y="1128"/>
                    </a:cubicBezTo>
                    <a:cubicBezTo>
                      <a:pt x="1381" y="1128"/>
                      <a:pt x="1381" y="1128"/>
                      <a:pt x="1381" y="1128"/>
                    </a:cubicBezTo>
                    <a:lnTo>
                      <a:pt x="1381" y="1979"/>
                    </a:lnTo>
                    <a:close/>
                    <a:moveTo>
                      <a:pt x="1703" y="1979"/>
                    </a:moveTo>
                    <a:cubicBezTo>
                      <a:pt x="1450" y="1979"/>
                      <a:pt x="1450" y="1979"/>
                      <a:pt x="1450" y="1979"/>
                    </a:cubicBezTo>
                    <a:cubicBezTo>
                      <a:pt x="1450" y="1047"/>
                      <a:pt x="1450" y="1047"/>
                      <a:pt x="1450" y="1047"/>
                    </a:cubicBezTo>
                    <a:cubicBezTo>
                      <a:pt x="1450" y="1028"/>
                      <a:pt x="1434" y="1012"/>
                      <a:pt x="1415" y="1012"/>
                    </a:cubicBezTo>
                    <a:cubicBezTo>
                      <a:pt x="1396" y="1012"/>
                      <a:pt x="1381" y="1028"/>
                      <a:pt x="1381" y="1047"/>
                    </a:cubicBezTo>
                    <a:cubicBezTo>
                      <a:pt x="1381" y="1059"/>
                      <a:pt x="1381" y="1059"/>
                      <a:pt x="1381" y="1059"/>
                    </a:cubicBezTo>
                    <a:cubicBezTo>
                      <a:pt x="1312" y="1059"/>
                      <a:pt x="1312" y="1059"/>
                      <a:pt x="1312" y="1059"/>
                    </a:cubicBezTo>
                    <a:cubicBezTo>
                      <a:pt x="1312" y="1047"/>
                      <a:pt x="1312" y="1047"/>
                      <a:pt x="1312" y="1047"/>
                    </a:cubicBezTo>
                    <a:cubicBezTo>
                      <a:pt x="1312" y="1028"/>
                      <a:pt x="1296" y="1012"/>
                      <a:pt x="1277" y="1012"/>
                    </a:cubicBezTo>
                    <a:cubicBezTo>
                      <a:pt x="1258" y="1012"/>
                      <a:pt x="1243" y="1028"/>
                      <a:pt x="1243" y="1047"/>
                    </a:cubicBezTo>
                    <a:cubicBezTo>
                      <a:pt x="1243" y="1059"/>
                      <a:pt x="1243" y="1059"/>
                      <a:pt x="1243" y="1059"/>
                    </a:cubicBezTo>
                    <a:cubicBezTo>
                      <a:pt x="1128" y="1059"/>
                      <a:pt x="1128" y="1059"/>
                      <a:pt x="1128" y="1059"/>
                    </a:cubicBezTo>
                    <a:cubicBezTo>
                      <a:pt x="1128" y="207"/>
                      <a:pt x="1128" y="207"/>
                      <a:pt x="1128" y="207"/>
                    </a:cubicBezTo>
                    <a:cubicBezTo>
                      <a:pt x="1703" y="207"/>
                      <a:pt x="1703" y="207"/>
                      <a:pt x="1703" y="207"/>
                    </a:cubicBezTo>
                    <a:lnTo>
                      <a:pt x="1703" y="1979"/>
                    </a:lnTo>
                    <a:close/>
                    <a:moveTo>
                      <a:pt x="1277" y="897"/>
                    </a:moveTo>
                    <a:cubicBezTo>
                      <a:pt x="1296" y="897"/>
                      <a:pt x="1312" y="882"/>
                      <a:pt x="1312" y="863"/>
                    </a:cubicBezTo>
                    <a:cubicBezTo>
                      <a:pt x="1312" y="817"/>
                      <a:pt x="1312" y="817"/>
                      <a:pt x="1312" y="817"/>
                    </a:cubicBezTo>
                    <a:cubicBezTo>
                      <a:pt x="1312" y="798"/>
                      <a:pt x="1296" y="782"/>
                      <a:pt x="1277" y="782"/>
                    </a:cubicBezTo>
                    <a:cubicBezTo>
                      <a:pt x="1258" y="782"/>
                      <a:pt x="1243" y="798"/>
                      <a:pt x="1243" y="817"/>
                    </a:cubicBezTo>
                    <a:cubicBezTo>
                      <a:pt x="1243" y="863"/>
                      <a:pt x="1243" y="863"/>
                      <a:pt x="1243" y="863"/>
                    </a:cubicBezTo>
                    <a:cubicBezTo>
                      <a:pt x="1243" y="882"/>
                      <a:pt x="1258" y="897"/>
                      <a:pt x="1277" y="897"/>
                    </a:cubicBezTo>
                    <a:close/>
                    <a:moveTo>
                      <a:pt x="1553" y="1358"/>
                    </a:moveTo>
                    <a:cubicBezTo>
                      <a:pt x="1572" y="1358"/>
                      <a:pt x="1588" y="1342"/>
                      <a:pt x="1588" y="1323"/>
                    </a:cubicBezTo>
                    <a:cubicBezTo>
                      <a:pt x="1588" y="1277"/>
                      <a:pt x="1588" y="1277"/>
                      <a:pt x="1588" y="1277"/>
                    </a:cubicBezTo>
                    <a:cubicBezTo>
                      <a:pt x="1588" y="1258"/>
                      <a:pt x="1572" y="1243"/>
                      <a:pt x="1553" y="1243"/>
                    </a:cubicBezTo>
                    <a:cubicBezTo>
                      <a:pt x="1534" y="1243"/>
                      <a:pt x="1519" y="1258"/>
                      <a:pt x="1519" y="1277"/>
                    </a:cubicBezTo>
                    <a:cubicBezTo>
                      <a:pt x="1519" y="1323"/>
                      <a:pt x="1519" y="1323"/>
                      <a:pt x="1519" y="1323"/>
                    </a:cubicBezTo>
                    <a:cubicBezTo>
                      <a:pt x="1519" y="1342"/>
                      <a:pt x="1534" y="1358"/>
                      <a:pt x="1553" y="1358"/>
                    </a:cubicBezTo>
                    <a:close/>
                    <a:moveTo>
                      <a:pt x="1553" y="1588"/>
                    </a:moveTo>
                    <a:cubicBezTo>
                      <a:pt x="1572" y="1588"/>
                      <a:pt x="1588" y="1572"/>
                      <a:pt x="1588" y="1553"/>
                    </a:cubicBezTo>
                    <a:cubicBezTo>
                      <a:pt x="1588" y="1507"/>
                      <a:pt x="1588" y="1507"/>
                      <a:pt x="1588" y="1507"/>
                    </a:cubicBezTo>
                    <a:cubicBezTo>
                      <a:pt x="1588" y="1488"/>
                      <a:pt x="1572" y="1473"/>
                      <a:pt x="1553" y="1473"/>
                    </a:cubicBezTo>
                    <a:cubicBezTo>
                      <a:pt x="1534" y="1473"/>
                      <a:pt x="1519" y="1488"/>
                      <a:pt x="1519" y="1507"/>
                    </a:cubicBezTo>
                    <a:cubicBezTo>
                      <a:pt x="1519" y="1553"/>
                      <a:pt x="1519" y="1553"/>
                      <a:pt x="1519" y="1553"/>
                    </a:cubicBezTo>
                    <a:cubicBezTo>
                      <a:pt x="1519" y="1572"/>
                      <a:pt x="1534" y="1588"/>
                      <a:pt x="1553" y="1588"/>
                    </a:cubicBezTo>
                    <a:close/>
                    <a:moveTo>
                      <a:pt x="955" y="1910"/>
                    </a:moveTo>
                    <a:cubicBezTo>
                      <a:pt x="974" y="1910"/>
                      <a:pt x="990" y="1894"/>
                      <a:pt x="990" y="1875"/>
                    </a:cubicBezTo>
                    <a:cubicBezTo>
                      <a:pt x="990" y="1231"/>
                      <a:pt x="990" y="1231"/>
                      <a:pt x="990" y="1231"/>
                    </a:cubicBezTo>
                    <a:cubicBezTo>
                      <a:pt x="990" y="1212"/>
                      <a:pt x="974" y="1197"/>
                      <a:pt x="955" y="1197"/>
                    </a:cubicBezTo>
                    <a:cubicBezTo>
                      <a:pt x="936" y="1197"/>
                      <a:pt x="920" y="1212"/>
                      <a:pt x="920" y="1231"/>
                    </a:cubicBezTo>
                    <a:cubicBezTo>
                      <a:pt x="920" y="1875"/>
                      <a:pt x="920" y="1875"/>
                      <a:pt x="920" y="1875"/>
                    </a:cubicBezTo>
                    <a:cubicBezTo>
                      <a:pt x="920" y="1894"/>
                      <a:pt x="936" y="1910"/>
                      <a:pt x="955" y="1910"/>
                    </a:cubicBezTo>
                    <a:close/>
                    <a:moveTo>
                      <a:pt x="1553" y="667"/>
                    </a:moveTo>
                    <a:cubicBezTo>
                      <a:pt x="1572" y="667"/>
                      <a:pt x="1588" y="652"/>
                      <a:pt x="1588" y="633"/>
                    </a:cubicBezTo>
                    <a:cubicBezTo>
                      <a:pt x="1588" y="587"/>
                      <a:pt x="1588" y="587"/>
                      <a:pt x="1588" y="587"/>
                    </a:cubicBezTo>
                    <a:cubicBezTo>
                      <a:pt x="1588" y="568"/>
                      <a:pt x="1572" y="552"/>
                      <a:pt x="1553" y="552"/>
                    </a:cubicBezTo>
                    <a:cubicBezTo>
                      <a:pt x="1534" y="552"/>
                      <a:pt x="1519" y="568"/>
                      <a:pt x="1519" y="587"/>
                    </a:cubicBezTo>
                    <a:cubicBezTo>
                      <a:pt x="1519" y="633"/>
                      <a:pt x="1519" y="633"/>
                      <a:pt x="1519" y="633"/>
                    </a:cubicBezTo>
                    <a:cubicBezTo>
                      <a:pt x="1519" y="652"/>
                      <a:pt x="1534" y="667"/>
                      <a:pt x="1553" y="667"/>
                    </a:cubicBezTo>
                    <a:close/>
                    <a:moveTo>
                      <a:pt x="1093" y="1910"/>
                    </a:moveTo>
                    <a:cubicBezTo>
                      <a:pt x="1112" y="1910"/>
                      <a:pt x="1128" y="1894"/>
                      <a:pt x="1128" y="1875"/>
                    </a:cubicBezTo>
                    <a:cubicBezTo>
                      <a:pt x="1128" y="1231"/>
                      <a:pt x="1128" y="1231"/>
                      <a:pt x="1128" y="1231"/>
                    </a:cubicBezTo>
                    <a:cubicBezTo>
                      <a:pt x="1128" y="1212"/>
                      <a:pt x="1112" y="1197"/>
                      <a:pt x="1093" y="1197"/>
                    </a:cubicBezTo>
                    <a:cubicBezTo>
                      <a:pt x="1074" y="1197"/>
                      <a:pt x="1059" y="1212"/>
                      <a:pt x="1059" y="1231"/>
                    </a:cubicBezTo>
                    <a:cubicBezTo>
                      <a:pt x="1059" y="1875"/>
                      <a:pt x="1059" y="1875"/>
                      <a:pt x="1059" y="1875"/>
                    </a:cubicBezTo>
                    <a:cubicBezTo>
                      <a:pt x="1059" y="1894"/>
                      <a:pt x="1074" y="1910"/>
                      <a:pt x="1093" y="1910"/>
                    </a:cubicBezTo>
                    <a:close/>
                    <a:moveTo>
                      <a:pt x="1553" y="437"/>
                    </a:moveTo>
                    <a:cubicBezTo>
                      <a:pt x="1572" y="437"/>
                      <a:pt x="1588" y="422"/>
                      <a:pt x="1588" y="403"/>
                    </a:cubicBezTo>
                    <a:cubicBezTo>
                      <a:pt x="1588" y="357"/>
                      <a:pt x="1588" y="357"/>
                      <a:pt x="1588" y="357"/>
                    </a:cubicBezTo>
                    <a:cubicBezTo>
                      <a:pt x="1588" y="338"/>
                      <a:pt x="1572" y="322"/>
                      <a:pt x="1553" y="322"/>
                    </a:cubicBezTo>
                    <a:cubicBezTo>
                      <a:pt x="1534" y="322"/>
                      <a:pt x="1519" y="338"/>
                      <a:pt x="1519" y="357"/>
                    </a:cubicBezTo>
                    <a:cubicBezTo>
                      <a:pt x="1519" y="403"/>
                      <a:pt x="1519" y="403"/>
                      <a:pt x="1519" y="403"/>
                    </a:cubicBezTo>
                    <a:cubicBezTo>
                      <a:pt x="1519" y="422"/>
                      <a:pt x="1534" y="437"/>
                      <a:pt x="1553" y="437"/>
                    </a:cubicBezTo>
                    <a:close/>
                    <a:moveTo>
                      <a:pt x="1553" y="897"/>
                    </a:moveTo>
                    <a:cubicBezTo>
                      <a:pt x="1572" y="897"/>
                      <a:pt x="1588" y="882"/>
                      <a:pt x="1588" y="863"/>
                    </a:cubicBezTo>
                    <a:cubicBezTo>
                      <a:pt x="1588" y="817"/>
                      <a:pt x="1588" y="817"/>
                      <a:pt x="1588" y="817"/>
                    </a:cubicBezTo>
                    <a:cubicBezTo>
                      <a:pt x="1588" y="798"/>
                      <a:pt x="1572" y="782"/>
                      <a:pt x="1553" y="782"/>
                    </a:cubicBezTo>
                    <a:cubicBezTo>
                      <a:pt x="1534" y="782"/>
                      <a:pt x="1519" y="798"/>
                      <a:pt x="1519" y="817"/>
                    </a:cubicBezTo>
                    <a:cubicBezTo>
                      <a:pt x="1519" y="863"/>
                      <a:pt x="1519" y="863"/>
                      <a:pt x="1519" y="863"/>
                    </a:cubicBezTo>
                    <a:cubicBezTo>
                      <a:pt x="1519" y="882"/>
                      <a:pt x="1534" y="897"/>
                      <a:pt x="1553" y="897"/>
                    </a:cubicBezTo>
                    <a:close/>
                    <a:moveTo>
                      <a:pt x="1231" y="1910"/>
                    </a:moveTo>
                    <a:cubicBezTo>
                      <a:pt x="1250" y="1910"/>
                      <a:pt x="1266" y="1894"/>
                      <a:pt x="1266" y="1875"/>
                    </a:cubicBezTo>
                    <a:cubicBezTo>
                      <a:pt x="1266" y="1231"/>
                      <a:pt x="1266" y="1231"/>
                      <a:pt x="1266" y="1231"/>
                    </a:cubicBezTo>
                    <a:cubicBezTo>
                      <a:pt x="1266" y="1212"/>
                      <a:pt x="1250" y="1197"/>
                      <a:pt x="1231" y="1197"/>
                    </a:cubicBezTo>
                    <a:cubicBezTo>
                      <a:pt x="1212" y="1197"/>
                      <a:pt x="1197" y="1212"/>
                      <a:pt x="1197" y="1231"/>
                    </a:cubicBezTo>
                    <a:cubicBezTo>
                      <a:pt x="1197" y="1875"/>
                      <a:pt x="1197" y="1875"/>
                      <a:pt x="1197" y="1875"/>
                    </a:cubicBezTo>
                    <a:cubicBezTo>
                      <a:pt x="1197" y="1894"/>
                      <a:pt x="1212" y="1910"/>
                      <a:pt x="1231" y="1910"/>
                    </a:cubicBezTo>
                    <a:close/>
                    <a:moveTo>
                      <a:pt x="1553" y="1128"/>
                    </a:moveTo>
                    <a:cubicBezTo>
                      <a:pt x="1572" y="1128"/>
                      <a:pt x="1588" y="1112"/>
                      <a:pt x="1588" y="1093"/>
                    </a:cubicBezTo>
                    <a:cubicBezTo>
                      <a:pt x="1588" y="1047"/>
                      <a:pt x="1588" y="1047"/>
                      <a:pt x="1588" y="1047"/>
                    </a:cubicBezTo>
                    <a:cubicBezTo>
                      <a:pt x="1588" y="1028"/>
                      <a:pt x="1572" y="1012"/>
                      <a:pt x="1553" y="1012"/>
                    </a:cubicBezTo>
                    <a:cubicBezTo>
                      <a:pt x="1534" y="1012"/>
                      <a:pt x="1519" y="1028"/>
                      <a:pt x="1519" y="1047"/>
                    </a:cubicBezTo>
                    <a:cubicBezTo>
                      <a:pt x="1519" y="1093"/>
                      <a:pt x="1519" y="1093"/>
                      <a:pt x="1519" y="1093"/>
                    </a:cubicBezTo>
                    <a:cubicBezTo>
                      <a:pt x="1519" y="1112"/>
                      <a:pt x="1534" y="1128"/>
                      <a:pt x="1553" y="112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grpSp>
        <p:nvGrpSpPr>
          <p:cNvPr id="29" name="Group 489"/>
          <p:cNvGrpSpPr/>
          <p:nvPr/>
        </p:nvGrpSpPr>
        <p:grpSpPr>
          <a:xfrm>
            <a:off x="3639126" y="1086614"/>
            <a:ext cx="1605740" cy="634681"/>
            <a:chOff x="3639126" y="1086614"/>
            <a:chExt cx="1605740" cy="634681"/>
          </a:xfrm>
        </p:grpSpPr>
        <p:sp>
          <p:nvSpPr>
            <p:cNvPr id="472" name="Rectangle 471"/>
            <p:cNvSpPr/>
            <p:nvPr/>
          </p:nvSpPr>
          <p:spPr>
            <a:xfrm>
              <a:off x="4375397" y="1234677"/>
              <a:ext cx="869469" cy="338554"/>
            </a:xfrm>
            <a:prstGeom prst="rect">
              <a:avLst/>
            </a:prstGeom>
          </p:spPr>
          <p:txBody>
            <a:bodyPr wrap="none" lIns="0" tIns="0" rIns="0" bIns="0">
              <a:spAutoFit/>
            </a:bodyPr>
            <a:lstStyle/>
            <a:p>
              <a:pPr marL="7144" lvl="5" defTabSz="685193">
                <a:spcBef>
                  <a:spcPts val="225"/>
                </a:spcBef>
                <a:defRPr/>
              </a:pPr>
              <a:r>
                <a:rPr lang="en-US" sz="1100" b="1" kern="0" dirty="0" smtClean="0">
                  <a:solidFill>
                    <a:schemeClr val="accent1"/>
                  </a:solidFill>
                  <a:latin typeface="+mj-lt"/>
                </a:rPr>
                <a:t>Cisco Asset</a:t>
              </a:r>
              <a:br>
                <a:rPr lang="en-US" sz="1100" b="1" kern="0" dirty="0" smtClean="0">
                  <a:solidFill>
                    <a:schemeClr val="accent1"/>
                  </a:solidFill>
                  <a:latin typeface="+mj-lt"/>
                </a:rPr>
              </a:br>
              <a:r>
                <a:rPr lang="en-US" sz="1100" b="1" kern="0" dirty="0" smtClean="0">
                  <a:solidFill>
                    <a:schemeClr val="accent1"/>
                  </a:solidFill>
                  <a:latin typeface="+mj-lt"/>
                </a:rPr>
                <a:t>Management</a:t>
              </a:r>
              <a:endParaRPr lang="en-US" sz="1100" b="1" kern="0" dirty="0">
                <a:solidFill>
                  <a:schemeClr val="accent1"/>
                </a:solidFill>
                <a:latin typeface="+mj-lt"/>
              </a:endParaRPr>
            </a:p>
          </p:txBody>
        </p:sp>
        <p:sp>
          <p:nvSpPr>
            <p:cNvPr id="478" name="Oval 477"/>
            <p:cNvSpPr/>
            <p:nvPr/>
          </p:nvSpPr>
          <p:spPr>
            <a:xfrm>
              <a:off x="3639126" y="1086614"/>
              <a:ext cx="634681" cy="63468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9398" name="Freeform 6"/>
            <p:cNvSpPr>
              <a:spLocks noEditPoints="1"/>
            </p:cNvSpPr>
            <p:nvPr/>
          </p:nvSpPr>
          <p:spPr bwMode="auto">
            <a:xfrm>
              <a:off x="3807104" y="1196732"/>
              <a:ext cx="298725" cy="414445"/>
            </a:xfrm>
            <a:custGeom>
              <a:avLst/>
              <a:gdLst/>
              <a:ahLst/>
              <a:cxnLst>
                <a:cxn ang="0">
                  <a:pos x="433" y="2114"/>
                </a:cxn>
                <a:cxn ang="0">
                  <a:pos x="511" y="2333"/>
                </a:cxn>
                <a:cxn ang="0">
                  <a:pos x="830" y="2085"/>
                </a:cxn>
                <a:cxn ang="0">
                  <a:pos x="1043" y="99"/>
                </a:cxn>
                <a:cxn ang="0">
                  <a:pos x="1043" y="227"/>
                </a:cxn>
                <a:cxn ang="0">
                  <a:pos x="1043" y="99"/>
                </a:cxn>
                <a:cxn ang="0">
                  <a:pos x="1043" y="127"/>
                </a:cxn>
                <a:cxn ang="0">
                  <a:pos x="993" y="957"/>
                </a:cxn>
                <a:cxn ang="0">
                  <a:pos x="1391" y="858"/>
                </a:cxn>
                <a:cxn ang="0">
                  <a:pos x="993" y="957"/>
                </a:cxn>
                <a:cxn ang="0">
                  <a:pos x="433" y="1518"/>
                </a:cxn>
                <a:cxn ang="0">
                  <a:pos x="511" y="1737"/>
                </a:cxn>
                <a:cxn ang="0">
                  <a:pos x="830" y="1489"/>
                </a:cxn>
                <a:cxn ang="0">
                  <a:pos x="760" y="823"/>
                </a:cxn>
                <a:cxn ang="0">
                  <a:pos x="362" y="922"/>
                </a:cxn>
                <a:cxn ang="0">
                  <a:pos x="546" y="1156"/>
                </a:cxn>
                <a:cxn ang="0">
                  <a:pos x="830" y="823"/>
                </a:cxn>
                <a:cxn ang="0">
                  <a:pos x="993" y="1057"/>
                </a:cxn>
                <a:cxn ang="0">
                  <a:pos x="1639" y="1156"/>
                </a:cxn>
                <a:cxn ang="0">
                  <a:pos x="1887" y="213"/>
                </a:cxn>
                <a:cxn ang="0">
                  <a:pos x="1206" y="199"/>
                </a:cxn>
                <a:cxn ang="0">
                  <a:pos x="880" y="163"/>
                </a:cxn>
                <a:cxn ang="0">
                  <a:pos x="691" y="213"/>
                </a:cxn>
                <a:cxn ang="0">
                  <a:pos x="0" y="2695"/>
                </a:cxn>
                <a:cxn ang="0">
                  <a:pos x="2086" y="2695"/>
                </a:cxn>
                <a:cxn ang="0">
                  <a:pos x="660" y="312"/>
                </a:cxn>
                <a:cxn ang="0">
                  <a:pos x="908" y="163"/>
                </a:cxn>
                <a:cxn ang="0">
                  <a:pos x="1178" y="227"/>
                </a:cxn>
                <a:cxn ang="0">
                  <a:pos x="1426" y="312"/>
                </a:cxn>
                <a:cxn ang="0">
                  <a:pos x="660" y="312"/>
                </a:cxn>
                <a:cxn ang="0">
                  <a:pos x="1440" y="376"/>
                </a:cxn>
                <a:cxn ang="0">
                  <a:pos x="1440" y="447"/>
                </a:cxn>
                <a:cxn ang="0">
                  <a:pos x="632" y="378"/>
                </a:cxn>
                <a:cxn ang="0">
                  <a:pos x="199" y="2745"/>
                </a:cxn>
                <a:cxn ang="0">
                  <a:pos x="199" y="362"/>
                </a:cxn>
                <a:cxn ang="0">
                  <a:pos x="646" y="475"/>
                </a:cxn>
                <a:cxn ang="0">
                  <a:pos x="1480" y="362"/>
                </a:cxn>
                <a:cxn ang="0">
                  <a:pos x="1937" y="2695"/>
                </a:cxn>
                <a:cxn ang="0">
                  <a:pos x="1440" y="1504"/>
                </a:cxn>
                <a:cxn ang="0">
                  <a:pos x="944" y="1504"/>
                </a:cxn>
                <a:cxn ang="0">
                  <a:pos x="993" y="1653"/>
                </a:cxn>
                <a:cxn ang="0">
                  <a:pos x="1639" y="1752"/>
                </a:cxn>
                <a:cxn ang="0">
                  <a:pos x="1639" y="2248"/>
                </a:cxn>
                <a:cxn ang="0">
                  <a:pos x="993" y="2348"/>
                </a:cxn>
                <a:cxn ang="0">
                  <a:pos x="1639" y="2248"/>
                </a:cxn>
                <a:cxn ang="0">
                  <a:pos x="1440" y="2100"/>
                </a:cxn>
                <a:cxn ang="0">
                  <a:pos x="944" y="2100"/>
                </a:cxn>
              </a:cxnLst>
              <a:rect l="0" t="0" r="r" b="b"/>
              <a:pathLst>
                <a:path w="2086" h="2894">
                  <a:moveTo>
                    <a:pt x="760" y="2015"/>
                  </a:moveTo>
                  <a:cubicBezTo>
                    <a:pt x="546" y="2228"/>
                    <a:pt x="546" y="2228"/>
                    <a:pt x="546" y="2228"/>
                  </a:cubicBezTo>
                  <a:cubicBezTo>
                    <a:pt x="433" y="2114"/>
                    <a:pt x="433" y="2114"/>
                    <a:pt x="433" y="2114"/>
                  </a:cubicBezTo>
                  <a:cubicBezTo>
                    <a:pt x="413" y="2095"/>
                    <a:pt x="382" y="2095"/>
                    <a:pt x="362" y="2114"/>
                  </a:cubicBezTo>
                  <a:cubicBezTo>
                    <a:pt x="343" y="2133"/>
                    <a:pt x="343" y="2165"/>
                    <a:pt x="362" y="2184"/>
                  </a:cubicBezTo>
                  <a:cubicBezTo>
                    <a:pt x="511" y="2333"/>
                    <a:pt x="511" y="2333"/>
                    <a:pt x="511" y="2333"/>
                  </a:cubicBezTo>
                  <a:cubicBezTo>
                    <a:pt x="521" y="2343"/>
                    <a:pt x="534" y="2348"/>
                    <a:pt x="546" y="2348"/>
                  </a:cubicBezTo>
                  <a:cubicBezTo>
                    <a:pt x="559" y="2348"/>
                    <a:pt x="572" y="2343"/>
                    <a:pt x="582" y="2333"/>
                  </a:cubicBezTo>
                  <a:cubicBezTo>
                    <a:pt x="830" y="2085"/>
                    <a:pt x="830" y="2085"/>
                    <a:pt x="830" y="2085"/>
                  </a:cubicBezTo>
                  <a:cubicBezTo>
                    <a:pt x="849" y="2066"/>
                    <a:pt x="849" y="2034"/>
                    <a:pt x="830" y="2015"/>
                  </a:cubicBezTo>
                  <a:cubicBezTo>
                    <a:pt x="810" y="1995"/>
                    <a:pt x="779" y="1995"/>
                    <a:pt x="760" y="2015"/>
                  </a:cubicBezTo>
                  <a:close/>
                  <a:moveTo>
                    <a:pt x="1043" y="99"/>
                  </a:moveTo>
                  <a:cubicBezTo>
                    <a:pt x="1008" y="99"/>
                    <a:pt x="979" y="128"/>
                    <a:pt x="979" y="163"/>
                  </a:cubicBezTo>
                  <a:cubicBezTo>
                    <a:pt x="979" y="183"/>
                    <a:pt x="989" y="201"/>
                    <a:pt x="1003" y="213"/>
                  </a:cubicBezTo>
                  <a:cubicBezTo>
                    <a:pt x="1014" y="221"/>
                    <a:pt x="1028" y="227"/>
                    <a:pt x="1043" y="227"/>
                  </a:cubicBezTo>
                  <a:cubicBezTo>
                    <a:pt x="1058" y="227"/>
                    <a:pt x="1072" y="221"/>
                    <a:pt x="1083" y="213"/>
                  </a:cubicBezTo>
                  <a:cubicBezTo>
                    <a:pt x="1097" y="201"/>
                    <a:pt x="1107" y="183"/>
                    <a:pt x="1107" y="163"/>
                  </a:cubicBezTo>
                  <a:cubicBezTo>
                    <a:pt x="1107" y="128"/>
                    <a:pt x="1078" y="99"/>
                    <a:pt x="1043" y="99"/>
                  </a:cubicBezTo>
                  <a:close/>
                  <a:moveTo>
                    <a:pt x="1043" y="199"/>
                  </a:moveTo>
                  <a:cubicBezTo>
                    <a:pt x="1023" y="199"/>
                    <a:pt x="1007" y="183"/>
                    <a:pt x="1007" y="163"/>
                  </a:cubicBezTo>
                  <a:cubicBezTo>
                    <a:pt x="1007" y="143"/>
                    <a:pt x="1023" y="127"/>
                    <a:pt x="1043" y="127"/>
                  </a:cubicBezTo>
                  <a:cubicBezTo>
                    <a:pt x="1063" y="127"/>
                    <a:pt x="1079" y="143"/>
                    <a:pt x="1079" y="163"/>
                  </a:cubicBezTo>
                  <a:cubicBezTo>
                    <a:pt x="1079" y="183"/>
                    <a:pt x="1063" y="199"/>
                    <a:pt x="1043" y="199"/>
                  </a:cubicBezTo>
                  <a:close/>
                  <a:moveTo>
                    <a:pt x="993" y="957"/>
                  </a:moveTo>
                  <a:cubicBezTo>
                    <a:pt x="1391" y="957"/>
                    <a:pt x="1391" y="957"/>
                    <a:pt x="1391" y="957"/>
                  </a:cubicBezTo>
                  <a:cubicBezTo>
                    <a:pt x="1418" y="957"/>
                    <a:pt x="1440" y="935"/>
                    <a:pt x="1440" y="908"/>
                  </a:cubicBezTo>
                  <a:cubicBezTo>
                    <a:pt x="1440" y="880"/>
                    <a:pt x="1418" y="858"/>
                    <a:pt x="1391" y="858"/>
                  </a:cubicBezTo>
                  <a:cubicBezTo>
                    <a:pt x="993" y="858"/>
                    <a:pt x="993" y="858"/>
                    <a:pt x="993" y="858"/>
                  </a:cubicBezTo>
                  <a:cubicBezTo>
                    <a:pt x="966" y="858"/>
                    <a:pt x="944" y="880"/>
                    <a:pt x="944" y="908"/>
                  </a:cubicBezTo>
                  <a:cubicBezTo>
                    <a:pt x="944" y="935"/>
                    <a:pt x="966" y="957"/>
                    <a:pt x="993" y="957"/>
                  </a:cubicBezTo>
                  <a:close/>
                  <a:moveTo>
                    <a:pt x="760" y="1419"/>
                  </a:moveTo>
                  <a:cubicBezTo>
                    <a:pt x="546" y="1632"/>
                    <a:pt x="546" y="1632"/>
                    <a:pt x="546" y="1632"/>
                  </a:cubicBezTo>
                  <a:cubicBezTo>
                    <a:pt x="433" y="1518"/>
                    <a:pt x="433" y="1518"/>
                    <a:pt x="433" y="1518"/>
                  </a:cubicBezTo>
                  <a:cubicBezTo>
                    <a:pt x="413" y="1499"/>
                    <a:pt x="382" y="1499"/>
                    <a:pt x="362" y="1518"/>
                  </a:cubicBezTo>
                  <a:cubicBezTo>
                    <a:pt x="343" y="1538"/>
                    <a:pt x="343" y="1569"/>
                    <a:pt x="362" y="1588"/>
                  </a:cubicBezTo>
                  <a:cubicBezTo>
                    <a:pt x="511" y="1737"/>
                    <a:pt x="511" y="1737"/>
                    <a:pt x="511" y="1737"/>
                  </a:cubicBezTo>
                  <a:cubicBezTo>
                    <a:pt x="521" y="1747"/>
                    <a:pt x="534" y="1752"/>
                    <a:pt x="546" y="1752"/>
                  </a:cubicBezTo>
                  <a:cubicBezTo>
                    <a:pt x="559" y="1752"/>
                    <a:pt x="572" y="1747"/>
                    <a:pt x="582" y="1737"/>
                  </a:cubicBezTo>
                  <a:cubicBezTo>
                    <a:pt x="830" y="1489"/>
                    <a:pt x="830" y="1489"/>
                    <a:pt x="830" y="1489"/>
                  </a:cubicBezTo>
                  <a:cubicBezTo>
                    <a:pt x="849" y="1470"/>
                    <a:pt x="849" y="1438"/>
                    <a:pt x="830" y="1419"/>
                  </a:cubicBezTo>
                  <a:cubicBezTo>
                    <a:pt x="810" y="1399"/>
                    <a:pt x="779" y="1399"/>
                    <a:pt x="760" y="1419"/>
                  </a:cubicBezTo>
                  <a:close/>
                  <a:moveTo>
                    <a:pt x="760" y="823"/>
                  </a:moveTo>
                  <a:cubicBezTo>
                    <a:pt x="546" y="1036"/>
                    <a:pt x="546" y="1036"/>
                    <a:pt x="546" y="1036"/>
                  </a:cubicBezTo>
                  <a:cubicBezTo>
                    <a:pt x="433" y="922"/>
                    <a:pt x="433" y="922"/>
                    <a:pt x="433" y="922"/>
                  </a:cubicBezTo>
                  <a:cubicBezTo>
                    <a:pt x="413" y="903"/>
                    <a:pt x="382" y="903"/>
                    <a:pt x="362" y="922"/>
                  </a:cubicBezTo>
                  <a:cubicBezTo>
                    <a:pt x="343" y="942"/>
                    <a:pt x="343" y="973"/>
                    <a:pt x="362" y="993"/>
                  </a:cubicBezTo>
                  <a:cubicBezTo>
                    <a:pt x="511" y="1142"/>
                    <a:pt x="511" y="1142"/>
                    <a:pt x="511" y="1142"/>
                  </a:cubicBezTo>
                  <a:cubicBezTo>
                    <a:pt x="521" y="1151"/>
                    <a:pt x="534" y="1156"/>
                    <a:pt x="546" y="1156"/>
                  </a:cubicBezTo>
                  <a:cubicBezTo>
                    <a:pt x="559" y="1156"/>
                    <a:pt x="572" y="1151"/>
                    <a:pt x="582" y="1142"/>
                  </a:cubicBezTo>
                  <a:cubicBezTo>
                    <a:pt x="830" y="893"/>
                    <a:pt x="830" y="893"/>
                    <a:pt x="830" y="893"/>
                  </a:cubicBezTo>
                  <a:cubicBezTo>
                    <a:pt x="849" y="874"/>
                    <a:pt x="849" y="842"/>
                    <a:pt x="830" y="823"/>
                  </a:cubicBezTo>
                  <a:cubicBezTo>
                    <a:pt x="810" y="804"/>
                    <a:pt x="779" y="804"/>
                    <a:pt x="760" y="823"/>
                  </a:cubicBezTo>
                  <a:close/>
                  <a:moveTo>
                    <a:pt x="1639" y="1057"/>
                  </a:moveTo>
                  <a:cubicBezTo>
                    <a:pt x="993" y="1057"/>
                    <a:pt x="993" y="1057"/>
                    <a:pt x="993" y="1057"/>
                  </a:cubicBezTo>
                  <a:cubicBezTo>
                    <a:pt x="966" y="1057"/>
                    <a:pt x="944" y="1079"/>
                    <a:pt x="944" y="1106"/>
                  </a:cubicBezTo>
                  <a:cubicBezTo>
                    <a:pt x="944" y="1134"/>
                    <a:pt x="966" y="1156"/>
                    <a:pt x="993" y="1156"/>
                  </a:cubicBezTo>
                  <a:cubicBezTo>
                    <a:pt x="1639" y="1156"/>
                    <a:pt x="1639" y="1156"/>
                    <a:pt x="1639" y="1156"/>
                  </a:cubicBezTo>
                  <a:cubicBezTo>
                    <a:pt x="1666" y="1156"/>
                    <a:pt x="1689" y="1134"/>
                    <a:pt x="1689" y="1106"/>
                  </a:cubicBezTo>
                  <a:cubicBezTo>
                    <a:pt x="1689" y="1079"/>
                    <a:pt x="1666" y="1057"/>
                    <a:pt x="1639" y="1057"/>
                  </a:cubicBezTo>
                  <a:close/>
                  <a:moveTo>
                    <a:pt x="1887" y="213"/>
                  </a:moveTo>
                  <a:cubicBezTo>
                    <a:pt x="1396" y="213"/>
                    <a:pt x="1396" y="213"/>
                    <a:pt x="1396" y="213"/>
                  </a:cubicBezTo>
                  <a:cubicBezTo>
                    <a:pt x="1379" y="203"/>
                    <a:pt x="1360" y="199"/>
                    <a:pt x="1341" y="199"/>
                  </a:cubicBezTo>
                  <a:cubicBezTo>
                    <a:pt x="1206" y="199"/>
                    <a:pt x="1206" y="199"/>
                    <a:pt x="1206" y="199"/>
                  </a:cubicBezTo>
                  <a:cubicBezTo>
                    <a:pt x="1206" y="163"/>
                    <a:pt x="1206" y="163"/>
                    <a:pt x="1206" y="163"/>
                  </a:cubicBezTo>
                  <a:cubicBezTo>
                    <a:pt x="1206" y="73"/>
                    <a:pt x="1133" y="0"/>
                    <a:pt x="1043" y="0"/>
                  </a:cubicBezTo>
                  <a:cubicBezTo>
                    <a:pt x="953" y="0"/>
                    <a:pt x="880" y="73"/>
                    <a:pt x="880" y="163"/>
                  </a:cubicBezTo>
                  <a:cubicBezTo>
                    <a:pt x="880" y="199"/>
                    <a:pt x="880" y="199"/>
                    <a:pt x="880" y="199"/>
                  </a:cubicBezTo>
                  <a:cubicBezTo>
                    <a:pt x="745" y="199"/>
                    <a:pt x="745" y="199"/>
                    <a:pt x="745" y="199"/>
                  </a:cubicBezTo>
                  <a:cubicBezTo>
                    <a:pt x="725" y="199"/>
                    <a:pt x="707" y="204"/>
                    <a:pt x="691" y="213"/>
                  </a:cubicBezTo>
                  <a:cubicBezTo>
                    <a:pt x="199" y="213"/>
                    <a:pt x="199" y="213"/>
                    <a:pt x="199" y="213"/>
                  </a:cubicBezTo>
                  <a:cubicBezTo>
                    <a:pt x="89" y="213"/>
                    <a:pt x="0" y="302"/>
                    <a:pt x="0" y="411"/>
                  </a:cubicBezTo>
                  <a:cubicBezTo>
                    <a:pt x="0" y="2695"/>
                    <a:pt x="0" y="2695"/>
                    <a:pt x="0" y="2695"/>
                  </a:cubicBezTo>
                  <a:cubicBezTo>
                    <a:pt x="0" y="2805"/>
                    <a:pt x="89" y="2894"/>
                    <a:pt x="199" y="2894"/>
                  </a:cubicBezTo>
                  <a:cubicBezTo>
                    <a:pt x="1887" y="2894"/>
                    <a:pt x="1887" y="2894"/>
                    <a:pt x="1887" y="2894"/>
                  </a:cubicBezTo>
                  <a:cubicBezTo>
                    <a:pt x="1997" y="2894"/>
                    <a:pt x="2086" y="2805"/>
                    <a:pt x="2086" y="2695"/>
                  </a:cubicBezTo>
                  <a:cubicBezTo>
                    <a:pt x="2086" y="411"/>
                    <a:pt x="2086" y="411"/>
                    <a:pt x="2086" y="411"/>
                  </a:cubicBezTo>
                  <a:cubicBezTo>
                    <a:pt x="2086" y="302"/>
                    <a:pt x="1997" y="213"/>
                    <a:pt x="1887" y="213"/>
                  </a:cubicBezTo>
                  <a:close/>
                  <a:moveTo>
                    <a:pt x="660" y="312"/>
                  </a:moveTo>
                  <a:cubicBezTo>
                    <a:pt x="660" y="265"/>
                    <a:pt x="698" y="227"/>
                    <a:pt x="745" y="227"/>
                  </a:cubicBezTo>
                  <a:cubicBezTo>
                    <a:pt x="908" y="227"/>
                    <a:pt x="908" y="227"/>
                    <a:pt x="908" y="227"/>
                  </a:cubicBezTo>
                  <a:cubicBezTo>
                    <a:pt x="908" y="163"/>
                    <a:pt x="908" y="163"/>
                    <a:pt x="908" y="163"/>
                  </a:cubicBezTo>
                  <a:cubicBezTo>
                    <a:pt x="908" y="89"/>
                    <a:pt x="969" y="28"/>
                    <a:pt x="1043" y="28"/>
                  </a:cubicBezTo>
                  <a:cubicBezTo>
                    <a:pt x="1117" y="28"/>
                    <a:pt x="1178" y="89"/>
                    <a:pt x="1178" y="163"/>
                  </a:cubicBezTo>
                  <a:cubicBezTo>
                    <a:pt x="1178" y="227"/>
                    <a:pt x="1178" y="227"/>
                    <a:pt x="1178" y="227"/>
                  </a:cubicBezTo>
                  <a:cubicBezTo>
                    <a:pt x="1341" y="227"/>
                    <a:pt x="1341" y="227"/>
                    <a:pt x="1341" y="227"/>
                  </a:cubicBezTo>
                  <a:cubicBezTo>
                    <a:pt x="1364" y="227"/>
                    <a:pt x="1385" y="235"/>
                    <a:pt x="1401" y="252"/>
                  </a:cubicBezTo>
                  <a:cubicBezTo>
                    <a:pt x="1417" y="268"/>
                    <a:pt x="1426" y="289"/>
                    <a:pt x="1426" y="312"/>
                  </a:cubicBezTo>
                  <a:cubicBezTo>
                    <a:pt x="1426" y="348"/>
                    <a:pt x="1426" y="348"/>
                    <a:pt x="1426" y="348"/>
                  </a:cubicBezTo>
                  <a:cubicBezTo>
                    <a:pt x="660" y="348"/>
                    <a:pt x="660" y="348"/>
                    <a:pt x="660" y="348"/>
                  </a:cubicBezTo>
                  <a:lnTo>
                    <a:pt x="660" y="312"/>
                  </a:lnTo>
                  <a:close/>
                  <a:moveTo>
                    <a:pt x="632" y="378"/>
                  </a:moveTo>
                  <a:cubicBezTo>
                    <a:pt x="636" y="377"/>
                    <a:pt x="641" y="376"/>
                    <a:pt x="646" y="376"/>
                  </a:cubicBezTo>
                  <a:cubicBezTo>
                    <a:pt x="1440" y="376"/>
                    <a:pt x="1440" y="376"/>
                    <a:pt x="1440" y="376"/>
                  </a:cubicBezTo>
                  <a:cubicBezTo>
                    <a:pt x="1445" y="376"/>
                    <a:pt x="1450" y="377"/>
                    <a:pt x="1454" y="378"/>
                  </a:cubicBezTo>
                  <a:cubicBezTo>
                    <a:pt x="1467" y="384"/>
                    <a:pt x="1476" y="397"/>
                    <a:pt x="1476" y="411"/>
                  </a:cubicBezTo>
                  <a:cubicBezTo>
                    <a:pt x="1476" y="431"/>
                    <a:pt x="1460" y="447"/>
                    <a:pt x="1440" y="447"/>
                  </a:cubicBezTo>
                  <a:cubicBezTo>
                    <a:pt x="646" y="447"/>
                    <a:pt x="646" y="447"/>
                    <a:pt x="646" y="447"/>
                  </a:cubicBezTo>
                  <a:cubicBezTo>
                    <a:pt x="626" y="447"/>
                    <a:pt x="610" y="431"/>
                    <a:pt x="610" y="411"/>
                  </a:cubicBezTo>
                  <a:cubicBezTo>
                    <a:pt x="610" y="397"/>
                    <a:pt x="619" y="384"/>
                    <a:pt x="632" y="378"/>
                  </a:cubicBezTo>
                  <a:close/>
                  <a:moveTo>
                    <a:pt x="1937" y="2695"/>
                  </a:moveTo>
                  <a:cubicBezTo>
                    <a:pt x="1937" y="2723"/>
                    <a:pt x="1915" y="2745"/>
                    <a:pt x="1887" y="2745"/>
                  </a:cubicBezTo>
                  <a:cubicBezTo>
                    <a:pt x="199" y="2745"/>
                    <a:pt x="199" y="2745"/>
                    <a:pt x="199" y="2745"/>
                  </a:cubicBezTo>
                  <a:cubicBezTo>
                    <a:pt x="171" y="2745"/>
                    <a:pt x="149" y="2723"/>
                    <a:pt x="149" y="2695"/>
                  </a:cubicBezTo>
                  <a:cubicBezTo>
                    <a:pt x="149" y="411"/>
                    <a:pt x="149" y="411"/>
                    <a:pt x="149" y="411"/>
                  </a:cubicBezTo>
                  <a:cubicBezTo>
                    <a:pt x="149" y="384"/>
                    <a:pt x="171" y="362"/>
                    <a:pt x="199" y="362"/>
                  </a:cubicBezTo>
                  <a:cubicBezTo>
                    <a:pt x="606" y="362"/>
                    <a:pt x="606" y="362"/>
                    <a:pt x="606" y="362"/>
                  </a:cubicBezTo>
                  <a:cubicBezTo>
                    <a:pt x="591" y="373"/>
                    <a:pt x="582" y="391"/>
                    <a:pt x="582" y="411"/>
                  </a:cubicBezTo>
                  <a:cubicBezTo>
                    <a:pt x="582" y="446"/>
                    <a:pt x="611" y="475"/>
                    <a:pt x="646" y="475"/>
                  </a:cubicBezTo>
                  <a:cubicBezTo>
                    <a:pt x="1440" y="475"/>
                    <a:pt x="1440" y="475"/>
                    <a:pt x="1440" y="475"/>
                  </a:cubicBezTo>
                  <a:cubicBezTo>
                    <a:pt x="1475" y="475"/>
                    <a:pt x="1504" y="446"/>
                    <a:pt x="1504" y="411"/>
                  </a:cubicBezTo>
                  <a:cubicBezTo>
                    <a:pt x="1504" y="391"/>
                    <a:pt x="1495" y="373"/>
                    <a:pt x="1480" y="362"/>
                  </a:cubicBezTo>
                  <a:cubicBezTo>
                    <a:pt x="1887" y="362"/>
                    <a:pt x="1887" y="362"/>
                    <a:pt x="1887" y="362"/>
                  </a:cubicBezTo>
                  <a:cubicBezTo>
                    <a:pt x="1915" y="362"/>
                    <a:pt x="1937" y="384"/>
                    <a:pt x="1937" y="411"/>
                  </a:cubicBezTo>
                  <a:lnTo>
                    <a:pt x="1937" y="2695"/>
                  </a:lnTo>
                  <a:close/>
                  <a:moveTo>
                    <a:pt x="993" y="1553"/>
                  </a:moveTo>
                  <a:cubicBezTo>
                    <a:pt x="1391" y="1553"/>
                    <a:pt x="1391" y="1553"/>
                    <a:pt x="1391" y="1553"/>
                  </a:cubicBezTo>
                  <a:cubicBezTo>
                    <a:pt x="1418" y="1553"/>
                    <a:pt x="1440" y="1531"/>
                    <a:pt x="1440" y="1504"/>
                  </a:cubicBezTo>
                  <a:cubicBezTo>
                    <a:pt x="1440" y="1476"/>
                    <a:pt x="1418" y="1454"/>
                    <a:pt x="1391" y="1454"/>
                  </a:cubicBezTo>
                  <a:cubicBezTo>
                    <a:pt x="993" y="1454"/>
                    <a:pt x="993" y="1454"/>
                    <a:pt x="993" y="1454"/>
                  </a:cubicBezTo>
                  <a:cubicBezTo>
                    <a:pt x="966" y="1454"/>
                    <a:pt x="944" y="1476"/>
                    <a:pt x="944" y="1504"/>
                  </a:cubicBezTo>
                  <a:cubicBezTo>
                    <a:pt x="944" y="1531"/>
                    <a:pt x="966" y="1553"/>
                    <a:pt x="993" y="1553"/>
                  </a:cubicBezTo>
                  <a:close/>
                  <a:moveTo>
                    <a:pt x="1639" y="1653"/>
                  </a:moveTo>
                  <a:cubicBezTo>
                    <a:pt x="993" y="1653"/>
                    <a:pt x="993" y="1653"/>
                    <a:pt x="993" y="1653"/>
                  </a:cubicBezTo>
                  <a:cubicBezTo>
                    <a:pt x="966" y="1653"/>
                    <a:pt x="944" y="1675"/>
                    <a:pt x="944" y="1702"/>
                  </a:cubicBezTo>
                  <a:cubicBezTo>
                    <a:pt x="944" y="1730"/>
                    <a:pt x="966" y="1752"/>
                    <a:pt x="993" y="1752"/>
                  </a:cubicBezTo>
                  <a:cubicBezTo>
                    <a:pt x="1639" y="1752"/>
                    <a:pt x="1639" y="1752"/>
                    <a:pt x="1639" y="1752"/>
                  </a:cubicBezTo>
                  <a:cubicBezTo>
                    <a:pt x="1666" y="1752"/>
                    <a:pt x="1689" y="1730"/>
                    <a:pt x="1689" y="1702"/>
                  </a:cubicBezTo>
                  <a:cubicBezTo>
                    <a:pt x="1689" y="1675"/>
                    <a:pt x="1666" y="1653"/>
                    <a:pt x="1639" y="1653"/>
                  </a:cubicBezTo>
                  <a:close/>
                  <a:moveTo>
                    <a:pt x="1639" y="2248"/>
                  </a:moveTo>
                  <a:cubicBezTo>
                    <a:pt x="993" y="2248"/>
                    <a:pt x="993" y="2248"/>
                    <a:pt x="993" y="2248"/>
                  </a:cubicBezTo>
                  <a:cubicBezTo>
                    <a:pt x="966" y="2248"/>
                    <a:pt x="944" y="2271"/>
                    <a:pt x="944" y="2298"/>
                  </a:cubicBezTo>
                  <a:cubicBezTo>
                    <a:pt x="944" y="2326"/>
                    <a:pt x="966" y="2348"/>
                    <a:pt x="993" y="2348"/>
                  </a:cubicBezTo>
                  <a:cubicBezTo>
                    <a:pt x="1639" y="2348"/>
                    <a:pt x="1639" y="2348"/>
                    <a:pt x="1639" y="2348"/>
                  </a:cubicBezTo>
                  <a:cubicBezTo>
                    <a:pt x="1666" y="2348"/>
                    <a:pt x="1689" y="2326"/>
                    <a:pt x="1689" y="2298"/>
                  </a:cubicBezTo>
                  <a:cubicBezTo>
                    <a:pt x="1689" y="2271"/>
                    <a:pt x="1666" y="2248"/>
                    <a:pt x="1639" y="2248"/>
                  </a:cubicBezTo>
                  <a:close/>
                  <a:moveTo>
                    <a:pt x="993" y="2149"/>
                  </a:moveTo>
                  <a:cubicBezTo>
                    <a:pt x="1391" y="2149"/>
                    <a:pt x="1391" y="2149"/>
                    <a:pt x="1391" y="2149"/>
                  </a:cubicBezTo>
                  <a:cubicBezTo>
                    <a:pt x="1418" y="2149"/>
                    <a:pt x="1440" y="2127"/>
                    <a:pt x="1440" y="2100"/>
                  </a:cubicBezTo>
                  <a:cubicBezTo>
                    <a:pt x="1440" y="2072"/>
                    <a:pt x="1418" y="2050"/>
                    <a:pt x="1391" y="2050"/>
                  </a:cubicBezTo>
                  <a:cubicBezTo>
                    <a:pt x="993" y="2050"/>
                    <a:pt x="993" y="2050"/>
                    <a:pt x="993" y="2050"/>
                  </a:cubicBezTo>
                  <a:cubicBezTo>
                    <a:pt x="966" y="2050"/>
                    <a:pt x="944" y="2072"/>
                    <a:pt x="944" y="2100"/>
                  </a:cubicBezTo>
                  <a:cubicBezTo>
                    <a:pt x="944" y="2127"/>
                    <a:pt x="966" y="2149"/>
                    <a:pt x="993" y="214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30" name="Group 488"/>
          <p:cNvGrpSpPr/>
          <p:nvPr/>
        </p:nvGrpSpPr>
        <p:grpSpPr>
          <a:xfrm>
            <a:off x="5493428" y="1086614"/>
            <a:ext cx="1925808" cy="634681"/>
            <a:chOff x="5493428" y="1086614"/>
            <a:chExt cx="1925808" cy="634681"/>
          </a:xfrm>
        </p:grpSpPr>
        <p:sp>
          <p:nvSpPr>
            <p:cNvPr id="473" name="Rectangle 472"/>
            <p:cNvSpPr/>
            <p:nvPr/>
          </p:nvSpPr>
          <p:spPr>
            <a:xfrm>
              <a:off x="6201293" y="1234677"/>
              <a:ext cx="1217943" cy="338554"/>
            </a:xfrm>
            <a:prstGeom prst="rect">
              <a:avLst/>
            </a:prstGeom>
          </p:spPr>
          <p:txBody>
            <a:bodyPr wrap="square" lIns="0" tIns="0" rIns="0" bIns="0">
              <a:spAutoFit/>
            </a:bodyPr>
            <a:lstStyle/>
            <a:p>
              <a:pPr marL="7144" lvl="5" defTabSz="685193">
                <a:spcBef>
                  <a:spcPts val="225"/>
                </a:spcBef>
                <a:defRPr/>
              </a:pPr>
              <a:r>
                <a:rPr lang="en-US" sz="1100" b="1" kern="0" dirty="0" smtClean="0">
                  <a:solidFill>
                    <a:schemeClr val="accent1"/>
                  </a:solidFill>
                  <a:latin typeface="+mj-lt"/>
                </a:rPr>
                <a:t>Cisco Connected</a:t>
              </a:r>
              <a:br>
                <a:rPr lang="en-US" sz="1100" b="1" kern="0" dirty="0" smtClean="0">
                  <a:solidFill>
                    <a:schemeClr val="accent1"/>
                  </a:solidFill>
                  <a:latin typeface="+mj-lt"/>
                </a:rPr>
              </a:br>
              <a:r>
                <a:rPr lang="en-US" sz="1100" b="1" kern="0" dirty="0" smtClean="0">
                  <a:solidFill>
                    <a:schemeClr val="accent1"/>
                  </a:solidFill>
                  <a:latin typeface="+mj-lt"/>
                </a:rPr>
                <a:t>Transportation</a:t>
              </a:r>
              <a:endParaRPr lang="en-US" sz="1100" b="1" kern="0" dirty="0">
                <a:solidFill>
                  <a:schemeClr val="accent1"/>
                </a:solidFill>
                <a:latin typeface="+mj-lt"/>
              </a:endParaRPr>
            </a:p>
          </p:txBody>
        </p:sp>
        <p:sp>
          <p:nvSpPr>
            <p:cNvPr id="481" name="Oval 480"/>
            <p:cNvSpPr/>
            <p:nvPr/>
          </p:nvSpPr>
          <p:spPr>
            <a:xfrm>
              <a:off x="5493428" y="1086614"/>
              <a:ext cx="634681" cy="63468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grpSp>
        <p:nvGrpSpPr>
          <p:cNvPr id="31" name="Group 522"/>
          <p:cNvGrpSpPr/>
          <p:nvPr/>
        </p:nvGrpSpPr>
        <p:grpSpPr>
          <a:xfrm>
            <a:off x="1213666" y="2113499"/>
            <a:ext cx="1743119" cy="902969"/>
            <a:chOff x="1213666" y="1932073"/>
            <a:chExt cx="1743119" cy="902969"/>
          </a:xfrm>
        </p:grpSpPr>
        <p:grpSp>
          <p:nvGrpSpPr>
            <p:cNvPr id="192" name="Group 520"/>
            <p:cNvGrpSpPr/>
            <p:nvPr/>
          </p:nvGrpSpPr>
          <p:grpSpPr>
            <a:xfrm>
              <a:off x="1213666" y="1932073"/>
              <a:ext cx="1743119" cy="315430"/>
              <a:chOff x="1213666" y="1932073"/>
              <a:chExt cx="1743119" cy="315430"/>
            </a:xfrm>
          </p:grpSpPr>
          <p:sp>
            <p:nvSpPr>
              <p:cNvPr id="493" name="Rectangle 492"/>
              <p:cNvSpPr/>
              <p:nvPr/>
            </p:nvSpPr>
            <p:spPr>
              <a:xfrm>
                <a:off x="1744915" y="1951289"/>
                <a:ext cx="1211870" cy="276999"/>
              </a:xfrm>
              <a:prstGeom prst="rect">
                <a:avLst/>
              </a:prstGeom>
              <a:noFill/>
              <a:ln w="25400" cap="rnd" cmpd="sng" algn="ctr">
                <a:noFill/>
                <a:prstDash val="solid"/>
              </a:ln>
              <a:effectLst/>
            </p:spPr>
            <p:txBody>
              <a:bodyPr wrap="none" lIns="0" tIns="0" rIns="0" bIns="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900" kern="0" dirty="0">
                    <a:latin typeface="+mj-lt"/>
                  </a:rPr>
                  <a:t>Operator </a:t>
                </a:r>
                <a:r>
                  <a:rPr lang="en-US" sz="900" kern="0" dirty="0" smtClean="0">
                    <a:latin typeface="+mj-lt"/>
                  </a:rPr>
                  <a:t>and Customer</a:t>
                </a:r>
              </a:p>
              <a:p>
                <a:pPr defTabSz="914400" fontAlgn="auto">
                  <a:spcBef>
                    <a:spcPts val="0"/>
                  </a:spcBef>
                  <a:spcAft>
                    <a:spcPts val="0"/>
                  </a:spcAft>
                  <a:defRPr/>
                </a:pPr>
                <a:r>
                  <a:rPr lang="en-US" sz="900" kern="0" dirty="0" smtClean="0">
                    <a:latin typeface="+mj-lt"/>
                  </a:rPr>
                  <a:t>Dashboards</a:t>
                </a:r>
              </a:p>
            </p:txBody>
          </p:sp>
          <p:grpSp>
            <p:nvGrpSpPr>
              <p:cNvPr id="193" name="Group 237"/>
              <p:cNvGrpSpPr/>
              <p:nvPr/>
            </p:nvGrpSpPr>
            <p:grpSpPr>
              <a:xfrm>
                <a:off x="1213666" y="1932073"/>
                <a:ext cx="426555" cy="315430"/>
                <a:chOff x="1539704" y="2156886"/>
                <a:chExt cx="522211" cy="386166"/>
              </a:xfrm>
              <a:solidFill>
                <a:schemeClr val="tx2"/>
              </a:solidFill>
            </p:grpSpPr>
            <p:sp>
              <p:nvSpPr>
                <p:cNvPr id="496" name="Freeform 120"/>
                <p:cNvSpPr>
                  <a:spLocks noEditPoints="1"/>
                </p:cNvSpPr>
                <p:nvPr/>
              </p:nvSpPr>
              <p:spPr bwMode="auto">
                <a:xfrm>
                  <a:off x="1539704" y="2156886"/>
                  <a:ext cx="522211" cy="386166"/>
                </a:xfrm>
                <a:custGeom>
                  <a:avLst/>
                  <a:gdLst>
                    <a:gd name="T0" fmla="*/ 306 w 312"/>
                    <a:gd name="T1" fmla="*/ 58 h 231"/>
                    <a:gd name="T2" fmla="*/ 237 w 312"/>
                    <a:gd name="T3" fmla="*/ 58 h 231"/>
                    <a:gd name="T4" fmla="*/ 237 w 312"/>
                    <a:gd name="T5" fmla="*/ 5 h 231"/>
                    <a:gd name="T6" fmla="*/ 232 w 312"/>
                    <a:gd name="T7" fmla="*/ 0 h 231"/>
                    <a:gd name="T8" fmla="*/ 5 w 312"/>
                    <a:gd name="T9" fmla="*/ 0 h 231"/>
                    <a:gd name="T10" fmla="*/ 0 w 312"/>
                    <a:gd name="T11" fmla="*/ 5 h 231"/>
                    <a:gd name="T12" fmla="*/ 0 w 312"/>
                    <a:gd name="T13" fmla="*/ 168 h 231"/>
                    <a:gd name="T14" fmla="*/ 5 w 312"/>
                    <a:gd name="T15" fmla="*/ 174 h 231"/>
                    <a:gd name="T16" fmla="*/ 75 w 312"/>
                    <a:gd name="T17" fmla="*/ 174 h 231"/>
                    <a:gd name="T18" fmla="*/ 75 w 312"/>
                    <a:gd name="T19" fmla="*/ 226 h 231"/>
                    <a:gd name="T20" fmla="*/ 80 w 312"/>
                    <a:gd name="T21" fmla="*/ 231 h 231"/>
                    <a:gd name="T22" fmla="*/ 306 w 312"/>
                    <a:gd name="T23" fmla="*/ 231 h 231"/>
                    <a:gd name="T24" fmla="*/ 312 w 312"/>
                    <a:gd name="T25" fmla="*/ 226 h 231"/>
                    <a:gd name="T26" fmla="*/ 312 w 312"/>
                    <a:gd name="T27" fmla="*/ 63 h 231"/>
                    <a:gd name="T28" fmla="*/ 306 w 312"/>
                    <a:gd name="T29" fmla="*/ 58 h 231"/>
                    <a:gd name="T30" fmla="*/ 301 w 312"/>
                    <a:gd name="T31" fmla="*/ 90 h 231"/>
                    <a:gd name="T32" fmla="*/ 86 w 312"/>
                    <a:gd name="T33" fmla="*/ 90 h 231"/>
                    <a:gd name="T34" fmla="*/ 86 w 312"/>
                    <a:gd name="T35" fmla="*/ 68 h 231"/>
                    <a:gd name="T36" fmla="*/ 301 w 312"/>
                    <a:gd name="T37" fmla="*/ 68 h 231"/>
                    <a:gd name="T38" fmla="*/ 301 w 312"/>
                    <a:gd name="T39" fmla="*/ 90 h 231"/>
                    <a:gd name="T40" fmla="*/ 226 w 312"/>
                    <a:gd name="T41" fmla="*/ 32 h 231"/>
                    <a:gd name="T42" fmla="*/ 11 w 312"/>
                    <a:gd name="T43" fmla="*/ 32 h 231"/>
                    <a:gd name="T44" fmla="*/ 11 w 312"/>
                    <a:gd name="T45" fmla="*/ 11 h 231"/>
                    <a:gd name="T46" fmla="*/ 226 w 312"/>
                    <a:gd name="T47" fmla="*/ 11 h 231"/>
                    <a:gd name="T48" fmla="*/ 226 w 312"/>
                    <a:gd name="T49" fmla="*/ 32 h 231"/>
                    <a:gd name="T50" fmla="*/ 11 w 312"/>
                    <a:gd name="T51" fmla="*/ 163 h 231"/>
                    <a:gd name="T52" fmla="*/ 11 w 312"/>
                    <a:gd name="T53" fmla="*/ 43 h 231"/>
                    <a:gd name="T54" fmla="*/ 226 w 312"/>
                    <a:gd name="T55" fmla="*/ 43 h 231"/>
                    <a:gd name="T56" fmla="*/ 226 w 312"/>
                    <a:gd name="T57" fmla="*/ 58 h 231"/>
                    <a:gd name="T58" fmla="*/ 80 w 312"/>
                    <a:gd name="T59" fmla="*/ 58 h 231"/>
                    <a:gd name="T60" fmla="*/ 75 w 312"/>
                    <a:gd name="T61" fmla="*/ 63 h 231"/>
                    <a:gd name="T62" fmla="*/ 75 w 312"/>
                    <a:gd name="T63" fmla="*/ 163 h 231"/>
                    <a:gd name="T64" fmla="*/ 11 w 312"/>
                    <a:gd name="T65" fmla="*/ 163 h 231"/>
                    <a:gd name="T66" fmla="*/ 86 w 312"/>
                    <a:gd name="T67" fmla="*/ 100 h 231"/>
                    <a:gd name="T68" fmla="*/ 151 w 312"/>
                    <a:gd name="T69" fmla="*/ 100 h 231"/>
                    <a:gd name="T70" fmla="*/ 151 w 312"/>
                    <a:gd name="T71" fmla="*/ 220 h 231"/>
                    <a:gd name="T72" fmla="*/ 86 w 312"/>
                    <a:gd name="T73" fmla="*/ 220 h 231"/>
                    <a:gd name="T74" fmla="*/ 86 w 312"/>
                    <a:gd name="T75" fmla="*/ 100 h 231"/>
                    <a:gd name="T76" fmla="*/ 162 w 312"/>
                    <a:gd name="T77" fmla="*/ 100 h 231"/>
                    <a:gd name="T78" fmla="*/ 301 w 312"/>
                    <a:gd name="T79" fmla="*/ 100 h 231"/>
                    <a:gd name="T80" fmla="*/ 301 w 312"/>
                    <a:gd name="T81" fmla="*/ 220 h 231"/>
                    <a:gd name="T82" fmla="*/ 162 w 312"/>
                    <a:gd name="T83" fmla="*/ 220 h 231"/>
                    <a:gd name="T84" fmla="*/ 162 w 312"/>
                    <a:gd name="T85" fmla="*/ 10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2" h="231">
                      <a:moveTo>
                        <a:pt x="306" y="58"/>
                      </a:moveTo>
                      <a:cubicBezTo>
                        <a:pt x="237" y="58"/>
                        <a:pt x="237" y="58"/>
                        <a:pt x="237" y="58"/>
                      </a:cubicBezTo>
                      <a:cubicBezTo>
                        <a:pt x="237" y="5"/>
                        <a:pt x="237" y="5"/>
                        <a:pt x="237" y="5"/>
                      </a:cubicBezTo>
                      <a:cubicBezTo>
                        <a:pt x="237" y="2"/>
                        <a:pt x="235" y="0"/>
                        <a:pt x="232" y="0"/>
                      </a:cubicBezTo>
                      <a:cubicBezTo>
                        <a:pt x="5" y="0"/>
                        <a:pt x="5" y="0"/>
                        <a:pt x="5" y="0"/>
                      </a:cubicBezTo>
                      <a:cubicBezTo>
                        <a:pt x="2" y="0"/>
                        <a:pt x="0" y="2"/>
                        <a:pt x="0" y="5"/>
                      </a:cubicBezTo>
                      <a:cubicBezTo>
                        <a:pt x="0" y="168"/>
                        <a:pt x="0" y="168"/>
                        <a:pt x="0" y="168"/>
                      </a:cubicBezTo>
                      <a:cubicBezTo>
                        <a:pt x="0" y="171"/>
                        <a:pt x="2" y="174"/>
                        <a:pt x="5" y="174"/>
                      </a:cubicBezTo>
                      <a:cubicBezTo>
                        <a:pt x="75" y="174"/>
                        <a:pt x="75" y="174"/>
                        <a:pt x="75" y="174"/>
                      </a:cubicBezTo>
                      <a:cubicBezTo>
                        <a:pt x="75" y="226"/>
                        <a:pt x="75" y="226"/>
                        <a:pt x="75" y="226"/>
                      </a:cubicBezTo>
                      <a:cubicBezTo>
                        <a:pt x="75" y="229"/>
                        <a:pt x="77" y="231"/>
                        <a:pt x="80" y="231"/>
                      </a:cubicBezTo>
                      <a:cubicBezTo>
                        <a:pt x="306" y="231"/>
                        <a:pt x="306" y="231"/>
                        <a:pt x="306" y="231"/>
                      </a:cubicBezTo>
                      <a:cubicBezTo>
                        <a:pt x="309" y="231"/>
                        <a:pt x="312" y="229"/>
                        <a:pt x="312" y="226"/>
                      </a:cubicBezTo>
                      <a:cubicBezTo>
                        <a:pt x="312" y="63"/>
                        <a:pt x="312" y="63"/>
                        <a:pt x="312" y="63"/>
                      </a:cubicBezTo>
                      <a:cubicBezTo>
                        <a:pt x="312" y="60"/>
                        <a:pt x="309" y="58"/>
                        <a:pt x="306" y="58"/>
                      </a:cubicBezTo>
                      <a:moveTo>
                        <a:pt x="301" y="90"/>
                      </a:moveTo>
                      <a:cubicBezTo>
                        <a:pt x="86" y="90"/>
                        <a:pt x="86" y="90"/>
                        <a:pt x="86" y="90"/>
                      </a:cubicBezTo>
                      <a:cubicBezTo>
                        <a:pt x="86" y="68"/>
                        <a:pt x="86" y="68"/>
                        <a:pt x="86" y="68"/>
                      </a:cubicBezTo>
                      <a:cubicBezTo>
                        <a:pt x="301" y="68"/>
                        <a:pt x="301" y="68"/>
                        <a:pt x="301" y="68"/>
                      </a:cubicBezTo>
                      <a:lnTo>
                        <a:pt x="301" y="90"/>
                      </a:lnTo>
                      <a:close/>
                      <a:moveTo>
                        <a:pt x="226" y="32"/>
                      </a:moveTo>
                      <a:cubicBezTo>
                        <a:pt x="11" y="32"/>
                        <a:pt x="11" y="32"/>
                        <a:pt x="11" y="32"/>
                      </a:cubicBezTo>
                      <a:cubicBezTo>
                        <a:pt x="11" y="11"/>
                        <a:pt x="11" y="11"/>
                        <a:pt x="11" y="11"/>
                      </a:cubicBezTo>
                      <a:cubicBezTo>
                        <a:pt x="226" y="11"/>
                        <a:pt x="226" y="11"/>
                        <a:pt x="226" y="11"/>
                      </a:cubicBezTo>
                      <a:lnTo>
                        <a:pt x="226" y="32"/>
                      </a:lnTo>
                      <a:close/>
                      <a:moveTo>
                        <a:pt x="11" y="163"/>
                      </a:moveTo>
                      <a:cubicBezTo>
                        <a:pt x="11" y="43"/>
                        <a:pt x="11" y="43"/>
                        <a:pt x="11" y="43"/>
                      </a:cubicBezTo>
                      <a:cubicBezTo>
                        <a:pt x="226" y="43"/>
                        <a:pt x="226" y="43"/>
                        <a:pt x="226" y="43"/>
                      </a:cubicBezTo>
                      <a:cubicBezTo>
                        <a:pt x="226" y="58"/>
                        <a:pt x="226" y="58"/>
                        <a:pt x="226" y="58"/>
                      </a:cubicBezTo>
                      <a:cubicBezTo>
                        <a:pt x="80" y="58"/>
                        <a:pt x="80" y="58"/>
                        <a:pt x="80" y="58"/>
                      </a:cubicBezTo>
                      <a:cubicBezTo>
                        <a:pt x="77" y="58"/>
                        <a:pt x="75" y="60"/>
                        <a:pt x="75" y="63"/>
                      </a:cubicBezTo>
                      <a:cubicBezTo>
                        <a:pt x="75" y="163"/>
                        <a:pt x="75" y="163"/>
                        <a:pt x="75" y="163"/>
                      </a:cubicBezTo>
                      <a:lnTo>
                        <a:pt x="11" y="163"/>
                      </a:lnTo>
                      <a:close/>
                      <a:moveTo>
                        <a:pt x="86" y="100"/>
                      </a:moveTo>
                      <a:cubicBezTo>
                        <a:pt x="151" y="100"/>
                        <a:pt x="151" y="100"/>
                        <a:pt x="151" y="100"/>
                      </a:cubicBezTo>
                      <a:cubicBezTo>
                        <a:pt x="151" y="220"/>
                        <a:pt x="151" y="220"/>
                        <a:pt x="151" y="220"/>
                      </a:cubicBezTo>
                      <a:cubicBezTo>
                        <a:pt x="86" y="220"/>
                        <a:pt x="86" y="220"/>
                        <a:pt x="86" y="220"/>
                      </a:cubicBezTo>
                      <a:lnTo>
                        <a:pt x="86" y="100"/>
                      </a:lnTo>
                      <a:close/>
                      <a:moveTo>
                        <a:pt x="162" y="100"/>
                      </a:moveTo>
                      <a:cubicBezTo>
                        <a:pt x="301" y="100"/>
                        <a:pt x="301" y="100"/>
                        <a:pt x="301" y="100"/>
                      </a:cubicBezTo>
                      <a:cubicBezTo>
                        <a:pt x="301" y="220"/>
                        <a:pt x="301" y="220"/>
                        <a:pt x="301" y="220"/>
                      </a:cubicBezTo>
                      <a:cubicBezTo>
                        <a:pt x="162" y="220"/>
                        <a:pt x="162" y="220"/>
                        <a:pt x="162" y="220"/>
                      </a:cubicBezTo>
                      <a:lnTo>
                        <a:pt x="162" y="1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497" name="Freeform 121"/>
                <p:cNvSpPr>
                  <a:spLocks/>
                </p:cNvSpPr>
                <p:nvPr/>
              </p:nvSpPr>
              <p:spPr bwMode="auto">
                <a:xfrm>
                  <a:off x="1692045" y="2280176"/>
                  <a:ext cx="18423" cy="17005"/>
                </a:xfrm>
                <a:custGeom>
                  <a:avLst/>
                  <a:gdLst>
                    <a:gd name="T0" fmla="*/ 6 w 11"/>
                    <a:gd name="T1" fmla="*/ 10 h 10"/>
                    <a:gd name="T2" fmla="*/ 10 w 11"/>
                    <a:gd name="T3" fmla="*/ 9 h 10"/>
                    <a:gd name="T4" fmla="*/ 11 w 11"/>
                    <a:gd name="T5" fmla="*/ 5 h 10"/>
                    <a:gd name="T6" fmla="*/ 10 w 11"/>
                    <a:gd name="T7" fmla="*/ 1 h 10"/>
                    <a:gd name="T8" fmla="*/ 6 w 11"/>
                    <a:gd name="T9" fmla="*/ 0 h 10"/>
                    <a:gd name="T10" fmla="*/ 2 w 11"/>
                    <a:gd name="T11" fmla="*/ 1 h 10"/>
                    <a:gd name="T12" fmla="*/ 0 w 11"/>
                    <a:gd name="T13" fmla="*/ 5 h 10"/>
                    <a:gd name="T14" fmla="*/ 2 w 11"/>
                    <a:gd name="T15" fmla="*/ 9 h 10"/>
                    <a:gd name="T16" fmla="*/ 6 w 11"/>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6" y="10"/>
                      </a:moveTo>
                      <a:cubicBezTo>
                        <a:pt x="7" y="10"/>
                        <a:pt x="9" y="10"/>
                        <a:pt x="10" y="9"/>
                      </a:cubicBezTo>
                      <a:cubicBezTo>
                        <a:pt x="11" y="8"/>
                        <a:pt x="11" y="6"/>
                        <a:pt x="11" y="5"/>
                      </a:cubicBezTo>
                      <a:cubicBezTo>
                        <a:pt x="11" y="4"/>
                        <a:pt x="11" y="2"/>
                        <a:pt x="10" y="1"/>
                      </a:cubicBezTo>
                      <a:cubicBezTo>
                        <a:pt x="9" y="0"/>
                        <a:pt x="7" y="0"/>
                        <a:pt x="6" y="0"/>
                      </a:cubicBezTo>
                      <a:cubicBezTo>
                        <a:pt x="4" y="0"/>
                        <a:pt x="3" y="0"/>
                        <a:pt x="2" y="1"/>
                      </a:cubicBezTo>
                      <a:cubicBezTo>
                        <a:pt x="1" y="2"/>
                        <a:pt x="0" y="4"/>
                        <a:pt x="0" y="5"/>
                      </a:cubicBezTo>
                      <a:cubicBezTo>
                        <a:pt x="0" y="6"/>
                        <a:pt x="1" y="8"/>
                        <a:pt x="2" y="9"/>
                      </a:cubicBezTo>
                      <a:cubicBezTo>
                        <a:pt x="3" y="10"/>
                        <a:pt x="4" y="10"/>
                        <a:pt x="6"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498" name="Freeform 122"/>
                <p:cNvSpPr>
                  <a:spLocks/>
                </p:cNvSpPr>
                <p:nvPr/>
              </p:nvSpPr>
              <p:spPr bwMode="auto">
                <a:xfrm>
                  <a:off x="1715428" y="2280176"/>
                  <a:ext cx="18423" cy="17005"/>
                </a:xfrm>
                <a:custGeom>
                  <a:avLst/>
                  <a:gdLst>
                    <a:gd name="T0" fmla="*/ 5 w 11"/>
                    <a:gd name="T1" fmla="*/ 10 h 10"/>
                    <a:gd name="T2" fmla="*/ 9 w 11"/>
                    <a:gd name="T3" fmla="*/ 9 h 10"/>
                    <a:gd name="T4" fmla="*/ 11 w 11"/>
                    <a:gd name="T5" fmla="*/ 5 h 10"/>
                    <a:gd name="T6" fmla="*/ 9 w 11"/>
                    <a:gd name="T7" fmla="*/ 1 h 10"/>
                    <a:gd name="T8" fmla="*/ 5 w 11"/>
                    <a:gd name="T9" fmla="*/ 0 h 10"/>
                    <a:gd name="T10" fmla="*/ 1 w 11"/>
                    <a:gd name="T11" fmla="*/ 1 h 10"/>
                    <a:gd name="T12" fmla="*/ 0 w 11"/>
                    <a:gd name="T13" fmla="*/ 5 h 10"/>
                    <a:gd name="T14" fmla="*/ 1 w 11"/>
                    <a:gd name="T15" fmla="*/ 9 h 10"/>
                    <a:gd name="T16" fmla="*/ 5 w 11"/>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0"/>
                      </a:moveTo>
                      <a:cubicBezTo>
                        <a:pt x="7" y="10"/>
                        <a:pt x="8" y="10"/>
                        <a:pt x="9" y="9"/>
                      </a:cubicBezTo>
                      <a:cubicBezTo>
                        <a:pt x="10" y="8"/>
                        <a:pt x="11" y="6"/>
                        <a:pt x="11" y="5"/>
                      </a:cubicBezTo>
                      <a:cubicBezTo>
                        <a:pt x="11" y="4"/>
                        <a:pt x="10" y="2"/>
                        <a:pt x="9" y="1"/>
                      </a:cubicBezTo>
                      <a:cubicBezTo>
                        <a:pt x="8" y="0"/>
                        <a:pt x="7" y="0"/>
                        <a:pt x="5" y="0"/>
                      </a:cubicBezTo>
                      <a:cubicBezTo>
                        <a:pt x="4" y="0"/>
                        <a:pt x="2" y="0"/>
                        <a:pt x="1" y="1"/>
                      </a:cubicBezTo>
                      <a:cubicBezTo>
                        <a:pt x="0" y="2"/>
                        <a:pt x="0" y="4"/>
                        <a:pt x="0" y="5"/>
                      </a:cubicBezTo>
                      <a:cubicBezTo>
                        <a:pt x="0" y="6"/>
                        <a:pt x="0" y="8"/>
                        <a:pt x="1" y="9"/>
                      </a:cubicBezTo>
                      <a:cubicBezTo>
                        <a:pt x="2" y="10"/>
                        <a:pt x="4" y="10"/>
                        <a:pt x="5"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499" name="Freeform 123"/>
                <p:cNvSpPr>
                  <a:spLocks/>
                </p:cNvSpPr>
                <p:nvPr/>
              </p:nvSpPr>
              <p:spPr bwMode="auto">
                <a:xfrm>
                  <a:off x="1737393" y="2280176"/>
                  <a:ext cx="18423" cy="17005"/>
                </a:xfrm>
                <a:custGeom>
                  <a:avLst/>
                  <a:gdLst>
                    <a:gd name="T0" fmla="*/ 6 w 11"/>
                    <a:gd name="T1" fmla="*/ 10 h 10"/>
                    <a:gd name="T2" fmla="*/ 9 w 11"/>
                    <a:gd name="T3" fmla="*/ 9 h 10"/>
                    <a:gd name="T4" fmla="*/ 11 w 11"/>
                    <a:gd name="T5" fmla="*/ 5 h 10"/>
                    <a:gd name="T6" fmla="*/ 9 w 11"/>
                    <a:gd name="T7" fmla="*/ 1 h 10"/>
                    <a:gd name="T8" fmla="*/ 6 w 11"/>
                    <a:gd name="T9" fmla="*/ 0 h 10"/>
                    <a:gd name="T10" fmla="*/ 2 w 11"/>
                    <a:gd name="T11" fmla="*/ 1 h 10"/>
                    <a:gd name="T12" fmla="*/ 0 w 11"/>
                    <a:gd name="T13" fmla="*/ 5 h 10"/>
                    <a:gd name="T14" fmla="*/ 2 w 11"/>
                    <a:gd name="T15" fmla="*/ 9 h 10"/>
                    <a:gd name="T16" fmla="*/ 6 w 11"/>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6" y="10"/>
                      </a:moveTo>
                      <a:cubicBezTo>
                        <a:pt x="7" y="10"/>
                        <a:pt x="8" y="10"/>
                        <a:pt x="9" y="9"/>
                      </a:cubicBezTo>
                      <a:cubicBezTo>
                        <a:pt x="10" y="8"/>
                        <a:pt x="11" y="6"/>
                        <a:pt x="11" y="5"/>
                      </a:cubicBezTo>
                      <a:cubicBezTo>
                        <a:pt x="11" y="4"/>
                        <a:pt x="10" y="2"/>
                        <a:pt x="9" y="1"/>
                      </a:cubicBezTo>
                      <a:cubicBezTo>
                        <a:pt x="8" y="0"/>
                        <a:pt x="7" y="0"/>
                        <a:pt x="6" y="0"/>
                      </a:cubicBezTo>
                      <a:cubicBezTo>
                        <a:pt x="4" y="0"/>
                        <a:pt x="3" y="0"/>
                        <a:pt x="2" y="1"/>
                      </a:cubicBezTo>
                      <a:cubicBezTo>
                        <a:pt x="1" y="2"/>
                        <a:pt x="0" y="4"/>
                        <a:pt x="0" y="5"/>
                      </a:cubicBezTo>
                      <a:cubicBezTo>
                        <a:pt x="0" y="6"/>
                        <a:pt x="1" y="8"/>
                        <a:pt x="2" y="9"/>
                      </a:cubicBezTo>
                      <a:cubicBezTo>
                        <a:pt x="3" y="10"/>
                        <a:pt x="4" y="10"/>
                        <a:pt x="6"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0" name="Freeform 124"/>
                <p:cNvSpPr>
                  <a:spLocks/>
                </p:cNvSpPr>
                <p:nvPr/>
              </p:nvSpPr>
              <p:spPr bwMode="auto">
                <a:xfrm>
                  <a:off x="1700548" y="2342529"/>
                  <a:ext cx="75108" cy="18423"/>
                </a:xfrm>
                <a:custGeom>
                  <a:avLst/>
                  <a:gdLst>
                    <a:gd name="T0" fmla="*/ 5 w 45"/>
                    <a:gd name="T1" fmla="*/ 11 h 11"/>
                    <a:gd name="T2" fmla="*/ 40 w 45"/>
                    <a:gd name="T3" fmla="*/ 11 h 11"/>
                    <a:gd name="T4" fmla="*/ 45 w 45"/>
                    <a:gd name="T5" fmla="*/ 6 h 11"/>
                    <a:gd name="T6" fmla="*/ 40 w 45"/>
                    <a:gd name="T7" fmla="*/ 0 h 11"/>
                    <a:gd name="T8" fmla="*/ 5 w 45"/>
                    <a:gd name="T9" fmla="*/ 0 h 11"/>
                    <a:gd name="T10" fmla="*/ 0 w 45"/>
                    <a:gd name="T11" fmla="*/ 6 h 11"/>
                    <a:gd name="T12" fmla="*/ 5 w 45"/>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45" h="11">
                      <a:moveTo>
                        <a:pt x="5" y="11"/>
                      </a:moveTo>
                      <a:cubicBezTo>
                        <a:pt x="40" y="11"/>
                        <a:pt x="40" y="11"/>
                        <a:pt x="40" y="11"/>
                      </a:cubicBezTo>
                      <a:cubicBezTo>
                        <a:pt x="43" y="11"/>
                        <a:pt x="45" y="9"/>
                        <a:pt x="45" y="6"/>
                      </a:cubicBezTo>
                      <a:cubicBezTo>
                        <a:pt x="45" y="3"/>
                        <a:pt x="43" y="0"/>
                        <a:pt x="40" y="0"/>
                      </a:cubicBezTo>
                      <a:cubicBezTo>
                        <a:pt x="5" y="0"/>
                        <a:pt x="5" y="0"/>
                        <a:pt x="5" y="0"/>
                      </a:cubicBezTo>
                      <a:cubicBezTo>
                        <a:pt x="2" y="0"/>
                        <a:pt x="0" y="3"/>
                        <a:pt x="0" y="6"/>
                      </a:cubicBezTo>
                      <a:cubicBezTo>
                        <a:pt x="0" y="9"/>
                        <a:pt x="2" y="11"/>
                        <a:pt x="5" y="1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1" name="Freeform 125"/>
                <p:cNvSpPr>
                  <a:spLocks/>
                </p:cNvSpPr>
                <p:nvPr/>
              </p:nvSpPr>
              <p:spPr bwMode="auto">
                <a:xfrm>
                  <a:off x="1700548" y="2375831"/>
                  <a:ext cx="75108" cy="18423"/>
                </a:xfrm>
                <a:custGeom>
                  <a:avLst/>
                  <a:gdLst>
                    <a:gd name="T0" fmla="*/ 40 w 45"/>
                    <a:gd name="T1" fmla="*/ 0 h 11"/>
                    <a:gd name="T2" fmla="*/ 5 w 45"/>
                    <a:gd name="T3" fmla="*/ 0 h 11"/>
                    <a:gd name="T4" fmla="*/ 0 w 45"/>
                    <a:gd name="T5" fmla="*/ 5 h 11"/>
                    <a:gd name="T6" fmla="*/ 5 w 45"/>
                    <a:gd name="T7" fmla="*/ 11 h 11"/>
                    <a:gd name="T8" fmla="*/ 40 w 45"/>
                    <a:gd name="T9" fmla="*/ 11 h 11"/>
                    <a:gd name="T10" fmla="*/ 45 w 45"/>
                    <a:gd name="T11" fmla="*/ 5 h 11"/>
                    <a:gd name="T12" fmla="*/ 40 w 4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5" h="11">
                      <a:moveTo>
                        <a:pt x="40" y="0"/>
                      </a:moveTo>
                      <a:cubicBezTo>
                        <a:pt x="5" y="0"/>
                        <a:pt x="5" y="0"/>
                        <a:pt x="5" y="0"/>
                      </a:cubicBezTo>
                      <a:cubicBezTo>
                        <a:pt x="2" y="0"/>
                        <a:pt x="0" y="2"/>
                        <a:pt x="0" y="5"/>
                      </a:cubicBezTo>
                      <a:cubicBezTo>
                        <a:pt x="0" y="8"/>
                        <a:pt x="2" y="11"/>
                        <a:pt x="5" y="11"/>
                      </a:cubicBezTo>
                      <a:cubicBezTo>
                        <a:pt x="40" y="11"/>
                        <a:pt x="40" y="11"/>
                        <a:pt x="40" y="11"/>
                      </a:cubicBezTo>
                      <a:cubicBezTo>
                        <a:pt x="43" y="11"/>
                        <a:pt x="45" y="8"/>
                        <a:pt x="45" y="5"/>
                      </a:cubicBezTo>
                      <a:cubicBezTo>
                        <a:pt x="45" y="2"/>
                        <a:pt x="43" y="0"/>
                        <a:pt x="40"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2" name="Freeform 126"/>
                <p:cNvSpPr>
                  <a:spLocks/>
                </p:cNvSpPr>
                <p:nvPr/>
              </p:nvSpPr>
              <p:spPr bwMode="auto">
                <a:xfrm>
                  <a:off x="1700548" y="2407717"/>
                  <a:ext cx="75108" cy="18423"/>
                </a:xfrm>
                <a:custGeom>
                  <a:avLst/>
                  <a:gdLst>
                    <a:gd name="T0" fmla="*/ 40 w 45"/>
                    <a:gd name="T1" fmla="*/ 0 h 11"/>
                    <a:gd name="T2" fmla="*/ 5 w 45"/>
                    <a:gd name="T3" fmla="*/ 0 h 11"/>
                    <a:gd name="T4" fmla="*/ 0 w 45"/>
                    <a:gd name="T5" fmla="*/ 6 h 11"/>
                    <a:gd name="T6" fmla="*/ 5 w 45"/>
                    <a:gd name="T7" fmla="*/ 11 h 11"/>
                    <a:gd name="T8" fmla="*/ 40 w 45"/>
                    <a:gd name="T9" fmla="*/ 11 h 11"/>
                    <a:gd name="T10" fmla="*/ 45 w 45"/>
                    <a:gd name="T11" fmla="*/ 6 h 11"/>
                    <a:gd name="T12" fmla="*/ 40 w 4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5" h="11">
                      <a:moveTo>
                        <a:pt x="40" y="0"/>
                      </a:moveTo>
                      <a:cubicBezTo>
                        <a:pt x="5" y="0"/>
                        <a:pt x="5" y="0"/>
                        <a:pt x="5" y="0"/>
                      </a:cubicBezTo>
                      <a:cubicBezTo>
                        <a:pt x="2" y="0"/>
                        <a:pt x="0" y="3"/>
                        <a:pt x="0" y="6"/>
                      </a:cubicBezTo>
                      <a:cubicBezTo>
                        <a:pt x="0" y="9"/>
                        <a:pt x="2" y="11"/>
                        <a:pt x="5" y="11"/>
                      </a:cubicBezTo>
                      <a:cubicBezTo>
                        <a:pt x="40" y="11"/>
                        <a:pt x="40" y="11"/>
                        <a:pt x="40" y="11"/>
                      </a:cubicBezTo>
                      <a:cubicBezTo>
                        <a:pt x="43" y="11"/>
                        <a:pt x="45" y="9"/>
                        <a:pt x="45" y="6"/>
                      </a:cubicBezTo>
                      <a:cubicBezTo>
                        <a:pt x="45" y="3"/>
                        <a:pt x="43" y="0"/>
                        <a:pt x="40"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3" name="Freeform 127"/>
                <p:cNvSpPr>
                  <a:spLocks/>
                </p:cNvSpPr>
                <p:nvPr/>
              </p:nvSpPr>
              <p:spPr bwMode="auto">
                <a:xfrm>
                  <a:off x="1825964" y="2342529"/>
                  <a:ext cx="154467" cy="18423"/>
                </a:xfrm>
                <a:custGeom>
                  <a:avLst/>
                  <a:gdLst>
                    <a:gd name="T0" fmla="*/ 86 w 92"/>
                    <a:gd name="T1" fmla="*/ 0 h 11"/>
                    <a:gd name="T2" fmla="*/ 5 w 92"/>
                    <a:gd name="T3" fmla="*/ 0 h 11"/>
                    <a:gd name="T4" fmla="*/ 0 w 92"/>
                    <a:gd name="T5" fmla="*/ 6 h 11"/>
                    <a:gd name="T6" fmla="*/ 5 w 92"/>
                    <a:gd name="T7" fmla="*/ 11 h 11"/>
                    <a:gd name="T8" fmla="*/ 86 w 92"/>
                    <a:gd name="T9" fmla="*/ 11 h 11"/>
                    <a:gd name="T10" fmla="*/ 92 w 92"/>
                    <a:gd name="T11" fmla="*/ 6 h 11"/>
                    <a:gd name="T12" fmla="*/ 86 w 92"/>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92" h="11">
                      <a:moveTo>
                        <a:pt x="86" y="0"/>
                      </a:moveTo>
                      <a:cubicBezTo>
                        <a:pt x="5" y="0"/>
                        <a:pt x="5" y="0"/>
                        <a:pt x="5" y="0"/>
                      </a:cubicBezTo>
                      <a:cubicBezTo>
                        <a:pt x="2" y="0"/>
                        <a:pt x="0" y="3"/>
                        <a:pt x="0" y="6"/>
                      </a:cubicBezTo>
                      <a:cubicBezTo>
                        <a:pt x="0" y="9"/>
                        <a:pt x="2" y="11"/>
                        <a:pt x="5" y="11"/>
                      </a:cubicBezTo>
                      <a:cubicBezTo>
                        <a:pt x="86" y="11"/>
                        <a:pt x="86" y="11"/>
                        <a:pt x="86" y="11"/>
                      </a:cubicBezTo>
                      <a:cubicBezTo>
                        <a:pt x="89" y="11"/>
                        <a:pt x="92" y="9"/>
                        <a:pt x="92" y="6"/>
                      </a:cubicBezTo>
                      <a:cubicBezTo>
                        <a:pt x="92" y="3"/>
                        <a:pt x="89" y="0"/>
                        <a:pt x="8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4" name="Freeform 128"/>
                <p:cNvSpPr>
                  <a:spLocks/>
                </p:cNvSpPr>
                <p:nvPr/>
              </p:nvSpPr>
              <p:spPr bwMode="auto">
                <a:xfrm>
                  <a:off x="1825964" y="2375831"/>
                  <a:ext cx="154467" cy="18423"/>
                </a:xfrm>
                <a:custGeom>
                  <a:avLst/>
                  <a:gdLst>
                    <a:gd name="T0" fmla="*/ 86 w 92"/>
                    <a:gd name="T1" fmla="*/ 0 h 11"/>
                    <a:gd name="T2" fmla="*/ 5 w 92"/>
                    <a:gd name="T3" fmla="*/ 0 h 11"/>
                    <a:gd name="T4" fmla="*/ 0 w 92"/>
                    <a:gd name="T5" fmla="*/ 5 h 11"/>
                    <a:gd name="T6" fmla="*/ 5 w 92"/>
                    <a:gd name="T7" fmla="*/ 11 h 11"/>
                    <a:gd name="T8" fmla="*/ 86 w 92"/>
                    <a:gd name="T9" fmla="*/ 11 h 11"/>
                    <a:gd name="T10" fmla="*/ 92 w 92"/>
                    <a:gd name="T11" fmla="*/ 5 h 11"/>
                    <a:gd name="T12" fmla="*/ 86 w 92"/>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92" h="11">
                      <a:moveTo>
                        <a:pt x="86" y="0"/>
                      </a:moveTo>
                      <a:cubicBezTo>
                        <a:pt x="5" y="0"/>
                        <a:pt x="5" y="0"/>
                        <a:pt x="5" y="0"/>
                      </a:cubicBezTo>
                      <a:cubicBezTo>
                        <a:pt x="2" y="0"/>
                        <a:pt x="0" y="2"/>
                        <a:pt x="0" y="5"/>
                      </a:cubicBezTo>
                      <a:cubicBezTo>
                        <a:pt x="0" y="8"/>
                        <a:pt x="2" y="11"/>
                        <a:pt x="5" y="11"/>
                      </a:cubicBezTo>
                      <a:cubicBezTo>
                        <a:pt x="86" y="11"/>
                        <a:pt x="86" y="11"/>
                        <a:pt x="86" y="11"/>
                      </a:cubicBezTo>
                      <a:cubicBezTo>
                        <a:pt x="89" y="11"/>
                        <a:pt x="92" y="8"/>
                        <a:pt x="92" y="5"/>
                      </a:cubicBezTo>
                      <a:cubicBezTo>
                        <a:pt x="92" y="2"/>
                        <a:pt x="89" y="0"/>
                        <a:pt x="8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5" name="Freeform 129"/>
                <p:cNvSpPr>
                  <a:spLocks/>
                </p:cNvSpPr>
                <p:nvPr/>
              </p:nvSpPr>
              <p:spPr bwMode="auto">
                <a:xfrm>
                  <a:off x="1825964" y="2407717"/>
                  <a:ext cx="154467" cy="18423"/>
                </a:xfrm>
                <a:custGeom>
                  <a:avLst/>
                  <a:gdLst>
                    <a:gd name="T0" fmla="*/ 86 w 92"/>
                    <a:gd name="T1" fmla="*/ 0 h 11"/>
                    <a:gd name="T2" fmla="*/ 5 w 92"/>
                    <a:gd name="T3" fmla="*/ 0 h 11"/>
                    <a:gd name="T4" fmla="*/ 0 w 92"/>
                    <a:gd name="T5" fmla="*/ 6 h 11"/>
                    <a:gd name="T6" fmla="*/ 5 w 92"/>
                    <a:gd name="T7" fmla="*/ 11 h 11"/>
                    <a:gd name="T8" fmla="*/ 86 w 92"/>
                    <a:gd name="T9" fmla="*/ 11 h 11"/>
                    <a:gd name="T10" fmla="*/ 92 w 92"/>
                    <a:gd name="T11" fmla="*/ 6 h 11"/>
                    <a:gd name="T12" fmla="*/ 86 w 92"/>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92" h="11">
                      <a:moveTo>
                        <a:pt x="86" y="0"/>
                      </a:moveTo>
                      <a:cubicBezTo>
                        <a:pt x="5" y="0"/>
                        <a:pt x="5" y="0"/>
                        <a:pt x="5" y="0"/>
                      </a:cubicBezTo>
                      <a:cubicBezTo>
                        <a:pt x="2" y="0"/>
                        <a:pt x="0" y="3"/>
                        <a:pt x="0" y="6"/>
                      </a:cubicBezTo>
                      <a:cubicBezTo>
                        <a:pt x="0" y="9"/>
                        <a:pt x="2" y="11"/>
                        <a:pt x="5" y="11"/>
                      </a:cubicBezTo>
                      <a:cubicBezTo>
                        <a:pt x="86" y="11"/>
                        <a:pt x="86" y="11"/>
                        <a:pt x="86" y="11"/>
                      </a:cubicBezTo>
                      <a:cubicBezTo>
                        <a:pt x="89" y="11"/>
                        <a:pt x="92" y="9"/>
                        <a:pt x="92" y="6"/>
                      </a:cubicBezTo>
                      <a:cubicBezTo>
                        <a:pt x="92" y="3"/>
                        <a:pt x="89" y="0"/>
                        <a:pt x="8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6" name="Freeform 130"/>
                <p:cNvSpPr>
                  <a:spLocks/>
                </p:cNvSpPr>
                <p:nvPr/>
              </p:nvSpPr>
              <p:spPr bwMode="auto">
                <a:xfrm>
                  <a:off x="1568047" y="2183103"/>
                  <a:ext cx="17006" cy="18423"/>
                </a:xfrm>
                <a:custGeom>
                  <a:avLst/>
                  <a:gdLst>
                    <a:gd name="T0" fmla="*/ 5 w 10"/>
                    <a:gd name="T1" fmla="*/ 11 h 11"/>
                    <a:gd name="T2" fmla="*/ 9 w 10"/>
                    <a:gd name="T3" fmla="*/ 9 h 11"/>
                    <a:gd name="T4" fmla="*/ 10 w 10"/>
                    <a:gd name="T5" fmla="*/ 5 h 11"/>
                    <a:gd name="T6" fmla="*/ 9 w 10"/>
                    <a:gd name="T7" fmla="*/ 2 h 11"/>
                    <a:gd name="T8" fmla="*/ 5 w 10"/>
                    <a:gd name="T9" fmla="*/ 0 h 11"/>
                    <a:gd name="T10" fmla="*/ 1 w 10"/>
                    <a:gd name="T11" fmla="*/ 2 h 11"/>
                    <a:gd name="T12" fmla="*/ 0 w 10"/>
                    <a:gd name="T13" fmla="*/ 5 h 11"/>
                    <a:gd name="T14" fmla="*/ 1 w 10"/>
                    <a:gd name="T15" fmla="*/ 9 h 11"/>
                    <a:gd name="T16" fmla="*/ 5 w 10"/>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1">
                      <a:moveTo>
                        <a:pt x="5" y="11"/>
                      </a:moveTo>
                      <a:cubicBezTo>
                        <a:pt x="6" y="11"/>
                        <a:pt x="8" y="10"/>
                        <a:pt x="9" y="9"/>
                      </a:cubicBezTo>
                      <a:cubicBezTo>
                        <a:pt x="10" y="8"/>
                        <a:pt x="10" y="7"/>
                        <a:pt x="10" y="5"/>
                      </a:cubicBezTo>
                      <a:cubicBezTo>
                        <a:pt x="10" y="4"/>
                        <a:pt x="10" y="3"/>
                        <a:pt x="9" y="2"/>
                      </a:cubicBezTo>
                      <a:cubicBezTo>
                        <a:pt x="8" y="1"/>
                        <a:pt x="6" y="0"/>
                        <a:pt x="5" y="0"/>
                      </a:cubicBezTo>
                      <a:cubicBezTo>
                        <a:pt x="4" y="0"/>
                        <a:pt x="2" y="1"/>
                        <a:pt x="1" y="2"/>
                      </a:cubicBezTo>
                      <a:cubicBezTo>
                        <a:pt x="0" y="3"/>
                        <a:pt x="0" y="4"/>
                        <a:pt x="0" y="5"/>
                      </a:cubicBezTo>
                      <a:cubicBezTo>
                        <a:pt x="0" y="7"/>
                        <a:pt x="0" y="8"/>
                        <a:pt x="1" y="9"/>
                      </a:cubicBezTo>
                      <a:cubicBezTo>
                        <a:pt x="2" y="10"/>
                        <a:pt x="4" y="11"/>
                        <a:pt x="5" y="1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7" name="Freeform 131"/>
                <p:cNvSpPr>
                  <a:spLocks/>
                </p:cNvSpPr>
                <p:nvPr/>
              </p:nvSpPr>
              <p:spPr bwMode="auto">
                <a:xfrm>
                  <a:off x="1590012" y="2183103"/>
                  <a:ext cx="18423" cy="18423"/>
                </a:xfrm>
                <a:custGeom>
                  <a:avLst/>
                  <a:gdLst>
                    <a:gd name="T0" fmla="*/ 5 w 11"/>
                    <a:gd name="T1" fmla="*/ 11 h 11"/>
                    <a:gd name="T2" fmla="*/ 9 w 11"/>
                    <a:gd name="T3" fmla="*/ 9 h 11"/>
                    <a:gd name="T4" fmla="*/ 11 w 11"/>
                    <a:gd name="T5" fmla="*/ 5 h 11"/>
                    <a:gd name="T6" fmla="*/ 9 w 11"/>
                    <a:gd name="T7" fmla="*/ 2 h 11"/>
                    <a:gd name="T8" fmla="*/ 5 w 11"/>
                    <a:gd name="T9" fmla="*/ 0 h 11"/>
                    <a:gd name="T10" fmla="*/ 2 w 11"/>
                    <a:gd name="T11" fmla="*/ 2 h 11"/>
                    <a:gd name="T12" fmla="*/ 0 w 11"/>
                    <a:gd name="T13" fmla="*/ 5 h 11"/>
                    <a:gd name="T14" fmla="*/ 2 w 11"/>
                    <a:gd name="T15" fmla="*/ 9 h 11"/>
                    <a:gd name="T16" fmla="*/ 5 w 1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1">
                      <a:moveTo>
                        <a:pt x="5" y="11"/>
                      </a:moveTo>
                      <a:cubicBezTo>
                        <a:pt x="7" y="11"/>
                        <a:pt x="8" y="10"/>
                        <a:pt x="9" y="9"/>
                      </a:cubicBezTo>
                      <a:cubicBezTo>
                        <a:pt x="10" y="8"/>
                        <a:pt x="11" y="7"/>
                        <a:pt x="11" y="5"/>
                      </a:cubicBezTo>
                      <a:cubicBezTo>
                        <a:pt x="11" y="4"/>
                        <a:pt x="10" y="3"/>
                        <a:pt x="9" y="2"/>
                      </a:cubicBezTo>
                      <a:cubicBezTo>
                        <a:pt x="8" y="1"/>
                        <a:pt x="7" y="0"/>
                        <a:pt x="5" y="0"/>
                      </a:cubicBezTo>
                      <a:cubicBezTo>
                        <a:pt x="4" y="0"/>
                        <a:pt x="3" y="1"/>
                        <a:pt x="2" y="2"/>
                      </a:cubicBezTo>
                      <a:cubicBezTo>
                        <a:pt x="1" y="3"/>
                        <a:pt x="0" y="4"/>
                        <a:pt x="0" y="5"/>
                      </a:cubicBezTo>
                      <a:cubicBezTo>
                        <a:pt x="0" y="7"/>
                        <a:pt x="1" y="8"/>
                        <a:pt x="2" y="9"/>
                      </a:cubicBezTo>
                      <a:cubicBezTo>
                        <a:pt x="3" y="10"/>
                        <a:pt x="4" y="11"/>
                        <a:pt x="5" y="1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8" name="Freeform 132"/>
                <p:cNvSpPr>
                  <a:spLocks/>
                </p:cNvSpPr>
                <p:nvPr/>
              </p:nvSpPr>
              <p:spPr bwMode="auto">
                <a:xfrm>
                  <a:off x="1611978" y="2183103"/>
                  <a:ext cx="18423" cy="18423"/>
                </a:xfrm>
                <a:custGeom>
                  <a:avLst/>
                  <a:gdLst>
                    <a:gd name="T0" fmla="*/ 6 w 11"/>
                    <a:gd name="T1" fmla="*/ 11 h 11"/>
                    <a:gd name="T2" fmla="*/ 10 w 11"/>
                    <a:gd name="T3" fmla="*/ 9 h 11"/>
                    <a:gd name="T4" fmla="*/ 11 w 11"/>
                    <a:gd name="T5" fmla="*/ 5 h 11"/>
                    <a:gd name="T6" fmla="*/ 10 w 11"/>
                    <a:gd name="T7" fmla="*/ 2 h 11"/>
                    <a:gd name="T8" fmla="*/ 6 w 11"/>
                    <a:gd name="T9" fmla="*/ 0 h 11"/>
                    <a:gd name="T10" fmla="*/ 2 w 11"/>
                    <a:gd name="T11" fmla="*/ 2 h 11"/>
                    <a:gd name="T12" fmla="*/ 0 w 11"/>
                    <a:gd name="T13" fmla="*/ 5 h 11"/>
                    <a:gd name="T14" fmla="*/ 2 w 11"/>
                    <a:gd name="T15" fmla="*/ 9 h 11"/>
                    <a:gd name="T16" fmla="*/ 6 w 1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1">
                      <a:moveTo>
                        <a:pt x="6" y="11"/>
                      </a:moveTo>
                      <a:cubicBezTo>
                        <a:pt x="7" y="11"/>
                        <a:pt x="9" y="10"/>
                        <a:pt x="10" y="9"/>
                      </a:cubicBezTo>
                      <a:cubicBezTo>
                        <a:pt x="11" y="8"/>
                        <a:pt x="11" y="7"/>
                        <a:pt x="11" y="5"/>
                      </a:cubicBezTo>
                      <a:cubicBezTo>
                        <a:pt x="11" y="4"/>
                        <a:pt x="11" y="3"/>
                        <a:pt x="10" y="2"/>
                      </a:cubicBezTo>
                      <a:cubicBezTo>
                        <a:pt x="9" y="1"/>
                        <a:pt x="7" y="0"/>
                        <a:pt x="6" y="0"/>
                      </a:cubicBezTo>
                      <a:cubicBezTo>
                        <a:pt x="4" y="0"/>
                        <a:pt x="3" y="1"/>
                        <a:pt x="2" y="2"/>
                      </a:cubicBezTo>
                      <a:cubicBezTo>
                        <a:pt x="1" y="3"/>
                        <a:pt x="0" y="4"/>
                        <a:pt x="0" y="5"/>
                      </a:cubicBezTo>
                      <a:cubicBezTo>
                        <a:pt x="0" y="7"/>
                        <a:pt x="1" y="8"/>
                        <a:pt x="2" y="9"/>
                      </a:cubicBezTo>
                      <a:cubicBezTo>
                        <a:pt x="3" y="10"/>
                        <a:pt x="4" y="11"/>
                        <a:pt x="6" y="1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9" name="Freeform 133"/>
                <p:cNvSpPr>
                  <a:spLocks/>
                </p:cNvSpPr>
                <p:nvPr/>
              </p:nvSpPr>
              <p:spPr bwMode="auto">
                <a:xfrm>
                  <a:off x="1575132" y="2246873"/>
                  <a:ext cx="75108" cy="18423"/>
                </a:xfrm>
                <a:custGeom>
                  <a:avLst/>
                  <a:gdLst>
                    <a:gd name="T0" fmla="*/ 40 w 45"/>
                    <a:gd name="T1" fmla="*/ 0 h 11"/>
                    <a:gd name="T2" fmla="*/ 5 w 45"/>
                    <a:gd name="T3" fmla="*/ 0 h 11"/>
                    <a:gd name="T4" fmla="*/ 0 w 45"/>
                    <a:gd name="T5" fmla="*/ 5 h 11"/>
                    <a:gd name="T6" fmla="*/ 5 w 45"/>
                    <a:gd name="T7" fmla="*/ 11 h 11"/>
                    <a:gd name="T8" fmla="*/ 40 w 45"/>
                    <a:gd name="T9" fmla="*/ 11 h 11"/>
                    <a:gd name="T10" fmla="*/ 45 w 45"/>
                    <a:gd name="T11" fmla="*/ 5 h 11"/>
                    <a:gd name="T12" fmla="*/ 40 w 4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5" h="11">
                      <a:moveTo>
                        <a:pt x="40" y="0"/>
                      </a:moveTo>
                      <a:cubicBezTo>
                        <a:pt x="5" y="0"/>
                        <a:pt x="5" y="0"/>
                        <a:pt x="5" y="0"/>
                      </a:cubicBezTo>
                      <a:cubicBezTo>
                        <a:pt x="2" y="0"/>
                        <a:pt x="0" y="2"/>
                        <a:pt x="0" y="5"/>
                      </a:cubicBezTo>
                      <a:cubicBezTo>
                        <a:pt x="0" y="8"/>
                        <a:pt x="2" y="11"/>
                        <a:pt x="5" y="11"/>
                      </a:cubicBezTo>
                      <a:cubicBezTo>
                        <a:pt x="40" y="11"/>
                        <a:pt x="40" y="11"/>
                        <a:pt x="40" y="11"/>
                      </a:cubicBezTo>
                      <a:cubicBezTo>
                        <a:pt x="43" y="11"/>
                        <a:pt x="45" y="8"/>
                        <a:pt x="45" y="5"/>
                      </a:cubicBezTo>
                      <a:cubicBezTo>
                        <a:pt x="45" y="2"/>
                        <a:pt x="43" y="0"/>
                        <a:pt x="40"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10" name="Freeform 134"/>
                <p:cNvSpPr>
                  <a:spLocks/>
                </p:cNvSpPr>
                <p:nvPr/>
              </p:nvSpPr>
              <p:spPr bwMode="auto">
                <a:xfrm>
                  <a:off x="1575132" y="2278758"/>
                  <a:ext cx="75108" cy="18423"/>
                </a:xfrm>
                <a:custGeom>
                  <a:avLst/>
                  <a:gdLst>
                    <a:gd name="T0" fmla="*/ 40 w 45"/>
                    <a:gd name="T1" fmla="*/ 0 h 11"/>
                    <a:gd name="T2" fmla="*/ 5 w 45"/>
                    <a:gd name="T3" fmla="*/ 0 h 11"/>
                    <a:gd name="T4" fmla="*/ 0 w 45"/>
                    <a:gd name="T5" fmla="*/ 6 h 11"/>
                    <a:gd name="T6" fmla="*/ 5 w 45"/>
                    <a:gd name="T7" fmla="*/ 11 h 11"/>
                    <a:gd name="T8" fmla="*/ 40 w 45"/>
                    <a:gd name="T9" fmla="*/ 11 h 11"/>
                    <a:gd name="T10" fmla="*/ 45 w 45"/>
                    <a:gd name="T11" fmla="*/ 6 h 11"/>
                    <a:gd name="T12" fmla="*/ 40 w 4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5" h="11">
                      <a:moveTo>
                        <a:pt x="40" y="0"/>
                      </a:moveTo>
                      <a:cubicBezTo>
                        <a:pt x="5" y="0"/>
                        <a:pt x="5" y="0"/>
                        <a:pt x="5" y="0"/>
                      </a:cubicBezTo>
                      <a:cubicBezTo>
                        <a:pt x="2" y="0"/>
                        <a:pt x="0" y="3"/>
                        <a:pt x="0" y="6"/>
                      </a:cubicBezTo>
                      <a:cubicBezTo>
                        <a:pt x="0" y="9"/>
                        <a:pt x="2" y="11"/>
                        <a:pt x="5" y="11"/>
                      </a:cubicBezTo>
                      <a:cubicBezTo>
                        <a:pt x="40" y="11"/>
                        <a:pt x="40" y="11"/>
                        <a:pt x="40" y="11"/>
                      </a:cubicBezTo>
                      <a:cubicBezTo>
                        <a:pt x="43" y="11"/>
                        <a:pt x="45" y="9"/>
                        <a:pt x="45" y="6"/>
                      </a:cubicBezTo>
                      <a:cubicBezTo>
                        <a:pt x="45" y="3"/>
                        <a:pt x="43" y="0"/>
                        <a:pt x="40"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11" name="Freeform 135"/>
                <p:cNvSpPr>
                  <a:spLocks/>
                </p:cNvSpPr>
                <p:nvPr/>
              </p:nvSpPr>
              <p:spPr bwMode="auto">
                <a:xfrm>
                  <a:off x="1575132" y="2312061"/>
                  <a:ext cx="75108" cy="18423"/>
                </a:xfrm>
                <a:custGeom>
                  <a:avLst/>
                  <a:gdLst>
                    <a:gd name="T0" fmla="*/ 40 w 45"/>
                    <a:gd name="T1" fmla="*/ 0 h 11"/>
                    <a:gd name="T2" fmla="*/ 5 w 45"/>
                    <a:gd name="T3" fmla="*/ 0 h 11"/>
                    <a:gd name="T4" fmla="*/ 0 w 45"/>
                    <a:gd name="T5" fmla="*/ 5 h 11"/>
                    <a:gd name="T6" fmla="*/ 5 w 45"/>
                    <a:gd name="T7" fmla="*/ 11 h 11"/>
                    <a:gd name="T8" fmla="*/ 40 w 45"/>
                    <a:gd name="T9" fmla="*/ 11 h 11"/>
                    <a:gd name="T10" fmla="*/ 45 w 45"/>
                    <a:gd name="T11" fmla="*/ 5 h 11"/>
                    <a:gd name="T12" fmla="*/ 40 w 4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5" h="11">
                      <a:moveTo>
                        <a:pt x="40" y="0"/>
                      </a:moveTo>
                      <a:cubicBezTo>
                        <a:pt x="5" y="0"/>
                        <a:pt x="5" y="0"/>
                        <a:pt x="5" y="0"/>
                      </a:cubicBezTo>
                      <a:cubicBezTo>
                        <a:pt x="2" y="0"/>
                        <a:pt x="0" y="2"/>
                        <a:pt x="0" y="5"/>
                      </a:cubicBezTo>
                      <a:cubicBezTo>
                        <a:pt x="0" y="8"/>
                        <a:pt x="2" y="11"/>
                        <a:pt x="5" y="11"/>
                      </a:cubicBezTo>
                      <a:cubicBezTo>
                        <a:pt x="40" y="11"/>
                        <a:pt x="40" y="11"/>
                        <a:pt x="40" y="11"/>
                      </a:cubicBezTo>
                      <a:cubicBezTo>
                        <a:pt x="43" y="11"/>
                        <a:pt x="45" y="8"/>
                        <a:pt x="45" y="5"/>
                      </a:cubicBezTo>
                      <a:cubicBezTo>
                        <a:pt x="45" y="2"/>
                        <a:pt x="43" y="0"/>
                        <a:pt x="40"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grpSp>
        </p:grpSp>
        <p:grpSp>
          <p:nvGrpSpPr>
            <p:cNvPr id="194" name="Group 521"/>
            <p:cNvGrpSpPr/>
            <p:nvPr/>
          </p:nvGrpSpPr>
          <p:grpSpPr>
            <a:xfrm>
              <a:off x="1240733" y="2504878"/>
              <a:ext cx="1138971" cy="330164"/>
              <a:chOff x="1240733" y="2504878"/>
              <a:chExt cx="1138971" cy="330164"/>
            </a:xfrm>
          </p:grpSpPr>
          <p:sp>
            <p:nvSpPr>
              <p:cNvPr id="494" name="Rectangle 493"/>
              <p:cNvSpPr/>
              <p:nvPr/>
            </p:nvSpPr>
            <p:spPr>
              <a:xfrm>
                <a:off x="1744915" y="2600711"/>
                <a:ext cx="634789" cy="138499"/>
              </a:xfrm>
              <a:prstGeom prst="rect">
                <a:avLst/>
              </a:prstGeom>
              <a:noFill/>
              <a:ln w="25400" cap="rnd" cmpd="sng" algn="ctr">
                <a:noFill/>
                <a:prstDash val="solid"/>
              </a:ln>
              <a:effectLst/>
            </p:spPr>
            <p:txBody>
              <a:bodyPr wrap="none" lIns="0" tIns="0" rIns="0" bIns="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900" kern="0" dirty="0">
                    <a:latin typeface="+mj-lt"/>
                  </a:rPr>
                  <a:t>Mobile Apps</a:t>
                </a:r>
              </a:p>
            </p:txBody>
          </p:sp>
          <p:grpSp>
            <p:nvGrpSpPr>
              <p:cNvPr id="195" name="Group 254"/>
              <p:cNvGrpSpPr/>
              <p:nvPr/>
            </p:nvGrpSpPr>
            <p:grpSpPr>
              <a:xfrm>
                <a:off x="1240733" y="2504878"/>
                <a:ext cx="372421" cy="330164"/>
                <a:chOff x="1431294" y="3248071"/>
                <a:chExt cx="468360" cy="415217"/>
              </a:xfrm>
              <a:solidFill>
                <a:schemeClr val="tx2"/>
              </a:solidFill>
            </p:grpSpPr>
            <p:sp>
              <p:nvSpPr>
                <p:cNvPr id="513" name="Freeform 136"/>
                <p:cNvSpPr>
                  <a:spLocks noEditPoints="1"/>
                </p:cNvSpPr>
                <p:nvPr/>
              </p:nvSpPr>
              <p:spPr bwMode="auto">
                <a:xfrm>
                  <a:off x="1610560" y="3248071"/>
                  <a:ext cx="289094" cy="415217"/>
                </a:xfrm>
                <a:custGeom>
                  <a:avLst/>
                  <a:gdLst>
                    <a:gd name="T0" fmla="*/ 116 w 173"/>
                    <a:gd name="T1" fmla="*/ 248 h 248"/>
                    <a:gd name="T2" fmla="*/ 112 w 173"/>
                    <a:gd name="T3" fmla="*/ 248 h 248"/>
                    <a:gd name="T4" fmla="*/ 19 w 173"/>
                    <a:gd name="T5" fmla="*/ 231 h 248"/>
                    <a:gd name="T6" fmla="*/ 5 w 173"/>
                    <a:gd name="T7" fmla="*/ 222 h 248"/>
                    <a:gd name="T8" fmla="*/ 1 w 173"/>
                    <a:gd name="T9" fmla="*/ 206 h 248"/>
                    <a:gd name="T10" fmla="*/ 35 w 173"/>
                    <a:gd name="T11" fmla="*/ 18 h 248"/>
                    <a:gd name="T12" fmla="*/ 56 w 173"/>
                    <a:gd name="T13" fmla="*/ 0 h 248"/>
                    <a:gd name="T14" fmla="*/ 60 w 173"/>
                    <a:gd name="T15" fmla="*/ 0 h 248"/>
                    <a:gd name="T16" fmla="*/ 153 w 173"/>
                    <a:gd name="T17" fmla="*/ 17 h 248"/>
                    <a:gd name="T18" fmla="*/ 171 w 173"/>
                    <a:gd name="T19" fmla="*/ 42 h 248"/>
                    <a:gd name="T20" fmla="*/ 137 w 173"/>
                    <a:gd name="T21" fmla="*/ 230 h 248"/>
                    <a:gd name="T22" fmla="*/ 116 w 173"/>
                    <a:gd name="T23" fmla="*/ 248 h 248"/>
                    <a:gd name="T24" fmla="*/ 56 w 173"/>
                    <a:gd name="T25" fmla="*/ 10 h 248"/>
                    <a:gd name="T26" fmla="*/ 45 w 173"/>
                    <a:gd name="T27" fmla="*/ 19 h 248"/>
                    <a:gd name="T28" fmla="*/ 11 w 173"/>
                    <a:gd name="T29" fmla="*/ 208 h 248"/>
                    <a:gd name="T30" fmla="*/ 13 w 173"/>
                    <a:gd name="T31" fmla="*/ 216 h 248"/>
                    <a:gd name="T32" fmla="*/ 20 w 173"/>
                    <a:gd name="T33" fmla="*/ 221 h 248"/>
                    <a:gd name="T34" fmla="*/ 114 w 173"/>
                    <a:gd name="T35" fmla="*/ 238 h 248"/>
                    <a:gd name="T36" fmla="*/ 127 w 173"/>
                    <a:gd name="T37" fmla="*/ 229 h 248"/>
                    <a:gd name="T38" fmla="*/ 161 w 173"/>
                    <a:gd name="T39" fmla="*/ 40 h 248"/>
                    <a:gd name="T40" fmla="*/ 152 w 173"/>
                    <a:gd name="T41" fmla="*/ 27 h 248"/>
                    <a:gd name="T42" fmla="*/ 58 w 173"/>
                    <a:gd name="T43" fmla="*/ 10 h 248"/>
                    <a:gd name="T44" fmla="*/ 56 w 173"/>
                    <a:gd name="T45" fmla="*/ 1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3" h="248">
                      <a:moveTo>
                        <a:pt x="116" y="248"/>
                      </a:moveTo>
                      <a:cubicBezTo>
                        <a:pt x="115" y="248"/>
                        <a:pt x="114" y="248"/>
                        <a:pt x="112" y="248"/>
                      </a:cubicBezTo>
                      <a:cubicBezTo>
                        <a:pt x="19" y="231"/>
                        <a:pt x="19" y="231"/>
                        <a:pt x="19" y="231"/>
                      </a:cubicBezTo>
                      <a:cubicBezTo>
                        <a:pt x="13" y="230"/>
                        <a:pt x="8" y="227"/>
                        <a:pt x="5" y="222"/>
                      </a:cubicBezTo>
                      <a:cubicBezTo>
                        <a:pt x="2" y="217"/>
                        <a:pt x="0" y="212"/>
                        <a:pt x="1" y="206"/>
                      </a:cubicBezTo>
                      <a:cubicBezTo>
                        <a:pt x="35" y="18"/>
                        <a:pt x="35" y="18"/>
                        <a:pt x="35" y="18"/>
                      </a:cubicBezTo>
                      <a:cubicBezTo>
                        <a:pt x="37" y="8"/>
                        <a:pt x="46" y="0"/>
                        <a:pt x="56" y="0"/>
                      </a:cubicBezTo>
                      <a:cubicBezTo>
                        <a:pt x="57" y="0"/>
                        <a:pt x="58" y="0"/>
                        <a:pt x="60" y="0"/>
                      </a:cubicBezTo>
                      <a:cubicBezTo>
                        <a:pt x="153" y="17"/>
                        <a:pt x="153" y="17"/>
                        <a:pt x="153" y="17"/>
                      </a:cubicBezTo>
                      <a:cubicBezTo>
                        <a:pt x="165" y="19"/>
                        <a:pt x="173" y="30"/>
                        <a:pt x="171" y="42"/>
                      </a:cubicBezTo>
                      <a:cubicBezTo>
                        <a:pt x="137" y="230"/>
                        <a:pt x="137" y="230"/>
                        <a:pt x="137" y="230"/>
                      </a:cubicBezTo>
                      <a:cubicBezTo>
                        <a:pt x="135" y="240"/>
                        <a:pt x="126" y="248"/>
                        <a:pt x="116" y="248"/>
                      </a:cubicBezTo>
                      <a:close/>
                      <a:moveTo>
                        <a:pt x="56" y="10"/>
                      </a:moveTo>
                      <a:cubicBezTo>
                        <a:pt x="50" y="10"/>
                        <a:pt x="46" y="14"/>
                        <a:pt x="45" y="19"/>
                      </a:cubicBezTo>
                      <a:cubicBezTo>
                        <a:pt x="11" y="208"/>
                        <a:pt x="11" y="208"/>
                        <a:pt x="11" y="208"/>
                      </a:cubicBezTo>
                      <a:cubicBezTo>
                        <a:pt x="11" y="211"/>
                        <a:pt x="11" y="214"/>
                        <a:pt x="13" y="216"/>
                      </a:cubicBezTo>
                      <a:cubicBezTo>
                        <a:pt x="15" y="219"/>
                        <a:pt x="17" y="220"/>
                        <a:pt x="20" y="221"/>
                      </a:cubicBezTo>
                      <a:cubicBezTo>
                        <a:pt x="114" y="238"/>
                        <a:pt x="114" y="238"/>
                        <a:pt x="114" y="238"/>
                      </a:cubicBezTo>
                      <a:cubicBezTo>
                        <a:pt x="120" y="239"/>
                        <a:pt x="126" y="235"/>
                        <a:pt x="127" y="229"/>
                      </a:cubicBezTo>
                      <a:cubicBezTo>
                        <a:pt x="161" y="40"/>
                        <a:pt x="161" y="40"/>
                        <a:pt x="161" y="40"/>
                      </a:cubicBezTo>
                      <a:cubicBezTo>
                        <a:pt x="162" y="34"/>
                        <a:pt x="158" y="28"/>
                        <a:pt x="152" y="27"/>
                      </a:cubicBezTo>
                      <a:cubicBezTo>
                        <a:pt x="58" y="10"/>
                        <a:pt x="58" y="10"/>
                        <a:pt x="58" y="10"/>
                      </a:cubicBezTo>
                      <a:cubicBezTo>
                        <a:pt x="57" y="10"/>
                        <a:pt x="57" y="10"/>
                        <a:pt x="56"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4" name="Freeform 137"/>
                <p:cNvSpPr>
                  <a:spLocks/>
                </p:cNvSpPr>
                <p:nvPr/>
              </p:nvSpPr>
              <p:spPr bwMode="auto">
                <a:xfrm>
                  <a:off x="1663703" y="3296253"/>
                  <a:ext cx="227449" cy="53851"/>
                </a:xfrm>
                <a:custGeom>
                  <a:avLst/>
                  <a:gdLst>
                    <a:gd name="T0" fmla="*/ 131 w 136"/>
                    <a:gd name="T1" fmla="*/ 32 h 32"/>
                    <a:gd name="T2" fmla="*/ 130 w 136"/>
                    <a:gd name="T3" fmla="*/ 32 h 32"/>
                    <a:gd name="T4" fmla="*/ 4 w 136"/>
                    <a:gd name="T5" fmla="*/ 10 h 32"/>
                    <a:gd name="T6" fmla="*/ 0 w 136"/>
                    <a:gd name="T7" fmla="*/ 4 h 32"/>
                    <a:gd name="T8" fmla="*/ 6 w 136"/>
                    <a:gd name="T9" fmla="*/ 0 h 32"/>
                    <a:gd name="T10" fmla="*/ 132 w 136"/>
                    <a:gd name="T11" fmla="*/ 23 h 32"/>
                    <a:gd name="T12" fmla="*/ 136 w 136"/>
                    <a:gd name="T13" fmla="*/ 28 h 32"/>
                    <a:gd name="T14" fmla="*/ 131 w 136"/>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32">
                      <a:moveTo>
                        <a:pt x="131" y="32"/>
                      </a:moveTo>
                      <a:cubicBezTo>
                        <a:pt x="131" y="32"/>
                        <a:pt x="130" y="32"/>
                        <a:pt x="130" y="32"/>
                      </a:cubicBezTo>
                      <a:cubicBezTo>
                        <a:pt x="4" y="10"/>
                        <a:pt x="4" y="10"/>
                        <a:pt x="4" y="10"/>
                      </a:cubicBezTo>
                      <a:cubicBezTo>
                        <a:pt x="1" y="9"/>
                        <a:pt x="0" y="7"/>
                        <a:pt x="0" y="4"/>
                      </a:cubicBezTo>
                      <a:cubicBezTo>
                        <a:pt x="1" y="1"/>
                        <a:pt x="3" y="0"/>
                        <a:pt x="6" y="0"/>
                      </a:cubicBezTo>
                      <a:cubicBezTo>
                        <a:pt x="132" y="23"/>
                        <a:pt x="132" y="23"/>
                        <a:pt x="132" y="23"/>
                      </a:cubicBezTo>
                      <a:cubicBezTo>
                        <a:pt x="135" y="23"/>
                        <a:pt x="136" y="26"/>
                        <a:pt x="136" y="28"/>
                      </a:cubicBezTo>
                      <a:cubicBezTo>
                        <a:pt x="136" y="31"/>
                        <a:pt x="133" y="32"/>
                        <a:pt x="131"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5" name="Freeform 138"/>
                <p:cNvSpPr>
                  <a:spLocks/>
                </p:cNvSpPr>
                <p:nvPr/>
              </p:nvSpPr>
              <p:spPr bwMode="auto">
                <a:xfrm>
                  <a:off x="1618355" y="3544250"/>
                  <a:ext cx="229574" cy="55268"/>
                </a:xfrm>
                <a:custGeom>
                  <a:avLst/>
                  <a:gdLst>
                    <a:gd name="T0" fmla="*/ 132 w 137"/>
                    <a:gd name="T1" fmla="*/ 33 h 33"/>
                    <a:gd name="T2" fmla="*/ 131 w 137"/>
                    <a:gd name="T3" fmla="*/ 33 h 33"/>
                    <a:gd name="T4" fmla="*/ 5 w 137"/>
                    <a:gd name="T5" fmla="*/ 11 h 33"/>
                    <a:gd name="T6" fmla="*/ 1 w 137"/>
                    <a:gd name="T7" fmla="*/ 5 h 33"/>
                    <a:gd name="T8" fmla="*/ 6 w 137"/>
                    <a:gd name="T9" fmla="*/ 1 h 33"/>
                    <a:gd name="T10" fmla="*/ 132 w 137"/>
                    <a:gd name="T11" fmla="*/ 23 h 33"/>
                    <a:gd name="T12" fmla="*/ 136 w 137"/>
                    <a:gd name="T13" fmla="*/ 29 h 33"/>
                    <a:gd name="T14" fmla="*/ 132 w 137"/>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3">
                      <a:moveTo>
                        <a:pt x="132" y="33"/>
                      </a:moveTo>
                      <a:cubicBezTo>
                        <a:pt x="131" y="33"/>
                        <a:pt x="131" y="33"/>
                        <a:pt x="131" y="33"/>
                      </a:cubicBezTo>
                      <a:cubicBezTo>
                        <a:pt x="5" y="11"/>
                        <a:pt x="5" y="11"/>
                        <a:pt x="5" y="11"/>
                      </a:cubicBezTo>
                      <a:cubicBezTo>
                        <a:pt x="2" y="10"/>
                        <a:pt x="0" y="7"/>
                        <a:pt x="1" y="5"/>
                      </a:cubicBezTo>
                      <a:cubicBezTo>
                        <a:pt x="1" y="2"/>
                        <a:pt x="4" y="0"/>
                        <a:pt x="6" y="1"/>
                      </a:cubicBezTo>
                      <a:cubicBezTo>
                        <a:pt x="132" y="23"/>
                        <a:pt x="132" y="23"/>
                        <a:pt x="132" y="23"/>
                      </a:cubicBezTo>
                      <a:cubicBezTo>
                        <a:pt x="135" y="24"/>
                        <a:pt x="137" y="26"/>
                        <a:pt x="136" y="29"/>
                      </a:cubicBezTo>
                      <a:cubicBezTo>
                        <a:pt x="136" y="31"/>
                        <a:pt x="134" y="33"/>
                        <a:pt x="132" y="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6" name="Freeform 139"/>
                <p:cNvSpPr>
                  <a:spLocks/>
                </p:cNvSpPr>
                <p:nvPr/>
              </p:nvSpPr>
              <p:spPr bwMode="auto">
                <a:xfrm>
                  <a:off x="1692045" y="3593140"/>
                  <a:ext cx="70148" cy="26217"/>
                </a:xfrm>
                <a:custGeom>
                  <a:avLst/>
                  <a:gdLst>
                    <a:gd name="T0" fmla="*/ 37 w 42"/>
                    <a:gd name="T1" fmla="*/ 16 h 16"/>
                    <a:gd name="T2" fmla="*/ 36 w 42"/>
                    <a:gd name="T3" fmla="*/ 16 h 16"/>
                    <a:gd name="T4" fmla="*/ 4 w 42"/>
                    <a:gd name="T5" fmla="*/ 11 h 16"/>
                    <a:gd name="T6" fmla="*/ 0 w 42"/>
                    <a:gd name="T7" fmla="*/ 5 h 16"/>
                    <a:gd name="T8" fmla="*/ 6 w 42"/>
                    <a:gd name="T9" fmla="*/ 1 h 16"/>
                    <a:gd name="T10" fmla="*/ 37 w 42"/>
                    <a:gd name="T11" fmla="*/ 6 h 16"/>
                    <a:gd name="T12" fmla="*/ 42 w 42"/>
                    <a:gd name="T13" fmla="*/ 12 h 16"/>
                    <a:gd name="T14" fmla="*/ 37 w 4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16">
                      <a:moveTo>
                        <a:pt x="37" y="16"/>
                      </a:moveTo>
                      <a:cubicBezTo>
                        <a:pt x="36" y="16"/>
                        <a:pt x="36" y="16"/>
                        <a:pt x="36" y="16"/>
                      </a:cubicBezTo>
                      <a:cubicBezTo>
                        <a:pt x="4" y="11"/>
                        <a:pt x="4" y="11"/>
                        <a:pt x="4" y="11"/>
                      </a:cubicBezTo>
                      <a:cubicBezTo>
                        <a:pt x="1" y="10"/>
                        <a:pt x="0" y="8"/>
                        <a:pt x="0" y="5"/>
                      </a:cubicBezTo>
                      <a:cubicBezTo>
                        <a:pt x="1" y="2"/>
                        <a:pt x="3" y="0"/>
                        <a:pt x="6" y="1"/>
                      </a:cubicBezTo>
                      <a:cubicBezTo>
                        <a:pt x="37" y="6"/>
                        <a:pt x="37" y="6"/>
                        <a:pt x="37" y="6"/>
                      </a:cubicBezTo>
                      <a:cubicBezTo>
                        <a:pt x="40" y="7"/>
                        <a:pt x="42" y="10"/>
                        <a:pt x="42" y="12"/>
                      </a:cubicBezTo>
                      <a:cubicBezTo>
                        <a:pt x="41" y="15"/>
                        <a:pt x="39" y="16"/>
                        <a:pt x="37"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7" name="Freeform 140"/>
                <p:cNvSpPr>
                  <a:spLocks noEditPoints="1"/>
                </p:cNvSpPr>
                <p:nvPr/>
              </p:nvSpPr>
              <p:spPr bwMode="auto">
                <a:xfrm>
                  <a:off x="1538287" y="3367109"/>
                  <a:ext cx="97073" cy="97073"/>
                </a:xfrm>
                <a:custGeom>
                  <a:avLst/>
                  <a:gdLst>
                    <a:gd name="T0" fmla="*/ 45 w 58"/>
                    <a:gd name="T1" fmla="*/ 58 h 58"/>
                    <a:gd name="T2" fmla="*/ 13 w 58"/>
                    <a:gd name="T3" fmla="*/ 58 h 58"/>
                    <a:gd name="T4" fmla="*/ 0 w 58"/>
                    <a:gd name="T5" fmla="*/ 45 h 58"/>
                    <a:gd name="T6" fmla="*/ 0 w 58"/>
                    <a:gd name="T7" fmla="*/ 13 h 58"/>
                    <a:gd name="T8" fmla="*/ 13 w 58"/>
                    <a:gd name="T9" fmla="*/ 0 h 58"/>
                    <a:gd name="T10" fmla="*/ 45 w 58"/>
                    <a:gd name="T11" fmla="*/ 0 h 58"/>
                    <a:gd name="T12" fmla="*/ 58 w 58"/>
                    <a:gd name="T13" fmla="*/ 13 h 58"/>
                    <a:gd name="T14" fmla="*/ 58 w 58"/>
                    <a:gd name="T15" fmla="*/ 45 h 58"/>
                    <a:gd name="T16" fmla="*/ 45 w 58"/>
                    <a:gd name="T17" fmla="*/ 58 h 58"/>
                    <a:gd name="T18" fmla="*/ 13 w 58"/>
                    <a:gd name="T19" fmla="*/ 10 h 58"/>
                    <a:gd name="T20" fmla="*/ 10 w 58"/>
                    <a:gd name="T21" fmla="*/ 13 h 58"/>
                    <a:gd name="T22" fmla="*/ 10 w 58"/>
                    <a:gd name="T23" fmla="*/ 45 h 58"/>
                    <a:gd name="T24" fmla="*/ 13 w 58"/>
                    <a:gd name="T25" fmla="*/ 48 h 58"/>
                    <a:gd name="T26" fmla="*/ 45 w 58"/>
                    <a:gd name="T27" fmla="*/ 48 h 58"/>
                    <a:gd name="T28" fmla="*/ 48 w 58"/>
                    <a:gd name="T29" fmla="*/ 45 h 58"/>
                    <a:gd name="T30" fmla="*/ 48 w 58"/>
                    <a:gd name="T31" fmla="*/ 13 h 58"/>
                    <a:gd name="T32" fmla="*/ 45 w 58"/>
                    <a:gd name="T33" fmla="*/ 10 h 58"/>
                    <a:gd name="T34" fmla="*/ 13 w 58"/>
                    <a:gd name="T35"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58">
                      <a:moveTo>
                        <a:pt x="45" y="58"/>
                      </a:moveTo>
                      <a:cubicBezTo>
                        <a:pt x="13" y="58"/>
                        <a:pt x="13" y="58"/>
                        <a:pt x="13" y="58"/>
                      </a:cubicBezTo>
                      <a:cubicBezTo>
                        <a:pt x="6" y="58"/>
                        <a:pt x="0" y="52"/>
                        <a:pt x="0" y="45"/>
                      </a:cubicBezTo>
                      <a:cubicBezTo>
                        <a:pt x="0" y="13"/>
                        <a:pt x="0" y="13"/>
                        <a:pt x="0" y="13"/>
                      </a:cubicBezTo>
                      <a:cubicBezTo>
                        <a:pt x="0" y="6"/>
                        <a:pt x="6" y="0"/>
                        <a:pt x="13" y="0"/>
                      </a:cubicBezTo>
                      <a:cubicBezTo>
                        <a:pt x="45" y="0"/>
                        <a:pt x="45" y="0"/>
                        <a:pt x="45" y="0"/>
                      </a:cubicBezTo>
                      <a:cubicBezTo>
                        <a:pt x="52" y="0"/>
                        <a:pt x="58" y="6"/>
                        <a:pt x="58" y="13"/>
                      </a:cubicBezTo>
                      <a:cubicBezTo>
                        <a:pt x="58" y="45"/>
                        <a:pt x="58" y="45"/>
                        <a:pt x="58" y="45"/>
                      </a:cubicBezTo>
                      <a:cubicBezTo>
                        <a:pt x="58" y="52"/>
                        <a:pt x="52" y="58"/>
                        <a:pt x="45" y="58"/>
                      </a:cubicBezTo>
                      <a:close/>
                      <a:moveTo>
                        <a:pt x="13" y="10"/>
                      </a:moveTo>
                      <a:cubicBezTo>
                        <a:pt x="11" y="10"/>
                        <a:pt x="10" y="11"/>
                        <a:pt x="10" y="13"/>
                      </a:cubicBezTo>
                      <a:cubicBezTo>
                        <a:pt x="10" y="45"/>
                        <a:pt x="10" y="45"/>
                        <a:pt x="10" y="45"/>
                      </a:cubicBezTo>
                      <a:cubicBezTo>
                        <a:pt x="10" y="47"/>
                        <a:pt x="11" y="48"/>
                        <a:pt x="13" y="48"/>
                      </a:cubicBezTo>
                      <a:cubicBezTo>
                        <a:pt x="45" y="48"/>
                        <a:pt x="45" y="48"/>
                        <a:pt x="45" y="48"/>
                      </a:cubicBezTo>
                      <a:cubicBezTo>
                        <a:pt x="47" y="48"/>
                        <a:pt x="48" y="47"/>
                        <a:pt x="48" y="45"/>
                      </a:cubicBezTo>
                      <a:cubicBezTo>
                        <a:pt x="48" y="13"/>
                        <a:pt x="48" y="13"/>
                        <a:pt x="48" y="13"/>
                      </a:cubicBezTo>
                      <a:cubicBezTo>
                        <a:pt x="48" y="11"/>
                        <a:pt x="47" y="10"/>
                        <a:pt x="45" y="10"/>
                      </a:cubicBezTo>
                      <a:lnTo>
                        <a:pt x="13"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8" name="Freeform 141"/>
                <p:cNvSpPr>
                  <a:spLocks noEditPoints="1"/>
                </p:cNvSpPr>
                <p:nvPr/>
              </p:nvSpPr>
              <p:spPr bwMode="auto">
                <a:xfrm>
                  <a:off x="1538287" y="3474102"/>
                  <a:ext cx="97073" cy="97073"/>
                </a:xfrm>
                <a:custGeom>
                  <a:avLst/>
                  <a:gdLst>
                    <a:gd name="T0" fmla="*/ 45 w 58"/>
                    <a:gd name="T1" fmla="*/ 58 h 58"/>
                    <a:gd name="T2" fmla="*/ 13 w 58"/>
                    <a:gd name="T3" fmla="*/ 58 h 58"/>
                    <a:gd name="T4" fmla="*/ 0 w 58"/>
                    <a:gd name="T5" fmla="*/ 45 h 58"/>
                    <a:gd name="T6" fmla="*/ 0 w 58"/>
                    <a:gd name="T7" fmla="*/ 13 h 58"/>
                    <a:gd name="T8" fmla="*/ 13 w 58"/>
                    <a:gd name="T9" fmla="*/ 0 h 58"/>
                    <a:gd name="T10" fmla="*/ 45 w 58"/>
                    <a:gd name="T11" fmla="*/ 0 h 58"/>
                    <a:gd name="T12" fmla="*/ 58 w 58"/>
                    <a:gd name="T13" fmla="*/ 13 h 58"/>
                    <a:gd name="T14" fmla="*/ 58 w 58"/>
                    <a:gd name="T15" fmla="*/ 45 h 58"/>
                    <a:gd name="T16" fmla="*/ 45 w 58"/>
                    <a:gd name="T17" fmla="*/ 58 h 58"/>
                    <a:gd name="T18" fmla="*/ 13 w 58"/>
                    <a:gd name="T19" fmla="*/ 10 h 58"/>
                    <a:gd name="T20" fmla="*/ 10 w 58"/>
                    <a:gd name="T21" fmla="*/ 13 h 58"/>
                    <a:gd name="T22" fmla="*/ 10 w 58"/>
                    <a:gd name="T23" fmla="*/ 45 h 58"/>
                    <a:gd name="T24" fmla="*/ 13 w 58"/>
                    <a:gd name="T25" fmla="*/ 48 h 58"/>
                    <a:gd name="T26" fmla="*/ 45 w 58"/>
                    <a:gd name="T27" fmla="*/ 48 h 58"/>
                    <a:gd name="T28" fmla="*/ 48 w 58"/>
                    <a:gd name="T29" fmla="*/ 45 h 58"/>
                    <a:gd name="T30" fmla="*/ 48 w 58"/>
                    <a:gd name="T31" fmla="*/ 13 h 58"/>
                    <a:gd name="T32" fmla="*/ 45 w 58"/>
                    <a:gd name="T33" fmla="*/ 10 h 58"/>
                    <a:gd name="T34" fmla="*/ 13 w 58"/>
                    <a:gd name="T35"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58">
                      <a:moveTo>
                        <a:pt x="45" y="58"/>
                      </a:moveTo>
                      <a:cubicBezTo>
                        <a:pt x="13" y="58"/>
                        <a:pt x="13" y="58"/>
                        <a:pt x="13" y="58"/>
                      </a:cubicBezTo>
                      <a:cubicBezTo>
                        <a:pt x="6" y="58"/>
                        <a:pt x="0" y="52"/>
                        <a:pt x="0" y="45"/>
                      </a:cubicBezTo>
                      <a:cubicBezTo>
                        <a:pt x="0" y="13"/>
                        <a:pt x="0" y="13"/>
                        <a:pt x="0" y="13"/>
                      </a:cubicBezTo>
                      <a:cubicBezTo>
                        <a:pt x="0" y="6"/>
                        <a:pt x="6" y="0"/>
                        <a:pt x="13" y="0"/>
                      </a:cubicBezTo>
                      <a:cubicBezTo>
                        <a:pt x="45" y="0"/>
                        <a:pt x="45" y="0"/>
                        <a:pt x="45" y="0"/>
                      </a:cubicBezTo>
                      <a:cubicBezTo>
                        <a:pt x="52" y="0"/>
                        <a:pt x="58" y="6"/>
                        <a:pt x="58" y="13"/>
                      </a:cubicBezTo>
                      <a:cubicBezTo>
                        <a:pt x="58" y="45"/>
                        <a:pt x="58" y="45"/>
                        <a:pt x="58" y="45"/>
                      </a:cubicBezTo>
                      <a:cubicBezTo>
                        <a:pt x="58" y="52"/>
                        <a:pt x="52" y="58"/>
                        <a:pt x="45" y="58"/>
                      </a:cubicBezTo>
                      <a:close/>
                      <a:moveTo>
                        <a:pt x="13" y="10"/>
                      </a:moveTo>
                      <a:cubicBezTo>
                        <a:pt x="11" y="10"/>
                        <a:pt x="10" y="11"/>
                        <a:pt x="10" y="13"/>
                      </a:cubicBezTo>
                      <a:cubicBezTo>
                        <a:pt x="10" y="45"/>
                        <a:pt x="10" y="45"/>
                        <a:pt x="10" y="45"/>
                      </a:cubicBezTo>
                      <a:cubicBezTo>
                        <a:pt x="10" y="47"/>
                        <a:pt x="11" y="48"/>
                        <a:pt x="13" y="48"/>
                      </a:cubicBezTo>
                      <a:cubicBezTo>
                        <a:pt x="45" y="48"/>
                        <a:pt x="45" y="48"/>
                        <a:pt x="45" y="48"/>
                      </a:cubicBezTo>
                      <a:cubicBezTo>
                        <a:pt x="47" y="48"/>
                        <a:pt x="48" y="47"/>
                        <a:pt x="48" y="45"/>
                      </a:cubicBezTo>
                      <a:cubicBezTo>
                        <a:pt x="48" y="13"/>
                        <a:pt x="48" y="13"/>
                        <a:pt x="48" y="13"/>
                      </a:cubicBezTo>
                      <a:cubicBezTo>
                        <a:pt x="48" y="11"/>
                        <a:pt x="47" y="10"/>
                        <a:pt x="45" y="10"/>
                      </a:cubicBezTo>
                      <a:lnTo>
                        <a:pt x="13"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9" name="Freeform 142"/>
                <p:cNvSpPr>
                  <a:spLocks noEditPoints="1"/>
                </p:cNvSpPr>
                <p:nvPr/>
              </p:nvSpPr>
              <p:spPr bwMode="auto">
                <a:xfrm>
                  <a:off x="1431294" y="3367109"/>
                  <a:ext cx="97073" cy="97073"/>
                </a:xfrm>
                <a:custGeom>
                  <a:avLst/>
                  <a:gdLst>
                    <a:gd name="T0" fmla="*/ 45 w 58"/>
                    <a:gd name="T1" fmla="*/ 58 h 58"/>
                    <a:gd name="T2" fmla="*/ 13 w 58"/>
                    <a:gd name="T3" fmla="*/ 58 h 58"/>
                    <a:gd name="T4" fmla="*/ 0 w 58"/>
                    <a:gd name="T5" fmla="*/ 45 h 58"/>
                    <a:gd name="T6" fmla="*/ 0 w 58"/>
                    <a:gd name="T7" fmla="*/ 13 h 58"/>
                    <a:gd name="T8" fmla="*/ 13 w 58"/>
                    <a:gd name="T9" fmla="*/ 0 h 58"/>
                    <a:gd name="T10" fmla="*/ 45 w 58"/>
                    <a:gd name="T11" fmla="*/ 0 h 58"/>
                    <a:gd name="T12" fmla="*/ 58 w 58"/>
                    <a:gd name="T13" fmla="*/ 13 h 58"/>
                    <a:gd name="T14" fmla="*/ 58 w 58"/>
                    <a:gd name="T15" fmla="*/ 45 h 58"/>
                    <a:gd name="T16" fmla="*/ 45 w 58"/>
                    <a:gd name="T17" fmla="*/ 58 h 58"/>
                    <a:gd name="T18" fmla="*/ 13 w 58"/>
                    <a:gd name="T19" fmla="*/ 10 h 58"/>
                    <a:gd name="T20" fmla="*/ 10 w 58"/>
                    <a:gd name="T21" fmla="*/ 13 h 58"/>
                    <a:gd name="T22" fmla="*/ 10 w 58"/>
                    <a:gd name="T23" fmla="*/ 45 h 58"/>
                    <a:gd name="T24" fmla="*/ 13 w 58"/>
                    <a:gd name="T25" fmla="*/ 48 h 58"/>
                    <a:gd name="T26" fmla="*/ 45 w 58"/>
                    <a:gd name="T27" fmla="*/ 48 h 58"/>
                    <a:gd name="T28" fmla="*/ 48 w 58"/>
                    <a:gd name="T29" fmla="*/ 45 h 58"/>
                    <a:gd name="T30" fmla="*/ 48 w 58"/>
                    <a:gd name="T31" fmla="*/ 13 h 58"/>
                    <a:gd name="T32" fmla="*/ 45 w 58"/>
                    <a:gd name="T33" fmla="*/ 10 h 58"/>
                    <a:gd name="T34" fmla="*/ 13 w 58"/>
                    <a:gd name="T35"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58">
                      <a:moveTo>
                        <a:pt x="45" y="58"/>
                      </a:moveTo>
                      <a:cubicBezTo>
                        <a:pt x="13" y="58"/>
                        <a:pt x="13" y="58"/>
                        <a:pt x="13" y="58"/>
                      </a:cubicBezTo>
                      <a:cubicBezTo>
                        <a:pt x="6" y="58"/>
                        <a:pt x="0" y="52"/>
                        <a:pt x="0" y="45"/>
                      </a:cubicBezTo>
                      <a:cubicBezTo>
                        <a:pt x="0" y="13"/>
                        <a:pt x="0" y="13"/>
                        <a:pt x="0" y="13"/>
                      </a:cubicBezTo>
                      <a:cubicBezTo>
                        <a:pt x="0" y="6"/>
                        <a:pt x="6" y="0"/>
                        <a:pt x="13" y="0"/>
                      </a:cubicBezTo>
                      <a:cubicBezTo>
                        <a:pt x="45" y="0"/>
                        <a:pt x="45" y="0"/>
                        <a:pt x="45" y="0"/>
                      </a:cubicBezTo>
                      <a:cubicBezTo>
                        <a:pt x="52" y="0"/>
                        <a:pt x="58" y="6"/>
                        <a:pt x="58" y="13"/>
                      </a:cubicBezTo>
                      <a:cubicBezTo>
                        <a:pt x="58" y="45"/>
                        <a:pt x="58" y="45"/>
                        <a:pt x="58" y="45"/>
                      </a:cubicBezTo>
                      <a:cubicBezTo>
                        <a:pt x="58" y="52"/>
                        <a:pt x="52" y="58"/>
                        <a:pt x="45" y="58"/>
                      </a:cubicBezTo>
                      <a:close/>
                      <a:moveTo>
                        <a:pt x="13" y="10"/>
                      </a:moveTo>
                      <a:cubicBezTo>
                        <a:pt x="11" y="10"/>
                        <a:pt x="10" y="11"/>
                        <a:pt x="10" y="13"/>
                      </a:cubicBezTo>
                      <a:cubicBezTo>
                        <a:pt x="10" y="45"/>
                        <a:pt x="10" y="45"/>
                        <a:pt x="10" y="45"/>
                      </a:cubicBezTo>
                      <a:cubicBezTo>
                        <a:pt x="10" y="47"/>
                        <a:pt x="11" y="48"/>
                        <a:pt x="13" y="48"/>
                      </a:cubicBezTo>
                      <a:cubicBezTo>
                        <a:pt x="45" y="48"/>
                        <a:pt x="45" y="48"/>
                        <a:pt x="45" y="48"/>
                      </a:cubicBezTo>
                      <a:cubicBezTo>
                        <a:pt x="47" y="48"/>
                        <a:pt x="48" y="47"/>
                        <a:pt x="48" y="45"/>
                      </a:cubicBezTo>
                      <a:cubicBezTo>
                        <a:pt x="48" y="13"/>
                        <a:pt x="48" y="13"/>
                        <a:pt x="48" y="13"/>
                      </a:cubicBezTo>
                      <a:cubicBezTo>
                        <a:pt x="48" y="11"/>
                        <a:pt x="47" y="10"/>
                        <a:pt x="45" y="10"/>
                      </a:cubicBezTo>
                      <a:lnTo>
                        <a:pt x="13"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20" name="Freeform 143"/>
                <p:cNvSpPr>
                  <a:spLocks noEditPoints="1"/>
                </p:cNvSpPr>
                <p:nvPr/>
              </p:nvSpPr>
              <p:spPr bwMode="auto">
                <a:xfrm>
                  <a:off x="1431294" y="3474102"/>
                  <a:ext cx="97073" cy="97073"/>
                </a:xfrm>
                <a:custGeom>
                  <a:avLst/>
                  <a:gdLst>
                    <a:gd name="T0" fmla="*/ 45 w 58"/>
                    <a:gd name="T1" fmla="*/ 58 h 58"/>
                    <a:gd name="T2" fmla="*/ 13 w 58"/>
                    <a:gd name="T3" fmla="*/ 58 h 58"/>
                    <a:gd name="T4" fmla="*/ 0 w 58"/>
                    <a:gd name="T5" fmla="*/ 45 h 58"/>
                    <a:gd name="T6" fmla="*/ 0 w 58"/>
                    <a:gd name="T7" fmla="*/ 13 h 58"/>
                    <a:gd name="T8" fmla="*/ 13 w 58"/>
                    <a:gd name="T9" fmla="*/ 0 h 58"/>
                    <a:gd name="T10" fmla="*/ 45 w 58"/>
                    <a:gd name="T11" fmla="*/ 0 h 58"/>
                    <a:gd name="T12" fmla="*/ 58 w 58"/>
                    <a:gd name="T13" fmla="*/ 13 h 58"/>
                    <a:gd name="T14" fmla="*/ 58 w 58"/>
                    <a:gd name="T15" fmla="*/ 45 h 58"/>
                    <a:gd name="T16" fmla="*/ 45 w 58"/>
                    <a:gd name="T17" fmla="*/ 58 h 58"/>
                    <a:gd name="T18" fmla="*/ 13 w 58"/>
                    <a:gd name="T19" fmla="*/ 10 h 58"/>
                    <a:gd name="T20" fmla="*/ 10 w 58"/>
                    <a:gd name="T21" fmla="*/ 13 h 58"/>
                    <a:gd name="T22" fmla="*/ 10 w 58"/>
                    <a:gd name="T23" fmla="*/ 45 h 58"/>
                    <a:gd name="T24" fmla="*/ 13 w 58"/>
                    <a:gd name="T25" fmla="*/ 48 h 58"/>
                    <a:gd name="T26" fmla="*/ 45 w 58"/>
                    <a:gd name="T27" fmla="*/ 48 h 58"/>
                    <a:gd name="T28" fmla="*/ 48 w 58"/>
                    <a:gd name="T29" fmla="*/ 45 h 58"/>
                    <a:gd name="T30" fmla="*/ 48 w 58"/>
                    <a:gd name="T31" fmla="*/ 13 h 58"/>
                    <a:gd name="T32" fmla="*/ 45 w 58"/>
                    <a:gd name="T33" fmla="*/ 10 h 58"/>
                    <a:gd name="T34" fmla="*/ 13 w 58"/>
                    <a:gd name="T35"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58">
                      <a:moveTo>
                        <a:pt x="45" y="58"/>
                      </a:moveTo>
                      <a:cubicBezTo>
                        <a:pt x="13" y="58"/>
                        <a:pt x="13" y="58"/>
                        <a:pt x="13" y="58"/>
                      </a:cubicBezTo>
                      <a:cubicBezTo>
                        <a:pt x="6" y="58"/>
                        <a:pt x="0" y="52"/>
                        <a:pt x="0" y="45"/>
                      </a:cubicBezTo>
                      <a:cubicBezTo>
                        <a:pt x="0" y="13"/>
                        <a:pt x="0" y="13"/>
                        <a:pt x="0" y="13"/>
                      </a:cubicBezTo>
                      <a:cubicBezTo>
                        <a:pt x="0" y="6"/>
                        <a:pt x="6" y="0"/>
                        <a:pt x="13" y="0"/>
                      </a:cubicBezTo>
                      <a:cubicBezTo>
                        <a:pt x="45" y="0"/>
                        <a:pt x="45" y="0"/>
                        <a:pt x="45" y="0"/>
                      </a:cubicBezTo>
                      <a:cubicBezTo>
                        <a:pt x="52" y="0"/>
                        <a:pt x="58" y="6"/>
                        <a:pt x="58" y="13"/>
                      </a:cubicBezTo>
                      <a:cubicBezTo>
                        <a:pt x="58" y="45"/>
                        <a:pt x="58" y="45"/>
                        <a:pt x="58" y="45"/>
                      </a:cubicBezTo>
                      <a:cubicBezTo>
                        <a:pt x="58" y="52"/>
                        <a:pt x="52" y="58"/>
                        <a:pt x="45" y="58"/>
                      </a:cubicBezTo>
                      <a:close/>
                      <a:moveTo>
                        <a:pt x="13" y="10"/>
                      </a:moveTo>
                      <a:cubicBezTo>
                        <a:pt x="11" y="10"/>
                        <a:pt x="10" y="11"/>
                        <a:pt x="10" y="13"/>
                      </a:cubicBezTo>
                      <a:cubicBezTo>
                        <a:pt x="10" y="45"/>
                        <a:pt x="10" y="45"/>
                        <a:pt x="10" y="45"/>
                      </a:cubicBezTo>
                      <a:cubicBezTo>
                        <a:pt x="10" y="47"/>
                        <a:pt x="11" y="48"/>
                        <a:pt x="13" y="48"/>
                      </a:cubicBezTo>
                      <a:cubicBezTo>
                        <a:pt x="45" y="48"/>
                        <a:pt x="45" y="48"/>
                        <a:pt x="45" y="48"/>
                      </a:cubicBezTo>
                      <a:cubicBezTo>
                        <a:pt x="47" y="48"/>
                        <a:pt x="48" y="47"/>
                        <a:pt x="48" y="45"/>
                      </a:cubicBezTo>
                      <a:cubicBezTo>
                        <a:pt x="48" y="13"/>
                        <a:pt x="48" y="13"/>
                        <a:pt x="48" y="13"/>
                      </a:cubicBezTo>
                      <a:cubicBezTo>
                        <a:pt x="48" y="11"/>
                        <a:pt x="47" y="10"/>
                        <a:pt x="45" y="10"/>
                      </a:cubicBezTo>
                      <a:lnTo>
                        <a:pt x="13"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grpSp>
      <p:sp>
        <p:nvSpPr>
          <p:cNvPr id="142" name="Freeform 473"/>
          <p:cNvSpPr>
            <a:spLocks noEditPoints="1"/>
          </p:cNvSpPr>
          <p:nvPr/>
        </p:nvSpPr>
        <p:spPr bwMode="auto">
          <a:xfrm>
            <a:off x="5566743" y="1311275"/>
            <a:ext cx="515814" cy="179867"/>
          </a:xfrm>
          <a:custGeom>
            <a:avLst/>
            <a:gdLst/>
            <a:ahLst/>
            <a:cxnLst>
              <a:cxn ang="0">
                <a:pos x="3744" y="1658"/>
              </a:cxn>
              <a:cxn ang="0">
                <a:pos x="1464" y="1486"/>
              </a:cxn>
              <a:cxn ang="0">
                <a:pos x="1256" y="1686"/>
              </a:cxn>
              <a:cxn ang="0">
                <a:pos x="970" y="1710"/>
              </a:cxn>
              <a:cxn ang="0">
                <a:pos x="702" y="1514"/>
              </a:cxn>
              <a:cxn ang="0">
                <a:pos x="214" y="1398"/>
              </a:cxn>
              <a:cxn ang="0">
                <a:pos x="28" y="1182"/>
              </a:cxn>
              <a:cxn ang="0">
                <a:pos x="22" y="850"/>
              </a:cxn>
              <a:cxn ang="0">
                <a:pos x="92" y="622"/>
              </a:cxn>
              <a:cxn ang="0">
                <a:pos x="88" y="444"/>
              </a:cxn>
              <a:cxn ang="0">
                <a:pos x="274" y="354"/>
              </a:cxn>
              <a:cxn ang="0">
                <a:pos x="814" y="258"/>
              </a:cxn>
              <a:cxn ang="0">
                <a:pos x="1448" y="40"/>
              </a:cxn>
              <a:cxn ang="0">
                <a:pos x="2448" y="8"/>
              </a:cxn>
              <a:cxn ang="0">
                <a:pos x="3064" y="160"/>
              </a:cxn>
              <a:cxn ang="0">
                <a:pos x="3562" y="480"/>
              </a:cxn>
              <a:cxn ang="0">
                <a:pos x="4596" y="694"/>
              </a:cxn>
              <a:cxn ang="0">
                <a:pos x="4894" y="898"/>
              </a:cxn>
              <a:cxn ang="0">
                <a:pos x="4934" y="1208"/>
              </a:cxn>
              <a:cxn ang="0">
                <a:pos x="4828" y="1422"/>
              </a:cxn>
              <a:cxn ang="0">
                <a:pos x="4318" y="1486"/>
              </a:cxn>
              <a:cxn ang="0">
                <a:pos x="4178" y="1650"/>
              </a:cxn>
              <a:cxn ang="0">
                <a:pos x="3956" y="1012"/>
              </a:cxn>
              <a:cxn ang="0">
                <a:pos x="3740" y="1120"/>
              </a:cxn>
              <a:cxn ang="0">
                <a:pos x="3678" y="1350"/>
              </a:cxn>
              <a:cxn ang="0">
                <a:pos x="3770" y="1532"/>
              </a:cxn>
              <a:cxn ang="0">
                <a:pos x="3956" y="1608"/>
              </a:cxn>
              <a:cxn ang="0">
                <a:pos x="4156" y="1516"/>
              </a:cxn>
              <a:cxn ang="0">
                <a:pos x="4234" y="1310"/>
              </a:cxn>
              <a:cxn ang="0">
                <a:pos x="4132" y="1080"/>
              </a:cxn>
              <a:cxn ang="0">
                <a:pos x="1078" y="1012"/>
              </a:cxn>
              <a:cxn ang="0">
                <a:pos x="814" y="1144"/>
              </a:cxn>
              <a:cxn ang="0">
                <a:pos x="766" y="1368"/>
              </a:cxn>
              <a:cxn ang="0">
                <a:pos x="934" y="1576"/>
              </a:cxn>
              <a:cxn ang="0">
                <a:pos x="1178" y="1592"/>
              </a:cxn>
              <a:cxn ang="0">
                <a:pos x="1362" y="1434"/>
              </a:cxn>
              <a:cxn ang="0">
                <a:pos x="1386" y="1250"/>
              </a:cxn>
              <a:cxn ang="0">
                <a:pos x="1200" y="1036"/>
              </a:cxn>
              <a:cxn ang="0">
                <a:pos x="4694" y="1346"/>
              </a:cxn>
              <a:cxn ang="0">
                <a:pos x="4806" y="1254"/>
              </a:cxn>
              <a:cxn ang="0">
                <a:pos x="4798" y="960"/>
              </a:cxn>
              <a:cxn ang="0">
                <a:pos x="4428" y="760"/>
              </a:cxn>
              <a:cxn ang="0">
                <a:pos x="3514" y="590"/>
              </a:cxn>
              <a:cxn ang="0">
                <a:pos x="3106" y="310"/>
              </a:cxn>
              <a:cxn ang="0">
                <a:pos x="2516" y="128"/>
              </a:cxn>
              <a:cxn ang="0">
                <a:pos x="1558" y="144"/>
              </a:cxn>
              <a:cxn ang="0">
                <a:pos x="920" y="336"/>
              </a:cxn>
              <a:cxn ang="0">
                <a:pos x="372" y="464"/>
              </a:cxn>
              <a:cxn ang="0">
                <a:pos x="186" y="502"/>
              </a:cxn>
              <a:cxn ang="0">
                <a:pos x="204" y="708"/>
              </a:cxn>
              <a:cxn ang="0">
                <a:pos x="122" y="936"/>
              </a:cxn>
              <a:cxn ang="0">
                <a:pos x="154" y="1184"/>
              </a:cxn>
              <a:cxn ang="0">
                <a:pos x="576" y="1200"/>
              </a:cxn>
              <a:cxn ang="0">
                <a:pos x="864" y="864"/>
              </a:cxn>
              <a:cxn ang="0">
                <a:pos x="1144" y="838"/>
              </a:cxn>
              <a:cxn ang="0">
                <a:pos x="1448" y="1050"/>
              </a:cxn>
              <a:cxn ang="0">
                <a:pos x="1532" y="1334"/>
              </a:cxn>
              <a:cxn ang="0">
                <a:pos x="3494" y="1206"/>
              </a:cxn>
              <a:cxn ang="0">
                <a:pos x="3776" y="868"/>
              </a:cxn>
              <a:cxn ang="0">
                <a:pos x="3992" y="828"/>
              </a:cxn>
              <a:cxn ang="0">
                <a:pos x="4274" y="944"/>
              </a:cxn>
              <a:cxn ang="0">
                <a:pos x="4450" y="1282"/>
              </a:cxn>
            </a:cxnLst>
            <a:rect l="0" t="0" r="r" b="b"/>
            <a:pathLst>
              <a:path w="4944" h="1724">
                <a:moveTo>
                  <a:pt x="3956" y="1724"/>
                </a:moveTo>
                <a:lnTo>
                  <a:pt x="3956" y="1724"/>
                </a:lnTo>
                <a:lnTo>
                  <a:pt x="3928" y="1722"/>
                </a:lnTo>
                <a:lnTo>
                  <a:pt x="3900" y="1720"/>
                </a:lnTo>
                <a:lnTo>
                  <a:pt x="3872" y="1714"/>
                </a:lnTo>
                <a:lnTo>
                  <a:pt x="3844" y="1706"/>
                </a:lnTo>
                <a:lnTo>
                  <a:pt x="3818" y="1698"/>
                </a:lnTo>
                <a:lnTo>
                  <a:pt x="3792" y="1686"/>
                </a:lnTo>
                <a:lnTo>
                  <a:pt x="3768" y="1674"/>
                </a:lnTo>
                <a:lnTo>
                  <a:pt x="3744" y="1658"/>
                </a:lnTo>
                <a:lnTo>
                  <a:pt x="3722" y="1642"/>
                </a:lnTo>
                <a:lnTo>
                  <a:pt x="3700" y="1624"/>
                </a:lnTo>
                <a:lnTo>
                  <a:pt x="3680" y="1604"/>
                </a:lnTo>
                <a:lnTo>
                  <a:pt x="3662" y="1584"/>
                </a:lnTo>
                <a:lnTo>
                  <a:pt x="3644" y="1562"/>
                </a:lnTo>
                <a:lnTo>
                  <a:pt x="3628" y="1538"/>
                </a:lnTo>
                <a:lnTo>
                  <a:pt x="3614" y="1512"/>
                </a:lnTo>
                <a:lnTo>
                  <a:pt x="3600" y="1486"/>
                </a:lnTo>
                <a:lnTo>
                  <a:pt x="1464" y="1486"/>
                </a:lnTo>
                <a:lnTo>
                  <a:pt x="1464" y="1486"/>
                </a:lnTo>
                <a:lnTo>
                  <a:pt x="1450" y="1512"/>
                </a:lnTo>
                <a:lnTo>
                  <a:pt x="1436" y="1538"/>
                </a:lnTo>
                <a:lnTo>
                  <a:pt x="1418" y="1562"/>
                </a:lnTo>
                <a:lnTo>
                  <a:pt x="1398" y="1584"/>
                </a:lnTo>
                <a:lnTo>
                  <a:pt x="1378" y="1604"/>
                </a:lnTo>
                <a:lnTo>
                  <a:pt x="1356" y="1624"/>
                </a:lnTo>
                <a:lnTo>
                  <a:pt x="1332" y="1642"/>
                </a:lnTo>
                <a:lnTo>
                  <a:pt x="1308" y="1658"/>
                </a:lnTo>
                <a:lnTo>
                  <a:pt x="1282" y="1674"/>
                </a:lnTo>
                <a:lnTo>
                  <a:pt x="1256" y="1686"/>
                </a:lnTo>
                <a:lnTo>
                  <a:pt x="1228" y="1698"/>
                </a:lnTo>
                <a:lnTo>
                  <a:pt x="1198" y="1706"/>
                </a:lnTo>
                <a:lnTo>
                  <a:pt x="1170" y="1714"/>
                </a:lnTo>
                <a:lnTo>
                  <a:pt x="1140" y="1720"/>
                </a:lnTo>
                <a:lnTo>
                  <a:pt x="1108" y="1722"/>
                </a:lnTo>
                <a:lnTo>
                  <a:pt x="1078" y="1724"/>
                </a:lnTo>
                <a:lnTo>
                  <a:pt x="1078" y="1724"/>
                </a:lnTo>
                <a:lnTo>
                  <a:pt x="1040" y="1722"/>
                </a:lnTo>
                <a:lnTo>
                  <a:pt x="1004" y="1718"/>
                </a:lnTo>
                <a:lnTo>
                  <a:pt x="970" y="1710"/>
                </a:lnTo>
                <a:lnTo>
                  <a:pt x="936" y="1702"/>
                </a:lnTo>
                <a:lnTo>
                  <a:pt x="904" y="1688"/>
                </a:lnTo>
                <a:lnTo>
                  <a:pt x="872" y="1674"/>
                </a:lnTo>
                <a:lnTo>
                  <a:pt x="842" y="1658"/>
                </a:lnTo>
                <a:lnTo>
                  <a:pt x="814" y="1638"/>
                </a:lnTo>
                <a:lnTo>
                  <a:pt x="788" y="1616"/>
                </a:lnTo>
                <a:lnTo>
                  <a:pt x="764" y="1594"/>
                </a:lnTo>
                <a:lnTo>
                  <a:pt x="740" y="1568"/>
                </a:lnTo>
                <a:lnTo>
                  <a:pt x="720" y="1542"/>
                </a:lnTo>
                <a:lnTo>
                  <a:pt x="702" y="1514"/>
                </a:lnTo>
                <a:lnTo>
                  <a:pt x="686" y="1482"/>
                </a:lnTo>
                <a:lnTo>
                  <a:pt x="672" y="1452"/>
                </a:lnTo>
                <a:lnTo>
                  <a:pt x="662" y="1418"/>
                </a:lnTo>
                <a:lnTo>
                  <a:pt x="612" y="1414"/>
                </a:lnTo>
                <a:lnTo>
                  <a:pt x="612" y="1414"/>
                </a:lnTo>
                <a:lnTo>
                  <a:pt x="522" y="1408"/>
                </a:lnTo>
                <a:lnTo>
                  <a:pt x="434" y="1402"/>
                </a:lnTo>
                <a:lnTo>
                  <a:pt x="346" y="1400"/>
                </a:lnTo>
                <a:lnTo>
                  <a:pt x="256" y="1398"/>
                </a:lnTo>
                <a:lnTo>
                  <a:pt x="214" y="1398"/>
                </a:lnTo>
                <a:lnTo>
                  <a:pt x="198" y="1342"/>
                </a:lnTo>
                <a:lnTo>
                  <a:pt x="116" y="1328"/>
                </a:lnTo>
                <a:lnTo>
                  <a:pt x="102" y="1314"/>
                </a:lnTo>
                <a:lnTo>
                  <a:pt x="102" y="1314"/>
                </a:lnTo>
                <a:lnTo>
                  <a:pt x="96" y="1306"/>
                </a:lnTo>
                <a:lnTo>
                  <a:pt x="80" y="1286"/>
                </a:lnTo>
                <a:lnTo>
                  <a:pt x="60" y="1252"/>
                </a:lnTo>
                <a:lnTo>
                  <a:pt x="50" y="1232"/>
                </a:lnTo>
                <a:lnTo>
                  <a:pt x="38" y="1208"/>
                </a:lnTo>
                <a:lnTo>
                  <a:pt x="28" y="1182"/>
                </a:lnTo>
                <a:lnTo>
                  <a:pt x="20" y="1152"/>
                </a:lnTo>
                <a:lnTo>
                  <a:pt x="12" y="1120"/>
                </a:lnTo>
                <a:lnTo>
                  <a:pt x="6" y="1086"/>
                </a:lnTo>
                <a:lnTo>
                  <a:pt x="2" y="1048"/>
                </a:lnTo>
                <a:lnTo>
                  <a:pt x="0" y="1008"/>
                </a:lnTo>
                <a:lnTo>
                  <a:pt x="2" y="964"/>
                </a:lnTo>
                <a:lnTo>
                  <a:pt x="8" y="918"/>
                </a:lnTo>
                <a:lnTo>
                  <a:pt x="8" y="918"/>
                </a:lnTo>
                <a:lnTo>
                  <a:pt x="14" y="882"/>
                </a:lnTo>
                <a:lnTo>
                  <a:pt x="22" y="850"/>
                </a:lnTo>
                <a:lnTo>
                  <a:pt x="30" y="822"/>
                </a:lnTo>
                <a:lnTo>
                  <a:pt x="40" y="798"/>
                </a:lnTo>
                <a:lnTo>
                  <a:pt x="56" y="756"/>
                </a:lnTo>
                <a:lnTo>
                  <a:pt x="72" y="724"/>
                </a:lnTo>
                <a:lnTo>
                  <a:pt x="72" y="724"/>
                </a:lnTo>
                <a:lnTo>
                  <a:pt x="88" y="694"/>
                </a:lnTo>
                <a:lnTo>
                  <a:pt x="92" y="680"/>
                </a:lnTo>
                <a:lnTo>
                  <a:pt x="94" y="664"/>
                </a:lnTo>
                <a:lnTo>
                  <a:pt x="94" y="646"/>
                </a:lnTo>
                <a:lnTo>
                  <a:pt x="92" y="622"/>
                </a:lnTo>
                <a:lnTo>
                  <a:pt x="86" y="596"/>
                </a:lnTo>
                <a:lnTo>
                  <a:pt x="76" y="562"/>
                </a:lnTo>
                <a:lnTo>
                  <a:pt x="76" y="562"/>
                </a:lnTo>
                <a:lnTo>
                  <a:pt x="72" y="540"/>
                </a:lnTo>
                <a:lnTo>
                  <a:pt x="68" y="520"/>
                </a:lnTo>
                <a:lnTo>
                  <a:pt x="70" y="502"/>
                </a:lnTo>
                <a:lnTo>
                  <a:pt x="72" y="484"/>
                </a:lnTo>
                <a:lnTo>
                  <a:pt x="76" y="470"/>
                </a:lnTo>
                <a:lnTo>
                  <a:pt x="82" y="456"/>
                </a:lnTo>
                <a:lnTo>
                  <a:pt x="88" y="444"/>
                </a:lnTo>
                <a:lnTo>
                  <a:pt x="94" y="434"/>
                </a:lnTo>
                <a:lnTo>
                  <a:pt x="94" y="434"/>
                </a:lnTo>
                <a:lnTo>
                  <a:pt x="102" y="424"/>
                </a:lnTo>
                <a:lnTo>
                  <a:pt x="112" y="414"/>
                </a:lnTo>
                <a:lnTo>
                  <a:pt x="124" y="406"/>
                </a:lnTo>
                <a:lnTo>
                  <a:pt x="136" y="396"/>
                </a:lnTo>
                <a:lnTo>
                  <a:pt x="162" y="382"/>
                </a:lnTo>
                <a:lnTo>
                  <a:pt x="194" y="370"/>
                </a:lnTo>
                <a:lnTo>
                  <a:pt x="232" y="360"/>
                </a:lnTo>
                <a:lnTo>
                  <a:pt x="274" y="354"/>
                </a:lnTo>
                <a:lnTo>
                  <a:pt x="320" y="350"/>
                </a:lnTo>
                <a:lnTo>
                  <a:pt x="372" y="348"/>
                </a:lnTo>
                <a:lnTo>
                  <a:pt x="372" y="348"/>
                </a:lnTo>
                <a:lnTo>
                  <a:pt x="436" y="350"/>
                </a:lnTo>
                <a:lnTo>
                  <a:pt x="496" y="354"/>
                </a:lnTo>
                <a:lnTo>
                  <a:pt x="544" y="360"/>
                </a:lnTo>
                <a:lnTo>
                  <a:pt x="580" y="364"/>
                </a:lnTo>
                <a:lnTo>
                  <a:pt x="580" y="364"/>
                </a:lnTo>
                <a:lnTo>
                  <a:pt x="712" y="302"/>
                </a:lnTo>
                <a:lnTo>
                  <a:pt x="814" y="258"/>
                </a:lnTo>
                <a:lnTo>
                  <a:pt x="924" y="208"/>
                </a:lnTo>
                <a:lnTo>
                  <a:pt x="1040" y="160"/>
                </a:lnTo>
                <a:lnTo>
                  <a:pt x="1150" y="116"/>
                </a:lnTo>
                <a:lnTo>
                  <a:pt x="1200" y="96"/>
                </a:lnTo>
                <a:lnTo>
                  <a:pt x="1246" y="80"/>
                </a:lnTo>
                <a:lnTo>
                  <a:pt x="1286" y="68"/>
                </a:lnTo>
                <a:lnTo>
                  <a:pt x="1320" y="60"/>
                </a:lnTo>
                <a:lnTo>
                  <a:pt x="1320" y="60"/>
                </a:lnTo>
                <a:lnTo>
                  <a:pt x="1372" y="50"/>
                </a:lnTo>
                <a:lnTo>
                  <a:pt x="1448" y="40"/>
                </a:lnTo>
                <a:lnTo>
                  <a:pt x="1540" y="30"/>
                </a:lnTo>
                <a:lnTo>
                  <a:pt x="1648" y="20"/>
                </a:lnTo>
                <a:lnTo>
                  <a:pt x="1768" y="12"/>
                </a:lnTo>
                <a:lnTo>
                  <a:pt x="1894" y="6"/>
                </a:lnTo>
                <a:lnTo>
                  <a:pt x="2026" y="0"/>
                </a:lnTo>
                <a:lnTo>
                  <a:pt x="2160" y="0"/>
                </a:lnTo>
                <a:lnTo>
                  <a:pt x="2160" y="0"/>
                </a:lnTo>
                <a:lnTo>
                  <a:pt x="2262" y="0"/>
                </a:lnTo>
                <a:lnTo>
                  <a:pt x="2358" y="2"/>
                </a:lnTo>
                <a:lnTo>
                  <a:pt x="2448" y="8"/>
                </a:lnTo>
                <a:lnTo>
                  <a:pt x="2532" y="14"/>
                </a:lnTo>
                <a:lnTo>
                  <a:pt x="2608" y="24"/>
                </a:lnTo>
                <a:lnTo>
                  <a:pt x="2680" y="34"/>
                </a:lnTo>
                <a:lnTo>
                  <a:pt x="2744" y="46"/>
                </a:lnTo>
                <a:lnTo>
                  <a:pt x="2800" y="60"/>
                </a:lnTo>
                <a:lnTo>
                  <a:pt x="2800" y="60"/>
                </a:lnTo>
                <a:lnTo>
                  <a:pt x="2868" y="80"/>
                </a:lnTo>
                <a:lnTo>
                  <a:pt x="2936" y="104"/>
                </a:lnTo>
                <a:lnTo>
                  <a:pt x="3000" y="132"/>
                </a:lnTo>
                <a:lnTo>
                  <a:pt x="3064" y="160"/>
                </a:lnTo>
                <a:lnTo>
                  <a:pt x="3124" y="190"/>
                </a:lnTo>
                <a:lnTo>
                  <a:pt x="3182" y="222"/>
                </a:lnTo>
                <a:lnTo>
                  <a:pt x="3238" y="254"/>
                </a:lnTo>
                <a:lnTo>
                  <a:pt x="3292" y="286"/>
                </a:lnTo>
                <a:lnTo>
                  <a:pt x="3340" y="316"/>
                </a:lnTo>
                <a:lnTo>
                  <a:pt x="3386" y="348"/>
                </a:lnTo>
                <a:lnTo>
                  <a:pt x="3464" y="404"/>
                </a:lnTo>
                <a:lnTo>
                  <a:pt x="3524" y="448"/>
                </a:lnTo>
                <a:lnTo>
                  <a:pt x="3562" y="480"/>
                </a:lnTo>
                <a:lnTo>
                  <a:pt x="3562" y="480"/>
                </a:lnTo>
                <a:lnTo>
                  <a:pt x="3642" y="490"/>
                </a:lnTo>
                <a:lnTo>
                  <a:pt x="3774" y="508"/>
                </a:lnTo>
                <a:lnTo>
                  <a:pt x="3940" y="536"/>
                </a:lnTo>
                <a:lnTo>
                  <a:pt x="4032" y="552"/>
                </a:lnTo>
                <a:lnTo>
                  <a:pt x="4128" y="572"/>
                </a:lnTo>
                <a:lnTo>
                  <a:pt x="4226" y="592"/>
                </a:lnTo>
                <a:lnTo>
                  <a:pt x="4322" y="614"/>
                </a:lnTo>
                <a:lnTo>
                  <a:pt x="4418" y="638"/>
                </a:lnTo>
                <a:lnTo>
                  <a:pt x="4510" y="664"/>
                </a:lnTo>
                <a:lnTo>
                  <a:pt x="4596" y="694"/>
                </a:lnTo>
                <a:lnTo>
                  <a:pt x="4674" y="724"/>
                </a:lnTo>
                <a:lnTo>
                  <a:pt x="4710" y="740"/>
                </a:lnTo>
                <a:lnTo>
                  <a:pt x="4744" y="756"/>
                </a:lnTo>
                <a:lnTo>
                  <a:pt x="4776" y="772"/>
                </a:lnTo>
                <a:lnTo>
                  <a:pt x="4804" y="788"/>
                </a:lnTo>
                <a:lnTo>
                  <a:pt x="4814" y="798"/>
                </a:lnTo>
                <a:lnTo>
                  <a:pt x="4814" y="798"/>
                </a:lnTo>
                <a:lnTo>
                  <a:pt x="4854" y="844"/>
                </a:lnTo>
                <a:lnTo>
                  <a:pt x="4874" y="870"/>
                </a:lnTo>
                <a:lnTo>
                  <a:pt x="4894" y="898"/>
                </a:lnTo>
                <a:lnTo>
                  <a:pt x="4912" y="926"/>
                </a:lnTo>
                <a:lnTo>
                  <a:pt x="4928" y="954"/>
                </a:lnTo>
                <a:lnTo>
                  <a:pt x="4938" y="982"/>
                </a:lnTo>
                <a:lnTo>
                  <a:pt x="4942" y="994"/>
                </a:lnTo>
                <a:lnTo>
                  <a:pt x="4944" y="1006"/>
                </a:lnTo>
                <a:lnTo>
                  <a:pt x="4944" y="1006"/>
                </a:lnTo>
                <a:lnTo>
                  <a:pt x="4944" y="1058"/>
                </a:lnTo>
                <a:lnTo>
                  <a:pt x="4942" y="1112"/>
                </a:lnTo>
                <a:lnTo>
                  <a:pt x="4938" y="1176"/>
                </a:lnTo>
                <a:lnTo>
                  <a:pt x="4934" y="1208"/>
                </a:lnTo>
                <a:lnTo>
                  <a:pt x="4926" y="1244"/>
                </a:lnTo>
                <a:lnTo>
                  <a:pt x="4918" y="1276"/>
                </a:lnTo>
                <a:lnTo>
                  <a:pt x="4908" y="1308"/>
                </a:lnTo>
                <a:lnTo>
                  <a:pt x="4896" y="1340"/>
                </a:lnTo>
                <a:lnTo>
                  <a:pt x="4880" y="1366"/>
                </a:lnTo>
                <a:lnTo>
                  <a:pt x="4872" y="1380"/>
                </a:lnTo>
                <a:lnTo>
                  <a:pt x="4862" y="1390"/>
                </a:lnTo>
                <a:lnTo>
                  <a:pt x="4852" y="1402"/>
                </a:lnTo>
                <a:lnTo>
                  <a:pt x="4842" y="1410"/>
                </a:lnTo>
                <a:lnTo>
                  <a:pt x="4828" y="1422"/>
                </a:lnTo>
                <a:lnTo>
                  <a:pt x="4810" y="1422"/>
                </a:lnTo>
                <a:lnTo>
                  <a:pt x="4810" y="1422"/>
                </a:lnTo>
                <a:lnTo>
                  <a:pt x="4802" y="1422"/>
                </a:lnTo>
                <a:lnTo>
                  <a:pt x="4782" y="1428"/>
                </a:lnTo>
                <a:lnTo>
                  <a:pt x="4772" y="1432"/>
                </a:lnTo>
                <a:lnTo>
                  <a:pt x="4760" y="1440"/>
                </a:lnTo>
                <a:lnTo>
                  <a:pt x="4750" y="1448"/>
                </a:lnTo>
                <a:lnTo>
                  <a:pt x="4742" y="1460"/>
                </a:lnTo>
                <a:lnTo>
                  <a:pt x="4724" y="1486"/>
                </a:lnTo>
                <a:lnTo>
                  <a:pt x="4318" y="1486"/>
                </a:lnTo>
                <a:lnTo>
                  <a:pt x="4322" y="1458"/>
                </a:lnTo>
                <a:lnTo>
                  <a:pt x="4322" y="1458"/>
                </a:lnTo>
                <a:lnTo>
                  <a:pt x="4310" y="1486"/>
                </a:lnTo>
                <a:lnTo>
                  <a:pt x="4296" y="1514"/>
                </a:lnTo>
                <a:lnTo>
                  <a:pt x="4280" y="1542"/>
                </a:lnTo>
                <a:lnTo>
                  <a:pt x="4262" y="1566"/>
                </a:lnTo>
                <a:lnTo>
                  <a:pt x="4244" y="1590"/>
                </a:lnTo>
                <a:lnTo>
                  <a:pt x="4222" y="1612"/>
                </a:lnTo>
                <a:lnTo>
                  <a:pt x="4200" y="1632"/>
                </a:lnTo>
                <a:lnTo>
                  <a:pt x="4178" y="1650"/>
                </a:lnTo>
                <a:lnTo>
                  <a:pt x="4152" y="1666"/>
                </a:lnTo>
                <a:lnTo>
                  <a:pt x="4128" y="1682"/>
                </a:lnTo>
                <a:lnTo>
                  <a:pt x="4100" y="1694"/>
                </a:lnTo>
                <a:lnTo>
                  <a:pt x="4072" y="1704"/>
                </a:lnTo>
                <a:lnTo>
                  <a:pt x="4044" y="1712"/>
                </a:lnTo>
                <a:lnTo>
                  <a:pt x="4016" y="1718"/>
                </a:lnTo>
                <a:lnTo>
                  <a:pt x="3986" y="1722"/>
                </a:lnTo>
                <a:lnTo>
                  <a:pt x="3956" y="1724"/>
                </a:lnTo>
                <a:lnTo>
                  <a:pt x="3956" y="1724"/>
                </a:lnTo>
                <a:close/>
                <a:moveTo>
                  <a:pt x="3956" y="1012"/>
                </a:moveTo>
                <a:lnTo>
                  <a:pt x="3956" y="1012"/>
                </a:lnTo>
                <a:lnTo>
                  <a:pt x="3928" y="1014"/>
                </a:lnTo>
                <a:lnTo>
                  <a:pt x="3900" y="1018"/>
                </a:lnTo>
                <a:lnTo>
                  <a:pt x="3872" y="1026"/>
                </a:lnTo>
                <a:lnTo>
                  <a:pt x="3848" y="1036"/>
                </a:lnTo>
                <a:lnTo>
                  <a:pt x="3822" y="1048"/>
                </a:lnTo>
                <a:lnTo>
                  <a:pt x="3800" y="1062"/>
                </a:lnTo>
                <a:lnTo>
                  <a:pt x="3778" y="1080"/>
                </a:lnTo>
                <a:lnTo>
                  <a:pt x="3758" y="1100"/>
                </a:lnTo>
                <a:lnTo>
                  <a:pt x="3740" y="1120"/>
                </a:lnTo>
                <a:lnTo>
                  <a:pt x="3724" y="1144"/>
                </a:lnTo>
                <a:lnTo>
                  <a:pt x="3710" y="1168"/>
                </a:lnTo>
                <a:lnTo>
                  <a:pt x="3698" y="1194"/>
                </a:lnTo>
                <a:lnTo>
                  <a:pt x="3688" y="1222"/>
                </a:lnTo>
                <a:lnTo>
                  <a:pt x="3682" y="1250"/>
                </a:lnTo>
                <a:lnTo>
                  <a:pt x="3678" y="1280"/>
                </a:lnTo>
                <a:lnTo>
                  <a:pt x="3676" y="1310"/>
                </a:lnTo>
                <a:lnTo>
                  <a:pt x="3676" y="1310"/>
                </a:lnTo>
                <a:lnTo>
                  <a:pt x="3676" y="1330"/>
                </a:lnTo>
                <a:lnTo>
                  <a:pt x="3678" y="1350"/>
                </a:lnTo>
                <a:lnTo>
                  <a:pt x="3682" y="1368"/>
                </a:lnTo>
                <a:lnTo>
                  <a:pt x="3688" y="1388"/>
                </a:lnTo>
                <a:lnTo>
                  <a:pt x="3688" y="1388"/>
                </a:lnTo>
                <a:lnTo>
                  <a:pt x="3694" y="1412"/>
                </a:lnTo>
                <a:lnTo>
                  <a:pt x="3704" y="1434"/>
                </a:lnTo>
                <a:lnTo>
                  <a:pt x="3714" y="1458"/>
                </a:lnTo>
                <a:lnTo>
                  <a:pt x="3726" y="1478"/>
                </a:lnTo>
                <a:lnTo>
                  <a:pt x="3740" y="1498"/>
                </a:lnTo>
                <a:lnTo>
                  <a:pt x="3754" y="1516"/>
                </a:lnTo>
                <a:lnTo>
                  <a:pt x="3770" y="1532"/>
                </a:lnTo>
                <a:lnTo>
                  <a:pt x="3786" y="1548"/>
                </a:lnTo>
                <a:lnTo>
                  <a:pt x="3806" y="1562"/>
                </a:lnTo>
                <a:lnTo>
                  <a:pt x="3824" y="1574"/>
                </a:lnTo>
                <a:lnTo>
                  <a:pt x="3844" y="1584"/>
                </a:lnTo>
                <a:lnTo>
                  <a:pt x="3866" y="1592"/>
                </a:lnTo>
                <a:lnTo>
                  <a:pt x="3886" y="1600"/>
                </a:lnTo>
                <a:lnTo>
                  <a:pt x="3910" y="1604"/>
                </a:lnTo>
                <a:lnTo>
                  <a:pt x="3932" y="1608"/>
                </a:lnTo>
                <a:lnTo>
                  <a:pt x="3956" y="1608"/>
                </a:lnTo>
                <a:lnTo>
                  <a:pt x="3956" y="1608"/>
                </a:lnTo>
                <a:lnTo>
                  <a:pt x="3980" y="1608"/>
                </a:lnTo>
                <a:lnTo>
                  <a:pt x="4002" y="1604"/>
                </a:lnTo>
                <a:lnTo>
                  <a:pt x="4024" y="1600"/>
                </a:lnTo>
                <a:lnTo>
                  <a:pt x="4046" y="1592"/>
                </a:lnTo>
                <a:lnTo>
                  <a:pt x="4066" y="1584"/>
                </a:lnTo>
                <a:lnTo>
                  <a:pt x="4086" y="1574"/>
                </a:lnTo>
                <a:lnTo>
                  <a:pt x="4106" y="1562"/>
                </a:lnTo>
                <a:lnTo>
                  <a:pt x="4124" y="1548"/>
                </a:lnTo>
                <a:lnTo>
                  <a:pt x="4140" y="1532"/>
                </a:lnTo>
                <a:lnTo>
                  <a:pt x="4156" y="1516"/>
                </a:lnTo>
                <a:lnTo>
                  <a:pt x="4172" y="1498"/>
                </a:lnTo>
                <a:lnTo>
                  <a:pt x="4184" y="1478"/>
                </a:lnTo>
                <a:lnTo>
                  <a:pt x="4196" y="1458"/>
                </a:lnTo>
                <a:lnTo>
                  <a:pt x="4208" y="1436"/>
                </a:lnTo>
                <a:lnTo>
                  <a:pt x="4216" y="1412"/>
                </a:lnTo>
                <a:lnTo>
                  <a:pt x="4224" y="1388"/>
                </a:lnTo>
                <a:lnTo>
                  <a:pt x="4224" y="1388"/>
                </a:lnTo>
                <a:lnTo>
                  <a:pt x="4232" y="1348"/>
                </a:lnTo>
                <a:lnTo>
                  <a:pt x="4234" y="1328"/>
                </a:lnTo>
                <a:lnTo>
                  <a:pt x="4234" y="1310"/>
                </a:lnTo>
                <a:lnTo>
                  <a:pt x="4234" y="1310"/>
                </a:lnTo>
                <a:lnTo>
                  <a:pt x="4232" y="1280"/>
                </a:lnTo>
                <a:lnTo>
                  <a:pt x="4228" y="1250"/>
                </a:lnTo>
                <a:lnTo>
                  <a:pt x="4222" y="1222"/>
                </a:lnTo>
                <a:lnTo>
                  <a:pt x="4212" y="1194"/>
                </a:lnTo>
                <a:lnTo>
                  <a:pt x="4200" y="1168"/>
                </a:lnTo>
                <a:lnTo>
                  <a:pt x="4186" y="1144"/>
                </a:lnTo>
                <a:lnTo>
                  <a:pt x="4170" y="1120"/>
                </a:lnTo>
                <a:lnTo>
                  <a:pt x="4152" y="1100"/>
                </a:lnTo>
                <a:lnTo>
                  <a:pt x="4132" y="1080"/>
                </a:lnTo>
                <a:lnTo>
                  <a:pt x="4112" y="1062"/>
                </a:lnTo>
                <a:lnTo>
                  <a:pt x="4088" y="1048"/>
                </a:lnTo>
                <a:lnTo>
                  <a:pt x="4064" y="1036"/>
                </a:lnTo>
                <a:lnTo>
                  <a:pt x="4038" y="1026"/>
                </a:lnTo>
                <a:lnTo>
                  <a:pt x="4012" y="1018"/>
                </a:lnTo>
                <a:lnTo>
                  <a:pt x="3984" y="1014"/>
                </a:lnTo>
                <a:lnTo>
                  <a:pt x="3956" y="1012"/>
                </a:lnTo>
                <a:lnTo>
                  <a:pt x="3956" y="1012"/>
                </a:lnTo>
                <a:close/>
                <a:moveTo>
                  <a:pt x="1078" y="1012"/>
                </a:moveTo>
                <a:lnTo>
                  <a:pt x="1078" y="1012"/>
                </a:lnTo>
                <a:lnTo>
                  <a:pt x="1044" y="1014"/>
                </a:lnTo>
                <a:lnTo>
                  <a:pt x="1014" y="1018"/>
                </a:lnTo>
                <a:lnTo>
                  <a:pt x="982" y="1026"/>
                </a:lnTo>
                <a:lnTo>
                  <a:pt x="954" y="1036"/>
                </a:lnTo>
                <a:lnTo>
                  <a:pt x="926" y="1048"/>
                </a:lnTo>
                <a:lnTo>
                  <a:pt x="900" y="1062"/>
                </a:lnTo>
                <a:lnTo>
                  <a:pt x="876" y="1080"/>
                </a:lnTo>
                <a:lnTo>
                  <a:pt x="852" y="1100"/>
                </a:lnTo>
                <a:lnTo>
                  <a:pt x="832" y="1120"/>
                </a:lnTo>
                <a:lnTo>
                  <a:pt x="814" y="1144"/>
                </a:lnTo>
                <a:lnTo>
                  <a:pt x="798" y="1168"/>
                </a:lnTo>
                <a:lnTo>
                  <a:pt x="784" y="1194"/>
                </a:lnTo>
                <a:lnTo>
                  <a:pt x="774" y="1222"/>
                </a:lnTo>
                <a:lnTo>
                  <a:pt x="766" y="1250"/>
                </a:lnTo>
                <a:lnTo>
                  <a:pt x="762" y="1280"/>
                </a:lnTo>
                <a:lnTo>
                  <a:pt x="760" y="1310"/>
                </a:lnTo>
                <a:lnTo>
                  <a:pt x="760" y="1310"/>
                </a:lnTo>
                <a:lnTo>
                  <a:pt x="762" y="1340"/>
                </a:lnTo>
                <a:lnTo>
                  <a:pt x="762" y="1340"/>
                </a:lnTo>
                <a:lnTo>
                  <a:pt x="766" y="1368"/>
                </a:lnTo>
                <a:lnTo>
                  <a:pt x="774" y="1396"/>
                </a:lnTo>
                <a:lnTo>
                  <a:pt x="782" y="1422"/>
                </a:lnTo>
                <a:lnTo>
                  <a:pt x="794" y="1446"/>
                </a:lnTo>
                <a:lnTo>
                  <a:pt x="808" y="1470"/>
                </a:lnTo>
                <a:lnTo>
                  <a:pt x="826" y="1492"/>
                </a:lnTo>
                <a:lnTo>
                  <a:pt x="844" y="1512"/>
                </a:lnTo>
                <a:lnTo>
                  <a:pt x="864" y="1532"/>
                </a:lnTo>
                <a:lnTo>
                  <a:pt x="886" y="1548"/>
                </a:lnTo>
                <a:lnTo>
                  <a:pt x="910" y="1564"/>
                </a:lnTo>
                <a:lnTo>
                  <a:pt x="934" y="1576"/>
                </a:lnTo>
                <a:lnTo>
                  <a:pt x="960" y="1588"/>
                </a:lnTo>
                <a:lnTo>
                  <a:pt x="988" y="1596"/>
                </a:lnTo>
                <a:lnTo>
                  <a:pt x="1018" y="1604"/>
                </a:lnTo>
                <a:lnTo>
                  <a:pt x="1046" y="1608"/>
                </a:lnTo>
                <a:lnTo>
                  <a:pt x="1078" y="1608"/>
                </a:lnTo>
                <a:lnTo>
                  <a:pt x="1078" y="1608"/>
                </a:lnTo>
                <a:lnTo>
                  <a:pt x="1104" y="1608"/>
                </a:lnTo>
                <a:lnTo>
                  <a:pt x="1130" y="1604"/>
                </a:lnTo>
                <a:lnTo>
                  <a:pt x="1154" y="1600"/>
                </a:lnTo>
                <a:lnTo>
                  <a:pt x="1178" y="1592"/>
                </a:lnTo>
                <a:lnTo>
                  <a:pt x="1202" y="1584"/>
                </a:lnTo>
                <a:lnTo>
                  <a:pt x="1226" y="1574"/>
                </a:lnTo>
                <a:lnTo>
                  <a:pt x="1246" y="1560"/>
                </a:lnTo>
                <a:lnTo>
                  <a:pt x="1268" y="1548"/>
                </a:lnTo>
                <a:lnTo>
                  <a:pt x="1286" y="1532"/>
                </a:lnTo>
                <a:lnTo>
                  <a:pt x="1304" y="1514"/>
                </a:lnTo>
                <a:lnTo>
                  <a:pt x="1322" y="1496"/>
                </a:lnTo>
                <a:lnTo>
                  <a:pt x="1336" y="1478"/>
                </a:lnTo>
                <a:lnTo>
                  <a:pt x="1350" y="1456"/>
                </a:lnTo>
                <a:lnTo>
                  <a:pt x="1362" y="1434"/>
                </a:lnTo>
                <a:lnTo>
                  <a:pt x="1372" y="1412"/>
                </a:lnTo>
                <a:lnTo>
                  <a:pt x="1380" y="1388"/>
                </a:lnTo>
                <a:lnTo>
                  <a:pt x="1380" y="1388"/>
                </a:lnTo>
                <a:lnTo>
                  <a:pt x="1386" y="1368"/>
                </a:lnTo>
                <a:lnTo>
                  <a:pt x="1390" y="1348"/>
                </a:lnTo>
                <a:lnTo>
                  <a:pt x="1392" y="1330"/>
                </a:lnTo>
                <a:lnTo>
                  <a:pt x="1392" y="1310"/>
                </a:lnTo>
                <a:lnTo>
                  <a:pt x="1392" y="1310"/>
                </a:lnTo>
                <a:lnTo>
                  <a:pt x="1390" y="1280"/>
                </a:lnTo>
                <a:lnTo>
                  <a:pt x="1386" y="1250"/>
                </a:lnTo>
                <a:lnTo>
                  <a:pt x="1378" y="1222"/>
                </a:lnTo>
                <a:lnTo>
                  <a:pt x="1368" y="1194"/>
                </a:lnTo>
                <a:lnTo>
                  <a:pt x="1354" y="1168"/>
                </a:lnTo>
                <a:lnTo>
                  <a:pt x="1338" y="1144"/>
                </a:lnTo>
                <a:lnTo>
                  <a:pt x="1320" y="1120"/>
                </a:lnTo>
                <a:lnTo>
                  <a:pt x="1300" y="1100"/>
                </a:lnTo>
                <a:lnTo>
                  <a:pt x="1278" y="1080"/>
                </a:lnTo>
                <a:lnTo>
                  <a:pt x="1254" y="1062"/>
                </a:lnTo>
                <a:lnTo>
                  <a:pt x="1228" y="1048"/>
                </a:lnTo>
                <a:lnTo>
                  <a:pt x="1200" y="1036"/>
                </a:lnTo>
                <a:lnTo>
                  <a:pt x="1170" y="1026"/>
                </a:lnTo>
                <a:lnTo>
                  <a:pt x="1140" y="1018"/>
                </a:lnTo>
                <a:lnTo>
                  <a:pt x="1110" y="1014"/>
                </a:lnTo>
                <a:lnTo>
                  <a:pt x="1078" y="1012"/>
                </a:lnTo>
                <a:lnTo>
                  <a:pt x="1078" y="1012"/>
                </a:lnTo>
                <a:close/>
                <a:moveTo>
                  <a:pt x="4450" y="1372"/>
                </a:moveTo>
                <a:lnTo>
                  <a:pt x="4664" y="1372"/>
                </a:lnTo>
                <a:lnTo>
                  <a:pt x="4664" y="1372"/>
                </a:lnTo>
                <a:lnTo>
                  <a:pt x="4678" y="1358"/>
                </a:lnTo>
                <a:lnTo>
                  <a:pt x="4694" y="1346"/>
                </a:lnTo>
                <a:lnTo>
                  <a:pt x="4710" y="1336"/>
                </a:lnTo>
                <a:lnTo>
                  <a:pt x="4726" y="1328"/>
                </a:lnTo>
                <a:lnTo>
                  <a:pt x="4740" y="1320"/>
                </a:lnTo>
                <a:lnTo>
                  <a:pt x="4756" y="1316"/>
                </a:lnTo>
                <a:lnTo>
                  <a:pt x="4780" y="1310"/>
                </a:lnTo>
                <a:lnTo>
                  <a:pt x="4780" y="1310"/>
                </a:lnTo>
                <a:lnTo>
                  <a:pt x="4788" y="1300"/>
                </a:lnTo>
                <a:lnTo>
                  <a:pt x="4794" y="1286"/>
                </a:lnTo>
                <a:lnTo>
                  <a:pt x="4800" y="1270"/>
                </a:lnTo>
                <a:lnTo>
                  <a:pt x="4806" y="1254"/>
                </a:lnTo>
                <a:lnTo>
                  <a:pt x="4816" y="1214"/>
                </a:lnTo>
                <a:lnTo>
                  <a:pt x="4822" y="1172"/>
                </a:lnTo>
                <a:lnTo>
                  <a:pt x="4826" y="1130"/>
                </a:lnTo>
                <a:lnTo>
                  <a:pt x="4830" y="1086"/>
                </a:lnTo>
                <a:lnTo>
                  <a:pt x="4830" y="1048"/>
                </a:lnTo>
                <a:lnTo>
                  <a:pt x="4828" y="1014"/>
                </a:lnTo>
                <a:lnTo>
                  <a:pt x="4828" y="1014"/>
                </a:lnTo>
                <a:lnTo>
                  <a:pt x="4826" y="1006"/>
                </a:lnTo>
                <a:lnTo>
                  <a:pt x="4818" y="992"/>
                </a:lnTo>
                <a:lnTo>
                  <a:pt x="4798" y="960"/>
                </a:lnTo>
                <a:lnTo>
                  <a:pt x="4768" y="922"/>
                </a:lnTo>
                <a:lnTo>
                  <a:pt x="4734" y="882"/>
                </a:lnTo>
                <a:lnTo>
                  <a:pt x="4734" y="882"/>
                </a:lnTo>
                <a:lnTo>
                  <a:pt x="4706" y="864"/>
                </a:lnTo>
                <a:lnTo>
                  <a:pt x="4674" y="848"/>
                </a:lnTo>
                <a:lnTo>
                  <a:pt x="4638" y="832"/>
                </a:lnTo>
                <a:lnTo>
                  <a:pt x="4602" y="816"/>
                </a:lnTo>
                <a:lnTo>
                  <a:pt x="4560" y="802"/>
                </a:lnTo>
                <a:lnTo>
                  <a:pt x="4518" y="788"/>
                </a:lnTo>
                <a:lnTo>
                  <a:pt x="4428" y="760"/>
                </a:lnTo>
                <a:lnTo>
                  <a:pt x="4332" y="734"/>
                </a:lnTo>
                <a:lnTo>
                  <a:pt x="4232" y="710"/>
                </a:lnTo>
                <a:lnTo>
                  <a:pt x="4130" y="688"/>
                </a:lnTo>
                <a:lnTo>
                  <a:pt x="4030" y="670"/>
                </a:lnTo>
                <a:lnTo>
                  <a:pt x="3932" y="652"/>
                </a:lnTo>
                <a:lnTo>
                  <a:pt x="3842" y="636"/>
                </a:lnTo>
                <a:lnTo>
                  <a:pt x="3684" y="612"/>
                </a:lnTo>
                <a:lnTo>
                  <a:pt x="3574" y="596"/>
                </a:lnTo>
                <a:lnTo>
                  <a:pt x="3532" y="592"/>
                </a:lnTo>
                <a:lnTo>
                  <a:pt x="3514" y="590"/>
                </a:lnTo>
                <a:lnTo>
                  <a:pt x="3500" y="578"/>
                </a:lnTo>
                <a:lnTo>
                  <a:pt x="3500" y="578"/>
                </a:lnTo>
                <a:lnTo>
                  <a:pt x="3484" y="564"/>
                </a:lnTo>
                <a:lnTo>
                  <a:pt x="3438" y="528"/>
                </a:lnTo>
                <a:lnTo>
                  <a:pt x="3368" y="476"/>
                </a:lnTo>
                <a:lnTo>
                  <a:pt x="3324" y="444"/>
                </a:lnTo>
                <a:lnTo>
                  <a:pt x="3276" y="412"/>
                </a:lnTo>
                <a:lnTo>
                  <a:pt x="3222" y="378"/>
                </a:lnTo>
                <a:lnTo>
                  <a:pt x="3166" y="344"/>
                </a:lnTo>
                <a:lnTo>
                  <a:pt x="3106" y="310"/>
                </a:lnTo>
                <a:lnTo>
                  <a:pt x="3042" y="278"/>
                </a:lnTo>
                <a:lnTo>
                  <a:pt x="2978" y="246"/>
                </a:lnTo>
                <a:lnTo>
                  <a:pt x="2910" y="218"/>
                </a:lnTo>
                <a:lnTo>
                  <a:pt x="2840" y="192"/>
                </a:lnTo>
                <a:lnTo>
                  <a:pt x="2770" y="172"/>
                </a:lnTo>
                <a:lnTo>
                  <a:pt x="2770" y="172"/>
                </a:lnTo>
                <a:lnTo>
                  <a:pt x="2716" y="158"/>
                </a:lnTo>
                <a:lnTo>
                  <a:pt x="2656" y="146"/>
                </a:lnTo>
                <a:lnTo>
                  <a:pt x="2590" y="136"/>
                </a:lnTo>
                <a:lnTo>
                  <a:pt x="2516" y="128"/>
                </a:lnTo>
                <a:lnTo>
                  <a:pt x="2436" y="122"/>
                </a:lnTo>
                <a:lnTo>
                  <a:pt x="2350" y="118"/>
                </a:lnTo>
                <a:lnTo>
                  <a:pt x="2258" y="116"/>
                </a:lnTo>
                <a:lnTo>
                  <a:pt x="2160" y="114"/>
                </a:lnTo>
                <a:lnTo>
                  <a:pt x="2160" y="114"/>
                </a:lnTo>
                <a:lnTo>
                  <a:pt x="2032" y="116"/>
                </a:lnTo>
                <a:lnTo>
                  <a:pt x="1902" y="120"/>
                </a:lnTo>
                <a:lnTo>
                  <a:pt x="1778" y="126"/>
                </a:lnTo>
                <a:lnTo>
                  <a:pt x="1662" y="134"/>
                </a:lnTo>
                <a:lnTo>
                  <a:pt x="1558" y="144"/>
                </a:lnTo>
                <a:lnTo>
                  <a:pt x="1468" y="152"/>
                </a:lnTo>
                <a:lnTo>
                  <a:pt x="1396" y="162"/>
                </a:lnTo>
                <a:lnTo>
                  <a:pt x="1344" y="172"/>
                </a:lnTo>
                <a:lnTo>
                  <a:pt x="1344" y="172"/>
                </a:lnTo>
                <a:lnTo>
                  <a:pt x="1310" y="180"/>
                </a:lnTo>
                <a:lnTo>
                  <a:pt x="1266" y="194"/>
                </a:lnTo>
                <a:lnTo>
                  <a:pt x="1216" y="212"/>
                </a:lnTo>
                <a:lnTo>
                  <a:pt x="1162" y="234"/>
                </a:lnTo>
                <a:lnTo>
                  <a:pt x="1042" y="282"/>
                </a:lnTo>
                <a:lnTo>
                  <a:pt x="920" y="336"/>
                </a:lnTo>
                <a:lnTo>
                  <a:pt x="706" y="432"/>
                </a:lnTo>
                <a:lnTo>
                  <a:pt x="612" y="476"/>
                </a:lnTo>
                <a:lnTo>
                  <a:pt x="596" y="484"/>
                </a:lnTo>
                <a:lnTo>
                  <a:pt x="578" y="480"/>
                </a:lnTo>
                <a:lnTo>
                  <a:pt x="578" y="480"/>
                </a:lnTo>
                <a:lnTo>
                  <a:pt x="560" y="478"/>
                </a:lnTo>
                <a:lnTo>
                  <a:pt x="514" y="472"/>
                </a:lnTo>
                <a:lnTo>
                  <a:pt x="448" y="466"/>
                </a:lnTo>
                <a:lnTo>
                  <a:pt x="410" y="464"/>
                </a:lnTo>
                <a:lnTo>
                  <a:pt x="372" y="464"/>
                </a:lnTo>
                <a:lnTo>
                  <a:pt x="372" y="464"/>
                </a:lnTo>
                <a:lnTo>
                  <a:pt x="332" y="464"/>
                </a:lnTo>
                <a:lnTo>
                  <a:pt x="296" y="468"/>
                </a:lnTo>
                <a:lnTo>
                  <a:pt x="266" y="472"/>
                </a:lnTo>
                <a:lnTo>
                  <a:pt x="240" y="476"/>
                </a:lnTo>
                <a:lnTo>
                  <a:pt x="220" y="482"/>
                </a:lnTo>
                <a:lnTo>
                  <a:pt x="206" y="490"/>
                </a:lnTo>
                <a:lnTo>
                  <a:pt x="194" y="496"/>
                </a:lnTo>
                <a:lnTo>
                  <a:pt x="186" y="502"/>
                </a:lnTo>
                <a:lnTo>
                  <a:pt x="186" y="502"/>
                </a:lnTo>
                <a:lnTo>
                  <a:pt x="186" y="506"/>
                </a:lnTo>
                <a:lnTo>
                  <a:pt x="184" y="510"/>
                </a:lnTo>
                <a:lnTo>
                  <a:pt x="184" y="518"/>
                </a:lnTo>
                <a:lnTo>
                  <a:pt x="186" y="528"/>
                </a:lnTo>
                <a:lnTo>
                  <a:pt x="186" y="528"/>
                </a:lnTo>
                <a:lnTo>
                  <a:pt x="200" y="576"/>
                </a:lnTo>
                <a:lnTo>
                  <a:pt x="206" y="616"/>
                </a:lnTo>
                <a:lnTo>
                  <a:pt x="210" y="650"/>
                </a:lnTo>
                <a:lnTo>
                  <a:pt x="208" y="680"/>
                </a:lnTo>
                <a:lnTo>
                  <a:pt x="204" y="708"/>
                </a:lnTo>
                <a:lnTo>
                  <a:pt x="196" y="732"/>
                </a:lnTo>
                <a:lnTo>
                  <a:pt x="186" y="754"/>
                </a:lnTo>
                <a:lnTo>
                  <a:pt x="174" y="778"/>
                </a:lnTo>
                <a:lnTo>
                  <a:pt x="174" y="778"/>
                </a:lnTo>
                <a:lnTo>
                  <a:pt x="160" y="806"/>
                </a:lnTo>
                <a:lnTo>
                  <a:pt x="146" y="840"/>
                </a:lnTo>
                <a:lnTo>
                  <a:pt x="140" y="858"/>
                </a:lnTo>
                <a:lnTo>
                  <a:pt x="132" y="882"/>
                </a:lnTo>
                <a:lnTo>
                  <a:pt x="126" y="908"/>
                </a:lnTo>
                <a:lnTo>
                  <a:pt x="122" y="936"/>
                </a:lnTo>
                <a:lnTo>
                  <a:pt x="122" y="936"/>
                </a:lnTo>
                <a:lnTo>
                  <a:pt x="118" y="966"/>
                </a:lnTo>
                <a:lnTo>
                  <a:pt x="116" y="992"/>
                </a:lnTo>
                <a:lnTo>
                  <a:pt x="116" y="1018"/>
                </a:lnTo>
                <a:lnTo>
                  <a:pt x="116" y="1042"/>
                </a:lnTo>
                <a:lnTo>
                  <a:pt x="118" y="1064"/>
                </a:lnTo>
                <a:lnTo>
                  <a:pt x="122" y="1086"/>
                </a:lnTo>
                <a:lnTo>
                  <a:pt x="130" y="1124"/>
                </a:lnTo>
                <a:lnTo>
                  <a:pt x="142" y="1158"/>
                </a:lnTo>
                <a:lnTo>
                  <a:pt x="154" y="1184"/>
                </a:lnTo>
                <a:lnTo>
                  <a:pt x="166" y="1206"/>
                </a:lnTo>
                <a:lnTo>
                  <a:pt x="176" y="1222"/>
                </a:lnTo>
                <a:lnTo>
                  <a:pt x="288" y="1242"/>
                </a:lnTo>
                <a:lnTo>
                  <a:pt x="300" y="1284"/>
                </a:lnTo>
                <a:lnTo>
                  <a:pt x="300" y="1284"/>
                </a:lnTo>
                <a:lnTo>
                  <a:pt x="430" y="1286"/>
                </a:lnTo>
                <a:lnTo>
                  <a:pt x="560" y="1294"/>
                </a:lnTo>
                <a:lnTo>
                  <a:pt x="560" y="1294"/>
                </a:lnTo>
                <a:lnTo>
                  <a:pt x="566" y="1246"/>
                </a:lnTo>
                <a:lnTo>
                  <a:pt x="576" y="1200"/>
                </a:lnTo>
                <a:lnTo>
                  <a:pt x="590" y="1154"/>
                </a:lnTo>
                <a:lnTo>
                  <a:pt x="608" y="1112"/>
                </a:lnTo>
                <a:lnTo>
                  <a:pt x="630" y="1070"/>
                </a:lnTo>
                <a:lnTo>
                  <a:pt x="654" y="1032"/>
                </a:lnTo>
                <a:lnTo>
                  <a:pt x="682" y="996"/>
                </a:lnTo>
                <a:lnTo>
                  <a:pt x="714" y="964"/>
                </a:lnTo>
                <a:lnTo>
                  <a:pt x="748" y="934"/>
                </a:lnTo>
                <a:lnTo>
                  <a:pt x="784" y="906"/>
                </a:lnTo>
                <a:lnTo>
                  <a:pt x="824" y="884"/>
                </a:lnTo>
                <a:lnTo>
                  <a:pt x="864" y="864"/>
                </a:lnTo>
                <a:lnTo>
                  <a:pt x="908" y="848"/>
                </a:lnTo>
                <a:lnTo>
                  <a:pt x="952" y="836"/>
                </a:lnTo>
                <a:lnTo>
                  <a:pt x="998" y="830"/>
                </a:lnTo>
                <a:lnTo>
                  <a:pt x="1022" y="828"/>
                </a:lnTo>
                <a:lnTo>
                  <a:pt x="1046" y="828"/>
                </a:lnTo>
                <a:lnTo>
                  <a:pt x="1046" y="828"/>
                </a:lnTo>
                <a:lnTo>
                  <a:pt x="1072" y="828"/>
                </a:lnTo>
                <a:lnTo>
                  <a:pt x="1096" y="830"/>
                </a:lnTo>
                <a:lnTo>
                  <a:pt x="1120" y="834"/>
                </a:lnTo>
                <a:lnTo>
                  <a:pt x="1144" y="838"/>
                </a:lnTo>
                <a:lnTo>
                  <a:pt x="1168" y="844"/>
                </a:lnTo>
                <a:lnTo>
                  <a:pt x="1190" y="850"/>
                </a:lnTo>
                <a:lnTo>
                  <a:pt x="1214" y="858"/>
                </a:lnTo>
                <a:lnTo>
                  <a:pt x="1236" y="868"/>
                </a:lnTo>
                <a:lnTo>
                  <a:pt x="1278" y="888"/>
                </a:lnTo>
                <a:lnTo>
                  <a:pt x="1318" y="914"/>
                </a:lnTo>
                <a:lnTo>
                  <a:pt x="1354" y="944"/>
                </a:lnTo>
                <a:lnTo>
                  <a:pt x="1390" y="976"/>
                </a:lnTo>
                <a:lnTo>
                  <a:pt x="1420" y="1012"/>
                </a:lnTo>
                <a:lnTo>
                  <a:pt x="1448" y="1050"/>
                </a:lnTo>
                <a:lnTo>
                  <a:pt x="1474" y="1092"/>
                </a:lnTo>
                <a:lnTo>
                  <a:pt x="1494" y="1136"/>
                </a:lnTo>
                <a:lnTo>
                  <a:pt x="1510" y="1182"/>
                </a:lnTo>
                <a:lnTo>
                  <a:pt x="1516" y="1206"/>
                </a:lnTo>
                <a:lnTo>
                  <a:pt x="1522" y="1232"/>
                </a:lnTo>
                <a:lnTo>
                  <a:pt x="1526" y="1256"/>
                </a:lnTo>
                <a:lnTo>
                  <a:pt x="1530" y="1282"/>
                </a:lnTo>
                <a:lnTo>
                  <a:pt x="1532" y="1308"/>
                </a:lnTo>
                <a:lnTo>
                  <a:pt x="1532" y="1334"/>
                </a:lnTo>
                <a:lnTo>
                  <a:pt x="1532" y="1334"/>
                </a:lnTo>
                <a:lnTo>
                  <a:pt x="1530" y="1372"/>
                </a:lnTo>
                <a:lnTo>
                  <a:pt x="3480" y="1372"/>
                </a:lnTo>
                <a:lnTo>
                  <a:pt x="3480" y="1372"/>
                </a:lnTo>
                <a:lnTo>
                  <a:pt x="3478" y="1334"/>
                </a:lnTo>
                <a:lnTo>
                  <a:pt x="3478" y="1334"/>
                </a:lnTo>
                <a:lnTo>
                  <a:pt x="3480" y="1308"/>
                </a:lnTo>
                <a:lnTo>
                  <a:pt x="3482" y="1282"/>
                </a:lnTo>
                <a:lnTo>
                  <a:pt x="3484" y="1256"/>
                </a:lnTo>
                <a:lnTo>
                  <a:pt x="3488" y="1232"/>
                </a:lnTo>
                <a:lnTo>
                  <a:pt x="3494" y="1206"/>
                </a:lnTo>
                <a:lnTo>
                  <a:pt x="3500" y="1182"/>
                </a:lnTo>
                <a:lnTo>
                  <a:pt x="3516" y="1136"/>
                </a:lnTo>
                <a:lnTo>
                  <a:pt x="3538" y="1092"/>
                </a:lnTo>
                <a:lnTo>
                  <a:pt x="3562" y="1050"/>
                </a:lnTo>
                <a:lnTo>
                  <a:pt x="3590" y="1012"/>
                </a:lnTo>
                <a:lnTo>
                  <a:pt x="3622" y="976"/>
                </a:lnTo>
                <a:lnTo>
                  <a:pt x="3656" y="944"/>
                </a:lnTo>
                <a:lnTo>
                  <a:pt x="3694" y="914"/>
                </a:lnTo>
                <a:lnTo>
                  <a:pt x="3734" y="888"/>
                </a:lnTo>
                <a:lnTo>
                  <a:pt x="3776" y="868"/>
                </a:lnTo>
                <a:lnTo>
                  <a:pt x="3798" y="858"/>
                </a:lnTo>
                <a:lnTo>
                  <a:pt x="3822" y="850"/>
                </a:lnTo>
                <a:lnTo>
                  <a:pt x="3844" y="844"/>
                </a:lnTo>
                <a:lnTo>
                  <a:pt x="3868" y="838"/>
                </a:lnTo>
                <a:lnTo>
                  <a:pt x="3892" y="834"/>
                </a:lnTo>
                <a:lnTo>
                  <a:pt x="3916" y="830"/>
                </a:lnTo>
                <a:lnTo>
                  <a:pt x="3942" y="828"/>
                </a:lnTo>
                <a:lnTo>
                  <a:pt x="3966" y="828"/>
                </a:lnTo>
                <a:lnTo>
                  <a:pt x="3966" y="828"/>
                </a:lnTo>
                <a:lnTo>
                  <a:pt x="3992" y="828"/>
                </a:lnTo>
                <a:lnTo>
                  <a:pt x="4016" y="830"/>
                </a:lnTo>
                <a:lnTo>
                  <a:pt x="4040" y="834"/>
                </a:lnTo>
                <a:lnTo>
                  <a:pt x="4064" y="838"/>
                </a:lnTo>
                <a:lnTo>
                  <a:pt x="4088" y="844"/>
                </a:lnTo>
                <a:lnTo>
                  <a:pt x="4110" y="850"/>
                </a:lnTo>
                <a:lnTo>
                  <a:pt x="4132" y="858"/>
                </a:lnTo>
                <a:lnTo>
                  <a:pt x="4154" y="868"/>
                </a:lnTo>
                <a:lnTo>
                  <a:pt x="4198" y="888"/>
                </a:lnTo>
                <a:lnTo>
                  <a:pt x="4238" y="914"/>
                </a:lnTo>
                <a:lnTo>
                  <a:pt x="4274" y="944"/>
                </a:lnTo>
                <a:lnTo>
                  <a:pt x="4310" y="976"/>
                </a:lnTo>
                <a:lnTo>
                  <a:pt x="4340" y="1012"/>
                </a:lnTo>
                <a:lnTo>
                  <a:pt x="4368" y="1050"/>
                </a:lnTo>
                <a:lnTo>
                  <a:pt x="4394" y="1092"/>
                </a:lnTo>
                <a:lnTo>
                  <a:pt x="4414" y="1136"/>
                </a:lnTo>
                <a:lnTo>
                  <a:pt x="4430" y="1182"/>
                </a:lnTo>
                <a:lnTo>
                  <a:pt x="4436" y="1206"/>
                </a:lnTo>
                <a:lnTo>
                  <a:pt x="4442" y="1232"/>
                </a:lnTo>
                <a:lnTo>
                  <a:pt x="4446" y="1256"/>
                </a:lnTo>
                <a:lnTo>
                  <a:pt x="4450" y="1282"/>
                </a:lnTo>
                <a:lnTo>
                  <a:pt x="4452" y="1308"/>
                </a:lnTo>
                <a:lnTo>
                  <a:pt x="4452" y="1334"/>
                </a:lnTo>
                <a:lnTo>
                  <a:pt x="4452" y="1334"/>
                </a:lnTo>
                <a:lnTo>
                  <a:pt x="4450" y="1372"/>
                </a:lnTo>
                <a:lnTo>
                  <a:pt x="4450" y="137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Tree>
    <p:extLst>
      <p:ext uri="{BB962C8B-B14F-4D97-AF65-F5344CB8AC3E}">
        <p14:creationId xmlns:p14="http://schemas.microsoft.com/office/powerpoint/2010/main" val="871892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596258" y="435606"/>
            <a:ext cx="3540037" cy="4700491"/>
          </a:xfrm>
          <a:prstGeom prst="rect">
            <a:avLst/>
          </a:prstGeom>
          <a:ln>
            <a:solidFill>
              <a:schemeClr val="accent1"/>
            </a:solidFill>
          </a:ln>
        </p:spPr>
      </p:pic>
      <p:grpSp>
        <p:nvGrpSpPr>
          <p:cNvPr id="7" name="Group 6"/>
          <p:cNvGrpSpPr/>
          <p:nvPr/>
        </p:nvGrpSpPr>
        <p:grpSpPr>
          <a:xfrm>
            <a:off x="399257" y="1069765"/>
            <a:ext cx="5009567" cy="3162196"/>
            <a:chOff x="270933" y="1036864"/>
            <a:chExt cx="5009567" cy="3162196"/>
          </a:xfrm>
          <a:solidFill>
            <a:schemeClr val="accent2"/>
          </a:solidFill>
        </p:grpSpPr>
        <p:sp>
          <p:nvSpPr>
            <p:cNvPr id="8" name="Title 1"/>
            <p:cNvSpPr txBox="1">
              <a:spLocks/>
            </p:cNvSpPr>
            <p:nvPr/>
          </p:nvSpPr>
          <p:spPr>
            <a:xfrm>
              <a:off x="348255" y="1036864"/>
              <a:ext cx="2240422" cy="307777"/>
            </a:xfrm>
            <a:prstGeom prst="rect">
              <a:avLst/>
            </a:prstGeom>
            <a:solidFill>
              <a:schemeClr val="accent1"/>
            </a:solidFill>
          </p:spPr>
          <p:txBody>
            <a:bodyPr wrap="none" tIns="45720" bIns="45720" anchor="t" anchorCtr="0">
              <a:spAutoFit/>
            </a:bodyPr>
            <a:lstStyle>
              <a:lvl1pPr algn="l" defTabSz="914400" rtl="0" eaLnBrk="1" latinLnBrk="0" hangingPunct="1">
                <a:lnSpc>
                  <a:spcPct val="100000"/>
                </a:lnSpc>
                <a:spcBef>
                  <a:spcPct val="0"/>
                </a:spcBef>
                <a:buNone/>
                <a:defRPr sz="2200" i="0" kern="1200" cap="all" baseline="0">
                  <a:solidFill>
                    <a:schemeClr val="tx1"/>
                  </a:solidFill>
                  <a:latin typeface="+mj-lt"/>
                  <a:ea typeface="+mj-ea"/>
                  <a:cs typeface="+mj-cs"/>
                </a:defRPr>
              </a:lvl1pPr>
            </a:lstStyle>
            <a:p>
              <a:r>
                <a:rPr lang="en-US" sz="1400" cap="none" dirty="0" smtClean="0">
                  <a:solidFill>
                    <a:srgbClr val="FFFFFF"/>
                  </a:solidFill>
                </a:rPr>
                <a:t>GLOBAL DEPLOYMENTS</a:t>
              </a:r>
              <a:endParaRPr lang="en-US" sz="1400" cap="none" dirty="0">
                <a:solidFill>
                  <a:srgbClr val="FFFFFF"/>
                </a:solidFill>
              </a:endParaRPr>
            </a:p>
          </p:txBody>
        </p:sp>
        <p:grpSp>
          <p:nvGrpSpPr>
            <p:cNvPr id="9" name="Group 8"/>
            <p:cNvGrpSpPr/>
            <p:nvPr/>
          </p:nvGrpSpPr>
          <p:grpSpPr>
            <a:xfrm>
              <a:off x="270933" y="1394724"/>
              <a:ext cx="5009567" cy="2804336"/>
              <a:chOff x="1122474" y="950486"/>
              <a:chExt cx="6895106" cy="3859855"/>
            </a:xfrm>
            <a:grpFill/>
          </p:grpSpPr>
          <p:grpSp>
            <p:nvGrpSpPr>
              <p:cNvPr id="31" name="Group 30"/>
              <p:cNvGrpSpPr/>
              <p:nvPr/>
            </p:nvGrpSpPr>
            <p:grpSpPr>
              <a:xfrm>
                <a:off x="1122474" y="950486"/>
                <a:ext cx="6895106" cy="3859855"/>
                <a:chOff x="982776" y="683785"/>
                <a:chExt cx="6996347" cy="3916530"/>
              </a:xfrm>
              <a:grpFill/>
            </p:grpSpPr>
            <p:sp>
              <p:nvSpPr>
                <p:cNvPr id="79" name="Oval 9"/>
                <p:cNvSpPr>
                  <a:spLocks noChangeArrowheads="1"/>
                </p:cNvSpPr>
                <p:nvPr/>
              </p:nvSpPr>
              <p:spPr bwMode="auto">
                <a:xfrm>
                  <a:off x="982776"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0" name="Oval 10"/>
                <p:cNvSpPr>
                  <a:spLocks noChangeArrowheads="1"/>
                </p:cNvSpPr>
                <p:nvPr/>
              </p:nvSpPr>
              <p:spPr bwMode="auto">
                <a:xfrm>
                  <a:off x="982776"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1" name="Oval 11"/>
                <p:cNvSpPr>
                  <a:spLocks noChangeArrowheads="1"/>
                </p:cNvSpPr>
                <p:nvPr/>
              </p:nvSpPr>
              <p:spPr bwMode="auto">
                <a:xfrm>
                  <a:off x="982776"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2" name="Oval 12"/>
                <p:cNvSpPr>
                  <a:spLocks noChangeArrowheads="1"/>
                </p:cNvSpPr>
                <p:nvPr/>
              </p:nvSpPr>
              <p:spPr bwMode="auto">
                <a:xfrm>
                  <a:off x="1088352" y="1304486"/>
                  <a:ext cx="91405"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3" name="Oval 13"/>
                <p:cNvSpPr>
                  <a:spLocks noChangeArrowheads="1"/>
                </p:cNvSpPr>
                <p:nvPr/>
              </p:nvSpPr>
              <p:spPr bwMode="auto">
                <a:xfrm>
                  <a:off x="1088352" y="1408645"/>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4" name="Oval 14"/>
                <p:cNvSpPr>
                  <a:spLocks noChangeArrowheads="1"/>
                </p:cNvSpPr>
                <p:nvPr/>
              </p:nvSpPr>
              <p:spPr bwMode="auto">
                <a:xfrm>
                  <a:off x="1088352" y="1510678"/>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5" name="Oval 15"/>
                <p:cNvSpPr>
                  <a:spLocks noChangeArrowheads="1"/>
                </p:cNvSpPr>
                <p:nvPr/>
              </p:nvSpPr>
              <p:spPr bwMode="auto">
                <a:xfrm>
                  <a:off x="1088352" y="1614128"/>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6" name="Oval 16"/>
                <p:cNvSpPr>
                  <a:spLocks noChangeArrowheads="1"/>
                </p:cNvSpPr>
                <p:nvPr/>
              </p:nvSpPr>
              <p:spPr bwMode="auto">
                <a:xfrm>
                  <a:off x="1088352" y="1718287"/>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7" name="Oval 17"/>
                <p:cNvSpPr>
                  <a:spLocks noChangeArrowheads="1"/>
                </p:cNvSpPr>
                <p:nvPr/>
              </p:nvSpPr>
              <p:spPr bwMode="auto">
                <a:xfrm>
                  <a:off x="1088352" y="1821737"/>
                  <a:ext cx="91405"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8" name="Oval 18"/>
                <p:cNvSpPr>
                  <a:spLocks noChangeArrowheads="1"/>
                </p:cNvSpPr>
                <p:nvPr/>
              </p:nvSpPr>
              <p:spPr bwMode="auto">
                <a:xfrm>
                  <a:off x="1088352" y="2650755"/>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9" name="Oval 19"/>
                <p:cNvSpPr>
                  <a:spLocks noChangeArrowheads="1"/>
                </p:cNvSpPr>
                <p:nvPr/>
              </p:nvSpPr>
              <p:spPr bwMode="auto">
                <a:xfrm>
                  <a:off x="1191802"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0" name="Oval 21"/>
                <p:cNvSpPr>
                  <a:spLocks noChangeArrowheads="1"/>
                </p:cNvSpPr>
                <p:nvPr/>
              </p:nvSpPr>
              <p:spPr bwMode="auto">
                <a:xfrm>
                  <a:off x="1191802"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1" name="Oval 22"/>
                <p:cNvSpPr>
                  <a:spLocks noChangeArrowheads="1"/>
                </p:cNvSpPr>
                <p:nvPr/>
              </p:nvSpPr>
              <p:spPr bwMode="auto">
                <a:xfrm>
                  <a:off x="1191802"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2" name="Oval 23"/>
                <p:cNvSpPr>
                  <a:spLocks noChangeArrowheads="1"/>
                </p:cNvSpPr>
                <p:nvPr/>
              </p:nvSpPr>
              <p:spPr bwMode="auto">
                <a:xfrm>
                  <a:off x="1191802"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3" name="Oval 24"/>
                <p:cNvSpPr>
                  <a:spLocks noChangeArrowheads="1"/>
                </p:cNvSpPr>
                <p:nvPr/>
              </p:nvSpPr>
              <p:spPr bwMode="auto">
                <a:xfrm>
                  <a:off x="1191802" y="265075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4" name="Oval 25"/>
                <p:cNvSpPr>
                  <a:spLocks noChangeArrowheads="1"/>
                </p:cNvSpPr>
                <p:nvPr/>
              </p:nvSpPr>
              <p:spPr bwMode="auto">
                <a:xfrm>
                  <a:off x="1297378"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5" name="Oval 26"/>
                <p:cNvSpPr>
                  <a:spLocks noChangeArrowheads="1"/>
                </p:cNvSpPr>
                <p:nvPr/>
              </p:nvSpPr>
              <p:spPr bwMode="auto">
                <a:xfrm>
                  <a:off x="1297378"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6" name="Oval 27"/>
                <p:cNvSpPr>
                  <a:spLocks noChangeArrowheads="1"/>
                </p:cNvSpPr>
                <p:nvPr/>
              </p:nvSpPr>
              <p:spPr bwMode="auto">
                <a:xfrm>
                  <a:off x="1297378"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7" name="Oval 28"/>
                <p:cNvSpPr>
                  <a:spLocks noChangeArrowheads="1"/>
                </p:cNvSpPr>
                <p:nvPr/>
              </p:nvSpPr>
              <p:spPr bwMode="auto">
                <a:xfrm>
                  <a:off x="1297378"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8" name="Oval 30"/>
                <p:cNvSpPr>
                  <a:spLocks noChangeArrowheads="1"/>
                </p:cNvSpPr>
                <p:nvPr/>
              </p:nvSpPr>
              <p:spPr bwMode="auto">
                <a:xfrm>
                  <a:off x="1400828"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9" name="Oval 31"/>
                <p:cNvSpPr>
                  <a:spLocks noChangeArrowheads="1"/>
                </p:cNvSpPr>
                <p:nvPr/>
              </p:nvSpPr>
              <p:spPr bwMode="auto">
                <a:xfrm>
                  <a:off x="1400828"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0" name="Oval 32"/>
                <p:cNvSpPr>
                  <a:spLocks noChangeArrowheads="1"/>
                </p:cNvSpPr>
                <p:nvPr/>
              </p:nvSpPr>
              <p:spPr bwMode="auto">
                <a:xfrm>
                  <a:off x="1400828"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1" name="Oval 33"/>
                <p:cNvSpPr>
                  <a:spLocks noChangeArrowheads="1"/>
                </p:cNvSpPr>
                <p:nvPr/>
              </p:nvSpPr>
              <p:spPr bwMode="auto">
                <a:xfrm>
                  <a:off x="1400828"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2" name="Oval 34"/>
                <p:cNvSpPr>
                  <a:spLocks noChangeArrowheads="1"/>
                </p:cNvSpPr>
                <p:nvPr/>
              </p:nvSpPr>
              <p:spPr bwMode="auto">
                <a:xfrm>
                  <a:off x="1506404"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3" name="Oval 35"/>
                <p:cNvSpPr>
                  <a:spLocks noChangeArrowheads="1"/>
                </p:cNvSpPr>
                <p:nvPr/>
              </p:nvSpPr>
              <p:spPr bwMode="auto">
                <a:xfrm>
                  <a:off x="1506404"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4" name="Oval 36"/>
                <p:cNvSpPr>
                  <a:spLocks noChangeArrowheads="1"/>
                </p:cNvSpPr>
                <p:nvPr/>
              </p:nvSpPr>
              <p:spPr bwMode="auto">
                <a:xfrm>
                  <a:off x="1506404"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5" name="Oval 37"/>
                <p:cNvSpPr>
                  <a:spLocks noChangeArrowheads="1"/>
                </p:cNvSpPr>
                <p:nvPr/>
              </p:nvSpPr>
              <p:spPr bwMode="auto">
                <a:xfrm>
                  <a:off x="1506404"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6" name="Oval 38"/>
                <p:cNvSpPr>
                  <a:spLocks noChangeArrowheads="1"/>
                </p:cNvSpPr>
                <p:nvPr/>
              </p:nvSpPr>
              <p:spPr bwMode="auto">
                <a:xfrm>
                  <a:off x="1610563" y="1304486"/>
                  <a:ext cx="91405"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7" name="Oval 40"/>
                <p:cNvSpPr>
                  <a:spLocks noChangeArrowheads="1"/>
                </p:cNvSpPr>
                <p:nvPr/>
              </p:nvSpPr>
              <p:spPr bwMode="auto">
                <a:xfrm>
                  <a:off x="1610563" y="1510678"/>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8" name="Oval 41"/>
                <p:cNvSpPr>
                  <a:spLocks noChangeArrowheads="1"/>
                </p:cNvSpPr>
                <p:nvPr/>
              </p:nvSpPr>
              <p:spPr bwMode="auto">
                <a:xfrm>
                  <a:off x="1610563" y="1614128"/>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9" name="Oval 42"/>
                <p:cNvSpPr>
                  <a:spLocks noChangeArrowheads="1"/>
                </p:cNvSpPr>
                <p:nvPr/>
              </p:nvSpPr>
              <p:spPr bwMode="auto">
                <a:xfrm>
                  <a:off x="1610563" y="1718287"/>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10" name="Oval 43"/>
                <p:cNvSpPr>
                  <a:spLocks noChangeArrowheads="1"/>
                </p:cNvSpPr>
                <p:nvPr/>
              </p:nvSpPr>
              <p:spPr bwMode="auto">
                <a:xfrm>
                  <a:off x="1610563" y="1821737"/>
                  <a:ext cx="91405"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11" name="Oval 44"/>
                <p:cNvSpPr>
                  <a:spLocks noChangeArrowheads="1"/>
                </p:cNvSpPr>
                <p:nvPr/>
              </p:nvSpPr>
              <p:spPr bwMode="auto">
                <a:xfrm>
                  <a:off x="1715430"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12" name="Oval 45"/>
                <p:cNvSpPr>
                  <a:spLocks noChangeArrowheads="1"/>
                </p:cNvSpPr>
                <p:nvPr/>
              </p:nvSpPr>
              <p:spPr bwMode="auto">
                <a:xfrm>
                  <a:off x="1715430"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13" name="Oval 46"/>
                <p:cNvSpPr>
                  <a:spLocks noChangeArrowheads="1"/>
                </p:cNvSpPr>
                <p:nvPr/>
              </p:nvSpPr>
              <p:spPr bwMode="auto">
                <a:xfrm>
                  <a:off x="1715430"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14" name="Oval 47"/>
                <p:cNvSpPr>
                  <a:spLocks noChangeArrowheads="1"/>
                </p:cNvSpPr>
                <p:nvPr/>
              </p:nvSpPr>
              <p:spPr bwMode="auto">
                <a:xfrm>
                  <a:off x="1715430"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15" name="Oval 48"/>
                <p:cNvSpPr>
                  <a:spLocks noChangeArrowheads="1"/>
                </p:cNvSpPr>
                <p:nvPr/>
              </p:nvSpPr>
              <p:spPr bwMode="auto">
                <a:xfrm>
                  <a:off x="1715430"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16" name="Oval 49"/>
                <p:cNvSpPr>
                  <a:spLocks noChangeArrowheads="1"/>
                </p:cNvSpPr>
                <p:nvPr/>
              </p:nvSpPr>
              <p:spPr bwMode="auto">
                <a:xfrm>
                  <a:off x="1715430" y="182173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17" name="Oval 50"/>
                <p:cNvSpPr>
                  <a:spLocks noChangeArrowheads="1"/>
                </p:cNvSpPr>
                <p:nvPr/>
              </p:nvSpPr>
              <p:spPr bwMode="auto">
                <a:xfrm>
                  <a:off x="1715430"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18" name="Oval 51"/>
                <p:cNvSpPr>
                  <a:spLocks noChangeArrowheads="1"/>
                </p:cNvSpPr>
                <p:nvPr/>
              </p:nvSpPr>
              <p:spPr bwMode="auto">
                <a:xfrm>
                  <a:off x="1819589" y="120103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19" name="Oval 52"/>
                <p:cNvSpPr>
                  <a:spLocks noChangeArrowheads="1"/>
                </p:cNvSpPr>
                <p:nvPr/>
              </p:nvSpPr>
              <p:spPr bwMode="auto">
                <a:xfrm>
                  <a:off x="1819589"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20" name="Oval 53"/>
                <p:cNvSpPr>
                  <a:spLocks noChangeArrowheads="1"/>
                </p:cNvSpPr>
                <p:nvPr/>
              </p:nvSpPr>
              <p:spPr bwMode="auto">
                <a:xfrm>
                  <a:off x="1819589"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21" name="Oval 54"/>
                <p:cNvSpPr>
                  <a:spLocks noChangeArrowheads="1"/>
                </p:cNvSpPr>
                <p:nvPr/>
              </p:nvSpPr>
              <p:spPr bwMode="auto">
                <a:xfrm>
                  <a:off x="1819589"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22" name="Oval 55"/>
                <p:cNvSpPr>
                  <a:spLocks noChangeArrowheads="1"/>
                </p:cNvSpPr>
                <p:nvPr/>
              </p:nvSpPr>
              <p:spPr bwMode="auto">
                <a:xfrm>
                  <a:off x="1819589"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23" name="Oval 56"/>
                <p:cNvSpPr>
                  <a:spLocks noChangeArrowheads="1"/>
                </p:cNvSpPr>
                <p:nvPr/>
              </p:nvSpPr>
              <p:spPr bwMode="auto">
                <a:xfrm>
                  <a:off x="1819589"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24" name="Oval 57"/>
                <p:cNvSpPr>
                  <a:spLocks noChangeArrowheads="1"/>
                </p:cNvSpPr>
                <p:nvPr/>
              </p:nvSpPr>
              <p:spPr bwMode="auto">
                <a:xfrm>
                  <a:off x="1819589" y="182173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25" name="Oval 58"/>
                <p:cNvSpPr>
                  <a:spLocks noChangeArrowheads="1"/>
                </p:cNvSpPr>
                <p:nvPr/>
              </p:nvSpPr>
              <p:spPr bwMode="auto">
                <a:xfrm>
                  <a:off x="1819589"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26" name="Oval 59"/>
                <p:cNvSpPr>
                  <a:spLocks noChangeArrowheads="1"/>
                </p:cNvSpPr>
                <p:nvPr/>
              </p:nvSpPr>
              <p:spPr bwMode="auto">
                <a:xfrm>
                  <a:off x="1819589"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27" name="Oval 60"/>
                <p:cNvSpPr>
                  <a:spLocks noChangeArrowheads="1"/>
                </p:cNvSpPr>
                <p:nvPr/>
              </p:nvSpPr>
              <p:spPr bwMode="auto">
                <a:xfrm>
                  <a:off x="1819589"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28" name="Oval 61"/>
                <p:cNvSpPr>
                  <a:spLocks noChangeArrowheads="1"/>
                </p:cNvSpPr>
                <p:nvPr/>
              </p:nvSpPr>
              <p:spPr bwMode="auto">
                <a:xfrm>
                  <a:off x="1819589"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29" name="Oval 62"/>
                <p:cNvSpPr>
                  <a:spLocks noChangeArrowheads="1"/>
                </p:cNvSpPr>
                <p:nvPr/>
              </p:nvSpPr>
              <p:spPr bwMode="auto">
                <a:xfrm>
                  <a:off x="1925164" y="109687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30" name="Oval 64"/>
                <p:cNvSpPr>
                  <a:spLocks noChangeArrowheads="1"/>
                </p:cNvSpPr>
                <p:nvPr/>
              </p:nvSpPr>
              <p:spPr bwMode="auto">
                <a:xfrm>
                  <a:off x="1925164"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31" name="Oval 65"/>
                <p:cNvSpPr>
                  <a:spLocks noChangeArrowheads="1"/>
                </p:cNvSpPr>
                <p:nvPr/>
              </p:nvSpPr>
              <p:spPr bwMode="auto">
                <a:xfrm>
                  <a:off x="1925164"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32" name="Oval 66"/>
                <p:cNvSpPr>
                  <a:spLocks noChangeArrowheads="1"/>
                </p:cNvSpPr>
                <p:nvPr/>
              </p:nvSpPr>
              <p:spPr bwMode="auto">
                <a:xfrm>
                  <a:off x="1925164"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33" name="Oval 67"/>
                <p:cNvSpPr>
                  <a:spLocks noChangeArrowheads="1"/>
                </p:cNvSpPr>
                <p:nvPr/>
              </p:nvSpPr>
              <p:spPr bwMode="auto">
                <a:xfrm>
                  <a:off x="1925164"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34" name="Oval 68"/>
                <p:cNvSpPr>
                  <a:spLocks noChangeArrowheads="1"/>
                </p:cNvSpPr>
                <p:nvPr/>
              </p:nvSpPr>
              <p:spPr bwMode="auto">
                <a:xfrm>
                  <a:off x="1925164"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35" name="Oval 69"/>
                <p:cNvSpPr>
                  <a:spLocks noChangeArrowheads="1"/>
                </p:cNvSpPr>
                <p:nvPr/>
              </p:nvSpPr>
              <p:spPr bwMode="auto">
                <a:xfrm>
                  <a:off x="1925164"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36" name="Oval 70"/>
                <p:cNvSpPr>
                  <a:spLocks noChangeArrowheads="1"/>
                </p:cNvSpPr>
                <p:nvPr/>
              </p:nvSpPr>
              <p:spPr bwMode="auto">
                <a:xfrm>
                  <a:off x="1925164"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37" name="Oval 71"/>
                <p:cNvSpPr>
                  <a:spLocks noChangeArrowheads="1"/>
                </p:cNvSpPr>
                <p:nvPr/>
              </p:nvSpPr>
              <p:spPr bwMode="auto">
                <a:xfrm>
                  <a:off x="1925164"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38" name="Oval 72"/>
                <p:cNvSpPr>
                  <a:spLocks noChangeArrowheads="1"/>
                </p:cNvSpPr>
                <p:nvPr/>
              </p:nvSpPr>
              <p:spPr bwMode="auto">
                <a:xfrm>
                  <a:off x="1925164"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39" name="Oval 73"/>
                <p:cNvSpPr>
                  <a:spLocks noChangeArrowheads="1"/>
                </p:cNvSpPr>
                <p:nvPr/>
              </p:nvSpPr>
              <p:spPr bwMode="auto">
                <a:xfrm>
                  <a:off x="1925164"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40" name="Oval 74"/>
                <p:cNvSpPr>
                  <a:spLocks noChangeArrowheads="1"/>
                </p:cNvSpPr>
                <p:nvPr/>
              </p:nvSpPr>
              <p:spPr bwMode="auto">
                <a:xfrm>
                  <a:off x="2028615" y="99342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41" name="Oval 75"/>
                <p:cNvSpPr>
                  <a:spLocks noChangeArrowheads="1"/>
                </p:cNvSpPr>
                <p:nvPr/>
              </p:nvSpPr>
              <p:spPr bwMode="auto">
                <a:xfrm>
                  <a:off x="2028615" y="109687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42" name="Oval 76"/>
                <p:cNvSpPr>
                  <a:spLocks noChangeArrowheads="1"/>
                </p:cNvSpPr>
                <p:nvPr/>
              </p:nvSpPr>
              <p:spPr bwMode="auto">
                <a:xfrm>
                  <a:off x="2028615" y="120103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43" name="Oval 77"/>
                <p:cNvSpPr>
                  <a:spLocks noChangeArrowheads="1"/>
                </p:cNvSpPr>
                <p:nvPr/>
              </p:nvSpPr>
              <p:spPr bwMode="auto">
                <a:xfrm>
                  <a:off x="2028615"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44" name="Oval 78"/>
                <p:cNvSpPr>
                  <a:spLocks noChangeArrowheads="1"/>
                </p:cNvSpPr>
                <p:nvPr/>
              </p:nvSpPr>
              <p:spPr bwMode="auto">
                <a:xfrm>
                  <a:off x="2028615"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45" name="Oval 79"/>
                <p:cNvSpPr>
                  <a:spLocks noChangeArrowheads="1"/>
                </p:cNvSpPr>
                <p:nvPr/>
              </p:nvSpPr>
              <p:spPr bwMode="auto">
                <a:xfrm>
                  <a:off x="2028615"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46" name="Oval 80"/>
                <p:cNvSpPr>
                  <a:spLocks noChangeArrowheads="1"/>
                </p:cNvSpPr>
                <p:nvPr/>
              </p:nvSpPr>
              <p:spPr bwMode="auto">
                <a:xfrm>
                  <a:off x="2028615"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47" name="Oval 81"/>
                <p:cNvSpPr>
                  <a:spLocks noChangeArrowheads="1"/>
                </p:cNvSpPr>
                <p:nvPr/>
              </p:nvSpPr>
              <p:spPr bwMode="auto">
                <a:xfrm>
                  <a:off x="2028615"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48" name="Oval 82"/>
                <p:cNvSpPr>
                  <a:spLocks noChangeArrowheads="1"/>
                </p:cNvSpPr>
                <p:nvPr/>
              </p:nvSpPr>
              <p:spPr bwMode="auto">
                <a:xfrm>
                  <a:off x="2028615" y="182173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49" name="Oval 83"/>
                <p:cNvSpPr>
                  <a:spLocks noChangeArrowheads="1"/>
                </p:cNvSpPr>
                <p:nvPr/>
              </p:nvSpPr>
              <p:spPr bwMode="auto">
                <a:xfrm>
                  <a:off x="2028615"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50" name="Oval 84"/>
                <p:cNvSpPr>
                  <a:spLocks noChangeArrowheads="1"/>
                </p:cNvSpPr>
                <p:nvPr/>
              </p:nvSpPr>
              <p:spPr bwMode="auto">
                <a:xfrm>
                  <a:off x="2028615"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51" name="Oval 85"/>
                <p:cNvSpPr>
                  <a:spLocks noChangeArrowheads="1"/>
                </p:cNvSpPr>
                <p:nvPr/>
              </p:nvSpPr>
              <p:spPr bwMode="auto">
                <a:xfrm>
                  <a:off x="2028615"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52" name="Oval 86"/>
                <p:cNvSpPr>
                  <a:spLocks noChangeArrowheads="1"/>
                </p:cNvSpPr>
                <p:nvPr/>
              </p:nvSpPr>
              <p:spPr bwMode="auto">
                <a:xfrm>
                  <a:off x="2028615"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53" name="Oval 87"/>
                <p:cNvSpPr>
                  <a:spLocks noChangeArrowheads="1"/>
                </p:cNvSpPr>
                <p:nvPr/>
              </p:nvSpPr>
              <p:spPr bwMode="auto">
                <a:xfrm>
                  <a:off x="2028615"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54" name="Oval 88"/>
                <p:cNvSpPr>
                  <a:spLocks noChangeArrowheads="1"/>
                </p:cNvSpPr>
                <p:nvPr/>
              </p:nvSpPr>
              <p:spPr bwMode="auto">
                <a:xfrm>
                  <a:off x="2028615" y="244314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55" name="Oval 89"/>
                <p:cNvSpPr>
                  <a:spLocks noChangeArrowheads="1"/>
                </p:cNvSpPr>
                <p:nvPr/>
              </p:nvSpPr>
              <p:spPr bwMode="auto">
                <a:xfrm>
                  <a:off x="2028615"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56" name="Oval 90"/>
                <p:cNvSpPr>
                  <a:spLocks noChangeArrowheads="1"/>
                </p:cNvSpPr>
                <p:nvPr/>
              </p:nvSpPr>
              <p:spPr bwMode="auto">
                <a:xfrm>
                  <a:off x="2134190" y="99342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57" name="Oval 91"/>
                <p:cNvSpPr>
                  <a:spLocks noChangeArrowheads="1"/>
                </p:cNvSpPr>
                <p:nvPr/>
              </p:nvSpPr>
              <p:spPr bwMode="auto">
                <a:xfrm>
                  <a:off x="2134190" y="120103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58" name="Oval 92"/>
                <p:cNvSpPr>
                  <a:spLocks noChangeArrowheads="1"/>
                </p:cNvSpPr>
                <p:nvPr/>
              </p:nvSpPr>
              <p:spPr bwMode="auto">
                <a:xfrm>
                  <a:off x="2134190"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59" name="Oval 93"/>
                <p:cNvSpPr>
                  <a:spLocks noChangeArrowheads="1"/>
                </p:cNvSpPr>
                <p:nvPr/>
              </p:nvSpPr>
              <p:spPr bwMode="auto">
                <a:xfrm>
                  <a:off x="2134190"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60" name="Oval 94"/>
                <p:cNvSpPr>
                  <a:spLocks noChangeArrowheads="1"/>
                </p:cNvSpPr>
                <p:nvPr/>
              </p:nvSpPr>
              <p:spPr bwMode="auto">
                <a:xfrm>
                  <a:off x="2134190"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61" name="Oval 95"/>
                <p:cNvSpPr>
                  <a:spLocks noChangeArrowheads="1"/>
                </p:cNvSpPr>
                <p:nvPr/>
              </p:nvSpPr>
              <p:spPr bwMode="auto">
                <a:xfrm>
                  <a:off x="2134190"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62" name="Oval 96"/>
                <p:cNvSpPr>
                  <a:spLocks noChangeArrowheads="1"/>
                </p:cNvSpPr>
                <p:nvPr/>
              </p:nvSpPr>
              <p:spPr bwMode="auto">
                <a:xfrm>
                  <a:off x="2134190"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63" name="Oval 97"/>
                <p:cNvSpPr>
                  <a:spLocks noChangeArrowheads="1"/>
                </p:cNvSpPr>
                <p:nvPr/>
              </p:nvSpPr>
              <p:spPr bwMode="auto">
                <a:xfrm>
                  <a:off x="2134190" y="182173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64" name="Oval 98"/>
                <p:cNvSpPr>
                  <a:spLocks noChangeArrowheads="1"/>
                </p:cNvSpPr>
                <p:nvPr/>
              </p:nvSpPr>
              <p:spPr bwMode="auto">
                <a:xfrm>
                  <a:off x="2134190"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65" name="Oval 99"/>
                <p:cNvSpPr>
                  <a:spLocks noChangeArrowheads="1"/>
                </p:cNvSpPr>
                <p:nvPr/>
              </p:nvSpPr>
              <p:spPr bwMode="auto">
                <a:xfrm>
                  <a:off x="2134190"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66" name="Oval 100"/>
                <p:cNvSpPr>
                  <a:spLocks noChangeArrowheads="1"/>
                </p:cNvSpPr>
                <p:nvPr/>
              </p:nvSpPr>
              <p:spPr bwMode="auto">
                <a:xfrm>
                  <a:off x="2134190"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67" name="Oval 101"/>
                <p:cNvSpPr>
                  <a:spLocks noChangeArrowheads="1"/>
                </p:cNvSpPr>
                <p:nvPr/>
              </p:nvSpPr>
              <p:spPr bwMode="auto">
                <a:xfrm>
                  <a:off x="2134190"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68" name="Oval 102"/>
                <p:cNvSpPr>
                  <a:spLocks noChangeArrowheads="1"/>
                </p:cNvSpPr>
                <p:nvPr/>
              </p:nvSpPr>
              <p:spPr bwMode="auto">
                <a:xfrm>
                  <a:off x="2134190"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69" name="Oval 103"/>
                <p:cNvSpPr>
                  <a:spLocks noChangeArrowheads="1"/>
                </p:cNvSpPr>
                <p:nvPr/>
              </p:nvSpPr>
              <p:spPr bwMode="auto">
                <a:xfrm>
                  <a:off x="2134190" y="244314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70" name="Oval 104"/>
                <p:cNvSpPr>
                  <a:spLocks noChangeArrowheads="1"/>
                </p:cNvSpPr>
                <p:nvPr/>
              </p:nvSpPr>
              <p:spPr bwMode="auto">
                <a:xfrm>
                  <a:off x="2134190"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71" name="Oval 105"/>
                <p:cNvSpPr>
                  <a:spLocks noChangeArrowheads="1"/>
                </p:cNvSpPr>
                <p:nvPr/>
              </p:nvSpPr>
              <p:spPr bwMode="auto">
                <a:xfrm>
                  <a:off x="2237641" y="99342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72" name="Oval 106"/>
                <p:cNvSpPr>
                  <a:spLocks noChangeArrowheads="1"/>
                </p:cNvSpPr>
                <p:nvPr/>
              </p:nvSpPr>
              <p:spPr bwMode="auto">
                <a:xfrm>
                  <a:off x="2237641"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73" name="Oval 107"/>
                <p:cNvSpPr>
                  <a:spLocks noChangeArrowheads="1"/>
                </p:cNvSpPr>
                <p:nvPr/>
              </p:nvSpPr>
              <p:spPr bwMode="auto">
                <a:xfrm>
                  <a:off x="2237641"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74" name="Oval 108"/>
                <p:cNvSpPr>
                  <a:spLocks noChangeArrowheads="1"/>
                </p:cNvSpPr>
                <p:nvPr/>
              </p:nvSpPr>
              <p:spPr bwMode="auto">
                <a:xfrm>
                  <a:off x="2237641"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75" name="Oval 109"/>
                <p:cNvSpPr>
                  <a:spLocks noChangeArrowheads="1"/>
                </p:cNvSpPr>
                <p:nvPr/>
              </p:nvSpPr>
              <p:spPr bwMode="auto">
                <a:xfrm>
                  <a:off x="2237641"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76" name="Oval 110"/>
                <p:cNvSpPr>
                  <a:spLocks noChangeArrowheads="1"/>
                </p:cNvSpPr>
                <p:nvPr/>
              </p:nvSpPr>
              <p:spPr bwMode="auto">
                <a:xfrm>
                  <a:off x="2237641"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77" name="Oval 111"/>
                <p:cNvSpPr>
                  <a:spLocks noChangeArrowheads="1"/>
                </p:cNvSpPr>
                <p:nvPr/>
              </p:nvSpPr>
              <p:spPr bwMode="auto">
                <a:xfrm>
                  <a:off x="2237641" y="182173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78" name="Oval 112"/>
                <p:cNvSpPr>
                  <a:spLocks noChangeArrowheads="1"/>
                </p:cNvSpPr>
                <p:nvPr/>
              </p:nvSpPr>
              <p:spPr bwMode="auto">
                <a:xfrm>
                  <a:off x="2237641"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79" name="Oval 113"/>
                <p:cNvSpPr>
                  <a:spLocks noChangeArrowheads="1"/>
                </p:cNvSpPr>
                <p:nvPr/>
              </p:nvSpPr>
              <p:spPr bwMode="auto">
                <a:xfrm>
                  <a:off x="2237641"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80" name="Oval 114"/>
                <p:cNvSpPr>
                  <a:spLocks noChangeArrowheads="1"/>
                </p:cNvSpPr>
                <p:nvPr/>
              </p:nvSpPr>
              <p:spPr bwMode="auto">
                <a:xfrm>
                  <a:off x="2237641"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81" name="Oval 115"/>
                <p:cNvSpPr>
                  <a:spLocks noChangeArrowheads="1"/>
                </p:cNvSpPr>
                <p:nvPr/>
              </p:nvSpPr>
              <p:spPr bwMode="auto">
                <a:xfrm>
                  <a:off x="2237641"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82" name="Oval 116"/>
                <p:cNvSpPr>
                  <a:spLocks noChangeArrowheads="1"/>
                </p:cNvSpPr>
                <p:nvPr/>
              </p:nvSpPr>
              <p:spPr bwMode="auto">
                <a:xfrm>
                  <a:off x="2237641"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83" name="Oval 117"/>
                <p:cNvSpPr>
                  <a:spLocks noChangeArrowheads="1"/>
                </p:cNvSpPr>
                <p:nvPr/>
              </p:nvSpPr>
              <p:spPr bwMode="auto">
                <a:xfrm>
                  <a:off x="2237641" y="244314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84" name="Oval 118"/>
                <p:cNvSpPr>
                  <a:spLocks noChangeArrowheads="1"/>
                </p:cNvSpPr>
                <p:nvPr/>
              </p:nvSpPr>
              <p:spPr bwMode="auto">
                <a:xfrm>
                  <a:off x="2237641"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85" name="Oval 119"/>
                <p:cNvSpPr>
                  <a:spLocks noChangeArrowheads="1"/>
                </p:cNvSpPr>
                <p:nvPr/>
              </p:nvSpPr>
              <p:spPr bwMode="auto">
                <a:xfrm>
                  <a:off x="2237641" y="265075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86" name="Oval 120"/>
                <p:cNvSpPr>
                  <a:spLocks noChangeArrowheads="1"/>
                </p:cNvSpPr>
                <p:nvPr/>
              </p:nvSpPr>
              <p:spPr bwMode="auto">
                <a:xfrm>
                  <a:off x="2237641" y="275420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87" name="Oval 121"/>
                <p:cNvSpPr>
                  <a:spLocks noChangeArrowheads="1"/>
                </p:cNvSpPr>
                <p:nvPr/>
              </p:nvSpPr>
              <p:spPr bwMode="auto">
                <a:xfrm>
                  <a:off x="2343216" y="109687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88" name="Oval 122"/>
                <p:cNvSpPr>
                  <a:spLocks noChangeArrowheads="1"/>
                </p:cNvSpPr>
                <p:nvPr/>
              </p:nvSpPr>
              <p:spPr bwMode="auto">
                <a:xfrm>
                  <a:off x="2343216" y="120103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89" name="Oval 123"/>
                <p:cNvSpPr>
                  <a:spLocks noChangeArrowheads="1"/>
                </p:cNvSpPr>
                <p:nvPr/>
              </p:nvSpPr>
              <p:spPr bwMode="auto">
                <a:xfrm>
                  <a:off x="2343216"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90" name="Oval 125"/>
                <p:cNvSpPr>
                  <a:spLocks noChangeArrowheads="1"/>
                </p:cNvSpPr>
                <p:nvPr/>
              </p:nvSpPr>
              <p:spPr bwMode="auto">
                <a:xfrm>
                  <a:off x="2343216"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91" name="Oval 127"/>
                <p:cNvSpPr>
                  <a:spLocks noChangeArrowheads="1"/>
                </p:cNvSpPr>
                <p:nvPr/>
              </p:nvSpPr>
              <p:spPr bwMode="auto">
                <a:xfrm>
                  <a:off x="2343216"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92" name="Oval 128"/>
                <p:cNvSpPr>
                  <a:spLocks noChangeArrowheads="1"/>
                </p:cNvSpPr>
                <p:nvPr/>
              </p:nvSpPr>
              <p:spPr bwMode="auto">
                <a:xfrm>
                  <a:off x="2343216" y="182173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93" name="Oval 129"/>
                <p:cNvSpPr>
                  <a:spLocks noChangeArrowheads="1"/>
                </p:cNvSpPr>
                <p:nvPr/>
              </p:nvSpPr>
              <p:spPr bwMode="auto">
                <a:xfrm>
                  <a:off x="2343216"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94" name="Oval 130"/>
                <p:cNvSpPr>
                  <a:spLocks noChangeArrowheads="1"/>
                </p:cNvSpPr>
                <p:nvPr/>
              </p:nvSpPr>
              <p:spPr bwMode="auto">
                <a:xfrm>
                  <a:off x="2343216"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95" name="Oval 131"/>
                <p:cNvSpPr>
                  <a:spLocks noChangeArrowheads="1"/>
                </p:cNvSpPr>
                <p:nvPr/>
              </p:nvSpPr>
              <p:spPr bwMode="auto">
                <a:xfrm>
                  <a:off x="2343216"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96" name="Oval 133"/>
                <p:cNvSpPr>
                  <a:spLocks noChangeArrowheads="1"/>
                </p:cNvSpPr>
                <p:nvPr/>
              </p:nvSpPr>
              <p:spPr bwMode="auto">
                <a:xfrm>
                  <a:off x="2343216"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97" name="Oval 134"/>
                <p:cNvSpPr>
                  <a:spLocks noChangeArrowheads="1"/>
                </p:cNvSpPr>
                <p:nvPr/>
              </p:nvSpPr>
              <p:spPr bwMode="auto">
                <a:xfrm>
                  <a:off x="2343216" y="244314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98" name="Oval 135"/>
                <p:cNvSpPr>
                  <a:spLocks noChangeArrowheads="1"/>
                </p:cNvSpPr>
                <p:nvPr/>
              </p:nvSpPr>
              <p:spPr bwMode="auto">
                <a:xfrm>
                  <a:off x="2343216"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99" name="Oval 136"/>
                <p:cNvSpPr>
                  <a:spLocks noChangeArrowheads="1"/>
                </p:cNvSpPr>
                <p:nvPr/>
              </p:nvSpPr>
              <p:spPr bwMode="auto">
                <a:xfrm>
                  <a:off x="2343216" y="265075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00" name="Oval 137"/>
                <p:cNvSpPr>
                  <a:spLocks noChangeArrowheads="1"/>
                </p:cNvSpPr>
                <p:nvPr/>
              </p:nvSpPr>
              <p:spPr bwMode="auto">
                <a:xfrm>
                  <a:off x="2343216" y="275420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01" name="Oval 138"/>
                <p:cNvSpPr>
                  <a:spLocks noChangeArrowheads="1"/>
                </p:cNvSpPr>
                <p:nvPr/>
              </p:nvSpPr>
              <p:spPr bwMode="auto">
                <a:xfrm>
                  <a:off x="2447375" y="88926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02" name="Oval 139"/>
                <p:cNvSpPr>
                  <a:spLocks noChangeArrowheads="1"/>
                </p:cNvSpPr>
                <p:nvPr/>
              </p:nvSpPr>
              <p:spPr bwMode="auto">
                <a:xfrm>
                  <a:off x="2447375" y="109687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03" name="Oval 140"/>
                <p:cNvSpPr>
                  <a:spLocks noChangeArrowheads="1"/>
                </p:cNvSpPr>
                <p:nvPr/>
              </p:nvSpPr>
              <p:spPr bwMode="auto">
                <a:xfrm>
                  <a:off x="2447375"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04" name="Oval 141"/>
                <p:cNvSpPr>
                  <a:spLocks noChangeArrowheads="1"/>
                </p:cNvSpPr>
                <p:nvPr/>
              </p:nvSpPr>
              <p:spPr bwMode="auto">
                <a:xfrm>
                  <a:off x="2447375"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05" name="Oval 142"/>
                <p:cNvSpPr>
                  <a:spLocks noChangeArrowheads="1"/>
                </p:cNvSpPr>
                <p:nvPr/>
              </p:nvSpPr>
              <p:spPr bwMode="auto">
                <a:xfrm>
                  <a:off x="2447375"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06" name="Oval 143"/>
                <p:cNvSpPr>
                  <a:spLocks noChangeArrowheads="1"/>
                </p:cNvSpPr>
                <p:nvPr/>
              </p:nvSpPr>
              <p:spPr bwMode="auto">
                <a:xfrm>
                  <a:off x="2447375"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07" name="Oval 144"/>
                <p:cNvSpPr>
                  <a:spLocks noChangeArrowheads="1"/>
                </p:cNvSpPr>
                <p:nvPr/>
              </p:nvSpPr>
              <p:spPr bwMode="auto">
                <a:xfrm>
                  <a:off x="2447375"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08" name="Oval 145"/>
                <p:cNvSpPr>
                  <a:spLocks noChangeArrowheads="1"/>
                </p:cNvSpPr>
                <p:nvPr/>
              </p:nvSpPr>
              <p:spPr bwMode="auto">
                <a:xfrm>
                  <a:off x="2447375" y="182173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09" name="Oval 147"/>
                <p:cNvSpPr>
                  <a:spLocks noChangeArrowheads="1"/>
                </p:cNvSpPr>
                <p:nvPr/>
              </p:nvSpPr>
              <p:spPr bwMode="auto">
                <a:xfrm>
                  <a:off x="2447375"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10" name="Oval 148"/>
                <p:cNvSpPr>
                  <a:spLocks noChangeArrowheads="1"/>
                </p:cNvSpPr>
                <p:nvPr/>
              </p:nvSpPr>
              <p:spPr bwMode="auto">
                <a:xfrm>
                  <a:off x="2447375"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11" name="Oval 149"/>
                <p:cNvSpPr>
                  <a:spLocks noChangeArrowheads="1"/>
                </p:cNvSpPr>
                <p:nvPr/>
              </p:nvSpPr>
              <p:spPr bwMode="auto">
                <a:xfrm>
                  <a:off x="2447375"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12" name="Oval 150"/>
                <p:cNvSpPr>
                  <a:spLocks noChangeArrowheads="1"/>
                </p:cNvSpPr>
                <p:nvPr/>
              </p:nvSpPr>
              <p:spPr bwMode="auto">
                <a:xfrm>
                  <a:off x="2447375"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13" name="Oval 152"/>
                <p:cNvSpPr>
                  <a:spLocks noChangeArrowheads="1"/>
                </p:cNvSpPr>
                <p:nvPr/>
              </p:nvSpPr>
              <p:spPr bwMode="auto">
                <a:xfrm>
                  <a:off x="2447375" y="275420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14" name="Oval 153"/>
                <p:cNvSpPr>
                  <a:spLocks noChangeArrowheads="1"/>
                </p:cNvSpPr>
                <p:nvPr/>
              </p:nvSpPr>
              <p:spPr bwMode="auto">
                <a:xfrm>
                  <a:off x="2552242" y="88926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15" name="Oval 154"/>
                <p:cNvSpPr>
                  <a:spLocks noChangeArrowheads="1"/>
                </p:cNvSpPr>
                <p:nvPr/>
              </p:nvSpPr>
              <p:spPr bwMode="auto">
                <a:xfrm>
                  <a:off x="2552242" y="99342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16" name="Oval 155"/>
                <p:cNvSpPr>
                  <a:spLocks noChangeArrowheads="1"/>
                </p:cNvSpPr>
                <p:nvPr/>
              </p:nvSpPr>
              <p:spPr bwMode="auto">
                <a:xfrm>
                  <a:off x="2552242" y="109687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17" name="Oval 156"/>
                <p:cNvSpPr>
                  <a:spLocks noChangeArrowheads="1"/>
                </p:cNvSpPr>
                <p:nvPr/>
              </p:nvSpPr>
              <p:spPr bwMode="auto">
                <a:xfrm>
                  <a:off x="2552242" y="120103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18" name="Oval 157"/>
                <p:cNvSpPr>
                  <a:spLocks noChangeArrowheads="1"/>
                </p:cNvSpPr>
                <p:nvPr/>
              </p:nvSpPr>
              <p:spPr bwMode="auto">
                <a:xfrm>
                  <a:off x="2552242"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19" name="Oval 158"/>
                <p:cNvSpPr>
                  <a:spLocks noChangeArrowheads="1"/>
                </p:cNvSpPr>
                <p:nvPr/>
              </p:nvSpPr>
              <p:spPr bwMode="auto">
                <a:xfrm>
                  <a:off x="2552242"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20" name="Oval 159"/>
                <p:cNvSpPr>
                  <a:spLocks noChangeArrowheads="1"/>
                </p:cNvSpPr>
                <p:nvPr/>
              </p:nvSpPr>
              <p:spPr bwMode="auto">
                <a:xfrm>
                  <a:off x="2552242"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21" name="Oval 160"/>
                <p:cNvSpPr>
                  <a:spLocks noChangeArrowheads="1"/>
                </p:cNvSpPr>
                <p:nvPr/>
              </p:nvSpPr>
              <p:spPr bwMode="auto">
                <a:xfrm>
                  <a:off x="2552242" y="182173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22" name="Oval 161"/>
                <p:cNvSpPr>
                  <a:spLocks noChangeArrowheads="1"/>
                </p:cNvSpPr>
                <p:nvPr/>
              </p:nvSpPr>
              <p:spPr bwMode="auto">
                <a:xfrm>
                  <a:off x="2552242"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23" name="Oval 163"/>
                <p:cNvSpPr>
                  <a:spLocks noChangeArrowheads="1"/>
                </p:cNvSpPr>
                <p:nvPr/>
              </p:nvSpPr>
              <p:spPr bwMode="auto">
                <a:xfrm>
                  <a:off x="2552242"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24" name="Oval 164"/>
                <p:cNvSpPr>
                  <a:spLocks noChangeArrowheads="1"/>
                </p:cNvSpPr>
                <p:nvPr/>
              </p:nvSpPr>
              <p:spPr bwMode="auto">
                <a:xfrm>
                  <a:off x="2552242"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25" name="Oval 165"/>
                <p:cNvSpPr>
                  <a:spLocks noChangeArrowheads="1"/>
                </p:cNvSpPr>
                <p:nvPr/>
              </p:nvSpPr>
              <p:spPr bwMode="auto">
                <a:xfrm>
                  <a:off x="2552242"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26" name="Oval 166"/>
                <p:cNvSpPr>
                  <a:spLocks noChangeArrowheads="1"/>
                </p:cNvSpPr>
                <p:nvPr/>
              </p:nvSpPr>
              <p:spPr bwMode="auto">
                <a:xfrm>
                  <a:off x="2552242" y="244314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27" name="Oval 167"/>
                <p:cNvSpPr>
                  <a:spLocks noChangeArrowheads="1"/>
                </p:cNvSpPr>
                <p:nvPr/>
              </p:nvSpPr>
              <p:spPr bwMode="auto">
                <a:xfrm>
                  <a:off x="2552242" y="265075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28" name="Oval 168"/>
                <p:cNvSpPr>
                  <a:spLocks noChangeArrowheads="1"/>
                </p:cNvSpPr>
                <p:nvPr/>
              </p:nvSpPr>
              <p:spPr bwMode="auto">
                <a:xfrm>
                  <a:off x="2552242" y="275420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29" name="Oval 169"/>
                <p:cNvSpPr>
                  <a:spLocks noChangeArrowheads="1"/>
                </p:cNvSpPr>
                <p:nvPr/>
              </p:nvSpPr>
              <p:spPr bwMode="auto">
                <a:xfrm>
                  <a:off x="2552242" y="285765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30" name="Oval 170"/>
                <p:cNvSpPr>
                  <a:spLocks noChangeArrowheads="1"/>
                </p:cNvSpPr>
                <p:nvPr/>
              </p:nvSpPr>
              <p:spPr bwMode="auto">
                <a:xfrm>
                  <a:off x="2552242" y="296039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31" name="Oval 171"/>
                <p:cNvSpPr>
                  <a:spLocks noChangeArrowheads="1"/>
                </p:cNvSpPr>
                <p:nvPr/>
              </p:nvSpPr>
              <p:spPr bwMode="auto">
                <a:xfrm>
                  <a:off x="2656401" y="78581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32" name="Oval 172"/>
                <p:cNvSpPr>
                  <a:spLocks noChangeArrowheads="1"/>
                </p:cNvSpPr>
                <p:nvPr/>
              </p:nvSpPr>
              <p:spPr bwMode="auto">
                <a:xfrm>
                  <a:off x="2656401" y="88926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33" name="Oval 173"/>
                <p:cNvSpPr>
                  <a:spLocks noChangeArrowheads="1"/>
                </p:cNvSpPr>
                <p:nvPr/>
              </p:nvSpPr>
              <p:spPr bwMode="auto">
                <a:xfrm>
                  <a:off x="2656401" y="99342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34" name="Oval 175"/>
                <p:cNvSpPr>
                  <a:spLocks noChangeArrowheads="1"/>
                </p:cNvSpPr>
                <p:nvPr/>
              </p:nvSpPr>
              <p:spPr bwMode="auto">
                <a:xfrm>
                  <a:off x="2656401" y="120103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35" name="Oval 176"/>
                <p:cNvSpPr>
                  <a:spLocks noChangeArrowheads="1"/>
                </p:cNvSpPr>
                <p:nvPr/>
              </p:nvSpPr>
              <p:spPr bwMode="auto">
                <a:xfrm>
                  <a:off x="2656401"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36" name="Oval 177"/>
                <p:cNvSpPr>
                  <a:spLocks noChangeArrowheads="1"/>
                </p:cNvSpPr>
                <p:nvPr/>
              </p:nvSpPr>
              <p:spPr bwMode="auto">
                <a:xfrm>
                  <a:off x="2656401"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37" name="Oval 178"/>
                <p:cNvSpPr>
                  <a:spLocks noChangeArrowheads="1"/>
                </p:cNvSpPr>
                <p:nvPr/>
              </p:nvSpPr>
              <p:spPr bwMode="auto">
                <a:xfrm>
                  <a:off x="2656401"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38" name="Oval 180"/>
                <p:cNvSpPr>
                  <a:spLocks noChangeArrowheads="1"/>
                </p:cNvSpPr>
                <p:nvPr/>
              </p:nvSpPr>
              <p:spPr bwMode="auto">
                <a:xfrm>
                  <a:off x="2656401"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39" name="Oval 181"/>
                <p:cNvSpPr>
                  <a:spLocks noChangeArrowheads="1"/>
                </p:cNvSpPr>
                <p:nvPr/>
              </p:nvSpPr>
              <p:spPr bwMode="auto">
                <a:xfrm>
                  <a:off x="2656401"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40" name="Oval 182"/>
                <p:cNvSpPr>
                  <a:spLocks noChangeArrowheads="1"/>
                </p:cNvSpPr>
                <p:nvPr/>
              </p:nvSpPr>
              <p:spPr bwMode="auto">
                <a:xfrm>
                  <a:off x="2656401"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41" name="Oval 183"/>
                <p:cNvSpPr>
                  <a:spLocks noChangeArrowheads="1"/>
                </p:cNvSpPr>
                <p:nvPr/>
              </p:nvSpPr>
              <p:spPr bwMode="auto">
                <a:xfrm>
                  <a:off x="2656401"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42" name="Oval 184"/>
                <p:cNvSpPr>
                  <a:spLocks noChangeArrowheads="1"/>
                </p:cNvSpPr>
                <p:nvPr/>
              </p:nvSpPr>
              <p:spPr bwMode="auto">
                <a:xfrm>
                  <a:off x="2656401"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43" name="Oval 185"/>
                <p:cNvSpPr>
                  <a:spLocks noChangeArrowheads="1"/>
                </p:cNvSpPr>
                <p:nvPr/>
              </p:nvSpPr>
              <p:spPr bwMode="auto">
                <a:xfrm>
                  <a:off x="2656401" y="244314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44" name="Oval 186"/>
                <p:cNvSpPr>
                  <a:spLocks noChangeArrowheads="1"/>
                </p:cNvSpPr>
                <p:nvPr/>
              </p:nvSpPr>
              <p:spPr bwMode="auto">
                <a:xfrm>
                  <a:off x="2656401"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45" name="Oval 187"/>
                <p:cNvSpPr>
                  <a:spLocks noChangeArrowheads="1"/>
                </p:cNvSpPr>
                <p:nvPr/>
              </p:nvSpPr>
              <p:spPr bwMode="auto">
                <a:xfrm>
                  <a:off x="2656401" y="265075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46" name="Oval 188"/>
                <p:cNvSpPr>
                  <a:spLocks noChangeArrowheads="1"/>
                </p:cNvSpPr>
                <p:nvPr/>
              </p:nvSpPr>
              <p:spPr bwMode="auto">
                <a:xfrm>
                  <a:off x="2656401" y="285765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47" name="Oval 189"/>
                <p:cNvSpPr>
                  <a:spLocks noChangeArrowheads="1"/>
                </p:cNvSpPr>
                <p:nvPr/>
              </p:nvSpPr>
              <p:spPr bwMode="auto">
                <a:xfrm>
                  <a:off x="2656401" y="296039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48" name="Oval 190"/>
                <p:cNvSpPr>
                  <a:spLocks noChangeArrowheads="1"/>
                </p:cNvSpPr>
                <p:nvPr/>
              </p:nvSpPr>
              <p:spPr bwMode="auto">
                <a:xfrm>
                  <a:off x="2656401" y="306384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49" name="Oval 191"/>
                <p:cNvSpPr>
                  <a:spLocks noChangeArrowheads="1"/>
                </p:cNvSpPr>
                <p:nvPr/>
              </p:nvSpPr>
              <p:spPr bwMode="auto">
                <a:xfrm>
                  <a:off x="2656401" y="316800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50" name="Oval 192"/>
                <p:cNvSpPr>
                  <a:spLocks noChangeArrowheads="1"/>
                </p:cNvSpPr>
                <p:nvPr/>
              </p:nvSpPr>
              <p:spPr bwMode="auto">
                <a:xfrm>
                  <a:off x="2656401" y="327145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51" name="Oval 193"/>
                <p:cNvSpPr>
                  <a:spLocks noChangeArrowheads="1"/>
                </p:cNvSpPr>
                <p:nvPr/>
              </p:nvSpPr>
              <p:spPr bwMode="auto">
                <a:xfrm>
                  <a:off x="2759851" y="78581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52" name="Oval 194"/>
                <p:cNvSpPr>
                  <a:spLocks noChangeArrowheads="1"/>
                </p:cNvSpPr>
                <p:nvPr/>
              </p:nvSpPr>
              <p:spPr bwMode="auto">
                <a:xfrm>
                  <a:off x="2759851" y="889269"/>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53" name="Oval 195"/>
                <p:cNvSpPr>
                  <a:spLocks noChangeArrowheads="1"/>
                </p:cNvSpPr>
                <p:nvPr/>
              </p:nvSpPr>
              <p:spPr bwMode="auto">
                <a:xfrm>
                  <a:off x="2759851" y="1201036"/>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54" name="Oval 196"/>
                <p:cNvSpPr>
                  <a:spLocks noChangeArrowheads="1"/>
                </p:cNvSpPr>
                <p:nvPr/>
              </p:nvSpPr>
              <p:spPr bwMode="auto">
                <a:xfrm>
                  <a:off x="2759851" y="1304486"/>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55" name="Oval 197"/>
                <p:cNvSpPr>
                  <a:spLocks noChangeArrowheads="1"/>
                </p:cNvSpPr>
                <p:nvPr/>
              </p:nvSpPr>
              <p:spPr bwMode="auto">
                <a:xfrm>
                  <a:off x="2759851" y="151067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56" name="Oval 198"/>
                <p:cNvSpPr>
                  <a:spLocks noChangeArrowheads="1"/>
                </p:cNvSpPr>
                <p:nvPr/>
              </p:nvSpPr>
              <p:spPr bwMode="auto">
                <a:xfrm>
                  <a:off x="2759851" y="161412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57" name="Oval 199"/>
                <p:cNvSpPr>
                  <a:spLocks noChangeArrowheads="1"/>
                </p:cNvSpPr>
                <p:nvPr/>
              </p:nvSpPr>
              <p:spPr bwMode="auto">
                <a:xfrm>
                  <a:off x="2759851" y="1718287"/>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58" name="Oval 200"/>
                <p:cNvSpPr>
                  <a:spLocks noChangeArrowheads="1"/>
                </p:cNvSpPr>
                <p:nvPr/>
              </p:nvSpPr>
              <p:spPr bwMode="auto">
                <a:xfrm>
                  <a:off x="2759851" y="1821737"/>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59" name="Oval 201"/>
                <p:cNvSpPr>
                  <a:spLocks noChangeArrowheads="1"/>
                </p:cNvSpPr>
                <p:nvPr/>
              </p:nvSpPr>
              <p:spPr bwMode="auto">
                <a:xfrm>
                  <a:off x="2759851" y="1925896"/>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60" name="Oval 202"/>
                <p:cNvSpPr>
                  <a:spLocks noChangeArrowheads="1"/>
                </p:cNvSpPr>
                <p:nvPr/>
              </p:nvSpPr>
              <p:spPr bwMode="auto">
                <a:xfrm>
                  <a:off x="2759851" y="2029346"/>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61" name="Oval 203"/>
                <p:cNvSpPr>
                  <a:spLocks noChangeArrowheads="1"/>
                </p:cNvSpPr>
                <p:nvPr/>
              </p:nvSpPr>
              <p:spPr bwMode="auto">
                <a:xfrm>
                  <a:off x="2759851" y="2133505"/>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62" name="Oval 204"/>
                <p:cNvSpPr>
                  <a:spLocks noChangeArrowheads="1"/>
                </p:cNvSpPr>
                <p:nvPr/>
              </p:nvSpPr>
              <p:spPr bwMode="auto">
                <a:xfrm>
                  <a:off x="2759851" y="223553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63" name="Oval 205"/>
                <p:cNvSpPr>
                  <a:spLocks noChangeArrowheads="1"/>
                </p:cNvSpPr>
                <p:nvPr/>
              </p:nvSpPr>
              <p:spPr bwMode="auto">
                <a:xfrm>
                  <a:off x="2759851" y="233898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64" name="Oval 207"/>
                <p:cNvSpPr>
                  <a:spLocks noChangeArrowheads="1"/>
                </p:cNvSpPr>
                <p:nvPr/>
              </p:nvSpPr>
              <p:spPr bwMode="auto">
                <a:xfrm>
                  <a:off x="2759851" y="2754205"/>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65" name="Oval 208"/>
                <p:cNvSpPr>
                  <a:spLocks noChangeArrowheads="1"/>
                </p:cNvSpPr>
                <p:nvPr/>
              </p:nvSpPr>
              <p:spPr bwMode="auto">
                <a:xfrm>
                  <a:off x="2759851" y="2960396"/>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66" name="Oval 209"/>
                <p:cNvSpPr>
                  <a:spLocks noChangeArrowheads="1"/>
                </p:cNvSpPr>
                <p:nvPr/>
              </p:nvSpPr>
              <p:spPr bwMode="auto">
                <a:xfrm>
                  <a:off x="2759851" y="3063847"/>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67" name="Oval 210"/>
                <p:cNvSpPr>
                  <a:spLocks noChangeArrowheads="1"/>
                </p:cNvSpPr>
                <p:nvPr/>
              </p:nvSpPr>
              <p:spPr bwMode="auto">
                <a:xfrm>
                  <a:off x="2759851" y="3168005"/>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68" name="Oval 211"/>
                <p:cNvSpPr>
                  <a:spLocks noChangeArrowheads="1"/>
                </p:cNvSpPr>
                <p:nvPr/>
              </p:nvSpPr>
              <p:spPr bwMode="auto">
                <a:xfrm>
                  <a:off x="2759851" y="3271455"/>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69" name="Oval 212"/>
                <p:cNvSpPr>
                  <a:spLocks noChangeArrowheads="1"/>
                </p:cNvSpPr>
                <p:nvPr/>
              </p:nvSpPr>
              <p:spPr bwMode="auto">
                <a:xfrm>
                  <a:off x="2759851" y="3374906"/>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70" name="Oval 213"/>
                <p:cNvSpPr>
                  <a:spLocks noChangeArrowheads="1"/>
                </p:cNvSpPr>
                <p:nvPr/>
              </p:nvSpPr>
              <p:spPr bwMode="auto">
                <a:xfrm>
                  <a:off x="2759851" y="3479064"/>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71" name="Oval 214"/>
                <p:cNvSpPr>
                  <a:spLocks noChangeArrowheads="1"/>
                </p:cNvSpPr>
                <p:nvPr/>
              </p:nvSpPr>
              <p:spPr bwMode="auto">
                <a:xfrm>
                  <a:off x="2865427" y="78581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72" name="Oval 215"/>
                <p:cNvSpPr>
                  <a:spLocks noChangeArrowheads="1"/>
                </p:cNvSpPr>
                <p:nvPr/>
              </p:nvSpPr>
              <p:spPr bwMode="auto">
                <a:xfrm>
                  <a:off x="2865427" y="88926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73" name="Oval 216"/>
                <p:cNvSpPr>
                  <a:spLocks noChangeArrowheads="1"/>
                </p:cNvSpPr>
                <p:nvPr/>
              </p:nvSpPr>
              <p:spPr bwMode="auto">
                <a:xfrm>
                  <a:off x="2865427"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74" name="Oval 217"/>
                <p:cNvSpPr>
                  <a:spLocks noChangeArrowheads="1"/>
                </p:cNvSpPr>
                <p:nvPr/>
              </p:nvSpPr>
              <p:spPr bwMode="auto">
                <a:xfrm>
                  <a:off x="2865427" y="1408644"/>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75" name="Oval 219"/>
                <p:cNvSpPr>
                  <a:spLocks noChangeArrowheads="1"/>
                </p:cNvSpPr>
                <p:nvPr/>
              </p:nvSpPr>
              <p:spPr bwMode="auto">
                <a:xfrm>
                  <a:off x="2865427"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76" name="Oval 221"/>
                <p:cNvSpPr>
                  <a:spLocks noChangeArrowheads="1"/>
                </p:cNvSpPr>
                <p:nvPr/>
              </p:nvSpPr>
              <p:spPr bwMode="auto">
                <a:xfrm>
                  <a:off x="2865427" y="182173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77" name="Oval 222"/>
                <p:cNvSpPr>
                  <a:spLocks noChangeArrowheads="1"/>
                </p:cNvSpPr>
                <p:nvPr/>
              </p:nvSpPr>
              <p:spPr bwMode="auto">
                <a:xfrm>
                  <a:off x="2865427" y="192589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78" name="Oval 223"/>
                <p:cNvSpPr>
                  <a:spLocks noChangeArrowheads="1"/>
                </p:cNvSpPr>
                <p:nvPr/>
              </p:nvSpPr>
              <p:spPr bwMode="auto">
                <a:xfrm>
                  <a:off x="2865427" y="202934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79" name="Oval 224"/>
                <p:cNvSpPr>
                  <a:spLocks noChangeArrowheads="1"/>
                </p:cNvSpPr>
                <p:nvPr/>
              </p:nvSpPr>
              <p:spPr bwMode="auto">
                <a:xfrm>
                  <a:off x="2865427" y="2133504"/>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80" name="Oval 225"/>
                <p:cNvSpPr>
                  <a:spLocks noChangeArrowheads="1"/>
                </p:cNvSpPr>
                <p:nvPr/>
              </p:nvSpPr>
              <p:spPr bwMode="auto">
                <a:xfrm>
                  <a:off x="2865427" y="223553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81" name="Oval 226"/>
                <p:cNvSpPr>
                  <a:spLocks noChangeArrowheads="1"/>
                </p:cNvSpPr>
                <p:nvPr/>
              </p:nvSpPr>
              <p:spPr bwMode="auto">
                <a:xfrm>
                  <a:off x="2865427" y="275420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82" name="Oval 227"/>
                <p:cNvSpPr>
                  <a:spLocks noChangeArrowheads="1"/>
                </p:cNvSpPr>
                <p:nvPr/>
              </p:nvSpPr>
              <p:spPr bwMode="auto">
                <a:xfrm>
                  <a:off x="2865427" y="2960396"/>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83" name="Oval 228"/>
                <p:cNvSpPr>
                  <a:spLocks noChangeArrowheads="1"/>
                </p:cNvSpPr>
                <p:nvPr/>
              </p:nvSpPr>
              <p:spPr bwMode="auto">
                <a:xfrm>
                  <a:off x="2865427" y="306384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84" name="Oval 229"/>
                <p:cNvSpPr>
                  <a:spLocks noChangeArrowheads="1"/>
                </p:cNvSpPr>
                <p:nvPr/>
              </p:nvSpPr>
              <p:spPr bwMode="auto">
                <a:xfrm>
                  <a:off x="2865427" y="31680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85" name="Oval 230"/>
                <p:cNvSpPr>
                  <a:spLocks noChangeArrowheads="1"/>
                </p:cNvSpPr>
                <p:nvPr/>
              </p:nvSpPr>
              <p:spPr bwMode="auto">
                <a:xfrm>
                  <a:off x="2865427" y="327145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86" name="Oval 231"/>
                <p:cNvSpPr>
                  <a:spLocks noChangeArrowheads="1"/>
                </p:cNvSpPr>
                <p:nvPr/>
              </p:nvSpPr>
              <p:spPr bwMode="auto">
                <a:xfrm>
                  <a:off x="2865427" y="33749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87" name="Oval 232"/>
                <p:cNvSpPr>
                  <a:spLocks noChangeArrowheads="1"/>
                </p:cNvSpPr>
                <p:nvPr/>
              </p:nvSpPr>
              <p:spPr bwMode="auto">
                <a:xfrm>
                  <a:off x="2865427" y="3479064"/>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88" name="Oval 233"/>
                <p:cNvSpPr>
                  <a:spLocks noChangeArrowheads="1"/>
                </p:cNvSpPr>
                <p:nvPr/>
              </p:nvSpPr>
              <p:spPr bwMode="auto">
                <a:xfrm>
                  <a:off x="2865427" y="3582514"/>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89" name="Oval 235"/>
                <p:cNvSpPr>
                  <a:spLocks noChangeArrowheads="1"/>
                </p:cNvSpPr>
                <p:nvPr/>
              </p:nvSpPr>
              <p:spPr bwMode="auto">
                <a:xfrm>
                  <a:off x="2865427" y="3788706"/>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90" name="Oval 236"/>
                <p:cNvSpPr>
                  <a:spLocks noChangeArrowheads="1"/>
                </p:cNvSpPr>
                <p:nvPr/>
              </p:nvSpPr>
              <p:spPr bwMode="auto">
                <a:xfrm>
                  <a:off x="2865427" y="3892156"/>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91" name="Oval 237"/>
                <p:cNvSpPr>
                  <a:spLocks noChangeArrowheads="1"/>
                </p:cNvSpPr>
                <p:nvPr/>
              </p:nvSpPr>
              <p:spPr bwMode="auto">
                <a:xfrm>
                  <a:off x="2865427" y="399631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92" name="Oval 238"/>
                <p:cNvSpPr>
                  <a:spLocks noChangeArrowheads="1"/>
                </p:cNvSpPr>
                <p:nvPr/>
              </p:nvSpPr>
              <p:spPr bwMode="auto">
                <a:xfrm>
                  <a:off x="2865427" y="409976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93" name="Oval 239"/>
                <p:cNvSpPr>
                  <a:spLocks noChangeArrowheads="1"/>
                </p:cNvSpPr>
                <p:nvPr/>
              </p:nvSpPr>
              <p:spPr bwMode="auto">
                <a:xfrm>
                  <a:off x="2865427" y="4203924"/>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94" name="Oval 240"/>
                <p:cNvSpPr>
                  <a:spLocks noChangeArrowheads="1"/>
                </p:cNvSpPr>
                <p:nvPr/>
              </p:nvSpPr>
              <p:spPr bwMode="auto">
                <a:xfrm>
                  <a:off x="2865427" y="4307374"/>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95" name="Oval 241"/>
                <p:cNvSpPr>
                  <a:spLocks noChangeArrowheads="1"/>
                </p:cNvSpPr>
                <p:nvPr/>
              </p:nvSpPr>
              <p:spPr bwMode="auto">
                <a:xfrm>
                  <a:off x="2865427" y="4411533"/>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96" name="Oval 242"/>
                <p:cNvSpPr>
                  <a:spLocks noChangeArrowheads="1"/>
                </p:cNvSpPr>
                <p:nvPr/>
              </p:nvSpPr>
              <p:spPr bwMode="auto">
                <a:xfrm>
                  <a:off x="2969586" y="78581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97" name="Oval 243"/>
                <p:cNvSpPr>
                  <a:spLocks noChangeArrowheads="1"/>
                </p:cNvSpPr>
                <p:nvPr/>
              </p:nvSpPr>
              <p:spPr bwMode="auto">
                <a:xfrm>
                  <a:off x="2969586" y="993427"/>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98" name="Oval 244"/>
                <p:cNvSpPr>
                  <a:spLocks noChangeArrowheads="1"/>
                </p:cNvSpPr>
                <p:nvPr/>
              </p:nvSpPr>
              <p:spPr bwMode="auto">
                <a:xfrm>
                  <a:off x="2969586" y="1096877"/>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99" name="Oval 245"/>
                <p:cNvSpPr>
                  <a:spLocks noChangeArrowheads="1"/>
                </p:cNvSpPr>
                <p:nvPr/>
              </p:nvSpPr>
              <p:spPr bwMode="auto">
                <a:xfrm>
                  <a:off x="2969586" y="1408644"/>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00" name="Oval 246"/>
                <p:cNvSpPr>
                  <a:spLocks noChangeArrowheads="1"/>
                </p:cNvSpPr>
                <p:nvPr/>
              </p:nvSpPr>
              <p:spPr bwMode="auto">
                <a:xfrm>
                  <a:off x="2969586" y="1510677"/>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01" name="Oval 247"/>
                <p:cNvSpPr>
                  <a:spLocks noChangeArrowheads="1"/>
                </p:cNvSpPr>
                <p:nvPr/>
              </p:nvSpPr>
              <p:spPr bwMode="auto">
                <a:xfrm>
                  <a:off x="2969586" y="161412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02" name="Oval 248"/>
                <p:cNvSpPr>
                  <a:spLocks noChangeArrowheads="1"/>
                </p:cNvSpPr>
                <p:nvPr/>
              </p:nvSpPr>
              <p:spPr bwMode="auto">
                <a:xfrm>
                  <a:off x="2969586" y="1718286"/>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03" name="Oval 249"/>
                <p:cNvSpPr>
                  <a:spLocks noChangeArrowheads="1"/>
                </p:cNvSpPr>
                <p:nvPr/>
              </p:nvSpPr>
              <p:spPr bwMode="auto">
                <a:xfrm>
                  <a:off x="2969586" y="182173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04" name="Oval 250"/>
                <p:cNvSpPr>
                  <a:spLocks noChangeArrowheads="1"/>
                </p:cNvSpPr>
                <p:nvPr/>
              </p:nvSpPr>
              <p:spPr bwMode="auto">
                <a:xfrm>
                  <a:off x="2969586" y="1925895"/>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05" name="Oval 251"/>
                <p:cNvSpPr>
                  <a:spLocks noChangeArrowheads="1"/>
                </p:cNvSpPr>
                <p:nvPr/>
              </p:nvSpPr>
              <p:spPr bwMode="auto">
                <a:xfrm>
                  <a:off x="2969586" y="2029345"/>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06" name="Oval 252"/>
                <p:cNvSpPr>
                  <a:spLocks noChangeArrowheads="1"/>
                </p:cNvSpPr>
                <p:nvPr/>
              </p:nvSpPr>
              <p:spPr bwMode="auto">
                <a:xfrm>
                  <a:off x="2969586" y="2133504"/>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07" name="Oval 253"/>
                <p:cNvSpPr>
                  <a:spLocks noChangeArrowheads="1"/>
                </p:cNvSpPr>
                <p:nvPr/>
              </p:nvSpPr>
              <p:spPr bwMode="auto">
                <a:xfrm>
                  <a:off x="2969586" y="2960396"/>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08" name="Oval 254"/>
                <p:cNvSpPr>
                  <a:spLocks noChangeArrowheads="1"/>
                </p:cNvSpPr>
                <p:nvPr/>
              </p:nvSpPr>
              <p:spPr bwMode="auto">
                <a:xfrm>
                  <a:off x="2969586" y="3063847"/>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09" name="Oval 255"/>
                <p:cNvSpPr>
                  <a:spLocks noChangeArrowheads="1"/>
                </p:cNvSpPr>
                <p:nvPr/>
              </p:nvSpPr>
              <p:spPr bwMode="auto">
                <a:xfrm>
                  <a:off x="2969586" y="3168005"/>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10" name="Oval 256"/>
                <p:cNvSpPr>
                  <a:spLocks noChangeArrowheads="1"/>
                </p:cNvSpPr>
                <p:nvPr/>
              </p:nvSpPr>
              <p:spPr bwMode="auto">
                <a:xfrm>
                  <a:off x="2969586" y="3271455"/>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11" name="Oval 257"/>
                <p:cNvSpPr>
                  <a:spLocks noChangeArrowheads="1"/>
                </p:cNvSpPr>
                <p:nvPr/>
              </p:nvSpPr>
              <p:spPr bwMode="auto">
                <a:xfrm>
                  <a:off x="2969586" y="337490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12" name="Oval 258"/>
                <p:cNvSpPr>
                  <a:spLocks noChangeArrowheads="1"/>
                </p:cNvSpPr>
                <p:nvPr/>
              </p:nvSpPr>
              <p:spPr bwMode="auto">
                <a:xfrm>
                  <a:off x="2969586" y="3479064"/>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13" name="Oval 259"/>
                <p:cNvSpPr>
                  <a:spLocks noChangeArrowheads="1"/>
                </p:cNvSpPr>
                <p:nvPr/>
              </p:nvSpPr>
              <p:spPr bwMode="auto">
                <a:xfrm>
                  <a:off x="2969586" y="3582514"/>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14" name="Oval 260"/>
                <p:cNvSpPr>
                  <a:spLocks noChangeArrowheads="1"/>
                </p:cNvSpPr>
                <p:nvPr/>
              </p:nvSpPr>
              <p:spPr bwMode="auto">
                <a:xfrm>
                  <a:off x="2969586" y="3684547"/>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15" name="Oval 261"/>
                <p:cNvSpPr>
                  <a:spLocks noChangeArrowheads="1"/>
                </p:cNvSpPr>
                <p:nvPr/>
              </p:nvSpPr>
              <p:spPr bwMode="auto">
                <a:xfrm>
                  <a:off x="2969586" y="3788706"/>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16" name="Oval 262"/>
                <p:cNvSpPr>
                  <a:spLocks noChangeArrowheads="1"/>
                </p:cNvSpPr>
                <p:nvPr/>
              </p:nvSpPr>
              <p:spPr bwMode="auto">
                <a:xfrm>
                  <a:off x="2969586" y="3892156"/>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17" name="Oval 263"/>
                <p:cNvSpPr>
                  <a:spLocks noChangeArrowheads="1"/>
                </p:cNvSpPr>
                <p:nvPr/>
              </p:nvSpPr>
              <p:spPr bwMode="auto">
                <a:xfrm>
                  <a:off x="2969586" y="3996315"/>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18" name="Oval 264"/>
                <p:cNvSpPr>
                  <a:spLocks noChangeArrowheads="1"/>
                </p:cNvSpPr>
                <p:nvPr/>
              </p:nvSpPr>
              <p:spPr bwMode="auto">
                <a:xfrm>
                  <a:off x="2969586" y="4099765"/>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19" name="Oval 265"/>
                <p:cNvSpPr>
                  <a:spLocks noChangeArrowheads="1"/>
                </p:cNvSpPr>
                <p:nvPr/>
              </p:nvSpPr>
              <p:spPr bwMode="auto">
                <a:xfrm>
                  <a:off x="2969586" y="4203924"/>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20" name="Oval 266"/>
                <p:cNvSpPr>
                  <a:spLocks noChangeArrowheads="1"/>
                </p:cNvSpPr>
                <p:nvPr/>
              </p:nvSpPr>
              <p:spPr bwMode="auto">
                <a:xfrm>
                  <a:off x="2969586" y="4307374"/>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21" name="Oval 267"/>
                <p:cNvSpPr>
                  <a:spLocks noChangeArrowheads="1"/>
                </p:cNvSpPr>
                <p:nvPr/>
              </p:nvSpPr>
              <p:spPr bwMode="auto">
                <a:xfrm>
                  <a:off x="2969586" y="4411532"/>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22" name="Oval 268"/>
                <p:cNvSpPr>
                  <a:spLocks noChangeArrowheads="1"/>
                </p:cNvSpPr>
                <p:nvPr/>
              </p:nvSpPr>
              <p:spPr bwMode="auto">
                <a:xfrm>
                  <a:off x="3075161" y="889268"/>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23" name="Oval 269"/>
                <p:cNvSpPr>
                  <a:spLocks noChangeArrowheads="1"/>
                </p:cNvSpPr>
                <p:nvPr/>
              </p:nvSpPr>
              <p:spPr bwMode="auto">
                <a:xfrm>
                  <a:off x="3075161" y="993427"/>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24" name="Oval 270"/>
                <p:cNvSpPr>
                  <a:spLocks noChangeArrowheads="1"/>
                </p:cNvSpPr>
                <p:nvPr/>
              </p:nvSpPr>
              <p:spPr bwMode="auto">
                <a:xfrm>
                  <a:off x="3075161" y="1096877"/>
                  <a:ext cx="91405"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25" name="Oval 271"/>
                <p:cNvSpPr>
                  <a:spLocks noChangeArrowheads="1"/>
                </p:cNvSpPr>
                <p:nvPr/>
              </p:nvSpPr>
              <p:spPr bwMode="auto">
                <a:xfrm>
                  <a:off x="3075161" y="1821736"/>
                  <a:ext cx="91405"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26" name="Oval 272"/>
                <p:cNvSpPr>
                  <a:spLocks noChangeArrowheads="1"/>
                </p:cNvSpPr>
                <p:nvPr/>
              </p:nvSpPr>
              <p:spPr bwMode="auto">
                <a:xfrm>
                  <a:off x="3075161" y="1925895"/>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27" name="Oval 273"/>
                <p:cNvSpPr>
                  <a:spLocks noChangeArrowheads="1"/>
                </p:cNvSpPr>
                <p:nvPr/>
              </p:nvSpPr>
              <p:spPr bwMode="auto">
                <a:xfrm>
                  <a:off x="3075161" y="2029345"/>
                  <a:ext cx="91405"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28" name="Oval 274"/>
                <p:cNvSpPr>
                  <a:spLocks noChangeArrowheads="1"/>
                </p:cNvSpPr>
                <p:nvPr/>
              </p:nvSpPr>
              <p:spPr bwMode="auto">
                <a:xfrm>
                  <a:off x="3075161" y="2133504"/>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29" name="Oval 276"/>
                <p:cNvSpPr>
                  <a:spLocks noChangeArrowheads="1"/>
                </p:cNvSpPr>
                <p:nvPr/>
              </p:nvSpPr>
              <p:spPr bwMode="auto">
                <a:xfrm>
                  <a:off x="3075161" y="3063847"/>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30" name="Oval 277"/>
                <p:cNvSpPr>
                  <a:spLocks noChangeArrowheads="1"/>
                </p:cNvSpPr>
                <p:nvPr/>
              </p:nvSpPr>
              <p:spPr bwMode="auto">
                <a:xfrm>
                  <a:off x="3075161" y="3168005"/>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31" name="Oval 278"/>
                <p:cNvSpPr>
                  <a:spLocks noChangeArrowheads="1"/>
                </p:cNvSpPr>
                <p:nvPr/>
              </p:nvSpPr>
              <p:spPr bwMode="auto">
                <a:xfrm>
                  <a:off x="3075161" y="3271455"/>
                  <a:ext cx="91405"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32" name="Oval 279"/>
                <p:cNvSpPr>
                  <a:spLocks noChangeArrowheads="1"/>
                </p:cNvSpPr>
                <p:nvPr/>
              </p:nvSpPr>
              <p:spPr bwMode="auto">
                <a:xfrm>
                  <a:off x="3075161" y="3374906"/>
                  <a:ext cx="91405"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33" name="Oval 280"/>
                <p:cNvSpPr>
                  <a:spLocks noChangeArrowheads="1"/>
                </p:cNvSpPr>
                <p:nvPr/>
              </p:nvSpPr>
              <p:spPr bwMode="auto">
                <a:xfrm>
                  <a:off x="3075161" y="3479064"/>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34" name="Oval 281"/>
                <p:cNvSpPr>
                  <a:spLocks noChangeArrowheads="1"/>
                </p:cNvSpPr>
                <p:nvPr/>
              </p:nvSpPr>
              <p:spPr bwMode="auto">
                <a:xfrm>
                  <a:off x="3075161" y="3582514"/>
                  <a:ext cx="91405"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35" name="Oval 282"/>
                <p:cNvSpPr>
                  <a:spLocks noChangeArrowheads="1"/>
                </p:cNvSpPr>
                <p:nvPr/>
              </p:nvSpPr>
              <p:spPr bwMode="auto">
                <a:xfrm>
                  <a:off x="3075161" y="3684547"/>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36" name="Oval 283"/>
                <p:cNvSpPr>
                  <a:spLocks noChangeArrowheads="1"/>
                </p:cNvSpPr>
                <p:nvPr/>
              </p:nvSpPr>
              <p:spPr bwMode="auto">
                <a:xfrm>
                  <a:off x="3075161" y="3788706"/>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37" name="Oval 284"/>
                <p:cNvSpPr>
                  <a:spLocks noChangeArrowheads="1"/>
                </p:cNvSpPr>
                <p:nvPr/>
              </p:nvSpPr>
              <p:spPr bwMode="auto">
                <a:xfrm>
                  <a:off x="3075161" y="3892156"/>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38" name="Oval 285"/>
                <p:cNvSpPr>
                  <a:spLocks noChangeArrowheads="1"/>
                </p:cNvSpPr>
                <p:nvPr/>
              </p:nvSpPr>
              <p:spPr bwMode="auto">
                <a:xfrm>
                  <a:off x="3075161" y="3996315"/>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39" name="Oval 286"/>
                <p:cNvSpPr>
                  <a:spLocks noChangeArrowheads="1"/>
                </p:cNvSpPr>
                <p:nvPr/>
              </p:nvSpPr>
              <p:spPr bwMode="auto">
                <a:xfrm>
                  <a:off x="3075161" y="4411533"/>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40" name="Oval 287"/>
                <p:cNvSpPr>
                  <a:spLocks noChangeArrowheads="1"/>
                </p:cNvSpPr>
                <p:nvPr/>
              </p:nvSpPr>
              <p:spPr bwMode="auto">
                <a:xfrm>
                  <a:off x="3178612" y="78581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41" name="Oval 288"/>
                <p:cNvSpPr>
                  <a:spLocks noChangeArrowheads="1"/>
                </p:cNvSpPr>
                <p:nvPr/>
              </p:nvSpPr>
              <p:spPr bwMode="auto">
                <a:xfrm>
                  <a:off x="3178612" y="88926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42" name="Oval 289"/>
                <p:cNvSpPr>
                  <a:spLocks noChangeArrowheads="1"/>
                </p:cNvSpPr>
                <p:nvPr/>
              </p:nvSpPr>
              <p:spPr bwMode="auto">
                <a:xfrm>
                  <a:off x="3178612" y="993427"/>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43" name="Oval 290"/>
                <p:cNvSpPr>
                  <a:spLocks noChangeArrowheads="1"/>
                </p:cNvSpPr>
                <p:nvPr/>
              </p:nvSpPr>
              <p:spPr bwMode="auto">
                <a:xfrm>
                  <a:off x="3178612" y="1096877"/>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44" name="Oval 291"/>
                <p:cNvSpPr>
                  <a:spLocks noChangeArrowheads="1"/>
                </p:cNvSpPr>
                <p:nvPr/>
              </p:nvSpPr>
              <p:spPr bwMode="auto">
                <a:xfrm>
                  <a:off x="3178612" y="1201036"/>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45" name="Oval 292"/>
                <p:cNvSpPr>
                  <a:spLocks noChangeArrowheads="1"/>
                </p:cNvSpPr>
                <p:nvPr/>
              </p:nvSpPr>
              <p:spPr bwMode="auto">
                <a:xfrm>
                  <a:off x="3178612" y="130448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46" name="Oval 293"/>
                <p:cNvSpPr>
                  <a:spLocks noChangeArrowheads="1"/>
                </p:cNvSpPr>
                <p:nvPr/>
              </p:nvSpPr>
              <p:spPr bwMode="auto">
                <a:xfrm>
                  <a:off x="3178612" y="1925895"/>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47" name="Oval 294"/>
                <p:cNvSpPr>
                  <a:spLocks noChangeArrowheads="1"/>
                </p:cNvSpPr>
                <p:nvPr/>
              </p:nvSpPr>
              <p:spPr bwMode="auto">
                <a:xfrm>
                  <a:off x="3178612" y="2029345"/>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48" name="Oval 295"/>
                <p:cNvSpPr>
                  <a:spLocks noChangeArrowheads="1"/>
                </p:cNvSpPr>
                <p:nvPr/>
              </p:nvSpPr>
              <p:spPr bwMode="auto">
                <a:xfrm>
                  <a:off x="3178612" y="2960396"/>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49" name="Oval 296"/>
                <p:cNvSpPr>
                  <a:spLocks noChangeArrowheads="1"/>
                </p:cNvSpPr>
                <p:nvPr/>
              </p:nvSpPr>
              <p:spPr bwMode="auto">
                <a:xfrm>
                  <a:off x="3178612" y="3063847"/>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50" name="Oval 297"/>
                <p:cNvSpPr>
                  <a:spLocks noChangeArrowheads="1"/>
                </p:cNvSpPr>
                <p:nvPr/>
              </p:nvSpPr>
              <p:spPr bwMode="auto">
                <a:xfrm>
                  <a:off x="3178612" y="3168005"/>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51" name="Oval 298"/>
                <p:cNvSpPr>
                  <a:spLocks noChangeArrowheads="1"/>
                </p:cNvSpPr>
                <p:nvPr/>
              </p:nvSpPr>
              <p:spPr bwMode="auto">
                <a:xfrm>
                  <a:off x="3178612" y="3271455"/>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52" name="Oval 299"/>
                <p:cNvSpPr>
                  <a:spLocks noChangeArrowheads="1"/>
                </p:cNvSpPr>
                <p:nvPr/>
              </p:nvSpPr>
              <p:spPr bwMode="auto">
                <a:xfrm>
                  <a:off x="3178612" y="337490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53" name="Oval 300"/>
                <p:cNvSpPr>
                  <a:spLocks noChangeArrowheads="1"/>
                </p:cNvSpPr>
                <p:nvPr/>
              </p:nvSpPr>
              <p:spPr bwMode="auto">
                <a:xfrm>
                  <a:off x="3178612" y="3479064"/>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54" name="Oval 301"/>
                <p:cNvSpPr>
                  <a:spLocks noChangeArrowheads="1"/>
                </p:cNvSpPr>
                <p:nvPr/>
              </p:nvSpPr>
              <p:spPr bwMode="auto">
                <a:xfrm>
                  <a:off x="3178612" y="3582514"/>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55" name="Oval 302"/>
                <p:cNvSpPr>
                  <a:spLocks noChangeArrowheads="1"/>
                </p:cNvSpPr>
                <p:nvPr/>
              </p:nvSpPr>
              <p:spPr bwMode="auto">
                <a:xfrm>
                  <a:off x="3178612" y="3684547"/>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56" name="Oval 303"/>
                <p:cNvSpPr>
                  <a:spLocks noChangeArrowheads="1"/>
                </p:cNvSpPr>
                <p:nvPr/>
              </p:nvSpPr>
              <p:spPr bwMode="auto">
                <a:xfrm>
                  <a:off x="3178612" y="3788706"/>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57" name="Oval 305"/>
                <p:cNvSpPr>
                  <a:spLocks noChangeArrowheads="1"/>
                </p:cNvSpPr>
                <p:nvPr/>
              </p:nvSpPr>
              <p:spPr bwMode="auto">
                <a:xfrm>
                  <a:off x="3284187" y="78581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58" name="Oval 306"/>
                <p:cNvSpPr>
                  <a:spLocks noChangeArrowheads="1"/>
                </p:cNvSpPr>
                <p:nvPr/>
              </p:nvSpPr>
              <p:spPr bwMode="auto">
                <a:xfrm>
                  <a:off x="3284187" y="88926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59" name="Oval 307"/>
                <p:cNvSpPr>
                  <a:spLocks noChangeArrowheads="1"/>
                </p:cNvSpPr>
                <p:nvPr/>
              </p:nvSpPr>
              <p:spPr bwMode="auto">
                <a:xfrm>
                  <a:off x="3284187" y="99342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60" name="Oval 308"/>
                <p:cNvSpPr>
                  <a:spLocks noChangeArrowheads="1"/>
                </p:cNvSpPr>
                <p:nvPr/>
              </p:nvSpPr>
              <p:spPr bwMode="auto">
                <a:xfrm>
                  <a:off x="3284187" y="109687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61" name="Oval 309"/>
                <p:cNvSpPr>
                  <a:spLocks noChangeArrowheads="1"/>
                </p:cNvSpPr>
                <p:nvPr/>
              </p:nvSpPr>
              <p:spPr bwMode="auto">
                <a:xfrm>
                  <a:off x="3284187" y="120103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62" name="Oval 310"/>
                <p:cNvSpPr>
                  <a:spLocks noChangeArrowheads="1"/>
                </p:cNvSpPr>
                <p:nvPr/>
              </p:nvSpPr>
              <p:spPr bwMode="auto">
                <a:xfrm>
                  <a:off x="3284187"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63" name="Oval 311"/>
                <p:cNvSpPr>
                  <a:spLocks noChangeArrowheads="1"/>
                </p:cNvSpPr>
                <p:nvPr/>
              </p:nvSpPr>
              <p:spPr bwMode="auto">
                <a:xfrm>
                  <a:off x="3284187" y="1408644"/>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64" name="Oval 312"/>
                <p:cNvSpPr>
                  <a:spLocks noChangeArrowheads="1"/>
                </p:cNvSpPr>
                <p:nvPr/>
              </p:nvSpPr>
              <p:spPr bwMode="auto">
                <a:xfrm>
                  <a:off x="3284187" y="151067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65" name="Oval 313"/>
                <p:cNvSpPr>
                  <a:spLocks noChangeArrowheads="1"/>
                </p:cNvSpPr>
                <p:nvPr/>
              </p:nvSpPr>
              <p:spPr bwMode="auto">
                <a:xfrm>
                  <a:off x="3284187"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66" name="Oval 314"/>
                <p:cNvSpPr>
                  <a:spLocks noChangeArrowheads="1"/>
                </p:cNvSpPr>
                <p:nvPr/>
              </p:nvSpPr>
              <p:spPr bwMode="auto">
                <a:xfrm>
                  <a:off x="3284187" y="306384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67" name="Oval 315"/>
                <p:cNvSpPr>
                  <a:spLocks noChangeArrowheads="1"/>
                </p:cNvSpPr>
                <p:nvPr/>
              </p:nvSpPr>
              <p:spPr bwMode="auto">
                <a:xfrm>
                  <a:off x="3284187" y="31680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68" name="Oval 316"/>
                <p:cNvSpPr>
                  <a:spLocks noChangeArrowheads="1"/>
                </p:cNvSpPr>
                <p:nvPr/>
              </p:nvSpPr>
              <p:spPr bwMode="auto">
                <a:xfrm>
                  <a:off x="3284187" y="327145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69" name="Oval 317"/>
                <p:cNvSpPr>
                  <a:spLocks noChangeArrowheads="1"/>
                </p:cNvSpPr>
                <p:nvPr/>
              </p:nvSpPr>
              <p:spPr bwMode="auto">
                <a:xfrm>
                  <a:off x="3284187" y="33749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70" name="Oval 318"/>
                <p:cNvSpPr>
                  <a:spLocks noChangeArrowheads="1"/>
                </p:cNvSpPr>
                <p:nvPr/>
              </p:nvSpPr>
              <p:spPr bwMode="auto">
                <a:xfrm>
                  <a:off x="3284187" y="3479064"/>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71" name="Oval 319"/>
                <p:cNvSpPr>
                  <a:spLocks noChangeArrowheads="1"/>
                </p:cNvSpPr>
                <p:nvPr/>
              </p:nvSpPr>
              <p:spPr bwMode="auto">
                <a:xfrm>
                  <a:off x="3284187" y="3582514"/>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72" name="Oval 320"/>
                <p:cNvSpPr>
                  <a:spLocks noChangeArrowheads="1"/>
                </p:cNvSpPr>
                <p:nvPr/>
              </p:nvSpPr>
              <p:spPr bwMode="auto">
                <a:xfrm>
                  <a:off x="3284187" y="368454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73" name="Oval 321"/>
                <p:cNvSpPr>
                  <a:spLocks noChangeArrowheads="1"/>
                </p:cNvSpPr>
                <p:nvPr/>
              </p:nvSpPr>
              <p:spPr bwMode="auto">
                <a:xfrm>
                  <a:off x="3284187" y="3788706"/>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74" name="Oval 322"/>
                <p:cNvSpPr>
                  <a:spLocks noChangeArrowheads="1"/>
                </p:cNvSpPr>
                <p:nvPr/>
              </p:nvSpPr>
              <p:spPr bwMode="auto">
                <a:xfrm>
                  <a:off x="3387638" y="78581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75" name="Oval 323"/>
                <p:cNvSpPr>
                  <a:spLocks noChangeArrowheads="1"/>
                </p:cNvSpPr>
                <p:nvPr/>
              </p:nvSpPr>
              <p:spPr bwMode="auto">
                <a:xfrm>
                  <a:off x="3387638" y="88926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76" name="Oval 324"/>
                <p:cNvSpPr>
                  <a:spLocks noChangeArrowheads="1"/>
                </p:cNvSpPr>
                <p:nvPr/>
              </p:nvSpPr>
              <p:spPr bwMode="auto">
                <a:xfrm>
                  <a:off x="3387638" y="993427"/>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77" name="Oval 325"/>
                <p:cNvSpPr>
                  <a:spLocks noChangeArrowheads="1"/>
                </p:cNvSpPr>
                <p:nvPr/>
              </p:nvSpPr>
              <p:spPr bwMode="auto">
                <a:xfrm>
                  <a:off x="3387638" y="1096877"/>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78" name="Oval 326"/>
                <p:cNvSpPr>
                  <a:spLocks noChangeArrowheads="1"/>
                </p:cNvSpPr>
                <p:nvPr/>
              </p:nvSpPr>
              <p:spPr bwMode="auto">
                <a:xfrm>
                  <a:off x="3387638" y="1201036"/>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79" name="Oval 327"/>
                <p:cNvSpPr>
                  <a:spLocks noChangeArrowheads="1"/>
                </p:cNvSpPr>
                <p:nvPr/>
              </p:nvSpPr>
              <p:spPr bwMode="auto">
                <a:xfrm>
                  <a:off x="3387638" y="1304486"/>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80" name="Oval 328"/>
                <p:cNvSpPr>
                  <a:spLocks noChangeArrowheads="1"/>
                </p:cNvSpPr>
                <p:nvPr/>
              </p:nvSpPr>
              <p:spPr bwMode="auto">
                <a:xfrm>
                  <a:off x="3387638" y="1408644"/>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81" name="Oval 329"/>
                <p:cNvSpPr>
                  <a:spLocks noChangeArrowheads="1"/>
                </p:cNvSpPr>
                <p:nvPr/>
              </p:nvSpPr>
              <p:spPr bwMode="auto">
                <a:xfrm>
                  <a:off x="3387638" y="1510677"/>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82" name="Oval 330"/>
                <p:cNvSpPr>
                  <a:spLocks noChangeArrowheads="1"/>
                </p:cNvSpPr>
                <p:nvPr/>
              </p:nvSpPr>
              <p:spPr bwMode="auto">
                <a:xfrm>
                  <a:off x="3387638" y="161412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83" name="Oval 331"/>
                <p:cNvSpPr>
                  <a:spLocks noChangeArrowheads="1"/>
                </p:cNvSpPr>
                <p:nvPr/>
              </p:nvSpPr>
              <p:spPr bwMode="auto">
                <a:xfrm>
                  <a:off x="3387638" y="1718286"/>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84" name="Oval 332"/>
                <p:cNvSpPr>
                  <a:spLocks noChangeArrowheads="1"/>
                </p:cNvSpPr>
                <p:nvPr/>
              </p:nvSpPr>
              <p:spPr bwMode="auto">
                <a:xfrm>
                  <a:off x="3387638" y="3168005"/>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85" name="Oval 334"/>
                <p:cNvSpPr>
                  <a:spLocks noChangeArrowheads="1"/>
                </p:cNvSpPr>
                <p:nvPr/>
              </p:nvSpPr>
              <p:spPr bwMode="auto">
                <a:xfrm>
                  <a:off x="3387638" y="3374906"/>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86" name="Oval 335"/>
                <p:cNvSpPr>
                  <a:spLocks noChangeArrowheads="1"/>
                </p:cNvSpPr>
                <p:nvPr/>
              </p:nvSpPr>
              <p:spPr bwMode="auto">
                <a:xfrm>
                  <a:off x="3387638" y="3479064"/>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87" name="Oval 336"/>
                <p:cNvSpPr>
                  <a:spLocks noChangeArrowheads="1"/>
                </p:cNvSpPr>
                <p:nvPr/>
              </p:nvSpPr>
              <p:spPr bwMode="auto">
                <a:xfrm>
                  <a:off x="3387638" y="3582514"/>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88" name="Oval 337"/>
                <p:cNvSpPr>
                  <a:spLocks noChangeArrowheads="1"/>
                </p:cNvSpPr>
                <p:nvPr/>
              </p:nvSpPr>
              <p:spPr bwMode="auto">
                <a:xfrm>
                  <a:off x="3387638" y="3684547"/>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89" name="Oval 338"/>
                <p:cNvSpPr>
                  <a:spLocks noChangeArrowheads="1"/>
                </p:cNvSpPr>
                <p:nvPr/>
              </p:nvSpPr>
              <p:spPr bwMode="auto">
                <a:xfrm>
                  <a:off x="3493213" y="68378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90" name="Oval 339"/>
                <p:cNvSpPr>
                  <a:spLocks noChangeArrowheads="1"/>
                </p:cNvSpPr>
                <p:nvPr/>
              </p:nvSpPr>
              <p:spPr bwMode="auto">
                <a:xfrm>
                  <a:off x="3493213" y="78581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91" name="Oval 340"/>
                <p:cNvSpPr>
                  <a:spLocks noChangeArrowheads="1"/>
                </p:cNvSpPr>
                <p:nvPr/>
              </p:nvSpPr>
              <p:spPr bwMode="auto">
                <a:xfrm>
                  <a:off x="3493213" y="88926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92" name="Oval 341"/>
                <p:cNvSpPr>
                  <a:spLocks noChangeArrowheads="1"/>
                </p:cNvSpPr>
                <p:nvPr/>
              </p:nvSpPr>
              <p:spPr bwMode="auto">
                <a:xfrm>
                  <a:off x="3493213" y="99342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93" name="Oval 342"/>
                <p:cNvSpPr>
                  <a:spLocks noChangeArrowheads="1"/>
                </p:cNvSpPr>
                <p:nvPr/>
              </p:nvSpPr>
              <p:spPr bwMode="auto">
                <a:xfrm>
                  <a:off x="3493213" y="109687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94" name="Oval 343"/>
                <p:cNvSpPr>
                  <a:spLocks noChangeArrowheads="1"/>
                </p:cNvSpPr>
                <p:nvPr/>
              </p:nvSpPr>
              <p:spPr bwMode="auto">
                <a:xfrm>
                  <a:off x="3493213" y="120103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95" name="Oval 344"/>
                <p:cNvSpPr>
                  <a:spLocks noChangeArrowheads="1"/>
                </p:cNvSpPr>
                <p:nvPr/>
              </p:nvSpPr>
              <p:spPr bwMode="auto">
                <a:xfrm>
                  <a:off x="3493213"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96" name="Oval 345"/>
                <p:cNvSpPr>
                  <a:spLocks noChangeArrowheads="1"/>
                </p:cNvSpPr>
                <p:nvPr/>
              </p:nvSpPr>
              <p:spPr bwMode="auto">
                <a:xfrm>
                  <a:off x="3493213" y="1408644"/>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97" name="Oval 346"/>
                <p:cNvSpPr>
                  <a:spLocks noChangeArrowheads="1"/>
                </p:cNvSpPr>
                <p:nvPr/>
              </p:nvSpPr>
              <p:spPr bwMode="auto">
                <a:xfrm>
                  <a:off x="3493213" y="151067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98" name="Oval 347"/>
                <p:cNvSpPr>
                  <a:spLocks noChangeArrowheads="1"/>
                </p:cNvSpPr>
                <p:nvPr/>
              </p:nvSpPr>
              <p:spPr bwMode="auto">
                <a:xfrm>
                  <a:off x="3493213" y="327145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99" name="Oval 348"/>
                <p:cNvSpPr>
                  <a:spLocks noChangeArrowheads="1"/>
                </p:cNvSpPr>
                <p:nvPr/>
              </p:nvSpPr>
              <p:spPr bwMode="auto">
                <a:xfrm>
                  <a:off x="3493213" y="33749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00" name="Oval 349"/>
                <p:cNvSpPr>
                  <a:spLocks noChangeArrowheads="1"/>
                </p:cNvSpPr>
                <p:nvPr/>
              </p:nvSpPr>
              <p:spPr bwMode="auto">
                <a:xfrm>
                  <a:off x="3493213" y="3479064"/>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01" name="Oval 350"/>
                <p:cNvSpPr>
                  <a:spLocks noChangeArrowheads="1"/>
                </p:cNvSpPr>
                <p:nvPr/>
              </p:nvSpPr>
              <p:spPr bwMode="auto">
                <a:xfrm>
                  <a:off x="3493213" y="3582514"/>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02" name="Oval 351"/>
                <p:cNvSpPr>
                  <a:spLocks noChangeArrowheads="1"/>
                </p:cNvSpPr>
                <p:nvPr/>
              </p:nvSpPr>
              <p:spPr bwMode="auto">
                <a:xfrm>
                  <a:off x="3597372" y="683785"/>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03" name="Oval 352"/>
                <p:cNvSpPr>
                  <a:spLocks noChangeArrowheads="1"/>
                </p:cNvSpPr>
                <p:nvPr/>
              </p:nvSpPr>
              <p:spPr bwMode="auto">
                <a:xfrm>
                  <a:off x="3597372" y="78581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04" name="Oval 353"/>
                <p:cNvSpPr>
                  <a:spLocks noChangeArrowheads="1"/>
                </p:cNvSpPr>
                <p:nvPr/>
              </p:nvSpPr>
              <p:spPr bwMode="auto">
                <a:xfrm>
                  <a:off x="3597372" y="88926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05" name="Oval 354"/>
                <p:cNvSpPr>
                  <a:spLocks noChangeArrowheads="1"/>
                </p:cNvSpPr>
                <p:nvPr/>
              </p:nvSpPr>
              <p:spPr bwMode="auto">
                <a:xfrm>
                  <a:off x="3597372" y="993427"/>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06" name="Oval 355"/>
                <p:cNvSpPr>
                  <a:spLocks noChangeArrowheads="1"/>
                </p:cNvSpPr>
                <p:nvPr/>
              </p:nvSpPr>
              <p:spPr bwMode="auto">
                <a:xfrm>
                  <a:off x="3597372" y="1096877"/>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07" name="Oval 356"/>
                <p:cNvSpPr>
                  <a:spLocks noChangeArrowheads="1"/>
                </p:cNvSpPr>
                <p:nvPr/>
              </p:nvSpPr>
              <p:spPr bwMode="auto">
                <a:xfrm>
                  <a:off x="3597372" y="1201036"/>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08" name="Oval 357"/>
                <p:cNvSpPr>
                  <a:spLocks noChangeArrowheads="1"/>
                </p:cNvSpPr>
                <p:nvPr/>
              </p:nvSpPr>
              <p:spPr bwMode="auto">
                <a:xfrm>
                  <a:off x="3597372" y="130448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09" name="Oval 358"/>
                <p:cNvSpPr>
                  <a:spLocks noChangeArrowheads="1"/>
                </p:cNvSpPr>
                <p:nvPr/>
              </p:nvSpPr>
              <p:spPr bwMode="auto">
                <a:xfrm>
                  <a:off x="3597372" y="1408644"/>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10" name="Oval 359"/>
                <p:cNvSpPr>
                  <a:spLocks noChangeArrowheads="1"/>
                </p:cNvSpPr>
                <p:nvPr/>
              </p:nvSpPr>
              <p:spPr bwMode="auto">
                <a:xfrm>
                  <a:off x="3597372" y="3271455"/>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11" name="Oval 360"/>
                <p:cNvSpPr>
                  <a:spLocks noChangeArrowheads="1"/>
                </p:cNvSpPr>
                <p:nvPr/>
              </p:nvSpPr>
              <p:spPr bwMode="auto">
                <a:xfrm>
                  <a:off x="3597372" y="337490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12" name="Oval 361"/>
                <p:cNvSpPr>
                  <a:spLocks noChangeArrowheads="1"/>
                </p:cNvSpPr>
                <p:nvPr/>
              </p:nvSpPr>
              <p:spPr bwMode="auto">
                <a:xfrm>
                  <a:off x="3702239" y="68378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13" name="Oval 362"/>
                <p:cNvSpPr>
                  <a:spLocks noChangeArrowheads="1"/>
                </p:cNvSpPr>
                <p:nvPr/>
              </p:nvSpPr>
              <p:spPr bwMode="auto">
                <a:xfrm>
                  <a:off x="3702239" y="78581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14" name="Oval 363"/>
                <p:cNvSpPr>
                  <a:spLocks noChangeArrowheads="1"/>
                </p:cNvSpPr>
                <p:nvPr/>
              </p:nvSpPr>
              <p:spPr bwMode="auto">
                <a:xfrm>
                  <a:off x="3702239" y="88926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15" name="Oval 364"/>
                <p:cNvSpPr>
                  <a:spLocks noChangeArrowheads="1"/>
                </p:cNvSpPr>
                <p:nvPr/>
              </p:nvSpPr>
              <p:spPr bwMode="auto">
                <a:xfrm>
                  <a:off x="3702239" y="99342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16" name="Freeform 365"/>
                <p:cNvSpPr>
                  <a:spLocks/>
                </p:cNvSpPr>
                <p:nvPr/>
              </p:nvSpPr>
              <p:spPr bwMode="auto">
                <a:xfrm>
                  <a:off x="3695862" y="1090500"/>
                  <a:ext cx="105576" cy="103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17" name="Oval 366"/>
                <p:cNvSpPr>
                  <a:spLocks noChangeArrowheads="1"/>
                </p:cNvSpPr>
                <p:nvPr/>
              </p:nvSpPr>
              <p:spPr bwMode="auto">
                <a:xfrm>
                  <a:off x="3702239" y="120103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18" name="Oval 367"/>
                <p:cNvSpPr>
                  <a:spLocks noChangeArrowheads="1"/>
                </p:cNvSpPr>
                <p:nvPr/>
              </p:nvSpPr>
              <p:spPr bwMode="auto">
                <a:xfrm>
                  <a:off x="3702239"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19" name="Oval 368"/>
                <p:cNvSpPr>
                  <a:spLocks noChangeArrowheads="1"/>
                </p:cNvSpPr>
                <p:nvPr/>
              </p:nvSpPr>
              <p:spPr bwMode="auto">
                <a:xfrm>
                  <a:off x="3702239" y="1408644"/>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20" name="Oval 369"/>
                <p:cNvSpPr>
                  <a:spLocks noChangeArrowheads="1"/>
                </p:cNvSpPr>
                <p:nvPr/>
              </p:nvSpPr>
              <p:spPr bwMode="auto">
                <a:xfrm>
                  <a:off x="3806398" y="683785"/>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21" name="Oval 370"/>
                <p:cNvSpPr>
                  <a:spLocks noChangeArrowheads="1"/>
                </p:cNvSpPr>
                <p:nvPr/>
              </p:nvSpPr>
              <p:spPr bwMode="auto">
                <a:xfrm>
                  <a:off x="3806398" y="78581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22" name="Oval 371"/>
                <p:cNvSpPr>
                  <a:spLocks noChangeArrowheads="1"/>
                </p:cNvSpPr>
                <p:nvPr/>
              </p:nvSpPr>
              <p:spPr bwMode="auto">
                <a:xfrm>
                  <a:off x="3806398" y="88926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23" name="Oval 372"/>
                <p:cNvSpPr>
                  <a:spLocks noChangeArrowheads="1"/>
                </p:cNvSpPr>
                <p:nvPr/>
              </p:nvSpPr>
              <p:spPr bwMode="auto">
                <a:xfrm>
                  <a:off x="3806398" y="993427"/>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24" name="Oval 373"/>
                <p:cNvSpPr>
                  <a:spLocks noChangeArrowheads="1"/>
                </p:cNvSpPr>
                <p:nvPr/>
              </p:nvSpPr>
              <p:spPr bwMode="auto">
                <a:xfrm>
                  <a:off x="3806398" y="1096877"/>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25" name="Oval 374"/>
                <p:cNvSpPr>
                  <a:spLocks noChangeArrowheads="1"/>
                </p:cNvSpPr>
                <p:nvPr/>
              </p:nvSpPr>
              <p:spPr bwMode="auto">
                <a:xfrm>
                  <a:off x="3806398" y="1201036"/>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26" name="Oval 375"/>
                <p:cNvSpPr>
                  <a:spLocks noChangeArrowheads="1"/>
                </p:cNvSpPr>
                <p:nvPr/>
              </p:nvSpPr>
              <p:spPr bwMode="auto">
                <a:xfrm>
                  <a:off x="3806398" y="130448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27" name="Oval 376"/>
                <p:cNvSpPr>
                  <a:spLocks noChangeArrowheads="1"/>
                </p:cNvSpPr>
                <p:nvPr/>
              </p:nvSpPr>
              <p:spPr bwMode="auto">
                <a:xfrm>
                  <a:off x="3806398" y="1510677"/>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28" name="Oval 377"/>
                <p:cNvSpPr>
                  <a:spLocks noChangeArrowheads="1"/>
                </p:cNvSpPr>
                <p:nvPr/>
              </p:nvSpPr>
              <p:spPr bwMode="auto">
                <a:xfrm>
                  <a:off x="3911974" y="78581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29" name="Oval 378"/>
                <p:cNvSpPr>
                  <a:spLocks noChangeArrowheads="1"/>
                </p:cNvSpPr>
                <p:nvPr/>
              </p:nvSpPr>
              <p:spPr bwMode="auto">
                <a:xfrm>
                  <a:off x="3911974" y="88926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30" name="Oval 379"/>
                <p:cNvSpPr>
                  <a:spLocks noChangeArrowheads="1"/>
                </p:cNvSpPr>
                <p:nvPr/>
              </p:nvSpPr>
              <p:spPr bwMode="auto">
                <a:xfrm>
                  <a:off x="3911974" y="99342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31" name="Oval 380"/>
                <p:cNvSpPr>
                  <a:spLocks noChangeArrowheads="1"/>
                </p:cNvSpPr>
                <p:nvPr/>
              </p:nvSpPr>
              <p:spPr bwMode="auto">
                <a:xfrm>
                  <a:off x="3911974" y="109687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32" name="Oval 381"/>
                <p:cNvSpPr>
                  <a:spLocks noChangeArrowheads="1"/>
                </p:cNvSpPr>
                <p:nvPr/>
              </p:nvSpPr>
              <p:spPr bwMode="auto">
                <a:xfrm>
                  <a:off x="3911974" y="120103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33" name="Oval 382"/>
                <p:cNvSpPr>
                  <a:spLocks noChangeArrowheads="1"/>
                </p:cNvSpPr>
                <p:nvPr/>
              </p:nvSpPr>
              <p:spPr bwMode="auto">
                <a:xfrm>
                  <a:off x="3911974" y="151067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34" name="Oval 383"/>
                <p:cNvSpPr>
                  <a:spLocks noChangeArrowheads="1"/>
                </p:cNvSpPr>
                <p:nvPr/>
              </p:nvSpPr>
              <p:spPr bwMode="auto">
                <a:xfrm>
                  <a:off x="3911974" y="265075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35" name="Oval 385"/>
                <p:cNvSpPr>
                  <a:spLocks noChangeArrowheads="1"/>
                </p:cNvSpPr>
                <p:nvPr/>
              </p:nvSpPr>
              <p:spPr bwMode="auto">
                <a:xfrm>
                  <a:off x="3911974" y="285765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36" name="Oval 386"/>
                <p:cNvSpPr>
                  <a:spLocks noChangeArrowheads="1"/>
                </p:cNvSpPr>
                <p:nvPr/>
              </p:nvSpPr>
              <p:spPr bwMode="auto">
                <a:xfrm>
                  <a:off x="4015424" y="78581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37" name="Oval 387"/>
                <p:cNvSpPr>
                  <a:spLocks noChangeArrowheads="1"/>
                </p:cNvSpPr>
                <p:nvPr/>
              </p:nvSpPr>
              <p:spPr bwMode="auto">
                <a:xfrm>
                  <a:off x="4015424" y="254659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38" name="Oval 388"/>
                <p:cNvSpPr>
                  <a:spLocks noChangeArrowheads="1"/>
                </p:cNvSpPr>
                <p:nvPr/>
              </p:nvSpPr>
              <p:spPr bwMode="auto">
                <a:xfrm>
                  <a:off x="4015424" y="2650755"/>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39" name="Oval 389"/>
                <p:cNvSpPr>
                  <a:spLocks noChangeArrowheads="1"/>
                </p:cNvSpPr>
                <p:nvPr/>
              </p:nvSpPr>
              <p:spPr bwMode="auto">
                <a:xfrm>
                  <a:off x="4015424" y="2754205"/>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40" name="Oval 390"/>
                <p:cNvSpPr>
                  <a:spLocks noChangeArrowheads="1"/>
                </p:cNvSpPr>
                <p:nvPr/>
              </p:nvSpPr>
              <p:spPr bwMode="auto">
                <a:xfrm>
                  <a:off x="4015424" y="2857655"/>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41" name="Oval 391"/>
                <p:cNvSpPr>
                  <a:spLocks noChangeArrowheads="1"/>
                </p:cNvSpPr>
                <p:nvPr/>
              </p:nvSpPr>
              <p:spPr bwMode="auto">
                <a:xfrm>
                  <a:off x="4015424" y="2960396"/>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42" name="Oval 392"/>
                <p:cNvSpPr>
                  <a:spLocks noChangeArrowheads="1"/>
                </p:cNvSpPr>
                <p:nvPr/>
              </p:nvSpPr>
              <p:spPr bwMode="auto">
                <a:xfrm>
                  <a:off x="4121000" y="182173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43" name="Oval 393"/>
                <p:cNvSpPr>
                  <a:spLocks noChangeArrowheads="1"/>
                </p:cNvSpPr>
                <p:nvPr/>
              </p:nvSpPr>
              <p:spPr bwMode="auto">
                <a:xfrm>
                  <a:off x="4121000" y="192589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44" name="Oval 394"/>
                <p:cNvSpPr>
                  <a:spLocks noChangeArrowheads="1"/>
                </p:cNvSpPr>
                <p:nvPr/>
              </p:nvSpPr>
              <p:spPr bwMode="auto">
                <a:xfrm>
                  <a:off x="4121000" y="223553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45" name="Oval 395"/>
                <p:cNvSpPr>
                  <a:spLocks noChangeArrowheads="1"/>
                </p:cNvSpPr>
                <p:nvPr/>
              </p:nvSpPr>
              <p:spPr bwMode="auto">
                <a:xfrm>
                  <a:off x="4121000" y="233898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46" name="Oval 396"/>
                <p:cNvSpPr>
                  <a:spLocks noChangeArrowheads="1"/>
                </p:cNvSpPr>
                <p:nvPr/>
              </p:nvSpPr>
              <p:spPr bwMode="auto">
                <a:xfrm>
                  <a:off x="4121000" y="244314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47" name="Oval 397"/>
                <p:cNvSpPr>
                  <a:spLocks noChangeArrowheads="1"/>
                </p:cNvSpPr>
                <p:nvPr/>
              </p:nvSpPr>
              <p:spPr bwMode="auto">
                <a:xfrm>
                  <a:off x="4121000" y="254659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48" name="Oval 398"/>
                <p:cNvSpPr>
                  <a:spLocks noChangeArrowheads="1"/>
                </p:cNvSpPr>
                <p:nvPr/>
              </p:nvSpPr>
              <p:spPr bwMode="auto">
                <a:xfrm>
                  <a:off x="4121000" y="265075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49" name="Oval 399"/>
                <p:cNvSpPr>
                  <a:spLocks noChangeArrowheads="1"/>
                </p:cNvSpPr>
                <p:nvPr/>
              </p:nvSpPr>
              <p:spPr bwMode="auto">
                <a:xfrm>
                  <a:off x="4121000" y="275420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50" name="Oval 400"/>
                <p:cNvSpPr>
                  <a:spLocks noChangeArrowheads="1"/>
                </p:cNvSpPr>
                <p:nvPr/>
              </p:nvSpPr>
              <p:spPr bwMode="auto">
                <a:xfrm>
                  <a:off x="4121000" y="285765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51" name="Oval 401"/>
                <p:cNvSpPr>
                  <a:spLocks noChangeArrowheads="1"/>
                </p:cNvSpPr>
                <p:nvPr/>
              </p:nvSpPr>
              <p:spPr bwMode="auto">
                <a:xfrm>
                  <a:off x="4121000" y="2960396"/>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52" name="Oval 403"/>
                <p:cNvSpPr>
                  <a:spLocks noChangeArrowheads="1"/>
                </p:cNvSpPr>
                <p:nvPr/>
              </p:nvSpPr>
              <p:spPr bwMode="auto">
                <a:xfrm>
                  <a:off x="4224450" y="1718286"/>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53" name="Oval 404"/>
                <p:cNvSpPr>
                  <a:spLocks noChangeArrowheads="1"/>
                </p:cNvSpPr>
                <p:nvPr/>
              </p:nvSpPr>
              <p:spPr bwMode="auto">
                <a:xfrm>
                  <a:off x="4224450" y="1821736"/>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54" name="Oval 405"/>
                <p:cNvSpPr>
                  <a:spLocks noChangeArrowheads="1"/>
                </p:cNvSpPr>
                <p:nvPr/>
              </p:nvSpPr>
              <p:spPr bwMode="auto">
                <a:xfrm>
                  <a:off x="4224450" y="1925895"/>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55" name="Oval 406"/>
                <p:cNvSpPr>
                  <a:spLocks noChangeArrowheads="1"/>
                </p:cNvSpPr>
                <p:nvPr/>
              </p:nvSpPr>
              <p:spPr bwMode="auto">
                <a:xfrm>
                  <a:off x="4224450" y="2029345"/>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56" name="Oval 408"/>
                <p:cNvSpPr>
                  <a:spLocks noChangeArrowheads="1"/>
                </p:cNvSpPr>
                <p:nvPr/>
              </p:nvSpPr>
              <p:spPr bwMode="auto">
                <a:xfrm>
                  <a:off x="4224450" y="2133505"/>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57" name="Oval 409"/>
                <p:cNvSpPr>
                  <a:spLocks noChangeArrowheads="1"/>
                </p:cNvSpPr>
                <p:nvPr/>
              </p:nvSpPr>
              <p:spPr bwMode="auto">
                <a:xfrm>
                  <a:off x="4224450" y="223553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58" name="Oval 410"/>
                <p:cNvSpPr>
                  <a:spLocks noChangeArrowheads="1"/>
                </p:cNvSpPr>
                <p:nvPr/>
              </p:nvSpPr>
              <p:spPr bwMode="auto">
                <a:xfrm>
                  <a:off x="4224450" y="233898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59" name="Oval 411"/>
                <p:cNvSpPr>
                  <a:spLocks noChangeArrowheads="1"/>
                </p:cNvSpPr>
                <p:nvPr/>
              </p:nvSpPr>
              <p:spPr bwMode="auto">
                <a:xfrm>
                  <a:off x="4224450" y="2443147"/>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60" name="Oval 412"/>
                <p:cNvSpPr>
                  <a:spLocks noChangeArrowheads="1"/>
                </p:cNvSpPr>
                <p:nvPr/>
              </p:nvSpPr>
              <p:spPr bwMode="auto">
                <a:xfrm>
                  <a:off x="4224450" y="2546597"/>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61" name="Oval 413"/>
                <p:cNvSpPr>
                  <a:spLocks noChangeArrowheads="1"/>
                </p:cNvSpPr>
                <p:nvPr/>
              </p:nvSpPr>
              <p:spPr bwMode="auto">
                <a:xfrm>
                  <a:off x="4224450" y="2650756"/>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62" name="Oval 414"/>
                <p:cNvSpPr>
                  <a:spLocks noChangeArrowheads="1"/>
                </p:cNvSpPr>
                <p:nvPr/>
              </p:nvSpPr>
              <p:spPr bwMode="auto">
                <a:xfrm>
                  <a:off x="4224450" y="2754206"/>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63" name="Oval 415"/>
                <p:cNvSpPr>
                  <a:spLocks noChangeArrowheads="1"/>
                </p:cNvSpPr>
                <p:nvPr/>
              </p:nvSpPr>
              <p:spPr bwMode="auto">
                <a:xfrm>
                  <a:off x="4224450" y="2857656"/>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64" name="Oval 416"/>
                <p:cNvSpPr>
                  <a:spLocks noChangeArrowheads="1"/>
                </p:cNvSpPr>
                <p:nvPr/>
              </p:nvSpPr>
              <p:spPr bwMode="auto">
                <a:xfrm>
                  <a:off x="4224450" y="296039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65" name="Oval 417"/>
                <p:cNvSpPr>
                  <a:spLocks noChangeArrowheads="1"/>
                </p:cNvSpPr>
                <p:nvPr/>
              </p:nvSpPr>
              <p:spPr bwMode="auto">
                <a:xfrm>
                  <a:off x="4224450" y="306384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66" name="Oval 418"/>
                <p:cNvSpPr>
                  <a:spLocks noChangeArrowheads="1"/>
                </p:cNvSpPr>
                <p:nvPr/>
              </p:nvSpPr>
              <p:spPr bwMode="auto">
                <a:xfrm>
                  <a:off x="4330026"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67" name="Oval 419"/>
                <p:cNvSpPr>
                  <a:spLocks noChangeArrowheads="1"/>
                </p:cNvSpPr>
                <p:nvPr/>
              </p:nvSpPr>
              <p:spPr bwMode="auto">
                <a:xfrm>
                  <a:off x="4330026"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68" name="Oval 420"/>
                <p:cNvSpPr>
                  <a:spLocks noChangeArrowheads="1"/>
                </p:cNvSpPr>
                <p:nvPr/>
              </p:nvSpPr>
              <p:spPr bwMode="auto">
                <a:xfrm>
                  <a:off x="4330026"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69" name="Oval 421"/>
                <p:cNvSpPr>
                  <a:spLocks noChangeArrowheads="1"/>
                </p:cNvSpPr>
                <p:nvPr/>
              </p:nvSpPr>
              <p:spPr bwMode="auto">
                <a:xfrm>
                  <a:off x="4330026"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70" name="Oval 422"/>
                <p:cNvSpPr>
                  <a:spLocks noChangeArrowheads="1"/>
                </p:cNvSpPr>
                <p:nvPr/>
              </p:nvSpPr>
              <p:spPr bwMode="auto">
                <a:xfrm>
                  <a:off x="4330026"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71" name="Oval 423"/>
                <p:cNvSpPr>
                  <a:spLocks noChangeArrowheads="1"/>
                </p:cNvSpPr>
                <p:nvPr/>
              </p:nvSpPr>
              <p:spPr bwMode="auto">
                <a:xfrm>
                  <a:off x="4330026" y="244314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72" name="Oval 424"/>
                <p:cNvSpPr>
                  <a:spLocks noChangeArrowheads="1"/>
                </p:cNvSpPr>
                <p:nvPr/>
              </p:nvSpPr>
              <p:spPr bwMode="auto">
                <a:xfrm>
                  <a:off x="4330026"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73" name="Oval 425"/>
                <p:cNvSpPr>
                  <a:spLocks noChangeArrowheads="1"/>
                </p:cNvSpPr>
                <p:nvPr/>
              </p:nvSpPr>
              <p:spPr bwMode="auto">
                <a:xfrm>
                  <a:off x="4330026" y="265075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74" name="Oval 426"/>
                <p:cNvSpPr>
                  <a:spLocks noChangeArrowheads="1"/>
                </p:cNvSpPr>
                <p:nvPr/>
              </p:nvSpPr>
              <p:spPr bwMode="auto">
                <a:xfrm>
                  <a:off x="4330026" y="27542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75" name="Oval 428"/>
                <p:cNvSpPr>
                  <a:spLocks noChangeArrowheads="1"/>
                </p:cNvSpPr>
                <p:nvPr/>
              </p:nvSpPr>
              <p:spPr bwMode="auto">
                <a:xfrm>
                  <a:off x="4330026" y="296039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76" name="Oval 429"/>
                <p:cNvSpPr>
                  <a:spLocks noChangeArrowheads="1"/>
                </p:cNvSpPr>
                <p:nvPr/>
              </p:nvSpPr>
              <p:spPr bwMode="auto">
                <a:xfrm>
                  <a:off x="4330026" y="306384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77" name="Oval 430"/>
                <p:cNvSpPr>
                  <a:spLocks noChangeArrowheads="1"/>
                </p:cNvSpPr>
                <p:nvPr/>
              </p:nvSpPr>
              <p:spPr bwMode="auto">
                <a:xfrm>
                  <a:off x="4434185" y="1614129"/>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78" name="Oval 431"/>
                <p:cNvSpPr>
                  <a:spLocks noChangeArrowheads="1"/>
                </p:cNvSpPr>
                <p:nvPr/>
              </p:nvSpPr>
              <p:spPr bwMode="auto">
                <a:xfrm>
                  <a:off x="4434185" y="1718287"/>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79" name="Oval 432"/>
                <p:cNvSpPr>
                  <a:spLocks noChangeArrowheads="1"/>
                </p:cNvSpPr>
                <p:nvPr/>
              </p:nvSpPr>
              <p:spPr bwMode="auto">
                <a:xfrm>
                  <a:off x="4434185" y="1925896"/>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80" name="Oval 433"/>
                <p:cNvSpPr>
                  <a:spLocks noChangeArrowheads="1"/>
                </p:cNvSpPr>
                <p:nvPr/>
              </p:nvSpPr>
              <p:spPr bwMode="auto">
                <a:xfrm>
                  <a:off x="4434185" y="202934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81" name="Oval 434"/>
                <p:cNvSpPr>
                  <a:spLocks noChangeArrowheads="1"/>
                </p:cNvSpPr>
                <p:nvPr/>
              </p:nvSpPr>
              <p:spPr bwMode="auto">
                <a:xfrm>
                  <a:off x="4434185" y="2133505"/>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82" name="Oval 435"/>
                <p:cNvSpPr>
                  <a:spLocks noChangeArrowheads="1"/>
                </p:cNvSpPr>
                <p:nvPr/>
              </p:nvSpPr>
              <p:spPr bwMode="auto">
                <a:xfrm>
                  <a:off x="4434185" y="233898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83" name="Oval 436"/>
                <p:cNvSpPr>
                  <a:spLocks noChangeArrowheads="1"/>
                </p:cNvSpPr>
                <p:nvPr/>
              </p:nvSpPr>
              <p:spPr bwMode="auto">
                <a:xfrm>
                  <a:off x="4434185" y="2443147"/>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84" name="Oval 438"/>
                <p:cNvSpPr>
                  <a:spLocks noChangeArrowheads="1"/>
                </p:cNvSpPr>
                <p:nvPr/>
              </p:nvSpPr>
              <p:spPr bwMode="auto">
                <a:xfrm>
                  <a:off x="4434185" y="2650756"/>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85" name="Oval 440"/>
                <p:cNvSpPr>
                  <a:spLocks noChangeArrowheads="1"/>
                </p:cNvSpPr>
                <p:nvPr/>
              </p:nvSpPr>
              <p:spPr bwMode="auto">
                <a:xfrm>
                  <a:off x="4434185" y="285765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86" name="Oval 441"/>
                <p:cNvSpPr>
                  <a:spLocks noChangeArrowheads="1"/>
                </p:cNvSpPr>
                <p:nvPr/>
              </p:nvSpPr>
              <p:spPr bwMode="auto">
                <a:xfrm>
                  <a:off x="4434185" y="296039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87" name="Oval 443"/>
                <p:cNvSpPr>
                  <a:spLocks noChangeArrowheads="1"/>
                </p:cNvSpPr>
                <p:nvPr/>
              </p:nvSpPr>
              <p:spPr bwMode="auto">
                <a:xfrm>
                  <a:off x="4434185" y="3168007"/>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88" name="Oval 444"/>
                <p:cNvSpPr>
                  <a:spLocks noChangeArrowheads="1"/>
                </p:cNvSpPr>
                <p:nvPr/>
              </p:nvSpPr>
              <p:spPr bwMode="auto">
                <a:xfrm>
                  <a:off x="4539052" y="88926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89" name="Oval 445"/>
                <p:cNvSpPr>
                  <a:spLocks noChangeArrowheads="1"/>
                </p:cNvSpPr>
                <p:nvPr/>
              </p:nvSpPr>
              <p:spPr bwMode="auto">
                <a:xfrm>
                  <a:off x="4539052" y="993428"/>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90" name="Oval 446"/>
                <p:cNvSpPr>
                  <a:spLocks noChangeArrowheads="1"/>
                </p:cNvSpPr>
                <p:nvPr/>
              </p:nvSpPr>
              <p:spPr bwMode="auto">
                <a:xfrm>
                  <a:off x="4539052"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91" name="Oval 447"/>
                <p:cNvSpPr>
                  <a:spLocks noChangeArrowheads="1"/>
                </p:cNvSpPr>
                <p:nvPr/>
              </p:nvSpPr>
              <p:spPr bwMode="auto">
                <a:xfrm>
                  <a:off x="4539052" y="151067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92" name="Oval 448"/>
                <p:cNvSpPr>
                  <a:spLocks noChangeArrowheads="1"/>
                </p:cNvSpPr>
                <p:nvPr/>
              </p:nvSpPr>
              <p:spPr bwMode="auto">
                <a:xfrm>
                  <a:off x="4539052" y="161412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93" name="Oval 449"/>
                <p:cNvSpPr>
                  <a:spLocks noChangeArrowheads="1"/>
                </p:cNvSpPr>
                <p:nvPr/>
              </p:nvSpPr>
              <p:spPr bwMode="auto">
                <a:xfrm>
                  <a:off x="4539052"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94" name="Oval 450"/>
                <p:cNvSpPr>
                  <a:spLocks noChangeArrowheads="1"/>
                </p:cNvSpPr>
                <p:nvPr/>
              </p:nvSpPr>
              <p:spPr bwMode="auto">
                <a:xfrm>
                  <a:off x="4539052" y="182173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95" name="Oval 451"/>
                <p:cNvSpPr>
                  <a:spLocks noChangeArrowheads="1"/>
                </p:cNvSpPr>
                <p:nvPr/>
              </p:nvSpPr>
              <p:spPr bwMode="auto">
                <a:xfrm>
                  <a:off x="4539052"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96" name="Oval 452"/>
                <p:cNvSpPr>
                  <a:spLocks noChangeArrowheads="1"/>
                </p:cNvSpPr>
                <p:nvPr/>
              </p:nvSpPr>
              <p:spPr bwMode="auto">
                <a:xfrm>
                  <a:off x="4539052"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97" name="Oval 453"/>
                <p:cNvSpPr>
                  <a:spLocks noChangeArrowheads="1"/>
                </p:cNvSpPr>
                <p:nvPr/>
              </p:nvSpPr>
              <p:spPr bwMode="auto">
                <a:xfrm>
                  <a:off x="4539052"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98" name="Oval 454"/>
                <p:cNvSpPr>
                  <a:spLocks noChangeArrowheads="1"/>
                </p:cNvSpPr>
                <p:nvPr/>
              </p:nvSpPr>
              <p:spPr bwMode="auto">
                <a:xfrm>
                  <a:off x="4539052"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99" name="Oval 455"/>
                <p:cNvSpPr>
                  <a:spLocks noChangeArrowheads="1"/>
                </p:cNvSpPr>
                <p:nvPr/>
              </p:nvSpPr>
              <p:spPr bwMode="auto">
                <a:xfrm>
                  <a:off x="4539052" y="244314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00" name="Oval 456"/>
                <p:cNvSpPr>
                  <a:spLocks noChangeArrowheads="1"/>
                </p:cNvSpPr>
                <p:nvPr/>
              </p:nvSpPr>
              <p:spPr bwMode="auto">
                <a:xfrm>
                  <a:off x="4539052"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01" name="Oval 457"/>
                <p:cNvSpPr>
                  <a:spLocks noChangeArrowheads="1"/>
                </p:cNvSpPr>
                <p:nvPr/>
              </p:nvSpPr>
              <p:spPr bwMode="auto">
                <a:xfrm>
                  <a:off x="4539052" y="265075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02" name="Oval 458"/>
                <p:cNvSpPr>
                  <a:spLocks noChangeArrowheads="1"/>
                </p:cNvSpPr>
                <p:nvPr/>
              </p:nvSpPr>
              <p:spPr bwMode="auto">
                <a:xfrm>
                  <a:off x="4539052" y="27542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03" name="Oval 459"/>
                <p:cNvSpPr>
                  <a:spLocks noChangeArrowheads="1"/>
                </p:cNvSpPr>
                <p:nvPr/>
              </p:nvSpPr>
              <p:spPr bwMode="auto">
                <a:xfrm>
                  <a:off x="4539052" y="285765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04" name="Oval 460"/>
                <p:cNvSpPr>
                  <a:spLocks noChangeArrowheads="1"/>
                </p:cNvSpPr>
                <p:nvPr/>
              </p:nvSpPr>
              <p:spPr bwMode="auto">
                <a:xfrm>
                  <a:off x="4539052" y="296039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05" name="Oval 461"/>
                <p:cNvSpPr>
                  <a:spLocks noChangeArrowheads="1"/>
                </p:cNvSpPr>
                <p:nvPr/>
              </p:nvSpPr>
              <p:spPr bwMode="auto">
                <a:xfrm>
                  <a:off x="4539052" y="306384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06" name="Oval 462"/>
                <p:cNvSpPr>
                  <a:spLocks noChangeArrowheads="1"/>
                </p:cNvSpPr>
                <p:nvPr/>
              </p:nvSpPr>
              <p:spPr bwMode="auto">
                <a:xfrm>
                  <a:off x="4539052" y="316800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07" name="Oval 463"/>
                <p:cNvSpPr>
                  <a:spLocks noChangeArrowheads="1"/>
                </p:cNvSpPr>
                <p:nvPr/>
              </p:nvSpPr>
              <p:spPr bwMode="auto">
                <a:xfrm>
                  <a:off x="4539052" y="327145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08" name="Oval 465"/>
                <p:cNvSpPr>
                  <a:spLocks noChangeArrowheads="1"/>
                </p:cNvSpPr>
                <p:nvPr/>
              </p:nvSpPr>
              <p:spPr bwMode="auto">
                <a:xfrm>
                  <a:off x="4539052" y="347906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09" name="Oval 466"/>
                <p:cNvSpPr>
                  <a:spLocks noChangeArrowheads="1"/>
                </p:cNvSpPr>
                <p:nvPr/>
              </p:nvSpPr>
              <p:spPr bwMode="auto">
                <a:xfrm>
                  <a:off x="4539052" y="358251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10" name="Oval 467"/>
                <p:cNvSpPr>
                  <a:spLocks noChangeArrowheads="1"/>
                </p:cNvSpPr>
                <p:nvPr/>
              </p:nvSpPr>
              <p:spPr bwMode="auto">
                <a:xfrm>
                  <a:off x="4539052" y="368454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11" name="Oval 468"/>
                <p:cNvSpPr>
                  <a:spLocks noChangeArrowheads="1"/>
                </p:cNvSpPr>
                <p:nvPr/>
              </p:nvSpPr>
              <p:spPr bwMode="auto">
                <a:xfrm>
                  <a:off x="4643210" y="889269"/>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12" name="Oval 469"/>
                <p:cNvSpPr>
                  <a:spLocks noChangeArrowheads="1"/>
                </p:cNvSpPr>
                <p:nvPr/>
              </p:nvSpPr>
              <p:spPr bwMode="auto">
                <a:xfrm>
                  <a:off x="4643210" y="993428"/>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13" name="Oval 470"/>
                <p:cNvSpPr>
                  <a:spLocks noChangeArrowheads="1"/>
                </p:cNvSpPr>
                <p:nvPr/>
              </p:nvSpPr>
              <p:spPr bwMode="auto">
                <a:xfrm>
                  <a:off x="4643210" y="1304487"/>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14" name="Oval 471"/>
                <p:cNvSpPr>
                  <a:spLocks noChangeArrowheads="1"/>
                </p:cNvSpPr>
                <p:nvPr/>
              </p:nvSpPr>
              <p:spPr bwMode="auto">
                <a:xfrm>
                  <a:off x="4643210" y="1408645"/>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15" name="Oval 472"/>
                <p:cNvSpPr>
                  <a:spLocks noChangeArrowheads="1"/>
                </p:cNvSpPr>
                <p:nvPr/>
              </p:nvSpPr>
              <p:spPr bwMode="auto">
                <a:xfrm>
                  <a:off x="4643210" y="1510679"/>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16" name="Oval 473"/>
                <p:cNvSpPr>
                  <a:spLocks noChangeArrowheads="1"/>
                </p:cNvSpPr>
                <p:nvPr/>
              </p:nvSpPr>
              <p:spPr bwMode="auto">
                <a:xfrm>
                  <a:off x="4643210" y="1821738"/>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17" name="Oval 474"/>
                <p:cNvSpPr>
                  <a:spLocks noChangeArrowheads="1"/>
                </p:cNvSpPr>
                <p:nvPr/>
              </p:nvSpPr>
              <p:spPr bwMode="auto">
                <a:xfrm>
                  <a:off x="4643210" y="1925896"/>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18" name="Oval 475"/>
                <p:cNvSpPr>
                  <a:spLocks noChangeArrowheads="1"/>
                </p:cNvSpPr>
                <p:nvPr/>
              </p:nvSpPr>
              <p:spPr bwMode="auto">
                <a:xfrm>
                  <a:off x="4643210" y="202934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19" name="Oval 476"/>
                <p:cNvSpPr>
                  <a:spLocks noChangeArrowheads="1"/>
                </p:cNvSpPr>
                <p:nvPr/>
              </p:nvSpPr>
              <p:spPr bwMode="auto">
                <a:xfrm>
                  <a:off x="4643210" y="2133505"/>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20" name="Oval 477"/>
                <p:cNvSpPr>
                  <a:spLocks noChangeArrowheads="1"/>
                </p:cNvSpPr>
                <p:nvPr/>
              </p:nvSpPr>
              <p:spPr bwMode="auto">
                <a:xfrm>
                  <a:off x="4643210" y="223553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21" name="Oval 478"/>
                <p:cNvSpPr>
                  <a:spLocks noChangeArrowheads="1"/>
                </p:cNvSpPr>
                <p:nvPr/>
              </p:nvSpPr>
              <p:spPr bwMode="auto">
                <a:xfrm>
                  <a:off x="4643210" y="2443147"/>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22" name="Oval 479"/>
                <p:cNvSpPr>
                  <a:spLocks noChangeArrowheads="1"/>
                </p:cNvSpPr>
                <p:nvPr/>
              </p:nvSpPr>
              <p:spPr bwMode="auto">
                <a:xfrm>
                  <a:off x="4643210" y="2546597"/>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23" name="Oval 480"/>
                <p:cNvSpPr>
                  <a:spLocks noChangeArrowheads="1"/>
                </p:cNvSpPr>
                <p:nvPr/>
              </p:nvSpPr>
              <p:spPr bwMode="auto">
                <a:xfrm>
                  <a:off x="4643210" y="2650756"/>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24" name="Oval 481"/>
                <p:cNvSpPr>
                  <a:spLocks noChangeArrowheads="1"/>
                </p:cNvSpPr>
                <p:nvPr/>
              </p:nvSpPr>
              <p:spPr bwMode="auto">
                <a:xfrm>
                  <a:off x="4643210" y="275420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25" name="Oval 482"/>
                <p:cNvSpPr>
                  <a:spLocks noChangeArrowheads="1"/>
                </p:cNvSpPr>
                <p:nvPr/>
              </p:nvSpPr>
              <p:spPr bwMode="auto">
                <a:xfrm>
                  <a:off x="4643210" y="285765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26" name="Oval 483"/>
                <p:cNvSpPr>
                  <a:spLocks noChangeArrowheads="1"/>
                </p:cNvSpPr>
                <p:nvPr/>
              </p:nvSpPr>
              <p:spPr bwMode="auto">
                <a:xfrm>
                  <a:off x="4643210" y="296039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27" name="Oval 484"/>
                <p:cNvSpPr>
                  <a:spLocks noChangeArrowheads="1"/>
                </p:cNvSpPr>
                <p:nvPr/>
              </p:nvSpPr>
              <p:spPr bwMode="auto">
                <a:xfrm>
                  <a:off x="4643210" y="306384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28" name="Oval 485"/>
                <p:cNvSpPr>
                  <a:spLocks noChangeArrowheads="1"/>
                </p:cNvSpPr>
                <p:nvPr/>
              </p:nvSpPr>
              <p:spPr bwMode="auto">
                <a:xfrm>
                  <a:off x="4643210" y="3168007"/>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29" name="Oval 486"/>
                <p:cNvSpPr>
                  <a:spLocks noChangeArrowheads="1"/>
                </p:cNvSpPr>
                <p:nvPr/>
              </p:nvSpPr>
              <p:spPr bwMode="auto">
                <a:xfrm>
                  <a:off x="4643210" y="3271457"/>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30" name="Oval 487"/>
                <p:cNvSpPr>
                  <a:spLocks noChangeArrowheads="1"/>
                </p:cNvSpPr>
                <p:nvPr/>
              </p:nvSpPr>
              <p:spPr bwMode="auto">
                <a:xfrm>
                  <a:off x="4643210" y="3374907"/>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31" name="Oval 488"/>
                <p:cNvSpPr>
                  <a:spLocks noChangeArrowheads="1"/>
                </p:cNvSpPr>
                <p:nvPr/>
              </p:nvSpPr>
              <p:spPr bwMode="auto">
                <a:xfrm>
                  <a:off x="4643210" y="3479066"/>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32" name="Oval 489"/>
                <p:cNvSpPr>
                  <a:spLocks noChangeArrowheads="1"/>
                </p:cNvSpPr>
                <p:nvPr/>
              </p:nvSpPr>
              <p:spPr bwMode="auto">
                <a:xfrm>
                  <a:off x="4643210" y="358251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33" name="Oval 490"/>
                <p:cNvSpPr>
                  <a:spLocks noChangeArrowheads="1"/>
                </p:cNvSpPr>
                <p:nvPr/>
              </p:nvSpPr>
              <p:spPr bwMode="auto">
                <a:xfrm>
                  <a:off x="4643210" y="3684549"/>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34" name="Oval 491"/>
                <p:cNvSpPr>
                  <a:spLocks noChangeArrowheads="1"/>
                </p:cNvSpPr>
                <p:nvPr/>
              </p:nvSpPr>
              <p:spPr bwMode="auto">
                <a:xfrm>
                  <a:off x="4643210" y="378870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35" name="Oval 492"/>
                <p:cNvSpPr>
                  <a:spLocks noChangeArrowheads="1"/>
                </p:cNvSpPr>
                <p:nvPr/>
              </p:nvSpPr>
              <p:spPr bwMode="auto">
                <a:xfrm>
                  <a:off x="4643210" y="389215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36" name="Oval 493"/>
                <p:cNvSpPr>
                  <a:spLocks noChangeArrowheads="1"/>
                </p:cNvSpPr>
                <p:nvPr/>
              </p:nvSpPr>
              <p:spPr bwMode="auto">
                <a:xfrm>
                  <a:off x="4748786" y="88926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37" name="Oval 494"/>
                <p:cNvSpPr>
                  <a:spLocks noChangeArrowheads="1"/>
                </p:cNvSpPr>
                <p:nvPr/>
              </p:nvSpPr>
              <p:spPr bwMode="auto">
                <a:xfrm>
                  <a:off x="4748786" y="993428"/>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38" name="Oval 495"/>
                <p:cNvSpPr>
                  <a:spLocks noChangeArrowheads="1"/>
                </p:cNvSpPr>
                <p:nvPr/>
              </p:nvSpPr>
              <p:spPr bwMode="auto">
                <a:xfrm>
                  <a:off x="4748786" y="130448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39" name="Oval 496"/>
                <p:cNvSpPr>
                  <a:spLocks noChangeArrowheads="1"/>
                </p:cNvSpPr>
                <p:nvPr/>
              </p:nvSpPr>
              <p:spPr bwMode="auto">
                <a:xfrm>
                  <a:off x="4748786"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40" name="Oval 497"/>
                <p:cNvSpPr>
                  <a:spLocks noChangeArrowheads="1"/>
                </p:cNvSpPr>
                <p:nvPr/>
              </p:nvSpPr>
              <p:spPr bwMode="auto">
                <a:xfrm>
                  <a:off x="4748786" y="151067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41" name="Oval 498"/>
                <p:cNvSpPr>
                  <a:spLocks noChangeArrowheads="1"/>
                </p:cNvSpPr>
                <p:nvPr/>
              </p:nvSpPr>
              <p:spPr bwMode="auto">
                <a:xfrm>
                  <a:off x="4748786" y="161412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42" name="Oval 499"/>
                <p:cNvSpPr>
                  <a:spLocks noChangeArrowheads="1"/>
                </p:cNvSpPr>
                <p:nvPr/>
              </p:nvSpPr>
              <p:spPr bwMode="auto">
                <a:xfrm>
                  <a:off x="4748786"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43" name="Oval 500"/>
                <p:cNvSpPr>
                  <a:spLocks noChangeArrowheads="1"/>
                </p:cNvSpPr>
                <p:nvPr/>
              </p:nvSpPr>
              <p:spPr bwMode="auto">
                <a:xfrm>
                  <a:off x="4748786" y="182173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44" name="Oval 501"/>
                <p:cNvSpPr>
                  <a:spLocks noChangeArrowheads="1"/>
                </p:cNvSpPr>
                <p:nvPr/>
              </p:nvSpPr>
              <p:spPr bwMode="auto">
                <a:xfrm>
                  <a:off x="4748786"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45" name="Oval 502"/>
                <p:cNvSpPr>
                  <a:spLocks noChangeArrowheads="1"/>
                </p:cNvSpPr>
                <p:nvPr/>
              </p:nvSpPr>
              <p:spPr bwMode="auto">
                <a:xfrm>
                  <a:off x="4748786"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46" name="Oval 503"/>
                <p:cNvSpPr>
                  <a:spLocks noChangeArrowheads="1"/>
                </p:cNvSpPr>
                <p:nvPr/>
              </p:nvSpPr>
              <p:spPr bwMode="auto">
                <a:xfrm>
                  <a:off x="4748786"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47" name="Oval 504"/>
                <p:cNvSpPr>
                  <a:spLocks noChangeArrowheads="1"/>
                </p:cNvSpPr>
                <p:nvPr/>
              </p:nvSpPr>
              <p:spPr bwMode="auto">
                <a:xfrm>
                  <a:off x="4748786"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48" name="Oval 505"/>
                <p:cNvSpPr>
                  <a:spLocks noChangeArrowheads="1"/>
                </p:cNvSpPr>
                <p:nvPr/>
              </p:nvSpPr>
              <p:spPr bwMode="auto">
                <a:xfrm>
                  <a:off x="4748786" y="244314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49" name="Oval 506"/>
                <p:cNvSpPr>
                  <a:spLocks noChangeArrowheads="1"/>
                </p:cNvSpPr>
                <p:nvPr/>
              </p:nvSpPr>
              <p:spPr bwMode="auto">
                <a:xfrm>
                  <a:off x="4748786"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50" name="Oval 507"/>
                <p:cNvSpPr>
                  <a:spLocks noChangeArrowheads="1"/>
                </p:cNvSpPr>
                <p:nvPr/>
              </p:nvSpPr>
              <p:spPr bwMode="auto">
                <a:xfrm>
                  <a:off x="4748786" y="265075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51" name="Oval 508"/>
                <p:cNvSpPr>
                  <a:spLocks noChangeArrowheads="1"/>
                </p:cNvSpPr>
                <p:nvPr/>
              </p:nvSpPr>
              <p:spPr bwMode="auto">
                <a:xfrm>
                  <a:off x="4748786" y="27542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52" name="Oval 509"/>
                <p:cNvSpPr>
                  <a:spLocks noChangeArrowheads="1"/>
                </p:cNvSpPr>
                <p:nvPr/>
              </p:nvSpPr>
              <p:spPr bwMode="auto">
                <a:xfrm>
                  <a:off x="4748786" y="285765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53" name="Oval 510"/>
                <p:cNvSpPr>
                  <a:spLocks noChangeArrowheads="1"/>
                </p:cNvSpPr>
                <p:nvPr/>
              </p:nvSpPr>
              <p:spPr bwMode="auto">
                <a:xfrm>
                  <a:off x="4748786" y="296039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54" name="Oval 511"/>
                <p:cNvSpPr>
                  <a:spLocks noChangeArrowheads="1"/>
                </p:cNvSpPr>
                <p:nvPr/>
              </p:nvSpPr>
              <p:spPr bwMode="auto">
                <a:xfrm>
                  <a:off x="4748786" y="306384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55" name="Oval 512"/>
                <p:cNvSpPr>
                  <a:spLocks noChangeArrowheads="1"/>
                </p:cNvSpPr>
                <p:nvPr/>
              </p:nvSpPr>
              <p:spPr bwMode="auto">
                <a:xfrm>
                  <a:off x="4748786" y="316800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56" name="Oval 513"/>
                <p:cNvSpPr>
                  <a:spLocks noChangeArrowheads="1"/>
                </p:cNvSpPr>
                <p:nvPr/>
              </p:nvSpPr>
              <p:spPr bwMode="auto">
                <a:xfrm>
                  <a:off x="4748786" y="327145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57" name="Oval 514"/>
                <p:cNvSpPr>
                  <a:spLocks noChangeArrowheads="1"/>
                </p:cNvSpPr>
                <p:nvPr/>
              </p:nvSpPr>
              <p:spPr bwMode="auto">
                <a:xfrm>
                  <a:off x="4748786" y="337490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58" name="Oval 515"/>
                <p:cNvSpPr>
                  <a:spLocks noChangeArrowheads="1"/>
                </p:cNvSpPr>
                <p:nvPr/>
              </p:nvSpPr>
              <p:spPr bwMode="auto">
                <a:xfrm>
                  <a:off x="4748786" y="347906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59" name="Oval 516"/>
                <p:cNvSpPr>
                  <a:spLocks noChangeArrowheads="1"/>
                </p:cNvSpPr>
                <p:nvPr/>
              </p:nvSpPr>
              <p:spPr bwMode="auto">
                <a:xfrm>
                  <a:off x="4748786" y="358251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60" name="Oval 517"/>
                <p:cNvSpPr>
                  <a:spLocks noChangeArrowheads="1"/>
                </p:cNvSpPr>
                <p:nvPr/>
              </p:nvSpPr>
              <p:spPr bwMode="auto">
                <a:xfrm>
                  <a:off x="4748786" y="368454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61" name="Oval 518"/>
                <p:cNvSpPr>
                  <a:spLocks noChangeArrowheads="1"/>
                </p:cNvSpPr>
                <p:nvPr/>
              </p:nvSpPr>
              <p:spPr bwMode="auto">
                <a:xfrm>
                  <a:off x="4748786" y="378870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62" name="Oval 519"/>
                <p:cNvSpPr>
                  <a:spLocks noChangeArrowheads="1"/>
                </p:cNvSpPr>
                <p:nvPr/>
              </p:nvSpPr>
              <p:spPr bwMode="auto">
                <a:xfrm>
                  <a:off x="4748786" y="389215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63" name="Oval 520"/>
                <p:cNvSpPr>
                  <a:spLocks noChangeArrowheads="1"/>
                </p:cNvSpPr>
                <p:nvPr/>
              </p:nvSpPr>
              <p:spPr bwMode="auto">
                <a:xfrm>
                  <a:off x="4852236" y="889269"/>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64" name="Oval 521"/>
                <p:cNvSpPr>
                  <a:spLocks noChangeArrowheads="1"/>
                </p:cNvSpPr>
                <p:nvPr/>
              </p:nvSpPr>
              <p:spPr bwMode="auto">
                <a:xfrm>
                  <a:off x="4852236" y="993428"/>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65" name="Oval 522"/>
                <p:cNvSpPr>
                  <a:spLocks noChangeArrowheads="1"/>
                </p:cNvSpPr>
                <p:nvPr/>
              </p:nvSpPr>
              <p:spPr bwMode="auto">
                <a:xfrm>
                  <a:off x="4852236" y="1304487"/>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66" name="Oval 523"/>
                <p:cNvSpPr>
                  <a:spLocks noChangeArrowheads="1"/>
                </p:cNvSpPr>
                <p:nvPr/>
              </p:nvSpPr>
              <p:spPr bwMode="auto">
                <a:xfrm>
                  <a:off x="4852236" y="1408645"/>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67" name="Oval 524"/>
                <p:cNvSpPr>
                  <a:spLocks noChangeArrowheads="1"/>
                </p:cNvSpPr>
                <p:nvPr/>
              </p:nvSpPr>
              <p:spPr bwMode="auto">
                <a:xfrm>
                  <a:off x="4852236" y="1510679"/>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68" name="Oval 525"/>
                <p:cNvSpPr>
                  <a:spLocks noChangeArrowheads="1"/>
                </p:cNvSpPr>
                <p:nvPr/>
              </p:nvSpPr>
              <p:spPr bwMode="auto">
                <a:xfrm>
                  <a:off x="4852236" y="1614129"/>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69" name="Oval 526"/>
                <p:cNvSpPr>
                  <a:spLocks noChangeArrowheads="1"/>
                </p:cNvSpPr>
                <p:nvPr/>
              </p:nvSpPr>
              <p:spPr bwMode="auto">
                <a:xfrm>
                  <a:off x="4852236" y="1718287"/>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70" name="Oval 527"/>
                <p:cNvSpPr>
                  <a:spLocks noChangeArrowheads="1"/>
                </p:cNvSpPr>
                <p:nvPr/>
              </p:nvSpPr>
              <p:spPr bwMode="auto">
                <a:xfrm>
                  <a:off x="4852236" y="1821738"/>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71" name="Oval 528"/>
                <p:cNvSpPr>
                  <a:spLocks noChangeArrowheads="1"/>
                </p:cNvSpPr>
                <p:nvPr/>
              </p:nvSpPr>
              <p:spPr bwMode="auto">
                <a:xfrm>
                  <a:off x="4852236" y="1925896"/>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72" name="Oval 529"/>
                <p:cNvSpPr>
                  <a:spLocks noChangeArrowheads="1"/>
                </p:cNvSpPr>
                <p:nvPr/>
              </p:nvSpPr>
              <p:spPr bwMode="auto">
                <a:xfrm>
                  <a:off x="4852236" y="2029346"/>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73" name="Oval 530"/>
                <p:cNvSpPr>
                  <a:spLocks noChangeArrowheads="1"/>
                </p:cNvSpPr>
                <p:nvPr/>
              </p:nvSpPr>
              <p:spPr bwMode="auto">
                <a:xfrm>
                  <a:off x="4852236" y="223553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74" name="Oval 531"/>
                <p:cNvSpPr>
                  <a:spLocks noChangeArrowheads="1"/>
                </p:cNvSpPr>
                <p:nvPr/>
              </p:nvSpPr>
              <p:spPr bwMode="auto">
                <a:xfrm>
                  <a:off x="4852236" y="2443147"/>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75" name="Oval 532"/>
                <p:cNvSpPr>
                  <a:spLocks noChangeArrowheads="1"/>
                </p:cNvSpPr>
                <p:nvPr/>
              </p:nvSpPr>
              <p:spPr bwMode="auto">
                <a:xfrm>
                  <a:off x="4852236" y="2546597"/>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76" name="Oval 533"/>
                <p:cNvSpPr>
                  <a:spLocks noChangeArrowheads="1"/>
                </p:cNvSpPr>
                <p:nvPr/>
              </p:nvSpPr>
              <p:spPr bwMode="auto">
                <a:xfrm>
                  <a:off x="4852236" y="2650756"/>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77" name="Oval 534"/>
                <p:cNvSpPr>
                  <a:spLocks noChangeArrowheads="1"/>
                </p:cNvSpPr>
                <p:nvPr/>
              </p:nvSpPr>
              <p:spPr bwMode="auto">
                <a:xfrm>
                  <a:off x="4852236" y="2754206"/>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78" name="Oval 535"/>
                <p:cNvSpPr>
                  <a:spLocks noChangeArrowheads="1"/>
                </p:cNvSpPr>
                <p:nvPr/>
              </p:nvSpPr>
              <p:spPr bwMode="auto">
                <a:xfrm>
                  <a:off x="4852236" y="2857656"/>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79" name="Oval 536"/>
                <p:cNvSpPr>
                  <a:spLocks noChangeArrowheads="1"/>
                </p:cNvSpPr>
                <p:nvPr/>
              </p:nvSpPr>
              <p:spPr bwMode="auto">
                <a:xfrm>
                  <a:off x="4852236" y="296039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80" name="Oval 537"/>
                <p:cNvSpPr>
                  <a:spLocks noChangeArrowheads="1"/>
                </p:cNvSpPr>
                <p:nvPr/>
              </p:nvSpPr>
              <p:spPr bwMode="auto">
                <a:xfrm>
                  <a:off x="4852236" y="306384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81" name="Oval 538"/>
                <p:cNvSpPr>
                  <a:spLocks noChangeArrowheads="1"/>
                </p:cNvSpPr>
                <p:nvPr/>
              </p:nvSpPr>
              <p:spPr bwMode="auto">
                <a:xfrm>
                  <a:off x="4852236" y="3168007"/>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82" name="Oval 539"/>
                <p:cNvSpPr>
                  <a:spLocks noChangeArrowheads="1"/>
                </p:cNvSpPr>
                <p:nvPr/>
              </p:nvSpPr>
              <p:spPr bwMode="auto">
                <a:xfrm>
                  <a:off x="4852236" y="3271457"/>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83" name="Oval 540"/>
                <p:cNvSpPr>
                  <a:spLocks noChangeArrowheads="1"/>
                </p:cNvSpPr>
                <p:nvPr/>
              </p:nvSpPr>
              <p:spPr bwMode="auto">
                <a:xfrm>
                  <a:off x="4852236" y="3374907"/>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84" name="Oval 541"/>
                <p:cNvSpPr>
                  <a:spLocks noChangeArrowheads="1"/>
                </p:cNvSpPr>
                <p:nvPr/>
              </p:nvSpPr>
              <p:spPr bwMode="auto">
                <a:xfrm>
                  <a:off x="4852236" y="3479066"/>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85" name="Oval 542"/>
                <p:cNvSpPr>
                  <a:spLocks noChangeArrowheads="1"/>
                </p:cNvSpPr>
                <p:nvPr/>
              </p:nvSpPr>
              <p:spPr bwMode="auto">
                <a:xfrm>
                  <a:off x="4852236" y="3582516"/>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86" name="Oval 543"/>
                <p:cNvSpPr>
                  <a:spLocks noChangeArrowheads="1"/>
                </p:cNvSpPr>
                <p:nvPr/>
              </p:nvSpPr>
              <p:spPr bwMode="auto">
                <a:xfrm>
                  <a:off x="4852236" y="3684549"/>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87" name="Oval 544"/>
                <p:cNvSpPr>
                  <a:spLocks noChangeArrowheads="1"/>
                </p:cNvSpPr>
                <p:nvPr/>
              </p:nvSpPr>
              <p:spPr bwMode="auto">
                <a:xfrm>
                  <a:off x="4852236" y="378870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88" name="Oval 545"/>
                <p:cNvSpPr>
                  <a:spLocks noChangeArrowheads="1"/>
                </p:cNvSpPr>
                <p:nvPr/>
              </p:nvSpPr>
              <p:spPr bwMode="auto">
                <a:xfrm>
                  <a:off x="4957812"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89" name="Oval 546"/>
                <p:cNvSpPr>
                  <a:spLocks noChangeArrowheads="1"/>
                </p:cNvSpPr>
                <p:nvPr/>
              </p:nvSpPr>
              <p:spPr bwMode="auto">
                <a:xfrm>
                  <a:off x="4957812" y="151067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90" name="Oval 547"/>
                <p:cNvSpPr>
                  <a:spLocks noChangeArrowheads="1"/>
                </p:cNvSpPr>
                <p:nvPr/>
              </p:nvSpPr>
              <p:spPr bwMode="auto">
                <a:xfrm>
                  <a:off x="4957812" y="161412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91" name="Oval 548"/>
                <p:cNvSpPr>
                  <a:spLocks noChangeArrowheads="1"/>
                </p:cNvSpPr>
                <p:nvPr/>
              </p:nvSpPr>
              <p:spPr bwMode="auto">
                <a:xfrm>
                  <a:off x="4957812"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92" name="Oval 549"/>
                <p:cNvSpPr>
                  <a:spLocks noChangeArrowheads="1"/>
                </p:cNvSpPr>
                <p:nvPr/>
              </p:nvSpPr>
              <p:spPr bwMode="auto">
                <a:xfrm>
                  <a:off x="4957812" y="182173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93" name="Oval 550"/>
                <p:cNvSpPr>
                  <a:spLocks noChangeArrowheads="1"/>
                </p:cNvSpPr>
                <p:nvPr/>
              </p:nvSpPr>
              <p:spPr bwMode="auto">
                <a:xfrm>
                  <a:off x="4957812"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94" name="Oval 551"/>
                <p:cNvSpPr>
                  <a:spLocks noChangeArrowheads="1"/>
                </p:cNvSpPr>
                <p:nvPr/>
              </p:nvSpPr>
              <p:spPr bwMode="auto">
                <a:xfrm>
                  <a:off x="4957812"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95" name="Oval 552"/>
                <p:cNvSpPr>
                  <a:spLocks noChangeArrowheads="1"/>
                </p:cNvSpPr>
                <p:nvPr/>
              </p:nvSpPr>
              <p:spPr bwMode="auto">
                <a:xfrm>
                  <a:off x="4957812"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96" name="Oval 553"/>
                <p:cNvSpPr>
                  <a:spLocks noChangeArrowheads="1"/>
                </p:cNvSpPr>
                <p:nvPr/>
              </p:nvSpPr>
              <p:spPr bwMode="auto">
                <a:xfrm>
                  <a:off x="4957812"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97" name="Oval 554"/>
                <p:cNvSpPr>
                  <a:spLocks noChangeArrowheads="1"/>
                </p:cNvSpPr>
                <p:nvPr/>
              </p:nvSpPr>
              <p:spPr bwMode="auto">
                <a:xfrm>
                  <a:off x="4957812" y="244314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98" name="Oval 555"/>
                <p:cNvSpPr>
                  <a:spLocks noChangeArrowheads="1"/>
                </p:cNvSpPr>
                <p:nvPr/>
              </p:nvSpPr>
              <p:spPr bwMode="auto">
                <a:xfrm>
                  <a:off x="4957812"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99" name="Oval 556"/>
                <p:cNvSpPr>
                  <a:spLocks noChangeArrowheads="1"/>
                </p:cNvSpPr>
                <p:nvPr/>
              </p:nvSpPr>
              <p:spPr bwMode="auto">
                <a:xfrm>
                  <a:off x="4957812" y="265075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00" name="Oval 557"/>
                <p:cNvSpPr>
                  <a:spLocks noChangeArrowheads="1"/>
                </p:cNvSpPr>
                <p:nvPr/>
              </p:nvSpPr>
              <p:spPr bwMode="auto">
                <a:xfrm>
                  <a:off x="4957812" y="27542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01" name="Oval 558"/>
                <p:cNvSpPr>
                  <a:spLocks noChangeArrowheads="1"/>
                </p:cNvSpPr>
                <p:nvPr/>
              </p:nvSpPr>
              <p:spPr bwMode="auto">
                <a:xfrm>
                  <a:off x="4957812" y="285765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02" name="Oval 559"/>
                <p:cNvSpPr>
                  <a:spLocks noChangeArrowheads="1"/>
                </p:cNvSpPr>
                <p:nvPr/>
              </p:nvSpPr>
              <p:spPr bwMode="auto">
                <a:xfrm>
                  <a:off x="4957812" y="296039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03" name="Oval 560"/>
                <p:cNvSpPr>
                  <a:spLocks noChangeArrowheads="1"/>
                </p:cNvSpPr>
                <p:nvPr/>
              </p:nvSpPr>
              <p:spPr bwMode="auto">
                <a:xfrm>
                  <a:off x="4957812" y="306384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04" name="Oval 561"/>
                <p:cNvSpPr>
                  <a:spLocks noChangeArrowheads="1"/>
                </p:cNvSpPr>
                <p:nvPr/>
              </p:nvSpPr>
              <p:spPr bwMode="auto">
                <a:xfrm>
                  <a:off x="4957812" y="316800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05" name="Oval 562"/>
                <p:cNvSpPr>
                  <a:spLocks noChangeArrowheads="1"/>
                </p:cNvSpPr>
                <p:nvPr/>
              </p:nvSpPr>
              <p:spPr bwMode="auto">
                <a:xfrm>
                  <a:off x="4957812" y="327145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06" name="Oval 563"/>
                <p:cNvSpPr>
                  <a:spLocks noChangeArrowheads="1"/>
                </p:cNvSpPr>
                <p:nvPr/>
              </p:nvSpPr>
              <p:spPr bwMode="auto">
                <a:xfrm>
                  <a:off x="4957812" y="337490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07" name="Oval 564"/>
                <p:cNvSpPr>
                  <a:spLocks noChangeArrowheads="1"/>
                </p:cNvSpPr>
                <p:nvPr/>
              </p:nvSpPr>
              <p:spPr bwMode="auto">
                <a:xfrm>
                  <a:off x="4957812" y="347906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08" name="Oval 565"/>
                <p:cNvSpPr>
                  <a:spLocks noChangeArrowheads="1"/>
                </p:cNvSpPr>
                <p:nvPr/>
              </p:nvSpPr>
              <p:spPr bwMode="auto">
                <a:xfrm>
                  <a:off x="4957812" y="358251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09" name="Oval 566"/>
                <p:cNvSpPr>
                  <a:spLocks noChangeArrowheads="1"/>
                </p:cNvSpPr>
                <p:nvPr/>
              </p:nvSpPr>
              <p:spPr bwMode="auto">
                <a:xfrm>
                  <a:off x="4957812" y="368454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10" name="Oval 567"/>
                <p:cNvSpPr>
                  <a:spLocks noChangeArrowheads="1"/>
                </p:cNvSpPr>
                <p:nvPr/>
              </p:nvSpPr>
              <p:spPr bwMode="auto">
                <a:xfrm>
                  <a:off x="5061971" y="1408645"/>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11" name="Oval 568"/>
                <p:cNvSpPr>
                  <a:spLocks noChangeArrowheads="1"/>
                </p:cNvSpPr>
                <p:nvPr/>
              </p:nvSpPr>
              <p:spPr bwMode="auto">
                <a:xfrm>
                  <a:off x="5061971" y="1510679"/>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12" name="Oval 569"/>
                <p:cNvSpPr>
                  <a:spLocks noChangeArrowheads="1"/>
                </p:cNvSpPr>
                <p:nvPr/>
              </p:nvSpPr>
              <p:spPr bwMode="auto">
                <a:xfrm>
                  <a:off x="5061971" y="1614129"/>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13" name="Oval 570"/>
                <p:cNvSpPr>
                  <a:spLocks noChangeArrowheads="1"/>
                </p:cNvSpPr>
                <p:nvPr/>
              </p:nvSpPr>
              <p:spPr bwMode="auto">
                <a:xfrm>
                  <a:off x="5061971" y="1718287"/>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14" name="Oval 571"/>
                <p:cNvSpPr>
                  <a:spLocks noChangeArrowheads="1"/>
                </p:cNvSpPr>
                <p:nvPr/>
              </p:nvSpPr>
              <p:spPr bwMode="auto">
                <a:xfrm>
                  <a:off x="5061971" y="1821738"/>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15" name="Oval 572"/>
                <p:cNvSpPr>
                  <a:spLocks noChangeArrowheads="1"/>
                </p:cNvSpPr>
                <p:nvPr/>
              </p:nvSpPr>
              <p:spPr bwMode="auto">
                <a:xfrm>
                  <a:off x="5061971" y="1925896"/>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16" name="Oval 573"/>
                <p:cNvSpPr>
                  <a:spLocks noChangeArrowheads="1"/>
                </p:cNvSpPr>
                <p:nvPr/>
              </p:nvSpPr>
              <p:spPr bwMode="auto">
                <a:xfrm>
                  <a:off x="5061971" y="202934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17" name="Oval 574"/>
                <p:cNvSpPr>
                  <a:spLocks noChangeArrowheads="1"/>
                </p:cNvSpPr>
                <p:nvPr/>
              </p:nvSpPr>
              <p:spPr bwMode="auto">
                <a:xfrm>
                  <a:off x="5061971" y="2133505"/>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18" name="Oval 575"/>
                <p:cNvSpPr>
                  <a:spLocks noChangeArrowheads="1"/>
                </p:cNvSpPr>
                <p:nvPr/>
              </p:nvSpPr>
              <p:spPr bwMode="auto">
                <a:xfrm>
                  <a:off x="5061971" y="223553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19" name="Oval 576"/>
                <p:cNvSpPr>
                  <a:spLocks noChangeArrowheads="1"/>
                </p:cNvSpPr>
                <p:nvPr/>
              </p:nvSpPr>
              <p:spPr bwMode="auto">
                <a:xfrm>
                  <a:off x="5061971" y="233898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20" name="Oval 577"/>
                <p:cNvSpPr>
                  <a:spLocks noChangeArrowheads="1"/>
                </p:cNvSpPr>
                <p:nvPr/>
              </p:nvSpPr>
              <p:spPr bwMode="auto">
                <a:xfrm>
                  <a:off x="5061971" y="2443147"/>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21" name="Oval 578"/>
                <p:cNvSpPr>
                  <a:spLocks noChangeArrowheads="1"/>
                </p:cNvSpPr>
                <p:nvPr/>
              </p:nvSpPr>
              <p:spPr bwMode="auto">
                <a:xfrm>
                  <a:off x="5061971" y="2546597"/>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22" name="Oval 579"/>
                <p:cNvSpPr>
                  <a:spLocks noChangeArrowheads="1"/>
                </p:cNvSpPr>
                <p:nvPr/>
              </p:nvSpPr>
              <p:spPr bwMode="auto">
                <a:xfrm>
                  <a:off x="5061971" y="2650756"/>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23" name="Oval 580"/>
                <p:cNvSpPr>
                  <a:spLocks noChangeArrowheads="1"/>
                </p:cNvSpPr>
                <p:nvPr/>
              </p:nvSpPr>
              <p:spPr bwMode="auto">
                <a:xfrm>
                  <a:off x="5061971" y="275420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24" name="Oval 581"/>
                <p:cNvSpPr>
                  <a:spLocks noChangeArrowheads="1"/>
                </p:cNvSpPr>
                <p:nvPr/>
              </p:nvSpPr>
              <p:spPr bwMode="auto">
                <a:xfrm>
                  <a:off x="5061971" y="285765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25" name="Oval 582"/>
                <p:cNvSpPr>
                  <a:spLocks noChangeArrowheads="1"/>
                </p:cNvSpPr>
                <p:nvPr/>
              </p:nvSpPr>
              <p:spPr bwMode="auto">
                <a:xfrm>
                  <a:off x="5061971" y="296039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26" name="Oval 583"/>
                <p:cNvSpPr>
                  <a:spLocks noChangeArrowheads="1"/>
                </p:cNvSpPr>
                <p:nvPr/>
              </p:nvSpPr>
              <p:spPr bwMode="auto">
                <a:xfrm>
                  <a:off x="5061971" y="306384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27" name="Oval 584"/>
                <p:cNvSpPr>
                  <a:spLocks noChangeArrowheads="1"/>
                </p:cNvSpPr>
                <p:nvPr/>
              </p:nvSpPr>
              <p:spPr bwMode="auto">
                <a:xfrm>
                  <a:off x="5061971" y="3168007"/>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28" name="Oval 585"/>
                <p:cNvSpPr>
                  <a:spLocks noChangeArrowheads="1"/>
                </p:cNvSpPr>
                <p:nvPr/>
              </p:nvSpPr>
              <p:spPr bwMode="auto">
                <a:xfrm>
                  <a:off x="5061971" y="3271457"/>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29" name="Oval 586"/>
                <p:cNvSpPr>
                  <a:spLocks noChangeArrowheads="1"/>
                </p:cNvSpPr>
                <p:nvPr/>
              </p:nvSpPr>
              <p:spPr bwMode="auto">
                <a:xfrm>
                  <a:off x="5061971" y="3374907"/>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30" name="Oval 587"/>
                <p:cNvSpPr>
                  <a:spLocks noChangeArrowheads="1"/>
                </p:cNvSpPr>
                <p:nvPr/>
              </p:nvSpPr>
              <p:spPr bwMode="auto">
                <a:xfrm>
                  <a:off x="5061971" y="3479066"/>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31" name="Oval 588"/>
                <p:cNvSpPr>
                  <a:spLocks noChangeArrowheads="1"/>
                </p:cNvSpPr>
                <p:nvPr/>
              </p:nvSpPr>
              <p:spPr bwMode="auto">
                <a:xfrm>
                  <a:off x="5166838" y="151067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32" name="Oval 589"/>
                <p:cNvSpPr>
                  <a:spLocks noChangeArrowheads="1"/>
                </p:cNvSpPr>
                <p:nvPr/>
              </p:nvSpPr>
              <p:spPr bwMode="auto">
                <a:xfrm>
                  <a:off x="5166838" y="161412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33" name="Oval 590"/>
                <p:cNvSpPr>
                  <a:spLocks noChangeArrowheads="1"/>
                </p:cNvSpPr>
                <p:nvPr/>
              </p:nvSpPr>
              <p:spPr bwMode="auto">
                <a:xfrm>
                  <a:off x="5166838"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34" name="Oval 591"/>
                <p:cNvSpPr>
                  <a:spLocks noChangeArrowheads="1"/>
                </p:cNvSpPr>
                <p:nvPr/>
              </p:nvSpPr>
              <p:spPr bwMode="auto">
                <a:xfrm>
                  <a:off x="5166838" y="182173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35" name="Oval 592"/>
                <p:cNvSpPr>
                  <a:spLocks noChangeArrowheads="1"/>
                </p:cNvSpPr>
                <p:nvPr/>
              </p:nvSpPr>
              <p:spPr bwMode="auto">
                <a:xfrm>
                  <a:off x="5166838"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36" name="Oval 593"/>
                <p:cNvSpPr>
                  <a:spLocks noChangeArrowheads="1"/>
                </p:cNvSpPr>
                <p:nvPr/>
              </p:nvSpPr>
              <p:spPr bwMode="auto">
                <a:xfrm>
                  <a:off x="5166838"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37" name="Oval 594"/>
                <p:cNvSpPr>
                  <a:spLocks noChangeArrowheads="1"/>
                </p:cNvSpPr>
                <p:nvPr/>
              </p:nvSpPr>
              <p:spPr bwMode="auto">
                <a:xfrm>
                  <a:off x="5166838"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38" name="Oval 595"/>
                <p:cNvSpPr>
                  <a:spLocks noChangeArrowheads="1"/>
                </p:cNvSpPr>
                <p:nvPr/>
              </p:nvSpPr>
              <p:spPr bwMode="auto">
                <a:xfrm>
                  <a:off x="5166838"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39" name="Oval 596"/>
                <p:cNvSpPr>
                  <a:spLocks noChangeArrowheads="1"/>
                </p:cNvSpPr>
                <p:nvPr/>
              </p:nvSpPr>
              <p:spPr bwMode="auto">
                <a:xfrm>
                  <a:off x="5166838"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40" name="Oval 597"/>
                <p:cNvSpPr>
                  <a:spLocks noChangeArrowheads="1"/>
                </p:cNvSpPr>
                <p:nvPr/>
              </p:nvSpPr>
              <p:spPr bwMode="auto">
                <a:xfrm>
                  <a:off x="5166838" y="244314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41" name="Oval 598"/>
                <p:cNvSpPr>
                  <a:spLocks noChangeArrowheads="1"/>
                </p:cNvSpPr>
                <p:nvPr/>
              </p:nvSpPr>
              <p:spPr bwMode="auto">
                <a:xfrm>
                  <a:off x="5166838"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42" name="Oval 599"/>
                <p:cNvSpPr>
                  <a:spLocks noChangeArrowheads="1"/>
                </p:cNvSpPr>
                <p:nvPr/>
              </p:nvSpPr>
              <p:spPr bwMode="auto">
                <a:xfrm>
                  <a:off x="5166838" y="265075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43" name="Oval 600"/>
                <p:cNvSpPr>
                  <a:spLocks noChangeArrowheads="1"/>
                </p:cNvSpPr>
                <p:nvPr/>
              </p:nvSpPr>
              <p:spPr bwMode="auto">
                <a:xfrm>
                  <a:off x="5166838" y="27542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44" name="Oval 601"/>
                <p:cNvSpPr>
                  <a:spLocks noChangeArrowheads="1"/>
                </p:cNvSpPr>
                <p:nvPr/>
              </p:nvSpPr>
              <p:spPr bwMode="auto">
                <a:xfrm>
                  <a:off x="5166838" y="285765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45" name="Oval 602"/>
                <p:cNvSpPr>
                  <a:spLocks noChangeArrowheads="1"/>
                </p:cNvSpPr>
                <p:nvPr/>
              </p:nvSpPr>
              <p:spPr bwMode="auto">
                <a:xfrm>
                  <a:off x="5166838" y="296039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46" name="Oval 603"/>
                <p:cNvSpPr>
                  <a:spLocks noChangeArrowheads="1"/>
                </p:cNvSpPr>
                <p:nvPr/>
              </p:nvSpPr>
              <p:spPr bwMode="auto">
                <a:xfrm>
                  <a:off x="5166838" y="306384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47" name="Oval 604"/>
                <p:cNvSpPr>
                  <a:spLocks noChangeArrowheads="1"/>
                </p:cNvSpPr>
                <p:nvPr/>
              </p:nvSpPr>
              <p:spPr bwMode="auto">
                <a:xfrm>
                  <a:off x="5166838" y="347906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48" name="Oval 605"/>
                <p:cNvSpPr>
                  <a:spLocks noChangeArrowheads="1"/>
                </p:cNvSpPr>
                <p:nvPr/>
              </p:nvSpPr>
              <p:spPr bwMode="auto">
                <a:xfrm>
                  <a:off x="5166838" y="358251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49" name="Oval 606"/>
                <p:cNvSpPr>
                  <a:spLocks noChangeArrowheads="1"/>
                </p:cNvSpPr>
                <p:nvPr/>
              </p:nvSpPr>
              <p:spPr bwMode="auto">
                <a:xfrm>
                  <a:off x="5166838" y="368454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50" name="Oval 607"/>
                <p:cNvSpPr>
                  <a:spLocks noChangeArrowheads="1"/>
                </p:cNvSpPr>
                <p:nvPr/>
              </p:nvSpPr>
              <p:spPr bwMode="auto">
                <a:xfrm>
                  <a:off x="5270997" y="88926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51" name="Oval 609"/>
                <p:cNvSpPr>
                  <a:spLocks noChangeArrowheads="1"/>
                </p:cNvSpPr>
                <p:nvPr/>
              </p:nvSpPr>
              <p:spPr bwMode="auto">
                <a:xfrm>
                  <a:off x="5270997"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52" name="Oval 610"/>
                <p:cNvSpPr>
                  <a:spLocks noChangeArrowheads="1"/>
                </p:cNvSpPr>
                <p:nvPr/>
              </p:nvSpPr>
              <p:spPr bwMode="auto">
                <a:xfrm>
                  <a:off x="5270997" y="151067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53" name="Oval 611"/>
                <p:cNvSpPr>
                  <a:spLocks noChangeArrowheads="1"/>
                </p:cNvSpPr>
                <p:nvPr/>
              </p:nvSpPr>
              <p:spPr bwMode="auto">
                <a:xfrm>
                  <a:off x="5270997" y="161412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54" name="Oval 612"/>
                <p:cNvSpPr>
                  <a:spLocks noChangeArrowheads="1"/>
                </p:cNvSpPr>
                <p:nvPr/>
              </p:nvSpPr>
              <p:spPr bwMode="auto">
                <a:xfrm>
                  <a:off x="5270997"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55" name="Oval 613"/>
                <p:cNvSpPr>
                  <a:spLocks noChangeArrowheads="1"/>
                </p:cNvSpPr>
                <p:nvPr/>
              </p:nvSpPr>
              <p:spPr bwMode="auto">
                <a:xfrm>
                  <a:off x="5270997" y="182173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56" name="Oval 614"/>
                <p:cNvSpPr>
                  <a:spLocks noChangeArrowheads="1"/>
                </p:cNvSpPr>
                <p:nvPr/>
              </p:nvSpPr>
              <p:spPr bwMode="auto">
                <a:xfrm>
                  <a:off x="5270997"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57" name="Oval 615"/>
                <p:cNvSpPr>
                  <a:spLocks noChangeArrowheads="1"/>
                </p:cNvSpPr>
                <p:nvPr/>
              </p:nvSpPr>
              <p:spPr bwMode="auto">
                <a:xfrm>
                  <a:off x="5270997"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58" name="Oval 616"/>
                <p:cNvSpPr>
                  <a:spLocks noChangeArrowheads="1"/>
                </p:cNvSpPr>
                <p:nvPr/>
              </p:nvSpPr>
              <p:spPr bwMode="auto">
                <a:xfrm>
                  <a:off x="5270997"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59" name="Oval 617"/>
                <p:cNvSpPr>
                  <a:spLocks noChangeArrowheads="1"/>
                </p:cNvSpPr>
                <p:nvPr/>
              </p:nvSpPr>
              <p:spPr bwMode="auto">
                <a:xfrm>
                  <a:off x="5270997" y="244314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60" name="Oval 618"/>
                <p:cNvSpPr>
                  <a:spLocks noChangeArrowheads="1"/>
                </p:cNvSpPr>
                <p:nvPr/>
              </p:nvSpPr>
              <p:spPr bwMode="auto">
                <a:xfrm>
                  <a:off x="5270997"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61" name="Oval 619"/>
                <p:cNvSpPr>
                  <a:spLocks noChangeArrowheads="1"/>
                </p:cNvSpPr>
                <p:nvPr/>
              </p:nvSpPr>
              <p:spPr bwMode="auto">
                <a:xfrm>
                  <a:off x="5270997" y="265075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62" name="Oval 620"/>
                <p:cNvSpPr>
                  <a:spLocks noChangeArrowheads="1"/>
                </p:cNvSpPr>
                <p:nvPr/>
              </p:nvSpPr>
              <p:spPr bwMode="auto">
                <a:xfrm>
                  <a:off x="5270997" y="27542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63" name="Oval 621"/>
                <p:cNvSpPr>
                  <a:spLocks noChangeArrowheads="1"/>
                </p:cNvSpPr>
                <p:nvPr/>
              </p:nvSpPr>
              <p:spPr bwMode="auto">
                <a:xfrm>
                  <a:off x="5270997" y="296039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64" name="Oval 622"/>
                <p:cNvSpPr>
                  <a:spLocks noChangeArrowheads="1"/>
                </p:cNvSpPr>
                <p:nvPr/>
              </p:nvSpPr>
              <p:spPr bwMode="auto">
                <a:xfrm>
                  <a:off x="5376573" y="88926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65" name="Oval 623"/>
                <p:cNvSpPr>
                  <a:spLocks noChangeArrowheads="1"/>
                </p:cNvSpPr>
                <p:nvPr/>
              </p:nvSpPr>
              <p:spPr bwMode="auto">
                <a:xfrm>
                  <a:off x="5376573" y="109687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66" name="Oval 624"/>
                <p:cNvSpPr>
                  <a:spLocks noChangeArrowheads="1"/>
                </p:cNvSpPr>
                <p:nvPr/>
              </p:nvSpPr>
              <p:spPr bwMode="auto">
                <a:xfrm>
                  <a:off x="5376573" y="120103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67" name="Oval 625"/>
                <p:cNvSpPr>
                  <a:spLocks noChangeArrowheads="1"/>
                </p:cNvSpPr>
                <p:nvPr/>
              </p:nvSpPr>
              <p:spPr bwMode="auto">
                <a:xfrm>
                  <a:off x="5376573"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68" name="Oval 626"/>
                <p:cNvSpPr>
                  <a:spLocks noChangeArrowheads="1"/>
                </p:cNvSpPr>
                <p:nvPr/>
              </p:nvSpPr>
              <p:spPr bwMode="auto">
                <a:xfrm>
                  <a:off x="5376573" y="151067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69" name="Oval 627"/>
                <p:cNvSpPr>
                  <a:spLocks noChangeArrowheads="1"/>
                </p:cNvSpPr>
                <p:nvPr/>
              </p:nvSpPr>
              <p:spPr bwMode="auto">
                <a:xfrm>
                  <a:off x="5376573" y="161412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70" name="Oval 628"/>
                <p:cNvSpPr>
                  <a:spLocks noChangeArrowheads="1"/>
                </p:cNvSpPr>
                <p:nvPr/>
              </p:nvSpPr>
              <p:spPr bwMode="auto">
                <a:xfrm>
                  <a:off x="5376573"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71" name="Oval 629"/>
                <p:cNvSpPr>
                  <a:spLocks noChangeArrowheads="1"/>
                </p:cNvSpPr>
                <p:nvPr/>
              </p:nvSpPr>
              <p:spPr bwMode="auto">
                <a:xfrm>
                  <a:off x="5376573" y="182173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72" name="Oval 630"/>
                <p:cNvSpPr>
                  <a:spLocks noChangeArrowheads="1"/>
                </p:cNvSpPr>
                <p:nvPr/>
              </p:nvSpPr>
              <p:spPr bwMode="auto">
                <a:xfrm>
                  <a:off x="5376573"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73" name="Oval 631"/>
                <p:cNvSpPr>
                  <a:spLocks noChangeArrowheads="1"/>
                </p:cNvSpPr>
                <p:nvPr/>
              </p:nvSpPr>
              <p:spPr bwMode="auto">
                <a:xfrm>
                  <a:off x="5376573"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74" name="Oval 632"/>
                <p:cNvSpPr>
                  <a:spLocks noChangeArrowheads="1"/>
                </p:cNvSpPr>
                <p:nvPr/>
              </p:nvSpPr>
              <p:spPr bwMode="auto">
                <a:xfrm>
                  <a:off x="5376573"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75" name="Oval 633"/>
                <p:cNvSpPr>
                  <a:spLocks noChangeArrowheads="1"/>
                </p:cNvSpPr>
                <p:nvPr/>
              </p:nvSpPr>
              <p:spPr bwMode="auto">
                <a:xfrm>
                  <a:off x="5376573"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76" name="Oval 634"/>
                <p:cNvSpPr>
                  <a:spLocks noChangeArrowheads="1"/>
                </p:cNvSpPr>
                <p:nvPr/>
              </p:nvSpPr>
              <p:spPr bwMode="auto">
                <a:xfrm>
                  <a:off x="5376573"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77" name="Oval 635"/>
                <p:cNvSpPr>
                  <a:spLocks noChangeArrowheads="1"/>
                </p:cNvSpPr>
                <p:nvPr/>
              </p:nvSpPr>
              <p:spPr bwMode="auto">
                <a:xfrm>
                  <a:off x="5376573" y="244314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78" name="Oval 636"/>
                <p:cNvSpPr>
                  <a:spLocks noChangeArrowheads="1"/>
                </p:cNvSpPr>
                <p:nvPr/>
              </p:nvSpPr>
              <p:spPr bwMode="auto">
                <a:xfrm>
                  <a:off x="5376573"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79" name="Oval 637"/>
                <p:cNvSpPr>
                  <a:spLocks noChangeArrowheads="1"/>
                </p:cNvSpPr>
                <p:nvPr/>
              </p:nvSpPr>
              <p:spPr bwMode="auto">
                <a:xfrm>
                  <a:off x="5376573" y="265075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80" name="Oval 638"/>
                <p:cNvSpPr>
                  <a:spLocks noChangeArrowheads="1"/>
                </p:cNvSpPr>
                <p:nvPr/>
              </p:nvSpPr>
              <p:spPr bwMode="auto">
                <a:xfrm>
                  <a:off x="5376573" y="27542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81" name="Oval 639"/>
                <p:cNvSpPr>
                  <a:spLocks noChangeArrowheads="1"/>
                </p:cNvSpPr>
                <p:nvPr/>
              </p:nvSpPr>
              <p:spPr bwMode="auto">
                <a:xfrm>
                  <a:off x="5480023" y="88926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82" name="Oval 640"/>
                <p:cNvSpPr>
                  <a:spLocks noChangeArrowheads="1"/>
                </p:cNvSpPr>
                <p:nvPr/>
              </p:nvSpPr>
              <p:spPr bwMode="auto">
                <a:xfrm>
                  <a:off x="5480023" y="109687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83" name="Oval 641"/>
                <p:cNvSpPr>
                  <a:spLocks noChangeArrowheads="1"/>
                </p:cNvSpPr>
                <p:nvPr/>
              </p:nvSpPr>
              <p:spPr bwMode="auto">
                <a:xfrm>
                  <a:off x="5480023" y="130448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84" name="Oval 642"/>
                <p:cNvSpPr>
                  <a:spLocks noChangeArrowheads="1"/>
                </p:cNvSpPr>
                <p:nvPr/>
              </p:nvSpPr>
              <p:spPr bwMode="auto">
                <a:xfrm>
                  <a:off x="5480023"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85" name="Oval 643"/>
                <p:cNvSpPr>
                  <a:spLocks noChangeArrowheads="1"/>
                </p:cNvSpPr>
                <p:nvPr/>
              </p:nvSpPr>
              <p:spPr bwMode="auto">
                <a:xfrm>
                  <a:off x="5480023" y="151067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86" name="Oval 644"/>
                <p:cNvSpPr>
                  <a:spLocks noChangeArrowheads="1"/>
                </p:cNvSpPr>
                <p:nvPr/>
              </p:nvSpPr>
              <p:spPr bwMode="auto">
                <a:xfrm>
                  <a:off x="5480023" y="161412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87" name="Oval 645"/>
                <p:cNvSpPr>
                  <a:spLocks noChangeArrowheads="1"/>
                </p:cNvSpPr>
                <p:nvPr/>
              </p:nvSpPr>
              <p:spPr bwMode="auto">
                <a:xfrm>
                  <a:off x="5480023"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88" name="Oval 646"/>
                <p:cNvSpPr>
                  <a:spLocks noChangeArrowheads="1"/>
                </p:cNvSpPr>
                <p:nvPr/>
              </p:nvSpPr>
              <p:spPr bwMode="auto">
                <a:xfrm>
                  <a:off x="5480023" y="182173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89" name="Oval 647"/>
                <p:cNvSpPr>
                  <a:spLocks noChangeArrowheads="1"/>
                </p:cNvSpPr>
                <p:nvPr/>
              </p:nvSpPr>
              <p:spPr bwMode="auto">
                <a:xfrm>
                  <a:off x="5480023"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90" name="Oval 648"/>
                <p:cNvSpPr>
                  <a:spLocks noChangeArrowheads="1"/>
                </p:cNvSpPr>
                <p:nvPr/>
              </p:nvSpPr>
              <p:spPr bwMode="auto">
                <a:xfrm>
                  <a:off x="5480023"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91" name="Oval 649"/>
                <p:cNvSpPr>
                  <a:spLocks noChangeArrowheads="1"/>
                </p:cNvSpPr>
                <p:nvPr/>
              </p:nvSpPr>
              <p:spPr bwMode="auto">
                <a:xfrm>
                  <a:off x="5480023"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92" name="Oval 650"/>
                <p:cNvSpPr>
                  <a:spLocks noChangeArrowheads="1"/>
                </p:cNvSpPr>
                <p:nvPr/>
              </p:nvSpPr>
              <p:spPr bwMode="auto">
                <a:xfrm>
                  <a:off x="5480023"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93" name="Oval 651"/>
                <p:cNvSpPr>
                  <a:spLocks noChangeArrowheads="1"/>
                </p:cNvSpPr>
                <p:nvPr/>
              </p:nvSpPr>
              <p:spPr bwMode="auto">
                <a:xfrm>
                  <a:off x="5480023"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94" name="Oval 652"/>
                <p:cNvSpPr>
                  <a:spLocks noChangeArrowheads="1"/>
                </p:cNvSpPr>
                <p:nvPr/>
              </p:nvSpPr>
              <p:spPr bwMode="auto">
                <a:xfrm>
                  <a:off x="5480023" y="244314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95" name="Oval 653"/>
                <p:cNvSpPr>
                  <a:spLocks noChangeArrowheads="1"/>
                </p:cNvSpPr>
                <p:nvPr/>
              </p:nvSpPr>
              <p:spPr bwMode="auto">
                <a:xfrm>
                  <a:off x="5480023"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96" name="Oval 654"/>
                <p:cNvSpPr>
                  <a:spLocks noChangeArrowheads="1"/>
                </p:cNvSpPr>
                <p:nvPr/>
              </p:nvSpPr>
              <p:spPr bwMode="auto">
                <a:xfrm>
                  <a:off x="5585599" y="109687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97" name="Oval 655"/>
                <p:cNvSpPr>
                  <a:spLocks noChangeArrowheads="1"/>
                </p:cNvSpPr>
                <p:nvPr/>
              </p:nvSpPr>
              <p:spPr bwMode="auto">
                <a:xfrm>
                  <a:off x="5585599" y="130448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98" name="Oval 656"/>
                <p:cNvSpPr>
                  <a:spLocks noChangeArrowheads="1"/>
                </p:cNvSpPr>
                <p:nvPr/>
              </p:nvSpPr>
              <p:spPr bwMode="auto">
                <a:xfrm>
                  <a:off x="5585599"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99" name="Oval 657"/>
                <p:cNvSpPr>
                  <a:spLocks noChangeArrowheads="1"/>
                </p:cNvSpPr>
                <p:nvPr/>
              </p:nvSpPr>
              <p:spPr bwMode="auto">
                <a:xfrm>
                  <a:off x="5585599" y="151067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00" name="Oval 658"/>
                <p:cNvSpPr>
                  <a:spLocks noChangeArrowheads="1"/>
                </p:cNvSpPr>
                <p:nvPr/>
              </p:nvSpPr>
              <p:spPr bwMode="auto">
                <a:xfrm>
                  <a:off x="5585599" y="161412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01" name="Oval 659"/>
                <p:cNvSpPr>
                  <a:spLocks noChangeArrowheads="1"/>
                </p:cNvSpPr>
                <p:nvPr/>
              </p:nvSpPr>
              <p:spPr bwMode="auto">
                <a:xfrm>
                  <a:off x="5585599"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02" name="Oval 660"/>
                <p:cNvSpPr>
                  <a:spLocks noChangeArrowheads="1"/>
                </p:cNvSpPr>
                <p:nvPr/>
              </p:nvSpPr>
              <p:spPr bwMode="auto">
                <a:xfrm>
                  <a:off x="5585599" y="182173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03" name="Oval 661"/>
                <p:cNvSpPr>
                  <a:spLocks noChangeArrowheads="1"/>
                </p:cNvSpPr>
                <p:nvPr/>
              </p:nvSpPr>
              <p:spPr bwMode="auto">
                <a:xfrm>
                  <a:off x="5585599"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04" name="Oval 662"/>
                <p:cNvSpPr>
                  <a:spLocks noChangeArrowheads="1"/>
                </p:cNvSpPr>
                <p:nvPr/>
              </p:nvSpPr>
              <p:spPr bwMode="auto">
                <a:xfrm>
                  <a:off x="5585599"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05" name="Oval 663"/>
                <p:cNvSpPr>
                  <a:spLocks noChangeArrowheads="1"/>
                </p:cNvSpPr>
                <p:nvPr/>
              </p:nvSpPr>
              <p:spPr bwMode="auto">
                <a:xfrm>
                  <a:off x="5585599"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06" name="Oval 664"/>
                <p:cNvSpPr>
                  <a:spLocks noChangeArrowheads="1"/>
                </p:cNvSpPr>
                <p:nvPr/>
              </p:nvSpPr>
              <p:spPr bwMode="auto">
                <a:xfrm>
                  <a:off x="5585599"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07" name="Oval 665"/>
                <p:cNvSpPr>
                  <a:spLocks noChangeArrowheads="1"/>
                </p:cNvSpPr>
                <p:nvPr/>
              </p:nvSpPr>
              <p:spPr bwMode="auto">
                <a:xfrm>
                  <a:off x="5585599"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08" name="Oval 666"/>
                <p:cNvSpPr>
                  <a:spLocks noChangeArrowheads="1"/>
                </p:cNvSpPr>
                <p:nvPr/>
              </p:nvSpPr>
              <p:spPr bwMode="auto">
                <a:xfrm>
                  <a:off x="5585599" y="244314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09" name="Oval 667"/>
                <p:cNvSpPr>
                  <a:spLocks noChangeArrowheads="1"/>
                </p:cNvSpPr>
                <p:nvPr/>
              </p:nvSpPr>
              <p:spPr bwMode="auto">
                <a:xfrm>
                  <a:off x="5585599"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10" name="Oval 668"/>
                <p:cNvSpPr>
                  <a:spLocks noChangeArrowheads="1"/>
                </p:cNvSpPr>
                <p:nvPr/>
              </p:nvSpPr>
              <p:spPr bwMode="auto">
                <a:xfrm>
                  <a:off x="5689049" y="120103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11" name="Oval 669"/>
                <p:cNvSpPr>
                  <a:spLocks noChangeArrowheads="1"/>
                </p:cNvSpPr>
                <p:nvPr/>
              </p:nvSpPr>
              <p:spPr bwMode="auto">
                <a:xfrm>
                  <a:off x="5689049" y="130448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12" name="Oval 670"/>
                <p:cNvSpPr>
                  <a:spLocks noChangeArrowheads="1"/>
                </p:cNvSpPr>
                <p:nvPr/>
              </p:nvSpPr>
              <p:spPr bwMode="auto">
                <a:xfrm>
                  <a:off x="5689049"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13" name="Oval 671"/>
                <p:cNvSpPr>
                  <a:spLocks noChangeArrowheads="1"/>
                </p:cNvSpPr>
                <p:nvPr/>
              </p:nvSpPr>
              <p:spPr bwMode="auto">
                <a:xfrm>
                  <a:off x="5689049" y="151067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14" name="Oval 672"/>
                <p:cNvSpPr>
                  <a:spLocks noChangeArrowheads="1"/>
                </p:cNvSpPr>
                <p:nvPr/>
              </p:nvSpPr>
              <p:spPr bwMode="auto">
                <a:xfrm>
                  <a:off x="5689049" y="161412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15" name="Oval 673"/>
                <p:cNvSpPr>
                  <a:spLocks noChangeArrowheads="1"/>
                </p:cNvSpPr>
                <p:nvPr/>
              </p:nvSpPr>
              <p:spPr bwMode="auto">
                <a:xfrm>
                  <a:off x="5689049"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16" name="Oval 674"/>
                <p:cNvSpPr>
                  <a:spLocks noChangeArrowheads="1"/>
                </p:cNvSpPr>
                <p:nvPr/>
              </p:nvSpPr>
              <p:spPr bwMode="auto">
                <a:xfrm>
                  <a:off x="5689049" y="182173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17" name="Oval 675"/>
                <p:cNvSpPr>
                  <a:spLocks noChangeArrowheads="1"/>
                </p:cNvSpPr>
                <p:nvPr/>
              </p:nvSpPr>
              <p:spPr bwMode="auto">
                <a:xfrm>
                  <a:off x="5689049"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18" name="Oval 676"/>
                <p:cNvSpPr>
                  <a:spLocks noChangeArrowheads="1"/>
                </p:cNvSpPr>
                <p:nvPr/>
              </p:nvSpPr>
              <p:spPr bwMode="auto">
                <a:xfrm>
                  <a:off x="5689049"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19" name="Oval 677"/>
                <p:cNvSpPr>
                  <a:spLocks noChangeArrowheads="1"/>
                </p:cNvSpPr>
                <p:nvPr/>
              </p:nvSpPr>
              <p:spPr bwMode="auto">
                <a:xfrm>
                  <a:off x="5689049"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20" name="Oval 678"/>
                <p:cNvSpPr>
                  <a:spLocks noChangeArrowheads="1"/>
                </p:cNvSpPr>
                <p:nvPr/>
              </p:nvSpPr>
              <p:spPr bwMode="auto">
                <a:xfrm>
                  <a:off x="5689049"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21" name="Oval 679"/>
                <p:cNvSpPr>
                  <a:spLocks noChangeArrowheads="1"/>
                </p:cNvSpPr>
                <p:nvPr/>
              </p:nvSpPr>
              <p:spPr bwMode="auto">
                <a:xfrm>
                  <a:off x="5689049"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22" name="Oval 680"/>
                <p:cNvSpPr>
                  <a:spLocks noChangeArrowheads="1"/>
                </p:cNvSpPr>
                <p:nvPr/>
              </p:nvSpPr>
              <p:spPr bwMode="auto">
                <a:xfrm>
                  <a:off x="5689049" y="244314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23" name="Oval 681"/>
                <p:cNvSpPr>
                  <a:spLocks noChangeArrowheads="1"/>
                </p:cNvSpPr>
                <p:nvPr/>
              </p:nvSpPr>
              <p:spPr bwMode="auto">
                <a:xfrm>
                  <a:off x="5689049"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24" name="Oval 682"/>
                <p:cNvSpPr>
                  <a:spLocks noChangeArrowheads="1"/>
                </p:cNvSpPr>
                <p:nvPr/>
              </p:nvSpPr>
              <p:spPr bwMode="auto">
                <a:xfrm>
                  <a:off x="5689049" y="265075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25" name="Oval 683"/>
                <p:cNvSpPr>
                  <a:spLocks noChangeArrowheads="1"/>
                </p:cNvSpPr>
                <p:nvPr/>
              </p:nvSpPr>
              <p:spPr bwMode="auto">
                <a:xfrm>
                  <a:off x="5689049" y="27542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26" name="Oval 684"/>
                <p:cNvSpPr>
                  <a:spLocks noChangeArrowheads="1"/>
                </p:cNvSpPr>
                <p:nvPr/>
              </p:nvSpPr>
              <p:spPr bwMode="auto">
                <a:xfrm>
                  <a:off x="5794625" y="120103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27" name="Oval 685"/>
                <p:cNvSpPr>
                  <a:spLocks noChangeArrowheads="1"/>
                </p:cNvSpPr>
                <p:nvPr/>
              </p:nvSpPr>
              <p:spPr bwMode="auto">
                <a:xfrm>
                  <a:off x="5794625" y="130448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28" name="Oval 686"/>
                <p:cNvSpPr>
                  <a:spLocks noChangeArrowheads="1"/>
                </p:cNvSpPr>
                <p:nvPr/>
              </p:nvSpPr>
              <p:spPr bwMode="auto">
                <a:xfrm>
                  <a:off x="5794625"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29" name="Oval 687"/>
                <p:cNvSpPr>
                  <a:spLocks noChangeArrowheads="1"/>
                </p:cNvSpPr>
                <p:nvPr/>
              </p:nvSpPr>
              <p:spPr bwMode="auto">
                <a:xfrm>
                  <a:off x="5794625" y="151067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30" name="Oval 688"/>
                <p:cNvSpPr>
                  <a:spLocks noChangeArrowheads="1"/>
                </p:cNvSpPr>
                <p:nvPr/>
              </p:nvSpPr>
              <p:spPr bwMode="auto">
                <a:xfrm>
                  <a:off x="5794625" y="161412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31" name="Oval 689"/>
                <p:cNvSpPr>
                  <a:spLocks noChangeArrowheads="1"/>
                </p:cNvSpPr>
                <p:nvPr/>
              </p:nvSpPr>
              <p:spPr bwMode="auto">
                <a:xfrm>
                  <a:off x="5794625"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32" name="Oval 690"/>
                <p:cNvSpPr>
                  <a:spLocks noChangeArrowheads="1"/>
                </p:cNvSpPr>
                <p:nvPr/>
              </p:nvSpPr>
              <p:spPr bwMode="auto">
                <a:xfrm>
                  <a:off x="5794625" y="182173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33" name="Oval 691"/>
                <p:cNvSpPr>
                  <a:spLocks noChangeArrowheads="1"/>
                </p:cNvSpPr>
                <p:nvPr/>
              </p:nvSpPr>
              <p:spPr bwMode="auto">
                <a:xfrm>
                  <a:off x="5794625"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34" name="Oval 692"/>
                <p:cNvSpPr>
                  <a:spLocks noChangeArrowheads="1"/>
                </p:cNvSpPr>
                <p:nvPr/>
              </p:nvSpPr>
              <p:spPr bwMode="auto">
                <a:xfrm>
                  <a:off x="5794625"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35" name="Oval 693"/>
                <p:cNvSpPr>
                  <a:spLocks noChangeArrowheads="1"/>
                </p:cNvSpPr>
                <p:nvPr/>
              </p:nvSpPr>
              <p:spPr bwMode="auto">
                <a:xfrm>
                  <a:off x="5794625"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36" name="Oval 694"/>
                <p:cNvSpPr>
                  <a:spLocks noChangeArrowheads="1"/>
                </p:cNvSpPr>
                <p:nvPr/>
              </p:nvSpPr>
              <p:spPr bwMode="auto">
                <a:xfrm>
                  <a:off x="5794625"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37" name="Oval 695"/>
                <p:cNvSpPr>
                  <a:spLocks noChangeArrowheads="1"/>
                </p:cNvSpPr>
                <p:nvPr/>
              </p:nvSpPr>
              <p:spPr bwMode="auto">
                <a:xfrm>
                  <a:off x="5794625"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38" name="Oval 696"/>
                <p:cNvSpPr>
                  <a:spLocks noChangeArrowheads="1"/>
                </p:cNvSpPr>
                <p:nvPr/>
              </p:nvSpPr>
              <p:spPr bwMode="auto">
                <a:xfrm>
                  <a:off x="5794625" y="244314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39" name="Oval 697"/>
                <p:cNvSpPr>
                  <a:spLocks noChangeArrowheads="1"/>
                </p:cNvSpPr>
                <p:nvPr/>
              </p:nvSpPr>
              <p:spPr bwMode="auto">
                <a:xfrm>
                  <a:off x="5794625"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40" name="Oval 698"/>
                <p:cNvSpPr>
                  <a:spLocks noChangeArrowheads="1"/>
                </p:cNvSpPr>
                <p:nvPr/>
              </p:nvSpPr>
              <p:spPr bwMode="auto">
                <a:xfrm>
                  <a:off x="5794625" y="265075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41" name="Oval 700"/>
                <p:cNvSpPr>
                  <a:spLocks noChangeArrowheads="1"/>
                </p:cNvSpPr>
                <p:nvPr/>
              </p:nvSpPr>
              <p:spPr bwMode="auto">
                <a:xfrm>
                  <a:off x="5794625" y="285765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42" name="Oval 701"/>
                <p:cNvSpPr>
                  <a:spLocks noChangeArrowheads="1"/>
                </p:cNvSpPr>
                <p:nvPr/>
              </p:nvSpPr>
              <p:spPr bwMode="auto">
                <a:xfrm>
                  <a:off x="5794625" y="296039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43" name="Oval 702"/>
                <p:cNvSpPr>
                  <a:spLocks noChangeArrowheads="1"/>
                </p:cNvSpPr>
                <p:nvPr/>
              </p:nvSpPr>
              <p:spPr bwMode="auto">
                <a:xfrm>
                  <a:off x="5898783" y="120103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44" name="Oval 703"/>
                <p:cNvSpPr>
                  <a:spLocks noChangeArrowheads="1"/>
                </p:cNvSpPr>
                <p:nvPr/>
              </p:nvSpPr>
              <p:spPr bwMode="auto">
                <a:xfrm>
                  <a:off x="5898783" y="130448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45" name="Oval 704"/>
                <p:cNvSpPr>
                  <a:spLocks noChangeArrowheads="1"/>
                </p:cNvSpPr>
                <p:nvPr/>
              </p:nvSpPr>
              <p:spPr bwMode="auto">
                <a:xfrm>
                  <a:off x="5898783"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46" name="Oval 706"/>
                <p:cNvSpPr>
                  <a:spLocks noChangeArrowheads="1"/>
                </p:cNvSpPr>
                <p:nvPr/>
              </p:nvSpPr>
              <p:spPr bwMode="auto">
                <a:xfrm>
                  <a:off x="5898783" y="161412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47" name="Oval 707"/>
                <p:cNvSpPr>
                  <a:spLocks noChangeArrowheads="1"/>
                </p:cNvSpPr>
                <p:nvPr/>
              </p:nvSpPr>
              <p:spPr bwMode="auto">
                <a:xfrm>
                  <a:off x="5898783"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48" name="Oval 709"/>
                <p:cNvSpPr>
                  <a:spLocks noChangeArrowheads="1"/>
                </p:cNvSpPr>
                <p:nvPr/>
              </p:nvSpPr>
              <p:spPr bwMode="auto">
                <a:xfrm>
                  <a:off x="5898783"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49" name="Oval 710"/>
                <p:cNvSpPr>
                  <a:spLocks noChangeArrowheads="1"/>
                </p:cNvSpPr>
                <p:nvPr/>
              </p:nvSpPr>
              <p:spPr bwMode="auto">
                <a:xfrm>
                  <a:off x="5898783"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50" name="Oval 711"/>
                <p:cNvSpPr>
                  <a:spLocks noChangeArrowheads="1"/>
                </p:cNvSpPr>
                <p:nvPr/>
              </p:nvSpPr>
              <p:spPr bwMode="auto">
                <a:xfrm>
                  <a:off x="5898783"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51" name="Oval 712"/>
                <p:cNvSpPr>
                  <a:spLocks noChangeArrowheads="1"/>
                </p:cNvSpPr>
                <p:nvPr/>
              </p:nvSpPr>
              <p:spPr bwMode="auto">
                <a:xfrm>
                  <a:off x="5898783"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52" name="Oval 713"/>
                <p:cNvSpPr>
                  <a:spLocks noChangeArrowheads="1"/>
                </p:cNvSpPr>
                <p:nvPr/>
              </p:nvSpPr>
              <p:spPr bwMode="auto">
                <a:xfrm>
                  <a:off x="5898783"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53" name="Oval 715"/>
                <p:cNvSpPr>
                  <a:spLocks noChangeArrowheads="1"/>
                </p:cNvSpPr>
                <p:nvPr/>
              </p:nvSpPr>
              <p:spPr bwMode="auto">
                <a:xfrm>
                  <a:off x="5898783"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54" name="Oval 716"/>
                <p:cNvSpPr>
                  <a:spLocks noChangeArrowheads="1"/>
                </p:cNvSpPr>
                <p:nvPr/>
              </p:nvSpPr>
              <p:spPr bwMode="auto">
                <a:xfrm>
                  <a:off x="5898783" y="265075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55" name="Oval 717"/>
                <p:cNvSpPr>
                  <a:spLocks noChangeArrowheads="1"/>
                </p:cNvSpPr>
                <p:nvPr/>
              </p:nvSpPr>
              <p:spPr bwMode="auto">
                <a:xfrm>
                  <a:off x="5898783" y="27542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56" name="Oval 720"/>
                <p:cNvSpPr>
                  <a:spLocks noChangeArrowheads="1"/>
                </p:cNvSpPr>
                <p:nvPr/>
              </p:nvSpPr>
              <p:spPr bwMode="auto">
                <a:xfrm>
                  <a:off x="6003651" y="120103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57" name="Oval 721"/>
                <p:cNvSpPr>
                  <a:spLocks noChangeArrowheads="1"/>
                </p:cNvSpPr>
                <p:nvPr/>
              </p:nvSpPr>
              <p:spPr bwMode="auto">
                <a:xfrm>
                  <a:off x="6003651" y="130448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58" name="Oval 722"/>
                <p:cNvSpPr>
                  <a:spLocks noChangeArrowheads="1"/>
                </p:cNvSpPr>
                <p:nvPr/>
              </p:nvSpPr>
              <p:spPr bwMode="auto">
                <a:xfrm>
                  <a:off x="6003651"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59" name="Oval 723"/>
                <p:cNvSpPr>
                  <a:spLocks noChangeArrowheads="1"/>
                </p:cNvSpPr>
                <p:nvPr/>
              </p:nvSpPr>
              <p:spPr bwMode="auto">
                <a:xfrm>
                  <a:off x="6003651" y="151067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60" name="Oval 724"/>
                <p:cNvSpPr>
                  <a:spLocks noChangeArrowheads="1"/>
                </p:cNvSpPr>
                <p:nvPr/>
              </p:nvSpPr>
              <p:spPr bwMode="auto">
                <a:xfrm>
                  <a:off x="6003651" y="161412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61" name="Oval 725"/>
                <p:cNvSpPr>
                  <a:spLocks noChangeArrowheads="1"/>
                </p:cNvSpPr>
                <p:nvPr/>
              </p:nvSpPr>
              <p:spPr bwMode="auto">
                <a:xfrm>
                  <a:off x="6003651"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62" name="Oval 726"/>
                <p:cNvSpPr>
                  <a:spLocks noChangeArrowheads="1"/>
                </p:cNvSpPr>
                <p:nvPr/>
              </p:nvSpPr>
              <p:spPr bwMode="auto">
                <a:xfrm>
                  <a:off x="6003651" y="182173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63" name="Oval 727"/>
                <p:cNvSpPr>
                  <a:spLocks noChangeArrowheads="1"/>
                </p:cNvSpPr>
                <p:nvPr/>
              </p:nvSpPr>
              <p:spPr bwMode="auto">
                <a:xfrm>
                  <a:off x="6003651"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64" name="Oval 728"/>
                <p:cNvSpPr>
                  <a:spLocks noChangeArrowheads="1"/>
                </p:cNvSpPr>
                <p:nvPr/>
              </p:nvSpPr>
              <p:spPr bwMode="auto">
                <a:xfrm>
                  <a:off x="6003651"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65" name="Oval 729"/>
                <p:cNvSpPr>
                  <a:spLocks noChangeArrowheads="1"/>
                </p:cNvSpPr>
                <p:nvPr/>
              </p:nvSpPr>
              <p:spPr bwMode="auto">
                <a:xfrm>
                  <a:off x="6003651"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66" name="Oval 730"/>
                <p:cNvSpPr>
                  <a:spLocks noChangeArrowheads="1"/>
                </p:cNvSpPr>
                <p:nvPr/>
              </p:nvSpPr>
              <p:spPr bwMode="auto">
                <a:xfrm>
                  <a:off x="6003651"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67" name="Oval 731"/>
                <p:cNvSpPr>
                  <a:spLocks noChangeArrowheads="1"/>
                </p:cNvSpPr>
                <p:nvPr/>
              </p:nvSpPr>
              <p:spPr bwMode="auto">
                <a:xfrm>
                  <a:off x="6003651"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68" name="Oval 732"/>
                <p:cNvSpPr>
                  <a:spLocks noChangeArrowheads="1"/>
                </p:cNvSpPr>
                <p:nvPr/>
              </p:nvSpPr>
              <p:spPr bwMode="auto">
                <a:xfrm>
                  <a:off x="6003651" y="244314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69" name="Oval 733"/>
                <p:cNvSpPr>
                  <a:spLocks noChangeArrowheads="1"/>
                </p:cNvSpPr>
                <p:nvPr/>
              </p:nvSpPr>
              <p:spPr bwMode="auto">
                <a:xfrm>
                  <a:off x="6003651"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70" name="Oval 734"/>
                <p:cNvSpPr>
                  <a:spLocks noChangeArrowheads="1"/>
                </p:cNvSpPr>
                <p:nvPr/>
              </p:nvSpPr>
              <p:spPr bwMode="auto">
                <a:xfrm>
                  <a:off x="6003651" y="265075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71" name="Oval 735"/>
                <p:cNvSpPr>
                  <a:spLocks noChangeArrowheads="1"/>
                </p:cNvSpPr>
                <p:nvPr/>
              </p:nvSpPr>
              <p:spPr bwMode="auto">
                <a:xfrm>
                  <a:off x="6107809" y="88926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72" name="Oval 736"/>
                <p:cNvSpPr>
                  <a:spLocks noChangeArrowheads="1"/>
                </p:cNvSpPr>
                <p:nvPr/>
              </p:nvSpPr>
              <p:spPr bwMode="auto">
                <a:xfrm>
                  <a:off x="6107809" y="109687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73" name="Oval 737"/>
                <p:cNvSpPr>
                  <a:spLocks noChangeArrowheads="1"/>
                </p:cNvSpPr>
                <p:nvPr/>
              </p:nvSpPr>
              <p:spPr bwMode="auto">
                <a:xfrm>
                  <a:off x="6107809" y="120103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74" name="Oval 739"/>
                <p:cNvSpPr>
                  <a:spLocks noChangeArrowheads="1"/>
                </p:cNvSpPr>
                <p:nvPr/>
              </p:nvSpPr>
              <p:spPr bwMode="auto">
                <a:xfrm>
                  <a:off x="6107809"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75" name="Oval 740"/>
                <p:cNvSpPr>
                  <a:spLocks noChangeArrowheads="1"/>
                </p:cNvSpPr>
                <p:nvPr/>
              </p:nvSpPr>
              <p:spPr bwMode="auto">
                <a:xfrm>
                  <a:off x="6107809" y="151067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76" name="Oval 741"/>
                <p:cNvSpPr>
                  <a:spLocks noChangeArrowheads="1"/>
                </p:cNvSpPr>
                <p:nvPr/>
              </p:nvSpPr>
              <p:spPr bwMode="auto">
                <a:xfrm>
                  <a:off x="6107809" y="161412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77" name="Oval 742"/>
                <p:cNvSpPr>
                  <a:spLocks noChangeArrowheads="1"/>
                </p:cNvSpPr>
                <p:nvPr/>
              </p:nvSpPr>
              <p:spPr bwMode="auto">
                <a:xfrm>
                  <a:off x="6107809"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78" name="Oval 743"/>
                <p:cNvSpPr>
                  <a:spLocks noChangeArrowheads="1"/>
                </p:cNvSpPr>
                <p:nvPr/>
              </p:nvSpPr>
              <p:spPr bwMode="auto">
                <a:xfrm>
                  <a:off x="6107809" y="182173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79" name="Oval 744"/>
                <p:cNvSpPr>
                  <a:spLocks noChangeArrowheads="1"/>
                </p:cNvSpPr>
                <p:nvPr/>
              </p:nvSpPr>
              <p:spPr bwMode="auto">
                <a:xfrm>
                  <a:off x="6107809"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80" name="Oval 745"/>
                <p:cNvSpPr>
                  <a:spLocks noChangeArrowheads="1"/>
                </p:cNvSpPr>
                <p:nvPr/>
              </p:nvSpPr>
              <p:spPr bwMode="auto">
                <a:xfrm>
                  <a:off x="6107809"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81" name="Oval 746"/>
                <p:cNvSpPr>
                  <a:spLocks noChangeArrowheads="1"/>
                </p:cNvSpPr>
                <p:nvPr/>
              </p:nvSpPr>
              <p:spPr bwMode="auto">
                <a:xfrm>
                  <a:off x="6107809"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82" name="Oval 747"/>
                <p:cNvSpPr>
                  <a:spLocks noChangeArrowheads="1"/>
                </p:cNvSpPr>
                <p:nvPr/>
              </p:nvSpPr>
              <p:spPr bwMode="auto">
                <a:xfrm>
                  <a:off x="6107809"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83" name="Oval 749"/>
                <p:cNvSpPr>
                  <a:spLocks noChangeArrowheads="1"/>
                </p:cNvSpPr>
                <p:nvPr/>
              </p:nvSpPr>
              <p:spPr bwMode="auto">
                <a:xfrm>
                  <a:off x="6107809" y="244314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84" name="Oval 750"/>
                <p:cNvSpPr>
                  <a:spLocks noChangeArrowheads="1"/>
                </p:cNvSpPr>
                <p:nvPr/>
              </p:nvSpPr>
              <p:spPr bwMode="auto">
                <a:xfrm>
                  <a:off x="6107809"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85" name="Oval 752"/>
                <p:cNvSpPr>
                  <a:spLocks noChangeArrowheads="1"/>
                </p:cNvSpPr>
                <p:nvPr/>
              </p:nvSpPr>
              <p:spPr bwMode="auto">
                <a:xfrm>
                  <a:off x="6107809" y="27542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86" name="Oval 753"/>
                <p:cNvSpPr>
                  <a:spLocks noChangeArrowheads="1"/>
                </p:cNvSpPr>
                <p:nvPr/>
              </p:nvSpPr>
              <p:spPr bwMode="auto">
                <a:xfrm>
                  <a:off x="6213385" y="88926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87" name="Oval 754"/>
                <p:cNvSpPr>
                  <a:spLocks noChangeArrowheads="1"/>
                </p:cNvSpPr>
                <p:nvPr/>
              </p:nvSpPr>
              <p:spPr bwMode="auto">
                <a:xfrm>
                  <a:off x="6213385" y="993428"/>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88" name="Oval 755"/>
                <p:cNvSpPr>
                  <a:spLocks noChangeArrowheads="1"/>
                </p:cNvSpPr>
                <p:nvPr/>
              </p:nvSpPr>
              <p:spPr bwMode="auto">
                <a:xfrm>
                  <a:off x="6213385" y="109687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89" name="Oval 756"/>
                <p:cNvSpPr>
                  <a:spLocks noChangeArrowheads="1"/>
                </p:cNvSpPr>
                <p:nvPr/>
              </p:nvSpPr>
              <p:spPr bwMode="auto">
                <a:xfrm>
                  <a:off x="6213385" y="120103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90" name="Oval 757"/>
                <p:cNvSpPr>
                  <a:spLocks noChangeArrowheads="1"/>
                </p:cNvSpPr>
                <p:nvPr/>
              </p:nvSpPr>
              <p:spPr bwMode="auto">
                <a:xfrm>
                  <a:off x="6213385" y="130448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91" name="Oval 758"/>
                <p:cNvSpPr>
                  <a:spLocks noChangeArrowheads="1"/>
                </p:cNvSpPr>
                <p:nvPr/>
              </p:nvSpPr>
              <p:spPr bwMode="auto">
                <a:xfrm>
                  <a:off x="6213385"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92" name="Oval 759"/>
                <p:cNvSpPr>
                  <a:spLocks noChangeArrowheads="1"/>
                </p:cNvSpPr>
                <p:nvPr/>
              </p:nvSpPr>
              <p:spPr bwMode="auto">
                <a:xfrm>
                  <a:off x="6213385" y="151067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93" name="Oval 760"/>
                <p:cNvSpPr>
                  <a:spLocks noChangeArrowheads="1"/>
                </p:cNvSpPr>
                <p:nvPr/>
              </p:nvSpPr>
              <p:spPr bwMode="auto">
                <a:xfrm>
                  <a:off x="6213385" y="161412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94" name="Oval 761"/>
                <p:cNvSpPr>
                  <a:spLocks noChangeArrowheads="1"/>
                </p:cNvSpPr>
                <p:nvPr/>
              </p:nvSpPr>
              <p:spPr bwMode="auto">
                <a:xfrm>
                  <a:off x="6213385"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95" name="Oval 762"/>
                <p:cNvSpPr>
                  <a:spLocks noChangeArrowheads="1"/>
                </p:cNvSpPr>
                <p:nvPr/>
              </p:nvSpPr>
              <p:spPr bwMode="auto">
                <a:xfrm>
                  <a:off x="6213385" y="182173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96" name="Oval 763"/>
                <p:cNvSpPr>
                  <a:spLocks noChangeArrowheads="1"/>
                </p:cNvSpPr>
                <p:nvPr/>
              </p:nvSpPr>
              <p:spPr bwMode="auto">
                <a:xfrm>
                  <a:off x="6213385"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97" name="Oval 764"/>
                <p:cNvSpPr>
                  <a:spLocks noChangeArrowheads="1"/>
                </p:cNvSpPr>
                <p:nvPr/>
              </p:nvSpPr>
              <p:spPr bwMode="auto">
                <a:xfrm>
                  <a:off x="6213385"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98" name="Oval 765"/>
                <p:cNvSpPr>
                  <a:spLocks noChangeArrowheads="1"/>
                </p:cNvSpPr>
                <p:nvPr/>
              </p:nvSpPr>
              <p:spPr bwMode="auto">
                <a:xfrm>
                  <a:off x="6213385"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99" name="Oval 766"/>
                <p:cNvSpPr>
                  <a:spLocks noChangeArrowheads="1"/>
                </p:cNvSpPr>
                <p:nvPr/>
              </p:nvSpPr>
              <p:spPr bwMode="auto">
                <a:xfrm>
                  <a:off x="6213385"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00" name="Oval 767"/>
                <p:cNvSpPr>
                  <a:spLocks noChangeArrowheads="1"/>
                </p:cNvSpPr>
                <p:nvPr/>
              </p:nvSpPr>
              <p:spPr bwMode="auto">
                <a:xfrm>
                  <a:off x="6213385"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01" name="Oval 768"/>
                <p:cNvSpPr>
                  <a:spLocks noChangeArrowheads="1"/>
                </p:cNvSpPr>
                <p:nvPr/>
              </p:nvSpPr>
              <p:spPr bwMode="auto">
                <a:xfrm>
                  <a:off x="6213385" y="244314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02" name="Oval 769"/>
                <p:cNvSpPr>
                  <a:spLocks noChangeArrowheads="1"/>
                </p:cNvSpPr>
                <p:nvPr/>
              </p:nvSpPr>
              <p:spPr bwMode="auto">
                <a:xfrm>
                  <a:off x="6213385"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03" name="Oval 770"/>
                <p:cNvSpPr>
                  <a:spLocks noChangeArrowheads="1"/>
                </p:cNvSpPr>
                <p:nvPr/>
              </p:nvSpPr>
              <p:spPr bwMode="auto">
                <a:xfrm>
                  <a:off x="6213385" y="265075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04" name="Oval 771"/>
                <p:cNvSpPr>
                  <a:spLocks noChangeArrowheads="1"/>
                </p:cNvSpPr>
                <p:nvPr/>
              </p:nvSpPr>
              <p:spPr bwMode="auto">
                <a:xfrm>
                  <a:off x="6213385" y="27542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05" name="Oval 772"/>
                <p:cNvSpPr>
                  <a:spLocks noChangeArrowheads="1"/>
                </p:cNvSpPr>
                <p:nvPr/>
              </p:nvSpPr>
              <p:spPr bwMode="auto">
                <a:xfrm>
                  <a:off x="6213385" y="285765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06" name="Oval 773"/>
                <p:cNvSpPr>
                  <a:spLocks noChangeArrowheads="1"/>
                </p:cNvSpPr>
                <p:nvPr/>
              </p:nvSpPr>
              <p:spPr bwMode="auto">
                <a:xfrm>
                  <a:off x="6213385" y="306384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07" name="Oval 774"/>
                <p:cNvSpPr>
                  <a:spLocks noChangeArrowheads="1"/>
                </p:cNvSpPr>
                <p:nvPr/>
              </p:nvSpPr>
              <p:spPr bwMode="auto">
                <a:xfrm>
                  <a:off x="6213385" y="316800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08" name="Oval 775"/>
                <p:cNvSpPr>
                  <a:spLocks noChangeArrowheads="1"/>
                </p:cNvSpPr>
                <p:nvPr/>
              </p:nvSpPr>
              <p:spPr bwMode="auto">
                <a:xfrm>
                  <a:off x="6316835" y="993428"/>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09" name="Oval 776"/>
                <p:cNvSpPr>
                  <a:spLocks noChangeArrowheads="1"/>
                </p:cNvSpPr>
                <p:nvPr/>
              </p:nvSpPr>
              <p:spPr bwMode="auto">
                <a:xfrm>
                  <a:off x="6316835" y="109687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10" name="Oval 777"/>
                <p:cNvSpPr>
                  <a:spLocks noChangeArrowheads="1"/>
                </p:cNvSpPr>
                <p:nvPr/>
              </p:nvSpPr>
              <p:spPr bwMode="auto">
                <a:xfrm>
                  <a:off x="6316835" y="120103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11" name="Oval 778"/>
                <p:cNvSpPr>
                  <a:spLocks noChangeArrowheads="1"/>
                </p:cNvSpPr>
                <p:nvPr/>
              </p:nvSpPr>
              <p:spPr bwMode="auto">
                <a:xfrm>
                  <a:off x="6316835" y="130448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12" name="Oval 779"/>
                <p:cNvSpPr>
                  <a:spLocks noChangeArrowheads="1"/>
                </p:cNvSpPr>
                <p:nvPr/>
              </p:nvSpPr>
              <p:spPr bwMode="auto">
                <a:xfrm>
                  <a:off x="6316835"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13" name="Oval 780"/>
                <p:cNvSpPr>
                  <a:spLocks noChangeArrowheads="1"/>
                </p:cNvSpPr>
                <p:nvPr/>
              </p:nvSpPr>
              <p:spPr bwMode="auto">
                <a:xfrm>
                  <a:off x="6316835" y="151067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14" name="Oval 782"/>
                <p:cNvSpPr>
                  <a:spLocks noChangeArrowheads="1"/>
                </p:cNvSpPr>
                <p:nvPr/>
              </p:nvSpPr>
              <p:spPr bwMode="auto">
                <a:xfrm>
                  <a:off x="6316835"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15" name="Oval 783"/>
                <p:cNvSpPr>
                  <a:spLocks noChangeArrowheads="1"/>
                </p:cNvSpPr>
                <p:nvPr/>
              </p:nvSpPr>
              <p:spPr bwMode="auto">
                <a:xfrm>
                  <a:off x="6316835" y="182173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16" name="Oval 784"/>
                <p:cNvSpPr>
                  <a:spLocks noChangeArrowheads="1"/>
                </p:cNvSpPr>
                <p:nvPr/>
              </p:nvSpPr>
              <p:spPr bwMode="auto">
                <a:xfrm>
                  <a:off x="6316835"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17" name="Oval 785"/>
                <p:cNvSpPr>
                  <a:spLocks noChangeArrowheads="1"/>
                </p:cNvSpPr>
                <p:nvPr/>
              </p:nvSpPr>
              <p:spPr bwMode="auto">
                <a:xfrm>
                  <a:off x="6316835"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18" name="Oval 786"/>
                <p:cNvSpPr>
                  <a:spLocks noChangeArrowheads="1"/>
                </p:cNvSpPr>
                <p:nvPr/>
              </p:nvSpPr>
              <p:spPr bwMode="auto">
                <a:xfrm>
                  <a:off x="6316835"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19" name="Oval 787"/>
                <p:cNvSpPr>
                  <a:spLocks noChangeArrowheads="1"/>
                </p:cNvSpPr>
                <p:nvPr/>
              </p:nvSpPr>
              <p:spPr bwMode="auto">
                <a:xfrm>
                  <a:off x="6316835"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20" name="Oval 788"/>
                <p:cNvSpPr>
                  <a:spLocks noChangeArrowheads="1"/>
                </p:cNvSpPr>
                <p:nvPr/>
              </p:nvSpPr>
              <p:spPr bwMode="auto">
                <a:xfrm>
                  <a:off x="6316835"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21" name="Oval 789"/>
                <p:cNvSpPr>
                  <a:spLocks noChangeArrowheads="1"/>
                </p:cNvSpPr>
                <p:nvPr/>
              </p:nvSpPr>
              <p:spPr bwMode="auto">
                <a:xfrm>
                  <a:off x="6316835" y="244314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22" name="Oval 790"/>
                <p:cNvSpPr>
                  <a:spLocks noChangeArrowheads="1"/>
                </p:cNvSpPr>
                <p:nvPr/>
              </p:nvSpPr>
              <p:spPr bwMode="auto">
                <a:xfrm>
                  <a:off x="6316835" y="254659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23" name="Oval 791"/>
                <p:cNvSpPr>
                  <a:spLocks noChangeArrowheads="1"/>
                </p:cNvSpPr>
                <p:nvPr/>
              </p:nvSpPr>
              <p:spPr bwMode="auto">
                <a:xfrm>
                  <a:off x="6316835" y="265075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24" name="Oval 792"/>
                <p:cNvSpPr>
                  <a:spLocks noChangeArrowheads="1"/>
                </p:cNvSpPr>
                <p:nvPr/>
              </p:nvSpPr>
              <p:spPr bwMode="auto">
                <a:xfrm>
                  <a:off x="6316835" y="27542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25" name="Oval 793"/>
                <p:cNvSpPr>
                  <a:spLocks noChangeArrowheads="1"/>
                </p:cNvSpPr>
                <p:nvPr/>
              </p:nvSpPr>
              <p:spPr bwMode="auto">
                <a:xfrm>
                  <a:off x="6316835" y="285765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26" name="Oval 794"/>
                <p:cNvSpPr>
                  <a:spLocks noChangeArrowheads="1"/>
                </p:cNvSpPr>
                <p:nvPr/>
              </p:nvSpPr>
              <p:spPr bwMode="auto">
                <a:xfrm>
                  <a:off x="6316835" y="296039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27" name="Oval 795"/>
                <p:cNvSpPr>
                  <a:spLocks noChangeArrowheads="1"/>
                </p:cNvSpPr>
                <p:nvPr/>
              </p:nvSpPr>
              <p:spPr bwMode="auto">
                <a:xfrm>
                  <a:off x="6316835" y="316800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28" name="Oval 796"/>
                <p:cNvSpPr>
                  <a:spLocks noChangeArrowheads="1"/>
                </p:cNvSpPr>
                <p:nvPr/>
              </p:nvSpPr>
              <p:spPr bwMode="auto">
                <a:xfrm>
                  <a:off x="6316835" y="327145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29" name="Oval 797"/>
                <p:cNvSpPr>
                  <a:spLocks noChangeArrowheads="1"/>
                </p:cNvSpPr>
                <p:nvPr/>
              </p:nvSpPr>
              <p:spPr bwMode="auto">
                <a:xfrm>
                  <a:off x="6422411" y="109687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30" name="Oval 798"/>
                <p:cNvSpPr>
                  <a:spLocks noChangeArrowheads="1"/>
                </p:cNvSpPr>
                <p:nvPr/>
              </p:nvSpPr>
              <p:spPr bwMode="auto">
                <a:xfrm>
                  <a:off x="6422411" y="120103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31" name="Oval 800"/>
                <p:cNvSpPr>
                  <a:spLocks noChangeArrowheads="1"/>
                </p:cNvSpPr>
                <p:nvPr/>
              </p:nvSpPr>
              <p:spPr bwMode="auto">
                <a:xfrm>
                  <a:off x="6422411"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32" name="Oval 801"/>
                <p:cNvSpPr>
                  <a:spLocks noChangeArrowheads="1"/>
                </p:cNvSpPr>
                <p:nvPr/>
              </p:nvSpPr>
              <p:spPr bwMode="auto">
                <a:xfrm>
                  <a:off x="6422411" y="151067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33" name="Oval 802"/>
                <p:cNvSpPr>
                  <a:spLocks noChangeArrowheads="1"/>
                </p:cNvSpPr>
                <p:nvPr/>
              </p:nvSpPr>
              <p:spPr bwMode="auto">
                <a:xfrm>
                  <a:off x="6422411" y="161412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34" name="Oval 803"/>
                <p:cNvSpPr>
                  <a:spLocks noChangeArrowheads="1"/>
                </p:cNvSpPr>
                <p:nvPr/>
              </p:nvSpPr>
              <p:spPr bwMode="auto">
                <a:xfrm>
                  <a:off x="6422411"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35" name="Oval 804"/>
                <p:cNvSpPr>
                  <a:spLocks noChangeArrowheads="1"/>
                </p:cNvSpPr>
                <p:nvPr/>
              </p:nvSpPr>
              <p:spPr bwMode="auto">
                <a:xfrm>
                  <a:off x="6422411" y="182173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36" name="Oval 805"/>
                <p:cNvSpPr>
                  <a:spLocks noChangeArrowheads="1"/>
                </p:cNvSpPr>
                <p:nvPr/>
              </p:nvSpPr>
              <p:spPr bwMode="auto">
                <a:xfrm>
                  <a:off x="6422411"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37" name="Oval 806"/>
                <p:cNvSpPr>
                  <a:spLocks noChangeArrowheads="1"/>
                </p:cNvSpPr>
                <p:nvPr/>
              </p:nvSpPr>
              <p:spPr bwMode="auto">
                <a:xfrm>
                  <a:off x="6422411"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38" name="Oval 807"/>
                <p:cNvSpPr>
                  <a:spLocks noChangeArrowheads="1"/>
                </p:cNvSpPr>
                <p:nvPr/>
              </p:nvSpPr>
              <p:spPr bwMode="auto">
                <a:xfrm>
                  <a:off x="6422411" y="213350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39" name="Oval 808"/>
                <p:cNvSpPr>
                  <a:spLocks noChangeArrowheads="1"/>
                </p:cNvSpPr>
                <p:nvPr/>
              </p:nvSpPr>
              <p:spPr bwMode="auto">
                <a:xfrm>
                  <a:off x="6422411"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40" name="Oval 810"/>
                <p:cNvSpPr>
                  <a:spLocks noChangeArrowheads="1"/>
                </p:cNvSpPr>
                <p:nvPr/>
              </p:nvSpPr>
              <p:spPr bwMode="auto">
                <a:xfrm>
                  <a:off x="6422411" y="233898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41" name="Oval 811"/>
                <p:cNvSpPr>
                  <a:spLocks noChangeArrowheads="1"/>
                </p:cNvSpPr>
                <p:nvPr/>
              </p:nvSpPr>
              <p:spPr bwMode="auto">
                <a:xfrm>
                  <a:off x="6422411" y="244314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42" name="Oval 812"/>
                <p:cNvSpPr>
                  <a:spLocks noChangeArrowheads="1"/>
                </p:cNvSpPr>
                <p:nvPr/>
              </p:nvSpPr>
              <p:spPr bwMode="auto">
                <a:xfrm>
                  <a:off x="6422411" y="254659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43" name="Oval 813"/>
                <p:cNvSpPr>
                  <a:spLocks noChangeArrowheads="1"/>
                </p:cNvSpPr>
                <p:nvPr/>
              </p:nvSpPr>
              <p:spPr bwMode="auto">
                <a:xfrm>
                  <a:off x="6422411" y="265075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44" name="Oval 814"/>
                <p:cNvSpPr>
                  <a:spLocks noChangeArrowheads="1"/>
                </p:cNvSpPr>
                <p:nvPr/>
              </p:nvSpPr>
              <p:spPr bwMode="auto">
                <a:xfrm>
                  <a:off x="6422411" y="285765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45" name="Oval 815"/>
                <p:cNvSpPr>
                  <a:spLocks noChangeArrowheads="1"/>
                </p:cNvSpPr>
                <p:nvPr/>
              </p:nvSpPr>
              <p:spPr bwMode="auto">
                <a:xfrm>
                  <a:off x="6422411" y="316800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46" name="Oval 816"/>
                <p:cNvSpPr>
                  <a:spLocks noChangeArrowheads="1"/>
                </p:cNvSpPr>
                <p:nvPr/>
              </p:nvSpPr>
              <p:spPr bwMode="auto">
                <a:xfrm>
                  <a:off x="6422411" y="327145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47" name="Oval 817"/>
                <p:cNvSpPr>
                  <a:spLocks noChangeArrowheads="1"/>
                </p:cNvSpPr>
                <p:nvPr/>
              </p:nvSpPr>
              <p:spPr bwMode="auto">
                <a:xfrm>
                  <a:off x="6526570" y="1096877"/>
                  <a:ext cx="91405"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48" name="Oval 818"/>
                <p:cNvSpPr>
                  <a:spLocks noChangeArrowheads="1"/>
                </p:cNvSpPr>
                <p:nvPr/>
              </p:nvSpPr>
              <p:spPr bwMode="auto">
                <a:xfrm>
                  <a:off x="6526570" y="1201036"/>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49" name="Oval 819"/>
                <p:cNvSpPr>
                  <a:spLocks noChangeArrowheads="1"/>
                </p:cNvSpPr>
                <p:nvPr/>
              </p:nvSpPr>
              <p:spPr bwMode="auto">
                <a:xfrm>
                  <a:off x="6526570" y="1304486"/>
                  <a:ext cx="91405"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50" name="Oval 820"/>
                <p:cNvSpPr>
                  <a:spLocks noChangeArrowheads="1"/>
                </p:cNvSpPr>
                <p:nvPr/>
              </p:nvSpPr>
              <p:spPr bwMode="auto">
                <a:xfrm>
                  <a:off x="6526570" y="1408645"/>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51" name="Oval 821"/>
                <p:cNvSpPr>
                  <a:spLocks noChangeArrowheads="1"/>
                </p:cNvSpPr>
                <p:nvPr/>
              </p:nvSpPr>
              <p:spPr bwMode="auto">
                <a:xfrm>
                  <a:off x="6526570" y="1510678"/>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52" name="Oval 822"/>
                <p:cNvSpPr>
                  <a:spLocks noChangeArrowheads="1"/>
                </p:cNvSpPr>
                <p:nvPr/>
              </p:nvSpPr>
              <p:spPr bwMode="auto">
                <a:xfrm>
                  <a:off x="6526570" y="1614128"/>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53" name="Oval 823"/>
                <p:cNvSpPr>
                  <a:spLocks noChangeArrowheads="1"/>
                </p:cNvSpPr>
                <p:nvPr/>
              </p:nvSpPr>
              <p:spPr bwMode="auto">
                <a:xfrm>
                  <a:off x="6526570" y="1718287"/>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54" name="Oval 824"/>
                <p:cNvSpPr>
                  <a:spLocks noChangeArrowheads="1"/>
                </p:cNvSpPr>
                <p:nvPr/>
              </p:nvSpPr>
              <p:spPr bwMode="auto">
                <a:xfrm>
                  <a:off x="6526570" y="1821737"/>
                  <a:ext cx="91405"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55" name="Oval 825"/>
                <p:cNvSpPr>
                  <a:spLocks noChangeArrowheads="1"/>
                </p:cNvSpPr>
                <p:nvPr/>
              </p:nvSpPr>
              <p:spPr bwMode="auto">
                <a:xfrm>
                  <a:off x="6526570" y="1925895"/>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56" name="Oval 826"/>
                <p:cNvSpPr>
                  <a:spLocks noChangeArrowheads="1"/>
                </p:cNvSpPr>
                <p:nvPr/>
              </p:nvSpPr>
              <p:spPr bwMode="auto">
                <a:xfrm>
                  <a:off x="6526570" y="2029346"/>
                  <a:ext cx="91405"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57" name="Oval 827"/>
                <p:cNvSpPr>
                  <a:spLocks noChangeArrowheads="1"/>
                </p:cNvSpPr>
                <p:nvPr/>
              </p:nvSpPr>
              <p:spPr bwMode="auto">
                <a:xfrm>
                  <a:off x="6526570" y="2133504"/>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58" name="Oval 828"/>
                <p:cNvSpPr>
                  <a:spLocks noChangeArrowheads="1"/>
                </p:cNvSpPr>
                <p:nvPr/>
              </p:nvSpPr>
              <p:spPr bwMode="auto">
                <a:xfrm>
                  <a:off x="6526570" y="2235537"/>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59" name="Oval 829"/>
                <p:cNvSpPr>
                  <a:spLocks noChangeArrowheads="1"/>
                </p:cNvSpPr>
                <p:nvPr/>
              </p:nvSpPr>
              <p:spPr bwMode="auto">
                <a:xfrm>
                  <a:off x="6526570" y="2338987"/>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60" name="Oval 830"/>
                <p:cNvSpPr>
                  <a:spLocks noChangeArrowheads="1"/>
                </p:cNvSpPr>
                <p:nvPr/>
              </p:nvSpPr>
              <p:spPr bwMode="auto">
                <a:xfrm>
                  <a:off x="6526570" y="2443146"/>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61" name="Oval 831"/>
                <p:cNvSpPr>
                  <a:spLocks noChangeArrowheads="1"/>
                </p:cNvSpPr>
                <p:nvPr/>
              </p:nvSpPr>
              <p:spPr bwMode="auto">
                <a:xfrm>
                  <a:off x="6526570" y="2546596"/>
                  <a:ext cx="91405"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62" name="Oval 832"/>
                <p:cNvSpPr>
                  <a:spLocks noChangeArrowheads="1"/>
                </p:cNvSpPr>
                <p:nvPr/>
              </p:nvSpPr>
              <p:spPr bwMode="auto">
                <a:xfrm>
                  <a:off x="6526570" y="2650755"/>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63" name="Oval 833"/>
                <p:cNvSpPr>
                  <a:spLocks noChangeArrowheads="1"/>
                </p:cNvSpPr>
                <p:nvPr/>
              </p:nvSpPr>
              <p:spPr bwMode="auto">
                <a:xfrm>
                  <a:off x="6526570" y="3063847"/>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64" name="Oval 834"/>
                <p:cNvSpPr>
                  <a:spLocks noChangeArrowheads="1"/>
                </p:cNvSpPr>
                <p:nvPr/>
              </p:nvSpPr>
              <p:spPr bwMode="auto">
                <a:xfrm>
                  <a:off x="6526570" y="3168006"/>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65" name="Oval 835"/>
                <p:cNvSpPr>
                  <a:spLocks noChangeArrowheads="1"/>
                </p:cNvSpPr>
                <p:nvPr/>
              </p:nvSpPr>
              <p:spPr bwMode="auto">
                <a:xfrm>
                  <a:off x="6526570" y="3374906"/>
                  <a:ext cx="91405"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66" name="Oval 836"/>
                <p:cNvSpPr>
                  <a:spLocks noChangeArrowheads="1"/>
                </p:cNvSpPr>
                <p:nvPr/>
              </p:nvSpPr>
              <p:spPr bwMode="auto">
                <a:xfrm>
                  <a:off x="6526570" y="3684548"/>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67" name="Oval 838"/>
                <p:cNvSpPr>
                  <a:spLocks noChangeArrowheads="1"/>
                </p:cNvSpPr>
                <p:nvPr/>
              </p:nvSpPr>
              <p:spPr bwMode="auto">
                <a:xfrm>
                  <a:off x="6526570" y="3892157"/>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68" name="Oval 839"/>
                <p:cNvSpPr>
                  <a:spLocks noChangeArrowheads="1"/>
                </p:cNvSpPr>
                <p:nvPr/>
              </p:nvSpPr>
              <p:spPr bwMode="auto">
                <a:xfrm>
                  <a:off x="6631437" y="120103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69" name="Oval 840"/>
                <p:cNvSpPr>
                  <a:spLocks noChangeArrowheads="1"/>
                </p:cNvSpPr>
                <p:nvPr/>
              </p:nvSpPr>
              <p:spPr bwMode="auto">
                <a:xfrm>
                  <a:off x="6631437"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70" name="Oval 841"/>
                <p:cNvSpPr>
                  <a:spLocks noChangeArrowheads="1"/>
                </p:cNvSpPr>
                <p:nvPr/>
              </p:nvSpPr>
              <p:spPr bwMode="auto">
                <a:xfrm>
                  <a:off x="6631437"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71" name="Oval 842"/>
                <p:cNvSpPr>
                  <a:spLocks noChangeArrowheads="1"/>
                </p:cNvSpPr>
                <p:nvPr/>
              </p:nvSpPr>
              <p:spPr bwMode="auto">
                <a:xfrm>
                  <a:off x="6631437"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72" name="Oval 843"/>
                <p:cNvSpPr>
                  <a:spLocks noChangeArrowheads="1"/>
                </p:cNvSpPr>
                <p:nvPr/>
              </p:nvSpPr>
              <p:spPr bwMode="auto">
                <a:xfrm>
                  <a:off x="6631437"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73" name="Oval 844"/>
                <p:cNvSpPr>
                  <a:spLocks noChangeArrowheads="1"/>
                </p:cNvSpPr>
                <p:nvPr/>
              </p:nvSpPr>
              <p:spPr bwMode="auto">
                <a:xfrm>
                  <a:off x="6631437"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74" name="Oval 845"/>
                <p:cNvSpPr>
                  <a:spLocks noChangeArrowheads="1"/>
                </p:cNvSpPr>
                <p:nvPr/>
              </p:nvSpPr>
              <p:spPr bwMode="auto">
                <a:xfrm>
                  <a:off x="6631437" y="182173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75" name="Oval 846"/>
                <p:cNvSpPr>
                  <a:spLocks noChangeArrowheads="1"/>
                </p:cNvSpPr>
                <p:nvPr/>
              </p:nvSpPr>
              <p:spPr bwMode="auto">
                <a:xfrm>
                  <a:off x="6631437" y="192589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76" name="Oval 847"/>
                <p:cNvSpPr>
                  <a:spLocks noChangeArrowheads="1"/>
                </p:cNvSpPr>
                <p:nvPr/>
              </p:nvSpPr>
              <p:spPr bwMode="auto">
                <a:xfrm>
                  <a:off x="6631437"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77" name="Oval 848"/>
                <p:cNvSpPr>
                  <a:spLocks noChangeArrowheads="1"/>
                </p:cNvSpPr>
                <p:nvPr/>
              </p:nvSpPr>
              <p:spPr bwMode="auto">
                <a:xfrm>
                  <a:off x="6631437" y="2133504"/>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78" name="Oval 849"/>
                <p:cNvSpPr>
                  <a:spLocks noChangeArrowheads="1"/>
                </p:cNvSpPr>
                <p:nvPr/>
              </p:nvSpPr>
              <p:spPr bwMode="auto">
                <a:xfrm>
                  <a:off x="6631437" y="223553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79" name="Oval 850"/>
                <p:cNvSpPr>
                  <a:spLocks noChangeArrowheads="1"/>
                </p:cNvSpPr>
                <p:nvPr/>
              </p:nvSpPr>
              <p:spPr bwMode="auto">
                <a:xfrm>
                  <a:off x="6631437" y="233898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80" name="Oval 851"/>
                <p:cNvSpPr>
                  <a:spLocks noChangeArrowheads="1"/>
                </p:cNvSpPr>
                <p:nvPr/>
              </p:nvSpPr>
              <p:spPr bwMode="auto">
                <a:xfrm>
                  <a:off x="6631437" y="244314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81" name="Oval 852"/>
                <p:cNvSpPr>
                  <a:spLocks noChangeArrowheads="1"/>
                </p:cNvSpPr>
                <p:nvPr/>
              </p:nvSpPr>
              <p:spPr bwMode="auto">
                <a:xfrm>
                  <a:off x="6631437" y="254659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82" name="Oval 853"/>
                <p:cNvSpPr>
                  <a:spLocks noChangeArrowheads="1"/>
                </p:cNvSpPr>
                <p:nvPr/>
              </p:nvSpPr>
              <p:spPr bwMode="auto">
                <a:xfrm>
                  <a:off x="6631437" y="265075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83" name="Oval 854"/>
                <p:cNvSpPr>
                  <a:spLocks noChangeArrowheads="1"/>
                </p:cNvSpPr>
                <p:nvPr/>
              </p:nvSpPr>
              <p:spPr bwMode="auto">
                <a:xfrm>
                  <a:off x="6631437" y="275420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84" name="Oval 855"/>
                <p:cNvSpPr>
                  <a:spLocks noChangeArrowheads="1"/>
                </p:cNvSpPr>
                <p:nvPr/>
              </p:nvSpPr>
              <p:spPr bwMode="auto">
                <a:xfrm>
                  <a:off x="6631437" y="285765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85" name="Oval 856"/>
                <p:cNvSpPr>
                  <a:spLocks noChangeArrowheads="1"/>
                </p:cNvSpPr>
                <p:nvPr/>
              </p:nvSpPr>
              <p:spPr bwMode="auto">
                <a:xfrm>
                  <a:off x="6631437" y="296039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86" name="Oval 857"/>
                <p:cNvSpPr>
                  <a:spLocks noChangeArrowheads="1"/>
                </p:cNvSpPr>
                <p:nvPr/>
              </p:nvSpPr>
              <p:spPr bwMode="auto">
                <a:xfrm>
                  <a:off x="6631437" y="316800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87" name="Oval 858"/>
                <p:cNvSpPr>
                  <a:spLocks noChangeArrowheads="1"/>
                </p:cNvSpPr>
                <p:nvPr/>
              </p:nvSpPr>
              <p:spPr bwMode="auto">
                <a:xfrm>
                  <a:off x="6631437" y="327145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88" name="Oval 859"/>
                <p:cNvSpPr>
                  <a:spLocks noChangeArrowheads="1"/>
                </p:cNvSpPr>
                <p:nvPr/>
              </p:nvSpPr>
              <p:spPr bwMode="auto">
                <a:xfrm>
                  <a:off x="6631437" y="358251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89" name="Oval 860"/>
                <p:cNvSpPr>
                  <a:spLocks noChangeArrowheads="1"/>
                </p:cNvSpPr>
                <p:nvPr/>
              </p:nvSpPr>
              <p:spPr bwMode="auto">
                <a:xfrm>
                  <a:off x="6631437" y="368454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90" name="Oval 861"/>
                <p:cNvSpPr>
                  <a:spLocks noChangeArrowheads="1"/>
                </p:cNvSpPr>
                <p:nvPr/>
              </p:nvSpPr>
              <p:spPr bwMode="auto">
                <a:xfrm>
                  <a:off x="6631437" y="378870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91" name="Oval 862"/>
                <p:cNvSpPr>
                  <a:spLocks noChangeArrowheads="1"/>
                </p:cNvSpPr>
                <p:nvPr/>
              </p:nvSpPr>
              <p:spPr bwMode="auto">
                <a:xfrm>
                  <a:off x="6631437" y="389215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92" name="Oval 863"/>
                <p:cNvSpPr>
                  <a:spLocks noChangeArrowheads="1"/>
                </p:cNvSpPr>
                <p:nvPr/>
              </p:nvSpPr>
              <p:spPr bwMode="auto">
                <a:xfrm>
                  <a:off x="6735596" y="120103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93" name="Oval 864"/>
                <p:cNvSpPr>
                  <a:spLocks noChangeArrowheads="1"/>
                </p:cNvSpPr>
                <p:nvPr/>
              </p:nvSpPr>
              <p:spPr bwMode="auto">
                <a:xfrm>
                  <a:off x="6735596"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94" name="Oval 865"/>
                <p:cNvSpPr>
                  <a:spLocks noChangeArrowheads="1"/>
                </p:cNvSpPr>
                <p:nvPr/>
              </p:nvSpPr>
              <p:spPr bwMode="auto">
                <a:xfrm>
                  <a:off x="6735596"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95" name="Oval 866"/>
                <p:cNvSpPr>
                  <a:spLocks noChangeArrowheads="1"/>
                </p:cNvSpPr>
                <p:nvPr/>
              </p:nvSpPr>
              <p:spPr bwMode="auto">
                <a:xfrm>
                  <a:off x="6735596"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96" name="Oval 867"/>
                <p:cNvSpPr>
                  <a:spLocks noChangeArrowheads="1"/>
                </p:cNvSpPr>
                <p:nvPr/>
              </p:nvSpPr>
              <p:spPr bwMode="auto">
                <a:xfrm>
                  <a:off x="6735596"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97" name="Oval 868"/>
                <p:cNvSpPr>
                  <a:spLocks noChangeArrowheads="1"/>
                </p:cNvSpPr>
                <p:nvPr/>
              </p:nvSpPr>
              <p:spPr bwMode="auto">
                <a:xfrm>
                  <a:off x="6735596"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98" name="Oval 869"/>
                <p:cNvSpPr>
                  <a:spLocks noChangeArrowheads="1"/>
                </p:cNvSpPr>
                <p:nvPr/>
              </p:nvSpPr>
              <p:spPr bwMode="auto">
                <a:xfrm>
                  <a:off x="6735596" y="182173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899" name="Oval 871"/>
                <p:cNvSpPr>
                  <a:spLocks noChangeArrowheads="1"/>
                </p:cNvSpPr>
                <p:nvPr/>
              </p:nvSpPr>
              <p:spPr bwMode="auto">
                <a:xfrm>
                  <a:off x="6735596"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00" name="Oval 872"/>
                <p:cNvSpPr>
                  <a:spLocks noChangeArrowheads="1"/>
                </p:cNvSpPr>
                <p:nvPr/>
              </p:nvSpPr>
              <p:spPr bwMode="auto">
                <a:xfrm>
                  <a:off x="6735596" y="2133504"/>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01" name="Oval 873"/>
                <p:cNvSpPr>
                  <a:spLocks noChangeArrowheads="1"/>
                </p:cNvSpPr>
                <p:nvPr/>
              </p:nvSpPr>
              <p:spPr bwMode="auto">
                <a:xfrm>
                  <a:off x="6735596" y="223553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02" name="Oval 874"/>
                <p:cNvSpPr>
                  <a:spLocks noChangeArrowheads="1"/>
                </p:cNvSpPr>
                <p:nvPr/>
              </p:nvSpPr>
              <p:spPr bwMode="auto">
                <a:xfrm>
                  <a:off x="6735596" y="233898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03" name="Oval 875"/>
                <p:cNvSpPr>
                  <a:spLocks noChangeArrowheads="1"/>
                </p:cNvSpPr>
                <p:nvPr/>
              </p:nvSpPr>
              <p:spPr bwMode="auto">
                <a:xfrm>
                  <a:off x="6735596" y="285765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04" name="Oval 876"/>
                <p:cNvSpPr>
                  <a:spLocks noChangeArrowheads="1"/>
                </p:cNvSpPr>
                <p:nvPr/>
              </p:nvSpPr>
              <p:spPr bwMode="auto">
                <a:xfrm>
                  <a:off x="6735596" y="296039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05" name="Oval 877"/>
                <p:cNvSpPr>
                  <a:spLocks noChangeArrowheads="1"/>
                </p:cNvSpPr>
                <p:nvPr/>
              </p:nvSpPr>
              <p:spPr bwMode="auto">
                <a:xfrm>
                  <a:off x="6735596" y="306384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06" name="Oval 878"/>
                <p:cNvSpPr>
                  <a:spLocks noChangeArrowheads="1"/>
                </p:cNvSpPr>
                <p:nvPr/>
              </p:nvSpPr>
              <p:spPr bwMode="auto">
                <a:xfrm>
                  <a:off x="6735596" y="316800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07" name="Oval 879"/>
                <p:cNvSpPr>
                  <a:spLocks noChangeArrowheads="1"/>
                </p:cNvSpPr>
                <p:nvPr/>
              </p:nvSpPr>
              <p:spPr bwMode="auto">
                <a:xfrm>
                  <a:off x="6735596" y="347906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08" name="Oval 880"/>
                <p:cNvSpPr>
                  <a:spLocks noChangeArrowheads="1"/>
                </p:cNvSpPr>
                <p:nvPr/>
              </p:nvSpPr>
              <p:spPr bwMode="auto">
                <a:xfrm>
                  <a:off x="6735596" y="358251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09" name="Oval 881"/>
                <p:cNvSpPr>
                  <a:spLocks noChangeArrowheads="1"/>
                </p:cNvSpPr>
                <p:nvPr/>
              </p:nvSpPr>
              <p:spPr bwMode="auto">
                <a:xfrm>
                  <a:off x="6735596" y="368454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10" name="Oval 882"/>
                <p:cNvSpPr>
                  <a:spLocks noChangeArrowheads="1"/>
                </p:cNvSpPr>
                <p:nvPr/>
              </p:nvSpPr>
              <p:spPr bwMode="auto">
                <a:xfrm>
                  <a:off x="6735596" y="378870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11" name="Oval 883"/>
                <p:cNvSpPr>
                  <a:spLocks noChangeArrowheads="1"/>
                </p:cNvSpPr>
                <p:nvPr/>
              </p:nvSpPr>
              <p:spPr bwMode="auto">
                <a:xfrm>
                  <a:off x="6735596" y="389215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12" name="Oval 884"/>
                <p:cNvSpPr>
                  <a:spLocks noChangeArrowheads="1"/>
                </p:cNvSpPr>
                <p:nvPr/>
              </p:nvSpPr>
              <p:spPr bwMode="auto">
                <a:xfrm>
                  <a:off x="6841171"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13" name="Oval 885"/>
                <p:cNvSpPr>
                  <a:spLocks noChangeArrowheads="1"/>
                </p:cNvSpPr>
                <p:nvPr/>
              </p:nvSpPr>
              <p:spPr bwMode="auto">
                <a:xfrm>
                  <a:off x="6841171"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14" name="Oval 886"/>
                <p:cNvSpPr>
                  <a:spLocks noChangeArrowheads="1"/>
                </p:cNvSpPr>
                <p:nvPr/>
              </p:nvSpPr>
              <p:spPr bwMode="auto">
                <a:xfrm>
                  <a:off x="6841171"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15" name="Oval 887"/>
                <p:cNvSpPr>
                  <a:spLocks noChangeArrowheads="1"/>
                </p:cNvSpPr>
                <p:nvPr/>
              </p:nvSpPr>
              <p:spPr bwMode="auto">
                <a:xfrm>
                  <a:off x="6841171"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16" name="Oval 888"/>
                <p:cNvSpPr>
                  <a:spLocks noChangeArrowheads="1"/>
                </p:cNvSpPr>
                <p:nvPr/>
              </p:nvSpPr>
              <p:spPr bwMode="auto">
                <a:xfrm>
                  <a:off x="6841171"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17" name="Oval 889"/>
                <p:cNvSpPr>
                  <a:spLocks noChangeArrowheads="1"/>
                </p:cNvSpPr>
                <p:nvPr/>
              </p:nvSpPr>
              <p:spPr bwMode="auto">
                <a:xfrm>
                  <a:off x="6841171" y="182173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18" name="Oval 890"/>
                <p:cNvSpPr>
                  <a:spLocks noChangeArrowheads="1"/>
                </p:cNvSpPr>
                <p:nvPr/>
              </p:nvSpPr>
              <p:spPr bwMode="auto">
                <a:xfrm>
                  <a:off x="6841171" y="192589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19" name="Oval 891"/>
                <p:cNvSpPr>
                  <a:spLocks noChangeArrowheads="1"/>
                </p:cNvSpPr>
                <p:nvPr/>
              </p:nvSpPr>
              <p:spPr bwMode="auto">
                <a:xfrm>
                  <a:off x="6841171"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20" name="Oval 892"/>
                <p:cNvSpPr>
                  <a:spLocks noChangeArrowheads="1"/>
                </p:cNvSpPr>
                <p:nvPr/>
              </p:nvSpPr>
              <p:spPr bwMode="auto">
                <a:xfrm>
                  <a:off x="6841171" y="2133504"/>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21" name="Oval 893"/>
                <p:cNvSpPr>
                  <a:spLocks noChangeArrowheads="1"/>
                </p:cNvSpPr>
                <p:nvPr/>
              </p:nvSpPr>
              <p:spPr bwMode="auto">
                <a:xfrm>
                  <a:off x="6841171" y="233898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22" name="Oval 894"/>
                <p:cNvSpPr>
                  <a:spLocks noChangeArrowheads="1"/>
                </p:cNvSpPr>
                <p:nvPr/>
              </p:nvSpPr>
              <p:spPr bwMode="auto">
                <a:xfrm>
                  <a:off x="6841171" y="244314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23" name="Oval 895"/>
                <p:cNvSpPr>
                  <a:spLocks noChangeArrowheads="1"/>
                </p:cNvSpPr>
                <p:nvPr/>
              </p:nvSpPr>
              <p:spPr bwMode="auto">
                <a:xfrm>
                  <a:off x="6841171" y="316800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24" name="Oval 896"/>
                <p:cNvSpPr>
                  <a:spLocks noChangeArrowheads="1"/>
                </p:cNvSpPr>
                <p:nvPr/>
              </p:nvSpPr>
              <p:spPr bwMode="auto">
                <a:xfrm>
                  <a:off x="6841171" y="33749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25" name="Oval 897"/>
                <p:cNvSpPr>
                  <a:spLocks noChangeArrowheads="1"/>
                </p:cNvSpPr>
                <p:nvPr/>
              </p:nvSpPr>
              <p:spPr bwMode="auto">
                <a:xfrm>
                  <a:off x="6841171" y="347906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26" name="Oval 898"/>
                <p:cNvSpPr>
                  <a:spLocks noChangeArrowheads="1"/>
                </p:cNvSpPr>
                <p:nvPr/>
              </p:nvSpPr>
              <p:spPr bwMode="auto">
                <a:xfrm>
                  <a:off x="6841171" y="358251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27" name="Oval 900"/>
                <p:cNvSpPr>
                  <a:spLocks noChangeArrowheads="1"/>
                </p:cNvSpPr>
                <p:nvPr/>
              </p:nvSpPr>
              <p:spPr bwMode="auto">
                <a:xfrm>
                  <a:off x="6841171" y="378870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28" name="Oval 901"/>
                <p:cNvSpPr>
                  <a:spLocks noChangeArrowheads="1"/>
                </p:cNvSpPr>
                <p:nvPr/>
              </p:nvSpPr>
              <p:spPr bwMode="auto">
                <a:xfrm>
                  <a:off x="6841171" y="389215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29" name="Oval 902"/>
                <p:cNvSpPr>
                  <a:spLocks noChangeArrowheads="1"/>
                </p:cNvSpPr>
                <p:nvPr/>
              </p:nvSpPr>
              <p:spPr bwMode="auto">
                <a:xfrm>
                  <a:off x="6944622" y="109687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30" name="Oval 903"/>
                <p:cNvSpPr>
                  <a:spLocks noChangeArrowheads="1"/>
                </p:cNvSpPr>
                <p:nvPr/>
              </p:nvSpPr>
              <p:spPr bwMode="auto">
                <a:xfrm>
                  <a:off x="6944622"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31" name="Oval 904"/>
                <p:cNvSpPr>
                  <a:spLocks noChangeArrowheads="1"/>
                </p:cNvSpPr>
                <p:nvPr/>
              </p:nvSpPr>
              <p:spPr bwMode="auto">
                <a:xfrm>
                  <a:off x="6944622"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32" name="Oval 905"/>
                <p:cNvSpPr>
                  <a:spLocks noChangeArrowheads="1"/>
                </p:cNvSpPr>
                <p:nvPr/>
              </p:nvSpPr>
              <p:spPr bwMode="auto">
                <a:xfrm>
                  <a:off x="6944622"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33" name="Oval 906"/>
                <p:cNvSpPr>
                  <a:spLocks noChangeArrowheads="1"/>
                </p:cNvSpPr>
                <p:nvPr/>
              </p:nvSpPr>
              <p:spPr bwMode="auto">
                <a:xfrm>
                  <a:off x="6944622"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34" name="Oval 907"/>
                <p:cNvSpPr>
                  <a:spLocks noChangeArrowheads="1"/>
                </p:cNvSpPr>
                <p:nvPr/>
              </p:nvSpPr>
              <p:spPr bwMode="auto">
                <a:xfrm>
                  <a:off x="6944622"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35" name="Oval 908"/>
                <p:cNvSpPr>
                  <a:spLocks noChangeArrowheads="1"/>
                </p:cNvSpPr>
                <p:nvPr/>
              </p:nvSpPr>
              <p:spPr bwMode="auto">
                <a:xfrm>
                  <a:off x="6944622" y="182173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36" name="Oval 909"/>
                <p:cNvSpPr>
                  <a:spLocks noChangeArrowheads="1"/>
                </p:cNvSpPr>
                <p:nvPr/>
              </p:nvSpPr>
              <p:spPr bwMode="auto">
                <a:xfrm>
                  <a:off x="6944622" y="192589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37" name="Oval 910"/>
                <p:cNvSpPr>
                  <a:spLocks noChangeArrowheads="1"/>
                </p:cNvSpPr>
                <p:nvPr/>
              </p:nvSpPr>
              <p:spPr bwMode="auto">
                <a:xfrm>
                  <a:off x="6944622"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38" name="Oval 911"/>
                <p:cNvSpPr>
                  <a:spLocks noChangeArrowheads="1"/>
                </p:cNvSpPr>
                <p:nvPr/>
              </p:nvSpPr>
              <p:spPr bwMode="auto">
                <a:xfrm>
                  <a:off x="6944622" y="2133504"/>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39" name="Oval 912"/>
                <p:cNvSpPr>
                  <a:spLocks noChangeArrowheads="1"/>
                </p:cNvSpPr>
                <p:nvPr/>
              </p:nvSpPr>
              <p:spPr bwMode="auto">
                <a:xfrm>
                  <a:off x="6944622" y="233898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40" name="Oval 913"/>
                <p:cNvSpPr>
                  <a:spLocks noChangeArrowheads="1"/>
                </p:cNvSpPr>
                <p:nvPr/>
              </p:nvSpPr>
              <p:spPr bwMode="auto">
                <a:xfrm>
                  <a:off x="6944622" y="316800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41" name="Oval 914"/>
                <p:cNvSpPr>
                  <a:spLocks noChangeArrowheads="1"/>
                </p:cNvSpPr>
                <p:nvPr/>
              </p:nvSpPr>
              <p:spPr bwMode="auto">
                <a:xfrm>
                  <a:off x="6944622" y="327145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42" name="Oval 915"/>
                <p:cNvSpPr>
                  <a:spLocks noChangeArrowheads="1"/>
                </p:cNvSpPr>
                <p:nvPr/>
              </p:nvSpPr>
              <p:spPr bwMode="auto">
                <a:xfrm>
                  <a:off x="6944622" y="347906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43" name="Oval 916"/>
                <p:cNvSpPr>
                  <a:spLocks noChangeArrowheads="1"/>
                </p:cNvSpPr>
                <p:nvPr/>
              </p:nvSpPr>
              <p:spPr bwMode="auto">
                <a:xfrm>
                  <a:off x="6944622" y="358251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44" name="Oval 917"/>
                <p:cNvSpPr>
                  <a:spLocks noChangeArrowheads="1"/>
                </p:cNvSpPr>
                <p:nvPr/>
              </p:nvSpPr>
              <p:spPr bwMode="auto">
                <a:xfrm>
                  <a:off x="6944622" y="368454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45" name="Oval 918"/>
                <p:cNvSpPr>
                  <a:spLocks noChangeArrowheads="1"/>
                </p:cNvSpPr>
                <p:nvPr/>
              </p:nvSpPr>
              <p:spPr bwMode="auto">
                <a:xfrm>
                  <a:off x="6944622" y="378870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46" name="Oval 919"/>
                <p:cNvSpPr>
                  <a:spLocks noChangeArrowheads="1"/>
                </p:cNvSpPr>
                <p:nvPr/>
              </p:nvSpPr>
              <p:spPr bwMode="auto">
                <a:xfrm>
                  <a:off x="6944622" y="389215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47" name="Oval 920"/>
                <p:cNvSpPr>
                  <a:spLocks noChangeArrowheads="1"/>
                </p:cNvSpPr>
                <p:nvPr/>
              </p:nvSpPr>
              <p:spPr bwMode="auto">
                <a:xfrm>
                  <a:off x="7050197" y="109687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48" name="Oval 921"/>
                <p:cNvSpPr>
                  <a:spLocks noChangeArrowheads="1"/>
                </p:cNvSpPr>
                <p:nvPr/>
              </p:nvSpPr>
              <p:spPr bwMode="auto">
                <a:xfrm>
                  <a:off x="7050197" y="120103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49" name="Oval 922"/>
                <p:cNvSpPr>
                  <a:spLocks noChangeArrowheads="1"/>
                </p:cNvSpPr>
                <p:nvPr/>
              </p:nvSpPr>
              <p:spPr bwMode="auto">
                <a:xfrm>
                  <a:off x="7050197"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50" name="Oval 923"/>
                <p:cNvSpPr>
                  <a:spLocks noChangeArrowheads="1"/>
                </p:cNvSpPr>
                <p:nvPr/>
              </p:nvSpPr>
              <p:spPr bwMode="auto">
                <a:xfrm>
                  <a:off x="7050197"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51" name="Oval 924"/>
                <p:cNvSpPr>
                  <a:spLocks noChangeArrowheads="1"/>
                </p:cNvSpPr>
                <p:nvPr/>
              </p:nvSpPr>
              <p:spPr bwMode="auto">
                <a:xfrm>
                  <a:off x="7050197"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52" name="Oval 925"/>
                <p:cNvSpPr>
                  <a:spLocks noChangeArrowheads="1"/>
                </p:cNvSpPr>
                <p:nvPr/>
              </p:nvSpPr>
              <p:spPr bwMode="auto">
                <a:xfrm>
                  <a:off x="7050197"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53" name="Oval 926"/>
                <p:cNvSpPr>
                  <a:spLocks noChangeArrowheads="1"/>
                </p:cNvSpPr>
                <p:nvPr/>
              </p:nvSpPr>
              <p:spPr bwMode="auto">
                <a:xfrm>
                  <a:off x="7050197"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54" name="Oval 928"/>
                <p:cNvSpPr>
                  <a:spLocks noChangeArrowheads="1"/>
                </p:cNvSpPr>
                <p:nvPr/>
              </p:nvSpPr>
              <p:spPr bwMode="auto">
                <a:xfrm>
                  <a:off x="7050197" y="192589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55" name="Oval 929"/>
                <p:cNvSpPr>
                  <a:spLocks noChangeArrowheads="1"/>
                </p:cNvSpPr>
                <p:nvPr/>
              </p:nvSpPr>
              <p:spPr bwMode="auto">
                <a:xfrm>
                  <a:off x="7050197"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56" name="Oval 930"/>
                <p:cNvSpPr>
                  <a:spLocks noChangeArrowheads="1"/>
                </p:cNvSpPr>
                <p:nvPr/>
              </p:nvSpPr>
              <p:spPr bwMode="auto">
                <a:xfrm>
                  <a:off x="7050197" y="2133504"/>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57" name="Oval 931"/>
                <p:cNvSpPr>
                  <a:spLocks noChangeArrowheads="1"/>
                </p:cNvSpPr>
                <p:nvPr/>
              </p:nvSpPr>
              <p:spPr bwMode="auto">
                <a:xfrm>
                  <a:off x="7050197" y="223553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58" name="Oval 932"/>
                <p:cNvSpPr>
                  <a:spLocks noChangeArrowheads="1"/>
                </p:cNvSpPr>
                <p:nvPr/>
              </p:nvSpPr>
              <p:spPr bwMode="auto">
                <a:xfrm>
                  <a:off x="7050197" y="233898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59" name="Oval 933"/>
                <p:cNvSpPr>
                  <a:spLocks noChangeArrowheads="1"/>
                </p:cNvSpPr>
                <p:nvPr/>
              </p:nvSpPr>
              <p:spPr bwMode="auto">
                <a:xfrm>
                  <a:off x="7050197" y="327145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60" name="Oval 934"/>
                <p:cNvSpPr>
                  <a:spLocks noChangeArrowheads="1"/>
                </p:cNvSpPr>
                <p:nvPr/>
              </p:nvSpPr>
              <p:spPr bwMode="auto">
                <a:xfrm>
                  <a:off x="7050197" y="33749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61" name="Oval 935"/>
                <p:cNvSpPr>
                  <a:spLocks noChangeArrowheads="1"/>
                </p:cNvSpPr>
                <p:nvPr/>
              </p:nvSpPr>
              <p:spPr bwMode="auto">
                <a:xfrm>
                  <a:off x="7050197" y="347906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62" name="Oval 936"/>
                <p:cNvSpPr>
                  <a:spLocks noChangeArrowheads="1"/>
                </p:cNvSpPr>
                <p:nvPr/>
              </p:nvSpPr>
              <p:spPr bwMode="auto">
                <a:xfrm>
                  <a:off x="7050197" y="358251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63" name="Oval 937"/>
                <p:cNvSpPr>
                  <a:spLocks noChangeArrowheads="1"/>
                </p:cNvSpPr>
                <p:nvPr/>
              </p:nvSpPr>
              <p:spPr bwMode="auto">
                <a:xfrm>
                  <a:off x="7050197" y="368454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64" name="Oval 938"/>
                <p:cNvSpPr>
                  <a:spLocks noChangeArrowheads="1"/>
                </p:cNvSpPr>
                <p:nvPr/>
              </p:nvSpPr>
              <p:spPr bwMode="auto">
                <a:xfrm>
                  <a:off x="7050197" y="378870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65" name="Oval 939"/>
                <p:cNvSpPr>
                  <a:spLocks noChangeArrowheads="1"/>
                </p:cNvSpPr>
                <p:nvPr/>
              </p:nvSpPr>
              <p:spPr bwMode="auto">
                <a:xfrm>
                  <a:off x="7050197" y="389215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66" name="Oval 941"/>
                <p:cNvSpPr>
                  <a:spLocks noChangeArrowheads="1"/>
                </p:cNvSpPr>
                <p:nvPr/>
              </p:nvSpPr>
              <p:spPr bwMode="auto">
                <a:xfrm>
                  <a:off x="7153647" y="109687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67" name="Oval 942"/>
                <p:cNvSpPr>
                  <a:spLocks noChangeArrowheads="1"/>
                </p:cNvSpPr>
                <p:nvPr/>
              </p:nvSpPr>
              <p:spPr bwMode="auto">
                <a:xfrm>
                  <a:off x="7153647"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68" name="Oval 943"/>
                <p:cNvSpPr>
                  <a:spLocks noChangeArrowheads="1"/>
                </p:cNvSpPr>
                <p:nvPr/>
              </p:nvSpPr>
              <p:spPr bwMode="auto">
                <a:xfrm>
                  <a:off x="7153647"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69" name="Oval 944"/>
                <p:cNvSpPr>
                  <a:spLocks noChangeArrowheads="1"/>
                </p:cNvSpPr>
                <p:nvPr/>
              </p:nvSpPr>
              <p:spPr bwMode="auto">
                <a:xfrm>
                  <a:off x="7153647"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70" name="Oval 945"/>
                <p:cNvSpPr>
                  <a:spLocks noChangeArrowheads="1"/>
                </p:cNvSpPr>
                <p:nvPr/>
              </p:nvSpPr>
              <p:spPr bwMode="auto">
                <a:xfrm>
                  <a:off x="7153647"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71" name="Oval 946"/>
                <p:cNvSpPr>
                  <a:spLocks noChangeArrowheads="1"/>
                </p:cNvSpPr>
                <p:nvPr/>
              </p:nvSpPr>
              <p:spPr bwMode="auto">
                <a:xfrm>
                  <a:off x="7153647"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72" name="Oval 947"/>
                <p:cNvSpPr>
                  <a:spLocks noChangeArrowheads="1"/>
                </p:cNvSpPr>
                <p:nvPr/>
              </p:nvSpPr>
              <p:spPr bwMode="auto">
                <a:xfrm>
                  <a:off x="7153647" y="2133504"/>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73" name="Oval 948"/>
                <p:cNvSpPr>
                  <a:spLocks noChangeArrowheads="1"/>
                </p:cNvSpPr>
                <p:nvPr/>
              </p:nvSpPr>
              <p:spPr bwMode="auto">
                <a:xfrm>
                  <a:off x="7153647" y="327145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74" name="Oval 949"/>
                <p:cNvSpPr>
                  <a:spLocks noChangeArrowheads="1"/>
                </p:cNvSpPr>
                <p:nvPr/>
              </p:nvSpPr>
              <p:spPr bwMode="auto">
                <a:xfrm>
                  <a:off x="7153647" y="33749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75" name="Oval 950"/>
                <p:cNvSpPr>
                  <a:spLocks noChangeArrowheads="1"/>
                </p:cNvSpPr>
                <p:nvPr/>
              </p:nvSpPr>
              <p:spPr bwMode="auto">
                <a:xfrm>
                  <a:off x="7153647" y="358251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76" name="Oval 951"/>
                <p:cNvSpPr>
                  <a:spLocks noChangeArrowheads="1"/>
                </p:cNvSpPr>
                <p:nvPr/>
              </p:nvSpPr>
              <p:spPr bwMode="auto">
                <a:xfrm>
                  <a:off x="7153647" y="368454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77" name="Oval 952"/>
                <p:cNvSpPr>
                  <a:spLocks noChangeArrowheads="1"/>
                </p:cNvSpPr>
                <p:nvPr/>
              </p:nvSpPr>
              <p:spPr bwMode="auto">
                <a:xfrm>
                  <a:off x="7153647" y="378870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78" name="Oval 953"/>
                <p:cNvSpPr>
                  <a:spLocks noChangeArrowheads="1"/>
                </p:cNvSpPr>
                <p:nvPr/>
              </p:nvSpPr>
              <p:spPr bwMode="auto">
                <a:xfrm>
                  <a:off x="7153647" y="389215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79" name="Oval 954"/>
                <p:cNvSpPr>
                  <a:spLocks noChangeArrowheads="1"/>
                </p:cNvSpPr>
                <p:nvPr/>
              </p:nvSpPr>
              <p:spPr bwMode="auto">
                <a:xfrm>
                  <a:off x="7153647" y="399631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80" name="Oval 955"/>
                <p:cNvSpPr>
                  <a:spLocks noChangeArrowheads="1"/>
                </p:cNvSpPr>
                <p:nvPr/>
              </p:nvSpPr>
              <p:spPr bwMode="auto">
                <a:xfrm>
                  <a:off x="7153647" y="420392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81" name="Oval 956"/>
                <p:cNvSpPr>
                  <a:spLocks noChangeArrowheads="1"/>
                </p:cNvSpPr>
                <p:nvPr/>
              </p:nvSpPr>
              <p:spPr bwMode="auto">
                <a:xfrm>
                  <a:off x="7257806" y="130448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82" name="Oval 957"/>
                <p:cNvSpPr>
                  <a:spLocks noChangeArrowheads="1"/>
                </p:cNvSpPr>
                <p:nvPr/>
              </p:nvSpPr>
              <p:spPr bwMode="auto">
                <a:xfrm>
                  <a:off x="7257806" y="1408645"/>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83" name="Oval 958"/>
                <p:cNvSpPr>
                  <a:spLocks noChangeArrowheads="1"/>
                </p:cNvSpPr>
                <p:nvPr/>
              </p:nvSpPr>
              <p:spPr bwMode="auto">
                <a:xfrm>
                  <a:off x="7257806" y="151067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84" name="Oval 959"/>
                <p:cNvSpPr>
                  <a:spLocks noChangeArrowheads="1"/>
                </p:cNvSpPr>
                <p:nvPr/>
              </p:nvSpPr>
              <p:spPr bwMode="auto">
                <a:xfrm>
                  <a:off x="7257806" y="161412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85" name="Oval 960"/>
                <p:cNvSpPr>
                  <a:spLocks noChangeArrowheads="1"/>
                </p:cNvSpPr>
                <p:nvPr/>
              </p:nvSpPr>
              <p:spPr bwMode="auto">
                <a:xfrm>
                  <a:off x="7257806" y="327145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86" name="Oval 962"/>
                <p:cNvSpPr>
                  <a:spLocks noChangeArrowheads="1"/>
                </p:cNvSpPr>
                <p:nvPr/>
              </p:nvSpPr>
              <p:spPr bwMode="auto">
                <a:xfrm>
                  <a:off x="7257806" y="3788707"/>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87" name="Oval 963"/>
                <p:cNvSpPr>
                  <a:spLocks noChangeArrowheads="1"/>
                </p:cNvSpPr>
                <p:nvPr/>
              </p:nvSpPr>
              <p:spPr bwMode="auto">
                <a:xfrm>
                  <a:off x="7257806" y="3892157"/>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88" name="Oval 964"/>
                <p:cNvSpPr>
                  <a:spLocks noChangeArrowheads="1"/>
                </p:cNvSpPr>
                <p:nvPr/>
              </p:nvSpPr>
              <p:spPr bwMode="auto">
                <a:xfrm>
                  <a:off x="7257806" y="3996316"/>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89" name="Oval 965"/>
                <p:cNvSpPr>
                  <a:spLocks noChangeArrowheads="1"/>
                </p:cNvSpPr>
                <p:nvPr/>
              </p:nvSpPr>
              <p:spPr bwMode="auto">
                <a:xfrm>
                  <a:off x="7363382"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90" name="Oval 966"/>
                <p:cNvSpPr>
                  <a:spLocks noChangeArrowheads="1"/>
                </p:cNvSpPr>
                <p:nvPr/>
              </p:nvSpPr>
              <p:spPr bwMode="auto">
                <a:xfrm>
                  <a:off x="7363382"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91" name="Oval 967"/>
                <p:cNvSpPr>
                  <a:spLocks noChangeArrowheads="1"/>
                </p:cNvSpPr>
                <p:nvPr/>
              </p:nvSpPr>
              <p:spPr bwMode="auto">
                <a:xfrm>
                  <a:off x="7363382"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92" name="Oval 968"/>
                <p:cNvSpPr>
                  <a:spLocks noChangeArrowheads="1"/>
                </p:cNvSpPr>
                <p:nvPr/>
              </p:nvSpPr>
              <p:spPr bwMode="auto">
                <a:xfrm>
                  <a:off x="7363382"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93" name="Oval 969"/>
                <p:cNvSpPr>
                  <a:spLocks noChangeArrowheads="1"/>
                </p:cNvSpPr>
                <p:nvPr/>
              </p:nvSpPr>
              <p:spPr bwMode="auto">
                <a:xfrm>
                  <a:off x="7363382"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94" name="Oval 970"/>
                <p:cNvSpPr>
                  <a:spLocks noChangeArrowheads="1"/>
                </p:cNvSpPr>
                <p:nvPr/>
              </p:nvSpPr>
              <p:spPr bwMode="auto">
                <a:xfrm>
                  <a:off x="7363382" y="182173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95" name="Oval 971"/>
                <p:cNvSpPr>
                  <a:spLocks noChangeArrowheads="1"/>
                </p:cNvSpPr>
                <p:nvPr/>
              </p:nvSpPr>
              <p:spPr bwMode="auto">
                <a:xfrm>
                  <a:off x="7363382" y="192589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96" name="Oval 973"/>
                <p:cNvSpPr>
                  <a:spLocks noChangeArrowheads="1"/>
                </p:cNvSpPr>
                <p:nvPr/>
              </p:nvSpPr>
              <p:spPr bwMode="auto">
                <a:xfrm>
                  <a:off x="7363382" y="327145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97" name="Oval 974"/>
                <p:cNvSpPr>
                  <a:spLocks noChangeArrowheads="1"/>
                </p:cNvSpPr>
                <p:nvPr/>
              </p:nvSpPr>
              <p:spPr bwMode="auto">
                <a:xfrm>
                  <a:off x="7466832" y="1408645"/>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98" name="Oval 975"/>
                <p:cNvSpPr>
                  <a:spLocks noChangeArrowheads="1"/>
                </p:cNvSpPr>
                <p:nvPr/>
              </p:nvSpPr>
              <p:spPr bwMode="auto">
                <a:xfrm>
                  <a:off x="7466832" y="151067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999" name="Oval 977"/>
                <p:cNvSpPr>
                  <a:spLocks noChangeArrowheads="1"/>
                </p:cNvSpPr>
                <p:nvPr/>
              </p:nvSpPr>
              <p:spPr bwMode="auto">
                <a:xfrm>
                  <a:off x="7466832" y="1718287"/>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00" name="Oval 978"/>
                <p:cNvSpPr>
                  <a:spLocks noChangeArrowheads="1"/>
                </p:cNvSpPr>
                <p:nvPr/>
              </p:nvSpPr>
              <p:spPr bwMode="auto">
                <a:xfrm>
                  <a:off x="7466832" y="1821737"/>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01" name="Oval 979"/>
                <p:cNvSpPr>
                  <a:spLocks noChangeArrowheads="1"/>
                </p:cNvSpPr>
                <p:nvPr/>
              </p:nvSpPr>
              <p:spPr bwMode="auto">
                <a:xfrm>
                  <a:off x="7466832" y="337490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02" name="Oval 980"/>
                <p:cNvSpPr>
                  <a:spLocks noChangeArrowheads="1"/>
                </p:cNvSpPr>
                <p:nvPr/>
              </p:nvSpPr>
              <p:spPr bwMode="auto">
                <a:xfrm>
                  <a:off x="7572408"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03" name="Oval 981"/>
                <p:cNvSpPr>
                  <a:spLocks noChangeArrowheads="1"/>
                </p:cNvSpPr>
                <p:nvPr/>
              </p:nvSpPr>
              <p:spPr bwMode="auto">
                <a:xfrm>
                  <a:off x="7572408"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04" name="Oval 982"/>
                <p:cNvSpPr>
                  <a:spLocks noChangeArrowheads="1"/>
                </p:cNvSpPr>
                <p:nvPr/>
              </p:nvSpPr>
              <p:spPr bwMode="auto">
                <a:xfrm>
                  <a:off x="7572408"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05" name="Oval 983"/>
                <p:cNvSpPr>
                  <a:spLocks noChangeArrowheads="1"/>
                </p:cNvSpPr>
                <p:nvPr/>
              </p:nvSpPr>
              <p:spPr bwMode="auto">
                <a:xfrm>
                  <a:off x="7572408"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06" name="Oval 984"/>
                <p:cNvSpPr>
                  <a:spLocks noChangeArrowheads="1"/>
                </p:cNvSpPr>
                <p:nvPr/>
              </p:nvSpPr>
              <p:spPr bwMode="auto">
                <a:xfrm>
                  <a:off x="7572408" y="420392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07" name="Oval 985"/>
                <p:cNvSpPr>
                  <a:spLocks noChangeArrowheads="1"/>
                </p:cNvSpPr>
                <p:nvPr/>
              </p:nvSpPr>
              <p:spPr bwMode="auto">
                <a:xfrm>
                  <a:off x="7675858" y="1304486"/>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08" name="Oval 986"/>
                <p:cNvSpPr>
                  <a:spLocks noChangeArrowheads="1"/>
                </p:cNvSpPr>
                <p:nvPr/>
              </p:nvSpPr>
              <p:spPr bwMode="auto">
                <a:xfrm>
                  <a:off x="7675858" y="1408645"/>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09" name="Oval 987"/>
                <p:cNvSpPr>
                  <a:spLocks noChangeArrowheads="1"/>
                </p:cNvSpPr>
                <p:nvPr/>
              </p:nvSpPr>
              <p:spPr bwMode="auto">
                <a:xfrm>
                  <a:off x="7675858" y="151067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10" name="Oval 988"/>
                <p:cNvSpPr>
                  <a:spLocks noChangeArrowheads="1"/>
                </p:cNvSpPr>
                <p:nvPr/>
              </p:nvSpPr>
              <p:spPr bwMode="auto">
                <a:xfrm>
                  <a:off x="7675858" y="1614128"/>
                  <a:ext cx="94239"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11" name="Oval 1010"/>
                <p:cNvSpPr>
                  <a:spLocks noChangeArrowheads="1"/>
                </p:cNvSpPr>
                <p:nvPr/>
              </p:nvSpPr>
              <p:spPr bwMode="auto">
                <a:xfrm>
                  <a:off x="7675858" y="4099766"/>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12" name="Oval 1011"/>
                <p:cNvSpPr>
                  <a:spLocks noChangeArrowheads="1"/>
                </p:cNvSpPr>
                <p:nvPr/>
              </p:nvSpPr>
              <p:spPr bwMode="auto">
                <a:xfrm>
                  <a:off x="7781434" y="130448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13" name="Oval 1012"/>
                <p:cNvSpPr>
                  <a:spLocks noChangeArrowheads="1"/>
                </p:cNvSpPr>
                <p:nvPr/>
              </p:nvSpPr>
              <p:spPr bwMode="auto">
                <a:xfrm>
                  <a:off x="7781434"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14" name="Oval 994"/>
                <p:cNvSpPr>
                  <a:spLocks noChangeArrowheads="1"/>
                </p:cNvSpPr>
                <p:nvPr/>
              </p:nvSpPr>
              <p:spPr bwMode="auto">
                <a:xfrm>
                  <a:off x="7781434" y="399631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15" name="Oval 995"/>
                <p:cNvSpPr>
                  <a:spLocks noChangeArrowheads="1"/>
                </p:cNvSpPr>
                <p:nvPr/>
              </p:nvSpPr>
              <p:spPr bwMode="auto">
                <a:xfrm>
                  <a:off x="7885593" y="1408645"/>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16" name="Oval 996"/>
                <p:cNvSpPr>
                  <a:spLocks noChangeArrowheads="1"/>
                </p:cNvSpPr>
                <p:nvPr/>
              </p:nvSpPr>
              <p:spPr bwMode="auto">
                <a:xfrm>
                  <a:off x="7885593" y="151067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017" name="Oval 267"/>
                <p:cNvSpPr>
                  <a:spLocks noChangeArrowheads="1"/>
                </p:cNvSpPr>
                <p:nvPr/>
              </p:nvSpPr>
              <p:spPr bwMode="auto">
                <a:xfrm>
                  <a:off x="2969586" y="4510328"/>
                  <a:ext cx="93530"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grpSp>
            <p:nvGrpSpPr>
              <p:cNvPr id="32" name="Group 31"/>
              <p:cNvGrpSpPr/>
              <p:nvPr/>
            </p:nvGrpSpPr>
            <p:grpSpPr>
              <a:xfrm>
                <a:off x="1328475" y="1357600"/>
                <a:ext cx="6585056" cy="2946167"/>
                <a:chOff x="1191802" y="1096877"/>
                <a:chExt cx="6681745" cy="2989426"/>
              </a:xfrm>
              <a:grpFill/>
            </p:grpSpPr>
            <p:sp>
              <p:nvSpPr>
                <p:cNvPr id="33" name="Oval 20"/>
                <p:cNvSpPr>
                  <a:spLocks noChangeArrowheads="1"/>
                </p:cNvSpPr>
                <p:nvPr/>
              </p:nvSpPr>
              <p:spPr bwMode="auto">
                <a:xfrm>
                  <a:off x="1191802"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4" name="Oval 29"/>
                <p:cNvSpPr>
                  <a:spLocks noChangeArrowheads="1"/>
                </p:cNvSpPr>
                <p:nvPr/>
              </p:nvSpPr>
              <p:spPr bwMode="auto">
                <a:xfrm>
                  <a:off x="1297378" y="171828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5" name="Oval 39"/>
                <p:cNvSpPr>
                  <a:spLocks noChangeArrowheads="1"/>
                </p:cNvSpPr>
                <p:nvPr/>
              </p:nvSpPr>
              <p:spPr bwMode="auto">
                <a:xfrm>
                  <a:off x="1610563" y="1408645"/>
                  <a:ext cx="91405"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6" name="Oval 63"/>
                <p:cNvSpPr>
                  <a:spLocks noChangeArrowheads="1"/>
                </p:cNvSpPr>
                <p:nvPr/>
              </p:nvSpPr>
              <p:spPr bwMode="auto">
                <a:xfrm>
                  <a:off x="1925164" y="120103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7" name="Oval 124"/>
                <p:cNvSpPr>
                  <a:spLocks noChangeArrowheads="1"/>
                </p:cNvSpPr>
                <p:nvPr/>
              </p:nvSpPr>
              <p:spPr bwMode="auto">
                <a:xfrm>
                  <a:off x="2343216" y="140864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8" name="Oval 126"/>
                <p:cNvSpPr>
                  <a:spLocks noChangeArrowheads="1"/>
                </p:cNvSpPr>
                <p:nvPr/>
              </p:nvSpPr>
              <p:spPr bwMode="auto">
                <a:xfrm>
                  <a:off x="2343216" y="161412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9" name="Oval 132"/>
                <p:cNvSpPr>
                  <a:spLocks noChangeArrowheads="1"/>
                </p:cNvSpPr>
                <p:nvPr/>
              </p:nvSpPr>
              <p:spPr bwMode="auto">
                <a:xfrm>
                  <a:off x="2343216" y="223553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0" name="Oval 146"/>
                <p:cNvSpPr>
                  <a:spLocks noChangeArrowheads="1"/>
                </p:cNvSpPr>
                <p:nvPr/>
              </p:nvSpPr>
              <p:spPr bwMode="auto">
                <a:xfrm>
                  <a:off x="2447375" y="192589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1" name="Oval 151"/>
                <p:cNvSpPr>
                  <a:spLocks noChangeArrowheads="1"/>
                </p:cNvSpPr>
                <p:nvPr/>
              </p:nvSpPr>
              <p:spPr bwMode="auto">
                <a:xfrm>
                  <a:off x="2447375" y="244314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2" name="Oval 174"/>
                <p:cNvSpPr>
                  <a:spLocks noChangeArrowheads="1"/>
                </p:cNvSpPr>
                <p:nvPr/>
              </p:nvSpPr>
              <p:spPr bwMode="auto">
                <a:xfrm>
                  <a:off x="2656401" y="109687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3" name="Oval 179"/>
                <p:cNvSpPr>
                  <a:spLocks noChangeArrowheads="1"/>
                </p:cNvSpPr>
                <p:nvPr/>
              </p:nvSpPr>
              <p:spPr bwMode="auto">
                <a:xfrm>
                  <a:off x="2656401" y="182173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4" name="Oval 218"/>
                <p:cNvSpPr>
                  <a:spLocks noChangeArrowheads="1"/>
                </p:cNvSpPr>
                <p:nvPr/>
              </p:nvSpPr>
              <p:spPr bwMode="auto">
                <a:xfrm>
                  <a:off x="2865427" y="151067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5" name="Oval 220"/>
                <p:cNvSpPr>
                  <a:spLocks noChangeArrowheads="1"/>
                </p:cNvSpPr>
                <p:nvPr/>
              </p:nvSpPr>
              <p:spPr bwMode="auto">
                <a:xfrm>
                  <a:off x="2865427" y="171828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6" name="Oval 234"/>
                <p:cNvSpPr>
                  <a:spLocks noChangeArrowheads="1"/>
                </p:cNvSpPr>
                <p:nvPr/>
              </p:nvSpPr>
              <p:spPr bwMode="auto">
                <a:xfrm>
                  <a:off x="2865427" y="368454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7" name="Oval 275"/>
                <p:cNvSpPr>
                  <a:spLocks noChangeArrowheads="1"/>
                </p:cNvSpPr>
                <p:nvPr/>
              </p:nvSpPr>
              <p:spPr bwMode="auto">
                <a:xfrm>
                  <a:off x="3075161" y="2960396"/>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8" name="Oval 304"/>
                <p:cNvSpPr>
                  <a:spLocks noChangeArrowheads="1"/>
                </p:cNvSpPr>
                <p:nvPr/>
              </p:nvSpPr>
              <p:spPr bwMode="auto">
                <a:xfrm>
                  <a:off x="3178612" y="3892156"/>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49" name="Oval 333"/>
                <p:cNvSpPr>
                  <a:spLocks noChangeArrowheads="1"/>
                </p:cNvSpPr>
                <p:nvPr/>
              </p:nvSpPr>
              <p:spPr bwMode="auto">
                <a:xfrm>
                  <a:off x="3387638" y="3271455"/>
                  <a:ext cx="94239"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0" name="Oval 384"/>
                <p:cNvSpPr>
                  <a:spLocks noChangeArrowheads="1"/>
                </p:cNvSpPr>
                <p:nvPr/>
              </p:nvSpPr>
              <p:spPr bwMode="auto">
                <a:xfrm>
                  <a:off x="3911974" y="2754205"/>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1" name="Oval 402"/>
                <p:cNvSpPr>
                  <a:spLocks noChangeArrowheads="1"/>
                </p:cNvSpPr>
                <p:nvPr/>
              </p:nvSpPr>
              <p:spPr bwMode="auto">
                <a:xfrm>
                  <a:off x="4121000" y="3063847"/>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2" name="Oval 427"/>
                <p:cNvSpPr>
                  <a:spLocks noChangeArrowheads="1"/>
                </p:cNvSpPr>
                <p:nvPr/>
              </p:nvSpPr>
              <p:spPr bwMode="auto">
                <a:xfrm>
                  <a:off x="4330026" y="285765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3" name="Oval 437"/>
                <p:cNvSpPr>
                  <a:spLocks noChangeArrowheads="1"/>
                </p:cNvSpPr>
                <p:nvPr/>
              </p:nvSpPr>
              <p:spPr bwMode="auto">
                <a:xfrm>
                  <a:off x="4434185" y="2546597"/>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4" name="Oval 439"/>
                <p:cNvSpPr>
                  <a:spLocks noChangeArrowheads="1"/>
                </p:cNvSpPr>
                <p:nvPr/>
              </p:nvSpPr>
              <p:spPr bwMode="auto">
                <a:xfrm>
                  <a:off x="4434185" y="2754206"/>
                  <a:ext cx="93530"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5" name="Oval 442"/>
                <p:cNvSpPr>
                  <a:spLocks noChangeArrowheads="1"/>
                </p:cNvSpPr>
                <p:nvPr/>
              </p:nvSpPr>
              <p:spPr bwMode="auto">
                <a:xfrm>
                  <a:off x="4434185" y="306384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6" name="Oval 464"/>
                <p:cNvSpPr>
                  <a:spLocks noChangeArrowheads="1"/>
                </p:cNvSpPr>
                <p:nvPr/>
              </p:nvSpPr>
              <p:spPr bwMode="auto">
                <a:xfrm>
                  <a:off x="4539052" y="337490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7" name="Oval 699"/>
                <p:cNvSpPr>
                  <a:spLocks noChangeArrowheads="1"/>
                </p:cNvSpPr>
                <p:nvPr/>
              </p:nvSpPr>
              <p:spPr bwMode="auto">
                <a:xfrm>
                  <a:off x="5794625" y="275420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8" name="Oval 705"/>
                <p:cNvSpPr>
                  <a:spLocks noChangeArrowheads="1"/>
                </p:cNvSpPr>
                <p:nvPr/>
              </p:nvSpPr>
              <p:spPr bwMode="auto">
                <a:xfrm>
                  <a:off x="5898783" y="151067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9" name="Oval 708"/>
                <p:cNvSpPr>
                  <a:spLocks noChangeArrowheads="1"/>
                </p:cNvSpPr>
                <p:nvPr/>
              </p:nvSpPr>
              <p:spPr bwMode="auto">
                <a:xfrm>
                  <a:off x="5898783" y="182173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0" name="Oval 714"/>
                <p:cNvSpPr>
                  <a:spLocks noChangeArrowheads="1"/>
                </p:cNvSpPr>
                <p:nvPr/>
              </p:nvSpPr>
              <p:spPr bwMode="auto">
                <a:xfrm>
                  <a:off x="5898783" y="2443147"/>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1" name="Oval 718"/>
                <p:cNvSpPr>
                  <a:spLocks noChangeArrowheads="1"/>
                </p:cNvSpPr>
                <p:nvPr/>
              </p:nvSpPr>
              <p:spPr bwMode="auto">
                <a:xfrm>
                  <a:off x="5898783" y="306384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2" name="Oval 719"/>
                <p:cNvSpPr>
                  <a:spLocks noChangeArrowheads="1"/>
                </p:cNvSpPr>
                <p:nvPr/>
              </p:nvSpPr>
              <p:spPr bwMode="auto">
                <a:xfrm>
                  <a:off x="6003651" y="1096878"/>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3" name="Oval 738"/>
                <p:cNvSpPr>
                  <a:spLocks noChangeArrowheads="1"/>
                </p:cNvSpPr>
                <p:nvPr/>
              </p:nvSpPr>
              <p:spPr bwMode="auto">
                <a:xfrm>
                  <a:off x="6107809" y="130448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4" name="Oval 748"/>
                <p:cNvSpPr>
                  <a:spLocks noChangeArrowheads="1"/>
                </p:cNvSpPr>
                <p:nvPr/>
              </p:nvSpPr>
              <p:spPr bwMode="auto">
                <a:xfrm>
                  <a:off x="6107809" y="233898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5" name="Oval 751"/>
                <p:cNvSpPr>
                  <a:spLocks noChangeArrowheads="1"/>
                </p:cNvSpPr>
                <p:nvPr/>
              </p:nvSpPr>
              <p:spPr bwMode="auto">
                <a:xfrm>
                  <a:off x="6107809" y="265075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6" name="Oval 781"/>
                <p:cNvSpPr>
                  <a:spLocks noChangeArrowheads="1"/>
                </p:cNvSpPr>
                <p:nvPr/>
              </p:nvSpPr>
              <p:spPr bwMode="auto">
                <a:xfrm>
                  <a:off x="6316835" y="1614129"/>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7" name="Oval 799"/>
                <p:cNvSpPr>
                  <a:spLocks noChangeArrowheads="1"/>
                </p:cNvSpPr>
                <p:nvPr/>
              </p:nvSpPr>
              <p:spPr bwMode="auto">
                <a:xfrm>
                  <a:off x="6422411" y="130448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8" name="Oval 837"/>
                <p:cNvSpPr>
                  <a:spLocks noChangeArrowheads="1"/>
                </p:cNvSpPr>
                <p:nvPr/>
              </p:nvSpPr>
              <p:spPr bwMode="auto">
                <a:xfrm>
                  <a:off x="6526570" y="3788707"/>
                  <a:ext cx="91405"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9" name="Oval 870"/>
                <p:cNvSpPr>
                  <a:spLocks noChangeArrowheads="1"/>
                </p:cNvSpPr>
                <p:nvPr/>
              </p:nvSpPr>
              <p:spPr bwMode="auto">
                <a:xfrm>
                  <a:off x="6735596" y="1925895"/>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0" name="Oval 899"/>
                <p:cNvSpPr>
                  <a:spLocks noChangeArrowheads="1"/>
                </p:cNvSpPr>
                <p:nvPr/>
              </p:nvSpPr>
              <p:spPr bwMode="auto">
                <a:xfrm>
                  <a:off x="6841171" y="368454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1" name="Oval 927"/>
                <p:cNvSpPr>
                  <a:spLocks noChangeArrowheads="1"/>
                </p:cNvSpPr>
                <p:nvPr/>
              </p:nvSpPr>
              <p:spPr bwMode="auto">
                <a:xfrm>
                  <a:off x="7050197" y="1821737"/>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2" name="Oval 940"/>
                <p:cNvSpPr>
                  <a:spLocks noChangeArrowheads="1"/>
                </p:cNvSpPr>
                <p:nvPr/>
              </p:nvSpPr>
              <p:spPr bwMode="auto">
                <a:xfrm>
                  <a:off x="7050197" y="3996316"/>
                  <a:ext cx="92113"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3" name="Oval 961"/>
                <p:cNvSpPr>
                  <a:spLocks noChangeArrowheads="1"/>
                </p:cNvSpPr>
                <p:nvPr/>
              </p:nvSpPr>
              <p:spPr bwMode="auto">
                <a:xfrm>
                  <a:off x="7257806" y="368454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4" name="Oval 972"/>
                <p:cNvSpPr>
                  <a:spLocks noChangeArrowheads="1"/>
                </p:cNvSpPr>
                <p:nvPr/>
              </p:nvSpPr>
              <p:spPr bwMode="auto">
                <a:xfrm>
                  <a:off x="7363382"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5" name="Oval 976"/>
                <p:cNvSpPr>
                  <a:spLocks noChangeArrowheads="1"/>
                </p:cNvSpPr>
                <p:nvPr/>
              </p:nvSpPr>
              <p:spPr bwMode="auto">
                <a:xfrm>
                  <a:off x="7466832" y="1614128"/>
                  <a:ext cx="93530"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6" name="Oval 989"/>
                <p:cNvSpPr>
                  <a:spLocks noChangeArrowheads="1"/>
                </p:cNvSpPr>
                <p:nvPr/>
              </p:nvSpPr>
              <p:spPr bwMode="auto">
                <a:xfrm>
                  <a:off x="7675858" y="3996316"/>
                  <a:ext cx="94239" cy="89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7" name="Oval 76"/>
                <p:cNvSpPr>
                  <a:spLocks noChangeArrowheads="1"/>
                </p:cNvSpPr>
                <p:nvPr/>
              </p:nvSpPr>
              <p:spPr bwMode="auto">
                <a:xfrm>
                  <a:off x="7781434" y="1510678"/>
                  <a:ext cx="92113" cy="92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8" name="Oval 162"/>
                <p:cNvSpPr>
                  <a:spLocks noChangeArrowheads="1"/>
                </p:cNvSpPr>
                <p:nvPr/>
              </p:nvSpPr>
              <p:spPr bwMode="auto">
                <a:xfrm>
                  <a:off x="2552242" y="2029346"/>
                  <a:ext cx="92113" cy="9069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grpSp>
        <p:sp>
          <p:nvSpPr>
            <p:cNvPr id="10" name="Title 1"/>
            <p:cNvSpPr txBox="1">
              <a:spLocks/>
            </p:cNvSpPr>
            <p:nvPr/>
          </p:nvSpPr>
          <p:spPr>
            <a:xfrm>
              <a:off x="570269" y="2619646"/>
              <a:ext cx="803232" cy="198516"/>
            </a:xfrm>
            <a:prstGeom prst="rect">
              <a:avLst/>
            </a:prstGeom>
            <a:solidFill>
              <a:schemeClr val="bg1"/>
            </a:solidFill>
            <a:ln>
              <a:solidFill>
                <a:schemeClr val="accent1"/>
              </a:solidFill>
            </a:ln>
          </p:spPr>
          <p:txBody>
            <a:bodyPr wrap="none" lIns="36576" tIns="18288" rIns="36576" bIns="18288" anchor="t" anchorCtr="0">
              <a:spAutoFit/>
            </a:bodyPr>
            <a:lstStyle>
              <a:lvl1pPr algn="l" defTabSz="914400" rtl="0" eaLnBrk="1" latinLnBrk="0" hangingPunct="1">
                <a:lnSpc>
                  <a:spcPct val="100000"/>
                </a:lnSpc>
                <a:spcBef>
                  <a:spcPct val="0"/>
                </a:spcBef>
                <a:buNone/>
                <a:defRPr sz="2200" i="0" kern="1200" cap="all" baseline="0">
                  <a:solidFill>
                    <a:schemeClr val="tx1"/>
                  </a:solidFill>
                  <a:latin typeface="+mj-lt"/>
                  <a:ea typeface="+mj-ea"/>
                  <a:cs typeface="+mj-cs"/>
                </a:defRPr>
              </a:lvl1pPr>
            </a:lstStyle>
            <a:p>
              <a:pPr algn="ctr"/>
              <a:r>
                <a:rPr lang="en-US" sz="1050" cap="none" dirty="0" smtClean="0">
                  <a:solidFill>
                    <a:srgbClr val="000000"/>
                  </a:solidFill>
                </a:rPr>
                <a:t>Kansas City</a:t>
              </a:r>
              <a:endParaRPr lang="en-US" sz="1050" cap="none" dirty="0">
                <a:solidFill>
                  <a:srgbClr val="000000"/>
                </a:solidFill>
              </a:endParaRPr>
            </a:p>
          </p:txBody>
        </p:sp>
        <p:sp>
          <p:nvSpPr>
            <p:cNvPr id="11" name="Title 1"/>
            <p:cNvSpPr txBox="1">
              <a:spLocks/>
            </p:cNvSpPr>
            <p:nvPr/>
          </p:nvSpPr>
          <p:spPr>
            <a:xfrm>
              <a:off x="1361762" y="2116923"/>
              <a:ext cx="926664" cy="206210"/>
            </a:xfrm>
            <a:prstGeom prst="rect">
              <a:avLst/>
            </a:prstGeom>
            <a:solidFill>
              <a:schemeClr val="bg1"/>
            </a:solidFill>
            <a:ln>
              <a:solidFill>
                <a:schemeClr val="accent1"/>
              </a:solidFill>
            </a:ln>
          </p:spPr>
          <p:txBody>
            <a:bodyPr wrap="none" lIns="36576" tIns="18288" rIns="36576" bIns="18288" anchor="t" anchorCtr="0">
              <a:spAutoFit/>
            </a:bodyPr>
            <a:lstStyle>
              <a:lvl1pPr algn="l" defTabSz="914400" rtl="0" eaLnBrk="1" latinLnBrk="0" hangingPunct="1">
                <a:lnSpc>
                  <a:spcPct val="100000"/>
                </a:lnSpc>
                <a:spcBef>
                  <a:spcPct val="0"/>
                </a:spcBef>
                <a:buNone/>
                <a:defRPr sz="2200" i="0" kern="1200" cap="all" baseline="0">
                  <a:solidFill>
                    <a:schemeClr val="tx1"/>
                  </a:solidFill>
                  <a:latin typeface="+mj-lt"/>
                  <a:ea typeface="+mj-ea"/>
                  <a:cs typeface="+mj-cs"/>
                </a:defRPr>
              </a:lvl1pPr>
            </a:lstStyle>
            <a:p>
              <a:pPr algn="ctr"/>
              <a:r>
                <a:rPr lang="en-US" sz="1050" cap="none" dirty="0" smtClean="0">
                  <a:solidFill>
                    <a:srgbClr val="000000"/>
                  </a:solidFill>
                </a:rPr>
                <a:t>Schenectady</a:t>
              </a:r>
              <a:endParaRPr lang="en-US" sz="1050" cap="none" dirty="0">
                <a:solidFill>
                  <a:srgbClr val="000000"/>
                </a:solidFill>
              </a:endParaRPr>
            </a:p>
          </p:txBody>
        </p:sp>
        <p:sp>
          <p:nvSpPr>
            <p:cNvPr id="12" name="Title 1"/>
            <p:cNvSpPr txBox="1">
              <a:spLocks/>
            </p:cNvSpPr>
            <p:nvPr/>
          </p:nvSpPr>
          <p:spPr>
            <a:xfrm>
              <a:off x="2448509" y="1900846"/>
              <a:ext cx="876971" cy="198516"/>
            </a:xfrm>
            <a:prstGeom prst="rect">
              <a:avLst/>
            </a:prstGeom>
            <a:solidFill>
              <a:schemeClr val="bg1"/>
            </a:solidFill>
            <a:ln>
              <a:solidFill>
                <a:schemeClr val="accent1"/>
              </a:solidFill>
            </a:ln>
          </p:spPr>
          <p:txBody>
            <a:bodyPr wrap="none" lIns="36576" tIns="18288" rIns="36576" bIns="18288" anchor="t" anchorCtr="0">
              <a:spAutoFit/>
            </a:bodyPr>
            <a:lstStyle>
              <a:lvl1pPr algn="l" defTabSz="914400" rtl="0" eaLnBrk="1" latinLnBrk="0" hangingPunct="1">
                <a:lnSpc>
                  <a:spcPct val="100000"/>
                </a:lnSpc>
                <a:spcBef>
                  <a:spcPct val="0"/>
                </a:spcBef>
                <a:buNone/>
                <a:defRPr sz="2200" i="0" kern="1200" cap="all" baseline="0">
                  <a:solidFill>
                    <a:schemeClr val="tx1"/>
                  </a:solidFill>
                  <a:latin typeface="+mj-lt"/>
                  <a:ea typeface="+mj-ea"/>
                  <a:cs typeface="+mj-cs"/>
                </a:defRPr>
              </a:lvl1pPr>
            </a:lstStyle>
            <a:p>
              <a:pPr algn="ctr"/>
              <a:r>
                <a:rPr lang="en-US" sz="1050" cap="none" dirty="0" smtClean="0">
                  <a:solidFill>
                    <a:srgbClr val="000000"/>
                  </a:solidFill>
                </a:rPr>
                <a:t>Copenhagen</a:t>
              </a:r>
              <a:endParaRPr lang="en-US" sz="1050" cap="none" dirty="0">
                <a:solidFill>
                  <a:srgbClr val="000000"/>
                </a:solidFill>
              </a:endParaRPr>
            </a:p>
          </p:txBody>
        </p:sp>
        <p:sp>
          <p:nvSpPr>
            <p:cNvPr id="13" name="Title 1"/>
            <p:cNvSpPr txBox="1">
              <a:spLocks/>
            </p:cNvSpPr>
            <p:nvPr/>
          </p:nvSpPr>
          <p:spPr>
            <a:xfrm>
              <a:off x="3384051" y="2135453"/>
              <a:ext cx="562783" cy="206210"/>
            </a:xfrm>
            <a:prstGeom prst="rect">
              <a:avLst/>
            </a:prstGeom>
            <a:solidFill>
              <a:schemeClr val="bg1"/>
            </a:solidFill>
            <a:ln>
              <a:solidFill>
                <a:schemeClr val="accent1"/>
              </a:solidFill>
            </a:ln>
          </p:spPr>
          <p:txBody>
            <a:bodyPr wrap="none" lIns="36576" tIns="18288" rIns="36576" bIns="18288" anchor="t" anchorCtr="0">
              <a:spAutoFit/>
            </a:bodyPr>
            <a:lstStyle>
              <a:lvl1pPr algn="l" defTabSz="914400" rtl="0" eaLnBrk="1" latinLnBrk="0" hangingPunct="1">
                <a:lnSpc>
                  <a:spcPct val="100000"/>
                </a:lnSpc>
                <a:spcBef>
                  <a:spcPct val="0"/>
                </a:spcBef>
                <a:buNone/>
                <a:defRPr sz="2200" i="0" kern="1200" cap="all" baseline="0">
                  <a:solidFill>
                    <a:schemeClr val="tx1"/>
                  </a:solidFill>
                  <a:latin typeface="+mj-lt"/>
                  <a:ea typeface="+mj-ea"/>
                  <a:cs typeface="+mj-cs"/>
                </a:defRPr>
              </a:lvl1pPr>
            </a:lstStyle>
            <a:p>
              <a:pPr algn="ctr"/>
              <a:r>
                <a:rPr lang="en-US" sz="1050" cap="none" dirty="0" err="1" smtClean="0">
                  <a:solidFill>
                    <a:srgbClr val="000000"/>
                  </a:solidFill>
                </a:rPr>
                <a:t>Trencin</a:t>
              </a:r>
              <a:endParaRPr lang="en-US" sz="1050" cap="none" dirty="0">
                <a:solidFill>
                  <a:srgbClr val="000000"/>
                </a:solidFill>
              </a:endParaRPr>
            </a:p>
          </p:txBody>
        </p:sp>
        <p:sp>
          <p:nvSpPr>
            <p:cNvPr id="14" name="Title 1"/>
            <p:cNvSpPr txBox="1">
              <a:spLocks/>
            </p:cNvSpPr>
            <p:nvPr/>
          </p:nvSpPr>
          <p:spPr>
            <a:xfrm>
              <a:off x="2391795" y="2475382"/>
              <a:ext cx="396070" cy="206210"/>
            </a:xfrm>
            <a:prstGeom prst="rect">
              <a:avLst/>
            </a:prstGeom>
            <a:solidFill>
              <a:schemeClr val="bg1"/>
            </a:solidFill>
            <a:ln>
              <a:solidFill>
                <a:schemeClr val="accent1"/>
              </a:solidFill>
            </a:ln>
          </p:spPr>
          <p:txBody>
            <a:bodyPr wrap="none" lIns="36576" tIns="18288" rIns="36576" bIns="18288" anchor="t" anchorCtr="0">
              <a:spAutoFit/>
            </a:bodyPr>
            <a:lstStyle>
              <a:lvl1pPr algn="l" defTabSz="914400" rtl="0" eaLnBrk="1" latinLnBrk="0" hangingPunct="1">
                <a:lnSpc>
                  <a:spcPct val="100000"/>
                </a:lnSpc>
                <a:spcBef>
                  <a:spcPct val="0"/>
                </a:spcBef>
                <a:buNone/>
                <a:defRPr sz="2200" i="0" kern="1200" cap="all" baseline="0">
                  <a:solidFill>
                    <a:schemeClr val="tx1"/>
                  </a:solidFill>
                  <a:latin typeface="+mj-lt"/>
                  <a:ea typeface="+mj-ea"/>
                  <a:cs typeface="+mj-cs"/>
                </a:defRPr>
              </a:lvl1pPr>
            </a:lstStyle>
            <a:p>
              <a:pPr algn="ctr"/>
              <a:r>
                <a:rPr lang="en-US" sz="1050" cap="none" dirty="0" smtClean="0">
                  <a:solidFill>
                    <a:srgbClr val="000000"/>
                  </a:solidFill>
                </a:rPr>
                <a:t>Paris</a:t>
              </a:r>
              <a:endParaRPr lang="en-US" sz="1050" cap="none" dirty="0">
                <a:solidFill>
                  <a:srgbClr val="000000"/>
                </a:solidFill>
              </a:endParaRPr>
            </a:p>
          </p:txBody>
        </p:sp>
        <p:sp>
          <p:nvSpPr>
            <p:cNvPr id="15" name="Title 1"/>
            <p:cNvSpPr txBox="1">
              <a:spLocks/>
            </p:cNvSpPr>
            <p:nvPr/>
          </p:nvSpPr>
          <p:spPr>
            <a:xfrm>
              <a:off x="2823214" y="2391313"/>
              <a:ext cx="665374" cy="198516"/>
            </a:xfrm>
            <a:prstGeom prst="rect">
              <a:avLst/>
            </a:prstGeom>
            <a:solidFill>
              <a:schemeClr val="bg1"/>
            </a:solidFill>
            <a:ln>
              <a:solidFill>
                <a:schemeClr val="accent1"/>
              </a:solidFill>
            </a:ln>
          </p:spPr>
          <p:txBody>
            <a:bodyPr wrap="none" lIns="36576" tIns="18288" rIns="36576" bIns="18288" anchor="t" anchorCtr="0">
              <a:spAutoFit/>
            </a:bodyPr>
            <a:lstStyle>
              <a:lvl1pPr algn="l" defTabSz="914400" rtl="0" eaLnBrk="1" latinLnBrk="0" hangingPunct="1">
                <a:lnSpc>
                  <a:spcPct val="100000"/>
                </a:lnSpc>
                <a:spcBef>
                  <a:spcPct val="0"/>
                </a:spcBef>
                <a:buNone/>
                <a:defRPr sz="2200" i="0" kern="1200" cap="all" baseline="0">
                  <a:solidFill>
                    <a:schemeClr val="tx1"/>
                  </a:solidFill>
                  <a:latin typeface="+mj-lt"/>
                  <a:ea typeface="+mj-ea"/>
                  <a:cs typeface="+mj-cs"/>
                </a:defRPr>
              </a:lvl1pPr>
            </a:lstStyle>
            <a:p>
              <a:pPr algn="ctr"/>
              <a:r>
                <a:rPr lang="en-US" sz="1050" cap="none" dirty="0" smtClean="0">
                  <a:solidFill>
                    <a:srgbClr val="000000"/>
                  </a:solidFill>
                </a:rPr>
                <a:t>Budapest</a:t>
              </a:r>
              <a:endParaRPr lang="en-US" sz="1050" cap="none" dirty="0">
                <a:solidFill>
                  <a:srgbClr val="000000"/>
                </a:solidFill>
              </a:endParaRPr>
            </a:p>
          </p:txBody>
        </p:sp>
        <p:sp>
          <p:nvSpPr>
            <p:cNvPr id="16" name="Title 1"/>
            <p:cNvSpPr txBox="1">
              <a:spLocks/>
            </p:cNvSpPr>
            <p:nvPr/>
          </p:nvSpPr>
          <p:spPr>
            <a:xfrm>
              <a:off x="3183117" y="2654472"/>
              <a:ext cx="431336" cy="198516"/>
            </a:xfrm>
            <a:prstGeom prst="rect">
              <a:avLst/>
            </a:prstGeom>
            <a:solidFill>
              <a:schemeClr val="bg1"/>
            </a:solidFill>
            <a:ln>
              <a:solidFill>
                <a:schemeClr val="accent1"/>
              </a:solidFill>
            </a:ln>
          </p:spPr>
          <p:txBody>
            <a:bodyPr wrap="none" lIns="36576" tIns="18288" rIns="36576" bIns="18288" anchor="t" anchorCtr="0">
              <a:spAutoFit/>
            </a:bodyPr>
            <a:lstStyle>
              <a:lvl1pPr algn="l" defTabSz="914400" rtl="0" eaLnBrk="1" latinLnBrk="0" hangingPunct="1">
                <a:lnSpc>
                  <a:spcPct val="100000"/>
                </a:lnSpc>
                <a:spcBef>
                  <a:spcPct val="0"/>
                </a:spcBef>
                <a:buNone/>
                <a:defRPr sz="2200" i="0" kern="1200" cap="all" baseline="0">
                  <a:solidFill>
                    <a:schemeClr val="tx1"/>
                  </a:solidFill>
                  <a:latin typeface="+mj-lt"/>
                  <a:ea typeface="+mj-ea"/>
                  <a:cs typeface="+mj-cs"/>
                </a:defRPr>
              </a:lvl1pPr>
            </a:lstStyle>
            <a:p>
              <a:pPr algn="ctr"/>
              <a:r>
                <a:rPr lang="en-US" sz="1050" cap="none" dirty="0" smtClean="0">
                  <a:solidFill>
                    <a:srgbClr val="000000"/>
                  </a:solidFill>
                </a:rPr>
                <a:t>Dubai</a:t>
              </a:r>
              <a:endParaRPr lang="en-US" sz="1050" cap="none" dirty="0">
                <a:solidFill>
                  <a:srgbClr val="000000"/>
                </a:solidFill>
              </a:endParaRPr>
            </a:p>
          </p:txBody>
        </p:sp>
        <p:sp>
          <p:nvSpPr>
            <p:cNvPr id="17" name="Title 1"/>
            <p:cNvSpPr txBox="1">
              <a:spLocks/>
            </p:cNvSpPr>
            <p:nvPr/>
          </p:nvSpPr>
          <p:spPr>
            <a:xfrm>
              <a:off x="3956603" y="2531429"/>
              <a:ext cx="456984" cy="198516"/>
            </a:xfrm>
            <a:prstGeom prst="rect">
              <a:avLst/>
            </a:prstGeom>
            <a:solidFill>
              <a:schemeClr val="bg1"/>
            </a:solidFill>
            <a:ln>
              <a:solidFill>
                <a:schemeClr val="accent1"/>
              </a:solidFill>
            </a:ln>
          </p:spPr>
          <p:txBody>
            <a:bodyPr wrap="none" lIns="36576" tIns="18288" rIns="36576" bIns="18288" anchor="t" anchorCtr="0">
              <a:spAutoFit/>
            </a:bodyPr>
            <a:lstStyle>
              <a:lvl1pPr algn="l" defTabSz="914400" rtl="0" eaLnBrk="1" latinLnBrk="0" hangingPunct="1">
                <a:lnSpc>
                  <a:spcPct val="100000"/>
                </a:lnSpc>
                <a:spcBef>
                  <a:spcPct val="0"/>
                </a:spcBef>
                <a:buNone/>
                <a:defRPr sz="2200" i="0" kern="1200" cap="all" baseline="0">
                  <a:solidFill>
                    <a:schemeClr val="tx1"/>
                  </a:solidFill>
                  <a:latin typeface="+mj-lt"/>
                  <a:ea typeface="+mj-ea"/>
                  <a:cs typeface="+mj-cs"/>
                </a:defRPr>
              </a:lvl1pPr>
            </a:lstStyle>
            <a:p>
              <a:pPr algn="ctr"/>
              <a:r>
                <a:rPr lang="en-US" sz="1050" cap="none" dirty="0" smtClean="0">
                  <a:solidFill>
                    <a:srgbClr val="000000"/>
                  </a:solidFill>
                </a:rPr>
                <a:t>Jaipur</a:t>
              </a:r>
              <a:endParaRPr lang="en-US" sz="1050" cap="none" dirty="0">
                <a:solidFill>
                  <a:srgbClr val="000000"/>
                </a:solidFill>
              </a:endParaRPr>
            </a:p>
          </p:txBody>
        </p:sp>
        <p:sp>
          <p:nvSpPr>
            <p:cNvPr id="18" name="Title 1"/>
            <p:cNvSpPr txBox="1">
              <a:spLocks/>
            </p:cNvSpPr>
            <p:nvPr/>
          </p:nvSpPr>
          <p:spPr>
            <a:xfrm>
              <a:off x="3463187" y="2914146"/>
              <a:ext cx="572400" cy="198516"/>
            </a:xfrm>
            <a:prstGeom prst="rect">
              <a:avLst/>
            </a:prstGeom>
            <a:solidFill>
              <a:schemeClr val="bg1"/>
            </a:solidFill>
            <a:ln>
              <a:solidFill>
                <a:schemeClr val="accent1"/>
              </a:solidFill>
            </a:ln>
          </p:spPr>
          <p:txBody>
            <a:bodyPr wrap="none" lIns="36576" tIns="18288" rIns="36576" bIns="18288" anchor="t" anchorCtr="0">
              <a:spAutoFit/>
            </a:bodyPr>
            <a:lstStyle>
              <a:lvl1pPr algn="l" defTabSz="914400" rtl="0" eaLnBrk="1" latinLnBrk="0" hangingPunct="1">
                <a:lnSpc>
                  <a:spcPct val="100000"/>
                </a:lnSpc>
                <a:spcBef>
                  <a:spcPct val="0"/>
                </a:spcBef>
                <a:buNone/>
                <a:defRPr sz="2200" i="0" kern="1200" cap="all" baseline="0">
                  <a:solidFill>
                    <a:schemeClr val="tx1"/>
                  </a:solidFill>
                  <a:latin typeface="+mj-lt"/>
                  <a:ea typeface="+mj-ea"/>
                  <a:cs typeface="+mj-cs"/>
                </a:defRPr>
              </a:lvl1pPr>
            </a:lstStyle>
            <a:p>
              <a:pPr algn="ctr"/>
              <a:r>
                <a:rPr lang="en-US" sz="1050" cap="none" dirty="0" smtClean="0">
                  <a:solidFill>
                    <a:srgbClr val="000000"/>
                  </a:solidFill>
                </a:rPr>
                <a:t>Mumbai</a:t>
              </a:r>
              <a:endParaRPr lang="en-US" sz="1050" cap="none" dirty="0">
                <a:solidFill>
                  <a:srgbClr val="000000"/>
                </a:solidFill>
              </a:endParaRPr>
            </a:p>
          </p:txBody>
        </p:sp>
        <p:sp>
          <p:nvSpPr>
            <p:cNvPr id="19" name="Title 1"/>
            <p:cNvSpPr txBox="1">
              <a:spLocks/>
            </p:cNvSpPr>
            <p:nvPr/>
          </p:nvSpPr>
          <p:spPr>
            <a:xfrm>
              <a:off x="4552977" y="3493485"/>
              <a:ext cx="626903" cy="198516"/>
            </a:xfrm>
            <a:prstGeom prst="rect">
              <a:avLst/>
            </a:prstGeom>
            <a:solidFill>
              <a:schemeClr val="bg1"/>
            </a:solidFill>
            <a:ln>
              <a:solidFill>
                <a:schemeClr val="accent1"/>
              </a:solidFill>
            </a:ln>
          </p:spPr>
          <p:txBody>
            <a:bodyPr wrap="none" lIns="36576" tIns="18288" rIns="36576" bIns="18288" anchor="t" anchorCtr="0">
              <a:spAutoFit/>
            </a:bodyPr>
            <a:lstStyle>
              <a:lvl1pPr algn="l" defTabSz="914400" rtl="0" eaLnBrk="1" latinLnBrk="0" hangingPunct="1">
                <a:lnSpc>
                  <a:spcPct val="100000"/>
                </a:lnSpc>
                <a:spcBef>
                  <a:spcPct val="0"/>
                </a:spcBef>
                <a:buNone/>
                <a:defRPr sz="2200" i="0" kern="1200" cap="all" baseline="0">
                  <a:solidFill>
                    <a:schemeClr val="tx1"/>
                  </a:solidFill>
                  <a:latin typeface="+mj-lt"/>
                  <a:ea typeface="+mj-ea"/>
                  <a:cs typeface="+mj-cs"/>
                </a:defRPr>
              </a:lvl1pPr>
            </a:lstStyle>
            <a:p>
              <a:pPr algn="ctr"/>
              <a:r>
                <a:rPr lang="en-US" sz="1050" cap="none" dirty="0" smtClean="0">
                  <a:solidFill>
                    <a:srgbClr val="000000"/>
                  </a:solidFill>
                </a:rPr>
                <a:t>Adelaide</a:t>
              </a:r>
              <a:endParaRPr lang="en-US" sz="1050" cap="none" dirty="0">
                <a:solidFill>
                  <a:srgbClr val="000000"/>
                </a:solidFill>
              </a:endParaRPr>
            </a:p>
          </p:txBody>
        </p:sp>
        <p:sp>
          <p:nvSpPr>
            <p:cNvPr id="20" name="Oval 273"/>
            <p:cNvSpPr>
              <a:spLocks noChangeArrowheads="1"/>
            </p:cNvSpPr>
            <p:nvPr/>
          </p:nvSpPr>
          <p:spPr bwMode="auto">
            <a:xfrm>
              <a:off x="1769135" y="2358179"/>
              <a:ext cx="65448" cy="6494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1" name="Oval 419"/>
            <p:cNvSpPr>
              <a:spLocks noChangeArrowheads="1"/>
            </p:cNvSpPr>
            <p:nvPr/>
          </p:nvSpPr>
          <p:spPr bwMode="auto">
            <a:xfrm>
              <a:off x="2667651" y="2358180"/>
              <a:ext cx="65955" cy="6494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2" name="Oval 449"/>
            <p:cNvSpPr>
              <a:spLocks noChangeArrowheads="1"/>
            </p:cNvSpPr>
            <p:nvPr/>
          </p:nvSpPr>
          <p:spPr bwMode="auto">
            <a:xfrm>
              <a:off x="2817319" y="2135454"/>
              <a:ext cx="65955" cy="6443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3" name="Oval 528"/>
            <p:cNvSpPr>
              <a:spLocks noChangeArrowheads="1"/>
            </p:cNvSpPr>
            <p:nvPr/>
          </p:nvSpPr>
          <p:spPr bwMode="auto">
            <a:xfrm>
              <a:off x="3041567" y="2284107"/>
              <a:ext cx="67478" cy="6443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4" name="Oval 592"/>
            <p:cNvSpPr>
              <a:spLocks noChangeArrowheads="1"/>
            </p:cNvSpPr>
            <p:nvPr/>
          </p:nvSpPr>
          <p:spPr bwMode="auto">
            <a:xfrm>
              <a:off x="3266831" y="2284107"/>
              <a:ext cx="65955" cy="6443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5" name="Oval 680"/>
            <p:cNvSpPr>
              <a:spLocks noChangeArrowheads="1"/>
            </p:cNvSpPr>
            <p:nvPr/>
          </p:nvSpPr>
          <p:spPr bwMode="auto">
            <a:xfrm>
              <a:off x="3640747" y="2654472"/>
              <a:ext cx="65955" cy="6443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6" name="Oval 698"/>
            <p:cNvSpPr>
              <a:spLocks noChangeArrowheads="1"/>
            </p:cNvSpPr>
            <p:nvPr/>
          </p:nvSpPr>
          <p:spPr bwMode="auto">
            <a:xfrm>
              <a:off x="3716342" y="2803126"/>
              <a:ext cx="65955" cy="6443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7" name="Oval 732"/>
            <p:cNvSpPr>
              <a:spLocks noChangeArrowheads="1"/>
            </p:cNvSpPr>
            <p:nvPr/>
          </p:nvSpPr>
          <p:spPr bwMode="auto">
            <a:xfrm>
              <a:off x="3866011" y="2654472"/>
              <a:ext cx="65955" cy="6443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8" name="Oval 953"/>
            <p:cNvSpPr>
              <a:spLocks noChangeArrowheads="1"/>
            </p:cNvSpPr>
            <p:nvPr/>
          </p:nvSpPr>
          <p:spPr bwMode="auto">
            <a:xfrm>
              <a:off x="4689438" y="3692001"/>
              <a:ext cx="65955" cy="6595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9" name="Oval 132"/>
            <p:cNvSpPr>
              <a:spLocks noChangeArrowheads="1"/>
            </p:cNvSpPr>
            <p:nvPr/>
          </p:nvSpPr>
          <p:spPr bwMode="auto">
            <a:xfrm>
              <a:off x="1245043" y="2505819"/>
              <a:ext cx="65955" cy="6595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0" name="Title 1"/>
            <p:cNvSpPr txBox="1">
              <a:spLocks/>
            </p:cNvSpPr>
            <p:nvPr/>
          </p:nvSpPr>
          <p:spPr>
            <a:xfrm>
              <a:off x="3212763" y="2533822"/>
              <a:ext cx="702244" cy="161583"/>
            </a:xfrm>
            <a:prstGeom prst="rect">
              <a:avLst/>
            </a:prstGeom>
            <a:solidFill>
              <a:schemeClr val="bg1"/>
            </a:solidFill>
            <a:ln>
              <a:solidFill>
                <a:schemeClr val="accent1"/>
              </a:solidFill>
            </a:ln>
          </p:spPr>
          <p:txBody>
            <a:bodyPr wrap="none" lIns="36576" tIns="0" rIns="36576" bIns="0" anchor="t" anchorCtr="0">
              <a:spAutoFit/>
            </a:bodyPr>
            <a:lstStyle>
              <a:lvl1pPr algn="l" defTabSz="914400" rtl="0" eaLnBrk="1" latinLnBrk="0" hangingPunct="1">
                <a:lnSpc>
                  <a:spcPct val="100000"/>
                </a:lnSpc>
                <a:spcBef>
                  <a:spcPct val="0"/>
                </a:spcBef>
                <a:buNone/>
                <a:defRPr sz="2200" i="0" kern="1200" cap="all" baseline="0">
                  <a:solidFill>
                    <a:schemeClr val="tx1"/>
                  </a:solidFill>
                  <a:latin typeface="+mj-lt"/>
                  <a:ea typeface="+mj-ea"/>
                  <a:cs typeface="+mj-cs"/>
                </a:defRPr>
              </a:lvl1pPr>
            </a:lstStyle>
            <a:p>
              <a:pPr algn="ctr"/>
              <a:r>
                <a:rPr lang="en-US" sz="1050" cap="none" dirty="0">
                  <a:solidFill>
                    <a:srgbClr val="000000"/>
                  </a:solidFill>
                </a:rPr>
                <a:t>Dubrovnik</a:t>
              </a:r>
            </a:p>
          </p:txBody>
        </p:sp>
      </p:grpSp>
      <p:sp>
        <p:nvSpPr>
          <p:cNvPr id="2" name="Title 1"/>
          <p:cNvSpPr>
            <a:spLocks noGrp="1"/>
          </p:cNvSpPr>
          <p:nvPr>
            <p:ph type="title"/>
          </p:nvPr>
        </p:nvSpPr>
        <p:spPr>
          <a:xfrm>
            <a:off x="399257" y="152929"/>
            <a:ext cx="8345488" cy="731837"/>
          </a:xfrm>
        </p:spPr>
        <p:txBody>
          <a:bodyPr/>
          <a:lstStyle/>
          <a:p>
            <a:r>
              <a:rPr lang="en-US" dirty="0" smtClean="0"/>
              <a:t>Cisco &amp; SPs Enabling New</a:t>
            </a:r>
            <a:br>
              <a:rPr lang="en-US" dirty="0" smtClean="0"/>
            </a:br>
            <a:r>
              <a:rPr lang="en-US" dirty="0" smtClean="0"/>
              <a:t>Smart </a:t>
            </a:r>
            <a:r>
              <a:rPr lang="en-US" dirty="0"/>
              <a:t>City Adoption</a:t>
            </a:r>
          </a:p>
        </p:txBody>
      </p:sp>
      <p:grpSp>
        <p:nvGrpSpPr>
          <p:cNvPr id="1018" name="Group 1017"/>
          <p:cNvGrpSpPr/>
          <p:nvPr/>
        </p:nvGrpSpPr>
        <p:grpSpPr>
          <a:xfrm>
            <a:off x="315194" y="4009586"/>
            <a:ext cx="3307934" cy="1017432"/>
            <a:chOff x="5380317" y="988060"/>
            <a:chExt cx="3467350" cy="1306407"/>
          </a:xfrm>
        </p:grpSpPr>
        <p:sp>
          <p:nvSpPr>
            <p:cNvPr id="1019" name="Rectangle 1018"/>
            <p:cNvSpPr/>
            <p:nvPr/>
          </p:nvSpPr>
          <p:spPr>
            <a:xfrm>
              <a:off x="5380317" y="988060"/>
              <a:ext cx="3467350" cy="1306407"/>
            </a:xfrm>
            <a:prstGeom prst="rect">
              <a:avLst/>
            </a:prstGeom>
            <a:solidFill>
              <a:srgbClr val="004990"/>
            </a:solidFill>
            <a:ln w="9525"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37160" tIns="137160" bIns="182880" rtlCol="0" anchor="t" anchorCtr="0">
              <a:noAutofit/>
            </a:bodyPr>
            <a:lstStyle/>
            <a:p>
              <a:r>
                <a:rPr lang="en-US" sz="1400" dirty="0" smtClean="0">
                  <a:solidFill>
                    <a:srgbClr val="FFFFFF"/>
                  </a:solidFill>
                </a:rPr>
                <a:t>SERVICE PROVIDER PARTNERS</a:t>
              </a:r>
            </a:p>
          </p:txBody>
        </p:sp>
        <p:grpSp>
          <p:nvGrpSpPr>
            <p:cNvPr id="1020" name="Group 1019"/>
            <p:cNvGrpSpPr/>
            <p:nvPr/>
          </p:nvGrpSpPr>
          <p:grpSpPr>
            <a:xfrm>
              <a:off x="6256962" y="1867935"/>
              <a:ext cx="970731" cy="308225"/>
              <a:chOff x="6572815" y="1867935"/>
              <a:chExt cx="970731" cy="308225"/>
            </a:xfrm>
          </p:grpSpPr>
          <p:sp>
            <p:nvSpPr>
              <p:cNvPr id="1051" name="Freeform 187"/>
              <p:cNvSpPr>
                <a:spLocks/>
              </p:cNvSpPr>
              <p:nvPr/>
            </p:nvSpPr>
            <p:spPr bwMode="auto">
              <a:xfrm>
                <a:off x="6902297" y="1871478"/>
                <a:ext cx="72273" cy="135335"/>
              </a:xfrm>
              <a:custGeom>
                <a:avLst/>
                <a:gdLst>
                  <a:gd name="T0" fmla="*/ 38 w 43"/>
                  <a:gd name="T1" fmla="*/ 0 h 81"/>
                  <a:gd name="T2" fmla="*/ 4 w 43"/>
                  <a:gd name="T3" fmla="*/ 0 h 81"/>
                  <a:gd name="T4" fmla="*/ 0 w 43"/>
                  <a:gd name="T5" fmla="*/ 4 h 81"/>
                  <a:gd name="T6" fmla="*/ 0 w 43"/>
                  <a:gd name="T7" fmla="*/ 5 h 81"/>
                  <a:gd name="T8" fmla="*/ 4 w 43"/>
                  <a:gd name="T9" fmla="*/ 9 h 81"/>
                  <a:gd name="T10" fmla="*/ 17 w 43"/>
                  <a:gd name="T11" fmla="*/ 9 h 81"/>
                  <a:gd name="T12" fmla="*/ 17 w 43"/>
                  <a:gd name="T13" fmla="*/ 76 h 81"/>
                  <a:gd name="T14" fmla="*/ 17 w 43"/>
                  <a:gd name="T15" fmla="*/ 76 h 81"/>
                  <a:gd name="T16" fmla="*/ 21 w 43"/>
                  <a:gd name="T17" fmla="*/ 81 h 81"/>
                  <a:gd name="T18" fmla="*/ 22 w 43"/>
                  <a:gd name="T19" fmla="*/ 81 h 81"/>
                  <a:gd name="T20" fmla="*/ 26 w 43"/>
                  <a:gd name="T21" fmla="*/ 76 h 81"/>
                  <a:gd name="T22" fmla="*/ 26 w 43"/>
                  <a:gd name="T23" fmla="*/ 76 h 81"/>
                  <a:gd name="T24" fmla="*/ 26 w 43"/>
                  <a:gd name="T25" fmla="*/ 9 h 81"/>
                  <a:gd name="T26" fmla="*/ 38 w 43"/>
                  <a:gd name="T27" fmla="*/ 9 h 81"/>
                  <a:gd name="T28" fmla="*/ 43 w 43"/>
                  <a:gd name="T29" fmla="*/ 5 h 81"/>
                  <a:gd name="T30" fmla="*/ 43 w 43"/>
                  <a:gd name="T31" fmla="*/ 4 h 81"/>
                  <a:gd name="T32" fmla="*/ 38 w 43"/>
                  <a:gd name="T3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81">
                    <a:moveTo>
                      <a:pt x="38" y="0"/>
                    </a:moveTo>
                    <a:cubicBezTo>
                      <a:pt x="4" y="0"/>
                      <a:pt x="4" y="0"/>
                      <a:pt x="4" y="0"/>
                    </a:cubicBezTo>
                    <a:cubicBezTo>
                      <a:pt x="2" y="0"/>
                      <a:pt x="0" y="2"/>
                      <a:pt x="0" y="4"/>
                    </a:cubicBezTo>
                    <a:cubicBezTo>
                      <a:pt x="0" y="5"/>
                      <a:pt x="0" y="5"/>
                      <a:pt x="0" y="5"/>
                    </a:cubicBezTo>
                    <a:cubicBezTo>
                      <a:pt x="0" y="7"/>
                      <a:pt x="2" y="9"/>
                      <a:pt x="4" y="9"/>
                    </a:cubicBezTo>
                    <a:cubicBezTo>
                      <a:pt x="17" y="9"/>
                      <a:pt x="17" y="9"/>
                      <a:pt x="17" y="9"/>
                    </a:cubicBezTo>
                    <a:cubicBezTo>
                      <a:pt x="17" y="76"/>
                      <a:pt x="17" y="76"/>
                      <a:pt x="17" y="76"/>
                    </a:cubicBezTo>
                    <a:cubicBezTo>
                      <a:pt x="17" y="76"/>
                      <a:pt x="17" y="76"/>
                      <a:pt x="17" y="76"/>
                    </a:cubicBezTo>
                    <a:cubicBezTo>
                      <a:pt x="17" y="79"/>
                      <a:pt x="19" y="81"/>
                      <a:pt x="21" y="81"/>
                    </a:cubicBezTo>
                    <a:cubicBezTo>
                      <a:pt x="22" y="81"/>
                      <a:pt x="22" y="81"/>
                      <a:pt x="22" y="81"/>
                    </a:cubicBezTo>
                    <a:cubicBezTo>
                      <a:pt x="24" y="81"/>
                      <a:pt x="26" y="79"/>
                      <a:pt x="26" y="76"/>
                    </a:cubicBezTo>
                    <a:cubicBezTo>
                      <a:pt x="26" y="76"/>
                      <a:pt x="26" y="76"/>
                      <a:pt x="26" y="76"/>
                    </a:cubicBezTo>
                    <a:cubicBezTo>
                      <a:pt x="26" y="9"/>
                      <a:pt x="26" y="9"/>
                      <a:pt x="26" y="9"/>
                    </a:cubicBezTo>
                    <a:cubicBezTo>
                      <a:pt x="38" y="9"/>
                      <a:pt x="38" y="9"/>
                      <a:pt x="38" y="9"/>
                    </a:cubicBezTo>
                    <a:cubicBezTo>
                      <a:pt x="41" y="9"/>
                      <a:pt x="43" y="7"/>
                      <a:pt x="43" y="5"/>
                    </a:cubicBezTo>
                    <a:cubicBezTo>
                      <a:pt x="43" y="4"/>
                      <a:pt x="43" y="4"/>
                      <a:pt x="43" y="4"/>
                    </a:cubicBezTo>
                    <a:cubicBezTo>
                      <a:pt x="43" y="2"/>
                      <a:pt x="41" y="0"/>
                      <a:pt x="38" y="0"/>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52" name="Freeform 188"/>
              <p:cNvSpPr>
                <a:spLocks/>
              </p:cNvSpPr>
              <p:nvPr/>
            </p:nvSpPr>
            <p:spPr bwMode="auto">
              <a:xfrm>
                <a:off x="7263664" y="1871478"/>
                <a:ext cx="72273" cy="135335"/>
              </a:xfrm>
              <a:custGeom>
                <a:avLst/>
                <a:gdLst>
                  <a:gd name="T0" fmla="*/ 38 w 43"/>
                  <a:gd name="T1" fmla="*/ 0 h 81"/>
                  <a:gd name="T2" fmla="*/ 4 w 43"/>
                  <a:gd name="T3" fmla="*/ 0 h 81"/>
                  <a:gd name="T4" fmla="*/ 0 w 43"/>
                  <a:gd name="T5" fmla="*/ 4 h 81"/>
                  <a:gd name="T6" fmla="*/ 0 w 43"/>
                  <a:gd name="T7" fmla="*/ 5 h 81"/>
                  <a:gd name="T8" fmla="*/ 4 w 43"/>
                  <a:gd name="T9" fmla="*/ 9 h 81"/>
                  <a:gd name="T10" fmla="*/ 17 w 43"/>
                  <a:gd name="T11" fmla="*/ 9 h 81"/>
                  <a:gd name="T12" fmla="*/ 17 w 43"/>
                  <a:gd name="T13" fmla="*/ 76 h 81"/>
                  <a:gd name="T14" fmla="*/ 21 w 43"/>
                  <a:gd name="T15" fmla="*/ 81 h 81"/>
                  <a:gd name="T16" fmla="*/ 22 w 43"/>
                  <a:gd name="T17" fmla="*/ 81 h 81"/>
                  <a:gd name="T18" fmla="*/ 26 w 43"/>
                  <a:gd name="T19" fmla="*/ 76 h 81"/>
                  <a:gd name="T20" fmla="*/ 26 w 43"/>
                  <a:gd name="T21" fmla="*/ 9 h 81"/>
                  <a:gd name="T22" fmla="*/ 38 w 43"/>
                  <a:gd name="T23" fmla="*/ 9 h 81"/>
                  <a:gd name="T24" fmla="*/ 43 w 43"/>
                  <a:gd name="T25" fmla="*/ 5 h 81"/>
                  <a:gd name="T26" fmla="*/ 43 w 43"/>
                  <a:gd name="T27" fmla="*/ 4 h 81"/>
                  <a:gd name="T28" fmla="*/ 38 w 43"/>
                  <a:gd name="T2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81">
                    <a:moveTo>
                      <a:pt x="38" y="0"/>
                    </a:moveTo>
                    <a:cubicBezTo>
                      <a:pt x="4" y="0"/>
                      <a:pt x="4" y="0"/>
                      <a:pt x="4" y="0"/>
                    </a:cubicBezTo>
                    <a:cubicBezTo>
                      <a:pt x="2" y="0"/>
                      <a:pt x="0" y="2"/>
                      <a:pt x="0" y="4"/>
                    </a:cubicBezTo>
                    <a:cubicBezTo>
                      <a:pt x="0" y="5"/>
                      <a:pt x="0" y="5"/>
                      <a:pt x="0" y="5"/>
                    </a:cubicBezTo>
                    <a:cubicBezTo>
                      <a:pt x="0" y="7"/>
                      <a:pt x="2" y="9"/>
                      <a:pt x="4" y="9"/>
                    </a:cubicBezTo>
                    <a:cubicBezTo>
                      <a:pt x="17" y="9"/>
                      <a:pt x="17" y="9"/>
                      <a:pt x="17" y="9"/>
                    </a:cubicBezTo>
                    <a:cubicBezTo>
                      <a:pt x="17" y="76"/>
                      <a:pt x="17" y="76"/>
                      <a:pt x="17" y="76"/>
                    </a:cubicBezTo>
                    <a:cubicBezTo>
                      <a:pt x="17" y="79"/>
                      <a:pt x="19" y="81"/>
                      <a:pt x="21" y="81"/>
                    </a:cubicBezTo>
                    <a:cubicBezTo>
                      <a:pt x="22" y="81"/>
                      <a:pt x="22" y="81"/>
                      <a:pt x="22" y="81"/>
                    </a:cubicBezTo>
                    <a:cubicBezTo>
                      <a:pt x="24" y="81"/>
                      <a:pt x="26" y="79"/>
                      <a:pt x="26" y="76"/>
                    </a:cubicBezTo>
                    <a:cubicBezTo>
                      <a:pt x="26" y="9"/>
                      <a:pt x="26" y="9"/>
                      <a:pt x="26" y="9"/>
                    </a:cubicBezTo>
                    <a:cubicBezTo>
                      <a:pt x="38" y="9"/>
                      <a:pt x="38" y="9"/>
                      <a:pt x="38" y="9"/>
                    </a:cubicBezTo>
                    <a:cubicBezTo>
                      <a:pt x="41" y="9"/>
                      <a:pt x="43" y="7"/>
                      <a:pt x="43" y="5"/>
                    </a:cubicBezTo>
                    <a:cubicBezTo>
                      <a:pt x="43" y="4"/>
                      <a:pt x="43" y="4"/>
                      <a:pt x="43" y="4"/>
                    </a:cubicBezTo>
                    <a:cubicBezTo>
                      <a:pt x="43" y="2"/>
                      <a:pt x="41" y="0"/>
                      <a:pt x="38" y="0"/>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53" name="Freeform 189"/>
              <p:cNvSpPr>
                <a:spLocks noEditPoints="1"/>
              </p:cNvSpPr>
              <p:nvPr/>
            </p:nvSpPr>
            <p:spPr bwMode="auto">
              <a:xfrm>
                <a:off x="7452850" y="1867935"/>
                <a:ext cx="90696" cy="137461"/>
              </a:xfrm>
              <a:custGeom>
                <a:avLst/>
                <a:gdLst>
                  <a:gd name="T0" fmla="*/ 54 w 54"/>
                  <a:gd name="T1" fmla="*/ 75 h 82"/>
                  <a:gd name="T2" fmla="*/ 32 w 54"/>
                  <a:gd name="T3" fmla="*/ 4 h 82"/>
                  <a:gd name="T4" fmla="*/ 27 w 54"/>
                  <a:gd name="T5" fmla="*/ 0 h 82"/>
                  <a:gd name="T6" fmla="*/ 22 w 54"/>
                  <a:gd name="T7" fmla="*/ 4 h 82"/>
                  <a:gd name="T8" fmla="*/ 1 w 54"/>
                  <a:gd name="T9" fmla="*/ 75 h 82"/>
                  <a:gd name="T10" fmla="*/ 0 w 54"/>
                  <a:gd name="T11" fmla="*/ 76 h 82"/>
                  <a:gd name="T12" fmla="*/ 4 w 54"/>
                  <a:gd name="T13" fmla="*/ 81 h 82"/>
                  <a:gd name="T14" fmla="*/ 10 w 54"/>
                  <a:gd name="T15" fmla="*/ 78 h 82"/>
                  <a:gd name="T16" fmla="*/ 14 w 54"/>
                  <a:gd name="T17" fmla="*/ 63 h 82"/>
                  <a:gd name="T18" fmla="*/ 40 w 54"/>
                  <a:gd name="T19" fmla="*/ 63 h 82"/>
                  <a:gd name="T20" fmla="*/ 45 w 54"/>
                  <a:gd name="T21" fmla="*/ 78 h 82"/>
                  <a:gd name="T22" fmla="*/ 51 w 54"/>
                  <a:gd name="T23" fmla="*/ 81 h 82"/>
                  <a:gd name="T24" fmla="*/ 54 w 54"/>
                  <a:gd name="T25" fmla="*/ 76 h 82"/>
                  <a:gd name="T26" fmla="*/ 54 w 54"/>
                  <a:gd name="T27" fmla="*/ 75 h 82"/>
                  <a:gd name="T28" fmla="*/ 17 w 54"/>
                  <a:gd name="T29" fmla="*/ 53 h 82"/>
                  <a:gd name="T30" fmla="*/ 27 w 54"/>
                  <a:gd name="T31" fmla="*/ 20 h 82"/>
                  <a:gd name="T32" fmla="*/ 37 w 54"/>
                  <a:gd name="T33" fmla="*/ 53 h 82"/>
                  <a:gd name="T34" fmla="*/ 17 w 54"/>
                  <a:gd name="T35" fmla="*/ 5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82">
                    <a:moveTo>
                      <a:pt x="54" y="75"/>
                    </a:moveTo>
                    <a:cubicBezTo>
                      <a:pt x="32" y="4"/>
                      <a:pt x="32" y="4"/>
                      <a:pt x="32" y="4"/>
                    </a:cubicBezTo>
                    <a:cubicBezTo>
                      <a:pt x="32" y="2"/>
                      <a:pt x="29" y="0"/>
                      <a:pt x="27" y="0"/>
                    </a:cubicBezTo>
                    <a:cubicBezTo>
                      <a:pt x="25" y="0"/>
                      <a:pt x="23" y="2"/>
                      <a:pt x="22" y="4"/>
                    </a:cubicBezTo>
                    <a:cubicBezTo>
                      <a:pt x="1" y="75"/>
                      <a:pt x="1" y="75"/>
                      <a:pt x="1" y="75"/>
                    </a:cubicBezTo>
                    <a:cubicBezTo>
                      <a:pt x="0" y="75"/>
                      <a:pt x="0" y="76"/>
                      <a:pt x="0" y="76"/>
                    </a:cubicBezTo>
                    <a:cubicBezTo>
                      <a:pt x="0" y="79"/>
                      <a:pt x="2" y="81"/>
                      <a:pt x="4" y="81"/>
                    </a:cubicBezTo>
                    <a:cubicBezTo>
                      <a:pt x="6" y="82"/>
                      <a:pt x="9" y="80"/>
                      <a:pt x="10" y="78"/>
                    </a:cubicBezTo>
                    <a:cubicBezTo>
                      <a:pt x="14" y="63"/>
                      <a:pt x="14" y="63"/>
                      <a:pt x="14" y="63"/>
                    </a:cubicBezTo>
                    <a:cubicBezTo>
                      <a:pt x="40" y="63"/>
                      <a:pt x="40" y="63"/>
                      <a:pt x="40" y="63"/>
                    </a:cubicBezTo>
                    <a:cubicBezTo>
                      <a:pt x="45" y="78"/>
                      <a:pt x="45" y="78"/>
                      <a:pt x="45" y="78"/>
                    </a:cubicBezTo>
                    <a:cubicBezTo>
                      <a:pt x="45" y="80"/>
                      <a:pt x="48" y="82"/>
                      <a:pt x="51" y="81"/>
                    </a:cubicBezTo>
                    <a:cubicBezTo>
                      <a:pt x="53" y="81"/>
                      <a:pt x="54" y="79"/>
                      <a:pt x="54" y="76"/>
                    </a:cubicBezTo>
                    <a:cubicBezTo>
                      <a:pt x="54" y="76"/>
                      <a:pt x="54" y="75"/>
                      <a:pt x="54" y="75"/>
                    </a:cubicBezTo>
                    <a:moveTo>
                      <a:pt x="17" y="53"/>
                    </a:moveTo>
                    <a:cubicBezTo>
                      <a:pt x="27" y="20"/>
                      <a:pt x="27" y="20"/>
                      <a:pt x="27" y="20"/>
                    </a:cubicBezTo>
                    <a:cubicBezTo>
                      <a:pt x="37" y="53"/>
                      <a:pt x="37" y="53"/>
                      <a:pt x="37" y="53"/>
                    </a:cubicBezTo>
                    <a:lnTo>
                      <a:pt x="17" y="53"/>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54" name="Freeform 190"/>
              <p:cNvSpPr>
                <a:spLocks/>
              </p:cNvSpPr>
              <p:nvPr/>
            </p:nvSpPr>
            <p:spPr bwMode="auto">
              <a:xfrm>
                <a:off x="6995827" y="1869352"/>
                <a:ext cx="77233" cy="137461"/>
              </a:xfrm>
              <a:custGeom>
                <a:avLst/>
                <a:gdLst>
                  <a:gd name="T0" fmla="*/ 41 w 46"/>
                  <a:gd name="T1" fmla="*/ 0 h 82"/>
                  <a:gd name="T2" fmla="*/ 5 w 46"/>
                  <a:gd name="T3" fmla="*/ 0 h 82"/>
                  <a:gd name="T4" fmla="*/ 0 w 46"/>
                  <a:gd name="T5" fmla="*/ 5 h 82"/>
                  <a:gd name="T6" fmla="*/ 0 w 46"/>
                  <a:gd name="T7" fmla="*/ 77 h 82"/>
                  <a:gd name="T8" fmla="*/ 5 w 46"/>
                  <a:gd name="T9" fmla="*/ 82 h 82"/>
                  <a:gd name="T10" fmla="*/ 41 w 46"/>
                  <a:gd name="T11" fmla="*/ 82 h 82"/>
                  <a:gd name="T12" fmla="*/ 46 w 46"/>
                  <a:gd name="T13" fmla="*/ 77 h 82"/>
                  <a:gd name="T14" fmla="*/ 46 w 46"/>
                  <a:gd name="T15" fmla="*/ 77 h 82"/>
                  <a:gd name="T16" fmla="*/ 41 w 46"/>
                  <a:gd name="T17" fmla="*/ 72 h 82"/>
                  <a:gd name="T18" fmla="*/ 9 w 46"/>
                  <a:gd name="T19" fmla="*/ 72 h 82"/>
                  <a:gd name="T20" fmla="*/ 9 w 46"/>
                  <a:gd name="T21" fmla="*/ 44 h 82"/>
                  <a:gd name="T22" fmla="*/ 32 w 46"/>
                  <a:gd name="T23" fmla="*/ 44 h 82"/>
                  <a:gd name="T24" fmla="*/ 36 w 46"/>
                  <a:gd name="T25" fmla="*/ 39 h 82"/>
                  <a:gd name="T26" fmla="*/ 36 w 46"/>
                  <a:gd name="T27" fmla="*/ 39 h 82"/>
                  <a:gd name="T28" fmla="*/ 32 w 46"/>
                  <a:gd name="T29" fmla="*/ 34 h 82"/>
                  <a:gd name="T30" fmla="*/ 9 w 46"/>
                  <a:gd name="T31" fmla="*/ 34 h 82"/>
                  <a:gd name="T32" fmla="*/ 9 w 46"/>
                  <a:gd name="T33" fmla="*/ 10 h 82"/>
                  <a:gd name="T34" fmla="*/ 41 w 46"/>
                  <a:gd name="T35" fmla="*/ 10 h 82"/>
                  <a:gd name="T36" fmla="*/ 46 w 46"/>
                  <a:gd name="T37" fmla="*/ 5 h 82"/>
                  <a:gd name="T38" fmla="*/ 46 w 46"/>
                  <a:gd name="T39" fmla="*/ 5 h 82"/>
                  <a:gd name="T40" fmla="*/ 41 w 46"/>
                  <a:gd name="T4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82">
                    <a:moveTo>
                      <a:pt x="41" y="0"/>
                    </a:moveTo>
                    <a:cubicBezTo>
                      <a:pt x="5" y="0"/>
                      <a:pt x="5" y="0"/>
                      <a:pt x="5" y="0"/>
                    </a:cubicBezTo>
                    <a:cubicBezTo>
                      <a:pt x="2" y="0"/>
                      <a:pt x="0" y="2"/>
                      <a:pt x="0" y="5"/>
                    </a:cubicBezTo>
                    <a:cubicBezTo>
                      <a:pt x="0" y="77"/>
                      <a:pt x="0" y="77"/>
                      <a:pt x="0" y="77"/>
                    </a:cubicBezTo>
                    <a:cubicBezTo>
                      <a:pt x="0" y="80"/>
                      <a:pt x="2" y="82"/>
                      <a:pt x="5" y="82"/>
                    </a:cubicBezTo>
                    <a:cubicBezTo>
                      <a:pt x="41" y="82"/>
                      <a:pt x="41" y="82"/>
                      <a:pt x="41" y="82"/>
                    </a:cubicBezTo>
                    <a:cubicBezTo>
                      <a:pt x="44" y="82"/>
                      <a:pt x="46" y="80"/>
                      <a:pt x="46" y="77"/>
                    </a:cubicBezTo>
                    <a:cubicBezTo>
                      <a:pt x="46" y="77"/>
                      <a:pt x="46" y="77"/>
                      <a:pt x="46" y="77"/>
                    </a:cubicBezTo>
                    <a:cubicBezTo>
                      <a:pt x="46" y="74"/>
                      <a:pt x="44" y="72"/>
                      <a:pt x="41" y="72"/>
                    </a:cubicBezTo>
                    <a:cubicBezTo>
                      <a:pt x="9" y="72"/>
                      <a:pt x="9" y="72"/>
                      <a:pt x="9" y="72"/>
                    </a:cubicBezTo>
                    <a:cubicBezTo>
                      <a:pt x="9" y="44"/>
                      <a:pt x="9" y="44"/>
                      <a:pt x="9" y="44"/>
                    </a:cubicBezTo>
                    <a:cubicBezTo>
                      <a:pt x="32" y="44"/>
                      <a:pt x="32" y="44"/>
                      <a:pt x="32" y="44"/>
                    </a:cubicBezTo>
                    <a:cubicBezTo>
                      <a:pt x="34" y="44"/>
                      <a:pt x="36" y="42"/>
                      <a:pt x="36" y="39"/>
                    </a:cubicBezTo>
                    <a:cubicBezTo>
                      <a:pt x="36" y="39"/>
                      <a:pt x="36" y="39"/>
                      <a:pt x="36" y="39"/>
                    </a:cubicBezTo>
                    <a:cubicBezTo>
                      <a:pt x="36" y="36"/>
                      <a:pt x="34" y="34"/>
                      <a:pt x="32" y="34"/>
                    </a:cubicBezTo>
                    <a:cubicBezTo>
                      <a:pt x="9" y="34"/>
                      <a:pt x="9" y="34"/>
                      <a:pt x="9" y="34"/>
                    </a:cubicBezTo>
                    <a:cubicBezTo>
                      <a:pt x="9" y="10"/>
                      <a:pt x="9" y="10"/>
                      <a:pt x="9" y="10"/>
                    </a:cubicBezTo>
                    <a:cubicBezTo>
                      <a:pt x="41" y="10"/>
                      <a:pt x="41" y="10"/>
                      <a:pt x="41" y="10"/>
                    </a:cubicBezTo>
                    <a:cubicBezTo>
                      <a:pt x="44" y="10"/>
                      <a:pt x="46" y="8"/>
                      <a:pt x="46" y="5"/>
                    </a:cubicBezTo>
                    <a:cubicBezTo>
                      <a:pt x="46" y="5"/>
                      <a:pt x="46" y="5"/>
                      <a:pt x="46" y="5"/>
                    </a:cubicBezTo>
                    <a:cubicBezTo>
                      <a:pt x="46" y="2"/>
                      <a:pt x="44" y="0"/>
                      <a:pt x="41" y="0"/>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55" name="Freeform 191"/>
              <p:cNvSpPr>
                <a:spLocks/>
              </p:cNvSpPr>
              <p:nvPr/>
            </p:nvSpPr>
            <p:spPr bwMode="auto">
              <a:xfrm>
                <a:off x="7092900" y="1869352"/>
                <a:ext cx="68731" cy="137461"/>
              </a:xfrm>
              <a:custGeom>
                <a:avLst/>
                <a:gdLst>
                  <a:gd name="T0" fmla="*/ 36 w 41"/>
                  <a:gd name="T1" fmla="*/ 72 h 82"/>
                  <a:gd name="T2" fmla="*/ 10 w 41"/>
                  <a:gd name="T3" fmla="*/ 72 h 82"/>
                  <a:gd name="T4" fmla="*/ 10 w 41"/>
                  <a:gd name="T5" fmla="*/ 5 h 82"/>
                  <a:gd name="T6" fmla="*/ 5 w 41"/>
                  <a:gd name="T7" fmla="*/ 0 h 82"/>
                  <a:gd name="T8" fmla="*/ 5 w 41"/>
                  <a:gd name="T9" fmla="*/ 0 h 82"/>
                  <a:gd name="T10" fmla="*/ 0 w 41"/>
                  <a:gd name="T11" fmla="*/ 5 h 82"/>
                  <a:gd name="T12" fmla="*/ 0 w 41"/>
                  <a:gd name="T13" fmla="*/ 77 h 82"/>
                  <a:gd name="T14" fmla="*/ 5 w 41"/>
                  <a:gd name="T15" fmla="*/ 82 h 82"/>
                  <a:gd name="T16" fmla="*/ 36 w 41"/>
                  <a:gd name="T17" fmla="*/ 82 h 82"/>
                  <a:gd name="T18" fmla="*/ 41 w 41"/>
                  <a:gd name="T19" fmla="*/ 77 h 82"/>
                  <a:gd name="T20" fmla="*/ 41 w 41"/>
                  <a:gd name="T21" fmla="*/ 77 h 82"/>
                  <a:gd name="T22" fmla="*/ 36 w 41"/>
                  <a:gd name="T23"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82">
                    <a:moveTo>
                      <a:pt x="36" y="72"/>
                    </a:moveTo>
                    <a:cubicBezTo>
                      <a:pt x="10" y="72"/>
                      <a:pt x="10" y="72"/>
                      <a:pt x="10" y="72"/>
                    </a:cubicBezTo>
                    <a:cubicBezTo>
                      <a:pt x="10" y="5"/>
                      <a:pt x="10" y="5"/>
                      <a:pt x="10" y="5"/>
                    </a:cubicBezTo>
                    <a:cubicBezTo>
                      <a:pt x="10" y="2"/>
                      <a:pt x="8" y="0"/>
                      <a:pt x="5" y="0"/>
                    </a:cubicBezTo>
                    <a:cubicBezTo>
                      <a:pt x="5" y="0"/>
                      <a:pt x="5" y="0"/>
                      <a:pt x="5" y="0"/>
                    </a:cubicBezTo>
                    <a:cubicBezTo>
                      <a:pt x="3" y="0"/>
                      <a:pt x="0" y="2"/>
                      <a:pt x="0" y="5"/>
                    </a:cubicBezTo>
                    <a:cubicBezTo>
                      <a:pt x="0" y="77"/>
                      <a:pt x="0" y="77"/>
                      <a:pt x="0" y="77"/>
                    </a:cubicBezTo>
                    <a:cubicBezTo>
                      <a:pt x="0" y="80"/>
                      <a:pt x="3" y="82"/>
                      <a:pt x="5" y="82"/>
                    </a:cubicBezTo>
                    <a:cubicBezTo>
                      <a:pt x="36" y="82"/>
                      <a:pt x="36" y="82"/>
                      <a:pt x="36" y="82"/>
                    </a:cubicBezTo>
                    <a:cubicBezTo>
                      <a:pt x="39" y="82"/>
                      <a:pt x="41" y="80"/>
                      <a:pt x="41" y="77"/>
                    </a:cubicBezTo>
                    <a:cubicBezTo>
                      <a:pt x="41" y="77"/>
                      <a:pt x="41" y="77"/>
                      <a:pt x="41" y="77"/>
                    </a:cubicBezTo>
                    <a:cubicBezTo>
                      <a:pt x="41" y="74"/>
                      <a:pt x="39" y="72"/>
                      <a:pt x="36" y="72"/>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56" name="Freeform 192"/>
              <p:cNvSpPr>
                <a:spLocks noEditPoints="1"/>
              </p:cNvSpPr>
              <p:nvPr/>
            </p:nvSpPr>
            <p:spPr bwMode="auto">
              <a:xfrm>
                <a:off x="7357903" y="1869352"/>
                <a:ext cx="76525" cy="138878"/>
              </a:xfrm>
              <a:custGeom>
                <a:avLst/>
                <a:gdLst>
                  <a:gd name="T0" fmla="*/ 46 w 46"/>
                  <a:gd name="T1" fmla="*/ 23 h 83"/>
                  <a:gd name="T2" fmla="*/ 39 w 46"/>
                  <a:gd name="T3" fmla="*/ 6 h 83"/>
                  <a:gd name="T4" fmla="*/ 25 w 46"/>
                  <a:gd name="T5" fmla="*/ 0 h 83"/>
                  <a:gd name="T6" fmla="*/ 4 w 46"/>
                  <a:gd name="T7" fmla="*/ 0 h 83"/>
                  <a:gd name="T8" fmla="*/ 0 w 46"/>
                  <a:gd name="T9" fmla="*/ 6 h 83"/>
                  <a:gd name="T10" fmla="*/ 0 w 46"/>
                  <a:gd name="T11" fmla="*/ 77 h 83"/>
                  <a:gd name="T12" fmla="*/ 4 w 46"/>
                  <a:gd name="T13" fmla="*/ 82 h 83"/>
                  <a:gd name="T14" fmla="*/ 5 w 46"/>
                  <a:gd name="T15" fmla="*/ 82 h 83"/>
                  <a:gd name="T16" fmla="*/ 9 w 46"/>
                  <a:gd name="T17" fmla="*/ 77 h 83"/>
                  <a:gd name="T18" fmla="*/ 9 w 46"/>
                  <a:gd name="T19" fmla="*/ 47 h 83"/>
                  <a:gd name="T20" fmla="*/ 21 w 46"/>
                  <a:gd name="T21" fmla="*/ 47 h 83"/>
                  <a:gd name="T22" fmla="*/ 36 w 46"/>
                  <a:gd name="T23" fmla="*/ 79 h 83"/>
                  <a:gd name="T24" fmla="*/ 42 w 46"/>
                  <a:gd name="T25" fmla="*/ 81 h 83"/>
                  <a:gd name="T26" fmla="*/ 42 w 46"/>
                  <a:gd name="T27" fmla="*/ 81 h 83"/>
                  <a:gd name="T28" fmla="*/ 45 w 46"/>
                  <a:gd name="T29" fmla="*/ 77 h 83"/>
                  <a:gd name="T30" fmla="*/ 44 w 46"/>
                  <a:gd name="T31" fmla="*/ 75 h 83"/>
                  <a:gd name="T32" fmla="*/ 31 w 46"/>
                  <a:gd name="T33" fmla="*/ 46 h 83"/>
                  <a:gd name="T34" fmla="*/ 46 w 46"/>
                  <a:gd name="T35" fmla="*/ 23 h 83"/>
                  <a:gd name="T36" fmla="*/ 32 w 46"/>
                  <a:gd name="T37" fmla="*/ 33 h 83"/>
                  <a:gd name="T38" fmla="*/ 25 w 46"/>
                  <a:gd name="T39" fmla="*/ 37 h 83"/>
                  <a:gd name="T40" fmla="*/ 9 w 46"/>
                  <a:gd name="T41" fmla="*/ 37 h 83"/>
                  <a:gd name="T42" fmla="*/ 9 w 46"/>
                  <a:gd name="T43" fmla="*/ 10 h 83"/>
                  <a:gd name="T44" fmla="*/ 25 w 46"/>
                  <a:gd name="T45" fmla="*/ 10 h 83"/>
                  <a:gd name="T46" fmla="*/ 37 w 46"/>
                  <a:gd name="T47" fmla="*/ 23 h 83"/>
                  <a:gd name="T48" fmla="*/ 32 w 46"/>
                  <a:gd name="T49"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83">
                    <a:moveTo>
                      <a:pt x="46" y="23"/>
                    </a:moveTo>
                    <a:cubicBezTo>
                      <a:pt x="46" y="17"/>
                      <a:pt x="44" y="11"/>
                      <a:pt x="39" y="6"/>
                    </a:cubicBezTo>
                    <a:cubicBezTo>
                      <a:pt x="34" y="3"/>
                      <a:pt x="29" y="0"/>
                      <a:pt x="25" y="0"/>
                    </a:cubicBezTo>
                    <a:cubicBezTo>
                      <a:pt x="4" y="0"/>
                      <a:pt x="4" y="0"/>
                      <a:pt x="4" y="0"/>
                    </a:cubicBezTo>
                    <a:cubicBezTo>
                      <a:pt x="2" y="0"/>
                      <a:pt x="0" y="3"/>
                      <a:pt x="0" y="6"/>
                    </a:cubicBezTo>
                    <a:cubicBezTo>
                      <a:pt x="0" y="77"/>
                      <a:pt x="0" y="77"/>
                      <a:pt x="0" y="77"/>
                    </a:cubicBezTo>
                    <a:cubicBezTo>
                      <a:pt x="0" y="80"/>
                      <a:pt x="2" y="82"/>
                      <a:pt x="4" y="82"/>
                    </a:cubicBezTo>
                    <a:cubicBezTo>
                      <a:pt x="5" y="82"/>
                      <a:pt x="5" y="82"/>
                      <a:pt x="5" y="82"/>
                    </a:cubicBezTo>
                    <a:cubicBezTo>
                      <a:pt x="7" y="82"/>
                      <a:pt x="9" y="80"/>
                      <a:pt x="9" y="77"/>
                    </a:cubicBezTo>
                    <a:cubicBezTo>
                      <a:pt x="9" y="47"/>
                      <a:pt x="9" y="47"/>
                      <a:pt x="9" y="47"/>
                    </a:cubicBezTo>
                    <a:cubicBezTo>
                      <a:pt x="21" y="47"/>
                      <a:pt x="21" y="47"/>
                      <a:pt x="21" y="47"/>
                    </a:cubicBezTo>
                    <a:cubicBezTo>
                      <a:pt x="36" y="79"/>
                      <a:pt x="36" y="79"/>
                      <a:pt x="36" y="79"/>
                    </a:cubicBezTo>
                    <a:cubicBezTo>
                      <a:pt x="37" y="81"/>
                      <a:pt x="40" y="83"/>
                      <a:pt x="42" y="81"/>
                    </a:cubicBezTo>
                    <a:cubicBezTo>
                      <a:pt x="42" y="81"/>
                      <a:pt x="42" y="81"/>
                      <a:pt x="42" y="81"/>
                    </a:cubicBezTo>
                    <a:cubicBezTo>
                      <a:pt x="44" y="81"/>
                      <a:pt x="45" y="79"/>
                      <a:pt x="45" y="77"/>
                    </a:cubicBezTo>
                    <a:cubicBezTo>
                      <a:pt x="45" y="76"/>
                      <a:pt x="45" y="76"/>
                      <a:pt x="44" y="75"/>
                    </a:cubicBezTo>
                    <a:cubicBezTo>
                      <a:pt x="31" y="46"/>
                      <a:pt x="31" y="46"/>
                      <a:pt x="31" y="46"/>
                    </a:cubicBezTo>
                    <a:cubicBezTo>
                      <a:pt x="38" y="42"/>
                      <a:pt x="46" y="35"/>
                      <a:pt x="46" y="23"/>
                    </a:cubicBezTo>
                    <a:moveTo>
                      <a:pt x="32" y="33"/>
                    </a:moveTo>
                    <a:cubicBezTo>
                      <a:pt x="29" y="36"/>
                      <a:pt x="26" y="37"/>
                      <a:pt x="25" y="37"/>
                    </a:cubicBezTo>
                    <a:cubicBezTo>
                      <a:pt x="9" y="37"/>
                      <a:pt x="9" y="37"/>
                      <a:pt x="9" y="37"/>
                    </a:cubicBezTo>
                    <a:cubicBezTo>
                      <a:pt x="9" y="10"/>
                      <a:pt x="9" y="10"/>
                      <a:pt x="9" y="10"/>
                    </a:cubicBezTo>
                    <a:cubicBezTo>
                      <a:pt x="25" y="10"/>
                      <a:pt x="25" y="10"/>
                      <a:pt x="25" y="10"/>
                    </a:cubicBezTo>
                    <a:cubicBezTo>
                      <a:pt x="28" y="10"/>
                      <a:pt x="37" y="15"/>
                      <a:pt x="37" y="23"/>
                    </a:cubicBezTo>
                    <a:cubicBezTo>
                      <a:pt x="37" y="28"/>
                      <a:pt x="34" y="31"/>
                      <a:pt x="32" y="33"/>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57" name="Freeform 193"/>
              <p:cNvSpPr>
                <a:spLocks/>
              </p:cNvSpPr>
              <p:nvPr/>
            </p:nvSpPr>
            <p:spPr bwMode="auto">
              <a:xfrm>
                <a:off x="7172259" y="1867935"/>
                <a:ext cx="78650" cy="140295"/>
              </a:xfrm>
              <a:custGeom>
                <a:avLst/>
                <a:gdLst>
                  <a:gd name="T0" fmla="*/ 26 w 47"/>
                  <a:gd name="T1" fmla="*/ 36 h 84"/>
                  <a:gd name="T2" fmla="*/ 11 w 47"/>
                  <a:gd name="T3" fmla="*/ 22 h 84"/>
                  <a:gd name="T4" fmla="*/ 24 w 47"/>
                  <a:gd name="T5" fmla="*/ 10 h 84"/>
                  <a:gd name="T6" fmla="*/ 36 w 47"/>
                  <a:gd name="T7" fmla="*/ 20 h 84"/>
                  <a:gd name="T8" fmla="*/ 41 w 47"/>
                  <a:gd name="T9" fmla="*/ 24 h 84"/>
                  <a:gd name="T10" fmla="*/ 46 w 47"/>
                  <a:gd name="T11" fmla="*/ 19 h 84"/>
                  <a:gd name="T12" fmla="*/ 41 w 47"/>
                  <a:gd name="T13" fmla="*/ 8 h 84"/>
                  <a:gd name="T14" fmla="*/ 24 w 47"/>
                  <a:gd name="T15" fmla="*/ 0 h 84"/>
                  <a:gd name="T16" fmla="*/ 7 w 47"/>
                  <a:gd name="T17" fmla="*/ 8 h 84"/>
                  <a:gd name="T18" fmla="*/ 1 w 47"/>
                  <a:gd name="T19" fmla="*/ 22 h 84"/>
                  <a:gd name="T20" fmla="*/ 22 w 47"/>
                  <a:gd name="T21" fmla="*/ 45 h 84"/>
                  <a:gd name="T22" fmla="*/ 35 w 47"/>
                  <a:gd name="T23" fmla="*/ 54 h 84"/>
                  <a:gd name="T24" fmla="*/ 37 w 47"/>
                  <a:gd name="T25" fmla="*/ 61 h 84"/>
                  <a:gd name="T26" fmla="*/ 34 w 47"/>
                  <a:gd name="T27" fmla="*/ 69 h 84"/>
                  <a:gd name="T28" fmla="*/ 24 w 47"/>
                  <a:gd name="T29" fmla="*/ 74 h 84"/>
                  <a:gd name="T30" fmla="*/ 10 w 47"/>
                  <a:gd name="T31" fmla="*/ 62 h 84"/>
                  <a:gd name="T32" fmla="*/ 5 w 47"/>
                  <a:gd name="T33" fmla="*/ 57 h 84"/>
                  <a:gd name="T34" fmla="*/ 0 w 47"/>
                  <a:gd name="T35" fmla="*/ 62 h 84"/>
                  <a:gd name="T36" fmla="*/ 5 w 47"/>
                  <a:gd name="T37" fmla="*/ 75 h 84"/>
                  <a:gd name="T38" fmla="*/ 24 w 47"/>
                  <a:gd name="T39" fmla="*/ 84 h 84"/>
                  <a:gd name="T40" fmla="*/ 42 w 47"/>
                  <a:gd name="T41" fmla="*/ 75 h 84"/>
                  <a:gd name="T42" fmla="*/ 47 w 47"/>
                  <a:gd name="T43" fmla="*/ 61 h 84"/>
                  <a:gd name="T44" fmla="*/ 26 w 47"/>
                  <a:gd name="T45" fmla="*/ 3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84">
                    <a:moveTo>
                      <a:pt x="26" y="36"/>
                    </a:moveTo>
                    <a:cubicBezTo>
                      <a:pt x="16" y="31"/>
                      <a:pt x="11" y="26"/>
                      <a:pt x="11" y="22"/>
                    </a:cubicBezTo>
                    <a:cubicBezTo>
                      <a:pt x="11" y="18"/>
                      <a:pt x="15" y="10"/>
                      <a:pt x="24" y="10"/>
                    </a:cubicBezTo>
                    <a:cubicBezTo>
                      <a:pt x="33" y="10"/>
                      <a:pt x="36" y="18"/>
                      <a:pt x="36" y="20"/>
                    </a:cubicBezTo>
                    <a:cubicBezTo>
                      <a:pt x="36" y="22"/>
                      <a:pt x="38" y="24"/>
                      <a:pt x="41" y="24"/>
                    </a:cubicBezTo>
                    <a:cubicBezTo>
                      <a:pt x="44" y="24"/>
                      <a:pt x="46" y="22"/>
                      <a:pt x="46" y="19"/>
                    </a:cubicBezTo>
                    <a:cubicBezTo>
                      <a:pt x="46" y="16"/>
                      <a:pt x="44" y="12"/>
                      <a:pt x="41" y="8"/>
                    </a:cubicBezTo>
                    <a:cubicBezTo>
                      <a:pt x="38" y="5"/>
                      <a:pt x="32" y="0"/>
                      <a:pt x="24" y="0"/>
                    </a:cubicBezTo>
                    <a:cubicBezTo>
                      <a:pt x="15" y="0"/>
                      <a:pt x="10" y="4"/>
                      <a:pt x="7" y="8"/>
                    </a:cubicBezTo>
                    <a:cubicBezTo>
                      <a:pt x="3" y="12"/>
                      <a:pt x="1" y="17"/>
                      <a:pt x="1" y="22"/>
                    </a:cubicBezTo>
                    <a:cubicBezTo>
                      <a:pt x="1" y="31"/>
                      <a:pt x="8" y="38"/>
                      <a:pt x="22" y="45"/>
                    </a:cubicBezTo>
                    <a:cubicBezTo>
                      <a:pt x="28" y="48"/>
                      <a:pt x="32" y="51"/>
                      <a:pt x="35" y="54"/>
                    </a:cubicBezTo>
                    <a:cubicBezTo>
                      <a:pt x="36" y="57"/>
                      <a:pt x="37" y="59"/>
                      <a:pt x="37" y="61"/>
                    </a:cubicBezTo>
                    <a:cubicBezTo>
                      <a:pt x="37" y="63"/>
                      <a:pt x="36" y="67"/>
                      <a:pt x="34" y="69"/>
                    </a:cubicBezTo>
                    <a:cubicBezTo>
                      <a:pt x="32" y="72"/>
                      <a:pt x="28" y="74"/>
                      <a:pt x="24" y="74"/>
                    </a:cubicBezTo>
                    <a:cubicBezTo>
                      <a:pt x="13" y="74"/>
                      <a:pt x="10" y="63"/>
                      <a:pt x="10" y="62"/>
                    </a:cubicBezTo>
                    <a:cubicBezTo>
                      <a:pt x="10" y="59"/>
                      <a:pt x="7" y="57"/>
                      <a:pt x="5" y="57"/>
                    </a:cubicBezTo>
                    <a:cubicBezTo>
                      <a:pt x="2" y="57"/>
                      <a:pt x="0" y="59"/>
                      <a:pt x="0" y="62"/>
                    </a:cubicBezTo>
                    <a:cubicBezTo>
                      <a:pt x="0" y="65"/>
                      <a:pt x="1" y="70"/>
                      <a:pt x="5" y="75"/>
                    </a:cubicBezTo>
                    <a:cubicBezTo>
                      <a:pt x="8" y="79"/>
                      <a:pt x="14" y="84"/>
                      <a:pt x="24" y="84"/>
                    </a:cubicBezTo>
                    <a:cubicBezTo>
                      <a:pt x="33" y="84"/>
                      <a:pt x="39" y="79"/>
                      <a:pt x="42" y="75"/>
                    </a:cubicBezTo>
                    <a:cubicBezTo>
                      <a:pt x="45" y="71"/>
                      <a:pt x="47" y="66"/>
                      <a:pt x="47" y="61"/>
                    </a:cubicBezTo>
                    <a:cubicBezTo>
                      <a:pt x="47" y="50"/>
                      <a:pt x="40" y="43"/>
                      <a:pt x="26" y="36"/>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58" name="Freeform 194"/>
              <p:cNvSpPr>
                <a:spLocks/>
              </p:cNvSpPr>
              <p:nvPr/>
            </p:nvSpPr>
            <p:spPr bwMode="auto">
              <a:xfrm>
                <a:off x="6628083" y="1872895"/>
                <a:ext cx="209026" cy="217529"/>
              </a:xfrm>
              <a:custGeom>
                <a:avLst/>
                <a:gdLst>
                  <a:gd name="T0" fmla="*/ 4 w 125"/>
                  <a:gd name="T1" fmla="*/ 8 h 130"/>
                  <a:gd name="T2" fmla="*/ 14 w 125"/>
                  <a:gd name="T3" fmla="*/ 0 h 130"/>
                  <a:gd name="T4" fmla="*/ 125 w 125"/>
                  <a:gd name="T5" fmla="*/ 0 h 130"/>
                  <a:gd name="T6" fmla="*/ 121 w 125"/>
                  <a:gd name="T7" fmla="*/ 21 h 130"/>
                  <a:gd name="T8" fmla="*/ 119 w 125"/>
                  <a:gd name="T9" fmla="*/ 28 h 130"/>
                  <a:gd name="T10" fmla="*/ 110 w 125"/>
                  <a:gd name="T11" fmla="*/ 33 h 130"/>
                  <a:gd name="T12" fmla="*/ 81 w 125"/>
                  <a:gd name="T13" fmla="*/ 33 h 130"/>
                  <a:gd name="T14" fmla="*/ 74 w 125"/>
                  <a:gd name="T15" fmla="*/ 74 h 130"/>
                  <a:gd name="T16" fmla="*/ 73 w 125"/>
                  <a:gd name="T17" fmla="*/ 79 h 130"/>
                  <a:gd name="T18" fmla="*/ 73 w 125"/>
                  <a:gd name="T19" fmla="*/ 81 h 130"/>
                  <a:gd name="T20" fmla="*/ 66 w 125"/>
                  <a:gd name="T21" fmla="*/ 120 h 130"/>
                  <a:gd name="T22" fmla="*/ 62 w 125"/>
                  <a:gd name="T23" fmla="*/ 127 h 130"/>
                  <a:gd name="T24" fmla="*/ 55 w 125"/>
                  <a:gd name="T25" fmla="*/ 129 h 130"/>
                  <a:gd name="T26" fmla="*/ 23 w 125"/>
                  <a:gd name="T27" fmla="*/ 129 h 130"/>
                  <a:gd name="T28" fmla="*/ 37 w 125"/>
                  <a:gd name="T29" fmla="*/ 54 h 130"/>
                  <a:gd name="T30" fmla="*/ 40 w 125"/>
                  <a:gd name="T31" fmla="*/ 33 h 130"/>
                  <a:gd name="T32" fmla="*/ 0 w 125"/>
                  <a:gd name="T33" fmla="*/ 33 h 130"/>
                  <a:gd name="T34" fmla="*/ 4 w 125"/>
                  <a:gd name="T35" fmla="*/ 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 h="130">
                    <a:moveTo>
                      <a:pt x="4" y="8"/>
                    </a:moveTo>
                    <a:cubicBezTo>
                      <a:pt x="5" y="3"/>
                      <a:pt x="10" y="0"/>
                      <a:pt x="14" y="0"/>
                    </a:cubicBezTo>
                    <a:cubicBezTo>
                      <a:pt x="51" y="0"/>
                      <a:pt x="88" y="0"/>
                      <a:pt x="125" y="0"/>
                    </a:cubicBezTo>
                    <a:cubicBezTo>
                      <a:pt x="124" y="7"/>
                      <a:pt x="123" y="14"/>
                      <a:pt x="121" y="21"/>
                    </a:cubicBezTo>
                    <a:cubicBezTo>
                      <a:pt x="121" y="24"/>
                      <a:pt x="121" y="26"/>
                      <a:pt x="119" y="28"/>
                    </a:cubicBezTo>
                    <a:cubicBezTo>
                      <a:pt x="117" y="31"/>
                      <a:pt x="114" y="33"/>
                      <a:pt x="110" y="33"/>
                    </a:cubicBezTo>
                    <a:cubicBezTo>
                      <a:pt x="101" y="33"/>
                      <a:pt x="91" y="33"/>
                      <a:pt x="81" y="33"/>
                    </a:cubicBezTo>
                    <a:cubicBezTo>
                      <a:pt x="79" y="47"/>
                      <a:pt x="76" y="61"/>
                      <a:pt x="74" y="74"/>
                    </a:cubicBezTo>
                    <a:cubicBezTo>
                      <a:pt x="74" y="76"/>
                      <a:pt x="73" y="78"/>
                      <a:pt x="73" y="79"/>
                    </a:cubicBezTo>
                    <a:cubicBezTo>
                      <a:pt x="73" y="80"/>
                      <a:pt x="73" y="80"/>
                      <a:pt x="73" y="81"/>
                    </a:cubicBezTo>
                    <a:cubicBezTo>
                      <a:pt x="71" y="94"/>
                      <a:pt x="68" y="107"/>
                      <a:pt x="66" y="120"/>
                    </a:cubicBezTo>
                    <a:cubicBezTo>
                      <a:pt x="66" y="123"/>
                      <a:pt x="64" y="125"/>
                      <a:pt x="62" y="127"/>
                    </a:cubicBezTo>
                    <a:cubicBezTo>
                      <a:pt x="60" y="129"/>
                      <a:pt x="57" y="130"/>
                      <a:pt x="55" y="129"/>
                    </a:cubicBezTo>
                    <a:cubicBezTo>
                      <a:pt x="44" y="129"/>
                      <a:pt x="34" y="129"/>
                      <a:pt x="23" y="129"/>
                    </a:cubicBezTo>
                    <a:cubicBezTo>
                      <a:pt x="27" y="104"/>
                      <a:pt x="32" y="79"/>
                      <a:pt x="37" y="54"/>
                    </a:cubicBezTo>
                    <a:cubicBezTo>
                      <a:pt x="38" y="47"/>
                      <a:pt x="39" y="40"/>
                      <a:pt x="40" y="33"/>
                    </a:cubicBezTo>
                    <a:cubicBezTo>
                      <a:pt x="27" y="33"/>
                      <a:pt x="13" y="33"/>
                      <a:pt x="0" y="33"/>
                    </a:cubicBezTo>
                    <a:cubicBezTo>
                      <a:pt x="1" y="25"/>
                      <a:pt x="3" y="16"/>
                      <a:pt x="4" y="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59" name="Freeform 195"/>
              <p:cNvSpPr>
                <a:spLocks/>
              </p:cNvSpPr>
              <p:nvPr/>
            </p:nvSpPr>
            <p:spPr bwMode="auto">
              <a:xfrm>
                <a:off x="6572815" y="1946586"/>
                <a:ext cx="250831" cy="229574"/>
              </a:xfrm>
              <a:custGeom>
                <a:avLst/>
                <a:gdLst>
                  <a:gd name="T0" fmla="*/ 19 w 150"/>
                  <a:gd name="T1" fmla="*/ 2 h 137"/>
                  <a:gd name="T2" fmla="*/ 36 w 150"/>
                  <a:gd name="T3" fmla="*/ 0 h 137"/>
                  <a:gd name="T4" fmla="*/ 70 w 150"/>
                  <a:gd name="T5" fmla="*/ 10 h 137"/>
                  <a:gd name="T6" fmla="*/ 56 w 150"/>
                  <a:gd name="T7" fmla="*/ 85 h 137"/>
                  <a:gd name="T8" fmla="*/ 88 w 150"/>
                  <a:gd name="T9" fmla="*/ 85 h 137"/>
                  <a:gd name="T10" fmla="*/ 95 w 150"/>
                  <a:gd name="T11" fmla="*/ 83 h 137"/>
                  <a:gd name="T12" fmla="*/ 99 w 150"/>
                  <a:gd name="T13" fmla="*/ 76 h 137"/>
                  <a:gd name="T14" fmla="*/ 106 w 150"/>
                  <a:gd name="T15" fmla="*/ 37 h 137"/>
                  <a:gd name="T16" fmla="*/ 106 w 150"/>
                  <a:gd name="T17" fmla="*/ 35 h 137"/>
                  <a:gd name="T18" fmla="*/ 108 w 150"/>
                  <a:gd name="T19" fmla="*/ 37 h 137"/>
                  <a:gd name="T20" fmla="*/ 129 w 150"/>
                  <a:gd name="T21" fmla="*/ 59 h 137"/>
                  <a:gd name="T22" fmla="*/ 145 w 150"/>
                  <a:gd name="T23" fmla="*/ 86 h 137"/>
                  <a:gd name="T24" fmla="*/ 150 w 150"/>
                  <a:gd name="T25" fmla="*/ 106 h 137"/>
                  <a:gd name="T26" fmla="*/ 149 w 150"/>
                  <a:gd name="T27" fmla="*/ 119 h 137"/>
                  <a:gd name="T28" fmla="*/ 141 w 150"/>
                  <a:gd name="T29" fmla="*/ 130 h 137"/>
                  <a:gd name="T30" fmla="*/ 127 w 150"/>
                  <a:gd name="T31" fmla="*/ 136 h 137"/>
                  <a:gd name="T32" fmla="*/ 108 w 150"/>
                  <a:gd name="T33" fmla="*/ 135 h 137"/>
                  <a:gd name="T34" fmla="*/ 74 w 150"/>
                  <a:gd name="T35" fmla="*/ 122 h 137"/>
                  <a:gd name="T36" fmla="*/ 27 w 150"/>
                  <a:gd name="T37" fmla="*/ 85 h 137"/>
                  <a:gd name="T38" fmla="*/ 7 w 150"/>
                  <a:gd name="T39" fmla="*/ 55 h 137"/>
                  <a:gd name="T40" fmla="*/ 0 w 150"/>
                  <a:gd name="T41" fmla="*/ 29 h 137"/>
                  <a:gd name="T42" fmla="*/ 5 w 150"/>
                  <a:gd name="T43" fmla="*/ 11 h 137"/>
                  <a:gd name="T44" fmla="*/ 19 w 150"/>
                  <a:gd name="T45" fmla="*/ 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137">
                    <a:moveTo>
                      <a:pt x="19" y="2"/>
                    </a:moveTo>
                    <a:cubicBezTo>
                      <a:pt x="24" y="0"/>
                      <a:pt x="31" y="0"/>
                      <a:pt x="36" y="0"/>
                    </a:cubicBezTo>
                    <a:cubicBezTo>
                      <a:pt x="48" y="2"/>
                      <a:pt x="59" y="6"/>
                      <a:pt x="70" y="10"/>
                    </a:cubicBezTo>
                    <a:cubicBezTo>
                      <a:pt x="65" y="35"/>
                      <a:pt x="60" y="60"/>
                      <a:pt x="56" y="85"/>
                    </a:cubicBezTo>
                    <a:cubicBezTo>
                      <a:pt x="67" y="85"/>
                      <a:pt x="77" y="85"/>
                      <a:pt x="88" y="85"/>
                    </a:cubicBezTo>
                    <a:cubicBezTo>
                      <a:pt x="90" y="86"/>
                      <a:pt x="93" y="85"/>
                      <a:pt x="95" y="83"/>
                    </a:cubicBezTo>
                    <a:cubicBezTo>
                      <a:pt x="97" y="81"/>
                      <a:pt x="99" y="79"/>
                      <a:pt x="99" y="76"/>
                    </a:cubicBezTo>
                    <a:cubicBezTo>
                      <a:pt x="101" y="63"/>
                      <a:pt x="104" y="50"/>
                      <a:pt x="106" y="37"/>
                    </a:cubicBezTo>
                    <a:cubicBezTo>
                      <a:pt x="106" y="36"/>
                      <a:pt x="106" y="36"/>
                      <a:pt x="106" y="35"/>
                    </a:cubicBezTo>
                    <a:cubicBezTo>
                      <a:pt x="107" y="36"/>
                      <a:pt x="107" y="36"/>
                      <a:pt x="108" y="37"/>
                    </a:cubicBezTo>
                    <a:cubicBezTo>
                      <a:pt x="116" y="43"/>
                      <a:pt x="123" y="51"/>
                      <a:pt x="129" y="59"/>
                    </a:cubicBezTo>
                    <a:cubicBezTo>
                      <a:pt x="136" y="68"/>
                      <a:pt x="141" y="77"/>
                      <a:pt x="145" y="86"/>
                    </a:cubicBezTo>
                    <a:cubicBezTo>
                      <a:pt x="148" y="92"/>
                      <a:pt x="150" y="99"/>
                      <a:pt x="150" y="106"/>
                    </a:cubicBezTo>
                    <a:cubicBezTo>
                      <a:pt x="150" y="110"/>
                      <a:pt x="150" y="115"/>
                      <a:pt x="149" y="119"/>
                    </a:cubicBezTo>
                    <a:cubicBezTo>
                      <a:pt x="147" y="123"/>
                      <a:pt x="145" y="127"/>
                      <a:pt x="141" y="130"/>
                    </a:cubicBezTo>
                    <a:cubicBezTo>
                      <a:pt x="137" y="133"/>
                      <a:pt x="132" y="135"/>
                      <a:pt x="127" y="136"/>
                    </a:cubicBezTo>
                    <a:cubicBezTo>
                      <a:pt x="121" y="137"/>
                      <a:pt x="114" y="136"/>
                      <a:pt x="108" y="135"/>
                    </a:cubicBezTo>
                    <a:cubicBezTo>
                      <a:pt x="96" y="133"/>
                      <a:pt x="84" y="128"/>
                      <a:pt x="74" y="122"/>
                    </a:cubicBezTo>
                    <a:cubicBezTo>
                      <a:pt x="56" y="112"/>
                      <a:pt x="41" y="100"/>
                      <a:pt x="27" y="85"/>
                    </a:cubicBezTo>
                    <a:cubicBezTo>
                      <a:pt x="19" y="76"/>
                      <a:pt x="12" y="66"/>
                      <a:pt x="7" y="55"/>
                    </a:cubicBezTo>
                    <a:cubicBezTo>
                      <a:pt x="3" y="46"/>
                      <a:pt x="0" y="38"/>
                      <a:pt x="0" y="29"/>
                    </a:cubicBezTo>
                    <a:cubicBezTo>
                      <a:pt x="0" y="23"/>
                      <a:pt x="1" y="16"/>
                      <a:pt x="5" y="11"/>
                    </a:cubicBezTo>
                    <a:cubicBezTo>
                      <a:pt x="8" y="7"/>
                      <a:pt x="13" y="3"/>
                      <a:pt x="19" y="2"/>
                    </a:cubicBezTo>
                  </a:path>
                </a:pathLst>
              </a:custGeom>
              <a:solidFill>
                <a:srgbClr val="4FB1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021" name="Group 1020"/>
            <p:cNvGrpSpPr/>
            <p:nvPr/>
          </p:nvGrpSpPr>
          <p:grpSpPr>
            <a:xfrm>
              <a:off x="5894312" y="1432640"/>
              <a:ext cx="965771" cy="347904"/>
              <a:chOff x="5244072" y="1376760"/>
              <a:chExt cx="965771" cy="347904"/>
            </a:xfrm>
          </p:grpSpPr>
          <p:sp>
            <p:nvSpPr>
              <p:cNvPr id="1038" name="Freeform 196"/>
              <p:cNvSpPr>
                <a:spLocks noEditPoints="1"/>
              </p:cNvSpPr>
              <p:nvPr/>
            </p:nvSpPr>
            <p:spPr bwMode="auto">
              <a:xfrm>
                <a:off x="5809505" y="1517055"/>
                <a:ext cx="20548" cy="20548"/>
              </a:xfrm>
              <a:custGeom>
                <a:avLst/>
                <a:gdLst>
                  <a:gd name="T0" fmla="*/ 10 w 12"/>
                  <a:gd name="T1" fmla="*/ 2 h 12"/>
                  <a:gd name="T2" fmla="*/ 12 w 12"/>
                  <a:gd name="T3" fmla="*/ 6 h 12"/>
                  <a:gd name="T4" fmla="*/ 10 w 12"/>
                  <a:gd name="T5" fmla="*/ 10 h 12"/>
                  <a:gd name="T6" fmla="*/ 6 w 12"/>
                  <a:gd name="T7" fmla="*/ 12 h 12"/>
                  <a:gd name="T8" fmla="*/ 2 w 12"/>
                  <a:gd name="T9" fmla="*/ 10 h 12"/>
                  <a:gd name="T10" fmla="*/ 0 w 12"/>
                  <a:gd name="T11" fmla="*/ 6 h 12"/>
                  <a:gd name="T12" fmla="*/ 2 w 12"/>
                  <a:gd name="T13" fmla="*/ 2 h 12"/>
                  <a:gd name="T14" fmla="*/ 6 w 12"/>
                  <a:gd name="T15" fmla="*/ 0 h 12"/>
                  <a:gd name="T16" fmla="*/ 10 w 12"/>
                  <a:gd name="T17" fmla="*/ 2 h 12"/>
                  <a:gd name="T18" fmla="*/ 10 w 12"/>
                  <a:gd name="T19" fmla="*/ 3 h 12"/>
                  <a:gd name="T20" fmla="*/ 6 w 12"/>
                  <a:gd name="T21" fmla="*/ 1 h 12"/>
                  <a:gd name="T22" fmla="*/ 3 w 12"/>
                  <a:gd name="T23" fmla="*/ 3 h 12"/>
                  <a:gd name="T24" fmla="*/ 1 w 12"/>
                  <a:gd name="T25" fmla="*/ 6 h 12"/>
                  <a:gd name="T26" fmla="*/ 3 w 12"/>
                  <a:gd name="T27" fmla="*/ 10 h 12"/>
                  <a:gd name="T28" fmla="*/ 6 w 12"/>
                  <a:gd name="T29" fmla="*/ 11 h 12"/>
                  <a:gd name="T30" fmla="*/ 10 w 12"/>
                  <a:gd name="T31" fmla="*/ 10 h 12"/>
                  <a:gd name="T32" fmla="*/ 11 w 12"/>
                  <a:gd name="T33" fmla="*/ 6 h 12"/>
                  <a:gd name="T34" fmla="*/ 10 w 12"/>
                  <a:gd name="T35" fmla="*/ 3 h 12"/>
                  <a:gd name="T36" fmla="*/ 3 w 12"/>
                  <a:gd name="T37" fmla="*/ 3 h 12"/>
                  <a:gd name="T38" fmla="*/ 4 w 12"/>
                  <a:gd name="T39" fmla="*/ 3 h 12"/>
                  <a:gd name="T40" fmla="*/ 6 w 12"/>
                  <a:gd name="T41" fmla="*/ 3 h 12"/>
                  <a:gd name="T42" fmla="*/ 8 w 12"/>
                  <a:gd name="T43" fmla="*/ 3 h 12"/>
                  <a:gd name="T44" fmla="*/ 9 w 12"/>
                  <a:gd name="T45" fmla="*/ 4 h 12"/>
                  <a:gd name="T46" fmla="*/ 8 w 12"/>
                  <a:gd name="T47" fmla="*/ 6 h 12"/>
                  <a:gd name="T48" fmla="*/ 7 w 12"/>
                  <a:gd name="T49" fmla="*/ 7 h 12"/>
                  <a:gd name="T50" fmla="*/ 9 w 12"/>
                  <a:gd name="T51" fmla="*/ 10 h 12"/>
                  <a:gd name="T52" fmla="*/ 8 w 12"/>
                  <a:gd name="T53" fmla="*/ 10 h 12"/>
                  <a:gd name="T54" fmla="*/ 7 w 12"/>
                  <a:gd name="T55" fmla="*/ 10 h 12"/>
                  <a:gd name="T56" fmla="*/ 6 w 12"/>
                  <a:gd name="T57" fmla="*/ 7 h 12"/>
                  <a:gd name="T58" fmla="*/ 5 w 12"/>
                  <a:gd name="T59" fmla="*/ 7 h 12"/>
                  <a:gd name="T60" fmla="*/ 5 w 12"/>
                  <a:gd name="T61" fmla="*/ 10 h 12"/>
                  <a:gd name="T62" fmla="*/ 4 w 12"/>
                  <a:gd name="T63" fmla="*/ 10 h 12"/>
                  <a:gd name="T64" fmla="*/ 3 w 12"/>
                  <a:gd name="T65" fmla="*/ 10 h 12"/>
                  <a:gd name="T66" fmla="*/ 3 w 12"/>
                  <a:gd name="T67" fmla="*/ 3 h 12"/>
                  <a:gd name="T68" fmla="*/ 5 w 12"/>
                  <a:gd name="T69" fmla="*/ 6 h 12"/>
                  <a:gd name="T70" fmla="*/ 6 w 12"/>
                  <a:gd name="T71" fmla="*/ 6 h 12"/>
                  <a:gd name="T72" fmla="*/ 7 w 12"/>
                  <a:gd name="T73" fmla="*/ 5 h 12"/>
                  <a:gd name="T74" fmla="*/ 7 w 12"/>
                  <a:gd name="T75" fmla="*/ 4 h 12"/>
                  <a:gd name="T76" fmla="*/ 7 w 12"/>
                  <a:gd name="T77" fmla="*/ 4 h 12"/>
                  <a:gd name="T78" fmla="*/ 6 w 12"/>
                  <a:gd name="T79" fmla="*/ 3 h 12"/>
                  <a:gd name="T80" fmla="*/ 5 w 12"/>
                  <a:gd name="T81" fmla="*/ 3 h 12"/>
                  <a:gd name="T82" fmla="*/ 5 w 12"/>
                  <a:gd name="T8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 h="12">
                    <a:moveTo>
                      <a:pt x="10" y="2"/>
                    </a:moveTo>
                    <a:cubicBezTo>
                      <a:pt x="12" y="3"/>
                      <a:pt x="12" y="4"/>
                      <a:pt x="12" y="6"/>
                    </a:cubicBezTo>
                    <a:cubicBezTo>
                      <a:pt x="12" y="8"/>
                      <a:pt x="12" y="9"/>
                      <a:pt x="10" y="10"/>
                    </a:cubicBezTo>
                    <a:cubicBezTo>
                      <a:pt x="9" y="12"/>
                      <a:pt x="8" y="12"/>
                      <a:pt x="6" y="12"/>
                    </a:cubicBezTo>
                    <a:cubicBezTo>
                      <a:pt x="4" y="12"/>
                      <a:pt x="3" y="12"/>
                      <a:pt x="2" y="10"/>
                    </a:cubicBezTo>
                    <a:cubicBezTo>
                      <a:pt x="1" y="9"/>
                      <a:pt x="0" y="8"/>
                      <a:pt x="0" y="6"/>
                    </a:cubicBezTo>
                    <a:cubicBezTo>
                      <a:pt x="0" y="4"/>
                      <a:pt x="1" y="3"/>
                      <a:pt x="2" y="2"/>
                    </a:cubicBezTo>
                    <a:cubicBezTo>
                      <a:pt x="3" y="1"/>
                      <a:pt x="4" y="0"/>
                      <a:pt x="6" y="0"/>
                    </a:cubicBezTo>
                    <a:cubicBezTo>
                      <a:pt x="8" y="0"/>
                      <a:pt x="9" y="1"/>
                      <a:pt x="10" y="2"/>
                    </a:cubicBezTo>
                    <a:moveTo>
                      <a:pt x="10" y="3"/>
                    </a:moveTo>
                    <a:cubicBezTo>
                      <a:pt x="9" y="2"/>
                      <a:pt x="7" y="1"/>
                      <a:pt x="6" y="1"/>
                    </a:cubicBezTo>
                    <a:cubicBezTo>
                      <a:pt x="5" y="1"/>
                      <a:pt x="4" y="2"/>
                      <a:pt x="3" y="3"/>
                    </a:cubicBezTo>
                    <a:cubicBezTo>
                      <a:pt x="2" y="3"/>
                      <a:pt x="1" y="5"/>
                      <a:pt x="1" y="6"/>
                    </a:cubicBezTo>
                    <a:cubicBezTo>
                      <a:pt x="1" y="7"/>
                      <a:pt x="2" y="9"/>
                      <a:pt x="3" y="10"/>
                    </a:cubicBezTo>
                    <a:cubicBezTo>
                      <a:pt x="4" y="11"/>
                      <a:pt x="5" y="11"/>
                      <a:pt x="6" y="11"/>
                    </a:cubicBezTo>
                    <a:cubicBezTo>
                      <a:pt x="7" y="11"/>
                      <a:pt x="9" y="11"/>
                      <a:pt x="10" y="10"/>
                    </a:cubicBezTo>
                    <a:cubicBezTo>
                      <a:pt x="11" y="9"/>
                      <a:pt x="11" y="7"/>
                      <a:pt x="11" y="6"/>
                    </a:cubicBezTo>
                    <a:cubicBezTo>
                      <a:pt x="11" y="5"/>
                      <a:pt x="11" y="3"/>
                      <a:pt x="10" y="3"/>
                    </a:cubicBezTo>
                    <a:moveTo>
                      <a:pt x="3" y="3"/>
                    </a:moveTo>
                    <a:cubicBezTo>
                      <a:pt x="4" y="3"/>
                      <a:pt x="4" y="3"/>
                      <a:pt x="4" y="3"/>
                    </a:cubicBezTo>
                    <a:cubicBezTo>
                      <a:pt x="6" y="3"/>
                      <a:pt x="6" y="3"/>
                      <a:pt x="6" y="3"/>
                    </a:cubicBezTo>
                    <a:cubicBezTo>
                      <a:pt x="7" y="3"/>
                      <a:pt x="8" y="3"/>
                      <a:pt x="8" y="3"/>
                    </a:cubicBezTo>
                    <a:cubicBezTo>
                      <a:pt x="8" y="3"/>
                      <a:pt x="9" y="4"/>
                      <a:pt x="9" y="4"/>
                    </a:cubicBezTo>
                    <a:cubicBezTo>
                      <a:pt x="9" y="5"/>
                      <a:pt x="8" y="6"/>
                      <a:pt x="8" y="6"/>
                    </a:cubicBezTo>
                    <a:cubicBezTo>
                      <a:pt x="8" y="6"/>
                      <a:pt x="7" y="6"/>
                      <a:pt x="7" y="7"/>
                    </a:cubicBezTo>
                    <a:cubicBezTo>
                      <a:pt x="9" y="10"/>
                      <a:pt x="9" y="10"/>
                      <a:pt x="9" y="10"/>
                    </a:cubicBezTo>
                    <a:cubicBezTo>
                      <a:pt x="8" y="10"/>
                      <a:pt x="8" y="10"/>
                      <a:pt x="8" y="10"/>
                    </a:cubicBezTo>
                    <a:cubicBezTo>
                      <a:pt x="7" y="10"/>
                      <a:pt x="7" y="10"/>
                      <a:pt x="7" y="10"/>
                    </a:cubicBezTo>
                    <a:cubicBezTo>
                      <a:pt x="6" y="7"/>
                      <a:pt x="6" y="7"/>
                      <a:pt x="6" y="7"/>
                    </a:cubicBezTo>
                    <a:cubicBezTo>
                      <a:pt x="5" y="7"/>
                      <a:pt x="5" y="7"/>
                      <a:pt x="5" y="7"/>
                    </a:cubicBezTo>
                    <a:cubicBezTo>
                      <a:pt x="5" y="10"/>
                      <a:pt x="5" y="10"/>
                      <a:pt x="5" y="10"/>
                    </a:cubicBezTo>
                    <a:cubicBezTo>
                      <a:pt x="4" y="10"/>
                      <a:pt x="4" y="10"/>
                      <a:pt x="4" y="10"/>
                    </a:cubicBezTo>
                    <a:cubicBezTo>
                      <a:pt x="3" y="10"/>
                      <a:pt x="3" y="10"/>
                      <a:pt x="3" y="10"/>
                    </a:cubicBezTo>
                    <a:lnTo>
                      <a:pt x="3" y="3"/>
                    </a:lnTo>
                    <a:close/>
                    <a:moveTo>
                      <a:pt x="5" y="6"/>
                    </a:moveTo>
                    <a:cubicBezTo>
                      <a:pt x="6" y="6"/>
                      <a:pt x="6" y="6"/>
                      <a:pt x="6" y="6"/>
                    </a:cubicBezTo>
                    <a:cubicBezTo>
                      <a:pt x="7" y="6"/>
                      <a:pt x="7" y="6"/>
                      <a:pt x="7" y="5"/>
                    </a:cubicBezTo>
                    <a:cubicBezTo>
                      <a:pt x="7" y="5"/>
                      <a:pt x="7" y="5"/>
                      <a:pt x="7" y="4"/>
                    </a:cubicBezTo>
                    <a:cubicBezTo>
                      <a:pt x="7" y="4"/>
                      <a:pt x="7" y="4"/>
                      <a:pt x="7" y="4"/>
                    </a:cubicBezTo>
                    <a:cubicBezTo>
                      <a:pt x="7" y="4"/>
                      <a:pt x="7" y="3"/>
                      <a:pt x="6" y="3"/>
                    </a:cubicBezTo>
                    <a:cubicBezTo>
                      <a:pt x="5" y="3"/>
                      <a:pt x="5" y="3"/>
                      <a:pt x="5" y="3"/>
                    </a:cubicBezTo>
                    <a:lnTo>
                      <a:pt x="5"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39" name="Freeform 197"/>
              <p:cNvSpPr>
                <a:spLocks noEditPoints="1"/>
              </p:cNvSpPr>
              <p:nvPr/>
            </p:nvSpPr>
            <p:spPr bwMode="auto">
              <a:xfrm>
                <a:off x="6066004" y="1659476"/>
                <a:ext cx="28343" cy="14880"/>
              </a:xfrm>
              <a:custGeom>
                <a:avLst/>
                <a:gdLst>
                  <a:gd name="T0" fmla="*/ 0 w 40"/>
                  <a:gd name="T1" fmla="*/ 2 h 21"/>
                  <a:gd name="T2" fmla="*/ 7 w 40"/>
                  <a:gd name="T3" fmla="*/ 2 h 21"/>
                  <a:gd name="T4" fmla="*/ 7 w 40"/>
                  <a:gd name="T5" fmla="*/ 21 h 21"/>
                  <a:gd name="T6" fmla="*/ 9 w 40"/>
                  <a:gd name="T7" fmla="*/ 21 h 21"/>
                  <a:gd name="T8" fmla="*/ 9 w 40"/>
                  <a:gd name="T9" fmla="*/ 2 h 21"/>
                  <a:gd name="T10" fmla="*/ 16 w 40"/>
                  <a:gd name="T11" fmla="*/ 2 h 21"/>
                  <a:gd name="T12" fmla="*/ 16 w 40"/>
                  <a:gd name="T13" fmla="*/ 0 h 21"/>
                  <a:gd name="T14" fmla="*/ 0 w 40"/>
                  <a:gd name="T15" fmla="*/ 0 h 21"/>
                  <a:gd name="T16" fmla="*/ 0 w 40"/>
                  <a:gd name="T17" fmla="*/ 2 h 21"/>
                  <a:gd name="T18" fmla="*/ 35 w 40"/>
                  <a:gd name="T19" fmla="*/ 0 h 21"/>
                  <a:gd name="T20" fmla="*/ 31 w 40"/>
                  <a:gd name="T21" fmla="*/ 19 h 21"/>
                  <a:gd name="T22" fmla="*/ 24 w 40"/>
                  <a:gd name="T23" fmla="*/ 0 h 21"/>
                  <a:gd name="T24" fmla="*/ 21 w 40"/>
                  <a:gd name="T25" fmla="*/ 0 h 21"/>
                  <a:gd name="T26" fmla="*/ 21 w 40"/>
                  <a:gd name="T27" fmla="*/ 21 h 21"/>
                  <a:gd name="T28" fmla="*/ 24 w 40"/>
                  <a:gd name="T29" fmla="*/ 21 h 21"/>
                  <a:gd name="T30" fmla="*/ 24 w 40"/>
                  <a:gd name="T31" fmla="*/ 5 h 21"/>
                  <a:gd name="T32" fmla="*/ 24 w 40"/>
                  <a:gd name="T33" fmla="*/ 5 h 21"/>
                  <a:gd name="T34" fmla="*/ 28 w 40"/>
                  <a:gd name="T35" fmla="*/ 21 h 21"/>
                  <a:gd name="T36" fmla="*/ 31 w 40"/>
                  <a:gd name="T37" fmla="*/ 21 h 21"/>
                  <a:gd name="T38" fmla="*/ 38 w 40"/>
                  <a:gd name="T39" fmla="*/ 5 h 21"/>
                  <a:gd name="T40" fmla="*/ 38 w 40"/>
                  <a:gd name="T41" fmla="*/ 5 h 21"/>
                  <a:gd name="T42" fmla="*/ 38 w 40"/>
                  <a:gd name="T43" fmla="*/ 21 h 21"/>
                  <a:gd name="T44" fmla="*/ 40 w 40"/>
                  <a:gd name="T45" fmla="*/ 21 h 21"/>
                  <a:gd name="T46" fmla="*/ 40 w 40"/>
                  <a:gd name="T47" fmla="*/ 0 h 21"/>
                  <a:gd name="T48" fmla="*/ 35 w 40"/>
                  <a:gd name="T4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21">
                    <a:moveTo>
                      <a:pt x="0" y="2"/>
                    </a:moveTo>
                    <a:lnTo>
                      <a:pt x="7" y="2"/>
                    </a:lnTo>
                    <a:lnTo>
                      <a:pt x="7" y="21"/>
                    </a:lnTo>
                    <a:lnTo>
                      <a:pt x="9" y="21"/>
                    </a:lnTo>
                    <a:lnTo>
                      <a:pt x="9" y="2"/>
                    </a:lnTo>
                    <a:lnTo>
                      <a:pt x="16" y="2"/>
                    </a:lnTo>
                    <a:lnTo>
                      <a:pt x="16" y="0"/>
                    </a:lnTo>
                    <a:lnTo>
                      <a:pt x="0" y="0"/>
                    </a:lnTo>
                    <a:lnTo>
                      <a:pt x="0" y="2"/>
                    </a:lnTo>
                    <a:close/>
                    <a:moveTo>
                      <a:pt x="35" y="0"/>
                    </a:moveTo>
                    <a:lnTo>
                      <a:pt x="31" y="19"/>
                    </a:lnTo>
                    <a:lnTo>
                      <a:pt x="24" y="0"/>
                    </a:lnTo>
                    <a:lnTo>
                      <a:pt x="21" y="0"/>
                    </a:lnTo>
                    <a:lnTo>
                      <a:pt x="21" y="21"/>
                    </a:lnTo>
                    <a:lnTo>
                      <a:pt x="24" y="21"/>
                    </a:lnTo>
                    <a:lnTo>
                      <a:pt x="24" y="5"/>
                    </a:lnTo>
                    <a:lnTo>
                      <a:pt x="24" y="5"/>
                    </a:lnTo>
                    <a:lnTo>
                      <a:pt x="28" y="21"/>
                    </a:lnTo>
                    <a:lnTo>
                      <a:pt x="31" y="21"/>
                    </a:lnTo>
                    <a:lnTo>
                      <a:pt x="38" y="5"/>
                    </a:lnTo>
                    <a:lnTo>
                      <a:pt x="38" y="5"/>
                    </a:lnTo>
                    <a:lnTo>
                      <a:pt x="38" y="21"/>
                    </a:lnTo>
                    <a:lnTo>
                      <a:pt x="40" y="21"/>
                    </a:lnTo>
                    <a:lnTo>
                      <a:pt x="40" y="0"/>
                    </a:lnTo>
                    <a:lnTo>
                      <a:pt x="3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40" name="Freeform 198"/>
              <p:cNvSpPr>
                <a:spLocks/>
              </p:cNvSpPr>
              <p:nvPr/>
            </p:nvSpPr>
            <p:spPr bwMode="auto">
              <a:xfrm>
                <a:off x="5978851" y="1376760"/>
                <a:ext cx="50308" cy="174306"/>
              </a:xfrm>
              <a:custGeom>
                <a:avLst/>
                <a:gdLst>
                  <a:gd name="T0" fmla="*/ 0 w 30"/>
                  <a:gd name="T1" fmla="*/ 0 h 104"/>
                  <a:gd name="T2" fmla="*/ 1 w 30"/>
                  <a:gd name="T3" fmla="*/ 0 h 104"/>
                  <a:gd name="T4" fmla="*/ 1 w 30"/>
                  <a:gd name="T5" fmla="*/ 0 h 104"/>
                  <a:gd name="T6" fmla="*/ 29 w 30"/>
                  <a:gd name="T7" fmla="*/ 50 h 104"/>
                  <a:gd name="T8" fmla="*/ 27 w 30"/>
                  <a:gd name="T9" fmla="*/ 104 h 104"/>
                  <a:gd name="T10" fmla="*/ 25 w 30"/>
                  <a:gd name="T11" fmla="*/ 98 h 104"/>
                  <a:gd name="T12" fmla="*/ 1 w 30"/>
                  <a:gd name="T13" fmla="*/ 1 h 104"/>
                  <a:gd name="T14" fmla="*/ 0 w 30"/>
                  <a:gd name="T15" fmla="*/ 0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04">
                    <a:moveTo>
                      <a:pt x="0" y="0"/>
                    </a:moveTo>
                    <a:cubicBezTo>
                      <a:pt x="0" y="0"/>
                      <a:pt x="0" y="0"/>
                      <a:pt x="1" y="0"/>
                    </a:cubicBezTo>
                    <a:cubicBezTo>
                      <a:pt x="1" y="0"/>
                      <a:pt x="1" y="0"/>
                      <a:pt x="1" y="0"/>
                    </a:cubicBezTo>
                    <a:cubicBezTo>
                      <a:pt x="16" y="10"/>
                      <a:pt x="28" y="27"/>
                      <a:pt x="29" y="50"/>
                    </a:cubicBezTo>
                    <a:cubicBezTo>
                      <a:pt x="30" y="66"/>
                      <a:pt x="27" y="85"/>
                      <a:pt x="27" y="104"/>
                    </a:cubicBezTo>
                    <a:cubicBezTo>
                      <a:pt x="25" y="104"/>
                      <a:pt x="25" y="100"/>
                      <a:pt x="25" y="98"/>
                    </a:cubicBezTo>
                    <a:cubicBezTo>
                      <a:pt x="19" y="64"/>
                      <a:pt x="11" y="31"/>
                      <a:pt x="1" y="1"/>
                    </a:cubicBezTo>
                    <a:cubicBezTo>
                      <a:pt x="1" y="1"/>
                      <a:pt x="1"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41" name="Freeform 199"/>
              <p:cNvSpPr>
                <a:spLocks/>
              </p:cNvSpPr>
              <p:nvPr/>
            </p:nvSpPr>
            <p:spPr bwMode="auto">
              <a:xfrm>
                <a:off x="6020656" y="1415022"/>
                <a:ext cx="58811" cy="177849"/>
              </a:xfrm>
              <a:custGeom>
                <a:avLst/>
                <a:gdLst>
                  <a:gd name="T0" fmla="*/ 16 w 35"/>
                  <a:gd name="T1" fmla="*/ 1 h 106"/>
                  <a:gd name="T2" fmla="*/ 17 w 35"/>
                  <a:gd name="T3" fmla="*/ 1 h 106"/>
                  <a:gd name="T4" fmla="*/ 33 w 35"/>
                  <a:gd name="T5" fmla="*/ 33 h 106"/>
                  <a:gd name="T6" fmla="*/ 20 w 35"/>
                  <a:gd name="T7" fmla="*/ 74 h 106"/>
                  <a:gd name="T8" fmla="*/ 0 w 35"/>
                  <a:gd name="T9" fmla="*/ 106 h 106"/>
                  <a:gd name="T10" fmla="*/ 16 w 35"/>
                  <a:gd name="T11" fmla="*/ 1 h 106"/>
                </a:gdLst>
                <a:ahLst/>
                <a:cxnLst>
                  <a:cxn ang="0">
                    <a:pos x="T0" y="T1"/>
                  </a:cxn>
                  <a:cxn ang="0">
                    <a:pos x="T2" y="T3"/>
                  </a:cxn>
                  <a:cxn ang="0">
                    <a:pos x="T4" y="T5"/>
                  </a:cxn>
                  <a:cxn ang="0">
                    <a:pos x="T6" y="T7"/>
                  </a:cxn>
                  <a:cxn ang="0">
                    <a:pos x="T8" y="T9"/>
                  </a:cxn>
                  <a:cxn ang="0">
                    <a:pos x="T10" y="T11"/>
                  </a:cxn>
                </a:cxnLst>
                <a:rect l="0" t="0" r="r" b="b"/>
                <a:pathLst>
                  <a:path w="35" h="106">
                    <a:moveTo>
                      <a:pt x="16" y="1"/>
                    </a:moveTo>
                    <a:cubicBezTo>
                      <a:pt x="17" y="0"/>
                      <a:pt x="17" y="1"/>
                      <a:pt x="17" y="1"/>
                    </a:cubicBezTo>
                    <a:cubicBezTo>
                      <a:pt x="26" y="7"/>
                      <a:pt x="35" y="17"/>
                      <a:pt x="33" y="33"/>
                    </a:cubicBezTo>
                    <a:cubicBezTo>
                      <a:pt x="32" y="46"/>
                      <a:pt x="26" y="61"/>
                      <a:pt x="20" y="74"/>
                    </a:cubicBezTo>
                    <a:cubicBezTo>
                      <a:pt x="14" y="87"/>
                      <a:pt x="6" y="98"/>
                      <a:pt x="0" y="106"/>
                    </a:cubicBezTo>
                    <a:cubicBezTo>
                      <a:pt x="6" y="72"/>
                      <a:pt x="13" y="39"/>
                      <a:pt x="16"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42" name="Freeform 200"/>
              <p:cNvSpPr>
                <a:spLocks/>
              </p:cNvSpPr>
              <p:nvPr/>
            </p:nvSpPr>
            <p:spPr bwMode="auto">
              <a:xfrm>
                <a:off x="5982394" y="1460370"/>
                <a:ext cx="162261" cy="187769"/>
              </a:xfrm>
              <a:custGeom>
                <a:avLst/>
                <a:gdLst>
                  <a:gd name="T0" fmla="*/ 0 w 97"/>
                  <a:gd name="T1" fmla="*/ 112 h 112"/>
                  <a:gd name="T2" fmla="*/ 77 w 97"/>
                  <a:gd name="T3" fmla="*/ 0 h 112"/>
                  <a:gd name="T4" fmla="*/ 96 w 97"/>
                  <a:gd name="T5" fmla="*/ 22 h 112"/>
                  <a:gd name="T6" fmla="*/ 86 w 97"/>
                  <a:gd name="T7" fmla="*/ 35 h 112"/>
                  <a:gd name="T8" fmla="*/ 75 w 97"/>
                  <a:gd name="T9" fmla="*/ 47 h 112"/>
                  <a:gd name="T10" fmla="*/ 0 w 97"/>
                  <a:gd name="T11" fmla="*/ 112 h 112"/>
                </a:gdLst>
                <a:ahLst/>
                <a:cxnLst>
                  <a:cxn ang="0">
                    <a:pos x="T0" y="T1"/>
                  </a:cxn>
                  <a:cxn ang="0">
                    <a:pos x="T2" y="T3"/>
                  </a:cxn>
                  <a:cxn ang="0">
                    <a:pos x="T4" y="T5"/>
                  </a:cxn>
                  <a:cxn ang="0">
                    <a:pos x="T6" y="T7"/>
                  </a:cxn>
                  <a:cxn ang="0">
                    <a:pos x="T8" y="T9"/>
                  </a:cxn>
                  <a:cxn ang="0">
                    <a:pos x="T10" y="T11"/>
                  </a:cxn>
                </a:cxnLst>
                <a:rect l="0" t="0" r="r" b="b"/>
                <a:pathLst>
                  <a:path w="97" h="112">
                    <a:moveTo>
                      <a:pt x="0" y="112"/>
                    </a:moveTo>
                    <a:cubicBezTo>
                      <a:pt x="28" y="77"/>
                      <a:pt x="58" y="44"/>
                      <a:pt x="77" y="0"/>
                    </a:cubicBezTo>
                    <a:cubicBezTo>
                      <a:pt x="82" y="5"/>
                      <a:pt x="97" y="13"/>
                      <a:pt x="96" y="22"/>
                    </a:cubicBezTo>
                    <a:cubicBezTo>
                      <a:pt x="96" y="25"/>
                      <a:pt x="89" y="32"/>
                      <a:pt x="86" y="35"/>
                    </a:cubicBezTo>
                    <a:cubicBezTo>
                      <a:pt x="82" y="40"/>
                      <a:pt x="79" y="43"/>
                      <a:pt x="75" y="47"/>
                    </a:cubicBezTo>
                    <a:cubicBezTo>
                      <a:pt x="52" y="71"/>
                      <a:pt x="27" y="92"/>
                      <a:pt x="0" y="1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43" name="Freeform 201"/>
              <p:cNvSpPr>
                <a:spLocks/>
              </p:cNvSpPr>
              <p:nvPr/>
            </p:nvSpPr>
            <p:spPr bwMode="auto">
              <a:xfrm>
                <a:off x="5557256" y="1505718"/>
                <a:ext cx="39680" cy="38262"/>
              </a:xfrm>
              <a:custGeom>
                <a:avLst/>
                <a:gdLst>
                  <a:gd name="T0" fmla="*/ 13 w 24"/>
                  <a:gd name="T1" fmla="*/ 23 h 23"/>
                  <a:gd name="T2" fmla="*/ 1 w 24"/>
                  <a:gd name="T3" fmla="*/ 15 h 23"/>
                  <a:gd name="T4" fmla="*/ 20 w 24"/>
                  <a:gd name="T5" fmla="*/ 17 h 23"/>
                  <a:gd name="T6" fmla="*/ 13 w 24"/>
                  <a:gd name="T7" fmla="*/ 23 h 23"/>
                </a:gdLst>
                <a:ahLst/>
                <a:cxnLst>
                  <a:cxn ang="0">
                    <a:pos x="T0" y="T1"/>
                  </a:cxn>
                  <a:cxn ang="0">
                    <a:pos x="T2" y="T3"/>
                  </a:cxn>
                  <a:cxn ang="0">
                    <a:pos x="T4" y="T5"/>
                  </a:cxn>
                  <a:cxn ang="0">
                    <a:pos x="T6" y="T7"/>
                  </a:cxn>
                </a:cxnLst>
                <a:rect l="0" t="0" r="r" b="b"/>
                <a:pathLst>
                  <a:path w="24" h="23">
                    <a:moveTo>
                      <a:pt x="13" y="23"/>
                    </a:moveTo>
                    <a:cubicBezTo>
                      <a:pt x="6" y="23"/>
                      <a:pt x="2" y="20"/>
                      <a:pt x="1" y="15"/>
                    </a:cubicBezTo>
                    <a:cubicBezTo>
                      <a:pt x="0" y="0"/>
                      <a:pt x="24" y="3"/>
                      <a:pt x="20" y="17"/>
                    </a:cubicBezTo>
                    <a:cubicBezTo>
                      <a:pt x="19" y="20"/>
                      <a:pt x="17" y="21"/>
                      <a:pt x="13"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44" name="Freeform 202"/>
              <p:cNvSpPr>
                <a:spLocks/>
              </p:cNvSpPr>
              <p:nvPr/>
            </p:nvSpPr>
            <p:spPr bwMode="auto">
              <a:xfrm>
                <a:off x="5244072" y="1514221"/>
                <a:ext cx="102033" cy="172181"/>
              </a:xfrm>
              <a:custGeom>
                <a:avLst/>
                <a:gdLst>
                  <a:gd name="T0" fmla="*/ 53 w 61"/>
                  <a:gd name="T1" fmla="*/ 4 h 103"/>
                  <a:gd name="T2" fmla="*/ 52 w 61"/>
                  <a:gd name="T3" fmla="*/ 17 h 103"/>
                  <a:gd name="T4" fmla="*/ 19 w 61"/>
                  <a:gd name="T5" fmla="*/ 31 h 103"/>
                  <a:gd name="T6" fmla="*/ 50 w 61"/>
                  <a:gd name="T7" fmla="*/ 50 h 103"/>
                  <a:gd name="T8" fmla="*/ 58 w 61"/>
                  <a:gd name="T9" fmla="*/ 65 h 103"/>
                  <a:gd name="T10" fmla="*/ 4 w 61"/>
                  <a:gd name="T11" fmla="*/ 96 h 103"/>
                  <a:gd name="T12" fmla="*/ 5 w 61"/>
                  <a:gd name="T13" fmla="*/ 82 h 103"/>
                  <a:gd name="T14" fmla="*/ 15 w 61"/>
                  <a:gd name="T15" fmla="*/ 84 h 103"/>
                  <a:gd name="T16" fmla="*/ 36 w 61"/>
                  <a:gd name="T17" fmla="*/ 82 h 103"/>
                  <a:gd name="T18" fmla="*/ 42 w 61"/>
                  <a:gd name="T19" fmla="*/ 67 h 103"/>
                  <a:gd name="T20" fmla="*/ 25 w 61"/>
                  <a:gd name="T21" fmla="*/ 55 h 103"/>
                  <a:gd name="T22" fmla="*/ 7 w 61"/>
                  <a:gd name="T23" fmla="*/ 45 h 103"/>
                  <a:gd name="T24" fmla="*/ 6 w 61"/>
                  <a:gd name="T25" fmla="*/ 15 h 103"/>
                  <a:gd name="T26" fmla="*/ 53 w 61"/>
                  <a:gd name="T27" fmla="*/ 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3">
                    <a:moveTo>
                      <a:pt x="53" y="4"/>
                    </a:moveTo>
                    <a:cubicBezTo>
                      <a:pt x="53" y="8"/>
                      <a:pt x="52" y="13"/>
                      <a:pt x="52" y="17"/>
                    </a:cubicBezTo>
                    <a:cubicBezTo>
                      <a:pt x="39" y="12"/>
                      <a:pt x="12" y="14"/>
                      <a:pt x="19" y="31"/>
                    </a:cubicBezTo>
                    <a:cubicBezTo>
                      <a:pt x="22" y="42"/>
                      <a:pt x="42" y="44"/>
                      <a:pt x="50" y="50"/>
                    </a:cubicBezTo>
                    <a:cubicBezTo>
                      <a:pt x="55" y="54"/>
                      <a:pt x="58" y="59"/>
                      <a:pt x="58" y="65"/>
                    </a:cubicBezTo>
                    <a:cubicBezTo>
                      <a:pt x="61" y="92"/>
                      <a:pt x="32" y="103"/>
                      <a:pt x="4" y="96"/>
                    </a:cubicBezTo>
                    <a:cubicBezTo>
                      <a:pt x="5" y="91"/>
                      <a:pt x="4" y="86"/>
                      <a:pt x="5" y="82"/>
                    </a:cubicBezTo>
                    <a:cubicBezTo>
                      <a:pt x="8" y="82"/>
                      <a:pt x="11" y="83"/>
                      <a:pt x="15" y="84"/>
                    </a:cubicBezTo>
                    <a:cubicBezTo>
                      <a:pt x="23" y="85"/>
                      <a:pt x="31" y="85"/>
                      <a:pt x="36" y="82"/>
                    </a:cubicBezTo>
                    <a:cubicBezTo>
                      <a:pt x="40" y="80"/>
                      <a:pt x="44" y="74"/>
                      <a:pt x="42" y="67"/>
                    </a:cubicBezTo>
                    <a:cubicBezTo>
                      <a:pt x="40" y="61"/>
                      <a:pt x="32" y="58"/>
                      <a:pt x="25" y="55"/>
                    </a:cubicBezTo>
                    <a:cubicBezTo>
                      <a:pt x="18" y="52"/>
                      <a:pt x="12" y="50"/>
                      <a:pt x="7" y="45"/>
                    </a:cubicBezTo>
                    <a:cubicBezTo>
                      <a:pt x="1" y="38"/>
                      <a:pt x="0" y="24"/>
                      <a:pt x="6" y="15"/>
                    </a:cubicBezTo>
                    <a:cubicBezTo>
                      <a:pt x="14" y="3"/>
                      <a:pt x="33" y="0"/>
                      <a:pt x="53" y="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45" name="Freeform 203"/>
              <p:cNvSpPr>
                <a:spLocks/>
              </p:cNvSpPr>
              <p:nvPr/>
            </p:nvSpPr>
            <p:spPr bwMode="auto">
              <a:xfrm>
                <a:off x="5728020" y="1517055"/>
                <a:ext cx="76525" cy="162261"/>
              </a:xfrm>
              <a:custGeom>
                <a:avLst/>
                <a:gdLst>
                  <a:gd name="T0" fmla="*/ 27 w 46"/>
                  <a:gd name="T1" fmla="*/ 0 h 97"/>
                  <a:gd name="T2" fmla="*/ 27 w 46"/>
                  <a:gd name="T3" fmla="*/ 26 h 97"/>
                  <a:gd name="T4" fmla="*/ 46 w 46"/>
                  <a:gd name="T5" fmla="*/ 26 h 97"/>
                  <a:gd name="T6" fmla="*/ 45 w 46"/>
                  <a:gd name="T7" fmla="*/ 38 h 97"/>
                  <a:gd name="T8" fmla="*/ 27 w 46"/>
                  <a:gd name="T9" fmla="*/ 38 h 97"/>
                  <a:gd name="T10" fmla="*/ 27 w 46"/>
                  <a:gd name="T11" fmla="*/ 62 h 97"/>
                  <a:gd name="T12" fmla="*/ 31 w 46"/>
                  <a:gd name="T13" fmla="*/ 82 h 97"/>
                  <a:gd name="T14" fmla="*/ 46 w 46"/>
                  <a:gd name="T15" fmla="*/ 82 h 97"/>
                  <a:gd name="T16" fmla="*/ 46 w 46"/>
                  <a:gd name="T17" fmla="*/ 94 h 97"/>
                  <a:gd name="T18" fmla="*/ 15 w 46"/>
                  <a:gd name="T19" fmla="*/ 89 h 97"/>
                  <a:gd name="T20" fmla="*/ 13 w 46"/>
                  <a:gd name="T21" fmla="*/ 38 h 97"/>
                  <a:gd name="T22" fmla="*/ 0 w 46"/>
                  <a:gd name="T23" fmla="*/ 38 h 97"/>
                  <a:gd name="T24" fmla="*/ 0 w 46"/>
                  <a:gd name="T25" fmla="*/ 26 h 97"/>
                  <a:gd name="T26" fmla="*/ 13 w 46"/>
                  <a:gd name="T27" fmla="*/ 26 h 97"/>
                  <a:gd name="T28" fmla="*/ 13 w 46"/>
                  <a:gd name="T29" fmla="*/ 4 h 97"/>
                  <a:gd name="T30" fmla="*/ 27 w 46"/>
                  <a:gd name="T31"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97">
                    <a:moveTo>
                      <a:pt x="27" y="0"/>
                    </a:moveTo>
                    <a:cubicBezTo>
                      <a:pt x="28" y="8"/>
                      <a:pt x="27" y="18"/>
                      <a:pt x="27" y="26"/>
                    </a:cubicBezTo>
                    <a:cubicBezTo>
                      <a:pt x="46" y="26"/>
                      <a:pt x="46" y="26"/>
                      <a:pt x="46" y="26"/>
                    </a:cubicBezTo>
                    <a:cubicBezTo>
                      <a:pt x="45" y="30"/>
                      <a:pt x="46" y="35"/>
                      <a:pt x="45" y="38"/>
                    </a:cubicBezTo>
                    <a:cubicBezTo>
                      <a:pt x="27" y="38"/>
                      <a:pt x="27" y="38"/>
                      <a:pt x="27" y="38"/>
                    </a:cubicBezTo>
                    <a:cubicBezTo>
                      <a:pt x="27" y="62"/>
                      <a:pt x="27" y="62"/>
                      <a:pt x="27" y="62"/>
                    </a:cubicBezTo>
                    <a:cubicBezTo>
                      <a:pt x="27" y="69"/>
                      <a:pt x="26" y="79"/>
                      <a:pt x="31" y="82"/>
                    </a:cubicBezTo>
                    <a:cubicBezTo>
                      <a:pt x="34" y="84"/>
                      <a:pt x="41" y="83"/>
                      <a:pt x="46" y="82"/>
                    </a:cubicBezTo>
                    <a:cubicBezTo>
                      <a:pt x="46" y="94"/>
                      <a:pt x="46" y="94"/>
                      <a:pt x="46" y="94"/>
                    </a:cubicBezTo>
                    <a:cubicBezTo>
                      <a:pt x="34" y="96"/>
                      <a:pt x="20" y="97"/>
                      <a:pt x="15" y="89"/>
                    </a:cubicBezTo>
                    <a:cubicBezTo>
                      <a:pt x="9" y="78"/>
                      <a:pt x="15" y="54"/>
                      <a:pt x="13" y="38"/>
                    </a:cubicBezTo>
                    <a:cubicBezTo>
                      <a:pt x="9" y="37"/>
                      <a:pt x="4" y="38"/>
                      <a:pt x="0" y="38"/>
                    </a:cubicBezTo>
                    <a:cubicBezTo>
                      <a:pt x="0" y="26"/>
                      <a:pt x="0" y="26"/>
                      <a:pt x="0" y="26"/>
                    </a:cubicBezTo>
                    <a:cubicBezTo>
                      <a:pt x="13" y="26"/>
                      <a:pt x="13" y="26"/>
                      <a:pt x="13" y="26"/>
                    </a:cubicBezTo>
                    <a:cubicBezTo>
                      <a:pt x="13" y="4"/>
                      <a:pt x="13" y="4"/>
                      <a:pt x="13" y="4"/>
                    </a:cubicBezTo>
                    <a:cubicBezTo>
                      <a:pt x="18" y="3"/>
                      <a:pt x="23" y="2"/>
                      <a:pt x="2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46" name="Freeform 204"/>
              <p:cNvSpPr>
                <a:spLocks noEditPoints="1"/>
              </p:cNvSpPr>
              <p:nvPr/>
            </p:nvSpPr>
            <p:spPr bwMode="auto">
              <a:xfrm>
                <a:off x="5359567" y="1556026"/>
                <a:ext cx="102033" cy="168638"/>
              </a:xfrm>
              <a:custGeom>
                <a:avLst/>
                <a:gdLst>
                  <a:gd name="T0" fmla="*/ 15 w 61"/>
                  <a:gd name="T1" fmla="*/ 72 h 101"/>
                  <a:gd name="T2" fmla="*/ 15 w 61"/>
                  <a:gd name="T3" fmla="*/ 101 h 101"/>
                  <a:gd name="T4" fmla="*/ 1 w 61"/>
                  <a:gd name="T5" fmla="*/ 101 h 101"/>
                  <a:gd name="T6" fmla="*/ 0 w 61"/>
                  <a:gd name="T7" fmla="*/ 3 h 101"/>
                  <a:gd name="T8" fmla="*/ 14 w 61"/>
                  <a:gd name="T9" fmla="*/ 3 h 101"/>
                  <a:gd name="T10" fmla="*/ 14 w 61"/>
                  <a:gd name="T11" fmla="*/ 15 h 101"/>
                  <a:gd name="T12" fmla="*/ 34 w 61"/>
                  <a:gd name="T13" fmla="*/ 2 h 101"/>
                  <a:gd name="T14" fmla="*/ 61 w 61"/>
                  <a:gd name="T15" fmla="*/ 34 h 101"/>
                  <a:gd name="T16" fmla="*/ 15 w 61"/>
                  <a:gd name="T17" fmla="*/ 72 h 101"/>
                  <a:gd name="T18" fmla="*/ 36 w 61"/>
                  <a:gd name="T19" fmla="*/ 58 h 101"/>
                  <a:gd name="T20" fmla="*/ 39 w 61"/>
                  <a:gd name="T21" fmla="*/ 16 h 101"/>
                  <a:gd name="T22" fmla="*/ 30 w 61"/>
                  <a:gd name="T23" fmla="*/ 14 h 101"/>
                  <a:gd name="T24" fmla="*/ 15 w 61"/>
                  <a:gd name="T25" fmla="*/ 59 h 101"/>
                  <a:gd name="T26" fmla="*/ 36 w 61"/>
                  <a:gd name="T27"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1">
                    <a:moveTo>
                      <a:pt x="15" y="72"/>
                    </a:moveTo>
                    <a:cubicBezTo>
                      <a:pt x="15" y="81"/>
                      <a:pt x="15" y="92"/>
                      <a:pt x="15" y="101"/>
                    </a:cubicBezTo>
                    <a:cubicBezTo>
                      <a:pt x="1" y="101"/>
                      <a:pt x="1" y="101"/>
                      <a:pt x="1" y="101"/>
                    </a:cubicBezTo>
                    <a:cubicBezTo>
                      <a:pt x="0" y="69"/>
                      <a:pt x="0" y="36"/>
                      <a:pt x="0" y="3"/>
                    </a:cubicBezTo>
                    <a:cubicBezTo>
                      <a:pt x="14" y="3"/>
                      <a:pt x="14" y="3"/>
                      <a:pt x="14" y="3"/>
                    </a:cubicBezTo>
                    <a:cubicBezTo>
                      <a:pt x="14" y="7"/>
                      <a:pt x="14" y="11"/>
                      <a:pt x="14" y="15"/>
                    </a:cubicBezTo>
                    <a:cubicBezTo>
                      <a:pt x="18" y="9"/>
                      <a:pt x="23" y="2"/>
                      <a:pt x="34" y="2"/>
                    </a:cubicBezTo>
                    <a:cubicBezTo>
                      <a:pt x="53" y="0"/>
                      <a:pt x="61" y="16"/>
                      <a:pt x="61" y="34"/>
                    </a:cubicBezTo>
                    <a:cubicBezTo>
                      <a:pt x="61" y="59"/>
                      <a:pt x="45" y="77"/>
                      <a:pt x="15" y="72"/>
                    </a:cubicBezTo>
                    <a:moveTo>
                      <a:pt x="36" y="58"/>
                    </a:moveTo>
                    <a:cubicBezTo>
                      <a:pt x="47" y="52"/>
                      <a:pt x="49" y="23"/>
                      <a:pt x="39" y="16"/>
                    </a:cubicBezTo>
                    <a:cubicBezTo>
                      <a:pt x="37" y="14"/>
                      <a:pt x="33" y="14"/>
                      <a:pt x="30" y="14"/>
                    </a:cubicBezTo>
                    <a:cubicBezTo>
                      <a:pt x="14" y="16"/>
                      <a:pt x="15" y="41"/>
                      <a:pt x="15" y="59"/>
                    </a:cubicBezTo>
                    <a:cubicBezTo>
                      <a:pt x="23" y="61"/>
                      <a:pt x="31" y="62"/>
                      <a:pt x="36" y="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47" name="Freeform 205"/>
              <p:cNvSpPr>
                <a:spLocks/>
              </p:cNvSpPr>
              <p:nvPr/>
            </p:nvSpPr>
            <p:spPr bwMode="auto">
              <a:xfrm>
                <a:off x="5481440" y="1557443"/>
                <a:ext cx="60228" cy="119039"/>
              </a:xfrm>
              <a:custGeom>
                <a:avLst/>
                <a:gdLst>
                  <a:gd name="T0" fmla="*/ 36 w 36"/>
                  <a:gd name="T1" fmla="*/ 1 h 71"/>
                  <a:gd name="T2" fmla="*/ 35 w 36"/>
                  <a:gd name="T3" fmla="*/ 15 h 71"/>
                  <a:gd name="T4" fmla="*/ 15 w 36"/>
                  <a:gd name="T5" fmla="*/ 71 h 71"/>
                  <a:gd name="T6" fmla="*/ 0 w 36"/>
                  <a:gd name="T7" fmla="*/ 71 h 71"/>
                  <a:gd name="T8" fmla="*/ 0 w 36"/>
                  <a:gd name="T9" fmla="*/ 2 h 71"/>
                  <a:gd name="T10" fmla="*/ 14 w 36"/>
                  <a:gd name="T11" fmla="*/ 2 h 71"/>
                  <a:gd name="T12" fmla="*/ 13 w 36"/>
                  <a:gd name="T13" fmla="*/ 17 h 71"/>
                  <a:gd name="T14" fmla="*/ 36 w 36"/>
                  <a:gd name="T15" fmla="*/ 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71">
                    <a:moveTo>
                      <a:pt x="36" y="1"/>
                    </a:moveTo>
                    <a:cubicBezTo>
                      <a:pt x="35" y="5"/>
                      <a:pt x="35" y="10"/>
                      <a:pt x="35" y="15"/>
                    </a:cubicBezTo>
                    <a:cubicBezTo>
                      <a:pt x="9" y="12"/>
                      <a:pt x="16" y="47"/>
                      <a:pt x="15" y="71"/>
                    </a:cubicBezTo>
                    <a:cubicBezTo>
                      <a:pt x="0" y="71"/>
                      <a:pt x="0" y="71"/>
                      <a:pt x="0" y="71"/>
                    </a:cubicBezTo>
                    <a:cubicBezTo>
                      <a:pt x="0" y="49"/>
                      <a:pt x="0" y="25"/>
                      <a:pt x="0" y="2"/>
                    </a:cubicBezTo>
                    <a:cubicBezTo>
                      <a:pt x="14" y="2"/>
                      <a:pt x="14" y="2"/>
                      <a:pt x="14" y="2"/>
                    </a:cubicBezTo>
                    <a:cubicBezTo>
                      <a:pt x="14" y="8"/>
                      <a:pt x="14" y="12"/>
                      <a:pt x="13" y="17"/>
                    </a:cubicBezTo>
                    <a:cubicBezTo>
                      <a:pt x="17" y="8"/>
                      <a:pt x="22" y="0"/>
                      <a:pt x="36"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48" name="Freeform 206"/>
              <p:cNvSpPr>
                <a:spLocks/>
              </p:cNvSpPr>
              <p:nvPr/>
            </p:nvSpPr>
            <p:spPr bwMode="auto">
              <a:xfrm>
                <a:off x="5617484" y="1553900"/>
                <a:ext cx="113370" cy="120456"/>
              </a:xfrm>
              <a:custGeom>
                <a:avLst/>
                <a:gdLst>
                  <a:gd name="T0" fmla="*/ 58 w 68"/>
                  <a:gd name="T1" fmla="*/ 72 h 72"/>
                  <a:gd name="T2" fmla="*/ 43 w 68"/>
                  <a:gd name="T3" fmla="*/ 72 h 72"/>
                  <a:gd name="T4" fmla="*/ 43 w 68"/>
                  <a:gd name="T5" fmla="*/ 24 h 72"/>
                  <a:gd name="T6" fmla="*/ 27 w 68"/>
                  <a:gd name="T7" fmla="*/ 16 h 72"/>
                  <a:gd name="T8" fmla="*/ 15 w 68"/>
                  <a:gd name="T9" fmla="*/ 72 h 72"/>
                  <a:gd name="T10" fmla="*/ 0 w 68"/>
                  <a:gd name="T11" fmla="*/ 72 h 72"/>
                  <a:gd name="T12" fmla="*/ 0 w 68"/>
                  <a:gd name="T13" fmla="*/ 4 h 72"/>
                  <a:gd name="T14" fmla="*/ 14 w 68"/>
                  <a:gd name="T15" fmla="*/ 4 h 72"/>
                  <a:gd name="T16" fmla="*/ 13 w 68"/>
                  <a:gd name="T17" fmla="*/ 17 h 72"/>
                  <a:gd name="T18" fmla="*/ 35 w 68"/>
                  <a:gd name="T19" fmla="*/ 3 h 72"/>
                  <a:gd name="T20" fmla="*/ 58 w 68"/>
                  <a:gd name="T2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72">
                    <a:moveTo>
                      <a:pt x="58" y="72"/>
                    </a:moveTo>
                    <a:cubicBezTo>
                      <a:pt x="43" y="72"/>
                      <a:pt x="43" y="72"/>
                      <a:pt x="43" y="72"/>
                    </a:cubicBezTo>
                    <a:cubicBezTo>
                      <a:pt x="41" y="57"/>
                      <a:pt x="45" y="39"/>
                      <a:pt x="43" y="24"/>
                    </a:cubicBezTo>
                    <a:cubicBezTo>
                      <a:pt x="42" y="17"/>
                      <a:pt x="35" y="13"/>
                      <a:pt x="27" y="16"/>
                    </a:cubicBezTo>
                    <a:cubicBezTo>
                      <a:pt x="12" y="22"/>
                      <a:pt x="15" y="51"/>
                      <a:pt x="15" y="72"/>
                    </a:cubicBezTo>
                    <a:cubicBezTo>
                      <a:pt x="0" y="72"/>
                      <a:pt x="0" y="72"/>
                      <a:pt x="0" y="72"/>
                    </a:cubicBezTo>
                    <a:cubicBezTo>
                      <a:pt x="0" y="4"/>
                      <a:pt x="0" y="4"/>
                      <a:pt x="0" y="4"/>
                    </a:cubicBezTo>
                    <a:cubicBezTo>
                      <a:pt x="14" y="4"/>
                      <a:pt x="14" y="4"/>
                      <a:pt x="14" y="4"/>
                    </a:cubicBezTo>
                    <a:cubicBezTo>
                      <a:pt x="14" y="9"/>
                      <a:pt x="14" y="13"/>
                      <a:pt x="13" y="17"/>
                    </a:cubicBezTo>
                    <a:cubicBezTo>
                      <a:pt x="17" y="10"/>
                      <a:pt x="24" y="3"/>
                      <a:pt x="35" y="3"/>
                    </a:cubicBezTo>
                    <a:cubicBezTo>
                      <a:pt x="68" y="0"/>
                      <a:pt x="55" y="42"/>
                      <a:pt x="5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49" name="Freeform 207"/>
              <p:cNvSpPr>
                <a:spLocks/>
              </p:cNvSpPr>
              <p:nvPr/>
            </p:nvSpPr>
            <p:spPr bwMode="auto">
              <a:xfrm>
                <a:off x="5563633" y="1560986"/>
                <a:ext cx="25508" cy="113370"/>
              </a:xfrm>
              <a:custGeom>
                <a:avLst/>
                <a:gdLst>
                  <a:gd name="T0" fmla="*/ 0 w 15"/>
                  <a:gd name="T1" fmla="*/ 0 h 68"/>
                  <a:gd name="T2" fmla="*/ 15 w 15"/>
                  <a:gd name="T3" fmla="*/ 0 h 68"/>
                  <a:gd name="T4" fmla="*/ 15 w 15"/>
                  <a:gd name="T5" fmla="*/ 68 h 68"/>
                  <a:gd name="T6" fmla="*/ 0 w 15"/>
                  <a:gd name="T7" fmla="*/ 68 h 68"/>
                  <a:gd name="T8" fmla="*/ 0 w 15"/>
                  <a:gd name="T9" fmla="*/ 1 h 68"/>
                  <a:gd name="T10" fmla="*/ 0 w 15"/>
                  <a:gd name="T11" fmla="*/ 0 h 68"/>
                </a:gdLst>
                <a:ahLst/>
                <a:cxnLst>
                  <a:cxn ang="0">
                    <a:pos x="T0" y="T1"/>
                  </a:cxn>
                  <a:cxn ang="0">
                    <a:pos x="T2" y="T3"/>
                  </a:cxn>
                  <a:cxn ang="0">
                    <a:pos x="T4" y="T5"/>
                  </a:cxn>
                  <a:cxn ang="0">
                    <a:pos x="T6" y="T7"/>
                  </a:cxn>
                  <a:cxn ang="0">
                    <a:pos x="T8" y="T9"/>
                  </a:cxn>
                  <a:cxn ang="0">
                    <a:pos x="T10" y="T11"/>
                  </a:cxn>
                </a:cxnLst>
                <a:rect l="0" t="0" r="r" b="b"/>
                <a:pathLst>
                  <a:path w="15" h="68">
                    <a:moveTo>
                      <a:pt x="0" y="0"/>
                    </a:moveTo>
                    <a:cubicBezTo>
                      <a:pt x="15" y="0"/>
                      <a:pt x="15" y="0"/>
                      <a:pt x="15" y="0"/>
                    </a:cubicBezTo>
                    <a:cubicBezTo>
                      <a:pt x="15" y="68"/>
                      <a:pt x="15" y="68"/>
                      <a:pt x="15" y="68"/>
                    </a:cubicBezTo>
                    <a:cubicBezTo>
                      <a:pt x="0" y="68"/>
                      <a:pt x="0" y="68"/>
                      <a:pt x="0" y="68"/>
                    </a:cubicBezTo>
                    <a:cubicBezTo>
                      <a:pt x="0" y="1"/>
                      <a:pt x="0" y="1"/>
                      <a:pt x="0" y="1"/>
                    </a:cubicBezTo>
                    <a:cubicBezTo>
                      <a:pt x="0" y="1"/>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50" name="Freeform 208"/>
              <p:cNvSpPr>
                <a:spLocks/>
              </p:cNvSpPr>
              <p:nvPr/>
            </p:nvSpPr>
            <p:spPr bwMode="auto">
              <a:xfrm>
                <a:off x="5891698" y="1502175"/>
                <a:ext cx="318145" cy="213986"/>
              </a:xfrm>
              <a:custGeom>
                <a:avLst/>
                <a:gdLst>
                  <a:gd name="T0" fmla="*/ 17 w 190"/>
                  <a:gd name="T1" fmla="*/ 123 h 128"/>
                  <a:gd name="T2" fmla="*/ 0 w 190"/>
                  <a:gd name="T3" fmla="*/ 128 h 128"/>
                  <a:gd name="T4" fmla="*/ 0 w 190"/>
                  <a:gd name="T5" fmla="*/ 128 h 128"/>
                  <a:gd name="T6" fmla="*/ 85 w 190"/>
                  <a:gd name="T7" fmla="*/ 68 h 128"/>
                  <a:gd name="T8" fmla="*/ 124 w 190"/>
                  <a:gd name="T9" fmla="*/ 36 h 128"/>
                  <a:gd name="T10" fmla="*/ 152 w 190"/>
                  <a:gd name="T11" fmla="*/ 10 h 128"/>
                  <a:gd name="T12" fmla="*/ 173 w 190"/>
                  <a:gd name="T13" fmla="*/ 5 h 128"/>
                  <a:gd name="T14" fmla="*/ 181 w 190"/>
                  <a:gd name="T15" fmla="*/ 10 h 128"/>
                  <a:gd name="T16" fmla="*/ 189 w 190"/>
                  <a:gd name="T17" fmla="*/ 27 h 128"/>
                  <a:gd name="T18" fmla="*/ 180 w 190"/>
                  <a:gd name="T19" fmla="*/ 34 h 128"/>
                  <a:gd name="T20" fmla="*/ 107 w 190"/>
                  <a:gd name="T21" fmla="*/ 79 h 128"/>
                  <a:gd name="T22" fmla="*/ 17 w 190"/>
                  <a:gd name="T23" fmla="*/ 12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0" h="128">
                    <a:moveTo>
                      <a:pt x="17" y="123"/>
                    </a:moveTo>
                    <a:cubicBezTo>
                      <a:pt x="11" y="124"/>
                      <a:pt x="6" y="126"/>
                      <a:pt x="0" y="128"/>
                    </a:cubicBezTo>
                    <a:cubicBezTo>
                      <a:pt x="0" y="128"/>
                      <a:pt x="0" y="128"/>
                      <a:pt x="0" y="128"/>
                    </a:cubicBezTo>
                    <a:cubicBezTo>
                      <a:pt x="26" y="108"/>
                      <a:pt x="57" y="90"/>
                      <a:pt x="85" y="68"/>
                    </a:cubicBezTo>
                    <a:cubicBezTo>
                      <a:pt x="97" y="58"/>
                      <a:pt x="110" y="47"/>
                      <a:pt x="124" y="36"/>
                    </a:cubicBezTo>
                    <a:cubicBezTo>
                      <a:pt x="133" y="28"/>
                      <a:pt x="143" y="19"/>
                      <a:pt x="152" y="10"/>
                    </a:cubicBezTo>
                    <a:cubicBezTo>
                      <a:pt x="159" y="4"/>
                      <a:pt x="163" y="0"/>
                      <a:pt x="173" y="5"/>
                    </a:cubicBezTo>
                    <a:cubicBezTo>
                      <a:pt x="176" y="7"/>
                      <a:pt x="179" y="8"/>
                      <a:pt x="181" y="10"/>
                    </a:cubicBezTo>
                    <a:cubicBezTo>
                      <a:pt x="184" y="13"/>
                      <a:pt x="190" y="21"/>
                      <a:pt x="189" y="27"/>
                    </a:cubicBezTo>
                    <a:cubicBezTo>
                      <a:pt x="189" y="29"/>
                      <a:pt x="183" y="32"/>
                      <a:pt x="180" y="34"/>
                    </a:cubicBezTo>
                    <a:cubicBezTo>
                      <a:pt x="157" y="50"/>
                      <a:pt x="132" y="65"/>
                      <a:pt x="107" y="79"/>
                    </a:cubicBezTo>
                    <a:cubicBezTo>
                      <a:pt x="78" y="95"/>
                      <a:pt x="47" y="108"/>
                      <a:pt x="17" y="1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022" name="Group 1021"/>
            <p:cNvGrpSpPr/>
            <p:nvPr/>
          </p:nvGrpSpPr>
          <p:grpSpPr>
            <a:xfrm>
              <a:off x="7265091" y="1565021"/>
              <a:ext cx="1203847" cy="168638"/>
              <a:chOff x="6447211" y="1514221"/>
              <a:chExt cx="1203847" cy="168638"/>
            </a:xfrm>
          </p:grpSpPr>
          <p:sp>
            <p:nvSpPr>
              <p:cNvPr id="1024" name="Rectangle 209"/>
              <p:cNvSpPr>
                <a:spLocks noChangeArrowheads="1"/>
              </p:cNvSpPr>
              <p:nvPr/>
            </p:nvSpPr>
            <p:spPr bwMode="auto">
              <a:xfrm>
                <a:off x="6447211" y="1590746"/>
                <a:ext cx="35428" cy="333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25" name="Rectangle 210"/>
              <p:cNvSpPr>
                <a:spLocks noChangeArrowheads="1"/>
              </p:cNvSpPr>
              <p:nvPr/>
            </p:nvSpPr>
            <p:spPr bwMode="auto">
              <a:xfrm>
                <a:off x="6549952" y="1590746"/>
                <a:ext cx="33302" cy="333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26" name="Rectangle 211"/>
              <p:cNvSpPr>
                <a:spLocks noChangeArrowheads="1"/>
              </p:cNvSpPr>
              <p:nvPr/>
            </p:nvSpPr>
            <p:spPr bwMode="auto">
              <a:xfrm>
                <a:off x="6649860" y="1590746"/>
                <a:ext cx="34011" cy="333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27" name="Freeform 212"/>
              <p:cNvSpPr>
                <a:spLocks/>
              </p:cNvSpPr>
              <p:nvPr/>
            </p:nvSpPr>
            <p:spPr bwMode="auto">
              <a:xfrm>
                <a:off x="6649860" y="1514221"/>
                <a:ext cx="136044" cy="165095"/>
              </a:xfrm>
              <a:custGeom>
                <a:avLst/>
                <a:gdLst>
                  <a:gd name="T0" fmla="*/ 48 w 81"/>
                  <a:gd name="T1" fmla="*/ 78 h 99"/>
                  <a:gd name="T2" fmla="*/ 51 w 81"/>
                  <a:gd name="T3" fmla="*/ 90 h 99"/>
                  <a:gd name="T4" fmla="*/ 59 w 81"/>
                  <a:gd name="T5" fmla="*/ 93 h 99"/>
                  <a:gd name="T6" fmla="*/ 65 w 81"/>
                  <a:gd name="T7" fmla="*/ 94 h 99"/>
                  <a:gd name="T8" fmla="*/ 65 w 81"/>
                  <a:gd name="T9" fmla="*/ 99 h 99"/>
                  <a:gd name="T10" fmla="*/ 16 w 81"/>
                  <a:gd name="T11" fmla="*/ 99 h 99"/>
                  <a:gd name="T12" fmla="*/ 16 w 81"/>
                  <a:gd name="T13" fmla="*/ 94 h 99"/>
                  <a:gd name="T14" fmla="*/ 25 w 81"/>
                  <a:gd name="T15" fmla="*/ 93 h 99"/>
                  <a:gd name="T16" fmla="*/ 32 w 81"/>
                  <a:gd name="T17" fmla="*/ 86 h 99"/>
                  <a:gd name="T18" fmla="*/ 33 w 81"/>
                  <a:gd name="T19" fmla="*/ 78 h 99"/>
                  <a:gd name="T20" fmla="*/ 33 w 81"/>
                  <a:gd name="T21" fmla="*/ 5 h 99"/>
                  <a:gd name="T22" fmla="*/ 13 w 81"/>
                  <a:gd name="T23" fmla="*/ 13 h 99"/>
                  <a:gd name="T24" fmla="*/ 5 w 81"/>
                  <a:gd name="T25" fmla="*/ 36 h 99"/>
                  <a:gd name="T26" fmla="*/ 0 w 81"/>
                  <a:gd name="T27" fmla="*/ 35 h 99"/>
                  <a:gd name="T28" fmla="*/ 1 w 81"/>
                  <a:gd name="T29" fmla="*/ 0 h 99"/>
                  <a:gd name="T30" fmla="*/ 80 w 81"/>
                  <a:gd name="T31" fmla="*/ 0 h 99"/>
                  <a:gd name="T32" fmla="*/ 81 w 81"/>
                  <a:gd name="T33" fmla="*/ 35 h 99"/>
                  <a:gd name="T34" fmla="*/ 75 w 81"/>
                  <a:gd name="T35" fmla="*/ 36 h 99"/>
                  <a:gd name="T36" fmla="*/ 67 w 81"/>
                  <a:gd name="T37" fmla="*/ 13 h 99"/>
                  <a:gd name="T38" fmla="*/ 48 w 81"/>
                  <a:gd name="T39" fmla="*/ 5 h 99"/>
                  <a:gd name="T40" fmla="*/ 48 w 81"/>
                  <a:gd name="T41" fmla="*/ 7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99">
                    <a:moveTo>
                      <a:pt x="48" y="78"/>
                    </a:moveTo>
                    <a:cubicBezTo>
                      <a:pt x="48" y="84"/>
                      <a:pt x="49" y="89"/>
                      <a:pt x="51" y="90"/>
                    </a:cubicBezTo>
                    <a:cubicBezTo>
                      <a:pt x="52" y="92"/>
                      <a:pt x="55" y="93"/>
                      <a:pt x="59" y="93"/>
                    </a:cubicBezTo>
                    <a:cubicBezTo>
                      <a:pt x="60" y="94"/>
                      <a:pt x="62" y="94"/>
                      <a:pt x="65" y="94"/>
                    </a:cubicBezTo>
                    <a:cubicBezTo>
                      <a:pt x="65" y="99"/>
                      <a:pt x="65" y="99"/>
                      <a:pt x="65" y="99"/>
                    </a:cubicBezTo>
                    <a:cubicBezTo>
                      <a:pt x="16" y="99"/>
                      <a:pt x="16" y="99"/>
                      <a:pt x="16" y="99"/>
                    </a:cubicBezTo>
                    <a:cubicBezTo>
                      <a:pt x="16" y="94"/>
                      <a:pt x="16" y="94"/>
                      <a:pt x="16" y="94"/>
                    </a:cubicBezTo>
                    <a:cubicBezTo>
                      <a:pt x="20" y="94"/>
                      <a:pt x="23" y="93"/>
                      <a:pt x="25" y="93"/>
                    </a:cubicBezTo>
                    <a:cubicBezTo>
                      <a:pt x="29" y="92"/>
                      <a:pt x="31" y="90"/>
                      <a:pt x="32" y="86"/>
                    </a:cubicBezTo>
                    <a:cubicBezTo>
                      <a:pt x="32" y="85"/>
                      <a:pt x="33" y="82"/>
                      <a:pt x="33" y="78"/>
                    </a:cubicBezTo>
                    <a:cubicBezTo>
                      <a:pt x="33" y="5"/>
                      <a:pt x="33" y="5"/>
                      <a:pt x="33" y="5"/>
                    </a:cubicBezTo>
                    <a:cubicBezTo>
                      <a:pt x="24" y="5"/>
                      <a:pt x="18" y="8"/>
                      <a:pt x="13" y="13"/>
                    </a:cubicBezTo>
                    <a:cubicBezTo>
                      <a:pt x="9" y="18"/>
                      <a:pt x="6" y="26"/>
                      <a:pt x="5" y="36"/>
                    </a:cubicBezTo>
                    <a:cubicBezTo>
                      <a:pt x="0" y="35"/>
                      <a:pt x="0" y="35"/>
                      <a:pt x="0" y="35"/>
                    </a:cubicBezTo>
                    <a:cubicBezTo>
                      <a:pt x="1" y="0"/>
                      <a:pt x="1" y="0"/>
                      <a:pt x="1" y="0"/>
                    </a:cubicBezTo>
                    <a:cubicBezTo>
                      <a:pt x="80" y="0"/>
                      <a:pt x="80" y="0"/>
                      <a:pt x="80" y="0"/>
                    </a:cubicBezTo>
                    <a:cubicBezTo>
                      <a:pt x="81" y="35"/>
                      <a:pt x="81" y="35"/>
                      <a:pt x="81" y="35"/>
                    </a:cubicBezTo>
                    <a:cubicBezTo>
                      <a:pt x="75" y="36"/>
                      <a:pt x="75" y="36"/>
                      <a:pt x="75" y="36"/>
                    </a:cubicBezTo>
                    <a:cubicBezTo>
                      <a:pt x="74" y="26"/>
                      <a:pt x="72" y="18"/>
                      <a:pt x="67" y="13"/>
                    </a:cubicBezTo>
                    <a:cubicBezTo>
                      <a:pt x="63" y="8"/>
                      <a:pt x="56" y="5"/>
                      <a:pt x="48" y="5"/>
                    </a:cubicBezTo>
                    <a:lnTo>
                      <a:pt x="4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28" name="Rectangle 213"/>
              <p:cNvSpPr>
                <a:spLocks noChangeArrowheads="1"/>
              </p:cNvSpPr>
              <p:nvPr/>
            </p:nvSpPr>
            <p:spPr bwMode="auto">
              <a:xfrm>
                <a:off x="6751893" y="1590746"/>
                <a:ext cx="34011" cy="333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29" name="Rectangle 214"/>
              <p:cNvSpPr>
                <a:spLocks noChangeArrowheads="1"/>
              </p:cNvSpPr>
              <p:nvPr/>
            </p:nvSpPr>
            <p:spPr bwMode="auto">
              <a:xfrm>
                <a:off x="6852509" y="1590746"/>
                <a:ext cx="33302" cy="333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30" name="Freeform 215"/>
              <p:cNvSpPr>
                <a:spLocks/>
              </p:cNvSpPr>
              <p:nvPr/>
            </p:nvSpPr>
            <p:spPr bwMode="auto">
              <a:xfrm>
                <a:off x="7001307" y="1520598"/>
                <a:ext cx="160844" cy="158718"/>
              </a:xfrm>
              <a:custGeom>
                <a:avLst/>
                <a:gdLst>
                  <a:gd name="T0" fmla="*/ 46 w 96"/>
                  <a:gd name="T1" fmla="*/ 95 h 95"/>
                  <a:gd name="T2" fmla="*/ 42 w 96"/>
                  <a:gd name="T3" fmla="*/ 95 h 95"/>
                  <a:gd name="T4" fmla="*/ 17 w 96"/>
                  <a:gd name="T5" fmla="*/ 9 h 95"/>
                  <a:gd name="T6" fmla="*/ 17 w 96"/>
                  <a:gd name="T7" fmla="*/ 71 h 95"/>
                  <a:gd name="T8" fmla="*/ 18 w 96"/>
                  <a:gd name="T9" fmla="*/ 83 h 95"/>
                  <a:gd name="T10" fmla="*/ 27 w 96"/>
                  <a:gd name="T11" fmla="*/ 91 h 95"/>
                  <a:gd name="T12" fmla="*/ 29 w 96"/>
                  <a:gd name="T13" fmla="*/ 91 h 95"/>
                  <a:gd name="T14" fmla="*/ 29 w 96"/>
                  <a:gd name="T15" fmla="*/ 95 h 95"/>
                  <a:gd name="T16" fmla="*/ 0 w 96"/>
                  <a:gd name="T17" fmla="*/ 95 h 95"/>
                  <a:gd name="T18" fmla="*/ 0 w 96"/>
                  <a:gd name="T19" fmla="*/ 91 h 95"/>
                  <a:gd name="T20" fmla="*/ 2 w 96"/>
                  <a:gd name="T21" fmla="*/ 91 h 95"/>
                  <a:gd name="T22" fmla="*/ 8 w 96"/>
                  <a:gd name="T23" fmla="*/ 88 h 95"/>
                  <a:gd name="T24" fmla="*/ 11 w 96"/>
                  <a:gd name="T25" fmla="*/ 82 h 95"/>
                  <a:gd name="T26" fmla="*/ 11 w 96"/>
                  <a:gd name="T27" fmla="*/ 71 h 95"/>
                  <a:gd name="T28" fmla="*/ 11 w 96"/>
                  <a:gd name="T29" fmla="*/ 16 h 95"/>
                  <a:gd name="T30" fmla="*/ 11 w 96"/>
                  <a:gd name="T31" fmla="*/ 9 h 95"/>
                  <a:gd name="T32" fmla="*/ 7 w 96"/>
                  <a:gd name="T33" fmla="*/ 5 h 95"/>
                  <a:gd name="T34" fmla="*/ 2 w 96"/>
                  <a:gd name="T35" fmla="*/ 4 h 95"/>
                  <a:gd name="T36" fmla="*/ 0 w 96"/>
                  <a:gd name="T37" fmla="*/ 4 h 95"/>
                  <a:gd name="T38" fmla="*/ 0 w 96"/>
                  <a:gd name="T39" fmla="*/ 0 h 95"/>
                  <a:gd name="T40" fmla="*/ 27 w 96"/>
                  <a:gd name="T41" fmla="*/ 0 h 95"/>
                  <a:gd name="T42" fmla="*/ 48 w 96"/>
                  <a:gd name="T43" fmla="*/ 70 h 95"/>
                  <a:gd name="T44" fmla="*/ 69 w 96"/>
                  <a:gd name="T45" fmla="*/ 0 h 95"/>
                  <a:gd name="T46" fmla="*/ 96 w 96"/>
                  <a:gd name="T47" fmla="*/ 0 h 95"/>
                  <a:gd name="T48" fmla="*/ 96 w 96"/>
                  <a:gd name="T49" fmla="*/ 4 h 95"/>
                  <a:gd name="T50" fmla="*/ 95 w 96"/>
                  <a:gd name="T51" fmla="*/ 4 h 95"/>
                  <a:gd name="T52" fmla="*/ 87 w 96"/>
                  <a:gd name="T53" fmla="*/ 7 h 95"/>
                  <a:gd name="T54" fmla="*/ 85 w 96"/>
                  <a:gd name="T55" fmla="*/ 11 h 95"/>
                  <a:gd name="T56" fmla="*/ 85 w 96"/>
                  <a:gd name="T57" fmla="*/ 19 h 95"/>
                  <a:gd name="T58" fmla="*/ 85 w 96"/>
                  <a:gd name="T59" fmla="*/ 77 h 95"/>
                  <a:gd name="T60" fmla="*/ 86 w 96"/>
                  <a:gd name="T61" fmla="*/ 86 h 95"/>
                  <a:gd name="T62" fmla="*/ 95 w 96"/>
                  <a:gd name="T63" fmla="*/ 91 h 95"/>
                  <a:gd name="T64" fmla="*/ 96 w 96"/>
                  <a:gd name="T65" fmla="*/ 91 h 95"/>
                  <a:gd name="T66" fmla="*/ 96 w 96"/>
                  <a:gd name="T67" fmla="*/ 95 h 95"/>
                  <a:gd name="T68" fmla="*/ 61 w 96"/>
                  <a:gd name="T69" fmla="*/ 95 h 95"/>
                  <a:gd name="T70" fmla="*/ 61 w 96"/>
                  <a:gd name="T71" fmla="*/ 91 h 95"/>
                  <a:gd name="T72" fmla="*/ 62 w 96"/>
                  <a:gd name="T73" fmla="*/ 91 h 95"/>
                  <a:gd name="T74" fmla="*/ 69 w 96"/>
                  <a:gd name="T75" fmla="*/ 88 h 95"/>
                  <a:gd name="T76" fmla="*/ 71 w 96"/>
                  <a:gd name="T77" fmla="*/ 84 h 95"/>
                  <a:gd name="T78" fmla="*/ 72 w 96"/>
                  <a:gd name="T79" fmla="*/ 77 h 95"/>
                  <a:gd name="T80" fmla="*/ 72 w 96"/>
                  <a:gd name="T81" fmla="*/ 9 h 95"/>
                  <a:gd name="T82" fmla="*/ 46 w 96"/>
                  <a:gd name="T83"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 h="95">
                    <a:moveTo>
                      <a:pt x="46" y="95"/>
                    </a:moveTo>
                    <a:cubicBezTo>
                      <a:pt x="42" y="95"/>
                      <a:pt x="42" y="95"/>
                      <a:pt x="42" y="95"/>
                    </a:cubicBezTo>
                    <a:cubicBezTo>
                      <a:pt x="17" y="9"/>
                      <a:pt x="17" y="9"/>
                      <a:pt x="17" y="9"/>
                    </a:cubicBezTo>
                    <a:cubicBezTo>
                      <a:pt x="17" y="71"/>
                      <a:pt x="17" y="71"/>
                      <a:pt x="17" y="71"/>
                    </a:cubicBezTo>
                    <a:cubicBezTo>
                      <a:pt x="17" y="77"/>
                      <a:pt x="17" y="81"/>
                      <a:pt x="18" y="83"/>
                    </a:cubicBezTo>
                    <a:cubicBezTo>
                      <a:pt x="19" y="88"/>
                      <a:pt x="22" y="91"/>
                      <a:pt x="27" y="91"/>
                    </a:cubicBezTo>
                    <a:cubicBezTo>
                      <a:pt x="29" y="91"/>
                      <a:pt x="29" y="91"/>
                      <a:pt x="29" y="91"/>
                    </a:cubicBezTo>
                    <a:cubicBezTo>
                      <a:pt x="29" y="95"/>
                      <a:pt x="29" y="95"/>
                      <a:pt x="29" y="95"/>
                    </a:cubicBezTo>
                    <a:cubicBezTo>
                      <a:pt x="0" y="95"/>
                      <a:pt x="0" y="95"/>
                      <a:pt x="0" y="95"/>
                    </a:cubicBezTo>
                    <a:cubicBezTo>
                      <a:pt x="0" y="91"/>
                      <a:pt x="0" y="91"/>
                      <a:pt x="0" y="91"/>
                    </a:cubicBezTo>
                    <a:cubicBezTo>
                      <a:pt x="2" y="91"/>
                      <a:pt x="2" y="91"/>
                      <a:pt x="2" y="91"/>
                    </a:cubicBezTo>
                    <a:cubicBezTo>
                      <a:pt x="4" y="91"/>
                      <a:pt x="6" y="90"/>
                      <a:pt x="8" y="88"/>
                    </a:cubicBezTo>
                    <a:cubicBezTo>
                      <a:pt x="9" y="87"/>
                      <a:pt x="10" y="85"/>
                      <a:pt x="11" y="82"/>
                    </a:cubicBezTo>
                    <a:cubicBezTo>
                      <a:pt x="11" y="80"/>
                      <a:pt x="11" y="76"/>
                      <a:pt x="11" y="71"/>
                    </a:cubicBezTo>
                    <a:cubicBezTo>
                      <a:pt x="11" y="16"/>
                      <a:pt x="11" y="16"/>
                      <a:pt x="11" y="16"/>
                    </a:cubicBezTo>
                    <a:cubicBezTo>
                      <a:pt x="11" y="13"/>
                      <a:pt x="11" y="10"/>
                      <a:pt x="11" y="9"/>
                    </a:cubicBezTo>
                    <a:cubicBezTo>
                      <a:pt x="10" y="7"/>
                      <a:pt x="9" y="6"/>
                      <a:pt x="7" y="5"/>
                    </a:cubicBezTo>
                    <a:cubicBezTo>
                      <a:pt x="6" y="5"/>
                      <a:pt x="5" y="4"/>
                      <a:pt x="2" y="4"/>
                    </a:cubicBezTo>
                    <a:cubicBezTo>
                      <a:pt x="0" y="4"/>
                      <a:pt x="0" y="4"/>
                      <a:pt x="0" y="4"/>
                    </a:cubicBezTo>
                    <a:cubicBezTo>
                      <a:pt x="0" y="0"/>
                      <a:pt x="0" y="0"/>
                      <a:pt x="0" y="0"/>
                    </a:cubicBezTo>
                    <a:cubicBezTo>
                      <a:pt x="27" y="0"/>
                      <a:pt x="27" y="0"/>
                      <a:pt x="27" y="0"/>
                    </a:cubicBezTo>
                    <a:cubicBezTo>
                      <a:pt x="48" y="70"/>
                      <a:pt x="48" y="70"/>
                      <a:pt x="48" y="70"/>
                    </a:cubicBezTo>
                    <a:cubicBezTo>
                      <a:pt x="69" y="0"/>
                      <a:pt x="69" y="0"/>
                      <a:pt x="69" y="0"/>
                    </a:cubicBezTo>
                    <a:cubicBezTo>
                      <a:pt x="96" y="0"/>
                      <a:pt x="96" y="0"/>
                      <a:pt x="96" y="0"/>
                    </a:cubicBezTo>
                    <a:cubicBezTo>
                      <a:pt x="96" y="4"/>
                      <a:pt x="96" y="4"/>
                      <a:pt x="96" y="4"/>
                    </a:cubicBezTo>
                    <a:cubicBezTo>
                      <a:pt x="95" y="4"/>
                      <a:pt x="95" y="4"/>
                      <a:pt x="95" y="4"/>
                    </a:cubicBezTo>
                    <a:cubicBezTo>
                      <a:pt x="91" y="4"/>
                      <a:pt x="88" y="5"/>
                      <a:pt x="87" y="7"/>
                    </a:cubicBezTo>
                    <a:cubicBezTo>
                      <a:pt x="86" y="8"/>
                      <a:pt x="85" y="9"/>
                      <a:pt x="85" y="11"/>
                    </a:cubicBezTo>
                    <a:cubicBezTo>
                      <a:pt x="85" y="13"/>
                      <a:pt x="85" y="15"/>
                      <a:pt x="85" y="19"/>
                    </a:cubicBezTo>
                    <a:cubicBezTo>
                      <a:pt x="85" y="77"/>
                      <a:pt x="85" y="77"/>
                      <a:pt x="85" y="77"/>
                    </a:cubicBezTo>
                    <a:cubicBezTo>
                      <a:pt x="85" y="81"/>
                      <a:pt x="85" y="85"/>
                      <a:pt x="86" y="86"/>
                    </a:cubicBezTo>
                    <a:cubicBezTo>
                      <a:pt x="87" y="89"/>
                      <a:pt x="90" y="91"/>
                      <a:pt x="95" y="91"/>
                    </a:cubicBezTo>
                    <a:cubicBezTo>
                      <a:pt x="96" y="91"/>
                      <a:pt x="96" y="91"/>
                      <a:pt x="96" y="91"/>
                    </a:cubicBezTo>
                    <a:cubicBezTo>
                      <a:pt x="96" y="95"/>
                      <a:pt x="96" y="95"/>
                      <a:pt x="96" y="95"/>
                    </a:cubicBezTo>
                    <a:cubicBezTo>
                      <a:pt x="61" y="95"/>
                      <a:pt x="61" y="95"/>
                      <a:pt x="61" y="95"/>
                    </a:cubicBezTo>
                    <a:cubicBezTo>
                      <a:pt x="61" y="91"/>
                      <a:pt x="61" y="91"/>
                      <a:pt x="61" y="91"/>
                    </a:cubicBezTo>
                    <a:cubicBezTo>
                      <a:pt x="62" y="91"/>
                      <a:pt x="62" y="91"/>
                      <a:pt x="62" y="91"/>
                    </a:cubicBezTo>
                    <a:cubicBezTo>
                      <a:pt x="65" y="91"/>
                      <a:pt x="68" y="90"/>
                      <a:pt x="69" y="88"/>
                    </a:cubicBezTo>
                    <a:cubicBezTo>
                      <a:pt x="70" y="87"/>
                      <a:pt x="71" y="86"/>
                      <a:pt x="71" y="84"/>
                    </a:cubicBezTo>
                    <a:cubicBezTo>
                      <a:pt x="71" y="82"/>
                      <a:pt x="72" y="80"/>
                      <a:pt x="72" y="77"/>
                    </a:cubicBezTo>
                    <a:cubicBezTo>
                      <a:pt x="72" y="9"/>
                      <a:pt x="72" y="9"/>
                      <a:pt x="72" y="9"/>
                    </a:cubicBezTo>
                    <a:lnTo>
                      <a:pt x="46"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31" name="Freeform 216"/>
              <p:cNvSpPr>
                <a:spLocks noEditPoints="1"/>
              </p:cNvSpPr>
              <p:nvPr/>
            </p:nvSpPr>
            <p:spPr bwMode="auto">
              <a:xfrm>
                <a:off x="7165693" y="1565946"/>
                <a:ext cx="97073" cy="116913"/>
              </a:xfrm>
              <a:custGeom>
                <a:avLst/>
                <a:gdLst>
                  <a:gd name="T0" fmla="*/ 29 w 58"/>
                  <a:gd name="T1" fmla="*/ 0 h 70"/>
                  <a:gd name="T2" fmla="*/ 51 w 58"/>
                  <a:gd name="T3" fmla="*/ 11 h 70"/>
                  <a:gd name="T4" fmla="*/ 58 w 58"/>
                  <a:gd name="T5" fmla="*/ 35 h 70"/>
                  <a:gd name="T6" fmla="*/ 51 w 58"/>
                  <a:gd name="T7" fmla="*/ 60 h 70"/>
                  <a:gd name="T8" fmla="*/ 28 w 58"/>
                  <a:gd name="T9" fmla="*/ 70 h 70"/>
                  <a:gd name="T10" fmla="*/ 7 w 58"/>
                  <a:gd name="T11" fmla="*/ 60 h 70"/>
                  <a:gd name="T12" fmla="*/ 0 w 58"/>
                  <a:gd name="T13" fmla="*/ 35 h 70"/>
                  <a:gd name="T14" fmla="*/ 7 w 58"/>
                  <a:gd name="T15" fmla="*/ 11 h 70"/>
                  <a:gd name="T16" fmla="*/ 29 w 58"/>
                  <a:gd name="T17" fmla="*/ 0 h 70"/>
                  <a:gd name="T18" fmla="*/ 29 w 58"/>
                  <a:gd name="T19" fmla="*/ 5 h 70"/>
                  <a:gd name="T20" fmla="*/ 20 w 58"/>
                  <a:gd name="T21" fmla="*/ 9 h 70"/>
                  <a:gd name="T22" fmla="*/ 14 w 58"/>
                  <a:gd name="T23" fmla="*/ 35 h 70"/>
                  <a:gd name="T24" fmla="*/ 18 w 58"/>
                  <a:gd name="T25" fmla="*/ 59 h 70"/>
                  <a:gd name="T26" fmla="*/ 29 w 58"/>
                  <a:gd name="T27" fmla="*/ 66 h 70"/>
                  <a:gd name="T28" fmla="*/ 44 w 58"/>
                  <a:gd name="T29" fmla="*/ 35 h 70"/>
                  <a:gd name="T30" fmla="*/ 41 w 58"/>
                  <a:gd name="T31" fmla="*/ 14 h 70"/>
                  <a:gd name="T32" fmla="*/ 35 w 58"/>
                  <a:gd name="T33" fmla="*/ 7 h 70"/>
                  <a:gd name="T34" fmla="*/ 29 w 58"/>
                  <a:gd name="T35" fmla="*/ 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70">
                    <a:moveTo>
                      <a:pt x="29" y="0"/>
                    </a:moveTo>
                    <a:cubicBezTo>
                      <a:pt x="38" y="0"/>
                      <a:pt x="45" y="4"/>
                      <a:pt x="51" y="11"/>
                    </a:cubicBezTo>
                    <a:cubicBezTo>
                      <a:pt x="55" y="17"/>
                      <a:pt x="58" y="25"/>
                      <a:pt x="58" y="35"/>
                    </a:cubicBezTo>
                    <a:cubicBezTo>
                      <a:pt x="58" y="45"/>
                      <a:pt x="55" y="53"/>
                      <a:pt x="51" y="60"/>
                    </a:cubicBezTo>
                    <a:cubicBezTo>
                      <a:pt x="45" y="67"/>
                      <a:pt x="38" y="70"/>
                      <a:pt x="28" y="70"/>
                    </a:cubicBezTo>
                    <a:cubicBezTo>
                      <a:pt x="20" y="70"/>
                      <a:pt x="13" y="67"/>
                      <a:pt x="7" y="60"/>
                    </a:cubicBezTo>
                    <a:cubicBezTo>
                      <a:pt x="2" y="53"/>
                      <a:pt x="0" y="45"/>
                      <a:pt x="0" y="35"/>
                    </a:cubicBezTo>
                    <a:cubicBezTo>
                      <a:pt x="0" y="25"/>
                      <a:pt x="2" y="17"/>
                      <a:pt x="7" y="11"/>
                    </a:cubicBezTo>
                    <a:cubicBezTo>
                      <a:pt x="13" y="4"/>
                      <a:pt x="20" y="0"/>
                      <a:pt x="29" y="0"/>
                    </a:cubicBezTo>
                    <a:moveTo>
                      <a:pt x="29" y="5"/>
                    </a:moveTo>
                    <a:cubicBezTo>
                      <a:pt x="26" y="5"/>
                      <a:pt x="23" y="6"/>
                      <a:pt x="20" y="9"/>
                    </a:cubicBezTo>
                    <a:cubicBezTo>
                      <a:pt x="16" y="13"/>
                      <a:pt x="14" y="22"/>
                      <a:pt x="14" y="35"/>
                    </a:cubicBezTo>
                    <a:cubicBezTo>
                      <a:pt x="14" y="45"/>
                      <a:pt x="15" y="53"/>
                      <a:pt x="18" y="59"/>
                    </a:cubicBezTo>
                    <a:cubicBezTo>
                      <a:pt x="20" y="63"/>
                      <a:pt x="24" y="66"/>
                      <a:pt x="29" y="66"/>
                    </a:cubicBezTo>
                    <a:cubicBezTo>
                      <a:pt x="39" y="66"/>
                      <a:pt x="44" y="55"/>
                      <a:pt x="44" y="35"/>
                    </a:cubicBezTo>
                    <a:cubicBezTo>
                      <a:pt x="44" y="26"/>
                      <a:pt x="43" y="18"/>
                      <a:pt x="41" y="14"/>
                    </a:cubicBezTo>
                    <a:cubicBezTo>
                      <a:pt x="39" y="11"/>
                      <a:pt x="37" y="8"/>
                      <a:pt x="35" y="7"/>
                    </a:cubicBezTo>
                    <a:cubicBezTo>
                      <a:pt x="33" y="6"/>
                      <a:pt x="31" y="5"/>
                      <a:pt x="29"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32" name="Freeform 217"/>
              <p:cNvSpPr>
                <a:spLocks noEditPoints="1"/>
              </p:cNvSpPr>
              <p:nvPr/>
            </p:nvSpPr>
            <p:spPr bwMode="auto">
              <a:xfrm>
                <a:off x="7267726" y="1519181"/>
                <a:ext cx="105576" cy="163678"/>
              </a:xfrm>
              <a:custGeom>
                <a:avLst/>
                <a:gdLst>
                  <a:gd name="T0" fmla="*/ 21 w 63"/>
                  <a:gd name="T1" fmla="*/ 40 h 98"/>
                  <a:gd name="T2" fmla="*/ 25 w 63"/>
                  <a:gd name="T3" fmla="*/ 33 h 98"/>
                  <a:gd name="T4" fmla="*/ 38 w 63"/>
                  <a:gd name="T5" fmla="*/ 29 h 98"/>
                  <a:gd name="T6" fmla="*/ 55 w 63"/>
                  <a:gd name="T7" fmla="*/ 36 h 98"/>
                  <a:gd name="T8" fmla="*/ 63 w 63"/>
                  <a:gd name="T9" fmla="*/ 62 h 98"/>
                  <a:gd name="T10" fmla="*/ 55 w 63"/>
                  <a:gd name="T11" fmla="*/ 88 h 98"/>
                  <a:gd name="T12" fmla="*/ 37 w 63"/>
                  <a:gd name="T13" fmla="*/ 98 h 98"/>
                  <a:gd name="T14" fmla="*/ 25 w 63"/>
                  <a:gd name="T15" fmla="*/ 94 h 98"/>
                  <a:gd name="T16" fmla="*/ 20 w 63"/>
                  <a:gd name="T17" fmla="*/ 91 h 98"/>
                  <a:gd name="T18" fmla="*/ 18 w 63"/>
                  <a:gd name="T19" fmla="*/ 89 h 98"/>
                  <a:gd name="T20" fmla="*/ 15 w 63"/>
                  <a:gd name="T21" fmla="*/ 92 h 98"/>
                  <a:gd name="T22" fmla="*/ 12 w 63"/>
                  <a:gd name="T23" fmla="*/ 96 h 98"/>
                  <a:gd name="T24" fmla="*/ 7 w 63"/>
                  <a:gd name="T25" fmla="*/ 96 h 98"/>
                  <a:gd name="T26" fmla="*/ 8 w 63"/>
                  <a:gd name="T27" fmla="*/ 94 h 98"/>
                  <a:gd name="T28" fmla="*/ 9 w 63"/>
                  <a:gd name="T29" fmla="*/ 82 h 98"/>
                  <a:gd name="T30" fmla="*/ 9 w 63"/>
                  <a:gd name="T31" fmla="*/ 17 h 98"/>
                  <a:gd name="T32" fmla="*/ 7 w 63"/>
                  <a:gd name="T33" fmla="*/ 7 h 98"/>
                  <a:gd name="T34" fmla="*/ 1 w 63"/>
                  <a:gd name="T35" fmla="*/ 5 h 98"/>
                  <a:gd name="T36" fmla="*/ 0 w 63"/>
                  <a:gd name="T37" fmla="*/ 5 h 98"/>
                  <a:gd name="T38" fmla="*/ 0 w 63"/>
                  <a:gd name="T39" fmla="*/ 1 h 98"/>
                  <a:gd name="T40" fmla="*/ 21 w 63"/>
                  <a:gd name="T41" fmla="*/ 0 h 98"/>
                  <a:gd name="T42" fmla="*/ 21 w 63"/>
                  <a:gd name="T43" fmla="*/ 40 h 98"/>
                  <a:gd name="T44" fmla="*/ 36 w 63"/>
                  <a:gd name="T45" fmla="*/ 34 h 98"/>
                  <a:gd name="T46" fmla="*/ 27 w 63"/>
                  <a:gd name="T47" fmla="*/ 38 h 98"/>
                  <a:gd name="T48" fmla="*/ 19 w 63"/>
                  <a:gd name="T49" fmla="*/ 63 h 98"/>
                  <a:gd name="T50" fmla="*/ 23 w 63"/>
                  <a:gd name="T51" fmla="*/ 84 h 98"/>
                  <a:gd name="T52" fmla="*/ 28 w 63"/>
                  <a:gd name="T53" fmla="*/ 91 h 98"/>
                  <a:gd name="T54" fmla="*/ 35 w 63"/>
                  <a:gd name="T55" fmla="*/ 93 h 98"/>
                  <a:gd name="T56" fmla="*/ 49 w 63"/>
                  <a:gd name="T57" fmla="*/ 62 h 98"/>
                  <a:gd name="T58" fmla="*/ 46 w 63"/>
                  <a:gd name="T59" fmla="*/ 41 h 98"/>
                  <a:gd name="T60" fmla="*/ 36 w 63"/>
                  <a:gd name="T61" fmla="*/ 3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3" h="98">
                    <a:moveTo>
                      <a:pt x="21" y="40"/>
                    </a:moveTo>
                    <a:cubicBezTo>
                      <a:pt x="22" y="37"/>
                      <a:pt x="23" y="35"/>
                      <a:pt x="25" y="33"/>
                    </a:cubicBezTo>
                    <a:cubicBezTo>
                      <a:pt x="29" y="30"/>
                      <a:pt x="33" y="29"/>
                      <a:pt x="38" y="29"/>
                    </a:cubicBezTo>
                    <a:cubicBezTo>
                      <a:pt x="45" y="29"/>
                      <a:pt x="50" y="31"/>
                      <a:pt x="55" y="36"/>
                    </a:cubicBezTo>
                    <a:cubicBezTo>
                      <a:pt x="60" y="43"/>
                      <a:pt x="63" y="51"/>
                      <a:pt x="63" y="62"/>
                    </a:cubicBezTo>
                    <a:cubicBezTo>
                      <a:pt x="63" y="72"/>
                      <a:pt x="61" y="81"/>
                      <a:pt x="55" y="88"/>
                    </a:cubicBezTo>
                    <a:cubicBezTo>
                      <a:pt x="51" y="94"/>
                      <a:pt x="44" y="98"/>
                      <a:pt x="37" y="98"/>
                    </a:cubicBezTo>
                    <a:cubicBezTo>
                      <a:pt x="32" y="98"/>
                      <a:pt x="28" y="96"/>
                      <a:pt x="25" y="94"/>
                    </a:cubicBezTo>
                    <a:cubicBezTo>
                      <a:pt x="24" y="94"/>
                      <a:pt x="23" y="93"/>
                      <a:pt x="20" y="91"/>
                    </a:cubicBezTo>
                    <a:cubicBezTo>
                      <a:pt x="19" y="90"/>
                      <a:pt x="18" y="89"/>
                      <a:pt x="18" y="89"/>
                    </a:cubicBezTo>
                    <a:cubicBezTo>
                      <a:pt x="17" y="89"/>
                      <a:pt x="16" y="90"/>
                      <a:pt x="15" y="92"/>
                    </a:cubicBezTo>
                    <a:cubicBezTo>
                      <a:pt x="14" y="93"/>
                      <a:pt x="13" y="94"/>
                      <a:pt x="12" y="96"/>
                    </a:cubicBezTo>
                    <a:cubicBezTo>
                      <a:pt x="7" y="96"/>
                      <a:pt x="7" y="96"/>
                      <a:pt x="7" y="96"/>
                    </a:cubicBezTo>
                    <a:cubicBezTo>
                      <a:pt x="8" y="95"/>
                      <a:pt x="8" y="94"/>
                      <a:pt x="8" y="94"/>
                    </a:cubicBezTo>
                    <a:cubicBezTo>
                      <a:pt x="8" y="92"/>
                      <a:pt x="9" y="88"/>
                      <a:pt x="9" y="82"/>
                    </a:cubicBezTo>
                    <a:cubicBezTo>
                      <a:pt x="9" y="17"/>
                      <a:pt x="9" y="17"/>
                      <a:pt x="9" y="17"/>
                    </a:cubicBezTo>
                    <a:cubicBezTo>
                      <a:pt x="9" y="12"/>
                      <a:pt x="8" y="8"/>
                      <a:pt x="7" y="7"/>
                    </a:cubicBezTo>
                    <a:cubicBezTo>
                      <a:pt x="6" y="6"/>
                      <a:pt x="4" y="5"/>
                      <a:pt x="1" y="5"/>
                    </a:cubicBezTo>
                    <a:cubicBezTo>
                      <a:pt x="0" y="5"/>
                      <a:pt x="0" y="5"/>
                      <a:pt x="0" y="5"/>
                    </a:cubicBezTo>
                    <a:cubicBezTo>
                      <a:pt x="0" y="1"/>
                      <a:pt x="0" y="1"/>
                      <a:pt x="0" y="1"/>
                    </a:cubicBezTo>
                    <a:cubicBezTo>
                      <a:pt x="21" y="0"/>
                      <a:pt x="21" y="0"/>
                      <a:pt x="21" y="0"/>
                    </a:cubicBezTo>
                    <a:lnTo>
                      <a:pt x="21" y="40"/>
                    </a:lnTo>
                    <a:close/>
                    <a:moveTo>
                      <a:pt x="36" y="34"/>
                    </a:moveTo>
                    <a:cubicBezTo>
                      <a:pt x="33" y="34"/>
                      <a:pt x="30" y="35"/>
                      <a:pt x="27" y="38"/>
                    </a:cubicBezTo>
                    <a:cubicBezTo>
                      <a:pt x="22" y="42"/>
                      <a:pt x="19" y="51"/>
                      <a:pt x="19" y="63"/>
                    </a:cubicBezTo>
                    <a:cubicBezTo>
                      <a:pt x="19" y="72"/>
                      <a:pt x="21" y="79"/>
                      <a:pt x="23" y="84"/>
                    </a:cubicBezTo>
                    <a:cubicBezTo>
                      <a:pt x="24" y="87"/>
                      <a:pt x="26" y="89"/>
                      <a:pt x="28" y="91"/>
                    </a:cubicBezTo>
                    <a:cubicBezTo>
                      <a:pt x="30" y="92"/>
                      <a:pt x="33" y="93"/>
                      <a:pt x="35" y="93"/>
                    </a:cubicBezTo>
                    <a:cubicBezTo>
                      <a:pt x="45" y="93"/>
                      <a:pt x="49" y="82"/>
                      <a:pt x="49" y="62"/>
                    </a:cubicBezTo>
                    <a:cubicBezTo>
                      <a:pt x="49" y="53"/>
                      <a:pt x="48" y="46"/>
                      <a:pt x="46" y="41"/>
                    </a:cubicBezTo>
                    <a:cubicBezTo>
                      <a:pt x="43" y="36"/>
                      <a:pt x="40" y="34"/>
                      <a:pt x="36"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33" name="Freeform 218"/>
              <p:cNvSpPr>
                <a:spLocks noEditPoints="1"/>
              </p:cNvSpPr>
              <p:nvPr/>
            </p:nvSpPr>
            <p:spPr bwMode="auto">
              <a:xfrm>
                <a:off x="7381805" y="1519181"/>
                <a:ext cx="51725" cy="160135"/>
              </a:xfrm>
              <a:custGeom>
                <a:avLst/>
                <a:gdLst>
                  <a:gd name="T0" fmla="*/ 22 w 31"/>
                  <a:gd name="T1" fmla="*/ 29 h 96"/>
                  <a:gd name="T2" fmla="*/ 22 w 31"/>
                  <a:gd name="T3" fmla="*/ 80 h 96"/>
                  <a:gd name="T4" fmla="*/ 23 w 31"/>
                  <a:gd name="T5" fmla="*/ 90 h 96"/>
                  <a:gd name="T6" fmla="*/ 29 w 31"/>
                  <a:gd name="T7" fmla="*/ 92 h 96"/>
                  <a:gd name="T8" fmla="*/ 31 w 31"/>
                  <a:gd name="T9" fmla="*/ 92 h 96"/>
                  <a:gd name="T10" fmla="*/ 31 w 31"/>
                  <a:gd name="T11" fmla="*/ 96 h 96"/>
                  <a:gd name="T12" fmla="*/ 0 w 31"/>
                  <a:gd name="T13" fmla="*/ 96 h 96"/>
                  <a:gd name="T14" fmla="*/ 0 w 31"/>
                  <a:gd name="T15" fmla="*/ 92 h 96"/>
                  <a:gd name="T16" fmla="*/ 2 w 31"/>
                  <a:gd name="T17" fmla="*/ 92 h 96"/>
                  <a:gd name="T18" fmla="*/ 8 w 31"/>
                  <a:gd name="T19" fmla="*/ 90 h 96"/>
                  <a:gd name="T20" fmla="*/ 10 w 31"/>
                  <a:gd name="T21" fmla="*/ 80 h 96"/>
                  <a:gd name="T22" fmla="*/ 10 w 31"/>
                  <a:gd name="T23" fmla="*/ 46 h 96"/>
                  <a:gd name="T24" fmla="*/ 8 w 31"/>
                  <a:gd name="T25" fmla="*/ 37 h 96"/>
                  <a:gd name="T26" fmla="*/ 2 w 31"/>
                  <a:gd name="T27" fmla="*/ 35 h 96"/>
                  <a:gd name="T28" fmla="*/ 1 w 31"/>
                  <a:gd name="T29" fmla="*/ 35 h 96"/>
                  <a:gd name="T30" fmla="*/ 1 w 31"/>
                  <a:gd name="T31" fmla="*/ 30 h 96"/>
                  <a:gd name="T32" fmla="*/ 22 w 31"/>
                  <a:gd name="T33" fmla="*/ 29 h 96"/>
                  <a:gd name="T34" fmla="*/ 15 w 31"/>
                  <a:gd name="T35" fmla="*/ 0 h 96"/>
                  <a:gd name="T36" fmla="*/ 20 w 31"/>
                  <a:gd name="T37" fmla="*/ 2 h 96"/>
                  <a:gd name="T38" fmla="*/ 22 w 31"/>
                  <a:gd name="T39" fmla="*/ 8 h 96"/>
                  <a:gd name="T40" fmla="*/ 20 w 31"/>
                  <a:gd name="T41" fmla="*/ 14 h 96"/>
                  <a:gd name="T42" fmla="*/ 14 w 31"/>
                  <a:gd name="T43" fmla="*/ 16 h 96"/>
                  <a:gd name="T44" fmla="*/ 9 w 31"/>
                  <a:gd name="T45" fmla="*/ 14 h 96"/>
                  <a:gd name="T46" fmla="*/ 7 w 31"/>
                  <a:gd name="T47" fmla="*/ 8 h 96"/>
                  <a:gd name="T48" fmla="*/ 9 w 31"/>
                  <a:gd name="T49" fmla="*/ 2 h 96"/>
                  <a:gd name="T50" fmla="*/ 15 w 31"/>
                  <a:gd name="T5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96">
                    <a:moveTo>
                      <a:pt x="22" y="29"/>
                    </a:moveTo>
                    <a:cubicBezTo>
                      <a:pt x="22" y="80"/>
                      <a:pt x="22" y="80"/>
                      <a:pt x="22" y="80"/>
                    </a:cubicBezTo>
                    <a:cubicBezTo>
                      <a:pt x="22" y="85"/>
                      <a:pt x="22" y="89"/>
                      <a:pt x="23" y="90"/>
                    </a:cubicBezTo>
                    <a:cubicBezTo>
                      <a:pt x="24" y="91"/>
                      <a:pt x="26" y="92"/>
                      <a:pt x="29" y="92"/>
                    </a:cubicBezTo>
                    <a:cubicBezTo>
                      <a:pt x="31" y="92"/>
                      <a:pt x="31" y="92"/>
                      <a:pt x="31" y="92"/>
                    </a:cubicBezTo>
                    <a:cubicBezTo>
                      <a:pt x="31" y="96"/>
                      <a:pt x="31" y="96"/>
                      <a:pt x="31" y="96"/>
                    </a:cubicBezTo>
                    <a:cubicBezTo>
                      <a:pt x="0" y="96"/>
                      <a:pt x="0" y="96"/>
                      <a:pt x="0" y="96"/>
                    </a:cubicBezTo>
                    <a:cubicBezTo>
                      <a:pt x="0" y="92"/>
                      <a:pt x="0" y="92"/>
                      <a:pt x="0" y="92"/>
                    </a:cubicBezTo>
                    <a:cubicBezTo>
                      <a:pt x="2" y="92"/>
                      <a:pt x="2" y="92"/>
                      <a:pt x="2" y="92"/>
                    </a:cubicBezTo>
                    <a:cubicBezTo>
                      <a:pt x="5" y="92"/>
                      <a:pt x="7" y="91"/>
                      <a:pt x="8" y="90"/>
                    </a:cubicBezTo>
                    <a:cubicBezTo>
                      <a:pt x="9" y="89"/>
                      <a:pt x="10" y="85"/>
                      <a:pt x="10" y="80"/>
                    </a:cubicBezTo>
                    <a:cubicBezTo>
                      <a:pt x="10" y="46"/>
                      <a:pt x="10" y="46"/>
                      <a:pt x="10" y="46"/>
                    </a:cubicBezTo>
                    <a:cubicBezTo>
                      <a:pt x="10" y="41"/>
                      <a:pt x="9" y="38"/>
                      <a:pt x="8" y="37"/>
                    </a:cubicBezTo>
                    <a:cubicBezTo>
                      <a:pt x="7" y="35"/>
                      <a:pt x="5" y="35"/>
                      <a:pt x="2" y="35"/>
                    </a:cubicBezTo>
                    <a:cubicBezTo>
                      <a:pt x="1" y="35"/>
                      <a:pt x="1" y="35"/>
                      <a:pt x="1" y="35"/>
                    </a:cubicBezTo>
                    <a:cubicBezTo>
                      <a:pt x="1" y="30"/>
                      <a:pt x="1" y="30"/>
                      <a:pt x="1" y="30"/>
                    </a:cubicBezTo>
                    <a:lnTo>
                      <a:pt x="22" y="29"/>
                    </a:lnTo>
                    <a:close/>
                    <a:moveTo>
                      <a:pt x="15" y="0"/>
                    </a:moveTo>
                    <a:cubicBezTo>
                      <a:pt x="17" y="0"/>
                      <a:pt x="18" y="1"/>
                      <a:pt x="20" y="2"/>
                    </a:cubicBezTo>
                    <a:cubicBezTo>
                      <a:pt x="21" y="4"/>
                      <a:pt x="22" y="6"/>
                      <a:pt x="22" y="8"/>
                    </a:cubicBezTo>
                    <a:cubicBezTo>
                      <a:pt x="22" y="10"/>
                      <a:pt x="22" y="12"/>
                      <a:pt x="20" y="14"/>
                    </a:cubicBezTo>
                    <a:cubicBezTo>
                      <a:pt x="18" y="15"/>
                      <a:pt x="17" y="16"/>
                      <a:pt x="14" y="16"/>
                    </a:cubicBezTo>
                    <a:cubicBezTo>
                      <a:pt x="12" y="16"/>
                      <a:pt x="10" y="15"/>
                      <a:pt x="9" y="14"/>
                    </a:cubicBezTo>
                    <a:cubicBezTo>
                      <a:pt x="7" y="12"/>
                      <a:pt x="7" y="10"/>
                      <a:pt x="7" y="8"/>
                    </a:cubicBezTo>
                    <a:cubicBezTo>
                      <a:pt x="7" y="6"/>
                      <a:pt x="7" y="4"/>
                      <a:pt x="9" y="2"/>
                    </a:cubicBezTo>
                    <a:cubicBezTo>
                      <a:pt x="11" y="1"/>
                      <a:pt x="12" y="0"/>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34" name="Freeform 219"/>
              <p:cNvSpPr>
                <a:spLocks/>
              </p:cNvSpPr>
              <p:nvPr/>
            </p:nvSpPr>
            <p:spPr bwMode="auto">
              <a:xfrm>
                <a:off x="7442033" y="1519181"/>
                <a:ext cx="51725" cy="160135"/>
              </a:xfrm>
              <a:custGeom>
                <a:avLst/>
                <a:gdLst>
                  <a:gd name="T0" fmla="*/ 22 w 31"/>
                  <a:gd name="T1" fmla="*/ 0 h 96"/>
                  <a:gd name="T2" fmla="*/ 22 w 31"/>
                  <a:gd name="T3" fmla="*/ 80 h 96"/>
                  <a:gd name="T4" fmla="*/ 24 w 31"/>
                  <a:gd name="T5" fmla="*/ 90 h 96"/>
                  <a:gd name="T6" fmla="*/ 29 w 31"/>
                  <a:gd name="T7" fmla="*/ 92 h 96"/>
                  <a:gd name="T8" fmla="*/ 31 w 31"/>
                  <a:gd name="T9" fmla="*/ 92 h 96"/>
                  <a:gd name="T10" fmla="*/ 31 w 31"/>
                  <a:gd name="T11" fmla="*/ 96 h 96"/>
                  <a:gd name="T12" fmla="*/ 0 w 31"/>
                  <a:gd name="T13" fmla="*/ 96 h 96"/>
                  <a:gd name="T14" fmla="*/ 0 w 31"/>
                  <a:gd name="T15" fmla="*/ 92 h 96"/>
                  <a:gd name="T16" fmla="*/ 2 w 31"/>
                  <a:gd name="T17" fmla="*/ 92 h 96"/>
                  <a:gd name="T18" fmla="*/ 8 w 31"/>
                  <a:gd name="T19" fmla="*/ 90 h 96"/>
                  <a:gd name="T20" fmla="*/ 10 w 31"/>
                  <a:gd name="T21" fmla="*/ 80 h 96"/>
                  <a:gd name="T22" fmla="*/ 10 w 31"/>
                  <a:gd name="T23" fmla="*/ 17 h 96"/>
                  <a:gd name="T24" fmla="*/ 8 w 31"/>
                  <a:gd name="T25" fmla="*/ 7 h 96"/>
                  <a:gd name="T26" fmla="*/ 2 w 31"/>
                  <a:gd name="T27" fmla="*/ 5 h 96"/>
                  <a:gd name="T28" fmla="*/ 1 w 31"/>
                  <a:gd name="T29" fmla="*/ 5 h 96"/>
                  <a:gd name="T30" fmla="*/ 1 w 31"/>
                  <a:gd name="T31" fmla="*/ 1 h 96"/>
                  <a:gd name="T32" fmla="*/ 22 w 31"/>
                  <a:gd name="T33"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96">
                    <a:moveTo>
                      <a:pt x="22" y="0"/>
                    </a:moveTo>
                    <a:cubicBezTo>
                      <a:pt x="22" y="80"/>
                      <a:pt x="22" y="80"/>
                      <a:pt x="22" y="80"/>
                    </a:cubicBezTo>
                    <a:cubicBezTo>
                      <a:pt x="22" y="85"/>
                      <a:pt x="22" y="89"/>
                      <a:pt x="24" y="90"/>
                    </a:cubicBezTo>
                    <a:cubicBezTo>
                      <a:pt x="25" y="91"/>
                      <a:pt x="26" y="92"/>
                      <a:pt x="29" y="92"/>
                    </a:cubicBezTo>
                    <a:cubicBezTo>
                      <a:pt x="31" y="92"/>
                      <a:pt x="31" y="92"/>
                      <a:pt x="31" y="92"/>
                    </a:cubicBezTo>
                    <a:cubicBezTo>
                      <a:pt x="31" y="96"/>
                      <a:pt x="31" y="96"/>
                      <a:pt x="31" y="96"/>
                    </a:cubicBezTo>
                    <a:cubicBezTo>
                      <a:pt x="0" y="96"/>
                      <a:pt x="0" y="96"/>
                      <a:pt x="0" y="96"/>
                    </a:cubicBezTo>
                    <a:cubicBezTo>
                      <a:pt x="0" y="92"/>
                      <a:pt x="0" y="92"/>
                      <a:pt x="0" y="92"/>
                    </a:cubicBezTo>
                    <a:cubicBezTo>
                      <a:pt x="2" y="92"/>
                      <a:pt x="2" y="92"/>
                      <a:pt x="2" y="92"/>
                    </a:cubicBezTo>
                    <a:cubicBezTo>
                      <a:pt x="5" y="92"/>
                      <a:pt x="7" y="91"/>
                      <a:pt x="8" y="90"/>
                    </a:cubicBezTo>
                    <a:cubicBezTo>
                      <a:pt x="9" y="89"/>
                      <a:pt x="10" y="85"/>
                      <a:pt x="10" y="80"/>
                    </a:cubicBezTo>
                    <a:cubicBezTo>
                      <a:pt x="10" y="17"/>
                      <a:pt x="10" y="17"/>
                      <a:pt x="10" y="17"/>
                    </a:cubicBezTo>
                    <a:cubicBezTo>
                      <a:pt x="10" y="12"/>
                      <a:pt x="9" y="8"/>
                      <a:pt x="8" y="7"/>
                    </a:cubicBezTo>
                    <a:cubicBezTo>
                      <a:pt x="7" y="6"/>
                      <a:pt x="5" y="5"/>
                      <a:pt x="2" y="5"/>
                    </a:cubicBezTo>
                    <a:cubicBezTo>
                      <a:pt x="1" y="5"/>
                      <a:pt x="1" y="5"/>
                      <a:pt x="1" y="5"/>
                    </a:cubicBezTo>
                    <a:cubicBezTo>
                      <a:pt x="1" y="1"/>
                      <a:pt x="1" y="1"/>
                      <a:pt x="1" y="1"/>
                    </a:cubicBez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35" name="Freeform 220"/>
              <p:cNvSpPr>
                <a:spLocks noEditPoints="1"/>
              </p:cNvSpPr>
              <p:nvPr/>
            </p:nvSpPr>
            <p:spPr bwMode="auto">
              <a:xfrm>
                <a:off x="7502261" y="1565946"/>
                <a:ext cx="87153" cy="116913"/>
              </a:xfrm>
              <a:custGeom>
                <a:avLst/>
                <a:gdLst>
                  <a:gd name="T0" fmla="*/ 52 w 52"/>
                  <a:gd name="T1" fmla="*/ 35 h 70"/>
                  <a:gd name="T2" fmla="*/ 13 w 52"/>
                  <a:gd name="T3" fmla="*/ 35 h 70"/>
                  <a:gd name="T4" fmla="*/ 16 w 52"/>
                  <a:gd name="T5" fmla="*/ 55 h 70"/>
                  <a:gd name="T6" fmla="*/ 29 w 52"/>
                  <a:gd name="T7" fmla="*/ 65 h 70"/>
                  <a:gd name="T8" fmla="*/ 42 w 52"/>
                  <a:gd name="T9" fmla="*/ 59 h 70"/>
                  <a:gd name="T10" fmla="*/ 47 w 52"/>
                  <a:gd name="T11" fmla="*/ 50 h 70"/>
                  <a:gd name="T12" fmla="*/ 51 w 52"/>
                  <a:gd name="T13" fmla="*/ 52 h 70"/>
                  <a:gd name="T14" fmla="*/ 27 w 52"/>
                  <a:gd name="T15" fmla="*/ 70 h 70"/>
                  <a:gd name="T16" fmla="*/ 9 w 52"/>
                  <a:gd name="T17" fmla="*/ 63 h 70"/>
                  <a:gd name="T18" fmla="*/ 0 w 52"/>
                  <a:gd name="T19" fmla="*/ 35 h 70"/>
                  <a:gd name="T20" fmla="*/ 9 w 52"/>
                  <a:gd name="T21" fmla="*/ 8 h 70"/>
                  <a:gd name="T22" fmla="*/ 26 w 52"/>
                  <a:gd name="T23" fmla="*/ 0 h 70"/>
                  <a:gd name="T24" fmla="*/ 48 w 52"/>
                  <a:gd name="T25" fmla="*/ 15 h 70"/>
                  <a:gd name="T26" fmla="*/ 52 w 52"/>
                  <a:gd name="T27" fmla="*/ 35 h 70"/>
                  <a:gd name="T28" fmla="*/ 39 w 52"/>
                  <a:gd name="T29" fmla="*/ 30 h 70"/>
                  <a:gd name="T30" fmla="*/ 37 w 52"/>
                  <a:gd name="T31" fmla="*/ 15 h 70"/>
                  <a:gd name="T32" fmla="*/ 26 w 52"/>
                  <a:gd name="T33" fmla="*/ 5 h 70"/>
                  <a:gd name="T34" fmla="*/ 15 w 52"/>
                  <a:gd name="T35" fmla="*/ 18 h 70"/>
                  <a:gd name="T36" fmla="*/ 13 w 52"/>
                  <a:gd name="T37" fmla="*/ 30 h 70"/>
                  <a:gd name="T38" fmla="*/ 39 w 52"/>
                  <a:gd name="T39"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70">
                    <a:moveTo>
                      <a:pt x="52" y="35"/>
                    </a:moveTo>
                    <a:cubicBezTo>
                      <a:pt x="13" y="35"/>
                      <a:pt x="13" y="35"/>
                      <a:pt x="13" y="35"/>
                    </a:cubicBezTo>
                    <a:cubicBezTo>
                      <a:pt x="13" y="44"/>
                      <a:pt x="14" y="51"/>
                      <a:pt x="16" y="55"/>
                    </a:cubicBezTo>
                    <a:cubicBezTo>
                      <a:pt x="19" y="62"/>
                      <a:pt x="23" y="65"/>
                      <a:pt x="29" y="65"/>
                    </a:cubicBezTo>
                    <a:cubicBezTo>
                      <a:pt x="34" y="65"/>
                      <a:pt x="38" y="63"/>
                      <a:pt x="42" y="59"/>
                    </a:cubicBezTo>
                    <a:cubicBezTo>
                      <a:pt x="43" y="57"/>
                      <a:pt x="45" y="54"/>
                      <a:pt x="47" y="50"/>
                    </a:cubicBezTo>
                    <a:cubicBezTo>
                      <a:pt x="51" y="52"/>
                      <a:pt x="51" y="52"/>
                      <a:pt x="51" y="52"/>
                    </a:cubicBezTo>
                    <a:cubicBezTo>
                      <a:pt x="45" y="64"/>
                      <a:pt x="37" y="70"/>
                      <a:pt x="27" y="70"/>
                    </a:cubicBezTo>
                    <a:cubicBezTo>
                      <a:pt x="20" y="70"/>
                      <a:pt x="13" y="68"/>
                      <a:pt x="9" y="63"/>
                    </a:cubicBezTo>
                    <a:cubicBezTo>
                      <a:pt x="3" y="56"/>
                      <a:pt x="0" y="47"/>
                      <a:pt x="0" y="35"/>
                    </a:cubicBezTo>
                    <a:cubicBezTo>
                      <a:pt x="0" y="24"/>
                      <a:pt x="3" y="15"/>
                      <a:pt x="9" y="8"/>
                    </a:cubicBezTo>
                    <a:cubicBezTo>
                      <a:pt x="13" y="3"/>
                      <a:pt x="19" y="0"/>
                      <a:pt x="26" y="0"/>
                    </a:cubicBezTo>
                    <a:cubicBezTo>
                      <a:pt x="35" y="0"/>
                      <a:pt x="43" y="5"/>
                      <a:pt x="48" y="15"/>
                    </a:cubicBezTo>
                    <a:cubicBezTo>
                      <a:pt x="50" y="20"/>
                      <a:pt x="52" y="27"/>
                      <a:pt x="52" y="35"/>
                    </a:cubicBezTo>
                    <a:moveTo>
                      <a:pt x="39" y="30"/>
                    </a:moveTo>
                    <a:cubicBezTo>
                      <a:pt x="39" y="24"/>
                      <a:pt x="38" y="19"/>
                      <a:pt x="37" y="15"/>
                    </a:cubicBezTo>
                    <a:cubicBezTo>
                      <a:pt x="35" y="9"/>
                      <a:pt x="31" y="5"/>
                      <a:pt x="26" y="5"/>
                    </a:cubicBezTo>
                    <a:cubicBezTo>
                      <a:pt x="21" y="5"/>
                      <a:pt x="17" y="10"/>
                      <a:pt x="15" y="18"/>
                    </a:cubicBezTo>
                    <a:cubicBezTo>
                      <a:pt x="14" y="21"/>
                      <a:pt x="13" y="25"/>
                      <a:pt x="13" y="30"/>
                    </a:cubicBezTo>
                    <a:lnTo>
                      <a:pt x="39"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36" name="Rectangle 221"/>
              <p:cNvSpPr>
                <a:spLocks noChangeArrowheads="1"/>
              </p:cNvSpPr>
              <p:nvPr/>
            </p:nvSpPr>
            <p:spPr bwMode="auto">
              <a:xfrm>
                <a:off x="6953125" y="1590746"/>
                <a:ext cx="33302" cy="333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37" name="Rectangle 222"/>
              <p:cNvSpPr>
                <a:spLocks noChangeArrowheads="1"/>
              </p:cNvSpPr>
              <p:nvPr/>
            </p:nvSpPr>
            <p:spPr bwMode="auto">
              <a:xfrm>
                <a:off x="7617756" y="1590746"/>
                <a:ext cx="33302" cy="333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pic>
          <p:nvPicPr>
            <p:cNvPr id="1023"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492768" y="1839163"/>
              <a:ext cx="396071" cy="336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163619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oT – More Info</a:t>
            </a:r>
            <a:endParaRPr lang="en-US" dirty="0"/>
          </a:p>
        </p:txBody>
      </p:sp>
      <p:sp>
        <p:nvSpPr>
          <p:cNvPr id="5" name="TextBox 4"/>
          <p:cNvSpPr txBox="1"/>
          <p:nvPr/>
        </p:nvSpPr>
        <p:spPr>
          <a:xfrm>
            <a:off x="331749" y="1166191"/>
            <a:ext cx="8802538" cy="3200876"/>
          </a:xfrm>
          <a:prstGeom prst="rect">
            <a:avLst/>
          </a:prstGeom>
          <a:noFill/>
        </p:spPr>
        <p:txBody>
          <a:bodyPr wrap="none" rtlCol="0">
            <a:spAutoFit/>
          </a:bodyPr>
          <a:lstStyle/>
          <a:p>
            <a:r>
              <a:rPr lang="en-US" sz="2000" b="1" smtClean="0"/>
              <a:t>Cisco Blogs</a:t>
            </a:r>
            <a:r>
              <a:rPr lang="en-US" sz="2000" b="1" dirty="0"/>
              <a:t>, </a:t>
            </a:r>
            <a:r>
              <a:rPr lang="en-US" sz="2000" b="1" dirty="0" smtClean="0"/>
              <a:t>Releases</a:t>
            </a:r>
            <a:r>
              <a:rPr lang="en-US" sz="2000" b="1" dirty="0"/>
              <a:t>, etc</a:t>
            </a:r>
            <a:r>
              <a:rPr lang="en-US" sz="2000" b="1" dirty="0" smtClean="0"/>
              <a:t>.</a:t>
            </a:r>
            <a:endParaRPr lang="en-US" sz="2000" dirty="0"/>
          </a:p>
          <a:p>
            <a:r>
              <a:rPr lang="en-US" dirty="0">
                <a:hlinkClick r:id="rId2"/>
              </a:rPr>
              <a:t>Service Provider IoT Solutions Can Drive </a:t>
            </a:r>
            <a:r>
              <a:rPr lang="en-US" dirty="0" smtClean="0">
                <a:hlinkClick r:id="rId2"/>
              </a:rPr>
              <a:t>Digitization</a:t>
            </a:r>
            <a:endParaRPr lang="en-US" dirty="0" smtClean="0"/>
          </a:p>
          <a:p>
            <a:r>
              <a:rPr lang="en-US" dirty="0">
                <a:hlinkClick r:id="rId3"/>
              </a:rPr>
              <a:t>How Service Providers are Helping to Enable the Next Phase of Smart City Adoption</a:t>
            </a:r>
            <a:endParaRPr lang="en-US" dirty="0"/>
          </a:p>
          <a:p>
            <a:endParaRPr lang="en-US" b="1" dirty="0" smtClean="0"/>
          </a:p>
          <a:p>
            <a:r>
              <a:rPr lang="en-US" sz="2000" b="1" dirty="0" smtClean="0"/>
              <a:t>For </a:t>
            </a:r>
            <a:r>
              <a:rPr lang="en-US" sz="2000" b="1" dirty="0"/>
              <a:t>more information, visit</a:t>
            </a:r>
            <a:r>
              <a:rPr lang="en-US" sz="2000" b="1" dirty="0" smtClean="0"/>
              <a:t>:</a:t>
            </a:r>
          </a:p>
          <a:p>
            <a:r>
              <a:rPr lang="en-US" dirty="0" smtClean="0">
                <a:hlinkClick r:id="rId4"/>
              </a:rPr>
              <a:t>Cisco Ultra Services Platform</a:t>
            </a:r>
            <a:r>
              <a:rPr lang="en-US" dirty="0"/>
              <a:t> – </a:t>
            </a:r>
            <a:r>
              <a:rPr lang="en-US" dirty="0" smtClean="0"/>
              <a:t>reinventing </a:t>
            </a:r>
            <a:r>
              <a:rPr lang="en-US" dirty="0"/>
              <a:t>the Evolved Packet Core</a:t>
            </a:r>
            <a:endParaRPr lang="en-US" dirty="0" smtClean="0"/>
          </a:p>
          <a:p>
            <a:r>
              <a:rPr lang="en-US" dirty="0" smtClean="0">
                <a:hlinkClick r:id="rId5"/>
              </a:rPr>
              <a:t>Cisco Ultra IoT</a:t>
            </a:r>
            <a:r>
              <a:rPr lang="en-US" dirty="0"/>
              <a:t> </a:t>
            </a:r>
            <a:r>
              <a:rPr lang="en-US" dirty="0" smtClean="0"/>
              <a:t>– New </a:t>
            </a:r>
            <a:r>
              <a:rPr lang="en-US" dirty="0"/>
              <a:t>Capabilities for the Internet of </a:t>
            </a:r>
            <a:r>
              <a:rPr lang="en-US" dirty="0" smtClean="0"/>
              <a:t>Things</a:t>
            </a:r>
            <a:endParaRPr lang="en-US" dirty="0"/>
          </a:p>
          <a:p>
            <a:r>
              <a:rPr lang="en-US" dirty="0">
                <a:hlinkClick r:id="rId6"/>
              </a:rPr>
              <a:t>Cisco Smart+Connected Digital </a:t>
            </a:r>
            <a:r>
              <a:rPr lang="en-US" dirty="0" smtClean="0">
                <a:hlinkClick r:id="rId6"/>
              </a:rPr>
              <a:t>Platform</a:t>
            </a:r>
            <a:endParaRPr lang="en-US" dirty="0" smtClean="0"/>
          </a:p>
          <a:p>
            <a:r>
              <a:rPr lang="en-US" dirty="0">
                <a:hlinkClick r:id="rId7"/>
              </a:rPr>
              <a:t>Cisco Asset Management Suite</a:t>
            </a:r>
            <a:endParaRPr lang="en-US" dirty="0" smtClean="0"/>
          </a:p>
          <a:p>
            <a:r>
              <a:rPr lang="en-US" dirty="0">
                <a:hlinkClick r:id="rId8"/>
              </a:rPr>
              <a:t>Cisco Solution for </a:t>
            </a:r>
            <a:r>
              <a:rPr lang="en-US" dirty="0" smtClean="0">
                <a:hlinkClick r:id="rId8"/>
              </a:rPr>
              <a:t>LoRaWAN</a:t>
            </a:r>
            <a:endParaRPr lang="en-US" dirty="0" smtClean="0"/>
          </a:p>
          <a:p>
            <a:r>
              <a:rPr lang="en-US" dirty="0" smtClean="0">
                <a:hlinkClick r:id="rId9"/>
              </a:rPr>
              <a:t>Cisco Universal Wi-Fi Solutions for Service Providers</a:t>
            </a:r>
            <a:endParaRPr lang="en-US" dirty="0"/>
          </a:p>
        </p:txBody>
      </p:sp>
    </p:spTree>
    <p:extLst>
      <p:ext uri="{BB962C8B-B14F-4D97-AF65-F5344CB8AC3E}">
        <p14:creationId xmlns:p14="http://schemas.microsoft.com/office/powerpoint/2010/main" val="1367073371"/>
      </p:ext>
    </p:extLst>
  </p:cSld>
  <p:clrMapOvr>
    <a:masterClrMapping/>
  </p:clrMapOvr>
  <p:transition spd="med">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437766" y="912505"/>
            <a:ext cx="8179484" cy="4138623"/>
          </a:xfrm>
          <a:prstGeom prst="rect">
            <a:avLst/>
          </a:prstGeom>
        </p:spPr>
      </p:pic>
      <p:sp>
        <p:nvSpPr>
          <p:cNvPr id="17" name="Rounded Rectangle 16"/>
          <p:cNvSpPr/>
          <p:nvPr/>
        </p:nvSpPr>
        <p:spPr>
          <a:xfrm>
            <a:off x="3216905" y="2782206"/>
            <a:ext cx="1037853" cy="455339"/>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61257" y="238672"/>
            <a:ext cx="8770775" cy="731837"/>
          </a:xfrm>
        </p:spPr>
        <p:txBody>
          <a:bodyPr/>
          <a:lstStyle/>
          <a:p>
            <a:r>
              <a:rPr lang="en-US" sz="2800" dirty="0" smtClean="0"/>
              <a:t>MWC2017 </a:t>
            </a:r>
            <a:r>
              <a:rPr lang="en-US" sz="2800" dirty="0"/>
              <a:t>Demo </a:t>
            </a:r>
            <a:r>
              <a:rPr lang="en-US" sz="2800" dirty="0" smtClean="0"/>
              <a:t>Zone 4 – Create </a:t>
            </a:r>
            <a:r>
              <a:rPr lang="en-US" sz="2800" dirty="0"/>
              <a:t>Business Services</a:t>
            </a:r>
            <a:br>
              <a:rPr lang="en-US" sz="2800" dirty="0"/>
            </a:br>
            <a:endParaRPr lang="en-US" sz="2800" dirty="0"/>
          </a:p>
        </p:txBody>
      </p:sp>
      <p:grpSp>
        <p:nvGrpSpPr>
          <p:cNvPr id="19" name="Group 18"/>
          <p:cNvGrpSpPr/>
          <p:nvPr/>
        </p:nvGrpSpPr>
        <p:grpSpPr>
          <a:xfrm>
            <a:off x="6692946" y="2462320"/>
            <a:ext cx="1541152" cy="369332"/>
            <a:chOff x="6692946" y="2462320"/>
            <a:chExt cx="1541152" cy="369332"/>
          </a:xfrm>
        </p:grpSpPr>
        <p:sp>
          <p:nvSpPr>
            <p:cNvPr id="11" name="Rounded Rectangle 10"/>
            <p:cNvSpPr/>
            <p:nvPr/>
          </p:nvSpPr>
          <p:spPr>
            <a:xfrm>
              <a:off x="7023284" y="2462320"/>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 name="TextBox 3"/>
            <p:cNvSpPr txBox="1"/>
            <p:nvPr/>
          </p:nvSpPr>
          <p:spPr>
            <a:xfrm>
              <a:off x="6692946" y="2462320"/>
              <a:ext cx="1541152" cy="369332"/>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3 </a:t>
              </a: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 </a:t>
              </a: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Create </a:t>
              </a:r>
              <a:b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IoT  Services</a:t>
              </a:r>
              <a:endPar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endParaRPr>
            </a:p>
          </p:txBody>
        </p:sp>
      </p:grpSp>
      <p:grpSp>
        <p:nvGrpSpPr>
          <p:cNvPr id="20" name="Group 19"/>
          <p:cNvGrpSpPr/>
          <p:nvPr/>
        </p:nvGrpSpPr>
        <p:grpSpPr>
          <a:xfrm>
            <a:off x="5095808" y="1851807"/>
            <a:ext cx="1541152" cy="507831"/>
            <a:chOff x="5095808" y="1851807"/>
            <a:chExt cx="1541152" cy="507831"/>
          </a:xfrm>
        </p:grpSpPr>
        <p:sp>
          <p:nvSpPr>
            <p:cNvPr id="15" name="Rounded Rectangle 14"/>
            <p:cNvSpPr/>
            <p:nvPr/>
          </p:nvSpPr>
          <p:spPr>
            <a:xfrm>
              <a:off x="5411430" y="1921055"/>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TextBox 4"/>
            <p:cNvSpPr txBox="1"/>
            <p:nvPr/>
          </p:nvSpPr>
          <p:spPr>
            <a:xfrm>
              <a:off x="5095808" y="1851807"/>
              <a:ext cx="1541152" cy="507831"/>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4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Create </a:t>
              </a:r>
              <a:r>
                <a:rPr lang="en-US" sz="900" smtClean="0">
                  <a:solidFill>
                    <a:srgbClr val="C00000"/>
                  </a:solidFill>
                  <a:effectLst>
                    <a:outerShdw blurRad="50800" dist="76200" dir="2700000" algn="tl" rotWithShape="0">
                      <a:prstClr val="black">
                        <a:alpha val="40000"/>
                      </a:prstClr>
                    </a:outerShdw>
                  </a:effectLst>
                  <a:ea typeface="Courier" charset="0"/>
                  <a:cs typeface="Courier" charset="0"/>
                </a:rPr>
                <a:t>Business </a:t>
              </a:r>
              <a:br>
                <a:rPr lang="en-US" sz="900" smtClean="0">
                  <a:solidFill>
                    <a:srgbClr val="C00000"/>
                  </a:solidFill>
                  <a:effectLst>
                    <a:outerShdw blurRad="50800" dist="76200" dir="2700000" algn="tl" rotWithShape="0">
                      <a:prstClr val="black">
                        <a:alpha val="40000"/>
                      </a:prstClr>
                    </a:outerShdw>
                  </a:effectLst>
                  <a:ea typeface="Courier" charset="0"/>
                  <a:cs typeface="Courier" charset="0"/>
                </a:rPr>
              </a:br>
              <a:r>
                <a:rPr lang="en-US" sz="900" smtClean="0">
                  <a:solidFill>
                    <a:srgbClr val="C00000"/>
                  </a:solidFill>
                  <a:effectLst>
                    <a:outerShdw blurRad="50800" dist="76200" dir="2700000" algn="tl" rotWithShape="0">
                      <a:prstClr val="black">
                        <a:alpha val="40000"/>
                      </a:prstClr>
                    </a:outerShdw>
                  </a:effectLst>
                  <a:ea typeface="Courier" charset="0"/>
                  <a:cs typeface="Courier" charset="0"/>
                </a:rPr>
                <a:t>Services</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grpSp>
        <p:nvGrpSpPr>
          <p:cNvPr id="21" name="Group 20"/>
          <p:cNvGrpSpPr/>
          <p:nvPr/>
        </p:nvGrpSpPr>
        <p:grpSpPr>
          <a:xfrm>
            <a:off x="4371250" y="1275010"/>
            <a:ext cx="909908" cy="413674"/>
            <a:chOff x="4371250" y="1275010"/>
            <a:chExt cx="909908" cy="413674"/>
          </a:xfrm>
        </p:grpSpPr>
        <p:sp>
          <p:nvSpPr>
            <p:cNvPr id="16" name="Rounded Rectangle 15"/>
            <p:cNvSpPr/>
            <p:nvPr/>
          </p:nvSpPr>
          <p:spPr>
            <a:xfrm>
              <a:off x="4371250" y="1319352"/>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TextBox 5"/>
            <p:cNvSpPr txBox="1"/>
            <p:nvPr/>
          </p:nvSpPr>
          <p:spPr>
            <a:xfrm>
              <a:off x="4458154" y="1275010"/>
              <a:ext cx="736100" cy="369332"/>
            </a:xfrm>
            <a:prstGeom prst="rect">
              <a:avLst/>
            </a:prstGeom>
            <a:noFill/>
          </p:spPr>
          <p:txBody>
            <a:bodyPr wrap="non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5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Protect</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sp>
        <p:nvSpPr>
          <p:cNvPr id="7" name="TextBox 6"/>
          <p:cNvSpPr txBox="1"/>
          <p:nvPr/>
        </p:nvSpPr>
        <p:spPr>
          <a:xfrm>
            <a:off x="3125231" y="2762847"/>
            <a:ext cx="1210588" cy="507831"/>
          </a:xfrm>
          <a:prstGeom prst="rect">
            <a:avLst/>
          </a:prstGeom>
          <a:noFill/>
        </p:spPr>
        <p:txBody>
          <a:bodyPr wrap="none" rtlCol="0">
            <a:spAutoFit/>
          </a:bodyPr>
          <a:lstStyle/>
          <a:p>
            <a:pPr algn="ct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Zone 1 –</a:t>
            </a:r>
            <a:b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Simplify, Automate, </a:t>
            </a:r>
            <a:b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Virtualize</a:t>
            </a:r>
            <a:endPar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endParaRPr>
          </a:p>
        </p:txBody>
      </p:sp>
      <p:grpSp>
        <p:nvGrpSpPr>
          <p:cNvPr id="18" name="Group 17"/>
          <p:cNvGrpSpPr/>
          <p:nvPr/>
        </p:nvGrpSpPr>
        <p:grpSpPr>
          <a:xfrm>
            <a:off x="5166510" y="3046920"/>
            <a:ext cx="1541152" cy="507831"/>
            <a:chOff x="5166510" y="3046920"/>
            <a:chExt cx="1541152" cy="507831"/>
          </a:xfrm>
        </p:grpSpPr>
        <p:sp>
          <p:nvSpPr>
            <p:cNvPr id="12" name="Rounded Rectangle 11"/>
            <p:cNvSpPr/>
            <p:nvPr/>
          </p:nvSpPr>
          <p:spPr>
            <a:xfrm>
              <a:off x="5530940" y="3116169"/>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 name="TextBox 9"/>
            <p:cNvSpPr txBox="1"/>
            <p:nvPr/>
          </p:nvSpPr>
          <p:spPr>
            <a:xfrm>
              <a:off x="5166510" y="3046920"/>
              <a:ext cx="1541152" cy="507831"/>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2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Create Video </a:t>
              </a:r>
              <a:b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Services</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sp>
        <p:nvSpPr>
          <p:cNvPr id="24" name="Rounded Rectangle 23"/>
          <p:cNvSpPr/>
          <p:nvPr/>
        </p:nvSpPr>
        <p:spPr>
          <a:xfrm rot="5400000">
            <a:off x="5551578" y="1247884"/>
            <a:ext cx="1042423" cy="1451153"/>
          </a:xfrm>
          <a:prstGeom prst="roundRect">
            <a:avLst/>
          </a:prstGeom>
          <a:noFill/>
          <a:ln>
            <a:solidFill>
              <a:srgbClr val="FF00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6" name="Rectangle 35"/>
          <p:cNvSpPr/>
          <p:nvPr/>
        </p:nvSpPr>
        <p:spPr bwMode="auto">
          <a:xfrm>
            <a:off x="500510" y="970509"/>
            <a:ext cx="4808181" cy="3908397"/>
          </a:xfrm>
          <a:prstGeom prst="rect">
            <a:avLst/>
          </a:prstGeom>
          <a:solidFill>
            <a:schemeClr val="bg1">
              <a:lumMod val="8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defTabSz="914378">
              <a:spcBef>
                <a:spcPct val="50000"/>
              </a:spcBef>
            </a:pPr>
            <a:endParaRPr lang="en-US" sz="2000">
              <a:solidFill>
                <a:srgbClr val="58585B"/>
              </a:solidFill>
              <a:latin typeface="Arial"/>
            </a:endParaRPr>
          </a:p>
        </p:txBody>
      </p:sp>
      <p:pic>
        <p:nvPicPr>
          <p:cNvPr id="37" name="Picture 4" descr="big dots"/>
          <p:cNvPicPr>
            <a:picLocks noChangeAspect="1" noChangeArrowheads="1"/>
          </p:cNvPicPr>
          <p:nvPr/>
        </p:nvPicPr>
        <p:blipFill>
          <a:blip r:embed="rId3">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98816" y="4257515"/>
            <a:ext cx="4950867" cy="497128"/>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p:cNvSpPr/>
          <p:nvPr/>
        </p:nvSpPr>
        <p:spPr>
          <a:xfrm>
            <a:off x="740598" y="1807303"/>
            <a:ext cx="4327120" cy="1908215"/>
          </a:xfrm>
          <a:prstGeom prst="rect">
            <a:avLst/>
          </a:prstGeom>
        </p:spPr>
        <p:txBody>
          <a:bodyPr wrap="square">
            <a:spAutoFit/>
          </a:bodyPr>
          <a:lstStyle/>
          <a:p>
            <a:r>
              <a:rPr lang="en-US" sz="2000" dirty="0" smtClean="0"/>
              <a:t>SPs </a:t>
            </a:r>
            <a:r>
              <a:rPr lang="en-US" sz="2000" dirty="0"/>
              <a:t>can expand market reach delivering compelling end-customer experiences with Cisco cloud-based &amp; managed services for SMBs, large enterprises, public sector</a:t>
            </a:r>
          </a:p>
          <a:p>
            <a:endParaRPr lang="en-US" dirty="0"/>
          </a:p>
        </p:txBody>
      </p:sp>
      <p:sp>
        <p:nvSpPr>
          <p:cNvPr id="39" name="Rectangle 38"/>
          <p:cNvSpPr/>
          <p:nvPr/>
        </p:nvSpPr>
        <p:spPr>
          <a:xfrm>
            <a:off x="585668" y="1083120"/>
            <a:ext cx="3088203" cy="369126"/>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Key Takeaway…</a:t>
            </a:r>
          </a:p>
        </p:txBody>
      </p:sp>
    </p:spTree>
    <p:extLst>
      <p:ext uri="{BB962C8B-B14F-4D97-AF65-F5344CB8AC3E}">
        <p14:creationId xmlns:p14="http://schemas.microsoft.com/office/powerpoint/2010/main" val="1827002317"/>
      </p:ext>
    </p:extLst>
  </p:cSld>
  <p:clrMapOvr>
    <a:masterClrMapping/>
  </p:clrMapOvr>
  <p:transition spd="med">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3629984" y="2935474"/>
            <a:ext cx="16403969" cy="2349500"/>
            <a:chOff x="-3629984" y="2794000"/>
            <a:chExt cx="16403969" cy="2349500"/>
          </a:xfrm>
        </p:grpSpPr>
        <p:sp>
          <p:nvSpPr>
            <p:cNvPr id="7" name="Oval 132"/>
            <p:cNvSpPr/>
            <p:nvPr/>
          </p:nvSpPr>
          <p:spPr>
            <a:xfrm>
              <a:off x="-3629984" y="2794000"/>
              <a:ext cx="16403969" cy="2349500"/>
            </a:xfrm>
            <a:custGeom>
              <a:avLst/>
              <a:gdLst/>
              <a:ahLst/>
              <a:cxnLst/>
              <a:rect l="l" t="t" r="r" b="b"/>
              <a:pathLst>
                <a:path w="16403969" h="2349500">
                  <a:moveTo>
                    <a:pt x="8201985" y="0"/>
                  </a:moveTo>
                  <a:cubicBezTo>
                    <a:pt x="11298203" y="0"/>
                    <a:pt x="14147017" y="876755"/>
                    <a:pt x="16403969" y="2349500"/>
                  </a:cubicBezTo>
                  <a:lnTo>
                    <a:pt x="0" y="2349500"/>
                  </a:lnTo>
                  <a:cubicBezTo>
                    <a:pt x="2256953" y="876755"/>
                    <a:pt x="5105767" y="0"/>
                    <a:pt x="8201985" y="0"/>
                  </a:cubicBezTo>
                  <a:close/>
                </a:path>
              </a:pathLst>
            </a:custGeom>
            <a:gradFill flip="none" rotWithShape="1">
              <a:gsLst>
                <a:gs pos="0">
                  <a:schemeClr val="accent3"/>
                </a:gs>
                <a:gs pos="75000">
                  <a:srgbClr val="4AA7D4"/>
                </a:gs>
              </a:gsLst>
              <a:lin ang="54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11"/>
            <p:cNvSpPr>
              <a:spLocks noEditPoints="1"/>
            </p:cNvSpPr>
            <p:nvPr/>
          </p:nvSpPr>
          <p:spPr bwMode="auto">
            <a:xfrm>
              <a:off x="761630" y="2860040"/>
              <a:ext cx="8382370" cy="2283460"/>
            </a:xfrm>
            <a:custGeom>
              <a:avLst/>
              <a:gdLst>
                <a:gd name="T0" fmla="*/ 251 w 5010"/>
                <a:gd name="T1" fmla="*/ 1324 h 1365"/>
                <a:gd name="T2" fmla="*/ 619 w 5010"/>
                <a:gd name="T3" fmla="*/ 1284 h 1365"/>
                <a:gd name="T4" fmla="*/ 957 w 5010"/>
                <a:gd name="T5" fmla="*/ 1254 h 1365"/>
                <a:gd name="T6" fmla="*/ 1103 w 5010"/>
                <a:gd name="T7" fmla="*/ 1225 h 1365"/>
                <a:gd name="T8" fmla="*/ 2303 w 5010"/>
                <a:gd name="T9" fmla="*/ 1205 h 1365"/>
                <a:gd name="T10" fmla="*/ 2378 w 5010"/>
                <a:gd name="T11" fmla="*/ 1185 h 1365"/>
                <a:gd name="T12" fmla="*/ 2452 w 5010"/>
                <a:gd name="T13" fmla="*/ 1145 h 1365"/>
                <a:gd name="T14" fmla="*/ 2686 w 5010"/>
                <a:gd name="T15" fmla="*/ 1105 h 1365"/>
                <a:gd name="T16" fmla="*/ 2811 w 5010"/>
                <a:gd name="T17" fmla="*/ 1075 h 1365"/>
                <a:gd name="T18" fmla="*/ 2808 w 5010"/>
                <a:gd name="T19" fmla="*/ 1045 h 1365"/>
                <a:gd name="T20" fmla="*/ 2780 w 5010"/>
                <a:gd name="T21" fmla="*/ 1026 h 1365"/>
                <a:gd name="T22" fmla="*/ 2721 w 5010"/>
                <a:gd name="T23" fmla="*/ 1007 h 1365"/>
                <a:gd name="T24" fmla="*/ 3455 w 5010"/>
                <a:gd name="T25" fmla="*/ 968 h 1365"/>
                <a:gd name="T26" fmla="*/ 3456 w 5010"/>
                <a:gd name="T27" fmla="*/ 928 h 1365"/>
                <a:gd name="T28" fmla="*/ 2955 w 5010"/>
                <a:gd name="T29" fmla="*/ 899 h 1365"/>
                <a:gd name="T30" fmla="*/ 2508 w 5010"/>
                <a:gd name="T31" fmla="*/ 871 h 1365"/>
                <a:gd name="T32" fmla="*/ 2321 w 5010"/>
                <a:gd name="T33" fmla="*/ 854 h 1365"/>
                <a:gd name="T34" fmla="*/ 1948 w 5010"/>
                <a:gd name="T35" fmla="*/ 836 h 1365"/>
                <a:gd name="T36" fmla="*/ 3925 w 5010"/>
                <a:gd name="T37" fmla="*/ 816 h 1365"/>
                <a:gd name="T38" fmla="*/ 3292 w 5010"/>
                <a:gd name="T39" fmla="*/ 780 h 1365"/>
                <a:gd name="T40" fmla="*/ 2275 w 5010"/>
                <a:gd name="T41" fmla="*/ 754 h 1365"/>
                <a:gd name="T42" fmla="*/ 232 w 5010"/>
                <a:gd name="T43" fmla="*/ 739 h 1365"/>
                <a:gd name="T44" fmla="*/ 3214 w 5010"/>
                <a:gd name="T45" fmla="*/ 732 h 1365"/>
                <a:gd name="T46" fmla="*/ 2046 w 5010"/>
                <a:gd name="T47" fmla="*/ 718 h 1365"/>
                <a:gd name="T48" fmla="*/ 3908 w 5010"/>
                <a:gd name="T49" fmla="*/ 701 h 1365"/>
                <a:gd name="T50" fmla="*/ 2808 w 5010"/>
                <a:gd name="T51" fmla="*/ 665 h 1365"/>
                <a:gd name="T52" fmla="*/ 263 w 5010"/>
                <a:gd name="T53" fmla="*/ 651 h 1365"/>
                <a:gd name="T54" fmla="*/ 3401 w 5010"/>
                <a:gd name="T55" fmla="*/ 633 h 1365"/>
                <a:gd name="T56" fmla="*/ 2851 w 5010"/>
                <a:gd name="T57" fmla="*/ 617 h 1365"/>
                <a:gd name="T58" fmla="*/ 143 w 5010"/>
                <a:gd name="T59" fmla="*/ 615 h 1365"/>
                <a:gd name="T60" fmla="*/ 3152 w 5010"/>
                <a:gd name="T61" fmla="*/ 585 h 1365"/>
                <a:gd name="T62" fmla="*/ 732 w 5010"/>
                <a:gd name="T63" fmla="*/ 561 h 1365"/>
                <a:gd name="T64" fmla="*/ 3445 w 5010"/>
                <a:gd name="T65" fmla="*/ 544 h 1365"/>
                <a:gd name="T66" fmla="*/ 2076 w 5010"/>
                <a:gd name="T67" fmla="*/ 521 h 1365"/>
                <a:gd name="T68" fmla="*/ 3955 w 5010"/>
                <a:gd name="T69" fmla="*/ 522 h 1365"/>
                <a:gd name="T70" fmla="*/ 2756 w 5010"/>
                <a:gd name="T71" fmla="*/ 511 h 1365"/>
                <a:gd name="T72" fmla="*/ 343 w 5010"/>
                <a:gd name="T73" fmla="*/ 486 h 1365"/>
                <a:gd name="T74" fmla="*/ 2786 w 5010"/>
                <a:gd name="T75" fmla="*/ 459 h 1365"/>
                <a:gd name="T76" fmla="*/ 491 w 5010"/>
                <a:gd name="T77" fmla="*/ 447 h 1365"/>
                <a:gd name="T78" fmla="*/ 2540 w 5010"/>
                <a:gd name="T79" fmla="*/ 430 h 1365"/>
                <a:gd name="T80" fmla="*/ 447 w 5010"/>
                <a:gd name="T81" fmla="*/ 429 h 1365"/>
                <a:gd name="T82" fmla="*/ 2783 w 5010"/>
                <a:gd name="T83" fmla="*/ 421 h 1365"/>
                <a:gd name="T84" fmla="*/ 515 w 5010"/>
                <a:gd name="T85" fmla="*/ 398 h 1365"/>
                <a:gd name="T86" fmla="*/ 2539 w 5010"/>
                <a:gd name="T87" fmla="*/ 373 h 1365"/>
                <a:gd name="T88" fmla="*/ 453 w 5010"/>
                <a:gd name="T89" fmla="*/ 359 h 1365"/>
                <a:gd name="T90" fmla="*/ 2707 w 5010"/>
                <a:gd name="T91" fmla="*/ 343 h 1365"/>
                <a:gd name="T92" fmla="*/ 478 w 5010"/>
                <a:gd name="T93" fmla="*/ 343 h 1365"/>
                <a:gd name="T94" fmla="*/ 2972 w 5010"/>
                <a:gd name="T95" fmla="*/ 334 h 1365"/>
                <a:gd name="T96" fmla="*/ 776 w 5010"/>
                <a:gd name="T97" fmla="*/ 311 h 1365"/>
                <a:gd name="T98" fmla="*/ 3391 w 5010"/>
                <a:gd name="T99" fmla="*/ 280 h 1365"/>
                <a:gd name="T100" fmla="*/ 1563 w 5010"/>
                <a:gd name="T101" fmla="*/ 265 h 1365"/>
                <a:gd name="T102" fmla="*/ 3544 w 5010"/>
                <a:gd name="T103" fmla="*/ 251 h 1365"/>
                <a:gd name="T104" fmla="*/ 1320 w 5010"/>
                <a:gd name="T105" fmla="*/ 250 h 1365"/>
                <a:gd name="T106" fmla="*/ 3443 w 5010"/>
                <a:gd name="T107" fmla="*/ 242 h 1365"/>
                <a:gd name="T108" fmla="*/ 832 w 5010"/>
                <a:gd name="T109" fmla="*/ 223 h 1365"/>
                <a:gd name="T110" fmla="*/ 3012 w 5010"/>
                <a:gd name="T111" fmla="*/ 194 h 1365"/>
                <a:gd name="T112" fmla="*/ 679 w 5010"/>
                <a:gd name="T113" fmla="*/ 186 h 1365"/>
                <a:gd name="T114" fmla="*/ 2663 w 5010"/>
                <a:gd name="T115" fmla="*/ 168 h 1365"/>
                <a:gd name="T116" fmla="*/ 3808 w 5010"/>
                <a:gd name="T117" fmla="*/ 168 h 1365"/>
                <a:gd name="T118" fmla="*/ 2757 w 5010"/>
                <a:gd name="T119" fmla="*/ 159 h 1365"/>
                <a:gd name="T120" fmla="*/ 1289 w 5010"/>
                <a:gd name="T121" fmla="*/ 135 h 1365"/>
                <a:gd name="T122" fmla="*/ 1773 w 5010"/>
                <a:gd name="T123" fmla="*/ 89 h 1365"/>
                <a:gd name="T124" fmla="*/ 1436 w 5010"/>
                <a:gd name="T125" fmla="*/ 33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10" h="1365">
                  <a:moveTo>
                    <a:pt x="4603" y="1364"/>
                  </a:moveTo>
                  <a:cubicBezTo>
                    <a:pt x="4601" y="1364"/>
                    <a:pt x="4599" y="1365"/>
                    <a:pt x="4597" y="1365"/>
                  </a:cubicBezTo>
                  <a:cubicBezTo>
                    <a:pt x="4609" y="1365"/>
                    <a:pt x="4609" y="1365"/>
                    <a:pt x="4609" y="1365"/>
                  </a:cubicBezTo>
                  <a:cubicBezTo>
                    <a:pt x="4607" y="1365"/>
                    <a:pt x="4605" y="1364"/>
                    <a:pt x="4603" y="1364"/>
                  </a:cubicBezTo>
                  <a:cubicBezTo>
                    <a:pt x="4603" y="1364"/>
                    <a:pt x="4603" y="1364"/>
                    <a:pt x="4603" y="1364"/>
                  </a:cubicBezTo>
                  <a:moveTo>
                    <a:pt x="4653" y="1364"/>
                  </a:moveTo>
                  <a:cubicBezTo>
                    <a:pt x="4651" y="1364"/>
                    <a:pt x="4649" y="1365"/>
                    <a:pt x="4647" y="1365"/>
                  </a:cubicBezTo>
                  <a:cubicBezTo>
                    <a:pt x="4659" y="1365"/>
                    <a:pt x="4659" y="1365"/>
                    <a:pt x="4659" y="1365"/>
                  </a:cubicBezTo>
                  <a:cubicBezTo>
                    <a:pt x="4657" y="1365"/>
                    <a:pt x="4655" y="1364"/>
                    <a:pt x="4653" y="1364"/>
                  </a:cubicBezTo>
                  <a:cubicBezTo>
                    <a:pt x="4653" y="1364"/>
                    <a:pt x="4653" y="1364"/>
                    <a:pt x="4653" y="1364"/>
                  </a:cubicBezTo>
                  <a:moveTo>
                    <a:pt x="4700" y="1364"/>
                  </a:moveTo>
                  <a:cubicBezTo>
                    <a:pt x="4698" y="1364"/>
                    <a:pt x="4696" y="1364"/>
                    <a:pt x="4694" y="1365"/>
                  </a:cubicBezTo>
                  <a:cubicBezTo>
                    <a:pt x="4707" y="1365"/>
                    <a:pt x="4707" y="1365"/>
                    <a:pt x="4707" y="1365"/>
                  </a:cubicBezTo>
                  <a:cubicBezTo>
                    <a:pt x="4704" y="1364"/>
                    <a:pt x="4702" y="1364"/>
                    <a:pt x="4700" y="1364"/>
                  </a:cubicBezTo>
                  <a:cubicBezTo>
                    <a:pt x="4700" y="1364"/>
                    <a:pt x="4700" y="1364"/>
                    <a:pt x="4700" y="1364"/>
                  </a:cubicBezTo>
                  <a:moveTo>
                    <a:pt x="4747" y="1364"/>
                  </a:moveTo>
                  <a:cubicBezTo>
                    <a:pt x="4745" y="1364"/>
                    <a:pt x="4743" y="1364"/>
                    <a:pt x="4741" y="1365"/>
                  </a:cubicBezTo>
                  <a:cubicBezTo>
                    <a:pt x="4754" y="1365"/>
                    <a:pt x="4754" y="1365"/>
                    <a:pt x="4754" y="1365"/>
                  </a:cubicBezTo>
                  <a:cubicBezTo>
                    <a:pt x="4752" y="1364"/>
                    <a:pt x="4749" y="1364"/>
                    <a:pt x="4747" y="1364"/>
                  </a:cubicBezTo>
                  <a:cubicBezTo>
                    <a:pt x="4747" y="1364"/>
                    <a:pt x="4747" y="1364"/>
                    <a:pt x="4747" y="1364"/>
                  </a:cubicBezTo>
                  <a:moveTo>
                    <a:pt x="4794" y="1364"/>
                  </a:moveTo>
                  <a:cubicBezTo>
                    <a:pt x="4792" y="1364"/>
                    <a:pt x="4790" y="1364"/>
                    <a:pt x="4788" y="1365"/>
                  </a:cubicBezTo>
                  <a:cubicBezTo>
                    <a:pt x="4802" y="1365"/>
                    <a:pt x="4802" y="1365"/>
                    <a:pt x="4802" y="1365"/>
                  </a:cubicBezTo>
                  <a:cubicBezTo>
                    <a:pt x="4800" y="1364"/>
                    <a:pt x="4797" y="1364"/>
                    <a:pt x="4795" y="1364"/>
                  </a:cubicBezTo>
                  <a:cubicBezTo>
                    <a:pt x="4795" y="1364"/>
                    <a:pt x="4794" y="1364"/>
                    <a:pt x="4794" y="1364"/>
                  </a:cubicBezTo>
                  <a:moveTo>
                    <a:pt x="4842" y="1364"/>
                  </a:moveTo>
                  <a:cubicBezTo>
                    <a:pt x="4840" y="1364"/>
                    <a:pt x="4838" y="1364"/>
                    <a:pt x="4836" y="1365"/>
                  </a:cubicBezTo>
                  <a:cubicBezTo>
                    <a:pt x="4851" y="1365"/>
                    <a:pt x="4851" y="1365"/>
                    <a:pt x="4851" y="1365"/>
                  </a:cubicBezTo>
                  <a:cubicBezTo>
                    <a:pt x="4848" y="1364"/>
                    <a:pt x="4845" y="1364"/>
                    <a:pt x="4842" y="1364"/>
                  </a:cubicBezTo>
                  <a:cubicBezTo>
                    <a:pt x="4842" y="1364"/>
                    <a:pt x="4842" y="1364"/>
                    <a:pt x="4842" y="1364"/>
                  </a:cubicBezTo>
                  <a:moveTo>
                    <a:pt x="4988" y="1364"/>
                  </a:moveTo>
                  <a:cubicBezTo>
                    <a:pt x="4985" y="1364"/>
                    <a:pt x="4983" y="1364"/>
                    <a:pt x="4981" y="1365"/>
                  </a:cubicBezTo>
                  <a:cubicBezTo>
                    <a:pt x="4997" y="1365"/>
                    <a:pt x="4997" y="1365"/>
                    <a:pt x="4997" y="1365"/>
                  </a:cubicBezTo>
                  <a:cubicBezTo>
                    <a:pt x="4994" y="1364"/>
                    <a:pt x="4991" y="1364"/>
                    <a:pt x="4988" y="1364"/>
                  </a:cubicBezTo>
                  <a:cubicBezTo>
                    <a:pt x="4988" y="1364"/>
                    <a:pt x="4988" y="1364"/>
                    <a:pt x="4988" y="1364"/>
                  </a:cubicBezTo>
                  <a:moveTo>
                    <a:pt x="254" y="1343"/>
                  </a:moveTo>
                  <a:cubicBezTo>
                    <a:pt x="245" y="1343"/>
                    <a:pt x="234" y="1348"/>
                    <a:pt x="230" y="1353"/>
                  </a:cubicBezTo>
                  <a:cubicBezTo>
                    <a:pt x="226" y="1359"/>
                    <a:pt x="230" y="1363"/>
                    <a:pt x="240" y="1363"/>
                  </a:cubicBezTo>
                  <a:cubicBezTo>
                    <a:pt x="249" y="1363"/>
                    <a:pt x="259" y="1359"/>
                    <a:pt x="263" y="1353"/>
                  </a:cubicBezTo>
                  <a:cubicBezTo>
                    <a:pt x="267" y="1348"/>
                    <a:pt x="263" y="1343"/>
                    <a:pt x="254" y="1343"/>
                  </a:cubicBezTo>
                  <a:cubicBezTo>
                    <a:pt x="254" y="1343"/>
                    <a:pt x="254" y="1343"/>
                    <a:pt x="254" y="1343"/>
                  </a:cubicBezTo>
                  <a:moveTo>
                    <a:pt x="301" y="1343"/>
                  </a:moveTo>
                  <a:cubicBezTo>
                    <a:pt x="291" y="1343"/>
                    <a:pt x="281" y="1348"/>
                    <a:pt x="277" y="1353"/>
                  </a:cubicBezTo>
                  <a:cubicBezTo>
                    <a:pt x="273" y="1359"/>
                    <a:pt x="278" y="1363"/>
                    <a:pt x="287" y="1363"/>
                  </a:cubicBezTo>
                  <a:cubicBezTo>
                    <a:pt x="296" y="1363"/>
                    <a:pt x="306" y="1359"/>
                    <a:pt x="310" y="1353"/>
                  </a:cubicBezTo>
                  <a:cubicBezTo>
                    <a:pt x="314" y="1348"/>
                    <a:pt x="310" y="1343"/>
                    <a:pt x="301" y="1343"/>
                  </a:cubicBezTo>
                  <a:cubicBezTo>
                    <a:pt x="301" y="1343"/>
                    <a:pt x="301" y="1343"/>
                    <a:pt x="301" y="1343"/>
                  </a:cubicBezTo>
                  <a:moveTo>
                    <a:pt x="348" y="1343"/>
                  </a:moveTo>
                  <a:cubicBezTo>
                    <a:pt x="339" y="1343"/>
                    <a:pt x="328" y="1348"/>
                    <a:pt x="324" y="1353"/>
                  </a:cubicBezTo>
                  <a:cubicBezTo>
                    <a:pt x="321" y="1359"/>
                    <a:pt x="325" y="1363"/>
                    <a:pt x="334" y="1363"/>
                  </a:cubicBezTo>
                  <a:cubicBezTo>
                    <a:pt x="343" y="1363"/>
                    <a:pt x="354" y="1359"/>
                    <a:pt x="358" y="1353"/>
                  </a:cubicBezTo>
                  <a:cubicBezTo>
                    <a:pt x="361" y="1348"/>
                    <a:pt x="357" y="1343"/>
                    <a:pt x="348" y="1343"/>
                  </a:cubicBezTo>
                  <a:cubicBezTo>
                    <a:pt x="348" y="1343"/>
                    <a:pt x="348" y="1343"/>
                    <a:pt x="348" y="1343"/>
                  </a:cubicBezTo>
                  <a:moveTo>
                    <a:pt x="396" y="1343"/>
                  </a:moveTo>
                  <a:cubicBezTo>
                    <a:pt x="387" y="1343"/>
                    <a:pt x="377" y="1347"/>
                    <a:pt x="373" y="1353"/>
                  </a:cubicBezTo>
                  <a:cubicBezTo>
                    <a:pt x="370" y="1359"/>
                    <a:pt x="374" y="1363"/>
                    <a:pt x="383" y="1363"/>
                  </a:cubicBezTo>
                  <a:cubicBezTo>
                    <a:pt x="392" y="1363"/>
                    <a:pt x="403" y="1359"/>
                    <a:pt x="406" y="1353"/>
                  </a:cubicBezTo>
                  <a:cubicBezTo>
                    <a:pt x="410" y="1347"/>
                    <a:pt x="405" y="1343"/>
                    <a:pt x="396" y="1343"/>
                  </a:cubicBezTo>
                  <a:cubicBezTo>
                    <a:pt x="396" y="1343"/>
                    <a:pt x="396" y="1343"/>
                    <a:pt x="396" y="1343"/>
                  </a:cubicBezTo>
                  <a:moveTo>
                    <a:pt x="443" y="1343"/>
                  </a:moveTo>
                  <a:cubicBezTo>
                    <a:pt x="434" y="1343"/>
                    <a:pt x="424" y="1347"/>
                    <a:pt x="420" y="1353"/>
                  </a:cubicBezTo>
                  <a:cubicBezTo>
                    <a:pt x="417" y="1359"/>
                    <a:pt x="421" y="1363"/>
                    <a:pt x="430" y="1363"/>
                  </a:cubicBezTo>
                  <a:cubicBezTo>
                    <a:pt x="439" y="1363"/>
                    <a:pt x="450" y="1359"/>
                    <a:pt x="453" y="1353"/>
                  </a:cubicBezTo>
                  <a:cubicBezTo>
                    <a:pt x="457" y="1347"/>
                    <a:pt x="452" y="1343"/>
                    <a:pt x="443" y="1343"/>
                  </a:cubicBezTo>
                  <a:cubicBezTo>
                    <a:pt x="443" y="1343"/>
                    <a:pt x="443" y="1343"/>
                    <a:pt x="443" y="1343"/>
                  </a:cubicBezTo>
                  <a:moveTo>
                    <a:pt x="490" y="1343"/>
                  </a:moveTo>
                  <a:cubicBezTo>
                    <a:pt x="481" y="1343"/>
                    <a:pt x="471" y="1347"/>
                    <a:pt x="468" y="1353"/>
                  </a:cubicBezTo>
                  <a:cubicBezTo>
                    <a:pt x="464" y="1358"/>
                    <a:pt x="469" y="1363"/>
                    <a:pt x="478" y="1363"/>
                  </a:cubicBezTo>
                  <a:cubicBezTo>
                    <a:pt x="487" y="1363"/>
                    <a:pt x="497" y="1358"/>
                    <a:pt x="501" y="1353"/>
                  </a:cubicBezTo>
                  <a:cubicBezTo>
                    <a:pt x="504" y="1347"/>
                    <a:pt x="500" y="1343"/>
                    <a:pt x="490" y="1343"/>
                  </a:cubicBezTo>
                  <a:cubicBezTo>
                    <a:pt x="490" y="1343"/>
                    <a:pt x="490" y="1343"/>
                    <a:pt x="490" y="1343"/>
                  </a:cubicBezTo>
                  <a:moveTo>
                    <a:pt x="538" y="1343"/>
                  </a:moveTo>
                  <a:cubicBezTo>
                    <a:pt x="529" y="1343"/>
                    <a:pt x="519" y="1347"/>
                    <a:pt x="515" y="1353"/>
                  </a:cubicBezTo>
                  <a:cubicBezTo>
                    <a:pt x="512" y="1358"/>
                    <a:pt x="517" y="1363"/>
                    <a:pt x="526" y="1363"/>
                  </a:cubicBezTo>
                  <a:cubicBezTo>
                    <a:pt x="535" y="1363"/>
                    <a:pt x="545" y="1358"/>
                    <a:pt x="548" y="1353"/>
                  </a:cubicBezTo>
                  <a:cubicBezTo>
                    <a:pt x="552" y="1347"/>
                    <a:pt x="547" y="1343"/>
                    <a:pt x="538" y="1343"/>
                  </a:cubicBezTo>
                  <a:cubicBezTo>
                    <a:pt x="538" y="1343"/>
                    <a:pt x="538" y="1343"/>
                    <a:pt x="538" y="1343"/>
                  </a:cubicBezTo>
                  <a:moveTo>
                    <a:pt x="585" y="1342"/>
                  </a:moveTo>
                  <a:cubicBezTo>
                    <a:pt x="576" y="1343"/>
                    <a:pt x="566" y="1347"/>
                    <a:pt x="562" y="1353"/>
                  </a:cubicBezTo>
                  <a:cubicBezTo>
                    <a:pt x="559" y="1358"/>
                    <a:pt x="564" y="1363"/>
                    <a:pt x="573" y="1363"/>
                  </a:cubicBezTo>
                  <a:cubicBezTo>
                    <a:pt x="582" y="1363"/>
                    <a:pt x="592" y="1358"/>
                    <a:pt x="595" y="1353"/>
                  </a:cubicBezTo>
                  <a:cubicBezTo>
                    <a:pt x="599" y="1347"/>
                    <a:pt x="594" y="1342"/>
                    <a:pt x="585" y="1342"/>
                  </a:cubicBezTo>
                  <a:cubicBezTo>
                    <a:pt x="585" y="1342"/>
                    <a:pt x="585" y="1342"/>
                    <a:pt x="585" y="1342"/>
                  </a:cubicBezTo>
                  <a:moveTo>
                    <a:pt x="632" y="1342"/>
                  </a:moveTo>
                  <a:cubicBezTo>
                    <a:pt x="623" y="1342"/>
                    <a:pt x="613" y="1347"/>
                    <a:pt x="610" y="1353"/>
                  </a:cubicBezTo>
                  <a:cubicBezTo>
                    <a:pt x="606" y="1358"/>
                    <a:pt x="611" y="1363"/>
                    <a:pt x="620" y="1363"/>
                  </a:cubicBezTo>
                  <a:cubicBezTo>
                    <a:pt x="629" y="1363"/>
                    <a:pt x="639" y="1358"/>
                    <a:pt x="643" y="1353"/>
                  </a:cubicBezTo>
                  <a:cubicBezTo>
                    <a:pt x="646" y="1347"/>
                    <a:pt x="641" y="1342"/>
                    <a:pt x="632" y="1342"/>
                  </a:cubicBezTo>
                  <a:cubicBezTo>
                    <a:pt x="632" y="1342"/>
                    <a:pt x="632" y="1342"/>
                    <a:pt x="632" y="1342"/>
                  </a:cubicBezTo>
                  <a:moveTo>
                    <a:pt x="679" y="1342"/>
                  </a:moveTo>
                  <a:cubicBezTo>
                    <a:pt x="670" y="1342"/>
                    <a:pt x="660" y="1347"/>
                    <a:pt x="657" y="1352"/>
                  </a:cubicBezTo>
                  <a:cubicBezTo>
                    <a:pt x="653" y="1358"/>
                    <a:pt x="658" y="1363"/>
                    <a:pt x="667" y="1363"/>
                  </a:cubicBezTo>
                  <a:cubicBezTo>
                    <a:pt x="677" y="1363"/>
                    <a:pt x="687" y="1358"/>
                    <a:pt x="690" y="1352"/>
                  </a:cubicBezTo>
                  <a:cubicBezTo>
                    <a:pt x="693" y="1347"/>
                    <a:pt x="688" y="1342"/>
                    <a:pt x="679" y="1342"/>
                  </a:cubicBezTo>
                  <a:cubicBezTo>
                    <a:pt x="679" y="1342"/>
                    <a:pt x="679" y="1342"/>
                    <a:pt x="679" y="1342"/>
                  </a:cubicBezTo>
                  <a:moveTo>
                    <a:pt x="726" y="1342"/>
                  </a:moveTo>
                  <a:cubicBezTo>
                    <a:pt x="717" y="1342"/>
                    <a:pt x="707" y="1347"/>
                    <a:pt x="704" y="1352"/>
                  </a:cubicBezTo>
                  <a:cubicBezTo>
                    <a:pt x="701" y="1358"/>
                    <a:pt x="706" y="1363"/>
                    <a:pt x="715" y="1363"/>
                  </a:cubicBezTo>
                  <a:cubicBezTo>
                    <a:pt x="724" y="1363"/>
                    <a:pt x="734" y="1358"/>
                    <a:pt x="737" y="1352"/>
                  </a:cubicBezTo>
                  <a:cubicBezTo>
                    <a:pt x="740" y="1347"/>
                    <a:pt x="735" y="1342"/>
                    <a:pt x="726" y="1342"/>
                  </a:cubicBezTo>
                  <a:cubicBezTo>
                    <a:pt x="726" y="1342"/>
                    <a:pt x="726" y="1342"/>
                    <a:pt x="726" y="1342"/>
                  </a:cubicBezTo>
                  <a:moveTo>
                    <a:pt x="774" y="1342"/>
                  </a:moveTo>
                  <a:cubicBezTo>
                    <a:pt x="765" y="1342"/>
                    <a:pt x="755" y="1347"/>
                    <a:pt x="752" y="1352"/>
                  </a:cubicBezTo>
                  <a:cubicBezTo>
                    <a:pt x="749" y="1358"/>
                    <a:pt x="754" y="1362"/>
                    <a:pt x="763" y="1362"/>
                  </a:cubicBezTo>
                  <a:cubicBezTo>
                    <a:pt x="772" y="1362"/>
                    <a:pt x="782" y="1358"/>
                    <a:pt x="785" y="1352"/>
                  </a:cubicBezTo>
                  <a:cubicBezTo>
                    <a:pt x="788" y="1347"/>
                    <a:pt x="783" y="1342"/>
                    <a:pt x="774" y="1342"/>
                  </a:cubicBezTo>
                  <a:cubicBezTo>
                    <a:pt x="774" y="1342"/>
                    <a:pt x="774" y="1342"/>
                    <a:pt x="774" y="1342"/>
                  </a:cubicBezTo>
                  <a:moveTo>
                    <a:pt x="820" y="1342"/>
                  </a:moveTo>
                  <a:cubicBezTo>
                    <a:pt x="811" y="1342"/>
                    <a:pt x="802" y="1347"/>
                    <a:pt x="799" y="1352"/>
                  </a:cubicBezTo>
                  <a:cubicBezTo>
                    <a:pt x="796" y="1358"/>
                    <a:pt x="801" y="1362"/>
                    <a:pt x="810" y="1362"/>
                  </a:cubicBezTo>
                  <a:cubicBezTo>
                    <a:pt x="819" y="1362"/>
                    <a:pt x="829" y="1358"/>
                    <a:pt x="832" y="1352"/>
                  </a:cubicBezTo>
                  <a:cubicBezTo>
                    <a:pt x="835" y="1347"/>
                    <a:pt x="830" y="1342"/>
                    <a:pt x="821" y="1342"/>
                  </a:cubicBezTo>
                  <a:cubicBezTo>
                    <a:pt x="821" y="1342"/>
                    <a:pt x="821" y="1342"/>
                    <a:pt x="820" y="1342"/>
                  </a:cubicBezTo>
                  <a:moveTo>
                    <a:pt x="868" y="1342"/>
                  </a:moveTo>
                  <a:cubicBezTo>
                    <a:pt x="858" y="1342"/>
                    <a:pt x="849" y="1346"/>
                    <a:pt x="846" y="1352"/>
                  </a:cubicBezTo>
                  <a:cubicBezTo>
                    <a:pt x="843" y="1358"/>
                    <a:pt x="848" y="1362"/>
                    <a:pt x="857" y="1362"/>
                  </a:cubicBezTo>
                  <a:cubicBezTo>
                    <a:pt x="867" y="1362"/>
                    <a:pt x="876" y="1358"/>
                    <a:pt x="879" y="1352"/>
                  </a:cubicBezTo>
                  <a:cubicBezTo>
                    <a:pt x="882" y="1346"/>
                    <a:pt x="877" y="1342"/>
                    <a:pt x="868" y="1342"/>
                  </a:cubicBezTo>
                  <a:cubicBezTo>
                    <a:pt x="868" y="1342"/>
                    <a:pt x="868" y="1342"/>
                    <a:pt x="868" y="1342"/>
                  </a:cubicBezTo>
                  <a:moveTo>
                    <a:pt x="914" y="1342"/>
                  </a:moveTo>
                  <a:cubicBezTo>
                    <a:pt x="905" y="1342"/>
                    <a:pt x="896" y="1346"/>
                    <a:pt x="893" y="1352"/>
                  </a:cubicBezTo>
                  <a:cubicBezTo>
                    <a:pt x="890" y="1358"/>
                    <a:pt x="895" y="1362"/>
                    <a:pt x="905" y="1362"/>
                  </a:cubicBezTo>
                  <a:cubicBezTo>
                    <a:pt x="914" y="1362"/>
                    <a:pt x="923" y="1358"/>
                    <a:pt x="926" y="1352"/>
                  </a:cubicBezTo>
                  <a:cubicBezTo>
                    <a:pt x="929" y="1346"/>
                    <a:pt x="924" y="1342"/>
                    <a:pt x="914" y="1342"/>
                  </a:cubicBezTo>
                  <a:cubicBezTo>
                    <a:pt x="914" y="1342"/>
                    <a:pt x="914" y="1342"/>
                    <a:pt x="914" y="1342"/>
                  </a:cubicBezTo>
                  <a:moveTo>
                    <a:pt x="962" y="1342"/>
                  </a:moveTo>
                  <a:cubicBezTo>
                    <a:pt x="953" y="1342"/>
                    <a:pt x="943" y="1346"/>
                    <a:pt x="940" y="1352"/>
                  </a:cubicBezTo>
                  <a:cubicBezTo>
                    <a:pt x="938" y="1358"/>
                    <a:pt x="943" y="1362"/>
                    <a:pt x="952" y="1362"/>
                  </a:cubicBezTo>
                  <a:cubicBezTo>
                    <a:pt x="961" y="1362"/>
                    <a:pt x="971" y="1357"/>
                    <a:pt x="973" y="1352"/>
                  </a:cubicBezTo>
                  <a:cubicBezTo>
                    <a:pt x="976" y="1346"/>
                    <a:pt x="971" y="1342"/>
                    <a:pt x="962" y="1342"/>
                  </a:cubicBezTo>
                  <a:cubicBezTo>
                    <a:pt x="962" y="1342"/>
                    <a:pt x="962" y="1342"/>
                    <a:pt x="962" y="1342"/>
                  </a:cubicBezTo>
                  <a:moveTo>
                    <a:pt x="1009" y="1342"/>
                  </a:moveTo>
                  <a:cubicBezTo>
                    <a:pt x="1000" y="1342"/>
                    <a:pt x="991" y="1346"/>
                    <a:pt x="988" y="1352"/>
                  </a:cubicBezTo>
                  <a:cubicBezTo>
                    <a:pt x="985" y="1357"/>
                    <a:pt x="991" y="1362"/>
                    <a:pt x="1000" y="1362"/>
                  </a:cubicBezTo>
                  <a:cubicBezTo>
                    <a:pt x="1009" y="1362"/>
                    <a:pt x="1019" y="1357"/>
                    <a:pt x="1021" y="1352"/>
                  </a:cubicBezTo>
                  <a:cubicBezTo>
                    <a:pt x="1024" y="1346"/>
                    <a:pt x="1018" y="1342"/>
                    <a:pt x="1009" y="1342"/>
                  </a:cubicBezTo>
                  <a:cubicBezTo>
                    <a:pt x="1009" y="1342"/>
                    <a:pt x="1009" y="1342"/>
                    <a:pt x="1009" y="1342"/>
                  </a:cubicBezTo>
                  <a:moveTo>
                    <a:pt x="2185" y="1340"/>
                  </a:moveTo>
                  <a:cubicBezTo>
                    <a:pt x="2176" y="1340"/>
                    <a:pt x="2168" y="1345"/>
                    <a:pt x="2167" y="1351"/>
                  </a:cubicBezTo>
                  <a:cubicBezTo>
                    <a:pt x="2167" y="1356"/>
                    <a:pt x="2174" y="1361"/>
                    <a:pt x="2183" y="1361"/>
                  </a:cubicBezTo>
                  <a:cubicBezTo>
                    <a:pt x="2192" y="1361"/>
                    <a:pt x="2200" y="1356"/>
                    <a:pt x="2200" y="1351"/>
                  </a:cubicBezTo>
                  <a:cubicBezTo>
                    <a:pt x="2201" y="1345"/>
                    <a:pt x="2194" y="1340"/>
                    <a:pt x="2185" y="1340"/>
                  </a:cubicBezTo>
                  <a:cubicBezTo>
                    <a:pt x="2185" y="1340"/>
                    <a:pt x="2185" y="1340"/>
                    <a:pt x="2185" y="1340"/>
                  </a:cubicBezTo>
                  <a:moveTo>
                    <a:pt x="2231" y="1340"/>
                  </a:moveTo>
                  <a:cubicBezTo>
                    <a:pt x="2222" y="1340"/>
                    <a:pt x="2215" y="1345"/>
                    <a:pt x="2214" y="1351"/>
                  </a:cubicBezTo>
                  <a:cubicBezTo>
                    <a:pt x="2214" y="1356"/>
                    <a:pt x="2221" y="1361"/>
                    <a:pt x="2230" y="1361"/>
                  </a:cubicBezTo>
                  <a:cubicBezTo>
                    <a:pt x="2239" y="1361"/>
                    <a:pt x="2247" y="1356"/>
                    <a:pt x="2247" y="1350"/>
                  </a:cubicBezTo>
                  <a:cubicBezTo>
                    <a:pt x="2248" y="1345"/>
                    <a:pt x="2241" y="1340"/>
                    <a:pt x="2232" y="1340"/>
                  </a:cubicBezTo>
                  <a:cubicBezTo>
                    <a:pt x="2231" y="1340"/>
                    <a:pt x="2231" y="1340"/>
                    <a:pt x="2231" y="1340"/>
                  </a:cubicBezTo>
                  <a:moveTo>
                    <a:pt x="2279" y="1340"/>
                  </a:moveTo>
                  <a:cubicBezTo>
                    <a:pt x="2270" y="1340"/>
                    <a:pt x="2262" y="1345"/>
                    <a:pt x="2262" y="1350"/>
                  </a:cubicBezTo>
                  <a:cubicBezTo>
                    <a:pt x="2261" y="1356"/>
                    <a:pt x="2268" y="1361"/>
                    <a:pt x="2277" y="1361"/>
                  </a:cubicBezTo>
                  <a:cubicBezTo>
                    <a:pt x="2287" y="1361"/>
                    <a:pt x="2294" y="1356"/>
                    <a:pt x="2295" y="1350"/>
                  </a:cubicBezTo>
                  <a:cubicBezTo>
                    <a:pt x="2295" y="1345"/>
                    <a:pt x="2288" y="1340"/>
                    <a:pt x="2279" y="1340"/>
                  </a:cubicBezTo>
                  <a:cubicBezTo>
                    <a:pt x="2279" y="1340"/>
                    <a:pt x="2279" y="1340"/>
                    <a:pt x="2279" y="1340"/>
                  </a:cubicBezTo>
                  <a:moveTo>
                    <a:pt x="2325" y="1340"/>
                  </a:moveTo>
                  <a:cubicBezTo>
                    <a:pt x="2316" y="1340"/>
                    <a:pt x="2308" y="1345"/>
                    <a:pt x="2308" y="1350"/>
                  </a:cubicBezTo>
                  <a:cubicBezTo>
                    <a:pt x="2308" y="1356"/>
                    <a:pt x="2315" y="1361"/>
                    <a:pt x="2324" y="1361"/>
                  </a:cubicBezTo>
                  <a:cubicBezTo>
                    <a:pt x="2333" y="1361"/>
                    <a:pt x="2341" y="1356"/>
                    <a:pt x="2341" y="1350"/>
                  </a:cubicBezTo>
                  <a:cubicBezTo>
                    <a:pt x="2341" y="1345"/>
                    <a:pt x="2334" y="1340"/>
                    <a:pt x="2325" y="1340"/>
                  </a:cubicBezTo>
                  <a:cubicBezTo>
                    <a:pt x="2325" y="1340"/>
                    <a:pt x="2325" y="1340"/>
                    <a:pt x="2325" y="1340"/>
                  </a:cubicBezTo>
                  <a:moveTo>
                    <a:pt x="2372" y="1340"/>
                  </a:moveTo>
                  <a:cubicBezTo>
                    <a:pt x="2363" y="1340"/>
                    <a:pt x="2355" y="1345"/>
                    <a:pt x="2355" y="1350"/>
                  </a:cubicBezTo>
                  <a:cubicBezTo>
                    <a:pt x="2355" y="1356"/>
                    <a:pt x="2362" y="1360"/>
                    <a:pt x="2371" y="1360"/>
                  </a:cubicBezTo>
                  <a:cubicBezTo>
                    <a:pt x="2380" y="1360"/>
                    <a:pt x="2388" y="1356"/>
                    <a:pt x="2388" y="1350"/>
                  </a:cubicBezTo>
                  <a:cubicBezTo>
                    <a:pt x="2388" y="1345"/>
                    <a:pt x="2381" y="1340"/>
                    <a:pt x="2372" y="1340"/>
                  </a:cubicBezTo>
                  <a:cubicBezTo>
                    <a:pt x="2372" y="1340"/>
                    <a:pt x="2372" y="1340"/>
                    <a:pt x="2372" y="1340"/>
                  </a:cubicBezTo>
                  <a:moveTo>
                    <a:pt x="2419" y="1340"/>
                  </a:moveTo>
                  <a:cubicBezTo>
                    <a:pt x="2410" y="1340"/>
                    <a:pt x="2403" y="1345"/>
                    <a:pt x="2402" y="1350"/>
                  </a:cubicBezTo>
                  <a:cubicBezTo>
                    <a:pt x="2402" y="1356"/>
                    <a:pt x="2410" y="1360"/>
                    <a:pt x="2419" y="1360"/>
                  </a:cubicBezTo>
                  <a:cubicBezTo>
                    <a:pt x="2428" y="1360"/>
                    <a:pt x="2435" y="1356"/>
                    <a:pt x="2435" y="1350"/>
                  </a:cubicBezTo>
                  <a:cubicBezTo>
                    <a:pt x="2435" y="1344"/>
                    <a:pt x="2428" y="1340"/>
                    <a:pt x="2419" y="1340"/>
                  </a:cubicBezTo>
                  <a:cubicBezTo>
                    <a:pt x="2419" y="1340"/>
                    <a:pt x="2419" y="1340"/>
                    <a:pt x="2419" y="1340"/>
                  </a:cubicBezTo>
                  <a:moveTo>
                    <a:pt x="2468" y="1340"/>
                  </a:moveTo>
                  <a:cubicBezTo>
                    <a:pt x="2459" y="1340"/>
                    <a:pt x="2451" y="1344"/>
                    <a:pt x="2451" y="1350"/>
                  </a:cubicBezTo>
                  <a:cubicBezTo>
                    <a:pt x="2451" y="1356"/>
                    <a:pt x="2459" y="1360"/>
                    <a:pt x="2468" y="1360"/>
                  </a:cubicBezTo>
                  <a:cubicBezTo>
                    <a:pt x="2477" y="1360"/>
                    <a:pt x="2484" y="1356"/>
                    <a:pt x="2484" y="1350"/>
                  </a:cubicBezTo>
                  <a:cubicBezTo>
                    <a:pt x="2484" y="1344"/>
                    <a:pt x="2477" y="1340"/>
                    <a:pt x="2468" y="1340"/>
                  </a:cubicBezTo>
                  <a:cubicBezTo>
                    <a:pt x="2468" y="1340"/>
                    <a:pt x="2468" y="1340"/>
                    <a:pt x="2468" y="1340"/>
                  </a:cubicBezTo>
                  <a:moveTo>
                    <a:pt x="2514" y="1340"/>
                  </a:moveTo>
                  <a:cubicBezTo>
                    <a:pt x="2505" y="1340"/>
                    <a:pt x="2498" y="1344"/>
                    <a:pt x="2498" y="1350"/>
                  </a:cubicBezTo>
                  <a:cubicBezTo>
                    <a:pt x="2498" y="1356"/>
                    <a:pt x="2506" y="1360"/>
                    <a:pt x="2515" y="1360"/>
                  </a:cubicBezTo>
                  <a:cubicBezTo>
                    <a:pt x="2524" y="1360"/>
                    <a:pt x="2531" y="1356"/>
                    <a:pt x="2531" y="1350"/>
                  </a:cubicBezTo>
                  <a:cubicBezTo>
                    <a:pt x="2531" y="1344"/>
                    <a:pt x="2524" y="1340"/>
                    <a:pt x="2514" y="1340"/>
                  </a:cubicBezTo>
                  <a:cubicBezTo>
                    <a:pt x="2514" y="1340"/>
                    <a:pt x="2514" y="1340"/>
                    <a:pt x="2514" y="1340"/>
                  </a:cubicBezTo>
                  <a:moveTo>
                    <a:pt x="2562" y="1340"/>
                  </a:moveTo>
                  <a:cubicBezTo>
                    <a:pt x="2553" y="1340"/>
                    <a:pt x="2545" y="1344"/>
                    <a:pt x="2545" y="1350"/>
                  </a:cubicBezTo>
                  <a:cubicBezTo>
                    <a:pt x="2546" y="1356"/>
                    <a:pt x="2553" y="1360"/>
                    <a:pt x="2562" y="1360"/>
                  </a:cubicBezTo>
                  <a:cubicBezTo>
                    <a:pt x="2571" y="1360"/>
                    <a:pt x="2579" y="1355"/>
                    <a:pt x="2578" y="1350"/>
                  </a:cubicBezTo>
                  <a:cubicBezTo>
                    <a:pt x="2578" y="1344"/>
                    <a:pt x="2571" y="1340"/>
                    <a:pt x="2562" y="1340"/>
                  </a:cubicBezTo>
                  <a:cubicBezTo>
                    <a:pt x="2562" y="1340"/>
                    <a:pt x="2562" y="1340"/>
                    <a:pt x="2562" y="1340"/>
                  </a:cubicBezTo>
                  <a:moveTo>
                    <a:pt x="2609" y="1340"/>
                  </a:moveTo>
                  <a:cubicBezTo>
                    <a:pt x="2600" y="1340"/>
                    <a:pt x="2593" y="1344"/>
                    <a:pt x="2593" y="1350"/>
                  </a:cubicBezTo>
                  <a:cubicBezTo>
                    <a:pt x="2593" y="1355"/>
                    <a:pt x="2601" y="1360"/>
                    <a:pt x="2610" y="1360"/>
                  </a:cubicBezTo>
                  <a:cubicBezTo>
                    <a:pt x="2619" y="1360"/>
                    <a:pt x="2626" y="1355"/>
                    <a:pt x="2626" y="1350"/>
                  </a:cubicBezTo>
                  <a:cubicBezTo>
                    <a:pt x="2626" y="1344"/>
                    <a:pt x="2618" y="1340"/>
                    <a:pt x="2609" y="1340"/>
                  </a:cubicBezTo>
                  <a:cubicBezTo>
                    <a:pt x="2609" y="1340"/>
                    <a:pt x="2609" y="1340"/>
                    <a:pt x="2609" y="1340"/>
                  </a:cubicBezTo>
                  <a:moveTo>
                    <a:pt x="2656" y="1339"/>
                  </a:moveTo>
                  <a:cubicBezTo>
                    <a:pt x="2647" y="1339"/>
                    <a:pt x="2640" y="1344"/>
                    <a:pt x="2640" y="1350"/>
                  </a:cubicBezTo>
                  <a:cubicBezTo>
                    <a:pt x="2640" y="1355"/>
                    <a:pt x="2648" y="1360"/>
                    <a:pt x="2657" y="1360"/>
                  </a:cubicBezTo>
                  <a:cubicBezTo>
                    <a:pt x="2666" y="1360"/>
                    <a:pt x="2674" y="1355"/>
                    <a:pt x="2673" y="1350"/>
                  </a:cubicBezTo>
                  <a:cubicBezTo>
                    <a:pt x="2673" y="1344"/>
                    <a:pt x="2665" y="1339"/>
                    <a:pt x="2656" y="1339"/>
                  </a:cubicBezTo>
                  <a:cubicBezTo>
                    <a:pt x="2656" y="1339"/>
                    <a:pt x="2656" y="1339"/>
                    <a:pt x="2656" y="1339"/>
                  </a:cubicBezTo>
                  <a:moveTo>
                    <a:pt x="2704" y="1339"/>
                  </a:moveTo>
                  <a:cubicBezTo>
                    <a:pt x="2694" y="1339"/>
                    <a:pt x="2687" y="1344"/>
                    <a:pt x="2688" y="1350"/>
                  </a:cubicBezTo>
                  <a:cubicBezTo>
                    <a:pt x="2688" y="1355"/>
                    <a:pt x="2696" y="1360"/>
                    <a:pt x="2705" y="1360"/>
                  </a:cubicBezTo>
                  <a:cubicBezTo>
                    <a:pt x="2714" y="1360"/>
                    <a:pt x="2721" y="1355"/>
                    <a:pt x="2721" y="1350"/>
                  </a:cubicBezTo>
                  <a:cubicBezTo>
                    <a:pt x="2720" y="1344"/>
                    <a:pt x="2713" y="1339"/>
                    <a:pt x="2704" y="1339"/>
                  </a:cubicBezTo>
                  <a:cubicBezTo>
                    <a:pt x="2704" y="1339"/>
                    <a:pt x="2704" y="1339"/>
                    <a:pt x="2704" y="1339"/>
                  </a:cubicBezTo>
                  <a:moveTo>
                    <a:pt x="2749" y="1339"/>
                  </a:moveTo>
                  <a:cubicBezTo>
                    <a:pt x="2740" y="1339"/>
                    <a:pt x="2733" y="1344"/>
                    <a:pt x="2733" y="1349"/>
                  </a:cubicBezTo>
                  <a:cubicBezTo>
                    <a:pt x="2734" y="1355"/>
                    <a:pt x="2742" y="1360"/>
                    <a:pt x="2751" y="1360"/>
                  </a:cubicBezTo>
                  <a:cubicBezTo>
                    <a:pt x="2760" y="1360"/>
                    <a:pt x="2767" y="1355"/>
                    <a:pt x="2766" y="1349"/>
                  </a:cubicBezTo>
                  <a:cubicBezTo>
                    <a:pt x="2766" y="1344"/>
                    <a:pt x="2758" y="1339"/>
                    <a:pt x="2749" y="1339"/>
                  </a:cubicBezTo>
                  <a:cubicBezTo>
                    <a:pt x="2749" y="1339"/>
                    <a:pt x="2749" y="1339"/>
                    <a:pt x="2749" y="1339"/>
                  </a:cubicBezTo>
                  <a:moveTo>
                    <a:pt x="2939" y="1339"/>
                  </a:moveTo>
                  <a:cubicBezTo>
                    <a:pt x="2930" y="1339"/>
                    <a:pt x="2923" y="1343"/>
                    <a:pt x="2924" y="1349"/>
                  </a:cubicBezTo>
                  <a:cubicBezTo>
                    <a:pt x="2925" y="1355"/>
                    <a:pt x="2933" y="1359"/>
                    <a:pt x="2942" y="1359"/>
                  </a:cubicBezTo>
                  <a:cubicBezTo>
                    <a:pt x="2951" y="1359"/>
                    <a:pt x="2958" y="1355"/>
                    <a:pt x="2957" y="1349"/>
                  </a:cubicBezTo>
                  <a:cubicBezTo>
                    <a:pt x="2956" y="1343"/>
                    <a:pt x="2948" y="1339"/>
                    <a:pt x="2939" y="1339"/>
                  </a:cubicBezTo>
                  <a:cubicBezTo>
                    <a:pt x="2939" y="1339"/>
                    <a:pt x="2939" y="1339"/>
                    <a:pt x="2939" y="1339"/>
                  </a:cubicBezTo>
                  <a:moveTo>
                    <a:pt x="4632" y="1333"/>
                  </a:moveTo>
                  <a:cubicBezTo>
                    <a:pt x="4623" y="1333"/>
                    <a:pt x="4619" y="1338"/>
                    <a:pt x="4622" y="1344"/>
                  </a:cubicBezTo>
                  <a:cubicBezTo>
                    <a:pt x="4626" y="1349"/>
                    <a:pt x="4637" y="1354"/>
                    <a:pt x="4646" y="1354"/>
                  </a:cubicBezTo>
                  <a:cubicBezTo>
                    <a:pt x="4655" y="1354"/>
                    <a:pt x="4659" y="1349"/>
                    <a:pt x="4655" y="1343"/>
                  </a:cubicBezTo>
                  <a:cubicBezTo>
                    <a:pt x="4651" y="1338"/>
                    <a:pt x="4641" y="1333"/>
                    <a:pt x="4632" y="1333"/>
                  </a:cubicBezTo>
                  <a:cubicBezTo>
                    <a:pt x="4632" y="1333"/>
                    <a:pt x="4632" y="1333"/>
                    <a:pt x="4632" y="1333"/>
                  </a:cubicBezTo>
                  <a:moveTo>
                    <a:pt x="4725" y="1333"/>
                  </a:moveTo>
                  <a:cubicBezTo>
                    <a:pt x="4716" y="1333"/>
                    <a:pt x="4712" y="1338"/>
                    <a:pt x="4716" y="1343"/>
                  </a:cubicBezTo>
                  <a:cubicBezTo>
                    <a:pt x="4720" y="1349"/>
                    <a:pt x="4730" y="1354"/>
                    <a:pt x="4739" y="1354"/>
                  </a:cubicBezTo>
                  <a:cubicBezTo>
                    <a:pt x="4749" y="1354"/>
                    <a:pt x="4753" y="1349"/>
                    <a:pt x="4749" y="1343"/>
                  </a:cubicBezTo>
                  <a:cubicBezTo>
                    <a:pt x="4745" y="1338"/>
                    <a:pt x="4734" y="1333"/>
                    <a:pt x="4725" y="1333"/>
                  </a:cubicBezTo>
                  <a:cubicBezTo>
                    <a:pt x="4725" y="1333"/>
                    <a:pt x="4725" y="1333"/>
                    <a:pt x="4725" y="1333"/>
                  </a:cubicBezTo>
                  <a:moveTo>
                    <a:pt x="4772" y="1333"/>
                  </a:moveTo>
                  <a:cubicBezTo>
                    <a:pt x="4763" y="1333"/>
                    <a:pt x="4759" y="1338"/>
                    <a:pt x="4763" y="1343"/>
                  </a:cubicBezTo>
                  <a:cubicBezTo>
                    <a:pt x="4767" y="1349"/>
                    <a:pt x="4778" y="1354"/>
                    <a:pt x="4787" y="1354"/>
                  </a:cubicBezTo>
                  <a:cubicBezTo>
                    <a:pt x="4796" y="1353"/>
                    <a:pt x="4800" y="1349"/>
                    <a:pt x="4796" y="1343"/>
                  </a:cubicBezTo>
                  <a:cubicBezTo>
                    <a:pt x="4792" y="1338"/>
                    <a:pt x="4781" y="1333"/>
                    <a:pt x="4772" y="1333"/>
                  </a:cubicBezTo>
                  <a:cubicBezTo>
                    <a:pt x="4772" y="1333"/>
                    <a:pt x="4772" y="1333"/>
                    <a:pt x="4772" y="1333"/>
                  </a:cubicBezTo>
                  <a:moveTo>
                    <a:pt x="4964" y="1333"/>
                  </a:moveTo>
                  <a:cubicBezTo>
                    <a:pt x="4955" y="1333"/>
                    <a:pt x="4951" y="1337"/>
                    <a:pt x="4955" y="1343"/>
                  </a:cubicBezTo>
                  <a:cubicBezTo>
                    <a:pt x="4960" y="1349"/>
                    <a:pt x="4971" y="1353"/>
                    <a:pt x="4980" y="1353"/>
                  </a:cubicBezTo>
                  <a:cubicBezTo>
                    <a:pt x="4989" y="1353"/>
                    <a:pt x="4993" y="1348"/>
                    <a:pt x="4988" y="1343"/>
                  </a:cubicBezTo>
                  <a:cubicBezTo>
                    <a:pt x="4984" y="1337"/>
                    <a:pt x="4973" y="1333"/>
                    <a:pt x="4964" y="1333"/>
                  </a:cubicBezTo>
                  <a:cubicBezTo>
                    <a:pt x="4964" y="1333"/>
                    <a:pt x="4964" y="1333"/>
                    <a:pt x="4964" y="1333"/>
                  </a:cubicBezTo>
                  <a:moveTo>
                    <a:pt x="5002" y="1343"/>
                  </a:moveTo>
                  <a:cubicBezTo>
                    <a:pt x="5004" y="1345"/>
                    <a:pt x="5007" y="1347"/>
                    <a:pt x="5010" y="1349"/>
                  </a:cubicBezTo>
                  <a:cubicBezTo>
                    <a:pt x="5010" y="1332"/>
                    <a:pt x="5010" y="1332"/>
                    <a:pt x="5010" y="1332"/>
                  </a:cubicBezTo>
                  <a:cubicBezTo>
                    <a:pt x="5001" y="1332"/>
                    <a:pt x="4997" y="1337"/>
                    <a:pt x="5002" y="1343"/>
                  </a:cubicBezTo>
                  <a:moveTo>
                    <a:pt x="274" y="1314"/>
                  </a:moveTo>
                  <a:cubicBezTo>
                    <a:pt x="265" y="1314"/>
                    <a:pt x="254" y="1318"/>
                    <a:pt x="251" y="1324"/>
                  </a:cubicBezTo>
                  <a:cubicBezTo>
                    <a:pt x="247" y="1330"/>
                    <a:pt x="251" y="1334"/>
                    <a:pt x="260" y="1334"/>
                  </a:cubicBezTo>
                  <a:cubicBezTo>
                    <a:pt x="269" y="1334"/>
                    <a:pt x="279" y="1330"/>
                    <a:pt x="283" y="1324"/>
                  </a:cubicBezTo>
                  <a:cubicBezTo>
                    <a:pt x="287" y="1318"/>
                    <a:pt x="283" y="1314"/>
                    <a:pt x="274" y="1314"/>
                  </a:cubicBezTo>
                  <a:cubicBezTo>
                    <a:pt x="274" y="1314"/>
                    <a:pt x="274" y="1314"/>
                    <a:pt x="274" y="1314"/>
                  </a:cubicBezTo>
                  <a:moveTo>
                    <a:pt x="320" y="1314"/>
                  </a:moveTo>
                  <a:cubicBezTo>
                    <a:pt x="311" y="1314"/>
                    <a:pt x="301" y="1318"/>
                    <a:pt x="297" y="1324"/>
                  </a:cubicBezTo>
                  <a:cubicBezTo>
                    <a:pt x="293" y="1330"/>
                    <a:pt x="298" y="1334"/>
                    <a:pt x="307" y="1334"/>
                  </a:cubicBezTo>
                  <a:cubicBezTo>
                    <a:pt x="316" y="1334"/>
                    <a:pt x="326" y="1330"/>
                    <a:pt x="330" y="1324"/>
                  </a:cubicBezTo>
                  <a:cubicBezTo>
                    <a:pt x="334" y="1318"/>
                    <a:pt x="329" y="1314"/>
                    <a:pt x="320" y="1314"/>
                  </a:cubicBezTo>
                  <a:cubicBezTo>
                    <a:pt x="320" y="1314"/>
                    <a:pt x="320" y="1314"/>
                    <a:pt x="320" y="1314"/>
                  </a:cubicBezTo>
                  <a:moveTo>
                    <a:pt x="367" y="1314"/>
                  </a:moveTo>
                  <a:cubicBezTo>
                    <a:pt x="358" y="1314"/>
                    <a:pt x="348" y="1318"/>
                    <a:pt x="344" y="1324"/>
                  </a:cubicBezTo>
                  <a:cubicBezTo>
                    <a:pt x="340" y="1329"/>
                    <a:pt x="345" y="1334"/>
                    <a:pt x="354" y="1334"/>
                  </a:cubicBezTo>
                  <a:cubicBezTo>
                    <a:pt x="363" y="1334"/>
                    <a:pt x="373" y="1329"/>
                    <a:pt x="377" y="1324"/>
                  </a:cubicBezTo>
                  <a:cubicBezTo>
                    <a:pt x="381" y="1318"/>
                    <a:pt x="376" y="1314"/>
                    <a:pt x="367" y="1314"/>
                  </a:cubicBezTo>
                  <a:cubicBezTo>
                    <a:pt x="367" y="1314"/>
                    <a:pt x="367" y="1314"/>
                    <a:pt x="367" y="1314"/>
                  </a:cubicBezTo>
                  <a:moveTo>
                    <a:pt x="415" y="1314"/>
                  </a:moveTo>
                  <a:cubicBezTo>
                    <a:pt x="406" y="1314"/>
                    <a:pt x="396" y="1318"/>
                    <a:pt x="392" y="1324"/>
                  </a:cubicBezTo>
                  <a:cubicBezTo>
                    <a:pt x="389" y="1329"/>
                    <a:pt x="393" y="1334"/>
                    <a:pt x="402" y="1334"/>
                  </a:cubicBezTo>
                  <a:cubicBezTo>
                    <a:pt x="411" y="1334"/>
                    <a:pt x="422" y="1329"/>
                    <a:pt x="425" y="1324"/>
                  </a:cubicBezTo>
                  <a:cubicBezTo>
                    <a:pt x="429" y="1318"/>
                    <a:pt x="424" y="1314"/>
                    <a:pt x="415" y="1314"/>
                  </a:cubicBezTo>
                  <a:cubicBezTo>
                    <a:pt x="415" y="1314"/>
                    <a:pt x="415" y="1314"/>
                    <a:pt x="415" y="1314"/>
                  </a:cubicBezTo>
                  <a:moveTo>
                    <a:pt x="462" y="1313"/>
                  </a:moveTo>
                  <a:cubicBezTo>
                    <a:pt x="453" y="1313"/>
                    <a:pt x="442" y="1318"/>
                    <a:pt x="439" y="1324"/>
                  </a:cubicBezTo>
                  <a:cubicBezTo>
                    <a:pt x="435" y="1329"/>
                    <a:pt x="440" y="1334"/>
                    <a:pt x="449" y="1334"/>
                  </a:cubicBezTo>
                  <a:cubicBezTo>
                    <a:pt x="458" y="1334"/>
                    <a:pt x="468" y="1329"/>
                    <a:pt x="472" y="1324"/>
                  </a:cubicBezTo>
                  <a:cubicBezTo>
                    <a:pt x="475" y="1318"/>
                    <a:pt x="471" y="1313"/>
                    <a:pt x="462" y="1313"/>
                  </a:cubicBezTo>
                  <a:cubicBezTo>
                    <a:pt x="462" y="1313"/>
                    <a:pt x="462" y="1313"/>
                    <a:pt x="462" y="1313"/>
                  </a:cubicBezTo>
                  <a:moveTo>
                    <a:pt x="509" y="1313"/>
                  </a:moveTo>
                  <a:cubicBezTo>
                    <a:pt x="500" y="1313"/>
                    <a:pt x="489" y="1318"/>
                    <a:pt x="486" y="1324"/>
                  </a:cubicBezTo>
                  <a:cubicBezTo>
                    <a:pt x="482" y="1329"/>
                    <a:pt x="487" y="1334"/>
                    <a:pt x="496" y="1334"/>
                  </a:cubicBezTo>
                  <a:cubicBezTo>
                    <a:pt x="505" y="1334"/>
                    <a:pt x="515" y="1329"/>
                    <a:pt x="519" y="1323"/>
                  </a:cubicBezTo>
                  <a:cubicBezTo>
                    <a:pt x="522" y="1318"/>
                    <a:pt x="518" y="1313"/>
                    <a:pt x="509" y="1313"/>
                  </a:cubicBezTo>
                  <a:cubicBezTo>
                    <a:pt x="509" y="1313"/>
                    <a:pt x="509" y="1313"/>
                    <a:pt x="509" y="1313"/>
                  </a:cubicBezTo>
                  <a:moveTo>
                    <a:pt x="556" y="1313"/>
                  </a:moveTo>
                  <a:cubicBezTo>
                    <a:pt x="547" y="1313"/>
                    <a:pt x="537" y="1318"/>
                    <a:pt x="533" y="1323"/>
                  </a:cubicBezTo>
                  <a:cubicBezTo>
                    <a:pt x="530" y="1329"/>
                    <a:pt x="534" y="1334"/>
                    <a:pt x="544" y="1334"/>
                  </a:cubicBezTo>
                  <a:cubicBezTo>
                    <a:pt x="553" y="1334"/>
                    <a:pt x="563" y="1329"/>
                    <a:pt x="566" y="1323"/>
                  </a:cubicBezTo>
                  <a:cubicBezTo>
                    <a:pt x="569" y="1318"/>
                    <a:pt x="565" y="1313"/>
                    <a:pt x="556" y="1313"/>
                  </a:cubicBezTo>
                  <a:cubicBezTo>
                    <a:pt x="556" y="1313"/>
                    <a:pt x="556" y="1313"/>
                    <a:pt x="556" y="1313"/>
                  </a:cubicBezTo>
                  <a:moveTo>
                    <a:pt x="602" y="1313"/>
                  </a:moveTo>
                  <a:cubicBezTo>
                    <a:pt x="593" y="1313"/>
                    <a:pt x="583" y="1318"/>
                    <a:pt x="580" y="1323"/>
                  </a:cubicBezTo>
                  <a:cubicBezTo>
                    <a:pt x="576" y="1329"/>
                    <a:pt x="581" y="1333"/>
                    <a:pt x="590" y="1333"/>
                  </a:cubicBezTo>
                  <a:cubicBezTo>
                    <a:pt x="599" y="1333"/>
                    <a:pt x="609" y="1329"/>
                    <a:pt x="613" y="1323"/>
                  </a:cubicBezTo>
                  <a:cubicBezTo>
                    <a:pt x="616" y="1318"/>
                    <a:pt x="611" y="1313"/>
                    <a:pt x="602" y="1313"/>
                  </a:cubicBezTo>
                  <a:cubicBezTo>
                    <a:pt x="602" y="1313"/>
                    <a:pt x="602" y="1313"/>
                    <a:pt x="602" y="1313"/>
                  </a:cubicBezTo>
                  <a:moveTo>
                    <a:pt x="649" y="1313"/>
                  </a:moveTo>
                  <a:cubicBezTo>
                    <a:pt x="640" y="1313"/>
                    <a:pt x="630" y="1318"/>
                    <a:pt x="627" y="1323"/>
                  </a:cubicBezTo>
                  <a:cubicBezTo>
                    <a:pt x="623" y="1329"/>
                    <a:pt x="628" y="1333"/>
                    <a:pt x="637" y="1333"/>
                  </a:cubicBezTo>
                  <a:cubicBezTo>
                    <a:pt x="646" y="1333"/>
                    <a:pt x="656" y="1329"/>
                    <a:pt x="659" y="1323"/>
                  </a:cubicBezTo>
                  <a:cubicBezTo>
                    <a:pt x="663" y="1318"/>
                    <a:pt x="658" y="1313"/>
                    <a:pt x="649" y="1313"/>
                  </a:cubicBezTo>
                  <a:cubicBezTo>
                    <a:pt x="649" y="1313"/>
                    <a:pt x="649" y="1313"/>
                    <a:pt x="649" y="1313"/>
                  </a:cubicBezTo>
                  <a:moveTo>
                    <a:pt x="695" y="1313"/>
                  </a:moveTo>
                  <a:cubicBezTo>
                    <a:pt x="686" y="1313"/>
                    <a:pt x="676" y="1318"/>
                    <a:pt x="673" y="1323"/>
                  </a:cubicBezTo>
                  <a:cubicBezTo>
                    <a:pt x="670" y="1329"/>
                    <a:pt x="675" y="1333"/>
                    <a:pt x="684" y="1333"/>
                  </a:cubicBezTo>
                  <a:cubicBezTo>
                    <a:pt x="693" y="1333"/>
                    <a:pt x="703" y="1329"/>
                    <a:pt x="706" y="1323"/>
                  </a:cubicBezTo>
                  <a:cubicBezTo>
                    <a:pt x="709" y="1317"/>
                    <a:pt x="704" y="1313"/>
                    <a:pt x="695" y="1313"/>
                  </a:cubicBezTo>
                  <a:cubicBezTo>
                    <a:pt x="695" y="1313"/>
                    <a:pt x="695" y="1313"/>
                    <a:pt x="695" y="1313"/>
                  </a:cubicBezTo>
                  <a:moveTo>
                    <a:pt x="742" y="1313"/>
                  </a:moveTo>
                  <a:cubicBezTo>
                    <a:pt x="733" y="1313"/>
                    <a:pt x="723" y="1317"/>
                    <a:pt x="720" y="1323"/>
                  </a:cubicBezTo>
                  <a:cubicBezTo>
                    <a:pt x="717" y="1329"/>
                    <a:pt x="722" y="1333"/>
                    <a:pt x="731" y="1333"/>
                  </a:cubicBezTo>
                  <a:cubicBezTo>
                    <a:pt x="740" y="1333"/>
                    <a:pt x="750" y="1329"/>
                    <a:pt x="753" y="1323"/>
                  </a:cubicBezTo>
                  <a:cubicBezTo>
                    <a:pt x="756" y="1317"/>
                    <a:pt x="751" y="1313"/>
                    <a:pt x="742" y="1313"/>
                  </a:cubicBezTo>
                  <a:cubicBezTo>
                    <a:pt x="742" y="1313"/>
                    <a:pt x="742" y="1313"/>
                    <a:pt x="742" y="1313"/>
                  </a:cubicBezTo>
                  <a:moveTo>
                    <a:pt x="789" y="1313"/>
                  </a:moveTo>
                  <a:cubicBezTo>
                    <a:pt x="780" y="1313"/>
                    <a:pt x="770" y="1317"/>
                    <a:pt x="767" y="1323"/>
                  </a:cubicBezTo>
                  <a:cubicBezTo>
                    <a:pt x="764" y="1329"/>
                    <a:pt x="769" y="1333"/>
                    <a:pt x="778" y="1333"/>
                  </a:cubicBezTo>
                  <a:cubicBezTo>
                    <a:pt x="788" y="1333"/>
                    <a:pt x="797" y="1328"/>
                    <a:pt x="800" y="1323"/>
                  </a:cubicBezTo>
                  <a:cubicBezTo>
                    <a:pt x="803" y="1317"/>
                    <a:pt x="798" y="1313"/>
                    <a:pt x="789" y="1313"/>
                  </a:cubicBezTo>
                  <a:cubicBezTo>
                    <a:pt x="789" y="1313"/>
                    <a:pt x="789" y="1313"/>
                    <a:pt x="789" y="1313"/>
                  </a:cubicBezTo>
                  <a:moveTo>
                    <a:pt x="836" y="1313"/>
                  </a:moveTo>
                  <a:cubicBezTo>
                    <a:pt x="827" y="1313"/>
                    <a:pt x="817" y="1317"/>
                    <a:pt x="814" y="1323"/>
                  </a:cubicBezTo>
                  <a:cubicBezTo>
                    <a:pt x="811" y="1328"/>
                    <a:pt x="816" y="1333"/>
                    <a:pt x="825" y="1333"/>
                  </a:cubicBezTo>
                  <a:cubicBezTo>
                    <a:pt x="834" y="1333"/>
                    <a:pt x="844" y="1328"/>
                    <a:pt x="847" y="1323"/>
                  </a:cubicBezTo>
                  <a:cubicBezTo>
                    <a:pt x="850" y="1317"/>
                    <a:pt x="845" y="1313"/>
                    <a:pt x="836" y="1313"/>
                  </a:cubicBezTo>
                  <a:cubicBezTo>
                    <a:pt x="836" y="1313"/>
                    <a:pt x="836" y="1313"/>
                    <a:pt x="836" y="1313"/>
                  </a:cubicBezTo>
                  <a:moveTo>
                    <a:pt x="882" y="1313"/>
                  </a:moveTo>
                  <a:cubicBezTo>
                    <a:pt x="873" y="1313"/>
                    <a:pt x="864" y="1317"/>
                    <a:pt x="861" y="1323"/>
                  </a:cubicBezTo>
                  <a:cubicBezTo>
                    <a:pt x="858" y="1328"/>
                    <a:pt x="863" y="1333"/>
                    <a:pt x="872" y="1333"/>
                  </a:cubicBezTo>
                  <a:cubicBezTo>
                    <a:pt x="881" y="1333"/>
                    <a:pt x="891" y="1328"/>
                    <a:pt x="894" y="1323"/>
                  </a:cubicBezTo>
                  <a:cubicBezTo>
                    <a:pt x="896" y="1317"/>
                    <a:pt x="891" y="1313"/>
                    <a:pt x="882" y="1313"/>
                  </a:cubicBezTo>
                  <a:cubicBezTo>
                    <a:pt x="882" y="1313"/>
                    <a:pt x="882" y="1313"/>
                    <a:pt x="882" y="1313"/>
                  </a:cubicBezTo>
                  <a:moveTo>
                    <a:pt x="929" y="1312"/>
                  </a:moveTo>
                  <a:cubicBezTo>
                    <a:pt x="920" y="1312"/>
                    <a:pt x="910" y="1317"/>
                    <a:pt x="907" y="1323"/>
                  </a:cubicBezTo>
                  <a:cubicBezTo>
                    <a:pt x="905" y="1328"/>
                    <a:pt x="910" y="1333"/>
                    <a:pt x="919" y="1333"/>
                  </a:cubicBezTo>
                  <a:cubicBezTo>
                    <a:pt x="928" y="1333"/>
                    <a:pt x="937" y="1328"/>
                    <a:pt x="940" y="1323"/>
                  </a:cubicBezTo>
                  <a:cubicBezTo>
                    <a:pt x="943" y="1317"/>
                    <a:pt x="938" y="1312"/>
                    <a:pt x="929" y="1312"/>
                  </a:cubicBezTo>
                  <a:cubicBezTo>
                    <a:pt x="929" y="1312"/>
                    <a:pt x="929" y="1312"/>
                    <a:pt x="929" y="1312"/>
                  </a:cubicBezTo>
                  <a:moveTo>
                    <a:pt x="2187" y="1312"/>
                  </a:moveTo>
                  <a:cubicBezTo>
                    <a:pt x="2178" y="1312"/>
                    <a:pt x="2170" y="1317"/>
                    <a:pt x="2170" y="1323"/>
                  </a:cubicBezTo>
                  <a:cubicBezTo>
                    <a:pt x="2169" y="1328"/>
                    <a:pt x="2176" y="1333"/>
                    <a:pt x="2185" y="1333"/>
                  </a:cubicBezTo>
                  <a:cubicBezTo>
                    <a:pt x="2194" y="1333"/>
                    <a:pt x="2202" y="1328"/>
                    <a:pt x="2203" y="1323"/>
                  </a:cubicBezTo>
                  <a:cubicBezTo>
                    <a:pt x="2203" y="1317"/>
                    <a:pt x="2196" y="1312"/>
                    <a:pt x="2187" y="1312"/>
                  </a:cubicBezTo>
                  <a:cubicBezTo>
                    <a:pt x="2187" y="1312"/>
                    <a:pt x="2187" y="1312"/>
                    <a:pt x="2187" y="1312"/>
                  </a:cubicBezTo>
                  <a:moveTo>
                    <a:pt x="975" y="1312"/>
                  </a:moveTo>
                  <a:cubicBezTo>
                    <a:pt x="966" y="1312"/>
                    <a:pt x="957" y="1317"/>
                    <a:pt x="954" y="1323"/>
                  </a:cubicBezTo>
                  <a:cubicBezTo>
                    <a:pt x="952" y="1328"/>
                    <a:pt x="957" y="1333"/>
                    <a:pt x="966" y="1333"/>
                  </a:cubicBezTo>
                  <a:cubicBezTo>
                    <a:pt x="975" y="1333"/>
                    <a:pt x="984" y="1328"/>
                    <a:pt x="987" y="1322"/>
                  </a:cubicBezTo>
                  <a:cubicBezTo>
                    <a:pt x="990" y="1317"/>
                    <a:pt x="984" y="1312"/>
                    <a:pt x="975" y="1312"/>
                  </a:cubicBezTo>
                  <a:cubicBezTo>
                    <a:pt x="975" y="1312"/>
                    <a:pt x="975" y="1312"/>
                    <a:pt x="975" y="1312"/>
                  </a:cubicBezTo>
                  <a:moveTo>
                    <a:pt x="2233" y="1312"/>
                  </a:moveTo>
                  <a:cubicBezTo>
                    <a:pt x="2224" y="1312"/>
                    <a:pt x="2217" y="1317"/>
                    <a:pt x="2216" y="1323"/>
                  </a:cubicBezTo>
                  <a:cubicBezTo>
                    <a:pt x="2216" y="1328"/>
                    <a:pt x="2223" y="1333"/>
                    <a:pt x="2232" y="1333"/>
                  </a:cubicBezTo>
                  <a:cubicBezTo>
                    <a:pt x="2241" y="1333"/>
                    <a:pt x="2249" y="1328"/>
                    <a:pt x="2249" y="1323"/>
                  </a:cubicBezTo>
                  <a:cubicBezTo>
                    <a:pt x="2250" y="1317"/>
                    <a:pt x="2243" y="1312"/>
                    <a:pt x="2234" y="1312"/>
                  </a:cubicBezTo>
                  <a:cubicBezTo>
                    <a:pt x="2234" y="1312"/>
                    <a:pt x="2233" y="1312"/>
                    <a:pt x="2233" y="1312"/>
                  </a:cubicBezTo>
                  <a:moveTo>
                    <a:pt x="1023" y="1312"/>
                  </a:moveTo>
                  <a:cubicBezTo>
                    <a:pt x="1014" y="1312"/>
                    <a:pt x="1004" y="1317"/>
                    <a:pt x="1002" y="1322"/>
                  </a:cubicBezTo>
                  <a:cubicBezTo>
                    <a:pt x="999" y="1328"/>
                    <a:pt x="1004" y="1333"/>
                    <a:pt x="1013" y="1333"/>
                  </a:cubicBezTo>
                  <a:cubicBezTo>
                    <a:pt x="1022" y="1333"/>
                    <a:pt x="1032" y="1328"/>
                    <a:pt x="1034" y="1322"/>
                  </a:cubicBezTo>
                  <a:cubicBezTo>
                    <a:pt x="1037" y="1317"/>
                    <a:pt x="1032" y="1312"/>
                    <a:pt x="1023" y="1312"/>
                  </a:cubicBezTo>
                  <a:cubicBezTo>
                    <a:pt x="1023" y="1312"/>
                    <a:pt x="1023" y="1312"/>
                    <a:pt x="1023" y="1312"/>
                  </a:cubicBezTo>
                  <a:moveTo>
                    <a:pt x="2280" y="1312"/>
                  </a:moveTo>
                  <a:cubicBezTo>
                    <a:pt x="2271" y="1312"/>
                    <a:pt x="2264" y="1317"/>
                    <a:pt x="2263" y="1322"/>
                  </a:cubicBezTo>
                  <a:cubicBezTo>
                    <a:pt x="2263" y="1328"/>
                    <a:pt x="2270" y="1333"/>
                    <a:pt x="2279" y="1333"/>
                  </a:cubicBezTo>
                  <a:cubicBezTo>
                    <a:pt x="2288" y="1333"/>
                    <a:pt x="2296" y="1328"/>
                    <a:pt x="2296" y="1322"/>
                  </a:cubicBezTo>
                  <a:cubicBezTo>
                    <a:pt x="2296" y="1317"/>
                    <a:pt x="2289" y="1312"/>
                    <a:pt x="2280" y="1312"/>
                  </a:cubicBezTo>
                  <a:cubicBezTo>
                    <a:pt x="2280" y="1312"/>
                    <a:pt x="2280" y="1312"/>
                    <a:pt x="2280" y="1312"/>
                  </a:cubicBezTo>
                  <a:moveTo>
                    <a:pt x="1065" y="1312"/>
                  </a:moveTo>
                  <a:cubicBezTo>
                    <a:pt x="1056" y="1312"/>
                    <a:pt x="1046" y="1317"/>
                    <a:pt x="1044" y="1322"/>
                  </a:cubicBezTo>
                  <a:cubicBezTo>
                    <a:pt x="1041" y="1328"/>
                    <a:pt x="1047" y="1333"/>
                    <a:pt x="1056" y="1332"/>
                  </a:cubicBezTo>
                  <a:cubicBezTo>
                    <a:pt x="1065" y="1332"/>
                    <a:pt x="1074" y="1328"/>
                    <a:pt x="1077" y="1322"/>
                  </a:cubicBezTo>
                  <a:cubicBezTo>
                    <a:pt x="1079" y="1317"/>
                    <a:pt x="1074" y="1312"/>
                    <a:pt x="1065" y="1312"/>
                  </a:cubicBezTo>
                  <a:cubicBezTo>
                    <a:pt x="1065" y="1312"/>
                    <a:pt x="1065" y="1312"/>
                    <a:pt x="1065" y="1312"/>
                  </a:cubicBezTo>
                  <a:moveTo>
                    <a:pt x="2326" y="1312"/>
                  </a:moveTo>
                  <a:cubicBezTo>
                    <a:pt x="2317" y="1312"/>
                    <a:pt x="2310" y="1317"/>
                    <a:pt x="2309" y="1322"/>
                  </a:cubicBezTo>
                  <a:cubicBezTo>
                    <a:pt x="2309" y="1328"/>
                    <a:pt x="2316" y="1333"/>
                    <a:pt x="2325" y="1333"/>
                  </a:cubicBezTo>
                  <a:cubicBezTo>
                    <a:pt x="2334" y="1333"/>
                    <a:pt x="2342" y="1328"/>
                    <a:pt x="2342" y="1322"/>
                  </a:cubicBezTo>
                  <a:cubicBezTo>
                    <a:pt x="2342" y="1317"/>
                    <a:pt x="2335" y="1312"/>
                    <a:pt x="2326" y="1312"/>
                  </a:cubicBezTo>
                  <a:cubicBezTo>
                    <a:pt x="2326" y="1312"/>
                    <a:pt x="2326" y="1312"/>
                    <a:pt x="2326" y="1312"/>
                  </a:cubicBezTo>
                  <a:moveTo>
                    <a:pt x="2373" y="1312"/>
                  </a:moveTo>
                  <a:cubicBezTo>
                    <a:pt x="2364" y="1312"/>
                    <a:pt x="2356" y="1317"/>
                    <a:pt x="2356" y="1322"/>
                  </a:cubicBezTo>
                  <a:cubicBezTo>
                    <a:pt x="2356" y="1328"/>
                    <a:pt x="2363" y="1332"/>
                    <a:pt x="2372" y="1332"/>
                  </a:cubicBezTo>
                  <a:cubicBezTo>
                    <a:pt x="2381" y="1332"/>
                    <a:pt x="2389" y="1328"/>
                    <a:pt x="2389" y="1322"/>
                  </a:cubicBezTo>
                  <a:cubicBezTo>
                    <a:pt x="2389" y="1317"/>
                    <a:pt x="2382" y="1312"/>
                    <a:pt x="2373" y="1312"/>
                  </a:cubicBezTo>
                  <a:cubicBezTo>
                    <a:pt x="2373" y="1312"/>
                    <a:pt x="2373" y="1312"/>
                    <a:pt x="2373" y="1312"/>
                  </a:cubicBezTo>
                  <a:moveTo>
                    <a:pt x="2419" y="1312"/>
                  </a:moveTo>
                  <a:cubicBezTo>
                    <a:pt x="2410" y="1312"/>
                    <a:pt x="2403" y="1317"/>
                    <a:pt x="2403" y="1322"/>
                  </a:cubicBezTo>
                  <a:cubicBezTo>
                    <a:pt x="2403" y="1328"/>
                    <a:pt x="2410" y="1332"/>
                    <a:pt x="2419" y="1332"/>
                  </a:cubicBezTo>
                  <a:cubicBezTo>
                    <a:pt x="2428" y="1332"/>
                    <a:pt x="2436" y="1328"/>
                    <a:pt x="2436" y="1322"/>
                  </a:cubicBezTo>
                  <a:cubicBezTo>
                    <a:pt x="2436" y="1316"/>
                    <a:pt x="2428" y="1312"/>
                    <a:pt x="2419" y="1312"/>
                  </a:cubicBezTo>
                  <a:cubicBezTo>
                    <a:pt x="2419" y="1312"/>
                    <a:pt x="2419" y="1312"/>
                    <a:pt x="2419" y="1312"/>
                  </a:cubicBezTo>
                  <a:moveTo>
                    <a:pt x="2468" y="1312"/>
                  </a:moveTo>
                  <a:cubicBezTo>
                    <a:pt x="2459" y="1312"/>
                    <a:pt x="2451" y="1316"/>
                    <a:pt x="2451" y="1322"/>
                  </a:cubicBezTo>
                  <a:cubicBezTo>
                    <a:pt x="2451" y="1328"/>
                    <a:pt x="2459" y="1332"/>
                    <a:pt x="2468" y="1332"/>
                  </a:cubicBezTo>
                  <a:cubicBezTo>
                    <a:pt x="2477" y="1332"/>
                    <a:pt x="2484" y="1328"/>
                    <a:pt x="2484" y="1322"/>
                  </a:cubicBezTo>
                  <a:cubicBezTo>
                    <a:pt x="2484" y="1316"/>
                    <a:pt x="2477" y="1312"/>
                    <a:pt x="2468" y="1312"/>
                  </a:cubicBezTo>
                  <a:cubicBezTo>
                    <a:pt x="2468" y="1312"/>
                    <a:pt x="2468" y="1312"/>
                    <a:pt x="2468" y="1312"/>
                  </a:cubicBezTo>
                  <a:moveTo>
                    <a:pt x="2514" y="1312"/>
                  </a:moveTo>
                  <a:cubicBezTo>
                    <a:pt x="2505" y="1312"/>
                    <a:pt x="2498" y="1316"/>
                    <a:pt x="2498" y="1322"/>
                  </a:cubicBezTo>
                  <a:cubicBezTo>
                    <a:pt x="2498" y="1328"/>
                    <a:pt x="2505" y="1332"/>
                    <a:pt x="2514" y="1332"/>
                  </a:cubicBezTo>
                  <a:cubicBezTo>
                    <a:pt x="2523" y="1332"/>
                    <a:pt x="2531" y="1328"/>
                    <a:pt x="2531" y="1322"/>
                  </a:cubicBezTo>
                  <a:cubicBezTo>
                    <a:pt x="2530" y="1316"/>
                    <a:pt x="2523" y="1312"/>
                    <a:pt x="2514" y="1312"/>
                  </a:cubicBezTo>
                  <a:cubicBezTo>
                    <a:pt x="2514" y="1312"/>
                    <a:pt x="2514" y="1312"/>
                    <a:pt x="2514" y="1312"/>
                  </a:cubicBezTo>
                  <a:moveTo>
                    <a:pt x="2561" y="1312"/>
                  </a:moveTo>
                  <a:cubicBezTo>
                    <a:pt x="2552" y="1312"/>
                    <a:pt x="2545" y="1316"/>
                    <a:pt x="2545" y="1322"/>
                  </a:cubicBezTo>
                  <a:cubicBezTo>
                    <a:pt x="2545" y="1328"/>
                    <a:pt x="2552" y="1332"/>
                    <a:pt x="2561" y="1332"/>
                  </a:cubicBezTo>
                  <a:cubicBezTo>
                    <a:pt x="2570" y="1332"/>
                    <a:pt x="2578" y="1327"/>
                    <a:pt x="2577" y="1322"/>
                  </a:cubicBezTo>
                  <a:cubicBezTo>
                    <a:pt x="2577" y="1316"/>
                    <a:pt x="2570" y="1312"/>
                    <a:pt x="2561" y="1312"/>
                  </a:cubicBezTo>
                  <a:cubicBezTo>
                    <a:pt x="2561" y="1312"/>
                    <a:pt x="2561" y="1312"/>
                    <a:pt x="2561" y="1312"/>
                  </a:cubicBezTo>
                  <a:moveTo>
                    <a:pt x="2608" y="1312"/>
                  </a:moveTo>
                  <a:cubicBezTo>
                    <a:pt x="2599" y="1312"/>
                    <a:pt x="2592" y="1316"/>
                    <a:pt x="2592" y="1322"/>
                  </a:cubicBezTo>
                  <a:cubicBezTo>
                    <a:pt x="2592" y="1327"/>
                    <a:pt x="2600" y="1332"/>
                    <a:pt x="2609" y="1332"/>
                  </a:cubicBezTo>
                  <a:cubicBezTo>
                    <a:pt x="2618" y="1332"/>
                    <a:pt x="2625" y="1327"/>
                    <a:pt x="2625" y="1322"/>
                  </a:cubicBezTo>
                  <a:cubicBezTo>
                    <a:pt x="2624" y="1316"/>
                    <a:pt x="2617" y="1312"/>
                    <a:pt x="2608" y="1312"/>
                  </a:cubicBezTo>
                  <a:cubicBezTo>
                    <a:pt x="2608" y="1312"/>
                    <a:pt x="2608" y="1312"/>
                    <a:pt x="2608" y="1312"/>
                  </a:cubicBezTo>
                  <a:moveTo>
                    <a:pt x="2654" y="1311"/>
                  </a:moveTo>
                  <a:cubicBezTo>
                    <a:pt x="2645" y="1311"/>
                    <a:pt x="2638" y="1316"/>
                    <a:pt x="2639" y="1322"/>
                  </a:cubicBezTo>
                  <a:cubicBezTo>
                    <a:pt x="2639" y="1327"/>
                    <a:pt x="2646" y="1332"/>
                    <a:pt x="2656" y="1332"/>
                  </a:cubicBezTo>
                  <a:cubicBezTo>
                    <a:pt x="2665" y="1332"/>
                    <a:pt x="2672" y="1327"/>
                    <a:pt x="2671" y="1322"/>
                  </a:cubicBezTo>
                  <a:cubicBezTo>
                    <a:pt x="2671" y="1316"/>
                    <a:pt x="2663" y="1311"/>
                    <a:pt x="2654" y="1311"/>
                  </a:cubicBezTo>
                  <a:cubicBezTo>
                    <a:pt x="2654" y="1311"/>
                    <a:pt x="2654" y="1311"/>
                    <a:pt x="2654" y="1311"/>
                  </a:cubicBezTo>
                  <a:moveTo>
                    <a:pt x="2701" y="1311"/>
                  </a:moveTo>
                  <a:cubicBezTo>
                    <a:pt x="2692" y="1311"/>
                    <a:pt x="2685" y="1316"/>
                    <a:pt x="2686" y="1322"/>
                  </a:cubicBezTo>
                  <a:cubicBezTo>
                    <a:pt x="2686" y="1327"/>
                    <a:pt x="2694" y="1332"/>
                    <a:pt x="2703" y="1332"/>
                  </a:cubicBezTo>
                  <a:cubicBezTo>
                    <a:pt x="2712" y="1332"/>
                    <a:pt x="2719" y="1327"/>
                    <a:pt x="2719" y="1322"/>
                  </a:cubicBezTo>
                  <a:cubicBezTo>
                    <a:pt x="2718" y="1316"/>
                    <a:pt x="2710" y="1311"/>
                    <a:pt x="2701" y="1311"/>
                  </a:cubicBezTo>
                  <a:cubicBezTo>
                    <a:pt x="2701" y="1311"/>
                    <a:pt x="2701" y="1311"/>
                    <a:pt x="2701" y="1311"/>
                  </a:cubicBezTo>
                  <a:moveTo>
                    <a:pt x="2746" y="1311"/>
                  </a:moveTo>
                  <a:cubicBezTo>
                    <a:pt x="2737" y="1311"/>
                    <a:pt x="2730" y="1316"/>
                    <a:pt x="2731" y="1321"/>
                  </a:cubicBezTo>
                  <a:cubicBezTo>
                    <a:pt x="2731" y="1327"/>
                    <a:pt x="2739" y="1332"/>
                    <a:pt x="2748" y="1332"/>
                  </a:cubicBezTo>
                  <a:cubicBezTo>
                    <a:pt x="2757" y="1332"/>
                    <a:pt x="2764" y="1327"/>
                    <a:pt x="2764" y="1321"/>
                  </a:cubicBezTo>
                  <a:cubicBezTo>
                    <a:pt x="2763" y="1316"/>
                    <a:pt x="2755" y="1311"/>
                    <a:pt x="2746" y="1311"/>
                  </a:cubicBezTo>
                  <a:cubicBezTo>
                    <a:pt x="2746" y="1311"/>
                    <a:pt x="2746" y="1311"/>
                    <a:pt x="2746" y="1311"/>
                  </a:cubicBezTo>
                  <a:moveTo>
                    <a:pt x="4751" y="1303"/>
                  </a:moveTo>
                  <a:cubicBezTo>
                    <a:pt x="4742" y="1303"/>
                    <a:pt x="4738" y="1308"/>
                    <a:pt x="4742" y="1314"/>
                  </a:cubicBezTo>
                  <a:cubicBezTo>
                    <a:pt x="4746" y="1319"/>
                    <a:pt x="4756" y="1324"/>
                    <a:pt x="4765" y="1324"/>
                  </a:cubicBezTo>
                  <a:cubicBezTo>
                    <a:pt x="4775" y="1324"/>
                    <a:pt x="4778" y="1319"/>
                    <a:pt x="4774" y="1313"/>
                  </a:cubicBezTo>
                  <a:cubicBezTo>
                    <a:pt x="4770" y="1308"/>
                    <a:pt x="4760" y="1303"/>
                    <a:pt x="4751" y="1303"/>
                  </a:cubicBezTo>
                  <a:cubicBezTo>
                    <a:pt x="4751" y="1303"/>
                    <a:pt x="4751" y="1303"/>
                    <a:pt x="4751" y="1303"/>
                  </a:cubicBezTo>
                  <a:moveTo>
                    <a:pt x="4798" y="1303"/>
                  </a:moveTo>
                  <a:cubicBezTo>
                    <a:pt x="4789" y="1303"/>
                    <a:pt x="4785" y="1308"/>
                    <a:pt x="4789" y="1313"/>
                  </a:cubicBezTo>
                  <a:cubicBezTo>
                    <a:pt x="4793" y="1319"/>
                    <a:pt x="4804" y="1324"/>
                    <a:pt x="4813" y="1324"/>
                  </a:cubicBezTo>
                  <a:cubicBezTo>
                    <a:pt x="4822" y="1324"/>
                    <a:pt x="4826" y="1319"/>
                    <a:pt x="4822" y="1313"/>
                  </a:cubicBezTo>
                  <a:cubicBezTo>
                    <a:pt x="4817" y="1308"/>
                    <a:pt x="4807" y="1303"/>
                    <a:pt x="4798" y="1303"/>
                  </a:cubicBezTo>
                  <a:cubicBezTo>
                    <a:pt x="4798" y="1303"/>
                    <a:pt x="4798" y="1303"/>
                    <a:pt x="4798" y="1303"/>
                  </a:cubicBezTo>
                  <a:moveTo>
                    <a:pt x="4941" y="1303"/>
                  </a:moveTo>
                  <a:cubicBezTo>
                    <a:pt x="4932" y="1303"/>
                    <a:pt x="4928" y="1307"/>
                    <a:pt x="4932" y="1313"/>
                  </a:cubicBezTo>
                  <a:cubicBezTo>
                    <a:pt x="4937" y="1319"/>
                    <a:pt x="4948" y="1323"/>
                    <a:pt x="4957" y="1323"/>
                  </a:cubicBezTo>
                  <a:cubicBezTo>
                    <a:pt x="4966" y="1323"/>
                    <a:pt x="4969" y="1319"/>
                    <a:pt x="4965" y="1313"/>
                  </a:cubicBezTo>
                  <a:cubicBezTo>
                    <a:pt x="4961" y="1307"/>
                    <a:pt x="4950" y="1303"/>
                    <a:pt x="4941" y="1303"/>
                  </a:cubicBezTo>
                  <a:cubicBezTo>
                    <a:pt x="4941" y="1303"/>
                    <a:pt x="4941" y="1303"/>
                    <a:pt x="4941" y="1303"/>
                  </a:cubicBezTo>
                  <a:moveTo>
                    <a:pt x="248" y="1285"/>
                  </a:moveTo>
                  <a:cubicBezTo>
                    <a:pt x="239" y="1285"/>
                    <a:pt x="228" y="1289"/>
                    <a:pt x="225" y="1295"/>
                  </a:cubicBezTo>
                  <a:cubicBezTo>
                    <a:pt x="221" y="1300"/>
                    <a:pt x="225" y="1305"/>
                    <a:pt x="234" y="1305"/>
                  </a:cubicBezTo>
                  <a:cubicBezTo>
                    <a:pt x="243" y="1305"/>
                    <a:pt x="253" y="1300"/>
                    <a:pt x="257" y="1295"/>
                  </a:cubicBezTo>
                  <a:cubicBezTo>
                    <a:pt x="261" y="1289"/>
                    <a:pt x="257" y="1285"/>
                    <a:pt x="248" y="1285"/>
                  </a:cubicBezTo>
                  <a:cubicBezTo>
                    <a:pt x="248" y="1285"/>
                    <a:pt x="248" y="1285"/>
                    <a:pt x="248" y="1285"/>
                  </a:cubicBezTo>
                  <a:moveTo>
                    <a:pt x="294" y="1285"/>
                  </a:moveTo>
                  <a:cubicBezTo>
                    <a:pt x="285" y="1285"/>
                    <a:pt x="275" y="1289"/>
                    <a:pt x="271" y="1295"/>
                  </a:cubicBezTo>
                  <a:cubicBezTo>
                    <a:pt x="267" y="1300"/>
                    <a:pt x="271" y="1305"/>
                    <a:pt x="280" y="1305"/>
                  </a:cubicBezTo>
                  <a:cubicBezTo>
                    <a:pt x="289" y="1305"/>
                    <a:pt x="300" y="1300"/>
                    <a:pt x="303" y="1295"/>
                  </a:cubicBezTo>
                  <a:cubicBezTo>
                    <a:pt x="307" y="1289"/>
                    <a:pt x="303" y="1285"/>
                    <a:pt x="294" y="1285"/>
                  </a:cubicBezTo>
                  <a:cubicBezTo>
                    <a:pt x="294" y="1285"/>
                    <a:pt x="294" y="1285"/>
                    <a:pt x="294" y="1285"/>
                  </a:cubicBezTo>
                  <a:moveTo>
                    <a:pt x="340" y="1284"/>
                  </a:moveTo>
                  <a:cubicBezTo>
                    <a:pt x="331" y="1284"/>
                    <a:pt x="321" y="1289"/>
                    <a:pt x="317" y="1295"/>
                  </a:cubicBezTo>
                  <a:cubicBezTo>
                    <a:pt x="313" y="1300"/>
                    <a:pt x="317" y="1305"/>
                    <a:pt x="326" y="1305"/>
                  </a:cubicBezTo>
                  <a:cubicBezTo>
                    <a:pt x="335" y="1305"/>
                    <a:pt x="346" y="1300"/>
                    <a:pt x="350" y="1295"/>
                  </a:cubicBezTo>
                  <a:cubicBezTo>
                    <a:pt x="353" y="1289"/>
                    <a:pt x="349" y="1284"/>
                    <a:pt x="340" y="1284"/>
                  </a:cubicBezTo>
                  <a:cubicBezTo>
                    <a:pt x="340" y="1284"/>
                    <a:pt x="340" y="1284"/>
                    <a:pt x="340" y="1284"/>
                  </a:cubicBezTo>
                  <a:moveTo>
                    <a:pt x="387" y="1284"/>
                  </a:moveTo>
                  <a:cubicBezTo>
                    <a:pt x="378" y="1284"/>
                    <a:pt x="367" y="1289"/>
                    <a:pt x="364" y="1295"/>
                  </a:cubicBezTo>
                  <a:cubicBezTo>
                    <a:pt x="360" y="1300"/>
                    <a:pt x="364" y="1305"/>
                    <a:pt x="373" y="1305"/>
                  </a:cubicBezTo>
                  <a:cubicBezTo>
                    <a:pt x="382" y="1305"/>
                    <a:pt x="392" y="1300"/>
                    <a:pt x="396" y="1294"/>
                  </a:cubicBezTo>
                  <a:cubicBezTo>
                    <a:pt x="400" y="1289"/>
                    <a:pt x="395" y="1284"/>
                    <a:pt x="387" y="1284"/>
                  </a:cubicBezTo>
                  <a:cubicBezTo>
                    <a:pt x="387" y="1284"/>
                    <a:pt x="387" y="1284"/>
                    <a:pt x="387" y="1284"/>
                  </a:cubicBezTo>
                  <a:moveTo>
                    <a:pt x="434" y="1284"/>
                  </a:moveTo>
                  <a:cubicBezTo>
                    <a:pt x="425" y="1284"/>
                    <a:pt x="415" y="1289"/>
                    <a:pt x="411" y="1294"/>
                  </a:cubicBezTo>
                  <a:cubicBezTo>
                    <a:pt x="408" y="1300"/>
                    <a:pt x="412" y="1305"/>
                    <a:pt x="421" y="1305"/>
                  </a:cubicBezTo>
                  <a:cubicBezTo>
                    <a:pt x="430" y="1305"/>
                    <a:pt x="440" y="1300"/>
                    <a:pt x="444" y="1294"/>
                  </a:cubicBezTo>
                  <a:cubicBezTo>
                    <a:pt x="447" y="1289"/>
                    <a:pt x="443" y="1284"/>
                    <a:pt x="434" y="1284"/>
                  </a:cubicBezTo>
                  <a:cubicBezTo>
                    <a:pt x="434" y="1284"/>
                    <a:pt x="434" y="1284"/>
                    <a:pt x="434" y="1284"/>
                  </a:cubicBezTo>
                  <a:moveTo>
                    <a:pt x="480" y="1284"/>
                  </a:moveTo>
                  <a:cubicBezTo>
                    <a:pt x="471" y="1284"/>
                    <a:pt x="461" y="1289"/>
                    <a:pt x="458" y="1294"/>
                  </a:cubicBezTo>
                  <a:cubicBezTo>
                    <a:pt x="454" y="1300"/>
                    <a:pt x="458" y="1304"/>
                    <a:pt x="467" y="1304"/>
                  </a:cubicBezTo>
                  <a:cubicBezTo>
                    <a:pt x="476" y="1304"/>
                    <a:pt x="487" y="1300"/>
                    <a:pt x="490" y="1294"/>
                  </a:cubicBezTo>
                  <a:cubicBezTo>
                    <a:pt x="494" y="1289"/>
                    <a:pt x="489" y="1284"/>
                    <a:pt x="480" y="1284"/>
                  </a:cubicBezTo>
                  <a:cubicBezTo>
                    <a:pt x="480" y="1284"/>
                    <a:pt x="480" y="1284"/>
                    <a:pt x="480" y="1284"/>
                  </a:cubicBezTo>
                  <a:moveTo>
                    <a:pt x="527" y="1284"/>
                  </a:moveTo>
                  <a:cubicBezTo>
                    <a:pt x="518" y="1284"/>
                    <a:pt x="508" y="1289"/>
                    <a:pt x="504" y="1294"/>
                  </a:cubicBezTo>
                  <a:cubicBezTo>
                    <a:pt x="501" y="1300"/>
                    <a:pt x="505" y="1304"/>
                    <a:pt x="514" y="1304"/>
                  </a:cubicBezTo>
                  <a:cubicBezTo>
                    <a:pt x="523" y="1304"/>
                    <a:pt x="533" y="1300"/>
                    <a:pt x="537" y="1294"/>
                  </a:cubicBezTo>
                  <a:cubicBezTo>
                    <a:pt x="540" y="1289"/>
                    <a:pt x="536" y="1284"/>
                    <a:pt x="527" y="1284"/>
                  </a:cubicBezTo>
                  <a:cubicBezTo>
                    <a:pt x="527" y="1284"/>
                    <a:pt x="527" y="1284"/>
                    <a:pt x="527" y="1284"/>
                  </a:cubicBezTo>
                  <a:moveTo>
                    <a:pt x="573" y="1284"/>
                  </a:moveTo>
                  <a:cubicBezTo>
                    <a:pt x="564" y="1284"/>
                    <a:pt x="554" y="1289"/>
                    <a:pt x="551" y="1294"/>
                  </a:cubicBezTo>
                  <a:cubicBezTo>
                    <a:pt x="548" y="1300"/>
                    <a:pt x="552" y="1304"/>
                    <a:pt x="561" y="1304"/>
                  </a:cubicBezTo>
                  <a:cubicBezTo>
                    <a:pt x="570" y="1304"/>
                    <a:pt x="580" y="1300"/>
                    <a:pt x="584" y="1294"/>
                  </a:cubicBezTo>
                  <a:cubicBezTo>
                    <a:pt x="587" y="1288"/>
                    <a:pt x="582" y="1284"/>
                    <a:pt x="573" y="1284"/>
                  </a:cubicBezTo>
                  <a:cubicBezTo>
                    <a:pt x="573" y="1284"/>
                    <a:pt x="573" y="1284"/>
                    <a:pt x="573" y="1284"/>
                  </a:cubicBezTo>
                  <a:moveTo>
                    <a:pt x="619" y="1284"/>
                  </a:moveTo>
                  <a:cubicBezTo>
                    <a:pt x="610" y="1284"/>
                    <a:pt x="600" y="1288"/>
                    <a:pt x="597" y="1294"/>
                  </a:cubicBezTo>
                  <a:cubicBezTo>
                    <a:pt x="594" y="1300"/>
                    <a:pt x="598" y="1304"/>
                    <a:pt x="607" y="1304"/>
                  </a:cubicBezTo>
                  <a:cubicBezTo>
                    <a:pt x="616" y="1304"/>
                    <a:pt x="626" y="1300"/>
                    <a:pt x="630" y="1294"/>
                  </a:cubicBezTo>
                  <a:cubicBezTo>
                    <a:pt x="633" y="1288"/>
                    <a:pt x="628" y="1284"/>
                    <a:pt x="619" y="1284"/>
                  </a:cubicBezTo>
                  <a:cubicBezTo>
                    <a:pt x="619" y="1284"/>
                    <a:pt x="619" y="1284"/>
                    <a:pt x="619" y="1284"/>
                  </a:cubicBezTo>
                  <a:moveTo>
                    <a:pt x="666" y="1284"/>
                  </a:moveTo>
                  <a:cubicBezTo>
                    <a:pt x="657" y="1284"/>
                    <a:pt x="647" y="1288"/>
                    <a:pt x="644" y="1294"/>
                  </a:cubicBezTo>
                  <a:cubicBezTo>
                    <a:pt x="640" y="1300"/>
                    <a:pt x="645" y="1304"/>
                    <a:pt x="654" y="1304"/>
                  </a:cubicBezTo>
                  <a:cubicBezTo>
                    <a:pt x="663" y="1304"/>
                    <a:pt x="673" y="1299"/>
                    <a:pt x="676" y="1294"/>
                  </a:cubicBezTo>
                  <a:cubicBezTo>
                    <a:pt x="679" y="1288"/>
                    <a:pt x="675" y="1284"/>
                    <a:pt x="666" y="1284"/>
                  </a:cubicBezTo>
                  <a:cubicBezTo>
                    <a:pt x="666" y="1284"/>
                    <a:pt x="666" y="1284"/>
                    <a:pt x="666" y="1284"/>
                  </a:cubicBezTo>
                  <a:moveTo>
                    <a:pt x="712" y="1284"/>
                  </a:moveTo>
                  <a:cubicBezTo>
                    <a:pt x="703" y="1284"/>
                    <a:pt x="693" y="1288"/>
                    <a:pt x="690" y="1294"/>
                  </a:cubicBezTo>
                  <a:cubicBezTo>
                    <a:pt x="686" y="1299"/>
                    <a:pt x="691" y="1304"/>
                    <a:pt x="700" y="1304"/>
                  </a:cubicBezTo>
                  <a:cubicBezTo>
                    <a:pt x="709" y="1304"/>
                    <a:pt x="719" y="1299"/>
                    <a:pt x="722" y="1294"/>
                  </a:cubicBezTo>
                  <a:cubicBezTo>
                    <a:pt x="725" y="1288"/>
                    <a:pt x="721" y="1284"/>
                    <a:pt x="712" y="1284"/>
                  </a:cubicBezTo>
                  <a:cubicBezTo>
                    <a:pt x="712" y="1284"/>
                    <a:pt x="712" y="1284"/>
                    <a:pt x="712" y="1284"/>
                  </a:cubicBezTo>
                  <a:moveTo>
                    <a:pt x="758" y="1283"/>
                  </a:moveTo>
                  <a:cubicBezTo>
                    <a:pt x="749" y="1284"/>
                    <a:pt x="739" y="1288"/>
                    <a:pt x="736" y="1294"/>
                  </a:cubicBezTo>
                  <a:cubicBezTo>
                    <a:pt x="733" y="1299"/>
                    <a:pt x="738" y="1304"/>
                    <a:pt x="747" y="1304"/>
                  </a:cubicBezTo>
                  <a:cubicBezTo>
                    <a:pt x="756" y="1304"/>
                    <a:pt x="766" y="1299"/>
                    <a:pt x="769" y="1294"/>
                  </a:cubicBezTo>
                  <a:cubicBezTo>
                    <a:pt x="772" y="1288"/>
                    <a:pt x="767" y="1283"/>
                    <a:pt x="758" y="1283"/>
                  </a:cubicBezTo>
                  <a:cubicBezTo>
                    <a:pt x="758" y="1283"/>
                    <a:pt x="758" y="1283"/>
                    <a:pt x="758" y="1283"/>
                  </a:cubicBezTo>
                  <a:moveTo>
                    <a:pt x="805" y="1283"/>
                  </a:moveTo>
                  <a:cubicBezTo>
                    <a:pt x="796" y="1283"/>
                    <a:pt x="786" y="1288"/>
                    <a:pt x="783" y="1294"/>
                  </a:cubicBezTo>
                  <a:cubicBezTo>
                    <a:pt x="780" y="1299"/>
                    <a:pt x="785" y="1304"/>
                    <a:pt x="794" y="1304"/>
                  </a:cubicBezTo>
                  <a:cubicBezTo>
                    <a:pt x="803" y="1304"/>
                    <a:pt x="813" y="1299"/>
                    <a:pt x="816" y="1294"/>
                  </a:cubicBezTo>
                  <a:cubicBezTo>
                    <a:pt x="818" y="1288"/>
                    <a:pt x="814" y="1283"/>
                    <a:pt x="805" y="1283"/>
                  </a:cubicBezTo>
                  <a:cubicBezTo>
                    <a:pt x="805" y="1283"/>
                    <a:pt x="805" y="1283"/>
                    <a:pt x="805" y="1283"/>
                  </a:cubicBezTo>
                  <a:moveTo>
                    <a:pt x="851" y="1283"/>
                  </a:moveTo>
                  <a:cubicBezTo>
                    <a:pt x="842" y="1283"/>
                    <a:pt x="832" y="1288"/>
                    <a:pt x="829" y="1293"/>
                  </a:cubicBezTo>
                  <a:cubicBezTo>
                    <a:pt x="826" y="1299"/>
                    <a:pt x="831" y="1304"/>
                    <a:pt x="840" y="1304"/>
                  </a:cubicBezTo>
                  <a:cubicBezTo>
                    <a:pt x="849" y="1304"/>
                    <a:pt x="859" y="1299"/>
                    <a:pt x="862" y="1293"/>
                  </a:cubicBezTo>
                  <a:cubicBezTo>
                    <a:pt x="865" y="1288"/>
                    <a:pt x="860" y="1283"/>
                    <a:pt x="851" y="1283"/>
                  </a:cubicBezTo>
                  <a:cubicBezTo>
                    <a:pt x="851" y="1283"/>
                    <a:pt x="851" y="1283"/>
                    <a:pt x="851" y="1283"/>
                  </a:cubicBezTo>
                  <a:moveTo>
                    <a:pt x="897" y="1283"/>
                  </a:moveTo>
                  <a:cubicBezTo>
                    <a:pt x="888" y="1283"/>
                    <a:pt x="878" y="1288"/>
                    <a:pt x="876" y="1293"/>
                  </a:cubicBezTo>
                  <a:cubicBezTo>
                    <a:pt x="873" y="1299"/>
                    <a:pt x="878" y="1304"/>
                    <a:pt x="887" y="1303"/>
                  </a:cubicBezTo>
                  <a:cubicBezTo>
                    <a:pt x="896" y="1303"/>
                    <a:pt x="905" y="1299"/>
                    <a:pt x="908" y="1293"/>
                  </a:cubicBezTo>
                  <a:cubicBezTo>
                    <a:pt x="911" y="1288"/>
                    <a:pt x="906" y="1283"/>
                    <a:pt x="897" y="1283"/>
                  </a:cubicBezTo>
                  <a:cubicBezTo>
                    <a:pt x="897" y="1283"/>
                    <a:pt x="897" y="1283"/>
                    <a:pt x="897" y="1283"/>
                  </a:cubicBezTo>
                  <a:moveTo>
                    <a:pt x="943" y="1283"/>
                  </a:moveTo>
                  <a:cubicBezTo>
                    <a:pt x="934" y="1283"/>
                    <a:pt x="924" y="1288"/>
                    <a:pt x="922" y="1293"/>
                  </a:cubicBezTo>
                  <a:cubicBezTo>
                    <a:pt x="919" y="1299"/>
                    <a:pt x="924" y="1303"/>
                    <a:pt x="933" y="1303"/>
                  </a:cubicBezTo>
                  <a:cubicBezTo>
                    <a:pt x="942" y="1303"/>
                    <a:pt x="951" y="1299"/>
                    <a:pt x="954" y="1293"/>
                  </a:cubicBezTo>
                  <a:cubicBezTo>
                    <a:pt x="957" y="1288"/>
                    <a:pt x="952" y="1283"/>
                    <a:pt x="943" y="1283"/>
                  </a:cubicBezTo>
                  <a:cubicBezTo>
                    <a:pt x="943" y="1283"/>
                    <a:pt x="943" y="1283"/>
                    <a:pt x="943" y="1283"/>
                  </a:cubicBezTo>
                  <a:moveTo>
                    <a:pt x="989" y="1283"/>
                  </a:moveTo>
                  <a:cubicBezTo>
                    <a:pt x="980" y="1283"/>
                    <a:pt x="971" y="1288"/>
                    <a:pt x="968" y="1293"/>
                  </a:cubicBezTo>
                  <a:cubicBezTo>
                    <a:pt x="966" y="1299"/>
                    <a:pt x="971" y="1303"/>
                    <a:pt x="980" y="1303"/>
                  </a:cubicBezTo>
                  <a:cubicBezTo>
                    <a:pt x="989" y="1303"/>
                    <a:pt x="998" y="1299"/>
                    <a:pt x="1001" y="1293"/>
                  </a:cubicBezTo>
                  <a:cubicBezTo>
                    <a:pt x="1003" y="1287"/>
                    <a:pt x="998" y="1283"/>
                    <a:pt x="989" y="1283"/>
                  </a:cubicBezTo>
                  <a:cubicBezTo>
                    <a:pt x="989" y="1283"/>
                    <a:pt x="989" y="1283"/>
                    <a:pt x="989" y="1283"/>
                  </a:cubicBezTo>
                  <a:moveTo>
                    <a:pt x="2190" y="1283"/>
                  </a:moveTo>
                  <a:cubicBezTo>
                    <a:pt x="2181" y="1283"/>
                    <a:pt x="2173" y="1288"/>
                    <a:pt x="2173" y="1293"/>
                  </a:cubicBezTo>
                  <a:cubicBezTo>
                    <a:pt x="2172" y="1299"/>
                    <a:pt x="2179" y="1303"/>
                    <a:pt x="2188" y="1303"/>
                  </a:cubicBezTo>
                  <a:cubicBezTo>
                    <a:pt x="2197" y="1303"/>
                    <a:pt x="2205" y="1299"/>
                    <a:pt x="2205" y="1293"/>
                  </a:cubicBezTo>
                  <a:cubicBezTo>
                    <a:pt x="2205" y="1287"/>
                    <a:pt x="2199" y="1283"/>
                    <a:pt x="2190" y="1283"/>
                  </a:cubicBezTo>
                  <a:cubicBezTo>
                    <a:pt x="2190" y="1283"/>
                    <a:pt x="2190" y="1283"/>
                    <a:pt x="2190" y="1283"/>
                  </a:cubicBezTo>
                  <a:moveTo>
                    <a:pt x="1036" y="1283"/>
                  </a:moveTo>
                  <a:cubicBezTo>
                    <a:pt x="1027" y="1283"/>
                    <a:pt x="1018" y="1287"/>
                    <a:pt x="1015" y="1293"/>
                  </a:cubicBezTo>
                  <a:cubicBezTo>
                    <a:pt x="1013" y="1299"/>
                    <a:pt x="1018" y="1303"/>
                    <a:pt x="1027" y="1303"/>
                  </a:cubicBezTo>
                  <a:cubicBezTo>
                    <a:pt x="1036" y="1303"/>
                    <a:pt x="1045" y="1299"/>
                    <a:pt x="1048" y="1293"/>
                  </a:cubicBezTo>
                  <a:cubicBezTo>
                    <a:pt x="1050" y="1287"/>
                    <a:pt x="1045" y="1283"/>
                    <a:pt x="1036" y="1283"/>
                  </a:cubicBezTo>
                  <a:cubicBezTo>
                    <a:pt x="1036" y="1283"/>
                    <a:pt x="1036" y="1283"/>
                    <a:pt x="1036" y="1283"/>
                  </a:cubicBezTo>
                  <a:moveTo>
                    <a:pt x="2236" y="1283"/>
                  </a:moveTo>
                  <a:cubicBezTo>
                    <a:pt x="2227" y="1283"/>
                    <a:pt x="2219" y="1287"/>
                    <a:pt x="2219" y="1293"/>
                  </a:cubicBezTo>
                  <a:cubicBezTo>
                    <a:pt x="2218" y="1299"/>
                    <a:pt x="2225" y="1303"/>
                    <a:pt x="2234" y="1303"/>
                  </a:cubicBezTo>
                  <a:cubicBezTo>
                    <a:pt x="2243" y="1303"/>
                    <a:pt x="2251" y="1299"/>
                    <a:pt x="2251" y="1293"/>
                  </a:cubicBezTo>
                  <a:cubicBezTo>
                    <a:pt x="2251" y="1287"/>
                    <a:pt x="2245" y="1283"/>
                    <a:pt x="2236" y="1283"/>
                  </a:cubicBezTo>
                  <a:cubicBezTo>
                    <a:pt x="2236" y="1283"/>
                    <a:pt x="2236" y="1283"/>
                    <a:pt x="2236" y="1283"/>
                  </a:cubicBezTo>
                  <a:moveTo>
                    <a:pt x="1078" y="1283"/>
                  </a:moveTo>
                  <a:cubicBezTo>
                    <a:pt x="1069" y="1283"/>
                    <a:pt x="1060" y="1287"/>
                    <a:pt x="1057" y="1293"/>
                  </a:cubicBezTo>
                  <a:cubicBezTo>
                    <a:pt x="1055" y="1299"/>
                    <a:pt x="1060" y="1303"/>
                    <a:pt x="1069" y="1303"/>
                  </a:cubicBezTo>
                  <a:cubicBezTo>
                    <a:pt x="1078" y="1303"/>
                    <a:pt x="1087" y="1299"/>
                    <a:pt x="1090" y="1293"/>
                  </a:cubicBezTo>
                  <a:cubicBezTo>
                    <a:pt x="1092" y="1287"/>
                    <a:pt x="1087" y="1283"/>
                    <a:pt x="1078" y="1283"/>
                  </a:cubicBezTo>
                  <a:cubicBezTo>
                    <a:pt x="1078" y="1283"/>
                    <a:pt x="1078" y="1283"/>
                    <a:pt x="1078" y="1283"/>
                  </a:cubicBezTo>
                  <a:moveTo>
                    <a:pt x="2282" y="1283"/>
                  </a:moveTo>
                  <a:cubicBezTo>
                    <a:pt x="2273" y="1283"/>
                    <a:pt x="2266" y="1287"/>
                    <a:pt x="2265" y="1293"/>
                  </a:cubicBezTo>
                  <a:cubicBezTo>
                    <a:pt x="2265" y="1299"/>
                    <a:pt x="2272" y="1303"/>
                    <a:pt x="2281" y="1303"/>
                  </a:cubicBezTo>
                  <a:cubicBezTo>
                    <a:pt x="2290" y="1303"/>
                    <a:pt x="2297" y="1299"/>
                    <a:pt x="2298" y="1293"/>
                  </a:cubicBezTo>
                  <a:cubicBezTo>
                    <a:pt x="2298" y="1287"/>
                    <a:pt x="2291" y="1283"/>
                    <a:pt x="2282" y="1283"/>
                  </a:cubicBezTo>
                  <a:cubicBezTo>
                    <a:pt x="2282" y="1283"/>
                    <a:pt x="2282" y="1283"/>
                    <a:pt x="2282" y="1283"/>
                  </a:cubicBezTo>
                  <a:moveTo>
                    <a:pt x="1128" y="1283"/>
                  </a:moveTo>
                  <a:cubicBezTo>
                    <a:pt x="1119" y="1283"/>
                    <a:pt x="1110" y="1287"/>
                    <a:pt x="1107" y="1293"/>
                  </a:cubicBezTo>
                  <a:cubicBezTo>
                    <a:pt x="1105" y="1298"/>
                    <a:pt x="1110" y="1303"/>
                    <a:pt x="1119" y="1303"/>
                  </a:cubicBezTo>
                  <a:cubicBezTo>
                    <a:pt x="1128" y="1303"/>
                    <a:pt x="1138" y="1298"/>
                    <a:pt x="1140" y="1293"/>
                  </a:cubicBezTo>
                  <a:cubicBezTo>
                    <a:pt x="1142" y="1287"/>
                    <a:pt x="1137" y="1283"/>
                    <a:pt x="1128" y="1283"/>
                  </a:cubicBezTo>
                  <a:cubicBezTo>
                    <a:pt x="1128" y="1283"/>
                    <a:pt x="1128" y="1283"/>
                    <a:pt x="1128" y="1283"/>
                  </a:cubicBezTo>
                  <a:moveTo>
                    <a:pt x="2328" y="1283"/>
                  </a:moveTo>
                  <a:cubicBezTo>
                    <a:pt x="2319" y="1283"/>
                    <a:pt x="2311" y="1287"/>
                    <a:pt x="2311" y="1293"/>
                  </a:cubicBezTo>
                  <a:cubicBezTo>
                    <a:pt x="2311" y="1299"/>
                    <a:pt x="2318" y="1303"/>
                    <a:pt x="2327" y="1303"/>
                  </a:cubicBezTo>
                  <a:cubicBezTo>
                    <a:pt x="2336" y="1303"/>
                    <a:pt x="2343" y="1298"/>
                    <a:pt x="2343" y="1293"/>
                  </a:cubicBezTo>
                  <a:cubicBezTo>
                    <a:pt x="2344" y="1287"/>
                    <a:pt x="2337" y="1283"/>
                    <a:pt x="2328" y="1283"/>
                  </a:cubicBezTo>
                  <a:cubicBezTo>
                    <a:pt x="2328" y="1283"/>
                    <a:pt x="2328" y="1283"/>
                    <a:pt x="2328" y="1283"/>
                  </a:cubicBezTo>
                  <a:moveTo>
                    <a:pt x="2374" y="1283"/>
                  </a:moveTo>
                  <a:cubicBezTo>
                    <a:pt x="2365" y="1283"/>
                    <a:pt x="2357" y="1287"/>
                    <a:pt x="2357" y="1293"/>
                  </a:cubicBezTo>
                  <a:cubicBezTo>
                    <a:pt x="2357" y="1298"/>
                    <a:pt x="2364" y="1303"/>
                    <a:pt x="2373" y="1303"/>
                  </a:cubicBezTo>
                  <a:cubicBezTo>
                    <a:pt x="2382" y="1303"/>
                    <a:pt x="2389" y="1298"/>
                    <a:pt x="2389" y="1293"/>
                  </a:cubicBezTo>
                  <a:cubicBezTo>
                    <a:pt x="2390" y="1287"/>
                    <a:pt x="2382" y="1283"/>
                    <a:pt x="2374" y="1283"/>
                  </a:cubicBezTo>
                  <a:cubicBezTo>
                    <a:pt x="2374" y="1283"/>
                    <a:pt x="2374" y="1283"/>
                    <a:pt x="2374" y="1283"/>
                  </a:cubicBezTo>
                  <a:moveTo>
                    <a:pt x="2420" y="1282"/>
                  </a:moveTo>
                  <a:cubicBezTo>
                    <a:pt x="2411" y="1282"/>
                    <a:pt x="2404" y="1287"/>
                    <a:pt x="2403" y="1293"/>
                  </a:cubicBezTo>
                  <a:cubicBezTo>
                    <a:pt x="2403" y="1298"/>
                    <a:pt x="2411" y="1303"/>
                    <a:pt x="2420" y="1303"/>
                  </a:cubicBezTo>
                  <a:cubicBezTo>
                    <a:pt x="2429" y="1303"/>
                    <a:pt x="2436" y="1298"/>
                    <a:pt x="2436" y="1293"/>
                  </a:cubicBezTo>
                  <a:cubicBezTo>
                    <a:pt x="2436" y="1287"/>
                    <a:pt x="2429" y="1282"/>
                    <a:pt x="2420" y="1282"/>
                  </a:cubicBezTo>
                  <a:cubicBezTo>
                    <a:pt x="2420" y="1282"/>
                    <a:pt x="2420" y="1282"/>
                    <a:pt x="2420" y="1282"/>
                  </a:cubicBezTo>
                  <a:moveTo>
                    <a:pt x="2468" y="1282"/>
                  </a:moveTo>
                  <a:cubicBezTo>
                    <a:pt x="2459" y="1282"/>
                    <a:pt x="2451" y="1287"/>
                    <a:pt x="2451" y="1293"/>
                  </a:cubicBezTo>
                  <a:cubicBezTo>
                    <a:pt x="2451" y="1298"/>
                    <a:pt x="2459" y="1303"/>
                    <a:pt x="2468" y="1303"/>
                  </a:cubicBezTo>
                  <a:cubicBezTo>
                    <a:pt x="2477" y="1303"/>
                    <a:pt x="2484" y="1298"/>
                    <a:pt x="2484" y="1292"/>
                  </a:cubicBezTo>
                  <a:cubicBezTo>
                    <a:pt x="2484" y="1287"/>
                    <a:pt x="2477" y="1282"/>
                    <a:pt x="2468" y="1282"/>
                  </a:cubicBezTo>
                  <a:cubicBezTo>
                    <a:pt x="2468" y="1282"/>
                    <a:pt x="2468" y="1282"/>
                    <a:pt x="2468" y="1282"/>
                  </a:cubicBezTo>
                  <a:moveTo>
                    <a:pt x="2514" y="1282"/>
                  </a:moveTo>
                  <a:cubicBezTo>
                    <a:pt x="2505" y="1282"/>
                    <a:pt x="2497" y="1287"/>
                    <a:pt x="2497" y="1292"/>
                  </a:cubicBezTo>
                  <a:cubicBezTo>
                    <a:pt x="2498" y="1298"/>
                    <a:pt x="2505" y="1303"/>
                    <a:pt x="2514" y="1303"/>
                  </a:cubicBezTo>
                  <a:cubicBezTo>
                    <a:pt x="2523" y="1303"/>
                    <a:pt x="2530" y="1298"/>
                    <a:pt x="2530" y="1292"/>
                  </a:cubicBezTo>
                  <a:cubicBezTo>
                    <a:pt x="2530" y="1287"/>
                    <a:pt x="2522" y="1282"/>
                    <a:pt x="2514" y="1282"/>
                  </a:cubicBezTo>
                  <a:cubicBezTo>
                    <a:pt x="2514" y="1282"/>
                    <a:pt x="2514" y="1282"/>
                    <a:pt x="2514" y="1282"/>
                  </a:cubicBezTo>
                  <a:moveTo>
                    <a:pt x="2560" y="1282"/>
                  </a:moveTo>
                  <a:cubicBezTo>
                    <a:pt x="2551" y="1282"/>
                    <a:pt x="2544" y="1287"/>
                    <a:pt x="2544" y="1292"/>
                  </a:cubicBezTo>
                  <a:cubicBezTo>
                    <a:pt x="2544" y="1298"/>
                    <a:pt x="2552" y="1303"/>
                    <a:pt x="2560" y="1303"/>
                  </a:cubicBezTo>
                  <a:cubicBezTo>
                    <a:pt x="2569" y="1303"/>
                    <a:pt x="2577" y="1298"/>
                    <a:pt x="2576" y="1292"/>
                  </a:cubicBezTo>
                  <a:cubicBezTo>
                    <a:pt x="2576" y="1287"/>
                    <a:pt x="2569" y="1282"/>
                    <a:pt x="2560" y="1282"/>
                  </a:cubicBezTo>
                  <a:cubicBezTo>
                    <a:pt x="2560" y="1282"/>
                    <a:pt x="2560" y="1282"/>
                    <a:pt x="2560" y="1282"/>
                  </a:cubicBezTo>
                  <a:moveTo>
                    <a:pt x="2607" y="1282"/>
                  </a:moveTo>
                  <a:cubicBezTo>
                    <a:pt x="2598" y="1282"/>
                    <a:pt x="2591" y="1287"/>
                    <a:pt x="2591" y="1292"/>
                  </a:cubicBezTo>
                  <a:cubicBezTo>
                    <a:pt x="2591" y="1298"/>
                    <a:pt x="2599" y="1302"/>
                    <a:pt x="2608" y="1302"/>
                  </a:cubicBezTo>
                  <a:cubicBezTo>
                    <a:pt x="2617" y="1302"/>
                    <a:pt x="2624" y="1298"/>
                    <a:pt x="2623" y="1292"/>
                  </a:cubicBezTo>
                  <a:cubicBezTo>
                    <a:pt x="2623" y="1287"/>
                    <a:pt x="2616" y="1282"/>
                    <a:pt x="2607" y="1282"/>
                  </a:cubicBezTo>
                  <a:cubicBezTo>
                    <a:pt x="2607" y="1282"/>
                    <a:pt x="2607" y="1282"/>
                    <a:pt x="2607" y="1282"/>
                  </a:cubicBezTo>
                  <a:moveTo>
                    <a:pt x="2653" y="1282"/>
                  </a:moveTo>
                  <a:cubicBezTo>
                    <a:pt x="2644" y="1282"/>
                    <a:pt x="2637" y="1286"/>
                    <a:pt x="2637" y="1292"/>
                  </a:cubicBezTo>
                  <a:cubicBezTo>
                    <a:pt x="2637" y="1298"/>
                    <a:pt x="2645" y="1302"/>
                    <a:pt x="2654" y="1302"/>
                  </a:cubicBezTo>
                  <a:cubicBezTo>
                    <a:pt x="2663" y="1302"/>
                    <a:pt x="2670" y="1298"/>
                    <a:pt x="2669" y="1292"/>
                  </a:cubicBezTo>
                  <a:cubicBezTo>
                    <a:pt x="2669" y="1286"/>
                    <a:pt x="2662" y="1282"/>
                    <a:pt x="2653" y="1282"/>
                  </a:cubicBezTo>
                  <a:cubicBezTo>
                    <a:pt x="2653" y="1282"/>
                    <a:pt x="2653" y="1282"/>
                    <a:pt x="2653" y="1282"/>
                  </a:cubicBezTo>
                  <a:moveTo>
                    <a:pt x="2699" y="1282"/>
                  </a:moveTo>
                  <a:cubicBezTo>
                    <a:pt x="2690" y="1282"/>
                    <a:pt x="2683" y="1286"/>
                    <a:pt x="2684" y="1292"/>
                  </a:cubicBezTo>
                  <a:cubicBezTo>
                    <a:pt x="2684" y="1298"/>
                    <a:pt x="2692" y="1302"/>
                    <a:pt x="2701" y="1302"/>
                  </a:cubicBezTo>
                  <a:cubicBezTo>
                    <a:pt x="2710" y="1302"/>
                    <a:pt x="2717" y="1298"/>
                    <a:pt x="2716" y="1292"/>
                  </a:cubicBezTo>
                  <a:cubicBezTo>
                    <a:pt x="2716" y="1286"/>
                    <a:pt x="2708" y="1282"/>
                    <a:pt x="2699" y="1282"/>
                  </a:cubicBezTo>
                  <a:cubicBezTo>
                    <a:pt x="2699" y="1282"/>
                    <a:pt x="2699" y="1282"/>
                    <a:pt x="2699" y="1282"/>
                  </a:cubicBezTo>
                  <a:moveTo>
                    <a:pt x="2744" y="1282"/>
                  </a:moveTo>
                  <a:cubicBezTo>
                    <a:pt x="2735" y="1282"/>
                    <a:pt x="2728" y="1286"/>
                    <a:pt x="2728" y="1292"/>
                  </a:cubicBezTo>
                  <a:cubicBezTo>
                    <a:pt x="2729" y="1298"/>
                    <a:pt x="2737" y="1302"/>
                    <a:pt x="2746" y="1302"/>
                  </a:cubicBezTo>
                  <a:cubicBezTo>
                    <a:pt x="2755" y="1302"/>
                    <a:pt x="2761" y="1298"/>
                    <a:pt x="2761" y="1292"/>
                  </a:cubicBezTo>
                  <a:cubicBezTo>
                    <a:pt x="2760" y="1286"/>
                    <a:pt x="2753" y="1282"/>
                    <a:pt x="2744" y="1282"/>
                  </a:cubicBezTo>
                  <a:cubicBezTo>
                    <a:pt x="2744" y="1282"/>
                    <a:pt x="2744" y="1282"/>
                    <a:pt x="2744" y="1282"/>
                  </a:cubicBezTo>
                  <a:moveTo>
                    <a:pt x="4544" y="1275"/>
                  </a:moveTo>
                  <a:cubicBezTo>
                    <a:pt x="4535" y="1275"/>
                    <a:pt x="4531" y="1280"/>
                    <a:pt x="4534" y="1286"/>
                  </a:cubicBezTo>
                  <a:cubicBezTo>
                    <a:pt x="4538" y="1291"/>
                    <a:pt x="4548" y="1296"/>
                    <a:pt x="4557" y="1296"/>
                  </a:cubicBezTo>
                  <a:cubicBezTo>
                    <a:pt x="4566" y="1296"/>
                    <a:pt x="4571" y="1291"/>
                    <a:pt x="4567" y="1286"/>
                  </a:cubicBezTo>
                  <a:cubicBezTo>
                    <a:pt x="4563" y="1280"/>
                    <a:pt x="4553" y="1275"/>
                    <a:pt x="4544" y="1275"/>
                  </a:cubicBezTo>
                  <a:cubicBezTo>
                    <a:pt x="4544" y="1275"/>
                    <a:pt x="4544" y="1275"/>
                    <a:pt x="4544" y="1275"/>
                  </a:cubicBezTo>
                  <a:moveTo>
                    <a:pt x="268" y="1255"/>
                  </a:moveTo>
                  <a:cubicBezTo>
                    <a:pt x="260" y="1255"/>
                    <a:pt x="249" y="1260"/>
                    <a:pt x="245" y="1266"/>
                  </a:cubicBezTo>
                  <a:cubicBezTo>
                    <a:pt x="241" y="1271"/>
                    <a:pt x="245" y="1276"/>
                    <a:pt x="254" y="1276"/>
                  </a:cubicBezTo>
                  <a:cubicBezTo>
                    <a:pt x="263" y="1276"/>
                    <a:pt x="274" y="1271"/>
                    <a:pt x="277" y="1265"/>
                  </a:cubicBezTo>
                  <a:cubicBezTo>
                    <a:pt x="281" y="1260"/>
                    <a:pt x="277" y="1255"/>
                    <a:pt x="269" y="1255"/>
                  </a:cubicBezTo>
                  <a:cubicBezTo>
                    <a:pt x="268" y="1255"/>
                    <a:pt x="268" y="1255"/>
                    <a:pt x="268" y="1255"/>
                  </a:cubicBezTo>
                  <a:moveTo>
                    <a:pt x="314" y="1255"/>
                  </a:moveTo>
                  <a:cubicBezTo>
                    <a:pt x="305" y="1255"/>
                    <a:pt x="295" y="1260"/>
                    <a:pt x="291" y="1265"/>
                  </a:cubicBezTo>
                  <a:cubicBezTo>
                    <a:pt x="287" y="1271"/>
                    <a:pt x="291" y="1276"/>
                    <a:pt x="300" y="1276"/>
                  </a:cubicBezTo>
                  <a:cubicBezTo>
                    <a:pt x="309" y="1276"/>
                    <a:pt x="320" y="1271"/>
                    <a:pt x="323" y="1265"/>
                  </a:cubicBezTo>
                  <a:cubicBezTo>
                    <a:pt x="327" y="1260"/>
                    <a:pt x="323" y="1255"/>
                    <a:pt x="314" y="1255"/>
                  </a:cubicBezTo>
                  <a:cubicBezTo>
                    <a:pt x="314" y="1255"/>
                    <a:pt x="314" y="1255"/>
                    <a:pt x="314" y="1255"/>
                  </a:cubicBezTo>
                  <a:moveTo>
                    <a:pt x="360" y="1255"/>
                  </a:moveTo>
                  <a:cubicBezTo>
                    <a:pt x="351" y="1255"/>
                    <a:pt x="341" y="1260"/>
                    <a:pt x="337" y="1265"/>
                  </a:cubicBezTo>
                  <a:cubicBezTo>
                    <a:pt x="333" y="1271"/>
                    <a:pt x="337" y="1275"/>
                    <a:pt x="346" y="1275"/>
                  </a:cubicBezTo>
                  <a:cubicBezTo>
                    <a:pt x="355" y="1275"/>
                    <a:pt x="365" y="1271"/>
                    <a:pt x="369" y="1265"/>
                  </a:cubicBezTo>
                  <a:cubicBezTo>
                    <a:pt x="373" y="1260"/>
                    <a:pt x="369" y="1255"/>
                    <a:pt x="360" y="1255"/>
                  </a:cubicBezTo>
                  <a:cubicBezTo>
                    <a:pt x="360" y="1255"/>
                    <a:pt x="360" y="1255"/>
                    <a:pt x="360" y="1255"/>
                  </a:cubicBezTo>
                  <a:moveTo>
                    <a:pt x="406" y="1255"/>
                  </a:moveTo>
                  <a:cubicBezTo>
                    <a:pt x="397" y="1255"/>
                    <a:pt x="387" y="1260"/>
                    <a:pt x="383" y="1265"/>
                  </a:cubicBezTo>
                  <a:cubicBezTo>
                    <a:pt x="379" y="1271"/>
                    <a:pt x="384" y="1275"/>
                    <a:pt x="392" y="1275"/>
                  </a:cubicBezTo>
                  <a:cubicBezTo>
                    <a:pt x="401" y="1275"/>
                    <a:pt x="412" y="1271"/>
                    <a:pt x="415" y="1265"/>
                  </a:cubicBezTo>
                  <a:cubicBezTo>
                    <a:pt x="419" y="1260"/>
                    <a:pt x="415" y="1255"/>
                    <a:pt x="406" y="1255"/>
                  </a:cubicBezTo>
                  <a:cubicBezTo>
                    <a:pt x="406" y="1255"/>
                    <a:pt x="406" y="1255"/>
                    <a:pt x="406" y="1255"/>
                  </a:cubicBezTo>
                  <a:moveTo>
                    <a:pt x="453" y="1255"/>
                  </a:moveTo>
                  <a:cubicBezTo>
                    <a:pt x="444" y="1255"/>
                    <a:pt x="434" y="1260"/>
                    <a:pt x="430" y="1265"/>
                  </a:cubicBezTo>
                  <a:cubicBezTo>
                    <a:pt x="427" y="1271"/>
                    <a:pt x="431" y="1275"/>
                    <a:pt x="440" y="1275"/>
                  </a:cubicBezTo>
                  <a:cubicBezTo>
                    <a:pt x="449" y="1275"/>
                    <a:pt x="459" y="1271"/>
                    <a:pt x="463" y="1265"/>
                  </a:cubicBezTo>
                  <a:cubicBezTo>
                    <a:pt x="466" y="1259"/>
                    <a:pt x="462" y="1255"/>
                    <a:pt x="453" y="1255"/>
                  </a:cubicBezTo>
                  <a:cubicBezTo>
                    <a:pt x="453" y="1255"/>
                    <a:pt x="453" y="1255"/>
                    <a:pt x="453" y="1255"/>
                  </a:cubicBezTo>
                  <a:moveTo>
                    <a:pt x="499" y="1255"/>
                  </a:moveTo>
                  <a:cubicBezTo>
                    <a:pt x="490" y="1255"/>
                    <a:pt x="480" y="1259"/>
                    <a:pt x="476" y="1265"/>
                  </a:cubicBezTo>
                  <a:cubicBezTo>
                    <a:pt x="473" y="1271"/>
                    <a:pt x="477" y="1275"/>
                    <a:pt x="486" y="1275"/>
                  </a:cubicBezTo>
                  <a:cubicBezTo>
                    <a:pt x="495" y="1275"/>
                    <a:pt x="505" y="1271"/>
                    <a:pt x="508" y="1265"/>
                  </a:cubicBezTo>
                  <a:cubicBezTo>
                    <a:pt x="512" y="1259"/>
                    <a:pt x="508" y="1255"/>
                    <a:pt x="499" y="1255"/>
                  </a:cubicBezTo>
                  <a:cubicBezTo>
                    <a:pt x="499" y="1255"/>
                    <a:pt x="499" y="1255"/>
                    <a:pt x="499" y="1255"/>
                  </a:cubicBezTo>
                  <a:moveTo>
                    <a:pt x="545" y="1255"/>
                  </a:moveTo>
                  <a:cubicBezTo>
                    <a:pt x="536" y="1255"/>
                    <a:pt x="526" y="1259"/>
                    <a:pt x="522" y="1265"/>
                  </a:cubicBezTo>
                  <a:cubicBezTo>
                    <a:pt x="519" y="1271"/>
                    <a:pt x="523" y="1275"/>
                    <a:pt x="532" y="1275"/>
                  </a:cubicBezTo>
                  <a:cubicBezTo>
                    <a:pt x="541" y="1275"/>
                    <a:pt x="551" y="1270"/>
                    <a:pt x="554" y="1265"/>
                  </a:cubicBezTo>
                  <a:cubicBezTo>
                    <a:pt x="558" y="1259"/>
                    <a:pt x="553" y="1255"/>
                    <a:pt x="545" y="1255"/>
                  </a:cubicBezTo>
                  <a:cubicBezTo>
                    <a:pt x="545" y="1255"/>
                    <a:pt x="545" y="1255"/>
                    <a:pt x="545" y="1255"/>
                  </a:cubicBezTo>
                  <a:moveTo>
                    <a:pt x="591" y="1255"/>
                  </a:moveTo>
                  <a:cubicBezTo>
                    <a:pt x="582" y="1255"/>
                    <a:pt x="572" y="1259"/>
                    <a:pt x="569" y="1265"/>
                  </a:cubicBezTo>
                  <a:cubicBezTo>
                    <a:pt x="565" y="1270"/>
                    <a:pt x="570" y="1275"/>
                    <a:pt x="579" y="1275"/>
                  </a:cubicBezTo>
                  <a:cubicBezTo>
                    <a:pt x="588" y="1275"/>
                    <a:pt x="598" y="1270"/>
                    <a:pt x="601" y="1265"/>
                  </a:cubicBezTo>
                  <a:cubicBezTo>
                    <a:pt x="604" y="1259"/>
                    <a:pt x="600" y="1255"/>
                    <a:pt x="591" y="1255"/>
                  </a:cubicBezTo>
                  <a:cubicBezTo>
                    <a:pt x="591" y="1255"/>
                    <a:pt x="591" y="1255"/>
                    <a:pt x="591" y="1255"/>
                  </a:cubicBezTo>
                  <a:moveTo>
                    <a:pt x="636" y="1254"/>
                  </a:moveTo>
                  <a:cubicBezTo>
                    <a:pt x="628" y="1255"/>
                    <a:pt x="618" y="1259"/>
                    <a:pt x="614" y="1265"/>
                  </a:cubicBezTo>
                  <a:cubicBezTo>
                    <a:pt x="611" y="1270"/>
                    <a:pt x="616" y="1275"/>
                    <a:pt x="625" y="1275"/>
                  </a:cubicBezTo>
                  <a:cubicBezTo>
                    <a:pt x="634" y="1275"/>
                    <a:pt x="643" y="1270"/>
                    <a:pt x="647" y="1265"/>
                  </a:cubicBezTo>
                  <a:cubicBezTo>
                    <a:pt x="650" y="1259"/>
                    <a:pt x="645" y="1254"/>
                    <a:pt x="636" y="1254"/>
                  </a:cubicBezTo>
                  <a:cubicBezTo>
                    <a:pt x="636" y="1254"/>
                    <a:pt x="636" y="1254"/>
                    <a:pt x="636" y="1254"/>
                  </a:cubicBezTo>
                  <a:moveTo>
                    <a:pt x="682" y="1254"/>
                  </a:moveTo>
                  <a:cubicBezTo>
                    <a:pt x="673" y="1254"/>
                    <a:pt x="664" y="1259"/>
                    <a:pt x="660" y="1265"/>
                  </a:cubicBezTo>
                  <a:cubicBezTo>
                    <a:pt x="657" y="1270"/>
                    <a:pt x="662" y="1275"/>
                    <a:pt x="671" y="1275"/>
                  </a:cubicBezTo>
                  <a:cubicBezTo>
                    <a:pt x="680" y="1275"/>
                    <a:pt x="689" y="1270"/>
                    <a:pt x="693" y="1264"/>
                  </a:cubicBezTo>
                  <a:cubicBezTo>
                    <a:pt x="696" y="1259"/>
                    <a:pt x="691" y="1254"/>
                    <a:pt x="682" y="1254"/>
                  </a:cubicBezTo>
                  <a:cubicBezTo>
                    <a:pt x="682" y="1254"/>
                    <a:pt x="682" y="1254"/>
                    <a:pt x="682" y="1254"/>
                  </a:cubicBezTo>
                  <a:moveTo>
                    <a:pt x="728" y="1254"/>
                  </a:moveTo>
                  <a:cubicBezTo>
                    <a:pt x="719" y="1254"/>
                    <a:pt x="709" y="1259"/>
                    <a:pt x="706" y="1264"/>
                  </a:cubicBezTo>
                  <a:cubicBezTo>
                    <a:pt x="703" y="1270"/>
                    <a:pt x="708" y="1275"/>
                    <a:pt x="717" y="1275"/>
                  </a:cubicBezTo>
                  <a:cubicBezTo>
                    <a:pt x="725" y="1275"/>
                    <a:pt x="735" y="1270"/>
                    <a:pt x="738" y="1264"/>
                  </a:cubicBezTo>
                  <a:cubicBezTo>
                    <a:pt x="741" y="1259"/>
                    <a:pt x="737" y="1254"/>
                    <a:pt x="728" y="1254"/>
                  </a:cubicBezTo>
                  <a:cubicBezTo>
                    <a:pt x="728" y="1254"/>
                    <a:pt x="728" y="1254"/>
                    <a:pt x="728" y="1254"/>
                  </a:cubicBezTo>
                  <a:moveTo>
                    <a:pt x="774" y="1254"/>
                  </a:moveTo>
                  <a:cubicBezTo>
                    <a:pt x="765" y="1254"/>
                    <a:pt x="755" y="1259"/>
                    <a:pt x="752" y="1264"/>
                  </a:cubicBezTo>
                  <a:cubicBezTo>
                    <a:pt x="749" y="1270"/>
                    <a:pt x="754" y="1274"/>
                    <a:pt x="763" y="1274"/>
                  </a:cubicBezTo>
                  <a:cubicBezTo>
                    <a:pt x="772" y="1274"/>
                    <a:pt x="781" y="1270"/>
                    <a:pt x="784" y="1264"/>
                  </a:cubicBezTo>
                  <a:cubicBezTo>
                    <a:pt x="787" y="1259"/>
                    <a:pt x="783" y="1254"/>
                    <a:pt x="774" y="1254"/>
                  </a:cubicBezTo>
                  <a:cubicBezTo>
                    <a:pt x="774" y="1254"/>
                    <a:pt x="774" y="1254"/>
                    <a:pt x="774" y="1254"/>
                  </a:cubicBezTo>
                  <a:moveTo>
                    <a:pt x="820" y="1254"/>
                  </a:moveTo>
                  <a:cubicBezTo>
                    <a:pt x="811" y="1254"/>
                    <a:pt x="802" y="1259"/>
                    <a:pt x="799" y="1264"/>
                  </a:cubicBezTo>
                  <a:cubicBezTo>
                    <a:pt x="796" y="1270"/>
                    <a:pt x="800" y="1274"/>
                    <a:pt x="809" y="1274"/>
                  </a:cubicBezTo>
                  <a:cubicBezTo>
                    <a:pt x="818" y="1274"/>
                    <a:pt x="828" y="1270"/>
                    <a:pt x="831" y="1264"/>
                  </a:cubicBezTo>
                  <a:cubicBezTo>
                    <a:pt x="834" y="1259"/>
                    <a:pt x="829" y="1254"/>
                    <a:pt x="820" y="1254"/>
                  </a:cubicBezTo>
                  <a:cubicBezTo>
                    <a:pt x="820" y="1254"/>
                    <a:pt x="820" y="1254"/>
                    <a:pt x="820" y="1254"/>
                  </a:cubicBezTo>
                  <a:moveTo>
                    <a:pt x="866" y="1254"/>
                  </a:moveTo>
                  <a:cubicBezTo>
                    <a:pt x="857" y="1254"/>
                    <a:pt x="847" y="1258"/>
                    <a:pt x="844" y="1264"/>
                  </a:cubicBezTo>
                  <a:cubicBezTo>
                    <a:pt x="841" y="1270"/>
                    <a:pt x="846" y="1274"/>
                    <a:pt x="855" y="1274"/>
                  </a:cubicBezTo>
                  <a:cubicBezTo>
                    <a:pt x="864" y="1274"/>
                    <a:pt x="874" y="1270"/>
                    <a:pt x="877" y="1264"/>
                  </a:cubicBezTo>
                  <a:cubicBezTo>
                    <a:pt x="879" y="1258"/>
                    <a:pt x="874" y="1254"/>
                    <a:pt x="866" y="1254"/>
                  </a:cubicBezTo>
                  <a:cubicBezTo>
                    <a:pt x="866" y="1254"/>
                    <a:pt x="866" y="1254"/>
                    <a:pt x="866" y="1254"/>
                  </a:cubicBezTo>
                  <a:moveTo>
                    <a:pt x="911" y="1254"/>
                  </a:moveTo>
                  <a:cubicBezTo>
                    <a:pt x="903" y="1254"/>
                    <a:pt x="893" y="1258"/>
                    <a:pt x="890" y="1264"/>
                  </a:cubicBezTo>
                  <a:cubicBezTo>
                    <a:pt x="887" y="1270"/>
                    <a:pt x="892" y="1274"/>
                    <a:pt x="901" y="1274"/>
                  </a:cubicBezTo>
                  <a:cubicBezTo>
                    <a:pt x="910" y="1274"/>
                    <a:pt x="920" y="1270"/>
                    <a:pt x="922" y="1264"/>
                  </a:cubicBezTo>
                  <a:cubicBezTo>
                    <a:pt x="925" y="1258"/>
                    <a:pt x="920" y="1254"/>
                    <a:pt x="911" y="1254"/>
                  </a:cubicBezTo>
                  <a:cubicBezTo>
                    <a:pt x="911" y="1254"/>
                    <a:pt x="911" y="1254"/>
                    <a:pt x="911" y="1254"/>
                  </a:cubicBezTo>
                  <a:moveTo>
                    <a:pt x="957" y="1254"/>
                  </a:moveTo>
                  <a:cubicBezTo>
                    <a:pt x="948" y="1254"/>
                    <a:pt x="939" y="1258"/>
                    <a:pt x="936" y="1264"/>
                  </a:cubicBezTo>
                  <a:cubicBezTo>
                    <a:pt x="933" y="1270"/>
                    <a:pt x="938" y="1274"/>
                    <a:pt x="947" y="1274"/>
                  </a:cubicBezTo>
                  <a:cubicBezTo>
                    <a:pt x="956" y="1274"/>
                    <a:pt x="965" y="1269"/>
                    <a:pt x="968" y="1264"/>
                  </a:cubicBezTo>
                  <a:cubicBezTo>
                    <a:pt x="971" y="1258"/>
                    <a:pt x="966" y="1254"/>
                    <a:pt x="957" y="1254"/>
                  </a:cubicBezTo>
                  <a:cubicBezTo>
                    <a:pt x="957" y="1254"/>
                    <a:pt x="957" y="1254"/>
                    <a:pt x="957" y="1254"/>
                  </a:cubicBezTo>
                  <a:moveTo>
                    <a:pt x="1003" y="1254"/>
                  </a:moveTo>
                  <a:cubicBezTo>
                    <a:pt x="994" y="1254"/>
                    <a:pt x="985" y="1258"/>
                    <a:pt x="982" y="1264"/>
                  </a:cubicBezTo>
                  <a:cubicBezTo>
                    <a:pt x="979" y="1269"/>
                    <a:pt x="984" y="1274"/>
                    <a:pt x="993" y="1274"/>
                  </a:cubicBezTo>
                  <a:cubicBezTo>
                    <a:pt x="1002" y="1274"/>
                    <a:pt x="1012" y="1269"/>
                    <a:pt x="1014" y="1264"/>
                  </a:cubicBezTo>
                  <a:cubicBezTo>
                    <a:pt x="1017" y="1258"/>
                    <a:pt x="1012" y="1254"/>
                    <a:pt x="1003" y="1254"/>
                  </a:cubicBezTo>
                  <a:cubicBezTo>
                    <a:pt x="1003" y="1254"/>
                    <a:pt x="1003" y="1254"/>
                    <a:pt x="1003" y="1254"/>
                  </a:cubicBezTo>
                  <a:moveTo>
                    <a:pt x="1049" y="1253"/>
                  </a:moveTo>
                  <a:cubicBezTo>
                    <a:pt x="1040" y="1253"/>
                    <a:pt x="1031" y="1258"/>
                    <a:pt x="1029" y="1264"/>
                  </a:cubicBezTo>
                  <a:cubicBezTo>
                    <a:pt x="1026" y="1269"/>
                    <a:pt x="1031" y="1274"/>
                    <a:pt x="1040" y="1274"/>
                  </a:cubicBezTo>
                  <a:cubicBezTo>
                    <a:pt x="1049" y="1274"/>
                    <a:pt x="1058" y="1269"/>
                    <a:pt x="1061" y="1264"/>
                  </a:cubicBezTo>
                  <a:cubicBezTo>
                    <a:pt x="1063" y="1258"/>
                    <a:pt x="1058" y="1253"/>
                    <a:pt x="1049" y="1253"/>
                  </a:cubicBezTo>
                  <a:cubicBezTo>
                    <a:pt x="1049" y="1253"/>
                    <a:pt x="1049" y="1253"/>
                    <a:pt x="1049" y="1253"/>
                  </a:cubicBezTo>
                  <a:moveTo>
                    <a:pt x="2192" y="1253"/>
                  </a:moveTo>
                  <a:cubicBezTo>
                    <a:pt x="2183" y="1253"/>
                    <a:pt x="2176" y="1258"/>
                    <a:pt x="2175" y="1264"/>
                  </a:cubicBezTo>
                  <a:cubicBezTo>
                    <a:pt x="2175" y="1269"/>
                    <a:pt x="2182" y="1274"/>
                    <a:pt x="2190" y="1274"/>
                  </a:cubicBezTo>
                  <a:cubicBezTo>
                    <a:pt x="2199" y="1274"/>
                    <a:pt x="2207" y="1269"/>
                    <a:pt x="2207" y="1264"/>
                  </a:cubicBezTo>
                  <a:cubicBezTo>
                    <a:pt x="2208" y="1258"/>
                    <a:pt x="2201" y="1253"/>
                    <a:pt x="2192" y="1253"/>
                  </a:cubicBezTo>
                  <a:cubicBezTo>
                    <a:pt x="2192" y="1253"/>
                    <a:pt x="2192" y="1253"/>
                    <a:pt x="2192" y="1253"/>
                  </a:cubicBezTo>
                  <a:moveTo>
                    <a:pt x="1091" y="1253"/>
                  </a:moveTo>
                  <a:cubicBezTo>
                    <a:pt x="1082" y="1253"/>
                    <a:pt x="1073" y="1258"/>
                    <a:pt x="1070" y="1264"/>
                  </a:cubicBezTo>
                  <a:cubicBezTo>
                    <a:pt x="1068" y="1269"/>
                    <a:pt x="1073" y="1274"/>
                    <a:pt x="1082" y="1274"/>
                  </a:cubicBezTo>
                  <a:cubicBezTo>
                    <a:pt x="1091" y="1274"/>
                    <a:pt x="1100" y="1269"/>
                    <a:pt x="1102" y="1264"/>
                  </a:cubicBezTo>
                  <a:cubicBezTo>
                    <a:pt x="1105" y="1258"/>
                    <a:pt x="1100" y="1253"/>
                    <a:pt x="1091" y="1253"/>
                  </a:cubicBezTo>
                  <a:cubicBezTo>
                    <a:pt x="1091" y="1253"/>
                    <a:pt x="1091" y="1253"/>
                    <a:pt x="1091" y="1253"/>
                  </a:cubicBezTo>
                  <a:moveTo>
                    <a:pt x="2238" y="1253"/>
                  </a:moveTo>
                  <a:cubicBezTo>
                    <a:pt x="2229" y="1253"/>
                    <a:pt x="2221" y="1258"/>
                    <a:pt x="2221" y="1264"/>
                  </a:cubicBezTo>
                  <a:cubicBezTo>
                    <a:pt x="2220" y="1269"/>
                    <a:pt x="2227" y="1274"/>
                    <a:pt x="2236" y="1274"/>
                  </a:cubicBezTo>
                  <a:cubicBezTo>
                    <a:pt x="2245" y="1274"/>
                    <a:pt x="2253" y="1269"/>
                    <a:pt x="2253" y="1263"/>
                  </a:cubicBezTo>
                  <a:cubicBezTo>
                    <a:pt x="2253" y="1258"/>
                    <a:pt x="2247" y="1253"/>
                    <a:pt x="2238" y="1253"/>
                  </a:cubicBezTo>
                  <a:cubicBezTo>
                    <a:pt x="2238" y="1253"/>
                    <a:pt x="2238" y="1253"/>
                    <a:pt x="2238" y="1253"/>
                  </a:cubicBezTo>
                  <a:moveTo>
                    <a:pt x="1140" y="1253"/>
                  </a:moveTo>
                  <a:cubicBezTo>
                    <a:pt x="1132" y="1253"/>
                    <a:pt x="1122" y="1258"/>
                    <a:pt x="1120" y="1263"/>
                  </a:cubicBezTo>
                  <a:cubicBezTo>
                    <a:pt x="1118" y="1269"/>
                    <a:pt x="1123" y="1274"/>
                    <a:pt x="1132" y="1274"/>
                  </a:cubicBezTo>
                  <a:cubicBezTo>
                    <a:pt x="1141" y="1274"/>
                    <a:pt x="1150" y="1269"/>
                    <a:pt x="1152" y="1263"/>
                  </a:cubicBezTo>
                  <a:cubicBezTo>
                    <a:pt x="1155" y="1258"/>
                    <a:pt x="1149" y="1253"/>
                    <a:pt x="1140" y="1253"/>
                  </a:cubicBezTo>
                  <a:cubicBezTo>
                    <a:pt x="1140" y="1253"/>
                    <a:pt x="1140" y="1253"/>
                    <a:pt x="1140" y="1253"/>
                  </a:cubicBezTo>
                  <a:moveTo>
                    <a:pt x="2284" y="1253"/>
                  </a:moveTo>
                  <a:cubicBezTo>
                    <a:pt x="2275" y="1253"/>
                    <a:pt x="2267" y="1258"/>
                    <a:pt x="2267" y="1263"/>
                  </a:cubicBezTo>
                  <a:cubicBezTo>
                    <a:pt x="2267" y="1269"/>
                    <a:pt x="2274" y="1274"/>
                    <a:pt x="2282" y="1274"/>
                  </a:cubicBezTo>
                  <a:cubicBezTo>
                    <a:pt x="2291" y="1274"/>
                    <a:pt x="2299" y="1269"/>
                    <a:pt x="2299" y="1263"/>
                  </a:cubicBezTo>
                  <a:cubicBezTo>
                    <a:pt x="2299" y="1258"/>
                    <a:pt x="2293" y="1253"/>
                    <a:pt x="2284" y="1253"/>
                  </a:cubicBezTo>
                  <a:cubicBezTo>
                    <a:pt x="2284" y="1253"/>
                    <a:pt x="2284" y="1253"/>
                    <a:pt x="2284" y="1253"/>
                  </a:cubicBezTo>
                  <a:moveTo>
                    <a:pt x="2329" y="1253"/>
                  </a:moveTo>
                  <a:cubicBezTo>
                    <a:pt x="2320" y="1253"/>
                    <a:pt x="2313" y="1258"/>
                    <a:pt x="2312" y="1263"/>
                  </a:cubicBezTo>
                  <a:cubicBezTo>
                    <a:pt x="2312" y="1269"/>
                    <a:pt x="2319" y="1274"/>
                    <a:pt x="2328" y="1274"/>
                  </a:cubicBezTo>
                  <a:cubicBezTo>
                    <a:pt x="2337" y="1273"/>
                    <a:pt x="2344" y="1269"/>
                    <a:pt x="2344" y="1263"/>
                  </a:cubicBezTo>
                  <a:cubicBezTo>
                    <a:pt x="2345" y="1258"/>
                    <a:pt x="2338" y="1253"/>
                    <a:pt x="2329" y="1253"/>
                  </a:cubicBezTo>
                  <a:cubicBezTo>
                    <a:pt x="2329" y="1253"/>
                    <a:pt x="2329" y="1253"/>
                    <a:pt x="2329" y="1253"/>
                  </a:cubicBezTo>
                  <a:moveTo>
                    <a:pt x="2374" y="1253"/>
                  </a:moveTo>
                  <a:cubicBezTo>
                    <a:pt x="2366" y="1253"/>
                    <a:pt x="2358" y="1258"/>
                    <a:pt x="2358" y="1263"/>
                  </a:cubicBezTo>
                  <a:cubicBezTo>
                    <a:pt x="2358" y="1269"/>
                    <a:pt x="2365" y="1273"/>
                    <a:pt x="2374" y="1273"/>
                  </a:cubicBezTo>
                  <a:cubicBezTo>
                    <a:pt x="2383" y="1273"/>
                    <a:pt x="2390" y="1269"/>
                    <a:pt x="2390" y="1263"/>
                  </a:cubicBezTo>
                  <a:cubicBezTo>
                    <a:pt x="2390" y="1258"/>
                    <a:pt x="2383" y="1253"/>
                    <a:pt x="2374" y="1253"/>
                  </a:cubicBezTo>
                  <a:cubicBezTo>
                    <a:pt x="2374" y="1253"/>
                    <a:pt x="2374" y="1253"/>
                    <a:pt x="2374" y="1253"/>
                  </a:cubicBezTo>
                  <a:moveTo>
                    <a:pt x="2420" y="1253"/>
                  </a:moveTo>
                  <a:cubicBezTo>
                    <a:pt x="2411" y="1253"/>
                    <a:pt x="2404" y="1257"/>
                    <a:pt x="2404" y="1263"/>
                  </a:cubicBezTo>
                  <a:cubicBezTo>
                    <a:pt x="2404" y="1269"/>
                    <a:pt x="2411" y="1273"/>
                    <a:pt x="2420" y="1273"/>
                  </a:cubicBezTo>
                  <a:cubicBezTo>
                    <a:pt x="2429" y="1273"/>
                    <a:pt x="2436" y="1269"/>
                    <a:pt x="2436" y="1263"/>
                  </a:cubicBezTo>
                  <a:cubicBezTo>
                    <a:pt x="2436" y="1257"/>
                    <a:pt x="2429" y="1253"/>
                    <a:pt x="2420" y="1253"/>
                  </a:cubicBezTo>
                  <a:cubicBezTo>
                    <a:pt x="2420" y="1253"/>
                    <a:pt x="2420" y="1253"/>
                    <a:pt x="2420" y="1253"/>
                  </a:cubicBezTo>
                  <a:moveTo>
                    <a:pt x="2468" y="1253"/>
                  </a:moveTo>
                  <a:cubicBezTo>
                    <a:pt x="2459" y="1253"/>
                    <a:pt x="2451" y="1257"/>
                    <a:pt x="2451" y="1263"/>
                  </a:cubicBezTo>
                  <a:cubicBezTo>
                    <a:pt x="2451" y="1269"/>
                    <a:pt x="2459" y="1273"/>
                    <a:pt x="2468" y="1273"/>
                  </a:cubicBezTo>
                  <a:cubicBezTo>
                    <a:pt x="2476" y="1273"/>
                    <a:pt x="2484" y="1269"/>
                    <a:pt x="2484" y="1263"/>
                  </a:cubicBezTo>
                  <a:cubicBezTo>
                    <a:pt x="2484" y="1257"/>
                    <a:pt x="2476" y="1253"/>
                    <a:pt x="2468" y="1253"/>
                  </a:cubicBezTo>
                  <a:cubicBezTo>
                    <a:pt x="2468" y="1253"/>
                    <a:pt x="2468" y="1253"/>
                    <a:pt x="2468" y="1253"/>
                  </a:cubicBezTo>
                  <a:moveTo>
                    <a:pt x="2513" y="1253"/>
                  </a:moveTo>
                  <a:cubicBezTo>
                    <a:pt x="2504" y="1253"/>
                    <a:pt x="2497" y="1257"/>
                    <a:pt x="2497" y="1263"/>
                  </a:cubicBezTo>
                  <a:cubicBezTo>
                    <a:pt x="2497" y="1269"/>
                    <a:pt x="2504" y="1273"/>
                    <a:pt x="2513" y="1273"/>
                  </a:cubicBezTo>
                  <a:cubicBezTo>
                    <a:pt x="2522" y="1273"/>
                    <a:pt x="2529" y="1268"/>
                    <a:pt x="2529" y="1263"/>
                  </a:cubicBezTo>
                  <a:cubicBezTo>
                    <a:pt x="2529" y="1257"/>
                    <a:pt x="2522" y="1253"/>
                    <a:pt x="2513" y="1253"/>
                  </a:cubicBezTo>
                  <a:cubicBezTo>
                    <a:pt x="2513" y="1253"/>
                    <a:pt x="2513" y="1253"/>
                    <a:pt x="2513" y="1253"/>
                  </a:cubicBezTo>
                  <a:moveTo>
                    <a:pt x="2559" y="1253"/>
                  </a:moveTo>
                  <a:cubicBezTo>
                    <a:pt x="2550" y="1253"/>
                    <a:pt x="2543" y="1257"/>
                    <a:pt x="2543" y="1263"/>
                  </a:cubicBezTo>
                  <a:cubicBezTo>
                    <a:pt x="2543" y="1268"/>
                    <a:pt x="2551" y="1273"/>
                    <a:pt x="2560" y="1273"/>
                  </a:cubicBezTo>
                  <a:cubicBezTo>
                    <a:pt x="2568" y="1273"/>
                    <a:pt x="2576" y="1268"/>
                    <a:pt x="2575" y="1263"/>
                  </a:cubicBezTo>
                  <a:cubicBezTo>
                    <a:pt x="2575" y="1257"/>
                    <a:pt x="2568" y="1253"/>
                    <a:pt x="2559" y="1253"/>
                  </a:cubicBezTo>
                  <a:cubicBezTo>
                    <a:pt x="2559" y="1253"/>
                    <a:pt x="2559" y="1253"/>
                    <a:pt x="2559" y="1253"/>
                  </a:cubicBezTo>
                  <a:moveTo>
                    <a:pt x="2605" y="1252"/>
                  </a:moveTo>
                  <a:cubicBezTo>
                    <a:pt x="2596" y="1252"/>
                    <a:pt x="2589" y="1257"/>
                    <a:pt x="2590" y="1263"/>
                  </a:cubicBezTo>
                  <a:cubicBezTo>
                    <a:pt x="2590" y="1268"/>
                    <a:pt x="2597" y="1273"/>
                    <a:pt x="2606" y="1273"/>
                  </a:cubicBezTo>
                  <a:cubicBezTo>
                    <a:pt x="2615" y="1273"/>
                    <a:pt x="2622" y="1268"/>
                    <a:pt x="2622" y="1263"/>
                  </a:cubicBezTo>
                  <a:cubicBezTo>
                    <a:pt x="2622" y="1257"/>
                    <a:pt x="2614" y="1252"/>
                    <a:pt x="2605" y="1252"/>
                  </a:cubicBezTo>
                  <a:cubicBezTo>
                    <a:pt x="2605" y="1252"/>
                    <a:pt x="2605" y="1252"/>
                    <a:pt x="2605" y="1252"/>
                  </a:cubicBezTo>
                  <a:moveTo>
                    <a:pt x="2651" y="1252"/>
                  </a:moveTo>
                  <a:cubicBezTo>
                    <a:pt x="2642" y="1252"/>
                    <a:pt x="2635" y="1257"/>
                    <a:pt x="2635" y="1263"/>
                  </a:cubicBezTo>
                  <a:cubicBezTo>
                    <a:pt x="2636" y="1268"/>
                    <a:pt x="2643" y="1273"/>
                    <a:pt x="2652" y="1273"/>
                  </a:cubicBezTo>
                  <a:cubicBezTo>
                    <a:pt x="2661" y="1273"/>
                    <a:pt x="2668" y="1268"/>
                    <a:pt x="2667" y="1263"/>
                  </a:cubicBezTo>
                  <a:cubicBezTo>
                    <a:pt x="2667" y="1257"/>
                    <a:pt x="2660" y="1252"/>
                    <a:pt x="2651" y="1252"/>
                  </a:cubicBezTo>
                  <a:cubicBezTo>
                    <a:pt x="2651" y="1252"/>
                    <a:pt x="2651" y="1252"/>
                    <a:pt x="2651" y="1252"/>
                  </a:cubicBezTo>
                  <a:moveTo>
                    <a:pt x="2697" y="1252"/>
                  </a:moveTo>
                  <a:cubicBezTo>
                    <a:pt x="2688" y="1252"/>
                    <a:pt x="2681" y="1257"/>
                    <a:pt x="2682" y="1262"/>
                  </a:cubicBezTo>
                  <a:cubicBezTo>
                    <a:pt x="2682" y="1268"/>
                    <a:pt x="2690" y="1273"/>
                    <a:pt x="2699" y="1273"/>
                  </a:cubicBezTo>
                  <a:cubicBezTo>
                    <a:pt x="2707" y="1273"/>
                    <a:pt x="2714" y="1268"/>
                    <a:pt x="2714" y="1262"/>
                  </a:cubicBezTo>
                  <a:cubicBezTo>
                    <a:pt x="2713" y="1257"/>
                    <a:pt x="2706" y="1252"/>
                    <a:pt x="2697" y="1252"/>
                  </a:cubicBezTo>
                  <a:cubicBezTo>
                    <a:pt x="2697" y="1252"/>
                    <a:pt x="2697" y="1252"/>
                    <a:pt x="2697" y="1252"/>
                  </a:cubicBezTo>
                  <a:moveTo>
                    <a:pt x="4250" y="1245"/>
                  </a:moveTo>
                  <a:cubicBezTo>
                    <a:pt x="4241" y="1245"/>
                    <a:pt x="4237" y="1250"/>
                    <a:pt x="4240" y="1255"/>
                  </a:cubicBezTo>
                  <a:cubicBezTo>
                    <a:pt x="4243" y="1261"/>
                    <a:pt x="4253" y="1265"/>
                    <a:pt x="4262" y="1265"/>
                  </a:cubicBezTo>
                  <a:cubicBezTo>
                    <a:pt x="4271" y="1265"/>
                    <a:pt x="4275" y="1261"/>
                    <a:pt x="4272" y="1255"/>
                  </a:cubicBezTo>
                  <a:cubicBezTo>
                    <a:pt x="4269" y="1249"/>
                    <a:pt x="4259" y="1245"/>
                    <a:pt x="4250" y="1245"/>
                  </a:cubicBezTo>
                  <a:cubicBezTo>
                    <a:pt x="4250" y="1245"/>
                    <a:pt x="4250" y="1245"/>
                    <a:pt x="4250" y="1245"/>
                  </a:cubicBezTo>
                  <a:moveTo>
                    <a:pt x="4295" y="1245"/>
                  </a:moveTo>
                  <a:cubicBezTo>
                    <a:pt x="4286" y="1245"/>
                    <a:pt x="4282" y="1249"/>
                    <a:pt x="4285" y="1255"/>
                  </a:cubicBezTo>
                  <a:cubicBezTo>
                    <a:pt x="4288" y="1261"/>
                    <a:pt x="4298" y="1265"/>
                    <a:pt x="4307" y="1265"/>
                  </a:cubicBezTo>
                  <a:cubicBezTo>
                    <a:pt x="4316" y="1265"/>
                    <a:pt x="4320" y="1261"/>
                    <a:pt x="4317" y="1255"/>
                  </a:cubicBezTo>
                  <a:cubicBezTo>
                    <a:pt x="4314" y="1249"/>
                    <a:pt x="4304" y="1245"/>
                    <a:pt x="4295" y="1245"/>
                  </a:cubicBezTo>
                  <a:cubicBezTo>
                    <a:pt x="4295" y="1245"/>
                    <a:pt x="4295" y="1245"/>
                    <a:pt x="4295" y="1245"/>
                  </a:cubicBezTo>
                  <a:moveTo>
                    <a:pt x="4845" y="1241"/>
                  </a:moveTo>
                  <a:cubicBezTo>
                    <a:pt x="4836" y="1241"/>
                    <a:pt x="4832" y="1246"/>
                    <a:pt x="4836" y="1252"/>
                  </a:cubicBezTo>
                  <a:cubicBezTo>
                    <a:pt x="4841" y="1257"/>
                    <a:pt x="4851" y="1262"/>
                    <a:pt x="4860" y="1262"/>
                  </a:cubicBezTo>
                  <a:cubicBezTo>
                    <a:pt x="4869" y="1262"/>
                    <a:pt x="4873" y="1257"/>
                    <a:pt x="4868" y="1251"/>
                  </a:cubicBezTo>
                  <a:cubicBezTo>
                    <a:pt x="4864" y="1246"/>
                    <a:pt x="4854" y="1241"/>
                    <a:pt x="4845" y="1241"/>
                  </a:cubicBezTo>
                  <a:cubicBezTo>
                    <a:pt x="4845" y="1241"/>
                    <a:pt x="4845" y="1241"/>
                    <a:pt x="4845" y="1241"/>
                  </a:cubicBezTo>
                  <a:moveTo>
                    <a:pt x="4889" y="1241"/>
                  </a:moveTo>
                  <a:cubicBezTo>
                    <a:pt x="4880" y="1241"/>
                    <a:pt x="4877" y="1246"/>
                    <a:pt x="4881" y="1251"/>
                  </a:cubicBezTo>
                  <a:cubicBezTo>
                    <a:pt x="4885" y="1257"/>
                    <a:pt x="4896" y="1262"/>
                    <a:pt x="4905" y="1262"/>
                  </a:cubicBezTo>
                  <a:cubicBezTo>
                    <a:pt x="4914" y="1262"/>
                    <a:pt x="4917" y="1257"/>
                    <a:pt x="4913" y="1251"/>
                  </a:cubicBezTo>
                  <a:cubicBezTo>
                    <a:pt x="4909" y="1246"/>
                    <a:pt x="4898" y="1241"/>
                    <a:pt x="4889" y="1241"/>
                  </a:cubicBezTo>
                  <a:cubicBezTo>
                    <a:pt x="4889" y="1241"/>
                    <a:pt x="4889" y="1241"/>
                    <a:pt x="4889" y="1241"/>
                  </a:cubicBezTo>
                  <a:moveTo>
                    <a:pt x="4935" y="1241"/>
                  </a:moveTo>
                  <a:cubicBezTo>
                    <a:pt x="4926" y="1241"/>
                    <a:pt x="4922" y="1246"/>
                    <a:pt x="4927" y="1251"/>
                  </a:cubicBezTo>
                  <a:cubicBezTo>
                    <a:pt x="4931" y="1257"/>
                    <a:pt x="4942" y="1262"/>
                    <a:pt x="4951" y="1262"/>
                  </a:cubicBezTo>
                  <a:cubicBezTo>
                    <a:pt x="4960" y="1262"/>
                    <a:pt x="4963" y="1257"/>
                    <a:pt x="4959" y="1251"/>
                  </a:cubicBezTo>
                  <a:cubicBezTo>
                    <a:pt x="4954" y="1246"/>
                    <a:pt x="4944" y="1241"/>
                    <a:pt x="4935" y="1241"/>
                  </a:cubicBezTo>
                  <a:cubicBezTo>
                    <a:pt x="4935" y="1241"/>
                    <a:pt x="4935" y="1241"/>
                    <a:pt x="4935" y="1241"/>
                  </a:cubicBezTo>
                  <a:moveTo>
                    <a:pt x="4981" y="1241"/>
                  </a:moveTo>
                  <a:cubicBezTo>
                    <a:pt x="4972" y="1241"/>
                    <a:pt x="4969" y="1246"/>
                    <a:pt x="4973" y="1251"/>
                  </a:cubicBezTo>
                  <a:cubicBezTo>
                    <a:pt x="4978" y="1257"/>
                    <a:pt x="4989" y="1262"/>
                    <a:pt x="4998" y="1262"/>
                  </a:cubicBezTo>
                  <a:cubicBezTo>
                    <a:pt x="5006" y="1261"/>
                    <a:pt x="5010" y="1257"/>
                    <a:pt x="5005" y="1251"/>
                  </a:cubicBezTo>
                  <a:cubicBezTo>
                    <a:pt x="5001" y="1245"/>
                    <a:pt x="4990" y="1241"/>
                    <a:pt x="4981" y="1241"/>
                  </a:cubicBezTo>
                  <a:cubicBezTo>
                    <a:pt x="4981" y="1241"/>
                    <a:pt x="4981" y="1241"/>
                    <a:pt x="4981" y="1241"/>
                  </a:cubicBezTo>
                  <a:moveTo>
                    <a:pt x="243" y="1228"/>
                  </a:moveTo>
                  <a:cubicBezTo>
                    <a:pt x="234" y="1228"/>
                    <a:pt x="224" y="1232"/>
                    <a:pt x="220" y="1238"/>
                  </a:cubicBezTo>
                  <a:cubicBezTo>
                    <a:pt x="216" y="1243"/>
                    <a:pt x="219" y="1248"/>
                    <a:pt x="228" y="1248"/>
                  </a:cubicBezTo>
                  <a:cubicBezTo>
                    <a:pt x="237" y="1248"/>
                    <a:pt x="248" y="1243"/>
                    <a:pt x="251" y="1238"/>
                  </a:cubicBezTo>
                  <a:cubicBezTo>
                    <a:pt x="255" y="1232"/>
                    <a:pt x="252" y="1228"/>
                    <a:pt x="243" y="1228"/>
                  </a:cubicBezTo>
                  <a:cubicBezTo>
                    <a:pt x="243" y="1228"/>
                    <a:pt x="243" y="1228"/>
                    <a:pt x="243" y="1228"/>
                  </a:cubicBezTo>
                  <a:moveTo>
                    <a:pt x="288" y="1227"/>
                  </a:moveTo>
                  <a:cubicBezTo>
                    <a:pt x="279" y="1228"/>
                    <a:pt x="269" y="1232"/>
                    <a:pt x="265" y="1238"/>
                  </a:cubicBezTo>
                  <a:cubicBezTo>
                    <a:pt x="261" y="1243"/>
                    <a:pt x="265" y="1248"/>
                    <a:pt x="274" y="1248"/>
                  </a:cubicBezTo>
                  <a:cubicBezTo>
                    <a:pt x="283" y="1248"/>
                    <a:pt x="293" y="1243"/>
                    <a:pt x="297" y="1238"/>
                  </a:cubicBezTo>
                  <a:cubicBezTo>
                    <a:pt x="301" y="1232"/>
                    <a:pt x="297" y="1227"/>
                    <a:pt x="288" y="1227"/>
                  </a:cubicBezTo>
                  <a:cubicBezTo>
                    <a:pt x="288" y="1227"/>
                    <a:pt x="288" y="1227"/>
                    <a:pt x="288" y="1227"/>
                  </a:cubicBezTo>
                  <a:moveTo>
                    <a:pt x="333" y="1227"/>
                  </a:moveTo>
                  <a:cubicBezTo>
                    <a:pt x="325" y="1227"/>
                    <a:pt x="314" y="1232"/>
                    <a:pt x="310" y="1238"/>
                  </a:cubicBezTo>
                  <a:cubicBezTo>
                    <a:pt x="307" y="1243"/>
                    <a:pt x="311" y="1248"/>
                    <a:pt x="319" y="1248"/>
                  </a:cubicBezTo>
                  <a:cubicBezTo>
                    <a:pt x="328" y="1248"/>
                    <a:pt x="339" y="1243"/>
                    <a:pt x="342" y="1237"/>
                  </a:cubicBezTo>
                  <a:cubicBezTo>
                    <a:pt x="346" y="1232"/>
                    <a:pt x="342" y="1227"/>
                    <a:pt x="333" y="1227"/>
                  </a:cubicBezTo>
                  <a:cubicBezTo>
                    <a:pt x="333" y="1227"/>
                    <a:pt x="333" y="1227"/>
                    <a:pt x="333" y="1227"/>
                  </a:cubicBezTo>
                  <a:moveTo>
                    <a:pt x="378" y="1227"/>
                  </a:moveTo>
                  <a:cubicBezTo>
                    <a:pt x="370" y="1227"/>
                    <a:pt x="360" y="1232"/>
                    <a:pt x="356" y="1237"/>
                  </a:cubicBezTo>
                  <a:cubicBezTo>
                    <a:pt x="352" y="1243"/>
                    <a:pt x="356" y="1248"/>
                    <a:pt x="365" y="1248"/>
                  </a:cubicBezTo>
                  <a:cubicBezTo>
                    <a:pt x="374" y="1248"/>
                    <a:pt x="384" y="1243"/>
                    <a:pt x="388" y="1237"/>
                  </a:cubicBezTo>
                  <a:cubicBezTo>
                    <a:pt x="391" y="1232"/>
                    <a:pt x="387" y="1227"/>
                    <a:pt x="379" y="1227"/>
                  </a:cubicBezTo>
                  <a:cubicBezTo>
                    <a:pt x="379" y="1227"/>
                    <a:pt x="379" y="1227"/>
                    <a:pt x="378" y="1227"/>
                  </a:cubicBezTo>
                  <a:moveTo>
                    <a:pt x="424" y="1227"/>
                  </a:moveTo>
                  <a:cubicBezTo>
                    <a:pt x="415" y="1227"/>
                    <a:pt x="405" y="1232"/>
                    <a:pt x="401" y="1237"/>
                  </a:cubicBezTo>
                  <a:cubicBezTo>
                    <a:pt x="398" y="1243"/>
                    <a:pt x="402" y="1247"/>
                    <a:pt x="411" y="1247"/>
                  </a:cubicBezTo>
                  <a:cubicBezTo>
                    <a:pt x="420" y="1247"/>
                    <a:pt x="430" y="1243"/>
                    <a:pt x="433" y="1237"/>
                  </a:cubicBezTo>
                  <a:cubicBezTo>
                    <a:pt x="437" y="1232"/>
                    <a:pt x="433" y="1227"/>
                    <a:pt x="424" y="1227"/>
                  </a:cubicBezTo>
                  <a:cubicBezTo>
                    <a:pt x="424" y="1227"/>
                    <a:pt x="424" y="1227"/>
                    <a:pt x="424" y="1227"/>
                  </a:cubicBezTo>
                  <a:moveTo>
                    <a:pt x="471" y="1227"/>
                  </a:moveTo>
                  <a:cubicBezTo>
                    <a:pt x="462" y="1227"/>
                    <a:pt x="452" y="1232"/>
                    <a:pt x="448" y="1237"/>
                  </a:cubicBezTo>
                  <a:cubicBezTo>
                    <a:pt x="445" y="1243"/>
                    <a:pt x="449" y="1247"/>
                    <a:pt x="458" y="1247"/>
                  </a:cubicBezTo>
                  <a:cubicBezTo>
                    <a:pt x="467" y="1247"/>
                    <a:pt x="477" y="1243"/>
                    <a:pt x="480" y="1237"/>
                  </a:cubicBezTo>
                  <a:cubicBezTo>
                    <a:pt x="484" y="1232"/>
                    <a:pt x="480" y="1227"/>
                    <a:pt x="471" y="1227"/>
                  </a:cubicBezTo>
                  <a:cubicBezTo>
                    <a:pt x="471" y="1227"/>
                    <a:pt x="471" y="1227"/>
                    <a:pt x="471" y="1227"/>
                  </a:cubicBezTo>
                  <a:moveTo>
                    <a:pt x="516" y="1227"/>
                  </a:moveTo>
                  <a:cubicBezTo>
                    <a:pt x="507" y="1227"/>
                    <a:pt x="497" y="1232"/>
                    <a:pt x="494" y="1237"/>
                  </a:cubicBezTo>
                  <a:cubicBezTo>
                    <a:pt x="490" y="1243"/>
                    <a:pt x="495" y="1247"/>
                    <a:pt x="503" y="1247"/>
                  </a:cubicBezTo>
                  <a:cubicBezTo>
                    <a:pt x="512" y="1247"/>
                    <a:pt x="522" y="1243"/>
                    <a:pt x="526" y="1237"/>
                  </a:cubicBezTo>
                  <a:cubicBezTo>
                    <a:pt x="529" y="1231"/>
                    <a:pt x="525" y="1227"/>
                    <a:pt x="516" y="1227"/>
                  </a:cubicBezTo>
                  <a:cubicBezTo>
                    <a:pt x="516" y="1227"/>
                    <a:pt x="516" y="1227"/>
                    <a:pt x="516" y="1227"/>
                  </a:cubicBezTo>
                  <a:moveTo>
                    <a:pt x="562" y="1227"/>
                  </a:moveTo>
                  <a:cubicBezTo>
                    <a:pt x="553" y="1227"/>
                    <a:pt x="543" y="1231"/>
                    <a:pt x="539" y="1237"/>
                  </a:cubicBezTo>
                  <a:cubicBezTo>
                    <a:pt x="536" y="1243"/>
                    <a:pt x="540" y="1247"/>
                    <a:pt x="549" y="1247"/>
                  </a:cubicBezTo>
                  <a:cubicBezTo>
                    <a:pt x="558" y="1247"/>
                    <a:pt x="568" y="1243"/>
                    <a:pt x="571" y="1237"/>
                  </a:cubicBezTo>
                  <a:cubicBezTo>
                    <a:pt x="575" y="1231"/>
                    <a:pt x="570" y="1227"/>
                    <a:pt x="562" y="1227"/>
                  </a:cubicBezTo>
                  <a:cubicBezTo>
                    <a:pt x="562" y="1227"/>
                    <a:pt x="562" y="1227"/>
                    <a:pt x="562" y="1227"/>
                  </a:cubicBezTo>
                  <a:moveTo>
                    <a:pt x="608" y="1227"/>
                  </a:moveTo>
                  <a:cubicBezTo>
                    <a:pt x="599" y="1227"/>
                    <a:pt x="589" y="1231"/>
                    <a:pt x="586" y="1237"/>
                  </a:cubicBezTo>
                  <a:cubicBezTo>
                    <a:pt x="582" y="1242"/>
                    <a:pt x="587" y="1247"/>
                    <a:pt x="595" y="1247"/>
                  </a:cubicBezTo>
                  <a:cubicBezTo>
                    <a:pt x="604" y="1247"/>
                    <a:pt x="614" y="1242"/>
                    <a:pt x="617" y="1237"/>
                  </a:cubicBezTo>
                  <a:cubicBezTo>
                    <a:pt x="621" y="1231"/>
                    <a:pt x="616" y="1227"/>
                    <a:pt x="608" y="1227"/>
                  </a:cubicBezTo>
                  <a:cubicBezTo>
                    <a:pt x="608" y="1227"/>
                    <a:pt x="608" y="1227"/>
                    <a:pt x="608" y="1227"/>
                  </a:cubicBezTo>
                  <a:moveTo>
                    <a:pt x="653" y="1227"/>
                  </a:moveTo>
                  <a:cubicBezTo>
                    <a:pt x="644" y="1227"/>
                    <a:pt x="634" y="1231"/>
                    <a:pt x="631" y="1237"/>
                  </a:cubicBezTo>
                  <a:cubicBezTo>
                    <a:pt x="628" y="1242"/>
                    <a:pt x="632" y="1247"/>
                    <a:pt x="641" y="1247"/>
                  </a:cubicBezTo>
                  <a:cubicBezTo>
                    <a:pt x="650" y="1247"/>
                    <a:pt x="659" y="1242"/>
                    <a:pt x="663" y="1237"/>
                  </a:cubicBezTo>
                  <a:cubicBezTo>
                    <a:pt x="666" y="1231"/>
                    <a:pt x="661" y="1227"/>
                    <a:pt x="653" y="1227"/>
                  </a:cubicBezTo>
                  <a:cubicBezTo>
                    <a:pt x="653" y="1227"/>
                    <a:pt x="653" y="1227"/>
                    <a:pt x="653" y="1227"/>
                  </a:cubicBezTo>
                  <a:moveTo>
                    <a:pt x="698" y="1226"/>
                  </a:moveTo>
                  <a:cubicBezTo>
                    <a:pt x="689" y="1226"/>
                    <a:pt x="680" y="1231"/>
                    <a:pt x="676" y="1237"/>
                  </a:cubicBezTo>
                  <a:cubicBezTo>
                    <a:pt x="673" y="1242"/>
                    <a:pt x="678" y="1247"/>
                    <a:pt x="687" y="1247"/>
                  </a:cubicBezTo>
                  <a:cubicBezTo>
                    <a:pt x="695" y="1247"/>
                    <a:pt x="705" y="1242"/>
                    <a:pt x="708" y="1237"/>
                  </a:cubicBezTo>
                  <a:cubicBezTo>
                    <a:pt x="711" y="1231"/>
                    <a:pt x="707" y="1226"/>
                    <a:pt x="698" y="1226"/>
                  </a:cubicBezTo>
                  <a:cubicBezTo>
                    <a:pt x="698" y="1226"/>
                    <a:pt x="698" y="1226"/>
                    <a:pt x="698" y="1226"/>
                  </a:cubicBezTo>
                  <a:moveTo>
                    <a:pt x="743" y="1226"/>
                  </a:moveTo>
                  <a:cubicBezTo>
                    <a:pt x="734" y="1226"/>
                    <a:pt x="725" y="1231"/>
                    <a:pt x="722" y="1237"/>
                  </a:cubicBezTo>
                  <a:cubicBezTo>
                    <a:pt x="719" y="1242"/>
                    <a:pt x="723" y="1247"/>
                    <a:pt x="732" y="1247"/>
                  </a:cubicBezTo>
                  <a:cubicBezTo>
                    <a:pt x="741" y="1247"/>
                    <a:pt x="750" y="1242"/>
                    <a:pt x="754" y="1236"/>
                  </a:cubicBezTo>
                  <a:cubicBezTo>
                    <a:pt x="757" y="1231"/>
                    <a:pt x="752" y="1226"/>
                    <a:pt x="743" y="1226"/>
                  </a:cubicBezTo>
                  <a:cubicBezTo>
                    <a:pt x="743" y="1226"/>
                    <a:pt x="743" y="1226"/>
                    <a:pt x="743" y="1226"/>
                  </a:cubicBezTo>
                  <a:moveTo>
                    <a:pt x="789" y="1226"/>
                  </a:moveTo>
                  <a:cubicBezTo>
                    <a:pt x="780" y="1226"/>
                    <a:pt x="770" y="1231"/>
                    <a:pt x="767" y="1236"/>
                  </a:cubicBezTo>
                  <a:cubicBezTo>
                    <a:pt x="764" y="1242"/>
                    <a:pt x="769" y="1247"/>
                    <a:pt x="778" y="1247"/>
                  </a:cubicBezTo>
                  <a:cubicBezTo>
                    <a:pt x="787" y="1247"/>
                    <a:pt x="796" y="1242"/>
                    <a:pt x="799" y="1236"/>
                  </a:cubicBezTo>
                  <a:cubicBezTo>
                    <a:pt x="802" y="1231"/>
                    <a:pt x="798" y="1226"/>
                    <a:pt x="789" y="1226"/>
                  </a:cubicBezTo>
                  <a:cubicBezTo>
                    <a:pt x="789" y="1226"/>
                    <a:pt x="789" y="1226"/>
                    <a:pt x="789" y="1226"/>
                  </a:cubicBezTo>
                  <a:moveTo>
                    <a:pt x="835" y="1226"/>
                  </a:moveTo>
                  <a:cubicBezTo>
                    <a:pt x="826" y="1226"/>
                    <a:pt x="816" y="1231"/>
                    <a:pt x="813" y="1236"/>
                  </a:cubicBezTo>
                  <a:cubicBezTo>
                    <a:pt x="810" y="1242"/>
                    <a:pt x="815" y="1246"/>
                    <a:pt x="824" y="1246"/>
                  </a:cubicBezTo>
                  <a:cubicBezTo>
                    <a:pt x="833" y="1246"/>
                    <a:pt x="842" y="1242"/>
                    <a:pt x="845" y="1236"/>
                  </a:cubicBezTo>
                  <a:cubicBezTo>
                    <a:pt x="848" y="1231"/>
                    <a:pt x="843" y="1226"/>
                    <a:pt x="835" y="1226"/>
                  </a:cubicBezTo>
                  <a:cubicBezTo>
                    <a:pt x="835" y="1226"/>
                    <a:pt x="835" y="1226"/>
                    <a:pt x="835" y="1226"/>
                  </a:cubicBezTo>
                  <a:moveTo>
                    <a:pt x="880" y="1226"/>
                  </a:moveTo>
                  <a:cubicBezTo>
                    <a:pt x="871" y="1226"/>
                    <a:pt x="862" y="1231"/>
                    <a:pt x="859" y="1236"/>
                  </a:cubicBezTo>
                  <a:cubicBezTo>
                    <a:pt x="856" y="1242"/>
                    <a:pt x="861" y="1246"/>
                    <a:pt x="869" y="1246"/>
                  </a:cubicBezTo>
                  <a:cubicBezTo>
                    <a:pt x="878" y="1246"/>
                    <a:pt x="888" y="1242"/>
                    <a:pt x="891" y="1236"/>
                  </a:cubicBezTo>
                  <a:cubicBezTo>
                    <a:pt x="893" y="1231"/>
                    <a:pt x="889" y="1226"/>
                    <a:pt x="880" y="1226"/>
                  </a:cubicBezTo>
                  <a:cubicBezTo>
                    <a:pt x="880" y="1226"/>
                    <a:pt x="880" y="1226"/>
                    <a:pt x="880" y="1226"/>
                  </a:cubicBezTo>
                  <a:moveTo>
                    <a:pt x="925" y="1226"/>
                  </a:moveTo>
                  <a:cubicBezTo>
                    <a:pt x="916" y="1226"/>
                    <a:pt x="907" y="1230"/>
                    <a:pt x="904" y="1236"/>
                  </a:cubicBezTo>
                  <a:cubicBezTo>
                    <a:pt x="901" y="1242"/>
                    <a:pt x="906" y="1246"/>
                    <a:pt x="915" y="1246"/>
                  </a:cubicBezTo>
                  <a:cubicBezTo>
                    <a:pt x="924" y="1246"/>
                    <a:pt x="933" y="1242"/>
                    <a:pt x="936" y="1236"/>
                  </a:cubicBezTo>
                  <a:cubicBezTo>
                    <a:pt x="939" y="1230"/>
                    <a:pt x="934" y="1226"/>
                    <a:pt x="925" y="1226"/>
                  </a:cubicBezTo>
                  <a:cubicBezTo>
                    <a:pt x="925" y="1226"/>
                    <a:pt x="925" y="1226"/>
                    <a:pt x="925" y="1226"/>
                  </a:cubicBezTo>
                  <a:moveTo>
                    <a:pt x="970" y="1226"/>
                  </a:moveTo>
                  <a:cubicBezTo>
                    <a:pt x="962" y="1226"/>
                    <a:pt x="952" y="1230"/>
                    <a:pt x="950" y="1236"/>
                  </a:cubicBezTo>
                  <a:cubicBezTo>
                    <a:pt x="947" y="1242"/>
                    <a:pt x="952" y="1246"/>
                    <a:pt x="961" y="1246"/>
                  </a:cubicBezTo>
                  <a:cubicBezTo>
                    <a:pt x="969" y="1246"/>
                    <a:pt x="979" y="1241"/>
                    <a:pt x="981" y="1236"/>
                  </a:cubicBezTo>
                  <a:cubicBezTo>
                    <a:pt x="984" y="1230"/>
                    <a:pt x="979" y="1226"/>
                    <a:pt x="970" y="1226"/>
                  </a:cubicBezTo>
                  <a:cubicBezTo>
                    <a:pt x="970" y="1226"/>
                    <a:pt x="970" y="1226"/>
                    <a:pt x="970" y="1226"/>
                  </a:cubicBezTo>
                  <a:moveTo>
                    <a:pt x="1016" y="1226"/>
                  </a:moveTo>
                  <a:cubicBezTo>
                    <a:pt x="1007" y="1226"/>
                    <a:pt x="998" y="1230"/>
                    <a:pt x="995" y="1236"/>
                  </a:cubicBezTo>
                  <a:cubicBezTo>
                    <a:pt x="993" y="1241"/>
                    <a:pt x="998" y="1246"/>
                    <a:pt x="1006" y="1246"/>
                  </a:cubicBezTo>
                  <a:cubicBezTo>
                    <a:pt x="1015" y="1246"/>
                    <a:pt x="1025" y="1241"/>
                    <a:pt x="1027" y="1236"/>
                  </a:cubicBezTo>
                  <a:cubicBezTo>
                    <a:pt x="1030" y="1230"/>
                    <a:pt x="1025" y="1226"/>
                    <a:pt x="1016" y="1226"/>
                  </a:cubicBezTo>
                  <a:cubicBezTo>
                    <a:pt x="1016" y="1226"/>
                    <a:pt x="1016" y="1226"/>
                    <a:pt x="1016" y="1226"/>
                  </a:cubicBezTo>
                  <a:moveTo>
                    <a:pt x="1062" y="1226"/>
                  </a:moveTo>
                  <a:cubicBezTo>
                    <a:pt x="1053" y="1226"/>
                    <a:pt x="1044" y="1230"/>
                    <a:pt x="1041" y="1236"/>
                  </a:cubicBezTo>
                  <a:cubicBezTo>
                    <a:pt x="1039" y="1241"/>
                    <a:pt x="1044" y="1246"/>
                    <a:pt x="1053" y="1246"/>
                  </a:cubicBezTo>
                  <a:cubicBezTo>
                    <a:pt x="1061" y="1246"/>
                    <a:pt x="1071" y="1241"/>
                    <a:pt x="1073" y="1236"/>
                  </a:cubicBezTo>
                  <a:cubicBezTo>
                    <a:pt x="1076" y="1230"/>
                    <a:pt x="1071" y="1226"/>
                    <a:pt x="1062" y="1226"/>
                  </a:cubicBezTo>
                  <a:cubicBezTo>
                    <a:pt x="1062" y="1226"/>
                    <a:pt x="1062" y="1226"/>
                    <a:pt x="1062" y="1226"/>
                  </a:cubicBezTo>
                  <a:moveTo>
                    <a:pt x="1103" y="1225"/>
                  </a:moveTo>
                  <a:cubicBezTo>
                    <a:pt x="1094" y="1225"/>
                    <a:pt x="1085" y="1230"/>
                    <a:pt x="1082" y="1236"/>
                  </a:cubicBezTo>
                  <a:cubicBezTo>
                    <a:pt x="1080" y="1241"/>
                    <a:pt x="1085" y="1246"/>
                    <a:pt x="1094" y="1246"/>
                  </a:cubicBezTo>
                  <a:cubicBezTo>
                    <a:pt x="1103" y="1246"/>
                    <a:pt x="1112" y="1241"/>
                    <a:pt x="1114" y="1236"/>
                  </a:cubicBezTo>
                  <a:cubicBezTo>
                    <a:pt x="1117" y="1230"/>
                    <a:pt x="1112" y="1225"/>
                    <a:pt x="1103" y="1225"/>
                  </a:cubicBezTo>
                  <a:cubicBezTo>
                    <a:pt x="1103" y="1225"/>
                    <a:pt x="1103" y="1225"/>
                    <a:pt x="1103" y="1225"/>
                  </a:cubicBezTo>
                  <a:moveTo>
                    <a:pt x="1152" y="1225"/>
                  </a:moveTo>
                  <a:cubicBezTo>
                    <a:pt x="1143" y="1225"/>
                    <a:pt x="1134" y="1230"/>
                    <a:pt x="1132" y="1235"/>
                  </a:cubicBezTo>
                  <a:cubicBezTo>
                    <a:pt x="1130" y="1241"/>
                    <a:pt x="1135" y="1246"/>
                    <a:pt x="1144" y="1246"/>
                  </a:cubicBezTo>
                  <a:cubicBezTo>
                    <a:pt x="1152" y="1246"/>
                    <a:pt x="1161" y="1241"/>
                    <a:pt x="1164" y="1235"/>
                  </a:cubicBezTo>
                  <a:cubicBezTo>
                    <a:pt x="1166" y="1230"/>
                    <a:pt x="1161" y="1225"/>
                    <a:pt x="1152" y="1225"/>
                  </a:cubicBezTo>
                  <a:cubicBezTo>
                    <a:pt x="1152" y="1225"/>
                    <a:pt x="1152" y="1225"/>
                    <a:pt x="1152" y="1225"/>
                  </a:cubicBezTo>
                  <a:moveTo>
                    <a:pt x="2195" y="1224"/>
                  </a:moveTo>
                  <a:cubicBezTo>
                    <a:pt x="2186" y="1224"/>
                    <a:pt x="2178" y="1229"/>
                    <a:pt x="2178" y="1234"/>
                  </a:cubicBezTo>
                  <a:cubicBezTo>
                    <a:pt x="2177" y="1240"/>
                    <a:pt x="2184" y="1244"/>
                    <a:pt x="2193" y="1244"/>
                  </a:cubicBezTo>
                  <a:cubicBezTo>
                    <a:pt x="2202" y="1244"/>
                    <a:pt x="2209" y="1240"/>
                    <a:pt x="2210" y="1234"/>
                  </a:cubicBezTo>
                  <a:cubicBezTo>
                    <a:pt x="2210" y="1228"/>
                    <a:pt x="2204" y="1224"/>
                    <a:pt x="2195" y="1224"/>
                  </a:cubicBezTo>
                  <a:cubicBezTo>
                    <a:pt x="2195" y="1224"/>
                    <a:pt x="2195" y="1224"/>
                    <a:pt x="2195" y="1224"/>
                  </a:cubicBezTo>
                  <a:moveTo>
                    <a:pt x="2240" y="1224"/>
                  </a:moveTo>
                  <a:cubicBezTo>
                    <a:pt x="2231" y="1224"/>
                    <a:pt x="2224" y="1228"/>
                    <a:pt x="2223" y="1234"/>
                  </a:cubicBezTo>
                  <a:cubicBezTo>
                    <a:pt x="2223" y="1240"/>
                    <a:pt x="2230" y="1244"/>
                    <a:pt x="2238" y="1244"/>
                  </a:cubicBezTo>
                  <a:cubicBezTo>
                    <a:pt x="2247" y="1244"/>
                    <a:pt x="2255" y="1240"/>
                    <a:pt x="2255" y="1234"/>
                  </a:cubicBezTo>
                  <a:cubicBezTo>
                    <a:pt x="2255" y="1228"/>
                    <a:pt x="2249" y="1224"/>
                    <a:pt x="2240" y="1224"/>
                  </a:cubicBezTo>
                  <a:cubicBezTo>
                    <a:pt x="2240" y="1224"/>
                    <a:pt x="2240" y="1224"/>
                    <a:pt x="2240" y="1224"/>
                  </a:cubicBezTo>
                  <a:moveTo>
                    <a:pt x="2285" y="1224"/>
                  </a:moveTo>
                  <a:cubicBezTo>
                    <a:pt x="2277" y="1224"/>
                    <a:pt x="2269" y="1228"/>
                    <a:pt x="2269" y="1234"/>
                  </a:cubicBezTo>
                  <a:cubicBezTo>
                    <a:pt x="2268" y="1240"/>
                    <a:pt x="2275" y="1244"/>
                    <a:pt x="2284" y="1244"/>
                  </a:cubicBezTo>
                  <a:cubicBezTo>
                    <a:pt x="2293" y="1244"/>
                    <a:pt x="2300" y="1240"/>
                    <a:pt x="2301" y="1234"/>
                  </a:cubicBezTo>
                  <a:cubicBezTo>
                    <a:pt x="2301" y="1228"/>
                    <a:pt x="2294" y="1224"/>
                    <a:pt x="2285" y="1224"/>
                  </a:cubicBezTo>
                  <a:cubicBezTo>
                    <a:pt x="2285" y="1224"/>
                    <a:pt x="2285" y="1224"/>
                    <a:pt x="2285" y="1224"/>
                  </a:cubicBezTo>
                  <a:moveTo>
                    <a:pt x="2330" y="1224"/>
                  </a:moveTo>
                  <a:cubicBezTo>
                    <a:pt x="2321" y="1224"/>
                    <a:pt x="2314" y="1228"/>
                    <a:pt x="2314" y="1234"/>
                  </a:cubicBezTo>
                  <a:cubicBezTo>
                    <a:pt x="2313" y="1239"/>
                    <a:pt x="2320" y="1244"/>
                    <a:pt x="2329" y="1244"/>
                  </a:cubicBezTo>
                  <a:cubicBezTo>
                    <a:pt x="2338" y="1244"/>
                    <a:pt x="2345" y="1239"/>
                    <a:pt x="2346" y="1234"/>
                  </a:cubicBezTo>
                  <a:cubicBezTo>
                    <a:pt x="2346" y="1228"/>
                    <a:pt x="2339" y="1224"/>
                    <a:pt x="2330" y="1224"/>
                  </a:cubicBezTo>
                  <a:cubicBezTo>
                    <a:pt x="2330" y="1224"/>
                    <a:pt x="2330" y="1224"/>
                    <a:pt x="2330" y="1224"/>
                  </a:cubicBezTo>
                  <a:moveTo>
                    <a:pt x="2375" y="1223"/>
                  </a:moveTo>
                  <a:cubicBezTo>
                    <a:pt x="2366" y="1223"/>
                    <a:pt x="2359" y="1228"/>
                    <a:pt x="2359" y="1234"/>
                  </a:cubicBezTo>
                  <a:cubicBezTo>
                    <a:pt x="2359" y="1239"/>
                    <a:pt x="2366" y="1244"/>
                    <a:pt x="2375" y="1244"/>
                  </a:cubicBezTo>
                  <a:cubicBezTo>
                    <a:pt x="2383" y="1244"/>
                    <a:pt x="2391" y="1239"/>
                    <a:pt x="2391" y="1234"/>
                  </a:cubicBezTo>
                  <a:cubicBezTo>
                    <a:pt x="2391" y="1228"/>
                    <a:pt x="2384" y="1223"/>
                    <a:pt x="2375" y="1223"/>
                  </a:cubicBezTo>
                  <a:cubicBezTo>
                    <a:pt x="2375" y="1223"/>
                    <a:pt x="2375" y="1223"/>
                    <a:pt x="2375" y="1223"/>
                  </a:cubicBezTo>
                  <a:moveTo>
                    <a:pt x="2421" y="1223"/>
                  </a:moveTo>
                  <a:cubicBezTo>
                    <a:pt x="2412" y="1223"/>
                    <a:pt x="2405" y="1228"/>
                    <a:pt x="2405" y="1234"/>
                  </a:cubicBezTo>
                  <a:cubicBezTo>
                    <a:pt x="2405" y="1239"/>
                    <a:pt x="2412" y="1244"/>
                    <a:pt x="2420" y="1244"/>
                  </a:cubicBezTo>
                  <a:cubicBezTo>
                    <a:pt x="2429" y="1244"/>
                    <a:pt x="2436" y="1239"/>
                    <a:pt x="2436" y="1234"/>
                  </a:cubicBezTo>
                  <a:cubicBezTo>
                    <a:pt x="2437" y="1228"/>
                    <a:pt x="2430" y="1223"/>
                    <a:pt x="2421" y="1223"/>
                  </a:cubicBezTo>
                  <a:cubicBezTo>
                    <a:pt x="2421" y="1223"/>
                    <a:pt x="2421" y="1223"/>
                    <a:pt x="2421" y="1223"/>
                  </a:cubicBezTo>
                  <a:moveTo>
                    <a:pt x="2468" y="1223"/>
                  </a:moveTo>
                  <a:cubicBezTo>
                    <a:pt x="2459" y="1223"/>
                    <a:pt x="2452" y="1228"/>
                    <a:pt x="2452" y="1233"/>
                  </a:cubicBezTo>
                  <a:cubicBezTo>
                    <a:pt x="2452" y="1239"/>
                    <a:pt x="2459" y="1244"/>
                    <a:pt x="2468" y="1244"/>
                  </a:cubicBezTo>
                  <a:cubicBezTo>
                    <a:pt x="2476" y="1244"/>
                    <a:pt x="2484" y="1239"/>
                    <a:pt x="2483" y="1233"/>
                  </a:cubicBezTo>
                  <a:cubicBezTo>
                    <a:pt x="2483" y="1228"/>
                    <a:pt x="2476" y="1223"/>
                    <a:pt x="2468" y="1223"/>
                  </a:cubicBezTo>
                  <a:cubicBezTo>
                    <a:pt x="2468" y="1223"/>
                    <a:pt x="2468" y="1223"/>
                    <a:pt x="2468" y="1223"/>
                  </a:cubicBezTo>
                  <a:moveTo>
                    <a:pt x="2513" y="1223"/>
                  </a:moveTo>
                  <a:cubicBezTo>
                    <a:pt x="2504" y="1223"/>
                    <a:pt x="2497" y="1228"/>
                    <a:pt x="2497" y="1233"/>
                  </a:cubicBezTo>
                  <a:cubicBezTo>
                    <a:pt x="2497" y="1239"/>
                    <a:pt x="2504" y="1244"/>
                    <a:pt x="2513" y="1244"/>
                  </a:cubicBezTo>
                  <a:cubicBezTo>
                    <a:pt x="2522" y="1244"/>
                    <a:pt x="2529" y="1239"/>
                    <a:pt x="2529" y="1233"/>
                  </a:cubicBezTo>
                  <a:cubicBezTo>
                    <a:pt x="2529" y="1228"/>
                    <a:pt x="2521" y="1223"/>
                    <a:pt x="2513" y="1223"/>
                  </a:cubicBezTo>
                  <a:cubicBezTo>
                    <a:pt x="2513" y="1223"/>
                    <a:pt x="2513" y="1223"/>
                    <a:pt x="2513" y="1223"/>
                  </a:cubicBezTo>
                  <a:moveTo>
                    <a:pt x="2558" y="1223"/>
                  </a:moveTo>
                  <a:cubicBezTo>
                    <a:pt x="2549" y="1223"/>
                    <a:pt x="2542" y="1228"/>
                    <a:pt x="2542" y="1233"/>
                  </a:cubicBezTo>
                  <a:cubicBezTo>
                    <a:pt x="2543" y="1239"/>
                    <a:pt x="2550" y="1243"/>
                    <a:pt x="2559" y="1243"/>
                  </a:cubicBezTo>
                  <a:cubicBezTo>
                    <a:pt x="2568" y="1243"/>
                    <a:pt x="2575" y="1239"/>
                    <a:pt x="2574" y="1233"/>
                  </a:cubicBezTo>
                  <a:cubicBezTo>
                    <a:pt x="2574" y="1228"/>
                    <a:pt x="2567" y="1223"/>
                    <a:pt x="2558" y="1223"/>
                  </a:cubicBezTo>
                  <a:cubicBezTo>
                    <a:pt x="2558" y="1223"/>
                    <a:pt x="2558" y="1223"/>
                    <a:pt x="2558" y="1223"/>
                  </a:cubicBezTo>
                  <a:moveTo>
                    <a:pt x="2604" y="1223"/>
                  </a:moveTo>
                  <a:cubicBezTo>
                    <a:pt x="2595" y="1223"/>
                    <a:pt x="2588" y="1227"/>
                    <a:pt x="2589" y="1233"/>
                  </a:cubicBezTo>
                  <a:cubicBezTo>
                    <a:pt x="2589" y="1239"/>
                    <a:pt x="2596" y="1243"/>
                    <a:pt x="2605" y="1243"/>
                  </a:cubicBezTo>
                  <a:cubicBezTo>
                    <a:pt x="2614" y="1243"/>
                    <a:pt x="2621" y="1239"/>
                    <a:pt x="2620" y="1233"/>
                  </a:cubicBezTo>
                  <a:cubicBezTo>
                    <a:pt x="2620" y="1227"/>
                    <a:pt x="2613" y="1223"/>
                    <a:pt x="2604" y="1223"/>
                  </a:cubicBezTo>
                  <a:cubicBezTo>
                    <a:pt x="2604" y="1223"/>
                    <a:pt x="2604" y="1223"/>
                    <a:pt x="2604" y="1223"/>
                  </a:cubicBezTo>
                  <a:moveTo>
                    <a:pt x="2649" y="1223"/>
                  </a:moveTo>
                  <a:cubicBezTo>
                    <a:pt x="2640" y="1223"/>
                    <a:pt x="2633" y="1227"/>
                    <a:pt x="2634" y="1233"/>
                  </a:cubicBezTo>
                  <a:cubicBezTo>
                    <a:pt x="2634" y="1239"/>
                    <a:pt x="2641" y="1243"/>
                    <a:pt x="2650" y="1243"/>
                  </a:cubicBezTo>
                  <a:cubicBezTo>
                    <a:pt x="2659" y="1243"/>
                    <a:pt x="2666" y="1239"/>
                    <a:pt x="2666" y="1233"/>
                  </a:cubicBezTo>
                  <a:cubicBezTo>
                    <a:pt x="2665" y="1227"/>
                    <a:pt x="2658" y="1223"/>
                    <a:pt x="2649" y="1223"/>
                  </a:cubicBezTo>
                  <a:cubicBezTo>
                    <a:pt x="2649" y="1223"/>
                    <a:pt x="2649" y="1223"/>
                    <a:pt x="2649" y="1223"/>
                  </a:cubicBezTo>
                  <a:moveTo>
                    <a:pt x="2695" y="1223"/>
                  </a:moveTo>
                  <a:cubicBezTo>
                    <a:pt x="2686" y="1223"/>
                    <a:pt x="2679" y="1227"/>
                    <a:pt x="2680" y="1233"/>
                  </a:cubicBezTo>
                  <a:cubicBezTo>
                    <a:pt x="2680" y="1239"/>
                    <a:pt x="2688" y="1243"/>
                    <a:pt x="2696" y="1243"/>
                  </a:cubicBezTo>
                  <a:cubicBezTo>
                    <a:pt x="2705" y="1243"/>
                    <a:pt x="2712" y="1238"/>
                    <a:pt x="2712" y="1233"/>
                  </a:cubicBezTo>
                  <a:cubicBezTo>
                    <a:pt x="2711" y="1227"/>
                    <a:pt x="2704" y="1223"/>
                    <a:pt x="2695" y="1223"/>
                  </a:cubicBezTo>
                  <a:cubicBezTo>
                    <a:pt x="2695" y="1223"/>
                    <a:pt x="2695" y="1223"/>
                    <a:pt x="2695" y="1223"/>
                  </a:cubicBezTo>
                  <a:moveTo>
                    <a:pt x="4145" y="1219"/>
                  </a:moveTo>
                  <a:cubicBezTo>
                    <a:pt x="4137" y="1219"/>
                    <a:pt x="4132" y="1223"/>
                    <a:pt x="4135" y="1229"/>
                  </a:cubicBezTo>
                  <a:cubicBezTo>
                    <a:pt x="4138" y="1235"/>
                    <a:pt x="4148" y="1239"/>
                    <a:pt x="4156" y="1239"/>
                  </a:cubicBezTo>
                  <a:cubicBezTo>
                    <a:pt x="4165" y="1239"/>
                    <a:pt x="4170" y="1235"/>
                    <a:pt x="4167" y="1229"/>
                  </a:cubicBezTo>
                  <a:cubicBezTo>
                    <a:pt x="4164" y="1223"/>
                    <a:pt x="4154" y="1219"/>
                    <a:pt x="4145" y="1219"/>
                  </a:cubicBezTo>
                  <a:cubicBezTo>
                    <a:pt x="4145" y="1219"/>
                    <a:pt x="4145" y="1219"/>
                    <a:pt x="4145" y="1219"/>
                  </a:cubicBezTo>
                  <a:moveTo>
                    <a:pt x="4825" y="1215"/>
                  </a:moveTo>
                  <a:cubicBezTo>
                    <a:pt x="4816" y="1215"/>
                    <a:pt x="4813" y="1220"/>
                    <a:pt x="4817" y="1225"/>
                  </a:cubicBezTo>
                  <a:cubicBezTo>
                    <a:pt x="4821" y="1231"/>
                    <a:pt x="4832" y="1236"/>
                    <a:pt x="4840" y="1236"/>
                  </a:cubicBezTo>
                  <a:cubicBezTo>
                    <a:pt x="4849" y="1236"/>
                    <a:pt x="4853" y="1231"/>
                    <a:pt x="4849" y="1225"/>
                  </a:cubicBezTo>
                  <a:cubicBezTo>
                    <a:pt x="4844" y="1220"/>
                    <a:pt x="4834" y="1215"/>
                    <a:pt x="4825" y="1215"/>
                  </a:cubicBezTo>
                  <a:cubicBezTo>
                    <a:pt x="4825" y="1215"/>
                    <a:pt x="4825" y="1215"/>
                    <a:pt x="4825" y="1215"/>
                  </a:cubicBezTo>
                  <a:moveTo>
                    <a:pt x="4869" y="1215"/>
                  </a:moveTo>
                  <a:cubicBezTo>
                    <a:pt x="4860" y="1215"/>
                    <a:pt x="4857" y="1220"/>
                    <a:pt x="4861" y="1225"/>
                  </a:cubicBezTo>
                  <a:cubicBezTo>
                    <a:pt x="4865" y="1231"/>
                    <a:pt x="4876" y="1236"/>
                    <a:pt x="4885" y="1236"/>
                  </a:cubicBezTo>
                  <a:cubicBezTo>
                    <a:pt x="4894" y="1236"/>
                    <a:pt x="4897" y="1231"/>
                    <a:pt x="4893" y="1225"/>
                  </a:cubicBezTo>
                  <a:cubicBezTo>
                    <a:pt x="4888" y="1220"/>
                    <a:pt x="4878" y="1215"/>
                    <a:pt x="4869" y="1215"/>
                  </a:cubicBezTo>
                  <a:cubicBezTo>
                    <a:pt x="4869" y="1215"/>
                    <a:pt x="4869" y="1215"/>
                    <a:pt x="4869" y="1215"/>
                  </a:cubicBezTo>
                  <a:moveTo>
                    <a:pt x="4914" y="1215"/>
                  </a:moveTo>
                  <a:cubicBezTo>
                    <a:pt x="4906" y="1215"/>
                    <a:pt x="4902" y="1220"/>
                    <a:pt x="4907" y="1225"/>
                  </a:cubicBezTo>
                  <a:cubicBezTo>
                    <a:pt x="4911" y="1231"/>
                    <a:pt x="4922" y="1236"/>
                    <a:pt x="4930" y="1236"/>
                  </a:cubicBezTo>
                  <a:cubicBezTo>
                    <a:pt x="4939" y="1235"/>
                    <a:pt x="4943" y="1231"/>
                    <a:pt x="4938" y="1225"/>
                  </a:cubicBezTo>
                  <a:cubicBezTo>
                    <a:pt x="4934" y="1219"/>
                    <a:pt x="4923" y="1215"/>
                    <a:pt x="4915" y="1215"/>
                  </a:cubicBezTo>
                  <a:cubicBezTo>
                    <a:pt x="4914" y="1215"/>
                    <a:pt x="4914" y="1215"/>
                    <a:pt x="4914" y="1215"/>
                  </a:cubicBezTo>
                  <a:moveTo>
                    <a:pt x="4960" y="1215"/>
                  </a:moveTo>
                  <a:cubicBezTo>
                    <a:pt x="4952" y="1215"/>
                    <a:pt x="4948" y="1219"/>
                    <a:pt x="4953" y="1225"/>
                  </a:cubicBezTo>
                  <a:cubicBezTo>
                    <a:pt x="4957" y="1231"/>
                    <a:pt x="4968" y="1235"/>
                    <a:pt x="4977" y="1235"/>
                  </a:cubicBezTo>
                  <a:cubicBezTo>
                    <a:pt x="4986" y="1235"/>
                    <a:pt x="4989" y="1231"/>
                    <a:pt x="4984" y="1225"/>
                  </a:cubicBezTo>
                  <a:cubicBezTo>
                    <a:pt x="4980" y="1219"/>
                    <a:pt x="4969" y="1215"/>
                    <a:pt x="4960" y="1215"/>
                  </a:cubicBezTo>
                  <a:cubicBezTo>
                    <a:pt x="4960" y="1215"/>
                    <a:pt x="4960" y="1215"/>
                    <a:pt x="4960" y="1215"/>
                  </a:cubicBezTo>
                  <a:moveTo>
                    <a:pt x="264" y="1198"/>
                  </a:moveTo>
                  <a:cubicBezTo>
                    <a:pt x="255" y="1198"/>
                    <a:pt x="245" y="1203"/>
                    <a:pt x="241" y="1209"/>
                  </a:cubicBezTo>
                  <a:cubicBezTo>
                    <a:pt x="237" y="1214"/>
                    <a:pt x="240" y="1219"/>
                    <a:pt x="249" y="1219"/>
                  </a:cubicBezTo>
                  <a:cubicBezTo>
                    <a:pt x="258" y="1219"/>
                    <a:pt x="268" y="1214"/>
                    <a:pt x="272" y="1208"/>
                  </a:cubicBezTo>
                  <a:cubicBezTo>
                    <a:pt x="276" y="1203"/>
                    <a:pt x="272" y="1198"/>
                    <a:pt x="264" y="1198"/>
                  </a:cubicBezTo>
                  <a:cubicBezTo>
                    <a:pt x="264" y="1198"/>
                    <a:pt x="264" y="1198"/>
                    <a:pt x="264" y="1198"/>
                  </a:cubicBezTo>
                  <a:moveTo>
                    <a:pt x="308" y="1198"/>
                  </a:moveTo>
                  <a:cubicBezTo>
                    <a:pt x="300" y="1198"/>
                    <a:pt x="289" y="1203"/>
                    <a:pt x="285" y="1208"/>
                  </a:cubicBezTo>
                  <a:cubicBezTo>
                    <a:pt x="282" y="1214"/>
                    <a:pt x="285" y="1218"/>
                    <a:pt x="294" y="1218"/>
                  </a:cubicBezTo>
                  <a:cubicBezTo>
                    <a:pt x="303" y="1218"/>
                    <a:pt x="313" y="1214"/>
                    <a:pt x="317" y="1208"/>
                  </a:cubicBezTo>
                  <a:cubicBezTo>
                    <a:pt x="321" y="1203"/>
                    <a:pt x="317" y="1198"/>
                    <a:pt x="308" y="1198"/>
                  </a:cubicBezTo>
                  <a:cubicBezTo>
                    <a:pt x="308" y="1198"/>
                    <a:pt x="308" y="1198"/>
                    <a:pt x="308" y="1198"/>
                  </a:cubicBezTo>
                  <a:moveTo>
                    <a:pt x="353" y="1198"/>
                  </a:moveTo>
                  <a:cubicBezTo>
                    <a:pt x="345" y="1198"/>
                    <a:pt x="334" y="1203"/>
                    <a:pt x="331" y="1208"/>
                  </a:cubicBezTo>
                  <a:cubicBezTo>
                    <a:pt x="327" y="1214"/>
                    <a:pt x="331" y="1218"/>
                    <a:pt x="339" y="1218"/>
                  </a:cubicBezTo>
                  <a:cubicBezTo>
                    <a:pt x="348" y="1218"/>
                    <a:pt x="358" y="1214"/>
                    <a:pt x="362" y="1208"/>
                  </a:cubicBezTo>
                  <a:cubicBezTo>
                    <a:pt x="366" y="1203"/>
                    <a:pt x="362" y="1198"/>
                    <a:pt x="353" y="1198"/>
                  </a:cubicBezTo>
                  <a:cubicBezTo>
                    <a:pt x="353" y="1198"/>
                    <a:pt x="353" y="1198"/>
                    <a:pt x="353" y="1198"/>
                  </a:cubicBezTo>
                  <a:moveTo>
                    <a:pt x="398" y="1198"/>
                  </a:moveTo>
                  <a:cubicBezTo>
                    <a:pt x="389" y="1198"/>
                    <a:pt x="379" y="1203"/>
                    <a:pt x="375" y="1208"/>
                  </a:cubicBezTo>
                  <a:cubicBezTo>
                    <a:pt x="372" y="1214"/>
                    <a:pt x="376" y="1218"/>
                    <a:pt x="385" y="1218"/>
                  </a:cubicBezTo>
                  <a:cubicBezTo>
                    <a:pt x="393" y="1218"/>
                    <a:pt x="403" y="1214"/>
                    <a:pt x="407" y="1208"/>
                  </a:cubicBezTo>
                  <a:cubicBezTo>
                    <a:pt x="411" y="1202"/>
                    <a:pt x="407" y="1198"/>
                    <a:pt x="398" y="1198"/>
                  </a:cubicBezTo>
                  <a:cubicBezTo>
                    <a:pt x="398" y="1198"/>
                    <a:pt x="398" y="1198"/>
                    <a:pt x="398" y="1198"/>
                  </a:cubicBezTo>
                  <a:moveTo>
                    <a:pt x="443" y="1198"/>
                  </a:moveTo>
                  <a:cubicBezTo>
                    <a:pt x="434" y="1198"/>
                    <a:pt x="424" y="1202"/>
                    <a:pt x="421" y="1208"/>
                  </a:cubicBezTo>
                  <a:cubicBezTo>
                    <a:pt x="417" y="1214"/>
                    <a:pt x="421" y="1218"/>
                    <a:pt x="430" y="1218"/>
                  </a:cubicBezTo>
                  <a:cubicBezTo>
                    <a:pt x="439" y="1218"/>
                    <a:pt x="449" y="1214"/>
                    <a:pt x="452" y="1208"/>
                  </a:cubicBezTo>
                  <a:cubicBezTo>
                    <a:pt x="456" y="1202"/>
                    <a:pt x="452" y="1198"/>
                    <a:pt x="443" y="1198"/>
                  </a:cubicBezTo>
                  <a:cubicBezTo>
                    <a:pt x="443" y="1198"/>
                    <a:pt x="443" y="1198"/>
                    <a:pt x="443" y="1198"/>
                  </a:cubicBezTo>
                  <a:moveTo>
                    <a:pt x="490" y="1198"/>
                  </a:moveTo>
                  <a:cubicBezTo>
                    <a:pt x="481" y="1198"/>
                    <a:pt x="471" y="1202"/>
                    <a:pt x="467" y="1208"/>
                  </a:cubicBezTo>
                  <a:cubicBezTo>
                    <a:pt x="464" y="1214"/>
                    <a:pt x="468" y="1218"/>
                    <a:pt x="477" y="1218"/>
                  </a:cubicBezTo>
                  <a:cubicBezTo>
                    <a:pt x="485" y="1218"/>
                    <a:pt x="495" y="1213"/>
                    <a:pt x="499" y="1208"/>
                  </a:cubicBezTo>
                  <a:cubicBezTo>
                    <a:pt x="502" y="1202"/>
                    <a:pt x="498" y="1198"/>
                    <a:pt x="490" y="1198"/>
                  </a:cubicBezTo>
                  <a:cubicBezTo>
                    <a:pt x="490" y="1198"/>
                    <a:pt x="490" y="1198"/>
                    <a:pt x="490" y="1198"/>
                  </a:cubicBezTo>
                  <a:moveTo>
                    <a:pt x="534" y="1198"/>
                  </a:moveTo>
                  <a:cubicBezTo>
                    <a:pt x="526" y="1198"/>
                    <a:pt x="516" y="1202"/>
                    <a:pt x="512" y="1208"/>
                  </a:cubicBezTo>
                  <a:cubicBezTo>
                    <a:pt x="509" y="1213"/>
                    <a:pt x="513" y="1218"/>
                    <a:pt x="522" y="1218"/>
                  </a:cubicBezTo>
                  <a:cubicBezTo>
                    <a:pt x="530" y="1218"/>
                    <a:pt x="540" y="1213"/>
                    <a:pt x="544" y="1208"/>
                  </a:cubicBezTo>
                  <a:cubicBezTo>
                    <a:pt x="547" y="1202"/>
                    <a:pt x="543" y="1198"/>
                    <a:pt x="534" y="1198"/>
                  </a:cubicBezTo>
                  <a:cubicBezTo>
                    <a:pt x="534" y="1198"/>
                    <a:pt x="534" y="1198"/>
                    <a:pt x="534" y="1198"/>
                  </a:cubicBezTo>
                  <a:moveTo>
                    <a:pt x="579" y="1197"/>
                  </a:moveTo>
                  <a:cubicBezTo>
                    <a:pt x="571" y="1197"/>
                    <a:pt x="561" y="1202"/>
                    <a:pt x="557" y="1208"/>
                  </a:cubicBezTo>
                  <a:cubicBezTo>
                    <a:pt x="554" y="1213"/>
                    <a:pt x="558" y="1218"/>
                    <a:pt x="567" y="1218"/>
                  </a:cubicBezTo>
                  <a:cubicBezTo>
                    <a:pt x="576" y="1218"/>
                    <a:pt x="586" y="1213"/>
                    <a:pt x="589" y="1208"/>
                  </a:cubicBezTo>
                  <a:cubicBezTo>
                    <a:pt x="592" y="1202"/>
                    <a:pt x="588" y="1197"/>
                    <a:pt x="579" y="1197"/>
                  </a:cubicBezTo>
                  <a:cubicBezTo>
                    <a:pt x="579" y="1197"/>
                    <a:pt x="579" y="1197"/>
                    <a:pt x="579" y="1197"/>
                  </a:cubicBezTo>
                  <a:moveTo>
                    <a:pt x="625" y="1197"/>
                  </a:moveTo>
                  <a:cubicBezTo>
                    <a:pt x="616" y="1197"/>
                    <a:pt x="606" y="1202"/>
                    <a:pt x="603" y="1208"/>
                  </a:cubicBezTo>
                  <a:cubicBezTo>
                    <a:pt x="600" y="1213"/>
                    <a:pt x="604" y="1218"/>
                    <a:pt x="613" y="1218"/>
                  </a:cubicBezTo>
                  <a:cubicBezTo>
                    <a:pt x="622" y="1218"/>
                    <a:pt x="631" y="1213"/>
                    <a:pt x="635" y="1207"/>
                  </a:cubicBezTo>
                  <a:cubicBezTo>
                    <a:pt x="638" y="1202"/>
                    <a:pt x="634" y="1197"/>
                    <a:pt x="625" y="1197"/>
                  </a:cubicBezTo>
                  <a:cubicBezTo>
                    <a:pt x="625" y="1197"/>
                    <a:pt x="625" y="1197"/>
                    <a:pt x="625" y="1197"/>
                  </a:cubicBezTo>
                  <a:moveTo>
                    <a:pt x="670" y="1197"/>
                  </a:moveTo>
                  <a:cubicBezTo>
                    <a:pt x="661" y="1197"/>
                    <a:pt x="651" y="1202"/>
                    <a:pt x="648" y="1207"/>
                  </a:cubicBezTo>
                  <a:cubicBezTo>
                    <a:pt x="645" y="1213"/>
                    <a:pt x="649" y="1218"/>
                    <a:pt x="658" y="1218"/>
                  </a:cubicBezTo>
                  <a:cubicBezTo>
                    <a:pt x="667" y="1218"/>
                    <a:pt x="676" y="1213"/>
                    <a:pt x="680" y="1207"/>
                  </a:cubicBezTo>
                  <a:cubicBezTo>
                    <a:pt x="683" y="1202"/>
                    <a:pt x="678" y="1197"/>
                    <a:pt x="670" y="1197"/>
                  </a:cubicBezTo>
                  <a:cubicBezTo>
                    <a:pt x="670" y="1197"/>
                    <a:pt x="670" y="1197"/>
                    <a:pt x="670" y="1197"/>
                  </a:cubicBezTo>
                  <a:moveTo>
                    <a:pt x="715" y="1197"/>
                  </a:moveTo>
                  <a:cubicBezTo>
                    <a:pt x="706" y="1197"/>
                    <a:pt x="696" y="1202"/>
                    <a:pt x="693" y="1207"/>
                  </a:cubicBezTo>
                  <a:cubicBezTo>
                    <a:pt x="690" y="1213"/>
                    <a:pt x="694" y="1217"/>
                    <a:pt x="703" y="1217"/>
                  </a:cubicBezTo>
                  <a:cubicBezTo>
                    <a:pt x="712" y="1217"/>
                    <a:pt x="722" y="1213"/>
                    <a:pt x="725" y="1207"/>
                  </a:cubicBezTo>
                  <a:cubicBezTo>
                    <a:pt x="728" y="1202"/>
                    <a:pt x="723" y="1197"/>
                    <a:pt x="715" y="1197"/>
                  </a:cubicBezTo>
                  <a:cubicBezTo>
                    <a:pt x="715" y="1197"/>
                    <a:pt x="715" y="1197"/>
                    <a:pt x="715" y="1197"/>
                  </a:cubicBezTo>
                  <a:moveTo>
                    <a:pt x="759" y="1197"/>
                  </a:moveTo>
                  <a:cubicBezTo>
                    <a:pt x="751" y="1197"/>
                    <a:pt x="741" y="1202"/>
                    <a:pt x="738" y="1207"/>
                  </a:cubicBezTo>
                  <a:cubicBezTo>
                    <a:pt x="735" y="1213"/>
                    <a:pt x="739" y="1217"/>
                    <a:pt x="748" y="1217"/>
                  </a:cubicBezTo>
                  <a:cubicBezTo>
                    <a:pt x="757" y="1217"/>
                    <a:pt x="767" y="1213"/>
                    <a:pt x="770" y="1207"/>
                  </a:cubicBezTo>
                  <a:cubicBezTo>
                    <a:pt x="773" y="1202"/>
                    <a:pt x="768" y="1197"/>
                    <a:pt x="759" y="1197"/>
                  </a:cubicBezTo>
                  <a:cubicBezTo>
                    <a:pt x="759" y="1197"/>
                    <a:pt x="759" y="1197"/>
                    <a:pt x="759" y="1197"/>
                  </a:cubicBezTo>
                  <a:moveTo>
                    <a:pt x="804" y="1197"/>
                  </a:moveTo>
                  <a:cubicBezTo>
                    <a:pt x="796" y="1197"/>
                    <a:pt x="786" y="1201"/>
                    <a:pt x="783" y="1207"/>
                  </a:cubicBezTo>
                  <a:cubicBezTo>
                    <a:pt x="780" y="1213"/>
                    <a:pt x="785" y="1217"/>
                    <a:pt x="794" y="1217"/>
                  </a:cubicBezTo>
                  <a:cubicBezTo>
                    <a:pt x="802" y="1217"/>
                    <a:pt x="812" y="1213"/>
                    <a:pt x="815" y="1207"/>
                  </a:cubicBezTo>
                  <a:cubicBezTo>
                    <a:pt x="818" y="1201"/>
                    <a:pt x="813" y="1197"/>
                    <a:pt x="805" y="1197"/>
                  </a:cubicBezTo>
                  <a:cubicBezTo>
                    <a:pt x="804" y="1197"/>
                    <a:pt x="804" y="1197"/>
                    <a:pt x="804" y="1197"/>
                  </a:cubicBezTo>
                  <a:moveTo>
                    <a:pt x="850" y="1197"/>
                  </a:moveTo>
                  <a:cubicBezTo>
                    <a:pt x="841" y="1197"/>
                    <a:pt x="832" y="1201"/>
                    <a:pt x="829" y="1207"/>
                  </a:cubicBezTo>
                  <a:cubicBezTo>
                    <a:pt x="826" y="1213"/>
                    <a:pt x="831" y="1217"/>
                    <a:pt x="839" y="1217"/>
                  </a:cubicBezTo>
                  <a:cubicBezTo>
                    <a:pt x="848" y="1217"/>
                    <a:pt x="858" y="1212"/>
                    <a:pt x="860" y="1207"/>
                  </a:cubicBezTo>
                  <a:cubicBezTo>
                    <a:pt x="863" y="1201"/>
                    <a:pt x="859" y="1197"/>
                    <a:pt x="850" y="1197"/>
                  </a:cubicBezTo>
                  <a:cubicBezTo>
                    <a:pt x="850" y="1197"/>
                    <a:pt x="850" y="1197"/>
                    <a:pt x="850" y="1197"/>
                  </a:cubicBezTo>
                  <a:moveTo>
                    <a:pt x="895" y="1197"/>
                  </a:moveTo>
                  <a:cubicBezTo>
                    <a:pt x="886" y="1197"/>
                    <a:pt x="877" y="1201"/>
                    <a:pt x="874" y="1207"/>
                  </a:cubicBezTo>
                  <a:cubicBezTo>
                    <a:pt x="871" y="1212"/>
                    <a:pt x="876" y="1217"/>
                    <a:pt x="884" y="1217"/>
                  </a:cubicBezTo>
                  <a:cubicBezTo>
                    <a:pt x="893" y="1217"/>
                    <a:pt x="903" y="1212"/>
                    <a:pt x="905" y="1207"/>
                  </a:cubicBezTo>
                  <a:cubicBezTo>
                    <a:pt x="908" y="1201"/>
                    <a:pt x="903" y="1197"/>
                    <a:pt x="895" y="1197"/>
                  </a:cubicBezTo>
                  <a:cubicBezTo>
                    <a:pt x="895" y="1197"/>
                    <a:pt x="895" y="1197"/>
                    <a:pt x="895" y="1197"/>
                  </a:cubicBezTo>
                  <a:moveTo>
                    <a:pt x="940" y="1196"/>
                  </a:moveTo>
                  <a:cubicBezTo>
                    <a:pt x="931" y="1197"/>
                    <a:pt x="922" y="1201"/>
                    <a:pt x="919" y="1207"/>
                  </a:cubicBezTo>
                  <a:cubicBezTo>
                    <a:pt x="916" y="1212"/>
                    <a:pt x="921" y="1217"/>
                    <a:pt x="930" y="1217"/>
                  </a:cubicBezTo>
                  <a:cubicBezTo>
                    <a:pt x="938" y="1217"/>
                    <a:pt x="948" y="1212"/>
                    <a:pt x="950" y="1207"/>
                  </a:cubicBezTo>
                  <a:cubicBezTo>
                    <a:pt x="953" y="1201"/>
                    <a:pt x="948" y="1196"/>
                    <a:pt x="940" y="1196"/>
                  </a:cubicBezTo>
                  <a:cubicBezTo>
                    <a:pt x="940" y="1196"/>
                    <a:pt x="940" y="1196"/>
                    <a:pt x="940" y="1196"/>
                  </a:cubicBezTo>
                  <a:moveTo>
                    <a:pt x="984" y="1196"/>
                  </a:moveTo>
                  <a:cubicBezTo>
                    <a:pt x="976" y="1196"/>
                    <a:pt x="966" y="1201"/>
                    <a:pt x="964" y="1207"/>
                  </a:cubicBezTo>
                  <a:cubicBezTo>
                    <a:pt x="961" y="1212"/>
                    <a:pt x="966" y="1217"/>
                    <a:pt x="975" y="1217"/>
                  </a:cubicBezTo>
                  <a:cubicBezTo>
                    <a:pt x="983" y="1217"/>
                    <a:pt x="993" y="1212"/>
                    <a:pt x="995" y="1206"/>
                  </a:cubicBezTo>
                  <a:cubicBezTo>
                    <a:pt x="998" y="1201"/>
                    <a:pt x="993" y="1196"/>
                    <a:pt x="984" y="1196"/>
                  </a:cubicBezTo>
                  <a:cubicBezTo>
                    <a:pt x="984" y="1196"/>
                    <a:pt x="984" y="1196"/>
                    <a:pt x="984" y="1196"/>
                  </a:cubicBezTo>
                  <a:moveTo>
                    <a:pt x="1029" y="1196"/>
                  </a:moveTo>
                  <a:cubicBezTo>
                    <a:pt x="1021" y="1196"/>
                    <a:pt x="1012" y="1201"/>
                    <a:pt x="1009" y="1206"/>
                  </a:cubicBezTo>
                  <a:cubicBezTo>
                    <a:pt x="1006" y="1212"/>
                    <a:pt x="1011" y="1217"/>
                    <a:pt x="1020" y="1217"/>
                  </a:cubicBezTo>
                  <a:cubicBezTo>
                    <a:pt x="1029" y="1217"/>
                    <a:pt x="1038" y="1212"/>
                    <a:pt x="1041" y="1206"/>
                  </a:cubicBezTo>
                  <a:cubicBezTo>
                    <a:pt x="1043" y="1201"/>
                    <a:pt x="1038" y="1196"/>
                    <a:pt x="1030" y="1196"/>
                  </a:cubicBezTo>
                  <a:cubicBezTo>
                    <a:pt x="1029" y="1196"/>
                    <a:pt x="1029" y="1196"/>
                    <a:pt x="1029" y="1196"/>
                  </a:cubicBezTo>
                  <a:moveTo>
                    <a:pt x="1075" y="1196"/>
                  </a:moveTo>
                  <a:cubicBezTo>
                    <a:pt x="1066" y="1196"/>
                    <a:pt x="1057" y="1201"/>
                    <a:pt x="1055" y="1206"/>
                  </a:cubicBezTo>
                  <a:cubicBezTo>
                    <a:pt x="1052" y="1212"/>
                    <a:pt x="1057" y="1216"/>
                    <a:pt x="1066" y="1216"/>
                  </a:cubicBezTo>
                  <a:cubicBezTo>
                    <a:pt x="1075" y="1216"/>
                    <a:pt x="1084" y="1212"/>
                    <a:pt x="1086" y="1206"/>
                  </a:cubicBezTo>
                  <a:cubicBezTo>
                    <a:pt x="1089" y="1201"/>
                    <a:pt x="1084" y="1196"/>
                    <a:pt x="1075" y="1196"/>
                  </a:cubicBezTo>
                  <a:cubicBezTo>
                    <a:pt x="1075" y="1196"/>
                    <a:pt x="1075" y="1196"/>
                    <a:pt x="1075" y="1196"/>
                  </a:cubicBezTo>
                  <a:moveTo>
                    <a:pt x="1116" y="1196"/>
                  </a:moveTo>
                  <a:cubicBezTo>
                    <a:pt x="1107" y="1196"/>
                    <a:pt x="1098" y="1201"/>
                    <a:pt x="1095" y="1206"/>
                  </a:cubicBezTo>
                  <a:cubicBezTo>
                    <a:pt x="1093" y="1212"/>
                    <a:pt x="1098" y="1216"/>
                    <a:pt x="1107" y="1216"/>
                  </a:cubicBezTo>
                  <a:cubicBezTo>
                    <a:pt x="1116" y="1216"/>
                    <a:pt x="1125" y="1212"/>
                    <a:pt x="1127" y="1206"/>
                  </a:cubicBezTo>
                  <a:cubicBezTo>
                    <a:pt x="1129" y="1201"/>
                    <a:pt x="1124" y="1196"/>
                    <a:pt x="1116" y="1196"/>
                  </a:cubicBezTo>
                  <a:cubicBezTo>
                    <a:pt x="1116" y="1196"/>
                    <a:pt x="1116" y="1196"/>
                    <a:pt x="1116" y="1196"/>
                  </a:cubicBezTo>
                  <a:moveTo>
                    <a:pt x="2153" y="1195"/>
                  </a:moveTo>
                  <a:cubicBezTo>
                    <a:pt x="2144" y="1195"/>
                    <a:pt x="2137" y="1199"/>
                    <a:pt x="2136" y="1205"/>
                  </a:cubicBezTo>
                  <a:cubicBezTo>
                    <a:pt x="2135" y="1211"/>
                    <a:pt x="2142" y="1215"/>
                    <a:pt x="2151" y="1215"/>
                  </a:cubicBezTo>
                  <a:cubicBezTo>
                    <a:pt x="2160" y="1215"/>
                    <a:pt x="2167" y="1211"/>
                    <a:pt x="2168" y="1205"/>
                  </a:cubicBezTo>
                  <a:cubicBezTo>
                    <a:pt x="2168" y="1199"/>
                    <a:pt x="2162" y="1195"/>
                    <a:pt x="2153" y="1195"/>
                  </a:cubicBezTo>
                  <a:cubicBezTo>
                    <a:pt x="2153" y="1195"/>
                    <a:pt x="2153" y="1195"/>
                    <a:pt x="2153" y="1195"/>
                  </a:cubicBezTo>
                  <a:moveTo>
                    <a:pt x="2198" y="1195"/>
                  </a:moveTo>
                  <a:cubicBezTo>
                    <a:pt x="2190" y="1195"/>
                    <a:pt x="2182" y="1199"/>
                    <a:pt x="2182" y="1205"/>
                  </a:cubicBezTo>
                  <a:cubicBezTo>
                    <a:pt x="2181" y="1211"/>
                    <a:pt x="2188" y="1215"/>
                    <a:pt x="2197" y="1215"/>
                  </a:cubicBezTo>
                  <a:cubicBezTo>
                    <a:pt x="2205" y="1215"/>
                    <a:pt x="2213" y="1210"/>
                    <a:pt x="2213" y="1205"/>
                  </a:cubicBezTo>
                  <a:cubicBezTo>
                    <a:pt x="2214" y="1199"/>
                    <a:pt x="2207" y="1195"/>
                    <a:pt x="2198" y="1195"/>
                  </a:cubicBezTo>
                  <a:cubicBezTo>
                    <a:pt x="2198" y="1195"/>
                    <a:pt x="2198" y="1195"/>
                    <a:pt x="2198" y="1195"/>
                  </a:cubicBezTo>
                  <a:moveTo>
                    <a:pt x="2243" y="1195"/>
                  </a:moveTo>
                  <a:cubicBezTo>
                    <a:pt x="2234" y="1195"/>
                    <a:pt x="2227" y="1199"/>
                    <a:pt x="2226" y="1205"/>
                  </a:cubicBezTo>
                  <a:cubicBezTo>
                    <a:pt x="2226" y="1210"/>
                    <a:pt x="2232" y="1215"/>
                    <a:pt x="2241" y="1215"/>
                  </a:cubicBezTo>
                  <a:cubicBezTo>
                    <a:pt x="2250" y="1215"/>
                    <a:pt x="2257" y="1210"/>
                    <a:pt x="2258" y="1205"/>
                  </a:cubicBezTo>
                  <a:cubicBezTo>
                    <a:pt x="2258" y="1199"/>
                    <a:pt x="2251" y="1195"/>
                    <a:pt x="2243" y="1195"/>
                  </a:cubicBezTo>
                  <a:cubicBezTo>
                    <a:pt x="2243" y="1195"/>
                    <a:pt x="2243" y="1195"/>
                    <a:pt x="2243" y="1195"/>
                  </a:cubicBezTo>
                  <a:moveTo>
                    <a:pt x="2287" y="1194"/>
                  </a:moveTo>
                  <a:cubicBezTo>
                    <a:pt x="2279" y="1194"/>
                    <a:pt x="2271" y="1199"/>
                    <a:pt x="2271" y="1205"/>
                  </a:cubicBezTo>
                  <a:cubicBezTo>
                    <a:pt x="2271" y="1210"/>
                    <a:pt x="2277" y="1215"/>
                    <a:pt x="2286" y="1215"/>
                  </a:cubicBezTo>
                  <a:cubicBezTo>
                    <a:pt x="2295" y="1215"/>
                    <a:pt x="2302" y="1210"/>
                    <a:pt x="2303" y="1205"/>
                  </a:cubicBezTo>
                  <a:cubicBezTo>
                    <a:pt x="2303" y="1199"/>
                    <a:pt x="2296" y="1194"/>
                    <a:pt x="2287" y="1194"/>
                  </a:cubicBezTo>
                  <a:cubicBezTo>
                    <a:pt x="2287" y="1194"/>
                    <a:pt x="2287" y="1194"/>
                    <a:pt x="2287" y="1194"/>
                  </a:cubicBezTo>
                  <a:moveTo>
                    <a:pt x="2332" y="1194"/>
                  </a:moveTo>
                  <a:cubicBezTo>
                    <a:pt x="2324" y="1194"/>
                    <a:pt x="2316" y="1199"/>
                    <a:pt x="2316" y="1205"/>
                  </a:cubicBezTo>
                  <a:cubicBezTo>
                    <a:pt x="2316" y="1210"/>
                    <a:pt x="2323" y="1215"/>
                    <a:pt x="2332" y="1215"/>
                  </a:cubicBezTo>
                  <a:cubicBezTo>
                    <a:pt x="2340" y="1215"/>
                    <a:pt x="2348" y="1210"/>
                    <a:pt x="2348" y="1204"/>
                  </a:cubicBezTo>
                  <a:cubicBezTo>
                    <a:pt x="2348" y="1199"/>
                    <a:pt x="2341" y="1194"/>
                    <a:pt x="2333" y="1194"/>
                  </a:cubicBezTo>
                  <a:cubicBezTo>
                    <a:pt x="2333" y="1194"/>
                    <a:pt x="2332" y="1194"/>
                    <a:pt x="2332" y="1194"/>
                  </a:cubicBezTo>
                  <a:moveTo>
                    <a:pt x="2378" y="1194"/>
                  </a:moveTo>
                  <a:cubicBezTo>
                    <a:pt x="2369" y="1194"/>
                    <a:pt x="2362" y="1199"/>
                    <a:pt x="2362" y="1204"/>
                  </a:cubicBezTo>
                  <a:cubicBezTo>
                    <a:pt x="2362" y="1210"/>
                    <a:pt x="2369" y="1215"/>
                    <a:pt x="2377" y="1215"/>
                  </a:cubicBezTo>
                  <a:cubicBezTo>
                    <a:pt x="2386" y="1215"/>
                    <a:pt x="2393" y="1210"/>
                    <a:pt x="2393" y="1204"/>
                  </a:cubicBezTo>
                  <a:cubicBezTo>
                    <a:pt x="2394" y="1199"/>
                    <a:pt x="2387" y="1194"/>
                    <a:pt x="2378" y="1194"/>
                  </a:cubicBezTo>
                  <a:cubicBezTo>
                    <a:pt x="2378" y="1194"/>
                    <a:pt x="2378" y="1194"/>
                    <a:pt x="2378" y="1194"/>
                  </a:cubicBezTo>
                  <a:moveTo>
                    <a:pt x="2423" y="1194"/>
                  </a:moveTo>
                  <a:cubicBezTo>
                    <a:pt x="2414" y="1194"/>
                    <a:pt x="2407" y="1199"/>
                    <a:pt x="2407" y="1204"/>
                  </a:cubicBezTo>
                  <a:cubicBezTo>
                    <a:pt x="2407" y="1210"/>
                    <a:pt x="2414" y="1214"/>
                    <a:pt x="2422" y="1214"/>
                  </a:cubicBezTo>
                  <a:cubicBezTo>
                    <a:pt x="2431" y="1214"/>
                    <a:pt x="2438" y="1210"/>
                    <a:pt x="2438" y="1204"/>
                  </a:cubicBezTo>
                  <a:cubicBezTo>
                    <a:pt x="2438" y="1199"/>
                    <a:pt x="2431" y="1194"/>
                    <a:pt x="2423" y="1194"/>
                  </a:cubicBezTo>
                  <a:cubicBezTo>
                    <a:pt x="2423" y="1194"/>
                    <a:pt x="2423" y="1194"/>
                    <a:pt x="2423" y="1194"/>
                  </a:cubicBezTo>
                  <a:moveTo>
                    <a:pt x="2468" y="1194"/>
                  </a:moveTo>
                  <a:cubicBezTo>
                    <a:pt x="2459" y="1194"/>
                    <a:pt x="2452" y="1199"/>
                    <a:pt x="2452" y="1204"/>
                  </a:cubicBezTo>
                  <a:cubicBezTo>
                    <a:pt x="2452" y="1210"/>
                    <a:pt x="2459" y="1214"/>
                    <a:pt x="2468" y="1214"/>
                  </a:cubicBezTo>
                  <a:cubicBezTo>
                    <a:pt x="2476" y="1214"/>
                    <a:pt x="2483" y="1210"/>
                    <a:pt x="2483" y="1204"/>
                  </a:cubicBezTo>
                  <a:cubicBezTo>
                    <a:pt x="2483" y="1198"/>
                    <a:pt x="2476" y="1194"/>
                    <a:pt x="2468" y="1194"/>
                  </a:cubicBezTo>
                  <a:cubicBezTo>
                    <a:pt x="2468" y="1194"/>
                    <a:pt x="2468" y="1194"/>
                    <a:pt x="2468" y="1194"/>
                  </a:cubicBezTo>
                  <a:moveTo>
                    <a:pt x="2512" y="1194"/>
                  </a:moveTo>
                  <a:cubicBezTo>
                    <a:pt x="2504" y="1194"/>
                    <a:pt x="2497" y="1198"/>
                    <a:pt x="2497" y="1204"/>
                  </a:cubicBezTo>
                  <a:cubicBezTo>
                    <a:pt x="2497" y="1210"/>
                    <a:pt x="2504" y="1214"/>
                    <a:pt x="2512" y="1214"/>
                  </a:cubicBezTo>
                  <a:cubicBezTo>
                    <a:pt x="2521" y="1214"/>
                    <a:pt x="2528" y="1210"/>
                    <a:pt x="2528" y="1204"/>
                  </a:cubicBezTo>
                  <a:cubicBezTo>
                    <a:pt x="2528" y="1198"/>
                    <a:pt x="2521" y="1194"/>
                    <a:pt x="2512" y="1194"/>
                  </a:cubicBezTo>
                  <a:cubicBezTo>
                    <a:pt x="2512" y="1194"/>
                    <a:pt x="2512" y="1194"/>
                    <a:pt x="2512" y="1194"/>
                  </a:cubicBezTo>
                  <a:moveTo>
                    <a:pt x="2557" y="1194"/>
                  </a:moveTo>
                  <a:cubicBezTo>
                    <a:pt x="2549" y="1194"/>
                    <a:pt x="2542" y="1198"/>
                    <a:pt x="2542" y="1204"/>
                  </a:cubicBezTo>
                  <a:cubicBezTo>
                    <a:pt x="2542" y="1210"/>
                    <a:pt x="2549" y="1214"/>
                    <a:pt x="2558" y="1214"/>
                  </a:cubicBezTo>
                  <a:cubicBezTo>
                    <a:pt x="2567" y="1214"/>
                    <a:pt x="2574" y="1209"/>
                    <a:pt x="2573" y="1204"/>
                  </a:cubicBezTo>
                  <a:cubicBezTo>
                    <a:pt x="2573" y="1198"/>
                    <a:pt x="2566" y="1194"/>
                    <a:pt x="2557" y="1194"/>
                  </a:cubicBezTo>
                  <a:cubicBezTo>
                    <a:pt x="2557" y="1194"/>
                    <a:pt x="2557" y="1194"/>
                    <a:pt x="2557" y="1194"/>
                  </a:cubicBezTo>
                  <a:moveTo>
                    <a:pt x="2603" y="1194"/>
                  </a:moveTo>
                  <a:cubicBezTo>
                    <a:pt x="2594" y="1194"/>
                    <a:pt x="2587" y="1198"/>
                    <a:pt x="2587" y="1204"/>
                  </a:cubicBezTo>
                  <a:cubicBezTo>
                    <a:pt x="2588" y="1209"/>
                    <a:pt x="2595" y="1214"/>
                    <a:pt x="2604" y="1214"/>
                  </a:cubicBezTo>
                  <a:cubicBezTo>
                    <a:pt x="2612" y="1214"/>
                    <a:pt x="2619" y="1209"/>
                    <a:pt x="2619" y="1204"/>
                  </a:cubicBezTo>
                  <a:cubicBezTo>
                    <a:pt x="2619" y="1198"/>
                    <a:pt x="2611" y="1194"/>
                    <a:pt x="2603" y="1194"/>
                  </a:cubicBezTo>
                  <a:cubicBezTo>
                    <a:pt x="2603" y="1194"/>
                    <a:pt x="2603" y="1194"/>
                    <a:pt x="2603" y="1194"/>
                  </a:cubicBezTo>
                  <a:moveTo>
                    <a:pt x="2647" y="1193"/>
                  </a:moveTo>
                  <a:cubicBezTo>
                    <a:pt x="2639" y="1193"/>
                    <a:pt x="2632" y="1198"/>
                    <a:pt x="2632" y="1204"/>
                  </a:cubicBezTo>
                  <a:cubicBezTo>
                    <a:pt x="2632" y="1209"/>
                    <a:pt x="2640" y="1214"/>
                    <a:pt x="2649" y="1214"/>
                  </a:cubicBezTo>
                  <a:cubicBezTo>
                    <a:pt x="2657" y="1214"/>
                    <a:pt x="2664" y="1209"/>
                    <a:pt x="2664" y="1204"/>
                  </a:cubicBezTo>
                  <a:cubicBezTo>
                    <a:pt x="2663" y="1198"/>
                    <a:pt x="2656" y="1193"/>
                    <a:pt x="2647" y="1193"/>
                  </a:cubicBezTo>
                  <a:cubicBezTo>
                    <a:pt x="2647" y="1193"/>
                    <a:pt x="2647" y="1193"/>
                    <a:pt x="2647" y="1193"/>
                  </a:cubicBezTo>
                  <a:moveTo>
                    <a:pt x="2693" y="1193"/>
                  </a:moveTo>
                  <a:cubicBezTo>
                    <a:pt x="2684" y="1193"/>
                    <a:pt x="2677" y="1198"/>
                    <a:pt x="2678" y="1204"/>
                  </a:cubicBezTo>
                  <a:cubicBezTo>
                    <a:pt x="2678" y="1209"/>
                    <a:pt x="2685" y="1214"/>
                    <a:pt x="2694" y="1214"/>
                  </a:cubicBezTo>
                  <a:cubicBezTo>
                    <a:pt x="2703" y="1214"/>
                    <a:pt x="2710" y="1209"/>
                    <a:pt x="2709" y="1203"/>
                  </a:cubicBezTo>
                  <a:cubicBezTo>
                    <a:pt x="2709" y="1198"/>
                    <a:pt x="2701" y="1193"/>
                    <a:pt x="2693" y="1193"/>
                  </a:cubicBezTo>
                  <a:cubicBezTo>
                    <a:pt x="2693" y="1193"/>
                    <a:pt x="2693" y="1193"/>
                    <a:pt x="2693" y="1193"/>
                  </a:cubicBezTo>
                  <a:moveTo>
                    <a:pt x="4040" y="1188"/>
                  </a:moveTo>
                  <a:cubicBezTo>
                    <a:pt x="4031" y="1188"/>
                    <a:pt x="4026" y="1193"/>
                    <a:pt x="4029" y="1199"/>
                  </a:cubicBezTo>
                  <a:cubicBezTo>
                    <a:pt x="4032" y="1204"/>
                    <a:pt x="4041" y="1209"/>
                    <a:pt x="4050" y="1209"/>
                  </a:cubicBezTo>
                  <a:cubicBezTo>
                    <a:pt x="4059" y="1209"/>
                    <a:pt x="4064" y="1204"/>
                    <a:pt x="4061" y="1198"/>
                  </a:cubicBezTo>
                  <a:cubicBezTo>
                    <a:pt x="4058" y="1193"/>
                    <a:pt x="4049" y="1188"/>
                    <a:pt x="4040" y="1188"/>
                  </a:cubicBezTo>
                  <a:cubicBezTo>
                    <a:pt x="4040" y="1188"/>
                    <a:pt x="4040" y="1188"/>
                    <a:pt x="4040" y="1188"/>
                  </a:cubicBezTo>
                  <a:moveTo>
                    <a:pt x="4083" y="1188"/>
                  </a:moveTo>
                  <a:cubicBezTo>
                    <a:pt x="4075" y="1188"/>
                    <a:pt x="4070" y="1193"/>
                    <a:pt x="4073" y="1198"/>
                  </a:cubicBezTo>
                  <a:cubicBezTo>
                    <a:pt x="4076" y="1204"/>
                    <a:pt x="4085" y="1209"/>
                    <a:pt x="4094" y="1209"/>
                  </a:cubicBezTo>
                  <a:cubicBezTo>
                    <a:pt x="4103" y="1209"/>
                    <a:pt x="4107" y="1204"/>
                    <a:pt x="4104" y="1198"/>
                  </a:cubicBezTo>
                  <a:cubicBezTo>
                    <a:pt x="4102" y="1193"/>
                    <a:pt x="4092" y="1188"/>
                    <a:pt x="4084" y="1188"/>
                  </a:cubicBezTo>
                  <a:cubicBezTo>
                    <a:pt x="4083" y="1188"/>
                    <a:pt x="4083" y="1188"/>
                    <a:pt x="4083" y="1188"/>
                  </a:cubicBezTo>
                  <a:moveTo>
                    <a:pt x="4397" y="1186"/>
                  </a:moveTo>
                  <a:cubicBezTo>
                    <a:pt x="4388" y="1187"/>
                    <a:pt x="4384" y="1191"/>
                    <a:pt x="4387" y="1197"/>
                  </a:cubicBezTo>
                  <a:cubicBezTo>
                    <a:pt x="4391" y="1203"/>
                    <a:pt x="4401" y="1207"/>
                    <a:pt x="4409" y="1207"/>
                  </a:cubicBezTo>
                  <a:cubicBezTo>
                    <a:pt x="4418" y="1207"/>
                    <a:pt x="4422" y="1202"/>
                    <a:pt x="4419" y="1197"/>
                  </a:cubicBezTo>
                  <a:cubicBezTo>
                    <a:pt x="4415" y="1191"/>
                    <a:pt x="4405" y="1186"/>
                    <a:pt x="4397" y="1186"/>
                  </a:cubicBezTo>
                  <a:cubicBezTo>
                    <a:pt x="4397" y="1186"/>
                    <a:pt x="4397" y="1186"/>
                    <a:pt x="4397" y="1186"/>
                  </a:cubicBezTo>
                  <a:moveTo>
                    <a:pt x="4442" y="1186"/>
                  </a:moveTo>
                  <a:cubicBezTo>
                    <a:pt x="4433" y="1186"/>
                    <a:pt x="4429" y="1191"/>
                    <a:pt x="4433" y="1197"/>
                  </a:cubicBezTo>
                  <a:cubicBezTo>
                    <a:pt x="4436" y="1202"/>
                    <a:pt x="4446" y="1207"/>
                    <a:pt x="4455" y="1207"/>
                  </a:cubicBezTo>
                  <a:cubicBezTo>
                    <a:pt x="4464" y="1207"/>
                    <a:pt x="4468" y="1202"/>
                    <a:pt x="4464" y="1197"/>
                  </a:cubicBezTo>
                  <a:cubicBezTo>
                    <a:pt x="4461" y="1191"/>
                    <a:pt x="4451" y="1186"/>
                    <a:pt x="4442" y="1186"/>
                  </a:cubicBezTo>
                  <a:cubicBezTo>
                    <a:pt x="4442" y="1186"/>
                    <a:pt x="4442" y="1186"/>
                    <a:pt x="4442" y="1186"/>
                  </a:cubicBezTo>
                  <a:moveTo>
                    <a:pt x="4712" y="1186"/>
                  </a:moveTo>
                  <a:cubicBezTo>
                    <a:pt x="4703" y="1186"/>
                    <a:pt x="4700" y="1190"/>
                    <a:pt x="4704" y="1196"/>
                  </a:cubicBezTo>
                  <a:cubicBezTo>
                    <a:pt x="4708" y="1202"/>
                    <a:pt x="4718" y="1206"/>
                    <a:pt x="4727" y="1206"/>
                  </a:cubicBezTo>
                  <a:cubicBezTo>
                    <a:pt x="4736" y="1206"/>
                    <a:pt x="4739" y="1202"/>
                    <a:pt x="4735" y="1196"/>
                  </a:cubicBezTo>
                  <a:cubicBezTo>
                    <a:pt x="4731" y="1190"/>
                    <a:pt x="4721" y="1186"/>
                    <a:pt x="4712" y="1186"/>
                  </a:cubicBezTo>
                  <a:cubicBezTo>
                    <a:pt x="4712" y="1186"/>
                    <a:pt x="4712" y="1186"/>
                    <a:pt x="4712" y="1186"/>
                  </a:cubicBezTo>
                  <a:moveTo>
                    <a:pt x="4757" y="1186"/>
                  </a:moveTo>
                  <a:cubicBezTo>
                    <a:pt x="4749" y="1186"/>
                    <a:pt x="4745" y="1190"/>
                    <a:pt x="4749" y="1196"/>
                  </a:cubicBezTo>
                  <a:cubicBezTo>
                    <a:pt x="4753" y="1202"/>
                    <a:pt x="4764" y="1206"/>
                    <a:pt x="4772" y="1206"/>
                  </a:cubicBezTo>
                  <a:cubicBezTo>
                    <a:pt x="4781" y="1206"/>
                    <a:pt x="4785" y="1201"/>
                    <a:pt x="4781" y="1196"/>
                  </a:cubicBezTo>
                  <a:cubicBezTo>
                    <a:pt x="4776" y="1190"/>
                    <a:pt x="4766" y="1186"/>
                    <a:pt x="4757" y="1186"/>
                  </a:cubicBezTo>
                  <a:cubicBezTo>
                    <a:pt x="4757" y="1186"/>
                    <a:pt x="4757" y="1186"/>
                    <a:pt x="4757" y="1186"/>
                  </a:cubicBezTo>
                  <a:moveTo>
                    <a:pt x="4803" y="1185"/>
                  </a:moveTo>
                  <a:cubicBezTo>
                    <a:pt x="4794" y="1185"/>
                    <a:pt x="4791" y="1190"/>
                    <a:pt x="4795" y="1196"/>
                  </a:cubicBezTo>
                  <a:cubicBezTo>
                    <a:pt x="4799" y="1201"/>
                    <a:pt x="4809" y="1206"/>
                    <a:pt x="4818" y="1206"/>
                  </a:cubicBezTo>
                  <a:cubicBezTo>
                    <a:pt x="4827" y="1206"/>
                    <a:pt x="4831" y="1201"/>
                    <a:pt x="4826" y="1196"/>
                  </a:cubicBezTo>
                  <a:cubicBezTo>
                    <a:pt x="4822" y="1190"/>
                    <a:pt x="4812" y="1185"/>
                    <a:pt x="4803" y="1185"/>
                  </a:cubicBezTo>
                  <a:cubicBezTo>
                    <a:pt x="4803" y="1185"/>
                    <a:pt x="4803" y="1185"/>
                    <a:pt x="4803" y="1185"/>
                  </a:cubicBezTo>
                  <a:moveTo>
                    <a:pt x="4846" y="1185"/>
                  </a:moveTo>
                  <a:cubicBezTo>
                    <a:pt x="4838" y="1185"/>
                    <a:pt x="4834" y="1190"/>
                    <a:pt x="4838" y="1196"/>
                  </a:cubicBezTo>
                  <a:cubicBezTo>
                    <a:pt x="4843" y="1201"/>
                    <a:pt x="4853" y="1206"/>
                    <a:pt x="4862" y="1206"/>
                  </a:cubicBezTo>
                  <a:cubicBezTo>
                    <a:pt x="4871" y="1206"/>
                    <a:pt x="4874" y="1201"/>
                    <a:pt x="4870" y="1196"/>
                  </a:cubicBezTo>
                  <a:cubicBezTo>
                    <a:pt x="4866" y="1190"/>
                    <a:pt x="4855" y="1185"/>
                    <a:pt x="4846" y="1185"/>
                  </a:cubicBezTo>
                  <a:cubicBezTo>
                    <a:pt x="4846" y="1185"/>
                    <a:pt x="4846" y="1185"/>
                    <a:pt x="4846" y="1185"/>
                  </a:cubicBezTo>
                  <a:moveTo>
                    <a:pt x="4891" y="1185"/>
                  </a:moveTo>
                  <a:cubicBezTo>
                    <a:pt x="4883" y="1185"/>
                    <a:pt x="4879" y="1190"/>
                    <a:pt x="4884" y="1195"/>
                  </a:cubicBezTo>
                  <a:cubicBezTo>
                    <a:pt x="4888" y="1201"/>
                    <a:pt x="4899" y="1206"/>
                    <a:pt x="4907" y="1206"/>
                  </a:cubicBezTo>
                  <a:cubicBezTo>
                    <a:pt x="4916" y="1206"/>
                    <a:pt x="4920" y="1201"/>
                    <a:pt x="4915" y="1195"/>
                  </a:cubicBezTo>
                  <a:cubicBezTo>
                    <a:pt x="4911" y="1190"/>
                    <a:pt x="4900" y="1185"/>
                    <a:pt x="4891" y="1185"/>
                  </a:cubicBezTo>
                  <a:cubicBezTo>
                    <a:pt x="4891" y="1185"/>
                    <a:pt x="4891" y="1185"/>
                    <a:pt x="4891" y="1185"/>
                  </a:cubicBezTo>
                  <a:moveTo>
                    <a:pt x="285" y="1168"/>
                  </a:moveTo>
                  <a:cubicBezTo>
                    <a:pt x="276" y="1168"/>
                    <a:pt x="266" y="1172"/>
                    <a:pt x="262" y="1178"/>
                  </a:cubicBezTo>
                  <a:cubicBezTo>
                    <a:pt x="258" y="1184"/>
                    <a:pt x="262" y="1188"/>
                    <a:pt x="271" y="1188"/>
                  </a:cubicBezTo>
                  <a:cubicBezTo>
                    <a:pt x="279" y="1188"/>
                    <a:pt x="290" y="1183"/>
                    <a:pt x="294" y="1178"/>
                  </a:cubicBezTo>
                  <a:cubicBezTo>
                    <a:pt x="298" y="1172"/>
                    <a:pt x="294" y="1168"/>
                    <a:pt x="285" y="1168"/>
                  </a:cubicBezTo>
                  <a:cubicBezTo>
                    <a:pt x="285" y="1168"/>
                    <a:pt x="285" y="1168"/>
                    <a:pt x="285" y="1168"/>
                  </a:cubicBezTo>
                  <a:moveTo>
                    <a:pt x="329" y="1168"/>
                  </a:moveTo>
                  <a:cubicBezTo>
                    <a:pt x="321" y="1168"/>
                    <a:pt x="311" y="1172"/>
                    <a:pt x="307" y="1178"/>
                  </a:cubicBezTo>
                  <a:cubicBezTo>
                    <a:pt x="303" y="1183"/>
                    <a:pt x="307" y="1188"/>
                    <a:pt x="315" y="1188"/>
                  </a:cubicBezTo>
                  <a:cubicBezTo>
                    <a:pt x="324" y="1188"/>
                    <a:pt x="334" y="1183"/>
                    <a:pt x="338" y="1178"/>
                  </a:cubicBezTo>
                  <a:cubicBezTo>
                    <a:pt x="342" y="1172"/>
                    <a:pt x="338" y="1168"/>
                    <a:pt x="329" y="1168"/>
                  </a:cubicBezTo>
                  <a:cubicBezTo>
                    <a:pt x="329" y="1168"/>
                    <a:pt x="329" y="1168"/>
                    <a:pt x="329" y="1168"/>
                  </a:cubicBezTo>
                  <a:moveTo>
                    <a:pt x="374" y="1168"/>
                  </a:moveTo>
                  <a:cubicBezTo>
                    <a:pt x="365" y="1168"/>
                    <a:pt x="355" y="1172"/>
                    <a:pt x="351" y="1178"/>
                  </a:cubicBezTo>
                  <a:cubicBezTo>
                    <a:pt x="348" y="1183"/>
                    <a:pt x="352" y="1188"/>
                    <a:pt x="360" y="1188"/>
                  </a:cubicBezTo>
                  <a:cubicBezTo>
                    <a:pt x="369" y="1188"/>
                    <a:pt x="379" y="1183"/>
                    <a:pt x="383" y="1178"/>
                  </a:cubicBezTo>
                  <a:cubicBezTo>
                    <a:pt x="387" y="1172"/>
                    <a:pt x="383" y="1168"/>
                    <a:pt x="374" y="1168"/>
                  </a:cubicBezTo>
                  <a:cubicBezTo>
                    <a:pt x="374" y="1168"/>
                    <a:pt x="374" y="1168"/>
                    <a:pt x="374" y="1168"/>
                  </a:cubicBezTo>
                  <a:moveTo>
                    <a:pt x="418" y="1167"/>
                  </a:moveTo>
                  <a:cubicBezTo>
                    <a:pt x="410" y="1167"/>
                    <a:pt x="400" y="1172"/>
                    <a:pt x="396" y="1178"/>
                  </a:cubicBezTo>
                  <a:cubicBezTo>
                    <a:pt x="392" y="1183"/>
                    <a:pt x="396" y="1188"/>
                    <a:pt x="405" y="1188"/>
                  </a:cubicBezTo>
                  <a:cubicBezTo>
                    <a:pt x="413" y="1188"/>
                    <a:pt x="424" y="1183"/>
                    <a:pt x="427" y="1178"/>
                  </a:cubicBezTo>
                  <a:cubicBezTo>
                    <a:pt x="431" y="1172"/>
                    <a:pt x="427" y="1167"/>
                    <a:pt x="418" y="1167"/>
                  </a:cubicBezTo>
                  <a:cubicBezTo>
                    <a:pt x="418" y="1167"/>
                    <a:pt x="418" y="1167"/>
                    <a:pt x="418" y="1167"/>
                  </a:cubicBezTo>
                  <a:moveTo>
                    <a:pt x="463" y="1167"/>
                  </a:moveTo>
                  <a:cubicBezTo>
                    <a:pt x="454" y="1167"/>
                    <a:pt x="444" y="1172"/>
                    <a:pt x="441" y="1177"/>
                  </a:cubicBezTo>
                  <a:cubicBezTo>
                    <a:pt x="437" y="1183"/>
                    <a:pt x="441" y="1188"/>
                    <a:pt x="450" y="1188"/>
                  </a:cubicBezTo>
                  <a:cubicBezTo>
                    <a:pt x="458" y="1188"/>
                    <a:pt x="468" y="1183"/>
                    <a:pt x="472" y="1177"/>
                  </a:cubicBezTo>
                  <a:cubicBezTo>
                    <a:pt x="476" y="1172"/>
                    <a:pt x="472" y="1167"/>
                    <a:pt x="463" y="1167"/>
                  </a:cubicBezTo>
                  <a:cubicBezTo>
                    <a:pt x="463" y="1167"/>
                    <a:pt x="463" y="1167"/>
                    <a:pt x="463" y="1167"/>
                  </a:cubicBezTo>
                  <a:moveTo>
                    <a:pt x="509" y="1167"/>
                  </a:moveTo>
                  <a:cubicBezTo>
                    <a:pt x="500" y="1167"/>
                    <a:pt x="490" y="1172"/>
                    <a:pt x="487" y="1177"/>
                  </a:cubicBezTo>
                  <a:cubicBezTo>
                    <a:pt x="483" y="1183"/>
                    <a:pt x="487" y="1187"/>
                    <a:pt x="496" y="1187"/>
                  </a:cubicBezTo>
                  <a:cubicBezTo>
                    <a:pt x="505" y="1187"/>
                    <a:pt x="515" y="1183"/>
                    <a:pt x="518" y="1177"/>
                  </a:cubicBezTo>
                  <a:cubicBezTo>
                    <a:pt x="522" y="1172"/>
                    <a:pt x="518" y="1167"/>
                    <a:pt x="509" y="1167"/>
                  </a:cubicBezTo>
                  <a:cubicBezTo>
                    <a:pt x="509" y="1167"/>
                    <a:pt x="509" y="1167"/>
                    <a:pt x="509" y="1167"/>
                  </a:cubicBezTo>
                  <a:moveTo>
                    <a:pt x="553" y="1167"/>
                  </a:moveTo>
                  <a:cubicBezTo>
                    <a:pt x="545" y="1167"/>
                    <a:pt x="535" y="1172"/>
                    <a:pt x="531" y="1177"/>
                  </a:cubicBezTo>
                  <a:cubicBezTo>
                    <a:pt x="528" y="1183"/>
                    <a:pt x="532" y="1187"/>
                    <a:pt x="541" y="1187"/>
                  </a:cubicBezTo>
                  <a:cubicBezTo>
                    <a:pt x="549" y="1187"/>
                    <a:pt x="559" y="1183"/>
                    <a:pt x="563" y="1177"/>
                  </a:cubicBezTo>
                  <a:cubicBezTo>
                    <a:pt x="566" y="1172"/>
                    <a:pt x="562" y="1167"/>
                    <a:pt x="553" y="1167"/>
                  </a:cubicBezTo>
                  <a:cubicBezTo>
                    <a:pt x="553" y="1167"/>
                    <a:pt x="553" y="1167"/>
                    <a:pt x="553" y="1167"/>
                  </a:cubicBezTo>
                  <a:moveTo>
                    <a:pt x="598" y="1167"/>
                  </a:moveTo>
                  <a:cubicBezTo>
                    <a:pt x="589" y="1167"/>
                    <a:pt x="580" y="1171"/>
                    <a:pt x="576" y="1177"/>
                  </a:cubicBezTo>
                  <a:cubicBezTo>
                    <a:pt x="573" y="1183"/>
                    <a:pt x="577" y="1187"/>
                    <a:pt x="586" y="1187"/>
                  </a:cubicBezTo>
                  <a:cubicBezTo>
                    <a:pt x="594" y="1187"/>
                    <a:pt x="604" y="1183"/>
                    <a:pt x="607" y="1177"/>
                  </a:cubicBezTo>
                  <a:cubicBezTo>
                    <a:pt x="611" y="1171"/>
                    <a:pt x="607" y="1167"/>
                    <a:pt x="598" y="1167"/>
                  </a:cubicBezTo>
                  <a:cubicBezTo>
                    <a:pt x="598" y="1167"/>
                    <a:pt x="598" y="1167"/>
                    <a:pt x="598" y="1167"/>
                  </a:cubicBezTo>
                  <a:moveTo>
                    <a:pt x="643" y="1167"/>
                  </a:moveTo>
                  <a:cubicBezTo>
                    <a:pt x="634" y="1167"/>
                    <a:pt x="625" y="1171"/>
                    <a:pt x="621" y="1177"/>
                  </a:cubicBezTo>
                  <a:cubicBezTo>
                    <a:pt x="618" y="1183"/>
                    <a:pt x="622" y="1187"/>
                    <a:pt x="631" y="1187"/>
                  </a:cubicBezTo>
                  <a:cubicBezTo>
                    <a:pt x="640" y="1187"/>
                    <a:pt x="649" y="1182"/>
                    <a:pt x="653" y="1177"/>
                  </a:cubicBezTo>
                  <a:cubicBezTo>
                    <a:pt x="656" y="1171"/>
                    <a:pt x="652" y="1167"/>
                    <a:pt x="643" y="1167"/>
                  </a:cubicBezTo>
                  <a:cubicBezTo>
                    <a:pt x="643" y="1167"/>
                    <a:pt x="643" y="1167"/>
                    <a:pt x="643" y="1167"/>
                  </a:cubicBezTo>
                  <a:moveTo>
                    <a:pt x="687" y="1167"/>
                  </a:moveTo>
                  <a:cubicBezTo>
                    <a:pt x="679" y="1167"/>
                    <a:pt x="669" y="1171"/>
                    <a:pt x="666" y="1177"/>
                  </a:cubicBezTo>
                  <a:cubicBezTo>
                    <a:pt x="663" y="1182"/>
                    <a:pt x="667" y="1187"/>
                    <a:pt x="676" y="1187"/>
                  </a:cubicBezTo>
                  <a:cubicBezTo>
                    <a:pt x="684" y="1187"/>
                    <a:pt x="694" y="1182"/>
                    <a:pt x="697" y="1177"/>
                  </a:cubicBezTo>
                  <a:cubicBezTo>
                    <a:pt x="700" y="1171"/>
                    <a:pt x="696" y="1167"/>
                    <a:pt x="687" y="1167"/>
                  </a:cubicBezTo>
                  <a:cubicBezTo>
                    <a:pt x="687" y="1167"/>
                    <a:pt x="687" y="1167"/>
                    <a:pt x="687" y="1167"/>
                  </a:cubicBezTo>
                  <a:moveTo>
                    <a:pt x="732" y="1167"/>
                  </a:moveTo>
                  <a:cubicBezTo>
                    <a:pt x="723" y="1167"/>
                    <a:pt x="714" y="1171"/>
                    <a:pt x="710" y="1177"/>
                  </a:cubicBezTo>
                  <a:cubicBezTo>
                    <a:pt x="707" y="1182"/>
                    <a:pt x="712" y="1187"/>
                    <a:pt x="720" y="1187"/>
                  </a:cubicBezTo>
                  <a:cubicBezTo>
                    <a:pt x="729" y="1187"/>
                    <a:pt x="739" y="1182"/>
                    <a:pt x="742" y="1177"/>
                  </a:cubicBezTo>
                  <a:cubicBezTo>
                    <a:pt x="745" y="1171"/>
                    <a:pt x="740" y="1167"/>
                    <a:pt x="732" y="1167"/>
                  </a:cubicBezTo>
                  <a:cubicBezTo>
                    <a:pt x="732" y="1167"/>
                    <a:pt x="732" y="1167"/>
                    <a:pt x="732" y="1167"/>
                  </a:cubicBezTo>
                  <a:moveTo>
                    <a:pt x="776" y="1166"/>
                  </a:moveTo>
                  <a:cubicBezTo>
                    <a:pt x="767" y="1166"/>
                    <a:pt x="758" y="1171"/>
                    <a:pt x="755" y="1177"/>
                  </a:cubicBezTo>
                  <a:cubicBezTo>
                    <a:pt x="752" y="1182"/>
                    <a:pt x="756" y="1187"/>
                    <a:pt x="765" y="1187"/>
                  </a:cubicBezTo>
                  <a:cubicBezTo>
                    <a:pt x="774" y="1187"/>
                    <a:pt x="783" y="1182"/>
                    <a:pt x="786" y="1176"/>
                  </a:cubicBezTo>
                  <a:cubicBezTo>
                    <a:pt x="789" y="1171"/>
                    <a:pt x="785" y="1166"/>
                    <a:pt x="776" y="1166"/>
                  </a:cubicBezTo>
                  <a:cubicBezTo>
                    <a:pt x="776" y="1166"/>
                    <a:pt x="776" y="1166"/>
                    <a:pt x="776" y="1166"/>
                  </a:cubicBezTo>
                  <a:moveTo>
                    <a:pt x="821" y="1166"/>
                  </a:moveTo>
                  <a:cubicBezTo>
                    <a:pt x="812" y="1166"/>
                    <a:pt x="803" y="1171"/>
                    <a:pt x="800" y="1176"/>
                  </a:cubicBezTo>
                  <a:cubicBezTo>
                    <a:pt x="797" y="1182"/>
                    <a:pt x="801" y="1187"/>
                    <a:pt x="810" y="1187"/>
                  </a:cubicBezTo>
                  <a:cubicBezTo>
                    <a:pt x="819" y="1187"/>
                    <a:pt x="828" y="1182"/>
                    <a:pt x="831" y="1176"/>
                  </a:cubicBezTo>
                  <a:cubicBezTo>
                    <a:pt x="834" y="1171"/>
                    <a:pt x="829" y="1166"/>
                    <a:pt x="821" y="1166"/>
                  </a:cubicBezTo>
                  <a:cubicBezTo>
                    <a:pt x="821" y="1166"/>
                    <a:pt x="821" y="1166"/>
                    <a:pt x="821" y="1166"/>
                  </a:cubicBezTo>
                  <a:moveTo>
                    <a:pt x="866" y="1166"/>
                  </a:moveTo>
                  <a:cubicBezTo>
                    <a:pt x="857" y="1166"/>
                    <a:pt x="848" y="1171"/>
                    <a:pt x="845" y="1176"/>
                  </a:cubicBezTo>
                  <a:cubicBezTo>
                    <a:pt x="842" y="1182"/>
                    <a:pt x="847" y="1186"/>
                    <a:pt x="855" y="1186"/>
                  </a:cubicBezTo>
                  <a:cubicBezTo>
                    <a:pt x="864" y="1186"/>
                    <a:pt x="873" y="1182"/>
                    <a:pt x="876" y="1176"/>
                  </a:cubicBezTo>
                  <a:cubicBezTo>
                    <a:pt x="879" y="1171"/>
                    <a:pt x="874" y="1166"/>
                    <a:pt x="866" y="1166"/>
                  </a:cubicBezTo>
                  <a:cubicBezTo>
                    <a:pt x="866" y="1166"/>
                    <a:pt x="866" y="1166"/>
                    <a:pt x="866" y="1166"/>
                  </a:cubicBezTo>
                  <a:moveTo>
                    <a:pt x="910" y="1166"/>
                  </a:moveTo>
                  <a:cubicBezTo>
                    <a:pt x="901" y="1166"/>
                    <a:pt x="892" y="1171"/>
                    <a:pt x="889" y="1176"/>
                  </a:cubicBezTo>
                  <a:cubicBezTo>
                    <a:pt x="886" y="1182"/>
                    <a:pt x="891" y="1186"/>
                    <a:pt x="900" y="1186"/>
                  </a:cubicBezTo>
                  <a:cubicBezTo>
                    <a:pt x="909" y="1186"/>
                    <a:pt x="918" y="1182"/>
                    <a:pt x="921" y="1176"/>
                  </a:cubicBezTo>
                  <a:cubicBezTo>
                    <a:pt x="923" y="1171"/>
                    <a:pt x="919" y="1166"/>
                    <a:pt x="910" y="1166"/>
                  </a:cubicBezTo>
                  <a:cubicBezTo>
                    <a:pt x="910" y="1166"/>
                    <a:pt x="910" y="1166"/>
                    <a:pt x="910" y="1166"/>
                  </a:cubicBezTo>
                  <a:moveTo>
                    <a:pt x="955" y="1166"/>
                  </a:moveTo>
                  <a:cubicBezTo>
                    <a:pt x="946" y="1166"/>
                    <a:pt x="937" y="1170"/>
                    <a:pt x="934" y="1176"/>
                  </a:cubicBezTo>
                  <a:cubicBezTo>
                    <a:pt x="931" y="1182"/>
                    <a:pt x="936" y="1186"/>
                    <a:pt x="945" y="1186"/>
                  </a:cubicBezTo>
                  <a:cubicBezTo>
                    <a:pt x="953" y="1186"/>
                    <a:pt x="963" y="1182"/>
                    <a:pt x="965" y="1176"/>
                  </a:cubicBezTo>
                  <a:cubicBezTo>
                    <a:pt x="968" y="1170"/>
                    <a:pt x="963" y="1166"/>
                    <a:pt x="955" y="1166"/>
                  </a:cubicBezTo>
                  <a:cubicBezTo>
                    <a:pt x="955" y="1166"/>
                    <a:pt x="955" y="1166"/>
                    <a:pt x="955" y="1166"/>
                  </a:cubicBezTo>
                  <a:moveTo>
                    <a:pt x="999" y="1166"/>
                  </a:moveTo>
                  <a:cubicBezTo>
                    <a:pt x="990" y="1166"/>
                    <a:pt x="981" y="1170"/>
                    <a:pt x="978" y="1176"/>
                  </a:cubicBezTo>
                  <a:cubicBezTo>
                    <a:pt x="976" y="1182"/>
                    <a:pt x="981" y="1186"/>
                    <a:pt x="989" y="1186"/>
                  </a:cubicBezTo>
                  <a:cubicBezTo>
                    <a:pt x="998" y="1186"/>
                    <a:pt x="1007" y="1182"/>
                    <a:pt x="1010" y="1176"/>
                  </a:cubicBezTo>
                  <a:cubicBezTo>
                    <a:pt x="1012" y="1170"/>
                    <a:pt x="1008" y="1166"/>
                    <a:pt x="999" y="1166"/>
                  </a:cubicBezTo>
                  <a:cubicBezTo>
                    <a:pt x="999" y="1166"/>
                    <a:pt x="999" y="1166"/>
                    <a:pt x="999" y="1166"/>
                  </a:cubicBezTo>
                  <a:moveTo>
                    <a:pt x="2111" y="1165"/>
                  </a:moveTo>
                  <a:cubicBezTo>
                    <a:pt x="2103" y="1165"/>
                    <a:pt x="2095" y="1170"/>
                    <a:pt x="2094" y="1176"/>
                  </a:cubicBezTo>
                  <a:cubicBezTo>
                    <a:pt x="2094" y="1181"/>
                    <a:pt x="2100" y="1186"/>
                    <a:pt x="2109" y="1186"/>
                  </a:cubicBezTo>
                  <a:cubicBezTo>
                    <a:pt x="2118" y="1186"/>
                    <a:pt x="2125" y="1181"/>
                    <a:pt x="2126" y="1176"/>
                  </a:cubicBezTo>
                  <a:cubicBezTo>
                    <a:pt x="2126" y="1170"/>
                    <a:pt x="2120" y="1165"/>
                    <a:pt x="2111" y="1165"/>
                  </a:cubicBezTo>
                  <a:cubicBezTo>
                    <a:pt x="2111" y="1165"/>
                    <a:pt x="2111" y="1165"/>
                    <a:pt x="2111" y="1165"/>
                  </a:cubicBezTo>
                  <a:moveTo>
                    <a:pt x="2156" y="1165"/>
                  </a:moveTo>
                  <a:cubicBezTo>
                    <a:pt x="2147" y="1165"/>
                    <a:pt x="2140" y="1170"/>
                    <a:pt x="2139" y="1175"/>
                  </a:cubicBezTo>
                  <a:cubicBezTo>
                    <a:pt x="2139" y="1181"/>
                    <a:pt x="2145" y="1186"/>
                    <a:pt x="2154" y="1186"/>
                  </a:cubicBezTo>
                  <a:cubicBezTo>
                    <a:pt x="2162" y="1186"/>
                    <a:pt x="2170" y="1181"/>
                    <a:pt x="2170" y="1175"/>
                  </a:cubicBezTo>
                  <a:cubicBezTo>
                    <a:pt x="2171" y="1170"/>
                    <a:pt x="2164" y="1165"/>
                    <a:pt x="2156" y="1165"/>
                  </a:cubicBezTo>
                  <a:cubicBezTo>
                    <a:pt x="2156" y="1165"/>
                    <a:pt x="2156" y="1165"/>
                    <a:pt x="2156" y="1165"/>
                  </a:cubicBezTo>
                  <a:moveTo>
                    <a:pt x="2201" y="1165"/>
                  </a:moveTo>
                  <a:cubicBezTo>
                    <a:pt x="2192" y="1165"/>
                    <a:pt x="2185" y="1170"/>
                    <a:pt x="2184" y="1175"/>
                  </a:cubicBezTo>
                  <a:cubicBezTo>
                    <a:pt x="2184" y="1181"/>
                    <a:pt x="2190" y="1186"/>
                    <a:pt x="2199" y="1186"/>
                  </a:cubicBezTo>
                  <a:cubicBezTo>
                    <a:pt x="2208" y="1186"/>
                    <a:pt x="2215" y="1181"/>
                    <a:pt x="2216" y="1175"/>
                  </a:cubicBezTo>
                  <a:cubicBezTo>
                    <a:pt x="2216" y="1170"/>
                    <a:pt x="2210" y="1165"/>
                    <a:pt x="2201" y="1165"/>
                  </a:cubicBezTo>
                  <a:cubicBezTo>
                    <a:pt x="2201" y="1165"/>
                    <a:pt x="2201" y="1165"/>
                    <a:pt x="2201" y="1165"/>
                  </a:cubicBezTo>
                  <a:moveTo>
                    <a:pt x="2245" y="1165"/>
                  </a:moveTo>
                  <a:cubicBezTo>
                    <a:pt x="2236" y="1165"/>
                    <a:pt x="2229" y="1170"/>
                    <a:pt x="2228" y="1175"/>
                  </a:cubicBezTo>
                  <a:cubicBezTo>
                    <a:pt x="2228" y="1181"/>
                    <a:pt x="2235" y="1185"/>
                    <a:pt x="2243" y="1185"/>
                  </a:cubicBezTo>
                  <a:cubicBezTo>
                    <a:pt x="2252" y="1185"/>
                    <a:pt x="2259" y="1181"/>
                    <a:pt x="2260" y="1175"/>
                  </a:cubicBezTo>
                  <a:cubicBezTo>
                    <a:pt x="2260" y="1170"/>
                    <a:pt x="2253" y="1165"/>
                    <a:pt x="2245" y="1165"/>
                  </a:cubicBezTo>
                  <a:cubicBezTo>
                    <a:pt x="2245" y="1165"/>
                    <a:pt x="2245" y="1165"/>
                    <a:pt x="2245" y="1165"/>
                  </a:cubicBezTo>
                  <a:moveTo>
                    <a:pt x="2289" y="1165"/>
                  </a:moveTo>
                  <a:cubicBezTo>
                    <a:pt x="2280" y="1165"/>
                    <a:pt x="2273" y="1169"/>
                    <a:pt x="2273" y="1175"/>
                  </a:cubicBezTo>
                  <a:cubicBezTo>
                    <a:pt x="2273" y="1181"/>
                    <a:pt x="2279" y="1185"/>
                    <a:pt x="2288" y="1185"/>
                  </a:cubicBezTo>
                  <a:cubicBezTo>
                    <a:pt x="2297" y="1185"/>
                    <a:pt x="2304" y="1181"/>
                    <a:pt x="2304" y="1175"/>
                  </a:cubicBezTo>
                  <a:cubicBezTo>
                    <a:pt x="2304" y="1169"/>
                    <a:pt x="2298" y="1165"/>
                    <a:pt x="2289" y="1165"/>
                  </a:cubicBezTo>
                  <a:cubicBezTo>
                    <a:pt x="2289" y="1165"/>
                    <a:pt x="2289" y="1165"/>
                    <a:pt x="2289" y="1165"/>
                  </a:cubicBezTo>
                  <a:moveTo>
                    <a:pt x="2334" y="1165"/>
                  </a:moveTo>
                  <a:cubicBezTo>
                    <a:pt x="2325" y="1165"/>
                    <a:pt x="2318" y="1169"/>
                    <a:pt x="2318" y="1175"/>
                  </a:cubicBezTo>
                  <a:cubicBezTo>
                    <a:pt x="2317" y="1181"/>
                    <a:pt x="2324" y="1185"/>
                    <a:pt x="2333" y="1185"/>
                  </a:cubicBezTo>
                  <a:cubicBezTo>
                    <a:pt x="2342" y="1185"/>
                    <a:pt x="2349" y="1181"/>
                    <a:pt x="2349" y="1175"/>
                  </a:cubicBezTo>
                  <a:cubicBezTo>
                    <a:pt x="2349" y="1169"/>
                    <a:pt x="2342" y="1165"/>
                    <a:pt x="2334" y="1165"/>
                  </a:cubicBezTo>
                  <a:cubicBezTo>
                    <a:pt x="2334" y="1165"/>
                    <a:pt x="2334" y="1165"/>
                    <a:pt x="2334" y="1165"/>
                  </a:cubicBezTo>
                  <a:moveTo>
                    <a:pt x="2379" y="1165"/>
                  </a:moveTo>
                  <a:cubicBezTo>
                    <a:pt x="2370" y="1165"/>
                    <a:pt x="2363" y="1169"/>
                    <a:pt x="2363" y="1175"/>
                  </a:cubicBezTo>
                  <a:cubicBezTo>
                    <a:pt x="2363" y="1181"/>
                    <a:pt x="2370" y="1185"/>
                    <a:pt x="2378" y="1185"/>
                  </a:cubicBezTo>
                  <a:cubicBezTo>
                    <a:pt x="2387" y="1185"/>
                    <a:pt x="2394" y="1180"/>
                    <a:pt x="2394" y="1175"/>
                  </a:cubicBezTo>
                  <a:cubicBezTo>
                    <a:pt x="2394" y="1169"/>
                    <a:pt x="2387" y="1165"/>
                    <a:pt x="2379" y="1165"/>
                  </a:cubicBezTo>
                  <a:cubicBezTo>
                    <a:pt x="2379" y="1165"/>
                    <a:pt x="2379" y="1165"/>
                    <a:pt x="2379" y="1165"/>
                  </a:cubicBezTo>
                  <a:moveTo>
                    <a:pt x="2423" y="1164"/>
                  </a:moveTo>
                  <a:cubicBezTo>
                    <a:pt x="2414" y="1165"/>
                    <a:pt x="2407" y="1169"/>
                    <a:pt x="2407" y="1175"/>
                  </a:cubicBezTo>
                  <a:cubicBezTo>
                    <a:pt x="2407" y="1180"/>
                    <a:pt x="2414" y="1185"/>
                    <a:pt x="2423" y="1185"/>
                  </a:cubicBezTo>
                  <a:cubicBezTo>
                    <a:pt x="2431" y="1185"/>
                    <a:pt x="2438" y="1180"/>
                    <a:pt x="2439" y="1175"/>
                  </a:cubicBezTo>
                  <a:cubicBezTo>
                    <a:pt x="2439" y="1169"/>
                    <a:pt x="2432" y="1164"/>
                    <a:pt x="2423" y="1164"/>
                  </a:cubicBezTo>
                  <a:cubicBezTo>
                    <a:pt x="2423" y="1164"/>
                    <a:pt x="2423" y="1164"/>
                    <a:pt x="2423" y="1164"/>
                  </a:cubicBezTo>
                  <a:moveTo>
                    <a:pt x="2468" y="1164"/>
                  </a:moveTo>
                  <a:cubicBezTo>
                    <a:pt x="2459" y="1164"/>
                    <a:pt x="2452" y="1169"/>
                    <a:pt x="2452" y="1175"/>
                  </a:cubicBezTo>
                  <a:cubicBezTo>
                    <a:pt x="2452" y="1180"/>
                    <a:pt x="2459" y="1185"/>
                    <a:pt x="2468" y="1185"/>
                  </a:cubicBezTo>
                  <a:cubicBezTo>
                    <a:pt x="2476" y="1185"/>
                    <a:pt x="2483" y="1180"/>
                    <a:pt x="2483" y="1175"/>
                  </a:cubicBezTo>
                  <a:cubicBezTo>
                    <a:pt x="2483" y="1169"/>
                    <a:pt x="2476" y="1164"/>
                    <a:pt x="2468" y="1164"/>
                  </a:cubicBezTo>
                  <a:cubicBezTo>
                    <a:pt x="2468" y="1164"/>
                    <a:pt x="2468" y="1164"/>
                    <a:pt x="2468" y="1164"/>
                  </a:cubicBezTo>
                  <a:moveTo>
                    <a:pt x="2512" y="1164"/>
                  </a:moveTo>
                  <a:cubicBezTo>
                    <a:pt x="2503" y="1164"/>
                    <a:pt x="2496" y="1169"/>
                    <a:pt x="2496" y="1174"/>
                  </a:cubicBezTo>
                  <a:cubicBezTo>
                    <a:pt x="2496" y="1180"/>
                    <a:pt x="2503" y="1185"/>
                    <a:pt x="2512" y="1185"/>
                  </a:cubicBezTo>
                  <a:cubicBezTo>
                    <a:pt x="2521" y="1185"/>
                    <a:pt x="2528" y="1180"/>
                    <a:pt x="2528" y="1174"/>
                  </a:cubicBezTo>
                  <a:cubicBezTo>
                    <a:pt x="2527" y="1169"/>
                    <a:pt x="2520" y="1164"/>
                    <a:pt x="2512" y="1164"/>
                  </a:cubicBezTo>
                  <a:cubicBezTo>
                    <a:pt x="2512" y="1164"/>
                    <a:pt x="2512" y="1164"/>
                    <a:pt x="2512" y="1164"/>
                  </a:cubicBezTo>
                  <a:moveTo>
                    <a:pt x="2556" y="1164"/>
                  </a:moveTo>
                  <a:cubicBezTo>
                    <a:pt x="2548" y="1164"/>
                    <a:pt x="2541" y="1169"/>
                    <a:pt x="2541" y="1174"/>
                  </a:cubicBezTo>
                  <a:cubicBezTo>
                    <a:pt x="2541" y="1180"/>
                    <a:pt x="2548" y="1185"/>
                    <a:pt x="2557" y="1185"/>
                  </a:cubicBezTo>
                  <a:cubicBezTo>
                    <a:pt x="2566" y="1185"/>
                    <a:pt x="2573" y="1180"/>
                    <a:pt x="2572" y="1174"/>
                  </a:cubicBezTo>
                  <a:cubicBezTo>
                    <a:pt x="2572" y="1169"/>
                    <a:pt x="2565" y="1164"/>
                    <a:pt x="2556" y="1164"/>
                  </a:cubicBezTo>
                  <a:cubicBezTo>
                    <a:pt x="2556" y="1164"/>
                    <a:pt x="2556" y="1164"/>
                    <a:pt x="2556" y="1164"/>
                  </a:cubicBezTo>
                  <a:moveTo>
                    <a:pt x="2601" y="1164"/>
                  </a:moveTo>
                  <a:cubicBezTo>
                    <a:pt x="2593" y="1164"/>
                    <a:pt x="2586" y="1169"/>
                    <a:pt x="2586" y="1174"/>
                  </a:cubicBezTo>
                  <a:cubicBezTo>
                    <a:pt x="2586" y="1180"/>
                    <a:pt x="2594" y="1184"/>
                    <a:pt x="2602" y="1184"/>
                  </a:cubicBezTo>
                  <a:cubicBezTo>
                    <a:pt x="2611" y="1184"/>
                    <a:pt x="2618" y="1180"/>
                    <a:pt x="2618" y="1174"/>
                  </a:cubicBezTo>
                  <a:cubicBezTo>
                    <a:pt x="2617" y="1169"/>
                    <a:pt x="2610" y="1164"/>
                    <a:pt x="2602" y="1164"/>
                  </a:cubicBezTo>
                  <a:cubicBezTo>
                    <a:pt x="2601" y="1164"/>
                    <a:pt x="2601" y="1164"/>
                    <a:pt x="2601" y="1164"/>
                  </a:cubicBezTo>
                  <a:moveTo>
                    <a:pt x="2646" y="1164"/>
                  </a:moveTo>
                  <a:cubicBezTo>
                    <a:pt x="2637" y="1164"/>
                    <a:pt x="2630" y="1168"/>
                    <a:pt x="2631" y="1174"/>
                  </a:cubicBezTo>
                  <a:cubicBezTo>
                    <a:pt x="2631" y="1180"/>
                    <a:pt x="2638" y="1184"/>
                    <a:pt x="2647" y="1184"/>
                  </a:cubicBezTo>
                  <a:cubicBezTo>
                    <a:pt x="2656" y="1184"/>
                    <a:pt x="2662" y="1180"/>
                    <a:pt x="2662" y="1174"/>
                  </a:cubicBezTo>
                  <a:cubicBezTo>
                    <a:pt x="2662" y="1168"/>
                    <a:pt x="2654" y="1164"/>
                    <a:pt x="2646" y="1164"/>
                  </a:cubicBezTo>
                  <a:cubicBezTo>
                    <a:pt x="2646" y="1164"/>
                    <a:pt x="2646" y="1164"/>
                    <a:pt x="2646" y="1164"/>
                  </a:cubicBezTo>
                  <a:moveTo>
                    <a:pt x="2691" y="1164"/>
                  </a:moveTo>
                  <a:cubicBezTo>
                    <a:pt x="2682" y="1164"/>
                    <a:pt x="2675" y="1168"/>
                    <a:pt x="2676" y="1174"/>
                  </a:cubicBezTo>
                  <a:cubicBezTo>
                    <a:pt x="2676" y="1180"/>
                    <a:pt x="2683" y="1184"/>
                    <a:pt x="2692" y="1184"/>
                  </a:cubicBezTo>
                  <a:cubicBezTo>
                    <a:pt x="2701" y="1184"/>
                    <a:pt x="2707" y="1180"/>
                    <a:pt x="2707" y="1174"/>
                  </a:cubicBezTo>
                  <a:cubicBezTo>
                    <a:pt x="2707" y="1168"/>
                    <a:pt x="2699" y="1164"/>
                    <a:pt x="2691" y="1164"/>
                  </a:cubicBezTo>
                  <a:cubicBezTo>
                    <a:pt x="2691" y="1164"/>
                    <a:pt x="2691" y="1164"/>
                    <a:pt x="2691" y="1164"/>
                  </a:cubicBezTo>
                  <a:moveTo>
                    <a:pt x="2734" y="1164"/>
                  </a:moveTo>
                  <a:cubicBezTo>
                    <a:pt x="2725" y="1164"/>
                    <a:pt x="2718" y="1168"/>
                    <a:pt x="2719" y="1174"/>
                  </a:cubicBezTo>
                  <a:cubicBezTo>
                    <a:pt x="2719" y="1180"/>
                    <a:pt x="2727" y="1184"/>
                    <a:pt x="2735" y="1184"/>
                  </a:cubicBezTo>
                  <a:cubicBezTo>
                    <a:pt x="2744" y="1184"/>
                    <a:pt x="2751" y="1179"/>
                    <a:pt x="2750" y="1174"/>
                  </a:cubicBezTo>
                  <a:cubicBezTo>
                    <a:pt x="2750" y="1168"/>
                    <a:pt x="2742" y="1164"/>
                    <a:pt x="2734" y="1164"/>
                  </a:cubicBezTo>
                  <a:cubicBezTo>
                    <a:pt x="2734" y="1164"/>
                    <a:pt x="2734" y="1164"/>
                    <a:pt x="2734" y="1164"/>
                  </a:cubicBezTo>
                  <a:moveTo>
                    <a:pt x="4380" y="1159"/>
                  </a:moveTo>
                  <a:cubicBezTo>
                    <a:pt x="4371" y="1159"/>
                    <a:pt x="4367" y="1164"/>
                    <a:pt x="4370" y="1169"/>
                  </a:cubicBezTo>
                  <a:cubicBezTo>
                    <a:pt x="4374" y="1175"/>
                    <a:pt x="4384" y="1180"/>
                    <a:pt x="4392" y="1180"/>
                  </a:cubicBezTo>
                  <a:cubicBezTo>
                    <a:pt x="4401" y="1180"/>
                    <a:pt x="4405" y="1175"/>
                    <a:pt x="4402" y="1169"/>
                  </a:cubicBezTo>
                  <a:cubicBezTo>
                    <a:pt x="4398" y="1164"/>
                    <a:pt x="4388" y="1159"/>
                    <a:pt x="4380" y="1159"/>
                  </a:cubicBezTo>
                  <a:cubicBezTo>
                    <a:pt x="4380" y="1159"/>
                    <a:pt x="4380" y="1159"/>
                    <a:pt x="4380" y="1159"/>
                  </a:cubicBezTo>
                  <a:moveTo>
                    <a:pt x="4422" y="1159"/>
                  </a:moveTo>
                  <a:cubicBezTo>
                    <a:pt x="4413" y="1159"/>
                    <a:pt x="4409" y="1164"/>
                    <a:pt x="4412" y="1169"/>
                  </a:cubicBezTo>
                  <a:cubicBezTo>
                    <a:pt x="4416" y="1175"/>
                    <a:pt x="4426" y="1180"/>
                    <a:pt x="4434" y="1179"/>
                  </a:cubicBezTo>
                  <a:cubicBezTo>
                    <a:pt x="4443" y="1179"/>
                    <a:pt x="4447" y="1175"/>
                    <a:pt x="4444" y="1169"/>
                  </a:cubicBezTo>
                  <a:cubicBezTo>
                    <a:pt x="4440" y="1163"/>
                    <a:pt x="4430" y="1159"/>
                    <a:pt x="4422" y="1159"/>
                  </a:cubicBezTo>
                  <a:cubicBezTo>
                    <a:pt x="4422" y="1159"/>
                    <a:pt x="4422" y="1159"/>
                    <a:pt x="4422" y="1159"/>
                  </a:cubicBezTo>
                  <a:moveTo>
                    <a:pt x="4024" y="1157"/>
                  </a:moveTo>
                  <a:cubicBezTo>
                    <a:pt x="4016" y="1157"/>
                    <a:pt x="4011" y="1162"/>
                    <a:pt x="4014" y="1168"/>
                  </a:cubicBezTo>
                  <a:cubicBezTo>
                    <a:pt x="4017" y="1173"/>
                    <a:pt x="4026" y="1178"/>
                    <a:pt x="4035" y="1178"/>
                  </a:cubicBezTo>
                  <a:cubicBezTo>
                    <a:pt x="4043" y="1178"/>
                    <a:pt x="4048" y="1173"/>
                    <a:pt x="4045" y="1167"/>
                  </a:cubicBezTo>
                  <a:cubicBezTo>
                    <a:pt x="4042" y="1162"/>
                    <a:pt x="4033" y="1157"/>
                    <a:pt x="4024" y="1157"/>
                  </a:cubicBezTo>
                  <a:cubicBezTo>
                    <a:pt x="4024" y="1157"/>
                    <a:pt x="4024" y="1157"/>
                    <a:pt x="4024" y="1157"/>
                  </a:cubicBezTo>
                  <a:moveTo>
                    <a:pt x="4067" y="1157"/>
                  </a:moveTo>
                  <a:cubicBezTo>
                    <a:pt x="4059" y="1157"/>
                    <a:pt x="4054" y="1162"/>
                    <a:pt x="4057" y="1167"/>
                  </a:cubicBezTo>
                  <a:cubicBezTo>
                    <a:pt x="4060" y="1173"/>
                    <a:pt x="4069" y="1178"/>
                    <a:pt x="4078" y="1178"/>
                  </a:cubicBezTo>
                  <a:cubicBezTo>
                    <a:pt x="4087" y="1178"/>
                    <a:pt x="4091" y="1173"/>
                    <a:pt x="4088" y="1167"/>
                  </a:cubicBezTo>
                  <a:cubicBezTo>
                    <a:pt x="4085" y="1162"/>
                    <a:pt x="4076" y="1157"/>
                    <a:pt x="4068" y="1157"/>
                  </a:cubicBezTo>
                  <a:cubicBezTo>
                    <a:pt x="4068" y="1157"/>
                    <a:pt x="4067" y="1157"/>
                    <a:pt x="4067" y="1157"/>
                  </a:cubicBezTo>
                  <a:moveTo>
                    <a:pt x="4201" y="1157"/>
                  </a:moveTo>
                  <a:cubicBezTo>
                    <a:pt x="4192" y="1157"/>
                    <a:pt x="4188" y="1162"/>
                    <a:pt x="4191" y="1167"/>
                  </a:cubicBezTo>
                  <a:cubicBezTo>
                    <a:pt x="4194" y="1173"/>
                    <a:pt x="4204" y="1178"/>
                    <a:pt x="4212" y="1178"/>
                  </a:cubicBezTo>
                  <a:cubicBezTo>
                    <a:pt x="4221" y="1178"/>
                    <a:pt x="4225" y="1173"/>
                    <a:pt x="4222" y="1167"/>
                  </a:cubicBezTo>
                  <a:cubicBezTo>
                    <a:pt x="4219" y="1162"/>
                    <a:pt x="4209" y="1157"/>
                    <a:pt x="4201" y="1157"/>
                  </a:cubicBezTo>
                  <a:cubicBezTo>
                    <a:pt x="4201" y="1157"/>
                    <a:pt x="4201" y="1157"/>
                    <a:pt x="4201" y="1157"/>
                  </a:cubicBezTo>
                  <a:moveTo>
                    <a:pt x="4245" y="1157"/>
                  </a:moveTo>
                  <a:cubicBezTo>
                    <a:pt x="4236" y="1157"/>
                    <a:pt x="4232" y="1162"/>
                    <a:pt x="4235" y="1167"/>
                  </a:cubicBezTo>
                  <a:cubicBezTo>
                    <a:pt x="4238" y="1173"/>
                    <a:pt x="4248" y="1177"/>
                    <a:pt x="4256" y="1177"/>
                  </a:cubicBezTo>
                  <a:cubicBezTo>
                    <a:pt x="4265" y="1177"/>
                    <a:pt x="4269" y="1173"/>
                    <a:pt x="4266" y="1167"/>
                  </a:cubicBezTo>
                  <a:cubicBezTo>
                    <a:pt x="4263" y="1161"/>
                    <a:pt x="4253" y="1157"/>
                    <a:pt x="4245" y="1157"/>
                  </a:cubicBezTo>
                  <a:cubicBezTo>
                    <a:pt x="4245" y="1157"/>
                    <a:pt x="4245" y="1157"/>
                    <a:pt x="4245" y="1157"/>
                  </a:cubicBezTo>
                  <a:moveTo>
                    <a:pt x="4289" y="1157"/>
                  </a:moveTo>
                  <a:cubicBezTo>
                    <a:pt x="4280" y="1157"/>
                    <a:pt x="4276" y="1161"/>
                    <a:pt x="4279" y="1167"/>
                  </a:cubicBezTo>
                  <a:cubicBezTo>
                    <a:pt x="4283" y="1173"/>
                    <a:pt x="4292" y="1177"/>
                    <a:pt x="4301" y="1177"/>
                  </a:cubicBezTo>
                  <a:cubicBezTo>
                    <a:pt x="4309" y="1177"/>
                    <a:pt x="4314" y="1173"/>
                    <a:pt x="4310" y="1167"/>
                  </a:cubicBezTo>
                  <a:cubicBezTo>
                    <a:pt x="4307" y="1161"/>
                    <a:pt x="4297" y="1157"/>
                    <a:pt x="4289" y="1157"/>
                  </a:cubicBezTo>
                  <a:cubicBezTo>
                    <a:pt x="4289" y="1157"/>
                    <a:pt x="4289" y="1157"/>
                    <a:pt x="4289" y="1157"/>
                  </a:cubicBezTo>
                  <a:moveTo>
                    <a:pt x="4648" y="1156"/>
                  </a:moveTo>
                  <a:cubicBezTo>
                    <a:pt x="4639" y="1156"/>
                    <a:pt x="4635" y="1161"/>
                    <a:pt x="4639" y="1166"/>
                  </a:cubicBezTo>
                  <a:cubicBezTo>
                    <a:pt x="4643" y="1172"/>
                    <a:pt x="4653" y="1177"/>
                    <a:pt x="4662" y="1177"/>
                  </a:cubicBezTo>
                  <a:cubicBezTo>
                    <a:pt x="4671" y="1177"/>
                    <a:pt x="4674" y="1172"/>
                    <a:pt x="4670" y="1166"/>
                  </a:cubicBezTo>
                  <a:cubicBezTo>
                    <a:pt x="4666" y="1161"/>
                    <a:pt x="4656" y="1156"/>
                    <a:pt x="4648" y="1156"/>
                  </a:cubicBezTo>
                  <a:cubicBezTo>
                    <a:pt x="4648" y="1156"/>
                    <a:pt x="4648" y="1156"/>
                    <a:pt x="4648" y="1156"/>
                  </a:cubicBezTo>
                  <a:moveTo>
                    <a:pt x="4736" y="1156"/>
                  </a:moveTo>
                  <a:cubicBezTo>
                    <a:pt x="4727" y="1156"/>
                    <a:pt x="4723" y="1160"/>
                    <a:pt x="4728" y="1166"/>
                  </a:cubicBezTo>
                  <a:cubicBezTo>
                    <a:pt x="4732" y="1172"/>
                    <a:pt x="4742" y="1176"/>
                    <a:pt x="4751" y="1176"/>
                  </a:cubicBezTo>
                  <a:cubicBezTo>
                    <a:pt x="4759" y="1176"/>
                    <a:pt x="4763" y="1172"/>
                    <a:pt x="4759" y="1166"/>
                  </a:cubicBezTo>
                  <a:cubicBezTo>
                    <a:pt x="4755" y="1160"/>
                    <a:pt x="4744" y="1156"/>
                    <a:pt x="4736" y="1156"/>
                  </a:cubicBezTo>
                  <a:cubicBezTo>
                    <a:pt x="4736" y="1156"/>
                    <a:pt x="4736" y="1156"/>
                    <a:pt x="4736" y="1156"/>
                  </a:cubicBezTo>
                  <a:moveTo>
                    <a:pt x="4781" y="1156"/>
                  </a:moveTo>
                  <a:cubicBezTo>
                    <a:pt x="4772" y="1156"/>
                    <a:pt x="4769" y="1160"/>
                    <a:pt x="4773" y="1166"/>
                  </a:cubicBezTo>
                  <a:cubicBezTo>
                    <a:pt x="4777" y="1172"/>
                    <a:pt x="4787" y="1176"/>
                    <a:pt x="4796" y="1176"/>
                  </a:cubicBezTo>
                  <a:cubicBezTo>
                    <a:pt x="4805" y="1176"/>
                    <a:pt x="4808" y="1172"/>
                    <a:pt x="4804" y="1166"/>
                  </a:cubicBezTo>
                  <a:cubicBezTo>
                    <a:pt x="4800" y="1160"/>
                    <a:pt x="4789" y="1156"/>
                    <a:pt x="4781" y="1156"/>
                  </a:cubicBezTo>
                  <a:cubicBezTo>
                    <a:pt x="4781" y="1156"/>
                    <a:pt x="4781" y="1156"/>
                    <a:pt x="4781" y="1156"/>
                  </a:cubicBezTo>
                  <a:moveTo>
                    <a:pt x="306" y="1138"/>
                  </a:moveTo>
                  <a:cubicBezTo>
                    <a:pt x="297" y="1139"/>
                    <a:pt x="287" y="1143"/>
                    <a:pt x="283" y="1149"/>
                  </a:cubicBezTo>
                  <a:cubicBezTo>
                    <a:pt x="279" y="1154"/>
                    <a:pt x="283" y="1159"/>
                    <a:pt x="291" y="1159"/>
                  </a:cubicBezTo>
                  <a:cubicBezTo>
                    <a:pt x="300" y="1159"/>
                    <a:pt x="310" y="1154"/>
                    <a:pt x="314" y="1149"/>
                  </a:cubicBezTo>
                  <a:cubicBezTo>
                    <a:pt x="318" y="1143"/>
                    <a:pt x="314" y="1138"/>
                    <a:pt x="306" y="1138"/>
                  </a:cubicBezTo>
                  <a:cubicBezTo>
                    <a:pt x="306" y="1138"/>
                    <a:pt x="306" y="1138"/>
                    <a:pt x="306" y="1138"/>
                  </a:cubicBezTo>
                  <a:moveTo>
                    <a:pt x="350" y="1138"/>
                  </a:moveTo>
                  <a:cubicBezTo>
                    <a:pt x="341" y="1138"/>
                    <a:pt x="331" y="1143"/>
                    <a:pt x="327" y="1149"/>
                  </a:cubicBezTo>
                  <a:cubicBezTo>
                    <a:pt x="323" y="1154"/>
                    <a:pt x="327" y="1159"/>
                    <a:pt x="336" y="1159"/>
                  </a:cubicBezTo>
                  <a:cubicBezTo>
                    <a:pt x="344" y="1159"/>
                    <a:pt x="354" y="1154"/>
                    <a:pt x="358" y="1148"/>
                  </a:cubicBezTo>
                  <a:cubicBezTo>
                    <a:pt x="362" y="1143"/>
                    <a:pt x="358" y="1138"/>
                    <a:pt x="350" y="1138"/>
                  </a:cubicBezTo>
                  <a:cubicBezTo>
                    <a:pt x="350" y="1138"/>
                    <a:pt x="350" y="1138"/>
                    <a:pt x="350" y="1138"/>
                  </a:cubicBezTo>
                  <a:moveTo>
                    <a:pt x="394" y="1138"/>
                  </a:moveTo>
                  <a:cubicBezTo>
                    <a:pt x="385" y="1138"/>
                    <a:pt x="375" y="1143"/>
                    <a:pt x="371" y="1148"/>
                  </a:cubicBezTo>
                  <a:cubicBezTo>
                    <a:pt x="368" y="1154"/>
                    <a:pt x="372" y="1159"/>
                    <a:pt x="380" y="1159"/>
                  </a:cubicBezTo>
                  <a:cubicBezTo>
                    <a:pt x="389" y="1158"/>
                    <a:pt x="399" y="1154"/>
                    <a:pt x="402" y="1148"/>
                  </a:cubicBezTo>
                  <a:cubicBezTo>
                    <a:pt x="406" y="1143"/>
                    <a:pt x="402" y="1138"/>
                    <a:pt x="394" y="1138"/>
                  </a:cubicBezTo>
                  <a:cubicBezTo>
                    <a:pt x="394" y="1138"/>
                    <a:pt x="394" y="1138"/>
                    <a:pt x="394" y="1138"/>
                  </a:cubicBezTo>
                  <a:moveTo>
                    <a:pt x="438" y="1138"/>
                  </a:moveTo>
                  <a:cubicBezTo>
                    <a:pt x="429" y="1138"/>
                    <a:pt x="419" y="1143"/>
                    <a:pt x="415" y="1148"/>
                  </a:cubicBezTo>
                  <a:cubicBezTo>
                    <a:pt x="412" y="1154"/>
                    <a:pt x="416" y="1158"/>
                    <a:pt x="424" y="1158"/>
                  </a:cubicBezTo>
                  <a:cubicBezTo>
                    <a:pt x="433" y="1158"/>
                    <a:pt x="443" y="1154"/>
                    <a:pt x="446" y="1148"/>
                  </a:cubicBezTo>
                  <a:cubicBezTo>
                    <a:pt x="450" y="1143"/>
                    <a:pt x="446" y="1138"/>
                    <a:pt x="438" y="1138"/>
                  </a:cubicBezTo>
                  <a:cubicBezTo>
                    <a:pt x="438" y="1138"/>
                    <a:pt x="438" y="1138"/>
                    <a:pt x="438" y="1138"/>
                  </a:cubicBezTo>
                  <a:moveTo>
                    <a:pt x="482" y="1138"/>
                  </a:moveTo>
                  <a:cubicBezTo>
                    <a:pt x="473" y="1138"/>
                    <a:pt x="464" y="1143"/>
                    <a:pt x="460" y="1148"/>
                  </a:cubicBezTo>
                  <a:cubicBezTo>
                    <a:pt x="456" y="1154"/>
                    <a:pt x="460" y="1158"/>
                    <a:pt x="469" y="1158"/>
                  </a:cubicBezTo>
                  <a:cubicBezTo>
                    <a:pt x="477" y="1158"/>
                    <a:pt x="487" y="1154"/>
                    <a:pt x="491" y="1148"/>
                  </a:cubicBezTo>
                  <a:cubicBezTo>
                    <a:pt x="494" y="1142"/>
                    <a:pt x="490" y="1138"/>
                    <a:pt x="482" y="1138"/>
                  </a:cubicBezTo>
                  <a:cubicBezTo>
                    <a:pt x="482" y="1138"/>
                    <a:pt x="482" y="1138"/>
                    <a:pt x="482" y="1138"/>
                  </a:cubicBezTo>
                  <a:moveTo>
                    <a:pt x="527" y="1138"/>
                  </a:moveTo>
                  <a:cubicBezTo>
                    <a:pt x="519" y="1138"/>
                    <a:pt x="509" y="1142"/>
                    <a:pt x="506" y="1148"/>
                  </a:cubicBezTo>
                  <a:cubicBezTo>
                    <a:pt x="502" y="1154"/>
                    <a:pt x="506" y="1158"/>
                    <a:pt x="515" y="1158"/>
                  </a:cubicBezTo>
                  <a:cubicBezTo>
                    <a:pt x="523" y="1158"/>
                    <a:pt x="533" y="1154"/>
                    <a:pt x="537" y="1148"/>
                  </a:cubicBezTo>
                  <a:cubicBezTo>
                    <a:pt x="540" y="1142"/>
                    <a:pt x="536" y="1138"/>
                    <a:pt x="528" y="1138"/>
                  </a:cubicBezTo>
                  <a:cubicBezTo>
                    <a:pt x="528" y="1138"/>
                    <a:pt x="527" y="1138"/>
                    <a:pt x="527" y="1138"/>
                  </a:cubicBezTo>
                  <a:moveTo>
                    <a:pt x="571" y="1138"/>
                  </a:moveTo>
                  <a:cubicBezTo>
                    <a:pt x="563" y="1138"/>
                    <a:pt x="553" y="1142"/>
                    <a:pt x="550" y="1148"/>
                  </a:cubicBezTo>
                  <a:cubicBezTo>
                    <a:pt x="546" y="1154"/>
                    <a:pt x="550" y="1158"/>
                    <a:pt x="559" y="1158"/>
                  </a:cubicBezTo>
                  <a:cubicBezTo>
                    <a:pt x="567" y="1158"/>
                    <a:pt x="577" y="1153"/>
                    <a:pt x="581" y="1148"/>
                  </a:cubicBezTo>
                  <a:cubicBezTo>
                    <a:pt x="584" y="1142"/>
                    <a:pt x="580" y="1138"/>
                    <a:pt x="571" y="1138"/>
                  </a:cubicBezTo>
                  <a:cubicBezTo>
                    <a:pt x="571" y="1138"/>
                    <a:pt x="571" y="1138"/>
                    <a:pt x="571" y="1138"/>
                  </a:cubicBezTo>
                  <a:moveTo>
                    <a:pt x="616" y="1138"/>
                  </a:moveTo>
                  <a:cubicBezTo>
                    <a:pt x="607" y="1138"/>
                    <a:pt x="597" y="1142"/>
                    <a:pt x="594" y="1148"/>
                  </a:cubicBezTo>
                  <a:cubicBezTo>
                    <a:pt x="591" y="1153"/>
                    <a:pt x="595" y="1158"/>
                    <a:pt x="603" y="1158"/>
                  </a:cubicBezTo>
                  <a:cubicBezTo>
                    <a:pt x="612" y="1158"/>
                    <a:pt x="622" y="1153"/>
                    <a:pt x="625" y="1148"/>
                  </a:cubicBezTo>
                  <a:cubicBezTo>
                    <a:pt x="628" y="1142"/>
                    <a:pt x="624" y="1138"/>
                    <a:pt x="616" y="1138"/>
                  </a:cubicBezTo>
                  <a:cubicBezTo>
                    <a:pt x="616" y="1138"/>
                    <a:pt x="616" y="1138"/>
                    <a:pt x="616" y="1138"/>
                  </a:cubicBezTo>
                  <a:moveTo>
                    <a:pt x="660" y="1137"/>
                  </a:moveTo>
                  <a:cubicBezTo>
                    <a:pt x="652" y="1137"/>
                    <a:pt x="642" y="1142"/>
                    <a:pt x="639" y="1148"/>
                  </a:cubicBezTo>
                  <a:cubicBezTo>
                    <a:pt x="635" y="1153"/>
                    <a:pt x="640" y="1158"/>
                    <a:pt x="648" y="1158"/>
                  </a:cubicBezTo>
                  <a:cubicBezTo>
                    <a:pt x="657" y="1158"/>
                    <a:pt x="666" y="1153"/>
                    <a:pt x="670" y="1148"/>
                  </a:cubicBezTo>
                  <a:cubicBezTo>
                    <a:pt x="673" y="1142"/>
                    <a:pt x="669" y="1137"/>
                    <a:pt x="660" y="1137"/>
                  </a:cubicBezTo>
                  <a:cubicBezTo>
                    <a:pt x="660" y="1137"/>
                    <a:pt x="660" y="1137"/>
                    <a:pt x="660" y="1137"/>
                  </a:cubicBezTo>
                  <a:moveTo>
                    <a:pt x="704" y="1137"/>
                  </a:moveTo>
                  <a:cubicBezTo>
                    <a:pt x="696" y="1137"/>
                    <a:pt x="686" y="1142"/>
                    <a:pt x="683" y="1148"/>
                  </a:cubicBezTo>
                  <a:cubicBezTo>
                    <a:pt x="680" y="1153"/>
                    <a:pt x="684" y="1158"/>
                    <a:pt x="692" y="1158"/>
                  </a:cubicBezTo>
                  <a:cubicBezTo>
                    <a:pt x="701" y="1158"/>
                    <a:pt x="711" y="1153"/>
                    <a:pt x="714" y="1147"/>
                  </a:cubicBezTo>
                  <a:cubicBezTo>
                    <a:pt x="717" y="1142"/>
                    <a:pt x="713" y="1137"/>
                    <a:pt x="704" y="1137"/>
                  </a:cubicBezTo>
                  <a:cubicBezTo>
                    <a:pt x="704" y="1137"/>
                    <a:pt x="704" y="1137"/>
                    <a:pt x="704" y="1137"/>
                  </a:cubicBezTo>
                  <a:moveTo>
                    <a:pt x="748" y="1137"/>
                  </a:moveTo>
                  <a:cubicBezTo>
                    <a:pt x="740" y="1137"/>
                    <a:pt x="730" y="1142"/>
                    <a:pt x="727" y="1147"/>
                  </a:cubicBezTo>
                  <a:cubicBezTo>
                    <a:pt x="724" y="1153"/>
                    <a:pt x="728" y="1158"/>
                    <a:pt x="737" y="1157"/>
                  </a:cubicBezTo>
                  <a:cubicBezTo>
                    <a:pt x="745" y="1157"/>
                    <a:pt x="755" y="1153"/>
                    <a:pt x="758" y="1147"/>
                  </a:cubicBezTo>
                  <a:cubicBezTo>
                    <a:pt x="761" y="1142"/>
                    <a:pt x="757" y="1137"/>
                    <a:pt x="748" y="1137"/>
                  </a:cubicBezTo>
                  <a:cubicBezTo>
                    <a:pt x="748" y="1137"/>
                    <a:pt x="748" y="1137"/>
                    <a:pt x="748" y="1137"/>
                  </a:cubicBezTo>
                  <a:moveTo>
                    <a:pt x="792" y="1137"/>
                  </a:moveTo>
                  <a:cubicBezTo>
                    <a:pt x="784" y="1137"/>
                    <a:pt x="774" y="1142"/>
                    <a:pt x="771" y="1147"/>
                  </a:cubicBezTo>
                  <a:cubicBezTo>
                    <a:pt x="768" y="1153"/>
                    <a:pt x="772" y="1157"/>
                    <a:pt x="781" y="1157"/>
                  </a:cubicBezTo>
                  <a:cubicBezTo>
                    <a:pt x="790" y="1157"/>
                    <a:pt x="799" y="1153"/>
                    <a:pt x="802" y="1147"/>
                  </a:cubicBezTo>
                  <a:cubicBezTo>
                    <a:pt x="805" y="1142"/>
                    <a:pt x="801" y="1137"/>
                    <a:pt x="792" y="1137"/>
                  </a:cubicBezTo>
                  <a:cubicBezTo>
                    <a:pt x="792" y="1137"/>
                    <a:pt x="792" y="1137"/>
                    <a:pt x="792" y="1137"/>
                  </a:cubicBezTo>
                  <a:moveTo>
                    <a:pt x="836" y="1137"/>
                  </a:moveTo>
                  <a:cubicBezTo>
                    <a:pt x="828" y="1137"/>
                    <a:pt x="818" y="1141"/>
                    <a:pt x="815" y="1147"/>
                  </a:cubicBezTo>
                  <a:cubicBezTo>
                    <a:pt x="812" y="1153"/>
                    <a:pt x="817" y="1157"/>
                    <a:pt x="826" y="1157"/>
                  </a:cubicBezTo>
                  <a:cubicBezTo>
                    <a:pt x="834" y="1157"/>
                    <a:pt x="843" y="1153"/>
                    <a:pt x="846" y="1147"/>
                  </a:cubicBezTo>
                  <a:cubicBezTo>
                    <a:pt x="849" y="1141"/>
                    <a:pt x="845" y="1137"/>
                    <a:pt x="836" y="1137"/>
                  </a:cubicBezTo>
                  <a:cubicBezTo>
                    <a:pt x="836" y="1137"/>
                    <a:pt x="836" y="1137"/>
                    <a:pt x="836" y="1137"/>
                  </a:cubicBezTo>
                  <a:moveTo>
                    <a:pt x="881" y="1137"/>
                  </a:moveTo>
                  <a:cubicBezTo>
                    <a:pt x="872" y="1137"/>
                    <a:pt x="863" y="1141"/>
                    <a:pt x="860" y="1147"/>
                  </a:cubicBezTo>
                  <a:cubicBezTo>
                    <a:pt x="857" y="1153"/>
                    <a:pt x="862" y="1157"/>
                    <a:pt x="870" y="1157"/>
                  </a:cubicBezTo>
                  <a:cubicBezTo>
                    <a:pt x="879" y="1157"/>
                    <a:pt x="888" y="1153"/>
                    <a:pt x="891" y="1147"/>
                  </a:cubicBezTo>
                  <a:cubicBezTo>
                    <a:pt x="894" y="1141"/>
                    <a:pt x="890" y="1137"/>
                    <a:pt x="881" y="1137"/>
                  </a:cubicBezTo>
                  <a:cubicBezTo>
                    <a:pt x="881" y="1137"/>
                    <a:pt x="881" y="1137"/>
                    <a:pt x="881" y="1137"/>
                  </a:cubicBezTo>
                  <a:moveTo>
                    <a:pt x="925" y="1137"/>
                  </a:moveTo>
                  <a:cubicBezTo>
                    <a:pt x="916" y="1137"/>
                    <a:pt x="907" y="1141"/>
                    <a:pt x="904" y="1147"/>
                  </a:cubicBezTo>
                  <a:cubicBezTo>
                    <a:pt x="901" y="1152"/>
                    <a:pt x="906" y="1157"/>
                    <a:pt x="915" y="1157"/>
                  </a:cubicBezTo>
                  <a:cubicBezTo>
                    <a:pt x="923" y="1157"/>
                    <a:pt x="932" y="1152"/>
                    <a:pt x="935" y="1147"/>
                  </a:cubicBezTo>
                  <a:cubicBezTo>
                    <a:pt x="938" y="1141"/>
                    <a:pt x="933" y="1137"/>
                    <a:pt x="925" y="1137"/>
                  </a:cubicBezTo>
                  <a:cubicBezTo>
                    <a:pt x="925" y="1137"/>
                    <a:pt x="925" y="1137"/>
                    <a:pt x="925" y="1137"/>
                  </a:cubicBezTo>
                  <a:moveTo>
                    <a:pt x="2115" y="1136"/>
                  </a:moveTo>
                  <a:cubicBezTo>
                    <a:pt x="2106" y="1136"/>
                    <a:pt x="2099" y="1140"/>
                    <a:pt x="2098" y="1146"/>
                  </a:cubicBezTo>
                  <a:cubicBezTo>
                    <a:pt x="2097" y="1152"/>
                    <a:pt x="2104" y="1156"/>
                    <a:pt x="2112" y="1156"/>
                  </a:cubicBezTo>
                  <a:cubicBezTo>
                    <a:pt x="2121" y="1156"/>
                    <a:pt x="2128" y="1152"/>
                    <a:pt x="2129" y="1146"/>
                  </a:cubicBezTo>
                  <a:cubicBezTo>
                    <a:pt x="2130" y="1140"/>
                    <a:pt x="2123" y="1136"/>
                    <a:pt x="2115" y="1136"/>
                  </a:cubicBezTo>
                  <a:cubicBezTo>
                    <a:pt x="2115" y="1136"/>
                    <a:pt x="2115" y="1136"/>
                    <a:pt x="2115" y="1136"/>
                  </a:cubicBezTo>
                  <a:moveTo>
                    <a:pt x="2159" y="1136"/>
                  </a:moveTo>
                  <a:cubicBezTo>
                    <a:pt x="2150" y="1136"/>
                    <a:pt x="2143" y="1140"/>
                    <a:pt x="2142" y="1146"/>
                  </a:cubicBezTo>
                  <a:cubicBezTo>
                    <a:pt x="2142" y="1152"/>
                    <a:pt x="2148" y="1156"/>
                    <a:pt x="2157" y="1156"/>
                  </a:cubicBezTo>
                  <a:cubicBezTo>
                    <a:pt x="2165" y="1156"/>
                    <a:pt x="2173" y="1152"/>
                    <a:pt x="2173" y="1146"/>
                  </a:cubicBezTo>
                  <a:cubicBezTo>
                    <a:pt x="2174" y="1140"/>
                    <a:pt x="2167" y="1136"/>
                    <a:pt x="2159" y="1136"/>
                  </a:cubicBezTo>
                  <a:cubicBezTo>
                    <a:pt x="2159" y="1136"/>
                    <a:pt x="2159" y="1136"/>
                    <a:pt x="2159" y="1136"/>
                  </a:cubicBezTo>
                  <a:moveTo>
                    <a:pt x="2203" y="1136"/>
                  </a:moveTo>
                  <a:cubicBezTo>
                    <a:pt x="2195" y="1136"/>
                    <a:pt x="2188" y="1140"/>
                    <a:pt x="2187" y="1146"/>
                  </a:cubicBezTo>
                  <a:cubicBezTo>
                    <a:pt x="2187" y="1152"/>
                    <a:pt x="2193" y="1156"/>
                    <a:pt x="2202" y="1156"/>
                  </a:cubicBezTo>
                  <a:cubicBezTo>
                    <a:pt x="2210" y="1156"/>
                    <a:pt x="2218" y="1151"/>
                    <a:pt x="2218" y="1146"/>
                  </a:cubicBezTo>
                  <a:cubicBezTo>
                    <a:pt x="2219" y="1140"/>
                    <a:pt x="2212" y="1136"/>
                    <a:pt x="2203" y="1136"/>
                  </a:cubicBezTo>
                  <a:cubicBezTo>
                    <a:pt x="2203" y="1136"/>
                    <a:pt x="2203" y="1136"/>
                    <a:pt x="2203" y="1136"/>
                  </a:cubicBezTo>
                  <a:moveTo>
                    <a:pt x="2247" y="1135"/>
                  </a:moveTo>
                  <a:cubicBezTo>
                    <a:pt x="2238" y="1135"/>
                    <a:pt x="2231" y="1140"/>
                    <a:pt x="2231" y="1146"/>
                  </a:cubicBezTo>
                  <a:cubicBezTo>
                    <a:pt x="2230" y="1151"/>
                    <a:pt x="2237" y="1156"/>
                    <a:pt x="2245" y="1156"/>
                  </a:cubicBezTo>
                  <a:cubicBezTo>
                    <a:pt x="2254" y="1156"/>
                    <a:pt x="2261" y="1151"/>
                    <a:pt x="2262" y="1146"/>
                  </a:cubicBezTo>
                  <a:cubicBezTo>
                    <a:pt x="2262" y="1140"/>
                    <a:pt x="2256" y="1135"/>
                    <a:pt x="2247" y="1135"/>
                  </a:cubicBezTo>
                  <a:cubicBezTo>
                    <a:pt x="2247" y="1135"/>
                    <a:pt x="2247" y="1135"/>
                    <a:pt x="2247" y="1135"/>
                  </a:cubicBezTo>
                  <a:moveTo>
                    <a:pt x="2291" y="1135"/>
                  </a:moveTo>
                  <a:cubicBezTo>
                    <a:pt x="2282" y="1135"/>
                    <a:pt x="2275" y="1140"/>
                    <a:pt x="2275" y="1146"/>
                  </a:cubicBezTo>
                  <a:cubicBezTo>
                    <a:pt x="2274" y="1151"/>
                    <a:pt x="2281" y="1156"/>
                    <a:pt x="2290" y="1156"/>
                  </a:cubicBezTo>
                  <a:cubicBezTo>
                    <a:pt x="2298" y="1156"/>
                    <a:pt x="2305" y="1151"/>
                    <a:pt x="2306" y="1146"/>
                  </a:cubicBezTo>
                  <a:cubicBezTo>
                    <a:pt x="2306" y="1140"/>
                    <a:pt x="2299" y="1135"/>
                    <a:pt x="2291" y="1135"/>
                  </a:cubicBezTo>
                  <a:cubicBezTo>
                    <a:pt x="2291" y="1135"/>
                    <a:pt x="2291" y="1135"/>
                    <a:pt x="2291" y="1135"/>
                  </a:cubicBezTo>
                  <a:moveTo>
                    <a:pt x="2335" y="1135"/>
                  </a:moveTo>
                  <a:cubicBezTo>
                    <a:pt x="2327" y="1135"/>
                    <a:pt x="2319" y="1140"/>
                    <a:pt x="2319" y="1145"/>
                  </a:cubicBezTo>
                  <a:cubicBezTo>
                    <a:pt x="2319" y="1151"/>
                    <a:pt x="2326" y="1156"/>
                    <a:pt x="2334" y="1156"/>
                  </a:cubicBezTo>
                  <a:cubicBezTo>
                    <a:pt x="2343" y="1156"/>
                    <a:pt x="2350" y="1151"/>
                    <a:pt x="2350" y="1145"/>
                  </a:cubicBezTo>
                  <a:cubicBezTo>
                    <a:pt x="2350" y="1140"/>
                    <a:pt x="2344" y="1135"/>
                    <a:pt x="2335" y="1135"/>
                  </a:cubicBezTo>
                  <a:cubicBezTo>
                    <a:pt x="2335" y="1135"/>
                    <a:pt x="2335" y="1135"/>
                    <a:pt x="2335" y="1135"/>
                  </a:cubicBezTo>
                  <a:moveTo>
                    <a:pt x="2380" y="1135"/>
                  </a:moveTo>
                  <a:cubicBezTo>
                    <a:pt x="2371" y="1135"/>
                    <a:pt x="2364" y="1140"/>
                    <a:pt x="2364" y="1145"/>
                  </a:cubicBezTo>
                  <a:cubicBezTo>
                    <a:pt x="2364" y="1151"/>
                    <a:pt x="2370" y="1156"/>
                    <a:pt x="2379" y="1156"/>
                  </a:cubicBezTo>
                  <a:cubicBezTo>
                    <a:pt x="2388" y="1156"/>
                    <a:pt x="2395" y="1151"/>
                    <a:pt x="2395" y="1145"/>
                  </a:cubicBezTo>
                  <a:cubicBezTo>
                    <a:pt x="2395" y="1140"/>
                    <a:pt x="2388" y="1135"/>
                    <a:pt x="2380" y="1135"/>
                  </a:cubicBezTo>
                  <a:cubicBezTo>
                    <a:pt x="2380" y="1135"/>
                    <a:pt x="2380" y="1135"/>
                    <a:pt x="2380" y="1135"/>
                  </a:cubicBezTo>
                  <a:moveTo>
                    <a:pt x="2423" y="1135"/>
                  </a:moveTo>
                  <a:cubicBezTo>
                    <a:pt x="2415" y="1135"/>
                    <a:pt x="2408" y="1140"/>
                    <a:pt x="2408" y="1145"/>
                  </a:cubicBezTo>
                  <a:cubicBezTo>
                    <a:pt x="2408" y="1151"/>
                    <a:pt x="2415" y="1155"/>
                    <a:pt x="2423" y="1155"/>
                  </a:cubicBezTo>
                  <a:cubicBezTo>
                    <a:pt x="2432" y="1155"/>
                    <a:pt x="2439" y="1151"/>
                    <a:pt x="2439" y="1145"/>
                  </a:cubicBezTo>
                  <a:cubicBezTo>
                    <a:pt x="2439" y="1139"/>
                    <a:pt x="2432" y="1135"/>
                    <a:pt x="2424" y="1135"/>
                  </a:cubicBezTo>
                  <a:cubicBezTo>
                    <a:pt x="2424" y="1135"/>
                    <a:pt x="2423" y="1135"/>
                    <a:pt x="2423" y="1135"/>
                  </a:cubicBezTo>
                  <a:moveTo>
                    <a:pt x="2468" y="1135"/>
                  </a:moveTo>
                  <a:cubicBezTo>
                    <a:pt x="2459" y="1135"/>
                    <a:pt x="2452" y="1139"/>
                    <a:pt x="2452" y="1145"/>
                  </a:cubicBezTo>
                  <a:cubicBezTo>
                    <a:pt x="2452" y="1151"/>
                    <a:pt x="2459" y="1155"/>
                    <a:pt x="2468" y="1155"/>
                  </a:cubicBezTo>
                  <a:cubicBezTo>
                    <a:pt x="2476" y="1155"/>
                    <a:pt x="2483" y="1151"/>
                    <a:pt x="2483" y="1145"/>
                  </a:cubicBezTo>
                  <a:cubicBezTo>
                    <a:pt x="2483" y="1139"/>
                    <a:pt x="2476" y="1135"/>
                    <a:pt x="2468" y="1135"/>
                  </a:cubicBezTo>
                  <a:cubicBezTo>
                    <a:pt x="2468" y="1135"/>
                    <a:pt x="2468" y="1135"/>
                    <a:pt x="2468" y="1135"/>
                  </a:cubicBezTo>
                  <a:moveTo>
                    <a:pt x="2511" y="1135"/>
                  </a:moveTo>
                  <a:cubicBezTo>
                    <a:pt x="2503" y="1135"/>
                    <a:pt x="2496" y="1139"/>
                    <a:pt x="2496" y="1145"/>
                  </a:cubicBezTo>
                  <a:cubicBezTo>
                    <a:pt x="2496" y="1151"/>
                    <a:pt x="2503" y="1155"/>
                    <a:pt x="2512" y="1155"/>
                  </a:cubicBezTo>
                  <a:cubicBezTo>
                    <a:pt x="2520" y="1155"/>
                    <a:pt x="2527" y="1151"/>
                    <a:pt x="2527" y="1145"/>
                  </a:cubicBezTo>
                  <a:cubicBezTo>
                    <a:pt x="2527" y="1139"/>
                    <a:pt x="2520" y="1135"/>
                    <a:pt x="2511" y="1135"/>
                  </a:cubicBezTo>
                  <a:cubicBezTo>
                    <a:pt x="2511" y="1135"/>
                    <a:pt x="2511" y="1135"/>
                    <a:pt x="2511" y="1135"/>
                  </a:cubicBezTo>
                  <a:moveTo>
                    <a:pt x="2556" y="1135"/>
                  </a:moveTo>
                  <a:cubicBezTo>
                    <a:pt x="2547" y="1135"/>
                    <a:pt x="2540" y="1139"/>
                    <a:pt x="2540" y="1145"/>
                  </a:cubicBezTo>
                  <a:cubicBezTo>
                    <a:pt x="2541" y="1150"/>
                    <a:pt x="2548" y="1155"/>
                    <a:pt x="2556" y="1155"/>
                  </a:cubicBezTo>
                  <a:cubicBezTo>
                    <a:pt x="2565" y="1155"/>
                    <a:pt x="2572" y="1150"/>
                    <a:pt x="2571" y="1145"/>
                  </a:cubicBezTo>
                  <a:cubicBezTo>
                    <a:pt x="2571" y="1139"/>
                    <a:pt x="2564" y="1135"/>
                    <a:pt x="2556" y="1135"/>
                  </a:cubicBezTo>
                  <a:cubicBezTo>
                    <a:pt x="2556" y="1135"/>
                    <a:pt x="2556" y="1135"/>
                    <a:pt x="2556" y="1135"/>
                  </a:cubicBezTo>
                  <a:moveTo>
                    <a:pt x="2600" y="1134"/>
                  </a:moveTo>
                  <a:cubicBezTo>
                    <a:pt x="2592" y="1134"/>
                    <a:pt x="2585" y="1139"/>
                    <a:pt x="2585" y="1145"/>
                  </a:cubicBezTo>
                  <a:cubicBezTo>
                    <a:pt x="2585" y="1150"/>
                    <a:pt x="2592" y="1155"/>
                    <a:pt x="2601" y="1155"/>
                  </a:cubicBezTo>
                  <a:cubicBezTo>
                    <a:pt x="2610" y="1155"/>
                    <a:pt x="2616" y="1150"/>
                    <a:pt x="2616" y="1145"/>
                  </a:cubicBezTo>
                  <a:cubicBezTo>
                    <a:pt x="2616" y="1139"/>
                    <a:pt x="2609" y="1134"/>
                    <a:pt x="2600" y="1134"/>
                  </a:cubicBezTo>
                  <a:cubicBezTo>
                    <a:pt x="2600" y="1134"/>
                    <a:pt x="2600" y="1134"/>
                    <a:pt x="2600" y="1134"/>
                  </a:cubicBezTo>
                  <a:moveTo>
                    <a:pt x="2644" y="1134"/>
                  </a:moveTo>
                  <a:cubicBezTo>
                    <a:pt x="2635" y="1134"/>
                    <a:pt x="2629" y="1139"/>
                    <a:pt x="2629" y="1145"/>
                  </a:cubicBezTo>
                  <a:cubicBezTo>
                    <a:pt x="2629" y="1150"/>
                    <a:pt x="2637" y="1155"/>
                    <a:pt x="2645" y="1155"/>
                  </a:cubicBezTo>
                  <a:cubicBezTo>
                    <a:pt x="2654" y="1155"/>
                    <a:pt x="2660" y="1150"/>
                    <a:pt x="2660" y="1144"/>
                  </a:cubicBezTo>
                  <a:cubicBezTo>
                    <a:pt x="2660" y="1139"/>
                    <a:pt x="2653" y="1134"/>
                    <a:pt x="2644" y="1134"/>
                  </a:cubicBezTo>
                  <a:cubicBezTo>
                    <a:pt x="2644" y="1134"/>
                    <a:pt x="2644" y="1134"/>
                    <a:pt x="2644" y="1134"/>
                  </a:cubicBezTo>
                  <a:moveTo>
                    <a:pt x="2689" y="1134"/>
                  </a:moveTo>
                  <a:cubicBezTo>
                    <a:pt x="2680" y="1134"/>
                    <a:pt x="2673" y="1139"/>
                    <a:pt x="2674" y="1144"/>
                  </a:cubicBezTo>
                  <a:cubicBezTo>
                    <a:pt x="2674" y="1150"/>
                    <a:pt x="2681" y="1155"/>
                    <a:pt x="2690" y="1155"/>
                  </a:cubicBezTo>
                  <a:cubicBezTo>
                    <a:pt x="2699" y="1155"/>
                    <a:pt x="2705" y="1150"/>
                    <a:pt x="2705" y="1144"/>
                  </a:cubicBezTo>
                  <a:cubicBezTo>
                    <a:pt x="2704" y="1139"/>
                    <a:pt x="2697" y="1134"/>
                    <a:pt x="2689" y="1134"/>
                  </a:cubicBezTo>
                  <a:cubicBezTo>
                    <a:pt x="2689" y="1134"/>
                    <a:pt x="2689" y="1134"/>
                    <a:pt x="2689" y="1134"/>
                  </a:cubicBezTo>
                  <a:moveTo>
                    <a:pt x="2731" y="1134"/>
                  </a:moveTo>
                  <a:cubicBezTo>
                    <a:pt x="2723" y="1134"/>
                    <a:pt x="2716" y="1139"/>
                    <a:pt x="2716" y="1144"/>
                  </a:cubicBezTo>
                  <a:cubicBezTo>
                    <a:pt x="2717" y="1150"/>
                    <a:pt x="2724" y="1155"/>
                    <a:pt x="2733" y="1155"/>
                  </a:cubicBezTo>
                  <a:cubicBezTo>
                    <a:pt x="2741" y="1154"/>
                    <a:pt x="2748" y="1150"/>
                    <a:pt x="2747" y="1144"/>
                  </a:cubicBezTo>
                  <a:cubicBezTo>
                    <a:pt x="2747" y="1139"/>
                    <a:pt x="2740" y="1134"/>
                    <a:pt x="2731" y="1134"/>
                  </a:cubicBezTo>
                  <a:cubicBezTo>
                    <a:pt x="2731" y="1134"/>
                    <a:pt x="2731" y="1134"/>
                    <a:pt x="2731" y="1134"/>
                  </a:cubicBezTo>
                  <a:moveTo>
                    <a:pt x="2776" y="1134"/>
                  </a:moveTo>
                  <a:cubicBezTo>
                    <a:pt x="2767" y="1134"/>
                    <a:pt x="2761" y="1139"/>
                    <a:pt x="2761" y="1144"/>
                  </a:cubicBezTo>
                  <a:cubicBezTo>
                    <a:pt x="2762" y="1150"/>
                    <a:pt x="2769" y="1154"/>
                    <a:pt x="2778" y="1154"/>
                  </a:cubicBezTo>
                  <a:cubicBezTo>
                    <a:pt x="2786" y="1154"/>
                    <a:pt x="2793" y="1150"/>
                    <a:pt x="2792" y="1144"/>
                  </a:cubicBezTo>
                  <a:cubicBezTo>
                    <a:pt x="2791" y="1138"/>
                    <a:pt x="2784" y="1134"/>
                    <a:pt x="2776" y="1134"/>
                  </a:cubicBezTo>
                  <a:cubicBezTo>
                    <a:pt x="2776" y="1134"/>
                    <a:pt x="2776" y="1134"/>
                    <a:pt x="2776" y="1134"/>
                  </a:cubicBezTo>
                  <a:moveTo>
                    <a:pt x="4186" y="1131"/>
                  </a:moveTo>
                  <a:cubicBezTo>
                    <a:pt x="4178" y="1131"/>
                    <a:pt x="4173" y="1136"/>
                    <a:pt x="4177" y="1141"/>
                  </a:cubicBezTo>
                  <a:cubicBezTo>
                    <a:pt x="4180" y="1147"/>
                    <a:pt x="4189" y="1152"/>
                    <a:pt x="4198" y="1152"/>
                  </a:cubicBezTo>
                  <a:cubicBezTo>
                    <a:pt x="4206" y="1151"/>
                    <a:pt x="4211" y="1147"/>
                    <a:pt x="4208" y="1141"/>
                  </a:cubicBezTo>
                  <a:cubicBezTo>
                    <a:pt x="4204" y="1136"/>
                    <a:pt x="4195" y="1131"/>
                    <a:pt x="4186" y="1131"/>
                  </a:cubicBezTo>
                  <a:cubicBezTo>
                    <a:pt x="4186" y="1131"/>
                    <a:pt x="4186" y="1131"/>
                    <a:pt x="4186" y="1131"/>
                  </a:cubicBezTo>
                  <a:moveTo>
                    <a:pt x="4230" y="1131"/>
                  </a:moveTo>
                  <a:cubicBezTo>
                    <a:pt x="4221" y="1131"/>
                    <a:pt x="4217" y="1135"/>
                    <a:pt x="4220" y="1141"/>
                  </a:cubicBezTo>
                  <a:cubicBezTo>
                    <a:pt x="4223" y="1147"/>
                    <a:pt x="4233" y="1151"/>
                    <a:pt x="4242" y="1151"/>
                  </a:cubicBezTo>
                  <a:cubicBezTo>
                    <a:pt x="4250" y="1151"/>
                    <a:pt x="4254" y="1147"/>
                    <a:pt x="4251" y="1141"/>
                  </a:cubicBezTo>
                  <a:cubicBezTo>
                    <a:pt x="4248" y="1135"/>
                    <a:pt x="4238" y="1131"/>
                    <a:pt x="4230" y="1131"/>
                  </a:cubicBezTo>
                  <a:cubicBezTo>
                    <a:pt x="4230" y="1131"/>
                    <a:pt x="4230" y="1131"/>
                    <a:pt x="4230" y="1131"/>
                  </a:cubicBezTo>
                  <a:moveTo>
                    <a:pt x="4274" y="1131"/>
                  </a:moveTo>
                  <a:cubicBezTo>
                    <a:pt x="4265" y="1131"/>
                    <a:pt x="4261" y="1135"/>
                    <a:pt x="4264" y="1141"/>
                  </a:cubicBezTo>
                  <a:cubicBezTo>
                    <a:pt x="4267" y="1147"/>
                    <a:pt x="4277" y="1151"/>
                    <a:pt x="4286" y="1151"/>
                  </a:cubicBezTo>
                  <a:cubicBezTo>
                    <a:pt x="4294" y="1151"/>
                    <a:pt x="4298" y="1147"/>
                    <a:pt x="4295" y="1141"/>
                  </a:cubicBezTo>
                  <a:cubicBezTo>
                    <a:pt x="4292" y="1135"/>
                    <a:pt x="4282" y="1131"/>
                    <a:pt x="4274" y="1131"/>
                  </a:cubicBezTo>
                  <a:cubicBezTo>
                    <a:pt x="4274" y="1131"/>
                    <a:pt x="4274" y="1131"/>
                    <a:pt x="4274" y="1131"/>
                  </a:cubicBezTo>
                  <a:moveTo>
                    <a:pt x="4318" y="1131"/>
                  </a:moveTo>
                  <a:cubicBezTo>
                    <a:pt x="4309" y="1131"/>
                    <a:pt x="4305" y="1135"/>
                    <a:pt x="4308" y="1141"/>
                  </a:cubicBezTo>
                  <a:cubicBezTo>
                    <a:pt x="4312" y="1147"/>
                    <a:pt x="4322" y="1151"/>
                    <a:pt x="4330" y="1151"/>
                  </a:cubicBezTo>
                  <a:cubicBezTo>
                    <a:pt x="4339" y="1151"/>
                    <a:pt x="4343" y="1146"/>
                    <a:pt x="4339" y="1141"/>
                  </a:cubicBezTo>
                  <a:cubicBezTo>
                    <a:pt x="4336" y="1135"/>
                    <a:pt x="4326" y="1131"/>
                    <a:pt x="4318" y="1131"/>
                  </a:cubicBezTo>
                  <a:cubicBezTo>
                    <a:pt x="4318" y="1131"/>
                    <a:pt x="4318" y="1131"/>
                    <a:pt x="4318" y="1131"/>
                  </a:cubicBezTo>
                  <a:moveTo>
                    <a:pt x="4362" y="1130"/>
                  </a:moveTo>
                  <a:cubicBezTo>
                    <a:pt x="4354" y="1130"/>
                    <a:pt x="4350" y="1135"/>
                    <a:pt x="4353" y="1141"/>
                  </a:cubicBezTo>
                  <a:cubicBezTo>
                    <a:pt x="4357" y="1146"/>
                    <a:pt x="4366" y="1151"/>
                    <a:pt x="4375" y="1151"/>
                  </a:cubicBezTo>
                  <a:cubicBezTo>
                    <a:pt x="4383" y="1151"/>
                    <a:pt x="4388" y="1146"/>
                    <a:pt x="4384" y="1141"/>
                  </a:cubicBezTo>
                  <a:cubicBezTo>
                    <a:pt x="4381" y="1135"/>
                    <a:pt x="4371" y="1130"/>
                    <a:pt x="4362" y="1130"/>
                  </a:cubicBezTo>
                  <a:cubicBezTo>
                    <a:pt x="4362" y="1130"/>
                    <a:pt x="4362" y="1130"/>
                    <a:pt x="4362" y="1130"/>
                  </a:cubicBezTo>
                  <a:moveTo>
                    <a:pt x="3965" y="1128"/>
                  </a:moveTo>
                  <a:cubicBezTo>
                    <a:pt x="3957" y="1128"/>
                    <a:pt x="3952" y="1132"/>
                    <a:pt x="3955" y="1138"/>
                  </a:cubicBezTo>
                  <a:cubicBezTo>
                    <a:pt x="3958" y="1144"/>
                    <a:pt x="3967" y="1148"/>
                    <a:pt x="3975" y="1148"/>
                  </a:cubicBezTo>
                  <a:cubicBezTo>
                    <a:pt x="3984" y="1148"/>
                    <a:pt x="3989" y="1144"/>
                    <a:pt x="3986" y="1138"/>
                  </a:cubicBezTo>
                  <a:cubicBezTo>
                    <a:pt x="3983" y="1132"/>
                    <a:pt x="3974" y="1128"/>
                    <a:pt x="3965" y="1128"/>
                  </a:cubicBezTo>
                  <a:cubicBezTo>
                    <a:pt x="3965" y="1128"/>
                    <a:pt x="3965" y="1128"/>
                    <a:pt x="3965" y="1128"/>
                  </a:cubicBezTo>
                  <a:moveTo>
                    <a:pt x="4010" y="1128"/>
                  </a:moveTo>
                  <a:cubicBezTo>
                    <a:pt x="4001" y="1128"/>
                    <a:pt x="3996" y="1132"/>
                    <a:pt x="3999" y="1138"/>
                  </a:cubicBezTo>
                  <a:cubicBezTo>
                    <a:pt x="4002" y="1144"/>
                    <a:pt x="4011" y="1148"/>
                    <a:pt x="4020" y="1148"/>
                  </a:cubicBezTo>
                  <a:cubicBezTo>
                    <a:pt x="4028" y="1148"/>
                    <a:pt x="4033" y="1143"/>
                    <a:pt x="4030" y="1138"/>
                  </a:cubicBezTo>
                  <a:cubicBezTo>
                    <a:pt x="4027" y="1132"/>
                    <a:pt x="4018" y="1128"/>
                    <a:pt x="4010" y="1128"/>
                  </a:cubicBezTo>
                  <a:cubicBezTo>
                    <a:pt x="4010" y="1128"/>
                    <a:pt x="4010" y="1128"/>
                    <a:pt x="4010" y="1128"/>
                  </a:cubicBezTo>
                  <a:moveTo>
                    <a:pt x="4534" y="1122"/>
                  </a:moveTo>
                  <a:cubicBezTo>
                    <a:pt x="4525" y="1122"/>
                    <a:pt x="4521" y="1127"/>
                    <a:pt x="4525" y="1133"/>
                  </a:cubicBezTo>
                  <a:cubicBezTo>
                    <a:pt x="4529" y="1138"/>
                    <a:pt x="4539" y="1143"/>
                    <a:pt x="4548" y="1143"/>
                  </a:cubicBezTo>
                  <a:cubicBezTo>
                    <a:pt x="4556" y="1143"/>
                    <a:pt x="4560" y="1138"/>
                    <a:pt x="4556" y="1132"/>
                  </a:cubicBezTo>
                  <a:cubicBezTo>
                    <a:pt x="4552" y="1127"/>
                    <a:pt x="4542" y="1122"/>
                    <a:pt x="4534" y="1122"/>
                  </a:cubicBezTo>
                  <a:cubicBezTo>
                    <a:pt x="4534" y="1122"/>
                    <a:pt x="4534" y="1122"/>
                    <a:pt x="4534" y="1122"/>
                  </a:cubicBezTo>
                  <a:moveTo>
                    <a:pt x="325" y="1111"/>
                  </a:moveTo>
                  <a:cubicBezTo>
                    <a:pt x="317" y="1111"/>
                    <a:pt x="307" y="1115"/>
                    <a:pt x="303" y="1121"/>
                  </a:cubicBezTo>
                  <a:cubicBezTo>
                    <a:pt x="299" y="1127"/>
                    <a:pt x="302" y="1131"/>
                    <a:pt x="311" y="1131"/>
                  </a:cubicBezTo>
                  <a:cubicBezTo>
                    <a:pt x="319" y="1131"/>
                    <a:pt x="329" y="1127"/>
                    <a:pt x="333" y="1121"/>
                  </a:cubicBezTo>
                  <a:cubicBezTo>
                    <a:pt x="337" y="1115"/>
                    <a:pt x="334" y="1111"/>
                    <a:pt x="325" y="1111"/>
                  </a:cubicBezTo>
                  <a:cubicBezTo>
                    <a:pt x="325" y="1111"/>
                    <a:pt x="325" y="1111"/>
                    <a:pt x="325" y="1111"/>
                  </a:cubicBezTo>
                  <a:moveTo>
                    <a:pt x="369" y="1111"/>
                  </a:moveTo>
                  <a:cubicBezTo>
                    <a:pt x="360" y="1111"/>
                    <a:pt x="350" y="1115"/>
                    <a:pt x="346" y="1121"/>
                  </a:cubicBezTo>
                  <a:cubicBezTo>
                    <a:pt x="342" y="1127"/>
                    <a:pt x="346" y="1131"/>
                    <a:pt x="355" y="1131"/>
                  </a:cubicBezTo>
                  <a:cubicBezTo>
                    <a:pt x="363" y="1131"/>
                    <a:pt x="373" y="1126"/>
                    <a:pt x="377" y="1121"/>
                  </a:cubicBezTo>
                  <a:cubicBezTo>
                    <a:pt x="381" y="1115"/>
                    <a:pt x="377" y="1111"/>
                    <a:pt x="369" y="1111"/>
                  </a:cubicBezTo>
                  <a:cubicBezTo>
                    <a:pt x="369" y="1111"/>
                    <a:pt x="369" y="1111"/>
                    <a:pt x="369" y="1111"/>
                  </a:cubicBezTo>
                  <a:moveTo>
                    <a:pt x="412" y="1111"/>
                  </a:moveTo>
                  <a:cubicBezTo>
                    <a:pt x="404" y="1111"/>
                    <a:pt x="394" y="1115"/>
                    <a:pt x="390" y="1121"/>
                  </a:cubicBezTo>
                  <a:cubicBezTo>
                    <a:pt x="386" y="1126"/>
                    <a:pt x="390" y="1131"/>
                    <a:pt x="399" y="1131"/>
                  </a:cubicBezTo>
                  <a:cubicBezTo>
                    <a:pt x="407" y="1131"/>
                    <a:pt x="417" y="1126"/>
                    <a:pt x="421" y="1121"/>
                  </a:cubicBezTo>
                  <a:cubicBezTo>
                    <a:pt x="425" y="1115"/>
                    <a:pt x="421" y="1111"/>
                    <a:pt x="412" y="1111"/>
                  </a:cubicBezTo>
                  <a:cubicBezTo>
                    <a:pt x="412" y="1111"/>
                    <a:pt x="412" y="1111"/>
                    <a:pt x="412" y="1111"/>
                  </a:cubicBezTo>
                  <a:moveTo>
                    <a:pt x="456" y="1110"/>
                  </a:moveTo>
                  <a:cubicBezTo>
                    <a:pt x="447" y="1111"/>
                    <a:pt x="437" y="1115"/>
                    <a:pt x="434" y="1121"/>
                  </a:cubicBezTo>
                  <a:cubicBezTo>
                    <a:pt x="430" y="1126"/>
                    <a:pt x="434" y="1131"/>
                    <a:pt x="442" y="1131"/>
                  </a:cubicBezTo>
                  <a:cubicBezTo>
                    <a:pt x="451" y="1131"/>
                    <a:pt x="461" y="1126"/>
                    <a:pt x="465" y="1121"/>
                  </a:cubicBezTo>
                  <a:cubicBezTo>
                    <a:pt x="468" y="1115"/>
                    <a:pt x="464" y="1110"/>
                    <a:pt x="456" y="1110"/>
                  </a:cubicBezTo>
                  <a:cubicBezTo>
                    <a:pt x="456" y="1110"/>
                    <a:pt x="456" y="1110"/>
                    <a:pt x="456" y="1110"/>
                  </a:cubicBezTo>
                  <a:moveTo>
                    <a:pt x="500" y="1110"/>
                  </a:moveTo>
                  <a:cubicBezTo>
                    <a:pt x="491" y="1110"/>
                    <a:pt x="481" y="1115"/>
                    <a:pt x="478" y="1121"/>
                  </a:cubicBezTo>
                  <a:cubicBezTo>
                    <a:pt x="474" y="1126"/>
                    <a:pt x="478" y="1131"/>
                    <a:pt x="487" y="1131"/>
                  </a:cubicBezTo>
                  <a:cubicBezTo>
                    <a:pt x="495" y="1131"/>
                    <a:pt x="505" y="1126"/>
                    <a:pt x="509" y="1120"/>
                  </a:cubicBezTo>
                  <a:cubicBezTo>
                    <a:pt x="512" y="1115"/>
                    <a:pt x="508" y="1110"/>
                    <a:pt x="500" y="1110"/>
                  </a:cubicBezTo>
                  <a:cubicBezTo>
                    <a:pt x="500" y="1110"/>
                    <a:pt x="500" y="1110"/>
                    <a:pt x="500" y="1110"/>
                  </a:cubicBezTo>
                  <a:moveTo>
                    <a:pt x="545" y="1110"/>
                  </a:moveTo>
                  <a:cubicBezTo>
                    <a:pt x="536" y="1110"/>
                    <a:pt x="527" y="1115"/>
                    <a:pt x="523" y="1120"/>
                  </a:cubicBezTo>
                  <a:cubicBezTo>
                    <a:pt x="520" y="1126"/>
                    <a:pt x="524" y="1131"/>
                    <a:pt x="532" y="1131"/>
                  </a:cubicBezTo>
                  <a:cubicBezTo>
                    <a:pt x="541" y="1130"/>
                    <a:pt x="550" y="1126"/>
                    <a:pt x="554" y="1120"/>
                  </a:cubicBezTo>
                  <a:cubicBezTo>
                    <a:pt x="557" y="1115"/>
                    <a:pt x="553" y="1110"/>
                    <a:pt x="545" y="1110"/>
                  </a:cubicBezTo>
                  <a:cubicBezTo>
                    <a:pt x="545" y="1110"/>
                    <a:pt x="545" y="1110"/>
                    <a:pt x="545" y="1110"/>
                  </a:cubicBezTo>
                  <a:moveTo>
                    <a:pt x="588" y="1110"/>
                  </a:moveTo>
                  <a:cubicBezTo>
                    <a:pt x="580" y="1110"/>
                    <a:pt x="570" y="1115"/>
                    <a:pt x="567" y="1120"/>
                  </a:cubicBezTo>
                  <a:cubicBezTo>
                    <a:pt x="563" y="1126"/>
                    <a:pt x="567" y="1130"/>
                    <a:pt x="576" y="1130"/>
                  </a:cubicBezTo>
                  <a:cubicBezTo>
                    <a:pt x="584" y="1130"/>
                    <a:pt x="594" y="1126"/>
                    <a:pt x="597" y="1120"/>
                  </a:cubicBezTo>
                  <a:cubicBezTo>
                    <a:pt x="601" y="1115"/>
                    <a:pt x="597" y="1110"/>
                    <a:pt x="588" y="1110"/>
                  </a:cubicBezTo>
                  <a:cubicBezTo>
                    <a:pt x="588" y="1110"/>
                    <a:pt x="588" y="1110"/>
                    <a:pt x="588" y="1110"/>
                  </a:cubicBezTo>
                  <a:moveTo>
                    <a:pt x="632" y="1110"/>
                  </a:moveTo>
                  <a:cubicBezTo>
                    <a:pt x="624" y="1110"/>
                    <a:pt x="614" y="1115"/>
                    <a:pt x="611" y="1120"/>
                  </a:cubicBezTo>
                  <a:cubicBezTo>
                    <a:pt x="607" y="1126"/>
                    <a:pt x="611" y="1130"/>
                    <a:pt x="620" y="1130"/>
                  </a:cubicBezTo>
                  <a:cubicBezTo>
                    <a:pt x="629" y="1130"/>
                    <a:pt x="638" y="1126"/>
                    <a:pt x="641" y="1120"/>
                  </a:cubicBezTo>
                  <a:cubicBezTo>
                    <a:pt x="645" y="1114"/>
                    <a:pt x="641" y="1110"/>
                    <a:pt x="632" y="1110"/>
                  </a:cubicBezTo>
                  <a:cubicBezTo>
                    <a:pt x="632" y="1110"/>
                    <a:pt x="632" y="1110"/>
                    <a:pt x="632" y="1110"/>
                  </a:cubicBezTo>
                  <a:moveTo>
                    <a:pt x="676" y="1110"/>
                  </a:moveTo>
                  <a:cubicBezTo>
                    <a:pt x="668" y="1110"/>
                    <a:pt x="658" y="1114"/>
                    <a:pt x="655" y="1120"/>
                  </a:cubicBezTo>
                  <a:cubicBezTo>
                    <a:pt x="652" y="1126"/>
                    <a:pt x="656" y="1130"/>
                    <a:pt x="665" y="1130"/>
                  </a:cubicBezTo>
                  <a:cubicBezTo>
                    <a:pt x="673" y="1130"/>
                    <a:pt x="683" y="1126"/>
                    <a:pt x="686" y="1120"/>
                  </a:cubicBezTo>
                  <a:cubicBezTo>
                    <a:pt x="689" y="1114"/>
                    <a:pt x="685" y="1110"/>
                    <a:pt x="676" y="1110"/>
                  </a:cubicBezTo>
                  <a:cubicBezTo>
                    <a:pt x="676" y="1110"/>
                    <a:pt x="676" y="1110"/>
                    <a:pt x="676" y="1110"/>
                  </a:cubicBezTo>
                  <a:moveTo>
                    <a:pt x="720" y="1110"/>
                  </a:moveTo>
                  <a:cubicBezTo>
                    <a:pt x="711" y="1110"/>
                    <a:pt x="702" y="1114"/>
                    <a:pt x="699" y="1120"/>
                  </a:cubicBezTo>
                  <a:cubicBezTo>
                    <a:pt x="695" y="1125"/>
                    <a:pt x="700" y="1130"/>
                    <a:pt x="708" y="1130"/>
                  </a:cubicBezTo>
                  <a:cubicBezTo>
                    <a:pt x="717" y="1130"/>
                    <a:pt x="726" y="1125"/>
                    <a:pt x="729" y="1120"/>
                  </a:cubicBezTo>
                  <a:cubicBezTo>
                    <a:pt x="733" y="1114"/>
                    <a:pt x="728" y="1110"/>
                    <a:pt x="720" y="1110"/>
                  </a:cubicBezTo>
                  <a:cubicBezTo>
                    <a:pt x="720" y="1110"/>
                    <a:pt x="720" y="1110"/>
                    <a:pt x="720" y="1110"/>
                  </a:cubicBezTo>
                  <a:moveTo>
                    <a:pt x="764" y="1110"/>
                  </a:moveTo>
                  <a:cubicBezTo>
                    <a:pt x="755" y="1110"/>
                    <a:pt x="746" y="1114"/>
                    <a:pt x="743" y="1120"/>
                  </a:cubicBezTo>
                  <a:cubicBezTo>
                    <a:pt x="739" y="1125"/>
                    <a:pt x="744" y="1130"/>
                    <a:pt x="752" y="1130"/>
                  </a:cubicBezTo>
                  <a:cubicBezTo>
                    <a:pt x="761" y="1130"/>
                    <a:pt x="770" y="1125"/>
                    <a:pt x="773" y="1120"/>
                  </a:cubicBezTo>
                  <a:cubicBezTo>
                    <a:pt x="776" y="1114"/>
                    <a:pt x="772" y="1110"/>
                    <a:pt x="764" y="1110"/>
                  </a:cubicBezTo>
                  <a:cubicBezTo>
                    <a:pt x="764" y="1110"/>
                    <a:pt x="764" y="1110"/>
                    <a:pt x="764" y="1110"/>
                  </a:cubicBezTo>
                  <a:moveTo>
                    <a:pt x="807" y="1109"/>
                  </a:moveTo>
                  <a:cubicBezTo>
                    <a:pt x="799" y="1109"/>
                    <a:pt x="789" y="1114"/>
                    <a:pt x="786" y="1120"/>
                  </a:cubicBezTo>
                  <a:cubicBezTo>
                    <a:pt x="783" y="1125"/>
                    <a:pt x="788" y="1130"/>
                    <a:pt x="796" y="1130"/>
                  </a:cubicBezTo>
                  <a:cubicBezTo>
                    <a:pt x="805" y="1130"/>
                    <a:pt x="814" y="1125"/>
                    <a:pt x="817" y="1120"/>
                  </a:cubicBezTo>
                  <a:cubicBezTo>
                    <a:pt x="820" y="1114"/>
                    <a:pt x="816" y="1109"/>
                    <a:pt x="807" y="1109"/>
                  </a:cubicBezTo>
                  <a:cubicBezTo>
                    <a:pt x="807" y="1109"/>
                    <a:pt x="807" y="1109"/>
                    <a:pt x="807" y="1109"/>
                  </a:cubicBezTo>
                  <a:moveTo>
                    <a:pt x="851" y="1109"/>
                  </a:moveTo>
                  <a:cubicBezTo>
                    <a:pt x="842" y="1109"/>
                    <a:pt x="833" y="1114"/>
                    <a:pt x="830" y="1119"/>
                  </a:cubicBezTo>
                  <a:cubicBezTo>
                    <a:pt x="827" y="1125"/>
                    <a:pt x="832" y="1130"/>
                    <a:pt x="840" y="1130"/>
                  </a:cubicBezTo>
                  <a:cubicBezTo>
                    <a:pt x="849" y="1130"/>
                    <a:pt x="858" y="1125"/>
                    <a:pt x="861" y="1119"/>
                  </a:cubicBezTo>
                  <a:cubicBezTo>
                    <a:pt x="864" y="1114"/>
                    <a:pt x="859" y="1109"/>
                    <a:pt x="851" y="1109"/>
                  </a:cubicBezTo>
                  <a:cubicBezTo>
                    <a:pt x="851" y="1109"/>
                    <a:pt x="851" y="1109"/>
                    <a:pt x="851" y="1109"/>
                  </a:cubicBezTo>
                  <a:moveTo>
                    <a:pt x="895" y="1109"/>
                  </a:moveTo>
                  <a:cubicBezTo>
                    <a:pt x="887" y="1109"/>
                    <a:pt x="878" y="1114"/>
                    <a:pt x="875" y="1119"/>
                  </a:cubicBezTo>
                  <a:cubicBezTo>
                    <a:pt x="872" y="1125"/>
                    <a:pt x="876" y="1129"/>
                    <a:pt x="885" y="1129"/>
                  </a:cubicBezTo>
                  <a:cubicBezTo>
                    <a:pt x="893" y="1129"/>
                    <a:pt x="902" y="1125"/>
                    <a:pt x="905" y="1119"/>
                  </a:cubicBezTo>
                  <a:cubicBezTo>
                    <a:pt x="908" y="1114"/>
                    <a:pt x="904" y="1109"/>
                    <a:pt x="895" y="1109"/>
                  </a:cubicBezTo>
                  <a:cubicBezTo>
                    <a:pt x="895" y="1109"/>
                    <a:pt x="895" y="1109"/>
                    <a:pt x="895" y="1109"/>
                  </a:cubicBezTo>
                  <a:moveTo>
                    <a:pt x="2162" y="1106"/>
                  </a:moveTo>
                  <a:cubicBezTo>
                    <a:pt x="2153" y="1106"/>
                    <a:pt x="2146" y="1111"/>
                    <a:pt x="2145" y="1116"/>
                  </a:cubicBezTo>
                  <a:cubicBezTo>
                    <a:pt x="2145" y="1122"/>
                    <a:pt x="2151" y="1127"/>
                    <a:pt x="2160" y="1127"/>
                  </a:cubicBezTo>
                  <a:cubicBezTo>
                    <a:pt x="2168" y="1127"/>
                    <a:pt x="2176" y="1122"/>
                    <a:pt x="2176" y="1116"/>
                  </a:cubicBezTo>
                  <a:cubicBezTo>
                    <a:pt x="2177" y="1111"/>
                    <a:pt x="2170" y="1106"/>
                    <a:pt x="2162" y="1106"/>
                  </a:cubicBezTo>
                  <a:cubicBezTo>
                    <a:pt x="2162" y="1106"/>
                    <a:pt x="2162" y="1106"/>
                    <a:pt x="2162" y="1106"/>
                  </a:cubicBezTo>
                  <a:moveTo>
                    <a:pt x="2206" y="1106"/>
                  </a:moveTo>
                  <a:cubicBezTo>
                    <a:pt x="2198" y="1106"/>
                    <a:pt x="2190" y="1111"/>
                    <a:pt x="2190" y="1116"/>
                  </a:cubicBezTo>
                  <a:cubicBezTo>
                    <a:pt x="2189" y="1122"/>
                    <a:pt x="2196" y="1127"/>
                    <a:pt x="2204" y="1127"/>
                  </a:cubicBezTo>
                  <a:cubicBezTo>
                    <a:pt x="2213" y="1127"/>
                    <a:pt x="2220" y="1122"/>
                    <a:pt x="2220" y="1116"/>
                  </a:cubicBezTo>
                  <a:cubicBezTo>
                    <a:pt x="2221" y="1111"/>
                    <a:pt x="2214" y="1106"/>
                    <a:pt x="2206" y="1106"/>
                  </a:cubicBezTo>
                  <a:cubicBezTo>
                    <a:pt x="2206" y="1106"/>
                    <a:pt x="2206" y="1106"/>
                    <a:pt x="2206" y="1106"/>
                  </a:cubicBezTo>
                  <a:moveTo>
                    <a:pt x="2249" y="1106"/>
                  </a:moveTo>
                  <a:cubicBezTo>
                    <a:pt x="2241" y="1106"/>
                    <a:pt x="2233" y="1111"/>
                    <a:pt x="2233" y="1116"/>
                  </a:cubicBezTo>
                  <a:cubicBezTo>
                    <a:pt x="2233" y="1122"/>
                    <a:pt x="2239" y="1126"/>
                    <a:pt x="2248" y="1126"/>
                  </a:cubicBezTo>
                  <a:cubicBezTo>
                    <a:pt x="2256" y="1126"/>
                    <a:pt x="2263" y="1122"/>
                    <a:pt x="2264" y="1116"/>
                  </a:cubicBezTo>
                  <a:cubicBezTo>
                    <a:pt x="2264" y="1111"/>
                    <a:pt x="2258" y="1106"/>
                    <a:pt x="2249" y="1106"/>
                  </a:cubicBezTo>
                  <a:cubicBezTo>
                    <a:pt x="2249" y="1106"/>
                    <a:pt x="2249" y="1106"/>
                    <a:pt x="2249" y="1106"/>
                  </a:cubicBezTo>
                  <a:moveTo>
                    <a:pt x="2293" y="1106"/>
                  </a:moveTo>
                  <a:cubicBezTo>
                    <a:pt x="2284" y="1106"/>
                    <a:pt x="2277" y="1110"/>
                    <a:pt x="2277" y="1116"/>
                  </a:cubicBezTo>
                  <a:cubicBezTo>
                    <a:pt x="2276" y="1122"/>
                    <a:pt x="2283" y="1126"/>
                    <a:pt x="2291" y="1126"/>
                  </a:cubicBezTo>
                  <a:cubicBezTo>
                    <a:pt x="2300" y="1126"/>
                    <a:pt x="2307" y="1122"/>
                    <a:pt x="2307" y="1116"/>
                  </a:cubicBezTo>
                  <a:cubicBezTo>
                    <a:pt x="2308" y="1110"/>
                    <a:pt x="2301" y="1106"/>
                    <a:pt x="2293" y="1106"/>
                  </a:cubicBezTo>
                  <a:cubicBezTo>
                    <a:pt x="2293" y="1106"/>
                    <a:pt x="2293" y="1106"/>
                    <a:pt x="2293" y="1106"/>
                  </a:cubicBezTo>
                  <a:moveTo>
                    <a:pt x="2336" y="1106"/>
                  </a:moveTo>
                  <a:cubicBezTo>
                    <a:pt x="2328" y="1106"/>
                    <a:pt x="2321" y="1110"/>
                    <a:pt x="2321" y="1116"/>
                  </a:cubicBezTo>
                  <a:cubicBezTo>
                    <a:pt x="2320" y="1122"/>
                    <a:pt x="2327" y="1126"/>
                    <a:pt x="2335" y="1126"/>
                  </a:cubicBezTo>
                  <a:cubicBezTo>
                    <a:pt x="2344" y="1126"/>
                    <a:pt x="2351" y="1122"/>
                    <a:pt x="2351" y="1116"/>
                  </a:cubicBezTo>
                  <a:cubicBezTo>
                    <a:pt x="2351" y="1110"/>
                    <a:pt x="2345" y="1106"/>
                    <a:pt x="2336" y="1106"/>
                  </a:cubicBezTo>
                  <a:cubicBezTo>
                    <a:pt x="2336" y="1106"/>
                    <a:pt x="2336" y="1106"/>
                    <a:pt x="2336" y="1106"/>
                  </a:cubicBezTo>
                  <a:moveTo>
                    <a:pt x="2380" y="1106"/>
                  </a:moveTo>
                  <a:cubicBezTo>
                    <a:pt x="2372" y="1106"/>
                    <a:pt x="2365" y="1110"/>
                    <a:pt x="2365" y="1116"/>
                  </a:cubicBezTo>
                  <a:cubicBezTo>
                    <a:pt x="2365" y="1121"/>
                    <a:pt x="2371" y="1126"/>
                    <a:pt x="2380" y="1126"/>
                  </a:cubicBezTo>
                  <a:cubicBezTo>
                    <a:pt x="2388" y="1126"/>
                    <a:pt x="2395" y="1121"/>
                    <a:pt x="2396" y="1116"/>
                  </a:cubicBezTo>
                  <a:cubicBezTo>
                    <a:pt x="2396" y="1110"/>
                    <a:pt x="2389" y="1106"/>
                    <a:pt x="2381" y="1106"/>
                  </a:cubicBezTo>
                  <a:cubicBezTo>
                    <a:pt x="2381" y="1106"/>
                    <a:pt x="2381" y="1106"/>
                    <a:pt x="2380" y="1106"/>
                  </a:cubicBezTo>
                  <a:moveTo>
                    <a:pt x="2424" y="1105"/>
                  </a:moveTo>
                  <a:cubicBezTo>
                    <a:pt x="2415" y="1105"/>
                    <a:pt x="2409" y="1110"/>
                    <a:pt x="2408" y="1116"/>
                  </a:cubicBezTo>
                  <a:cubicBezTo>
                    <a:pt x="2408" y="1121"/>
                    <a:pt x="2415" y="1126"/>
                    <a:pt x="2424" y="1126"/>
                  </a:cubicBezTo>
                  <a:cubicBezTo>
                    <a:pt x="2432" y="1126"/>
                    <a:pt x="2439" y="1121"/>
                    <a:pt x="2439" y="1116"/>
                  </a:cubicBezTo>
                  <a:cubicBezTo>
                    <a:pt x="2439" y="1110"/>
                    <a:pt x="2432" y="1105"/>
                    <a:pt x="2424" y="1105"/>
                  </a:cubicBezTo>
                  <a:cubicBezTo>
                    <a:pt x="2424" y="1105"/>
                    <a:pt x="2424" y="1105"/>
                    <a:pt x="2424" y="1105"/>
                  </a:cubicBezTo>
                  <a:moveTo>
                    <a:pt x="2468" y="1105"/>
                  </a:moveTo>
                  <a:cubicBezTo>
                    <a:pt x="2459" y="1105"/>
                    <a:pt x="2452" y="1110"/>
                    <a:pt x="2452" y="1116"/>
                  </a:cubicBezTo>
                  <a:cubicBezTo>
                    <a:pt x="2452" y="1121"/>
                    <a:pt x="2459" y="1126"/>
                    <a:pt x="2468" y="1126"/>
                  </a:cubicBezTo>
                  <a:cubicBezTo>
                    <a:pt x="2476" y="1126"/>
                    <a:pt x="2483" y="1121"/>
                    <a:pt x="2483" y="1115"/>
                  </a:cubicBezTo>
                  <a:cubicBezTo>
                    <a:pt x="2483" y="1110"/>
                    <a:pt x="2476" y="1105"/>
                    <a:pt x="2468" y="1105"/>
                  </a:cubicBezTo>
                  <a:cubicBezTo>
                    <a:pt x="2468" y="1105"/>
                    <a:pt x="2468" y="1105"/>
                    <a:pt x="2468" y="1105"/>
                  </a:cubicBezTo>
                  <a:moveTo>
                    <a:pt x="2511" y="1105"/>
                  </a:moveTo>
                  <a:cubicBezTo>
                    <a:pt x="2503" y="1105"/>
                    <a:pt x="2496" y="1110"/>
                    <a:pt x="2496" y="1115"/>
                  </a:cubicBezTo>
                  <a:cubicBezTo>
                    <a:pt x="2496" y="1121"/>
                    <a:pt x="2503" y="1126"/>
                    <a:pt x="2511" y="1126"/>
                  </a:cubicBezTo>
                  <a:cubicBezTo>
                    <a:pt x="2520" y="1126"/>
                    <a:pt x="2527" y="1121"/>
                    <a:pt x="2526" y="1115"/>
                  </a:cubicBezTo>
                  <a:cubicBezTo>
                    <a:pt x="2526" y="1110"/>
                    <a:pt x="2519" y="1105"/>
                    <a:pt x="2511" y="1105"/>
                  </a:cubicBezTo>
                  <a:cubicBezTo>
                    <a:pt x="2511" y="1105"/>
                    <a:pt x="2511" y="1105"/>
                    <a:pt x="2511" y="1105"/>
                  </a:cubicBezTo>
                  <a:moveTo>
                    <a:pt x="2555" y="1105"/>
                  </a:moveTo>
                  <a:cubicBezTo>
                    <a:pt x="2546" y="1105"/>
                    <a:pt x="2540" y="1110"/>
                    <a:pt x="2540" y="1115"/>
                  </a:cubicBezTo>
                  <a:cubicBezTo>
                    <a:pt x="2540" y="1121"/>
                    <a:pt x="2547" y="1126"/>
                    <a:pt x="2555" y="1125"/>
                  </a:cubicBezTo>
                  <a:cubicBezTo>
                    <a:pt x="2564" y="1125"/>
                    <a:pt x="2571" y="1121"/>
                    <a:pt x="2570" y="1115"/>
                  </a:cubicBezTo>
                  <a:cubicBezTo>
                    <a:pt x="2570" y="1110"/>
                    <a:pt x="2563" y="1105"/>
                    <a:pt x="2555" y="1105"/>
                  </a:cubicBezTo>
                  <a:cubicBezTo>
                    <a:pt x="2555" y="1105"/>
                    <a:pt x="2555" y="1105"/>
                    <a:pt x="2555" y="1105"/>
                  </a:cubicBezTo>
                  <a:moveTo>
                    <a:pt x="2599" y="1105"/>
                  </a:moveTo>
                  <a:cubicBezTo>
                    <a:pt x="2591" y="1105"/>
                    <a:pt x="2584" y="1110"/>
                    <a:pt x="2584" y="1115"/>
                  </a:cubicBezTo>
                  <a:cubicBezTo>
                    <a:pt x="2584" y="1121"/>
                    <a:pt x="2591" y="1125"/>
                    <a:pt x="2600" y="1125"/>
                  </a:cubicBezTo>
                  <a:cubicBezTo>
                    <a:pt x="2608" y="1125"/>
                    <a:pt x="2615" y="1121"/>
                    <a:pt x="2615" y="1115"/>
                  </a:cubicBezTo>
                  <a:cubicBezTo>
                    <a:pt x="2614" y="1109"/>
                    <a:pt x="2607" y="1105"/>
                    <a:pt x="2599" y="1105"/>
                  </a:cubicBezTo>
                  <a:cubicBezTo>
                    <a:pt x="2599" y="1105"/>
                    <a:pt x="2599" y="1105"/>
                    <a:pt x="2599" y="1105"/>
                  </a:cubicBezTo>
                  <a:moveTo>
                    <a:pt x="2642" y="1105"/>
                  </a:moveTo>
                  <a:cubicBezTo>
                    <a:pt x="2634" y="1105"/>
                    <a:pt x="2627" y="1109"/>
                    <a:pt x="2628" y="1115"/>
                  </a:cubicBezTo>
                  <a:cubicBezTo>
                    <a:pt x="2628" y="1121"/>
                    <a:pt x="2635" y="1125"/>
                    <a:pt x="2644" y="1125"/>
                  </a:cubicBezTo>
                  <a:cubicBezTo>
                    <a:pt x="2652" y="1125"/>
                    <a:pt x="2659" y="1121"/>
                    <a:pt x="2658" y="1115"/>
                  </a:cubicBezTo>
                  <a:cubicBezTo>
                    <a:pt x="2658" y="1109"/>
                    <a:pt x="2651" y="1105"/>
                    <a:pt x="2642" y="1105"/>
                  </a:cubicBezTo>
                  <a:cubicBezTo>
                    <a:pt x="2642" y="1105"/>
                    <a:pt x="2642" y="1105"/>
                    <a:pt x="2642" y="1105"/>
                  </a:cubicBezTo>
                  <a:moveTo>
                    <a:pt x="2686" y="1105"/>
                  </a:moveTo>
                  <a:cubicBezTo>
                    <a:pt x="2678" y="1105"/>
                    <a:pt x="2671" y="1109"/>
                    <a:pt x="2672" y="1115"/>
                  </a:cubicBezTo>
                  <a:cubicBezTo>
                    <a:pt x="2672" y="1121"/>
                    <a:pt x="2679" y="1125"/>
                    <a:pt x="2688" y="1125"/>
                  </a:cubicBezTo>
                  <a:cubicBezTo>
                    <a:pt x="2696" y="1125"/>
                    <a:pt x="2703" y="1120"/>
                    <a:pt x="2703" y="1115"/>
                  </a:cubicBezTo>
                  <a:cubicBezTo>
                    <a:pt x="2702" y="1109"/>
                    <a:pt x="2695" y="1105"/>
                    <a:pt x="2687" y="1105"/>
                  </a:cubicBezTo>
                  <a:cubicBezTo>
                    <a:pt x="2687" y="1105"/>
                    <a:pt x="2686" y="1105"/>
                    <a:pt x="2686" y="1105"/>
                  </a:cubicBezTo>
                  <a:moveTo>
                    <a:pt x="2729" y="1104"/>
                  </a:moveTo>
                  <a:cubicBezTo>
                    <a:pt x="2720" y="1105"/>
                    <a:pt x="2714" y="1109"/>
                    <a:pt x="2714" y="1115"/>
                  </a:cubicBezTo>
                  <a:cubicBezTo>
                    <a:pt x="2714" y="1120"/>
                    <a:pt x="2722" y="1125"/>
                    <a:pt x="2730" y="1125"/>
                  </a:cubicBezTo>
                  <a:cubicBezTo>
                    <a:pt x="2739" y="1125"/>
                    <a:pt x="2745" y="1120"/>
                    <a:pt x="2745" y="1115"/>
                  </a:cubicBezTo>
                  <a:cubicBezTo>
                    <a:pt x="2744" y="1109"/>
                    <a:pt x="2737" y="1104"/>
                    <a:pt x="2729" y="1104"/>
                  </a:cubicBezTo>
                  <a:cubicBezTo>
                    <a:pt x="2729" y="1104"/>
                    <a:pt x="2729" y="1104"/>
                    <a:pt x="2729" y="1104"/>
                  </a:cubicBezTo>
                  <a:moveTo>
                    <a:pt x="2773" y="1104"/>
                  </a:moveTo>
                  <a:cubicBezTo>
                    <a:pt x="2764" y="1104"/>
                    <a:pt x="2758" y="1109"/>
                    <a:pt x="2758" y="1115"/>
                  </a:cubicBezTo>
                  <a:cubicBezTo>
                    <a:pt x="2759" y="1120"/>
                    <a:pt x="2766" y="1125"/>
                    <a:pt x="2775" y="1125"/>
                  </a:cubicBezTo>
                  <a:cubicBezTo>
                    <a:pt x="2783" y="1125"/>
                    <a:pt x="2790" y="1120"/>
                    <a:pt x="2789" y="1115"/>
                  </a:cubicBezTo>
                  <a:cubicBezTo>
                    <a:pt x="2788" y="1109"/>
                    <a:pt x="2781" y="1104"/>
                    <a:pt x="2773" y="1104"/>
                  </a:cubicBezTo>
                  <a:cubicBezTo>
                    <a:pt x="2773" y="1104"/>
                    <a:pt x="2773" y="1104"/>
                    <a:pt x="2773" y="1104"/>
                  </a:cubicBezTo>
                  <a:moveTo>
                    <a:pt x="2815" y="1104"/>
                  </a:moveTo>
                  <a:cubicBezTo>
                    <a:pt x="2806" y="1104"/>
                    <a:pt x="2800" y="1109"/>
                    <a:pt x="2801" y="1114"/>
                  </a:cubicBezTo>
                  <a:cubicBezTo>
                    <a:pt x="2801" y="1120"/>
                    <a:pt x="2808" y="1125"/>
                    <a:pt x="2817" y="1125"/>
                  </a:cubicBezTo>
                  <a:cubicBezTo>
                    <a:pt x="2826" y="1125"/>
                    <a:pt x="2832" y="1120"/>
                    <a:pt x="2831" y="1114"/>
                  </a:cubicBezTo>
                  <a:cubicBezTo>
                    <a:pt x="2831" y="1109"/>
                    <a:pt x="2823" y="1104"/>
                    <a:pt x="2815" y="1104"/>
                  </a:cubicBezTo>
                  <a:cubicBezTo>
                    <a:pt x="2815" y="1104"/>
                    <a:pt x="2815" y="1104"/>
                    <a:pt x="2815" y="1104"/>
                  </a:cubicBezTo>
                  <a:moveTo>
                    <a:pt x="3909" y="1102"/>
                  </a:moveTo>
                  <a:cubicBezTo>
                    <a:pt x="3901" y="1102"/>
                    <a:pt x="3896" y="1106"/>
                    <a:pt x="3899" y="1112"/>
                  </a:cubicBezTo>
                  <a:cubicBezTo>
                    <a:pt x="3902" y="1118"/>
                    <a:pt x="3911" y="1122"/>
                    <a:pt x="3919" y="1122"/>
                  </a:cubicBezTo>
                  <a:cubicBezTo>
                    <a:pt x="3928" y="1122"/>
                    <a:pt x="3932" y="1118"/>
                    <a:pt x="3930" y="1112"/>
                  </a:cubicBezTo>
                  <a:cubicBezTo>
                    <a:pt x="3927" y="1106"/>
                    <a:pt x="3918" y="1102"/>
                    <a:pt x="3910" y="1102"/>
                  </a:cubicBezTo>
                  <a:cubicBezTo>
                    <a:pt x="3910" y="1102"/>
                    <a:pt x="3910" y="1102"/>
                    <a:pt x="3909" y="1102"/>
                  </a:cubicBezTo>
                  <a:moveTo>
                    <a:pt x="3953" y="1102"/>
                  </a:moveTo>
                  <a:cubicBezTo>
                    <a:pt x="3944" y="1102"/>
                    <a:pt x="3940" y="1106"/>
                    <a:pt x="3942" y="1112"/>
                  </a:cubicBezTo>
                  <a:cubicBezTo>
                    <a:pt x="3945" y="1118"/>
                    <a:pt x="3954" y="1122"/>
                    <a:pt x="3963" y="1122"/>
                  </a:cubicBezTo>
                  <a:cubicBezTo>
                    <a:pt x="3971" y="1122"/>
                    <a:pt x="3976" y="1118"/>
                    <a:pt x="3973" y="1112"/>
                  </a:cubicBezTo>
                  <a:cubicBezTo>
                    <a:pt x="3970" y="1106"/>
                    <a:pt x="3961" y="1102"/>
                    <a:pt x="3953" y="1102"/>
                  </a:cubicBezTo>
                  <a:cubicBezTo>
                    <a:pt x="3953" y="1102"/>
                    <a:pt x="3953" y="1102"/>
                    <a:pt x="3953" y="1102"/>
                  </a:cubicBezTo>
                  <a:moveTo>
                    <a:pt x="3997" y="1102"/>
                  </a:moveTo>
                  <a:cubicBezTo>
                    <a:pt x="3988" y="1102"/>
                    <a:pt x="3984" y="1106"/>
                    <a:pt x="3986" y="1112"/>
                  </a:cubicBezTo>
                  <a:cubicBezTo>
                    <a:pt x="3989" y="1118"/>
                    <a:pt x="3998" y="1122"/>
                    <a:pt x="4007" y="1122"/>
                  </a:cubicBezTo>
                  <a:cubicBezTo>
                    <a:pt x="4015" y="1122"/>
                    <a:pt x="4020" y="1117"/>
                    <a:pt x="4017" y="1112"/>
                  </a:cubicBezTo>
                  <a:cubicBezTo>
                    <a:pt x="4014" y="1106"/>
                    <a:pt x="4005" y="1102"/>
                    <a:pt x="3997" y="1102"/>
                  </a:cubicBezTo>
                  <a:cubicBezTo>
                    <a:pt x="3997" y="1102"/>
                    <a:pt x="3997" y="1102"/>
                    <a:pt x="3997" y="1102"/>
                  </a:cubicBezTo>
                  <a:moveTo>
                    <a:pt x="4170" y="1101"/>
                  </a:moveTo>
                  <a:cubicBezTo>
                    <a:pt x="4162" y="1101"/>
                    <a:pt x="4157" y="1106"/>
                    <a:pt x="4160" y="1112"/>
                  </a:cubicBezTo>
                  <a:cubicBezTo>
                    <a:pt x="4163" y="1117"/>
                    <a:pt x="4173" y="1122"/>
                    <a:pt x="4181" y="1122"/>
                  </a:cubicBezTo>
                  <a:cubicBezTo>
                    <a:pt x="4190" y="1122"/>
                    <a:pt x="4194" y="1117"/>
                    <a:pt x="4191" y="1112"/>
                  </a:cubicBezTo>
                  <a:cubicBezTo>
                    <a:pt x="4188" y="1106"/>
                    <a:pt x="4179" y="1101"/>
                    <a:pt x="4170" y="1101"/>
                  </a:cubicBezTo>
                  <a:cubicBezTo>
                    <a:pt x="4170" y="1101"/>
                    <a:pt x="4170" y="1101"/>
                    <a:pt x="4170" y="1101"/>
                  </a:cubicBezTo>
                  <a:moveTo>
                    <a:pt x="4213" y="1101"/>
                  </a:moveTo>
                  <a:cubicBezTo>
                    <a:pt x="4205" y="1101"/>
                    <a:pt x="4200" y="1106"/>
                    <a:pt x="4204" y="1111"/>
                  </a:cubicBezTo>
                  <a:cubicBezTo>
                    <a:pt x="4207" y="1117"/>
                    <a:pt x="4216" y="1122"/>
                    <a:pt x="4225" y="1122"/>
                  </a:cubicBezTo>
                  <a:cubicBezTo>
                    <a:pt x="4233" y="1122"/>
                    <a:pt x="4237" y="1117"/>
                    <a:pt x="4234" y="1111"/>
                  </a:cubicBezTo>
                  <a:cubicBezTo>
                    <a:pt x="4231" y="1106"/>
                    <a:pt x="4222" y="1101"/>
                    <a:pt x="4213" y="1101"/>
                  </a:cubicBezTo>
                  <a:cubicBezTo>
                    <a:pt x="4213" y="1101"/>
                    <a:pt x="4213" y="1101"/>
                    <a:pt x="4213" y="1101"/>
                  </a:cubicBezTo>
                  <a:moveTo>
                    <a:pt x="4256" y="1101"/>
                  </a:moveTo>
                  <a:cubicBezTo>
                    <a:pt x="4248" y="1101"/>
                    <a:pt x="4244" y="1106"/>
                    <a:pt x="4247" y="1111"/>
                  </a:cubicBezTo>
                  <a:cubicBezTo>
                    <a:pt x="4250" y="1117"/>
                    <a:pt x="4260" y="1122"/>
                    <a:pt x="4268" y="1122"/>
                  </a:cubicBezTo>
                  <a:cubicBezTo>
                    <a:pt x="4277" y="1122"/>
                    <a:pt x="4281" y="1117"/>
                    <a:pt x="4278" y="1111"/>
                  </a:cubicBezTo>
                  <a:cubicBezTo>
                    <a:pt x="4274" y="1106"/>
                    <a:pt x="4265" y="1101"/>
                    <a:pt x="4257" y="1101"/>
                  </a:cubicBezTo>
                  <a:cubicBezTo>
                    <a:pt x="4256" y="1101"/>
                    <a:pt x="4256" y="1101"/>
                    <a:pt x="4256" y="1101"/>
                  </a:cubicBezTo>
                  <a:moveTo>
                    <a:pt x="4300" y="1101"/>
                  </a:moveTo>
                  <a:cubicBezTo>
                    <a:pt x="4292" y="1101"/>
                    <a:pt x="4288" y="1106"/>
                    <a:pt x="4291" y="1111"/>
                  </a:cubicBezTo>
                  <a:cubicBezTo>
                    <a:pt x="4294" y="1117"/>
                    <a:pt x="4304" y="1121"/>
                    <a:pt x="4312" y="1121"/>
                  </a:cubicBezTo>
                  <a:cubicBezTo>
                    <a:pt x="4321" y="1121"/>
                    <a:pt x="4325" y="1117"/>
                    <a:pt x="4322" y="1111"/>
                  </a:cubicBezTo>
                  <a:cubicBezTo>
                    <a:pt x="4318" y="1105"/>
                    <a:pt x="4309" y="1101"/>
                    <a:pt x="4300" y="1101"/>
                  </a:cubicBezTo>
                  <a:cubicBezTo>
                    <a:pt x="4300" y="1101"/>
                    <a:pt x="4300" y="1101"/>
                    <a:pt x="4300" y="1101"/>
                  </a:cubicBezTo>
                  <a:moveTo>
                    <a:pt x="4516" y="1096"/>
                  </a:moveTo>
                  <a:cubicBezTo>
                    <a:pt x="4508" y="1096"/>
                    <a:pt x="4504" y="1100"/>
                    <a:pt x="4508" y="1106"/>
                  </a:cubicBezTo>
                  <a:cubicBezTo>
                    <a:pt x="4512" y="1112"/>
                    <a:pt x="4521" y="1116"/>
                    <a:pt x="4530" y="1116"/>
                  </a:cubicBezTo>
                  <a:cubicBezTo>
                    <a:pt x="4538" y="1116"/>
                    <a:pt x="4542" y="1112"/>
                    <a:pt x="4538" y="1106"/>
                  </a:cubicBezTo>
                  <a:cubicBezTo>
                    <a:pt x="4535" y="1100"/>
                    <a:pt x="4525" y="1096"/>
                    <a:pt x="4516" y="1096"/>
                  </a:cubicBezTo>
                  <a:cubicBezTo>
                    <a:pt x="4516" y="1096"/>
                    <a:pt x="4516" y="1096"/>
                    <a:pt x="4516" y="1096"/>
                  </a:cubicBezTo>
                  <a:moveTo>
                    <a:pt x="389" y="1082"/>
                  </a:moveTo>
                  <a:cubicBezTo>
                    <a:pt x="380" y="1082"/>
                    <a:pt x="370" y="1086"/>
                    <a:pt x="366" y="1092"/>
                  </a:cubicBezTo>
                  <a:cubicBezTo>
                    <a:pt x="363" y="1097"/>
                    <a:pt x="366" y="1102"/>
                    <a:pt x="375" y="1102"/>
                  </a:cubicBezTo>
                  <a:cubicBezTo>
                    <a:pt x="383" y="1102"/>
                    <a:pt x="393" y="1097"/>
                    <a:pt x="397" y="1092"/>
                  </a:cubicBezTo>
                  <a:cubicBezTo>
                    <a:pt x="401" y="1086"/>
                    <a:pt x="397" y="1082"/>
                    <a:pt x="389" y="1082"/>
                  </a:cubicBezTo>
                  <a:cubicBezTo>
                    <a:pt x="389" y="1082"/>
                    <a:pt x="389" y="1082"/>
                    <a:pt x="389" y="1082"/>
                  </a:cubicBezTo>
                  <a:moveTo>
                    <a:pt x="432" y="1081"/>
                  </a:moveTo>
                  <a:cubicBezTo>
                    <a:pt x="424" y="1081"/>
                    <a:pt x="414" y="1086"/>
                    <a:pt x="410" y="1092"/>
                  </a:cubicBezTo>
                  <a:cubicBezTo>
                    <a:pt x="406" y="1097"/>
                    <a:pt x="410" y="1102"/>
                    <a:pt x="418" y="1102"/>
                  </a:cubicBezTo>
                  <a:cubicBezTo>
                    <a:pt x="427" y="1102"/>
                    <a:pt x="437" y="1097"/>
                    <a:pt x="440" y="1091"/>
                  </a:cubicBezTo>
                  <a:cubicBezTo>
                    <a:pt x="444" y="1086"/>
                    <a:pt x="440" y="1081"/>
                    <a:pt x="432" y="1081"/>
                  </a:cubicBezTo>
                  <a:cubicBezTo>
                    <a:pt x="432" y="1081"/>
                    <a:pt x="432" y="1081"/>
                    <a:pt x="432" y="1081"/>
                  </a:cubicBezTo>
                  <a:moveTo>
                    <a:pt x="475" y="1081"/>
                  </a:moveTo>
                  <a:cubicBezTo>
                    <a:pt x="467" y="1081"/>
                    <a:pt x="457" y="1086"/>
                    <a:pt x="453" y="1091"/>
                  </a:cubicBezTo>
                  <a:cubicBezTo>
                    <a:pt x="449" y="1097"/>
                    <a:pt x="453" y="1102"/>
                    <a:pt x="462" y="1102"/>
                  </a:cubicBezTo>
                  <a:cubicBezTo>
                    <a:pt x="470" y="1101"/>
                    <a:pt x="480" y="1097"/>
                    <a:pt x="484" y="1091"/>
                  </a:cubicBezTo>
                  <a:cubicBezTo>
                    <a:pt x="487" y="1086"/>
                    <a:pt x="483" y="1081"/>
                    <a:pt x="475" y="1081"/>
                  </a:cubicBezTo>
                  <a:cubicBezTo>
                    <a:pt x="475" y="1081"/>
                    <a:pt x="475" y="1081"/>
                    <a:pt x="475" y="1081"/>
                  </a:cubicBezTo>
                  <a:moveTo>
                    <a:pt x="518" y="1081"/>
                  </a:moveTo>
                  <a:cubicBezTo>
                    <a:pt x="510" y="1081"/>
                    <a:pt x="500" y="1086"/>
                    <a:pt x="497" y="1091"/>
                  </a:cubicBezTo>
                  <a:cubicBezTo>
                    <a:pt x="493" y="1097"/>
                    <a:pt x="497" y="1101"/>
                    <a:pt x="505" y="1101"/>
                  </a:cubicBezTo>
                  <a:cubicBezTo>
                    <a:pt x="514" y="1101"/>
                    <a:pt x="524" y="1097"/>
                    <a:pt x="527" y="1091"/>
                  </a:cubicBezTo>
                  <a:cubicBezTo>
                    <a:pt x="531" y="1086"/>
                    <a:pt x="527" y="1081"/>
                    <a:pt x="519" y="1081"/>
                  </a:cubicBezTo>
                  <a:cubicBezTo>
                    <a:pt x="519" y="1081"/>
                    <a:pt x="518" y="1081"/>
                    <a:pt x="518" y="1081"/>
                  </a:cubicBezTo>
                  <a:moveTo>
                    <a:pt x="563" y="1081"/>
                  </a:moveTo>
                  <a:cubicBezTo>
                    <a:pt x="555" y="1081"/>
                    <a:pt x="545" y="1086"/>
                    <a:pt x="542" y="1091"/>
                  </a:cubicBezTo>
                  <a:cubicBezTo>
                    <a:pt x="538" y="1097"/>
                    <a:pt x="542" y="1101"/>
                    <a:pt x="550" y="1101"/>
                  </a:cubicBezTo>
                  <a:cubicBezTo>
                    <a:pt x="559" y="1101"/>
                    <a:pt x="569" y="1097"/>
                    <a:pt x="572" y="1091"/>
                  </a:cubicBezTo>
                  <a:cubicBezTo>
                    <a:pt x="575" y="1085"/>
                    <a:pt x="572" y="1081"/>
                    <a:pt x="563" y="1081"/>
                  </a:cubicBezTo>
                  <a:cubicBezTo>
                    <a:pt x="563" y="1081"/>
                    <a:pt x="563" y="1081"/>
                    <a:pt x="563" y="1081"/>
                  </a:cubicBezTo>
                  <a:moveTo>
                    <a:pt x="606" y="1081"/>
                  </a:moveTo>
                  <a:cubicBezTo>
                    <a:pt x="598" y="1081"/>
                    <a:pt x="588" y="1085"/>
                    <a:pt x="585" y="1091"/>
                  </a:cubicBezTo>
                  <a:cubicBezTo>
                    <a:pt x="581" y="1097"/>
                    <a:pt x="585" y="1101"/>
                    <a:pt x="594" y="1101"/>
                  </a:cubicBezTo>
                  <a:cubicBezTo>
                    <a:pt x="602" y="1101"/>
                    <a:pt x="612" y="1097"/>
                    <a:pt x="615" y="1091"/>
                  </a:cubicBezTo>
                  <a:cubicBezTo>
                    <a:pt x="619" y="1085"/>
                    <a:pt x="615" y="1081"/>
                    <a:pt x="606" y="1081"/>
                  </a:cubicBezTo>
                  <a:cubicBezTo>
                    <a:pt x="606" y="1081"/>
                    <a:pt x="606" y="1081"/>
                    <a:pt x="606" y="1081"/>
                  </a:cubicBezTo>
                  <a:moveTo>
                    <a:pt x="650" y="1081"/>
                  </a:moveTo>
                  <a:cubicBezTo>
                    <a:pt x="641" y="1081"/>
                    <a:pt x="632" y="1085"/>
                    <a:pt x="628" y="1091"/>
                  </a:cubicBezTo>
                  <a:cubicBezTo>
                    <a:pt x="625" y="1096"/>
                    <a:pt x="629" y="1101"/>
                    <a:pt x="638" y="1101"/>
                  </a:cubicBezTo>
                  <a:cubicBezTo>
                    <a:pt x="646" y="1101"/>
                    <a:pt x="656" y="1096"/>
                    <a:pt x="659" y="1091"/>
                  </a:cubicBezTo>
                  <a:cubicBezTo>
                    <a:pt x="662" y="1085"/>
                    <a:pt x="658" y="1081"/>
                    <a:pt x="650" y="1081"/>
                  </a:cubicBezTo>
                  <a:cubicBezTo>
                    <a:pt x="650" y="1081"/>
                    <a:pt x="650" y="1081"/>
                    <a:pt x="650" y="1081"/>
                  </a:cubicBezTo>
                  <a:moveTo>
                    <a:pt x="694" y="1081"/>
                  </a:moveTo>
                  <a:cubicBezTo>
                    <a:pt x="685" y="1081"/>
                    <a:pt x="676" y="1085"/>
                    <a:pt x="672" y="1091"/>
                  </a:cubicBezTo>
                  <a:cubicBezTo>
                    <a:pt x="669" y="1096"/>
                    <a:pt x="673" y="1101"/>
                    <a:pt x="682" y="1101"/>
                  </a:cubicBezTo>
                  <a:cubicBezTo>
                    <a:pt x="690" y="1101"/>
                    <a:pt x="700" y="1096"/>
                    <a:pt x="703" y="1091"/>
                  </a:cubicBezTo>
                  <a:cubicBezTo>
                    <a:pt x="706" y="1085"/>
                    <a:pt x="702" y="1081"/>
                    <a:pt x="694" y="1081"/>
                  </a:cubicBezTo>
                  <a:cubicBezTo>
                    <a:pt x="694" y="1081"/>
                    <a:pt x="694" y="1081"/>
                    <a:pt x="694" y="1081"/>
                  </a:cubicBezTo>
                  <a:moveTo>
                    <a:pt x="737" y="1080"/>
                  </a:moveTo>
                  <a:cubicBezTo>
                    <a:pt x="728" y="1080"/>
                    <a:pt x="719" y="1085"/>
                    <a:pt x="716" y="1091"/>
                  </a:cubicBezTo>
                  <a:cubicBezTo>
                    <a:pt x="712" y="1096"/>
                    <a:pt x="717" y="1101"/>
                    <a:pt x="725" y="1101"/>
                  </a:cubicBezTo>
                  <a:cubicBezTo>
                    <a:pt x="733" y="1101"/>
                    <a:pt x="743" y="1096"/>
                    <a:pt x="746" y="1090"/>
                  </a:cubicBezTo>
                  <a:cubicBezTo>
                    <a:pt x="749" y="1085"/>
                    <a:pt x="745" y="1080"/>
                    <a:pt x="737" y="1080"/>
                  </a:cubicBezTo>
                  <a:cubicBezTo>
                    <a:pt x="737" y="1080"/>
                    <a:pt x="737" y="1080"/>
                    <a:pt x="737" y="1080"/>
                  </a:cubicBezTo>
                  <a:moveTo>
                    <a:pt x="780" y="1080"/>
                  </a:moveTo>
                  <a:cubicBezTo>
                    <a:pt x="772" y="1080"/>
                    <a:pt x="762" y="1085"/>
                    <a:pt x="759" y="1090"/>
                  </a:cubicBezTo>
                  <a:cubicBezTo>
                    <a:pt x="756" y="1096"/>
                    <a:pt x="760" y="1101"/>
                    <a:pt x="769" y="1101"/>
                  </a:cubicBezTo>
                  <a:cubicBezTo>
                    <a:pt x="777" y="1101"/>
                    <a:pt x="786" y="1096"/>
                    <a:pt x="789" y="1090"/>
                  </a:cubicBezTo>
                  <a:cubicBezTo>
                    <a:pt x="793" y="1085"/>
                    <a:pt x="788" y="1080"/>
                    <a:pt x="780" y="1080"/>
                  </a:cubicBezTo>
                  <a:cubicBezTo>
                    <a:pt x="780" y="1080"/>
                    <a:pt x="780" y="1080"/>
                    <a:pt x="780" y="1080"/>
                  </a:cubicBezTo>
                  <a:moveTo>
                    <a:pt x="823" y="1080"/>
                  </a:moveTo>
                  <a:cubicBezTo>
                    <a:pt x="815" y="1080"/>
                    <a:pt x="805" y="1085"/>
                    <a:pt x="802" y="1090"/>
                  </a:cubicBezTo>
                  <a:cubicBezTo>
                    <a:pt x="799" y="1096"/>
                    <a:pt x="804" y="1100"/>
                    <a:pt x="812" y="1100"/>
                  </a:cubicBezTo>
                  <a:cubicBezTo>
                    <a:pt x="820" y="1100"/>
                    <a:pt x="830" y="1096"/>
                    <a:pt x="833" y="1090"/>
                  </a:cubicBezTo>
                  <a:cubicBezTo>
                    <a:pt x="836" y="1085"/>
                    <a:pt x="831" y="1080"/>
                    <a:pt x="823" y="1080"/>
                  </a:cubicBezTo>
                  <a:cubicBezTo>
                    <a:pt x="823" y="1080"/>
                    <a:pt x="823" y="1080"/>
                    <a:pt x="823" y="1080"/>
                  </a:cubicBezTo>
                  <a:moveTo>
                    <a:pt x="866" y="1080"/>
                  </a:moveTo>
                  <a:cubicBezTo>
                    <a:pt x="858" y="1080"/>
                    <a:pt x="849" y="1085"/>
                    <a:pt x="846" y="1090"/>
                  </a:cubicBezTo>
                  <a:cubicBezTo>
                    <a:pt x="843" y="1096"/>
                    <a:pt x="847" y="1100"/>
                    <a:pt x="856" y="1100"/>
                  </a:cubicBezTo>
                  <a:cubicBezTo>
                    <a:pt x="864" y="1100"/>
                    <a:pt x="873" y="1096"/>
                    <a:pt x="876" y="1090"/>
                  </a:cubicBezTo>
                  <a:cubicBezTo>
                    <a:pt x="879" y="1084"/>
                    <a:pt x="875" y="1080"/>
                    <a:pt x="866" y="1080"/>
                  </a:cubicBezTo>
                  <a:cubicBezTo>
                    <a:pt x="866" y="1080"/>
                    <a:pt x="866" y="1080"/>
                    <a:pt x="866" y="1080"/>
                  </a:cubicBezTo>
                  <a:moveTo>
                    <a:pt x="910" y="1080"/>
                  </a:moveTo>
                  <a:cubicBezTo>
                    <a:pt x="902" y="1080"/>
                    <a:pt x="893" y="1084"/>
                    <a:pt x="890" y="1090"/>
                  </a:cubicBezTo>
                  <a:cubicBezTo>
                    <a:pt x="887" y="1096"/>
                    <a:pt x="891" y="1100"/>
                    <a:pt x="900" y="1100"/>
                  </a:cubicBezTo>
                  <a:cubicBezTo>
                    <a:pt x="908" y="1100"/>
                    <a:pt x="917" y="1096"/>
                    <a:pt x="920" y="1090"/>
                  </a:cubicBezTo>
                  <a:cubicBezTo>
                    <a:pt x="923" y="1084"/>
                    <a:pt x="919" y="1080"/>
                    <a:pt x="910" y="1080"/>
                  </a:cubicBezTo>
                  <a:cubicBezTo>
                    <a:pt x="910" y="1080"/>
                    <a:pt x="910" y="1080"/>
                    <a:pt x="910" y="1080"/>
                  </a:cubicBezTo>
                  <a:moveTo>
                    <a:pt x="2121" y="1077"/>
                  </a:moveTo>
                  <a:cubicBezTo>
                    <a:pt x="2113" y="1077"/>
                    <a:pt x="2105" y="1082"/>
                    <a:pt x="2105" y="1087"/>
                  </a:cubicBezTo>
                  <a:cubicBezTo>
                    <a:pt x="2104" y="1093"/>
                    <a:pt x="2110" y="1098"/>
                    <a:pt x="2119" y="1098"/>
                  </a:cubicBezTo>
                  <a:cubicBezTo>
                    <a:pt x="2127" y="1097"/>
                    <a:pt x="2135" y="1093"/>
                    <a:pt x="2135" y="1087"/>
                  </a:cubicBezTo>
                  <a:cubicBezTo>
                    <a:pt x="2136" y="1082"/>
                    <a:pt x="2130" y="1077"/>
                    <a:pt x="2121" y="1077"/>
                  </a:cubicBezTo>
                  <a:cubicBezTo>
                    <a:pt x="2121" y="1077"/>
                    <a:pt x="2121" y="1077"/>
                    <a:pt x="2121" y="1077"/>
                  </a:cubicBezTo>
                  <a:moveTo>
                    <a:pt x="2165" y="1077"/>
                  </a:moveTo>
                  <a:cubicBezTo>
                    <a:pt x="2157" y="1077"/>
                    <a:pt x="2149" y="1082"/>
                    <a:pt x="2149" y="1087"/>
                  </a:cubicBezTo>
                  <a:cubicBezTo>
                    <a:pt x="2148" y="1093"/>
                    <a:pt x="2154" y="1097"/>
                    <a:pt x="2163" y="1097"/>
                  </a:cubicBezTo>
                  <a:cubicBezTo>
                    <a:pt x="2171" y="1097"/>
                    <a:pt x="2179" y="1093"/>
                    <a:pt x="2179" y="1087"/>
                  </a:cubicBezTo>
                  <a:cubicBezTo>
                    <a:pt x="2180" y="1081"/>
                    <a:pt x="2173" y="1077"/>
                    <a:pt x="2165" y="1077"/>
                  </a:cubicBezTo>
                  <a:cubicBezTo>
                    <a:pt x="2165" y="1077"/>
                    <a:pt x="2165" y="1077"/>
                    <a:pt x="2165" y="1077"/>
                  </a:cubicBezTo>
                  <a:moveTo>
                    <a:pt x="2208" y="1077"/>
                  </a:moveTo>
                  <a:cubicBezTo>
                    <a:pt x="2200" y="1077"/>
                    <a:pt x="2192" y="1081"/>
                    <a:pt x="2192" y="1087"/>
                  </a:cubicBezTo>
                  <a:cubicBezTo>
                    <a:pt x="2191" y="1093"/>
                    <a:pt x="2198" y="1097"/>
                    <a:pt x="2206" y="1097"/>
                  </a:cubicBezTo>
                  <a:cubicBezTo>
                    <a:pt x="2215" y="1097"/>
                    <a:pt x="2222" y="1093"/>
                    <a:pt x="2222" y="1087"/>
                  </a:cubicBezTo>
                  <a:cubicBezTo>
                    <a:pt x="2223" y="1081"/>
                    <a:pt x="2216" y="1077"/>
                    <a:pt x="2208" y="1077"/>
                  </a:cubicBezTo>
                  <a:cubicBezTo>
                    <a:pt x="2208" y="1077"/>
                    <a:pt x="2208" y="1077"/>
                    <a:pt x="2208" y="1077"/>
                  </a:cubicBezTo>
                  <a:moveTo>
                    <a:pt x="2251" y="1077"/>
                  </a:moveTo>
                  <a:cubicBezTo>
                    <a:pt x="2243" y="1077"/>
                    <a:pt x="2236" y="1081"/>
                    <a:pt x="2235" y="1087"/>
                  </a:cubicBezTo>
                  <a:cubicBezTo>
                    <a:pt x="2235" y="1093"/>
                    <a:pt x="2241" y="1097"/>
                    <a:pt x="2250" y="1097"/>
                  </a:cubicBezTo>
                  <a:cubicBezTo>
                    <a:pt x="2258" y="1097"/>
                    <a:pt x="2265" y="1092"/>
                    <a:pt x="2266" y="1087"/>
                  </a:cubicBezTo>
                  <a:cubicBezTo>
                    <a:pt x="2266" y="1081"/>
                    <a:pt x="2260" y="1077"/>
                    <a:pt x="2251" y="1077"/>
                  </a:cubicBezTo>
                  <a:cubicBezTo>
                    <a:pt x="2251" y="1077"/>
                    <a:pt x="2251" y="1077"/>
                    <a:pt x="2251" y="1077"/>
                  </a:cubicBezTo>
                  <a:moveTo>
                    <a:pt x="2294" y="1077"/>
                  </a:moveTo>
                  <a:cubicBezTo>
                    <a:pt x="2286" y="1077"/>
                    <a:pt x="2279" y="1081"/>
                    <a:pt x="2278" y="1087"/>
                  </a:cubicBezTo>
                  <a:cubicBezTo>
                    <a:pt x="2278" y="1092"/>
                    <a:pt x="2285" y="1097"/>
                    <a:pt x="2293" y="1097"/>
                  </a:cubicBezTo>
                  <a:cubicBezTo>
                    <a:pt x="2301" y="1097"/>
                    <a:pt x="2309" y="1092"/>
                    <a:pt x="2309" y="1087"/>
                  </a:cubicBezTo>
                  <a:cubicBezTo>
                    <a:pt x="2309" y="1081"/>
                    <a:pt x="2303" y="1077"/>
                    <a:pt x="2294" y="1077"/>
                  </a:cubicBezTo>
                  <a:cubicBezTo>
                    <a:pt x="2294" y="1077"/>
                    <a:pt x="2294" y="1077"/>
                    <a:pt x="2294" y="1077"/>
                  </a:cubicBezTo>
                  <a:moveTo>
                    <a:pt x="2338" y="1076"/>
                  </a:moveTo>
                  <a:cubicBezTo>
                    <a:pt x="2329" y="1076"/>
                    <a:pt x="2322" y="1081"/>
                    <a:pt x="2322" y="1087"/>
                  </a:cubicBezTo>
                  <a:cubicBezTo>
                    <a:pt x="2322" y="1092"/>
                    <a:pt x="2328" y="1097"/>
                    <a:pt x="2337" y="1097"/>
                  </a:cubicBezTo>
                  <a:cubicBezTo>
                    <a:pt x="2345" y="1097"/>
                    <a:pt x="2352" y="1092"/>
                    <a:pt x="2352" y="1087"/>
                  </a:cubicBezTo>
                  <a:cubicBezTo>
                    <a:pt x="2353" y="1081"/>
                    <a:pt x="2346" y="1076"/>
                    <a:pt x="2338" y="1076"/>
                  </a:cubicBezTo>
                  <a:cubicBezTo>
                    <a:pt x="2338" y="1076"/>
                    <a:pt x="2338" y="1076"/>
                    <a:pt x="2338" y="1076"/>
                  </a:cubicBezTo>
                  <a:moveTo>
                    <a:pt x="2381" y="1076"/>
                  </a:moveTo>
                  <a:cubicBezTo>
                    <a:pt x="2373" y="1076"/>
                    <a:pt x="2366" y="1081"/>
                    <a:pt x="2366" y="1087"/>
                  </a:cubicBezTo>
                  <a:cubicBezTo>
                    <a:pt x="2366" y="1092"/>
                    <a:pt x="2372" y="1097"/>
                    <a:pt x="2381" y="1097"/>
                  </a:cubicBezTo>
                  <a:cubicBezTo>
                    <a:pt x="2389" y="1097"/>
                    <a:pt x="2396" y="1092"/>
                    <a:pt x="2396" y="1086"/>
                  </a:cubicBezTo>
                  <a:cubicBezTo>
                    <a:pt x="2396" y="1081"/>
                    <a:pt x="2390" y="1076"/>
                    <a:pt x="2381" y="1076"/>
                  </a:cubicBezTo>
                  <a:cubicBezTo>
                    <a:pt x="2381" y="1076"/>
                    <a:pt x="2381" y="1076"/>
                    <a:pt x="2381" y="1076"/>
                  </a:cubicBezTo>
                  <a:moveTo>
                    <a:pt x="2424" y="1076"/>
                  </a:moveTo>
                  <a:cubicBezTo>
                    <a:pt x="2416" y="1076"/>
                    <a:pt x="2409" y="1081"/>
                    <a:pt x="2409" y="1086"/>
                  </a:cubicBezTo>
                  <a:cubicBezTo>
                    <a:pt x="2409" y="1092"/>
                    <a:pt x="2416" y="1097"/>
                    <a:pt x="2424" y="1097"/>
                  </a:cubicBezTo>
                  <a:cubicBezTo>
                    <a:pt x="2432" y="1097"/>
                    <a:pt x="2439" y="1092"/>
                    <a:pt x="2439" y="1086"/>
                  </a:cubicBezTo>
                  <a:cubicBezTo>
                    <a:pt x="2439" y="1081"/>
                    <a:pt x="2433" y="1076"/>
                    <a:pt x="2424" y="1076"/>
                  </a:cubicBezTo>
                  <a:cubicBezTo>
                    <a:pt x="2424" y="1076"/>
                    <a:pt x="2424" y="1076"/>
                    <a:pt x="2424" y="1076"/>
                  </a:cubicBezTo>
                  <a:moveTo>
                    <a:pt x="2468" y="1076"/>
                  </a:moveTo>
                  <a:cubicBezTo>
                    <a:pt x="2459" y="1076"/>
                    <a:pt x="2452" y="1081"/>
                    <a:pt x="2452" y="1086"/>
                  </a:cubicBezTo>
                  <a:cubicBezTo>
                    <a:pt x="2452" y="1092"/>
                    <a:pt x="2459" y="1096"/>
                    <a:pt x="2468" y="1096"/>
                  </a:cubicBezTo>
                  <a:cubicBezTo>
                    <a:pt x="2476" y="1096"/>
                    <a:pt x="2483" y="1092"/>
                    <a:pt x="2483" y="1086"/>
                  </a:cubicBezTo>
                  <a:cubicBezTo>
                    <a:pt x="2483" y="1081"/>
                    <a:pt x="2476" y="1076"/>
                    <a:pt x="2468" y="1076"/>
                  </a:cubicBezTo>
                  <a:cubicBezTo>
                    <a:pt x="2468" y="1076"/>
                    <a:pt x="2468" y="1076"/>
                    <a:pt x="2468" y="1076"/>
                  </a:cubicBezTo>
                  <a:moveTo>
                    <a:pt x="2511" y="1076"/>
                  </a:moveTo>
                  <a:cubicBezTo>
                    <a:pt x="2502" y="1076"/>
                    <a:pt x="2496" y="1080"/>
                    <a:pt x="2496" y="1086"/>
                  </a:cubicBezTo>
                  <a:cubicBezTo>
                    <a:pt x="2496" y="1092"/>
                    <a:pt x="2502" y="1096"/>
                    <a:pt x="2511" y="1096"/>
                  </a:cubicBezTo>
                  <a:cubicBezTo>
                    <a:pt x="2519" y="1096"/>
                    <a:pt x="2526" y="1092"/>
                    <a:pt x="2526" y="1086"/>
                  </a:cubicBezTo>
                  <a:cubicBezTo>
                    <a:pt x="2526" y="1080"/>
                    <a:pt x="2519" y="1076"/>
                    <a:pt x="2511" y="1076"/>
                  </a:cubicBezTo>
                  <a:cubicBezTo>
                    <a:pt x="2511" y="1076"/>
                    <a:pt x="2511" y="1076"/>
                    <a:pt x="2511" y="1076"/>
                  </a:cubicBezTo>
                  <a:moveTo>
                    <a:pt x="2554" y="1076"/>
                  </a:moveTo>
                  <a:cubicBezTo>
                    <a:pt x="2546" y="1076"/>
                    <a:pt x="2539" y="1080"/>
                    <a:pt x="2539" y="1086"/>
                  </a:cubicBezTo>
                  <a:cubicBezTo>
                    <a:pt x="2539" y="1092"/>
                    <a:pt x="2546" y="1096"/>
                    <a:pt x="2555" y="1096"/>
                  </a:cubicBezTo>
                  <a:cubicBezTo>
                    <a:pt x="2563" y="1096"/>
                    <a:pt x="2570" y="1091"/>
                    <a:pt x="2569" y="1086"/>
                  </a:cubicBezTo>
                  <a:cubicBezTo>
                    <a:pt x="2569" y="1080"/>
                    <a:pt x="2562" y="1076"/>
                    <a:pt x="2554" y="1076"/>
                  </a:cubicBezTo>
                  <a:cubicBezTo>
                    <a:pt x="2554" y="1076"/>
                    <a:pt x="2554" y="1076"/>
                    <a:pt x="2554" y="1076"/>
                  </a:cubicBezTo>
                  <a:moveTo>
                    <a:pt x="2598" y="1076"/>
                  </a:moveTo>
                  <a:cubicBezTo>
                    <a:pt x="2589" y="1076"/>
                    <a:pt x="2583" y="1080"/>
                    <a:pt x="2583" y="1086"/>
                  </a:cubicBezTo>
                  <a:cubicBezTo>
                    <a:pt x="2583" y="1091"/>
                    <a:pt x="2590" y="1096"/>
                    <a:pt x="2599" y="1096"/>
                  </a:cubicBezTo>
                  <a:cubicBezTo>
                    <a:pt x="2607" y="1096"/>
                    <a:pt x="2614" y="1091"/>
                    <a:pt x="2613" y="1086"/>
                  </a:cubicBezTo>
                  <a:cubicBezTo>
                    <a:pt x="2613" y="1080"/>
                    <a:pt x="2606" y="1076"/>
                    <a:pt x="2598" y="1076"/>
                  </a:cubicBezTo>
                  <a:cubicBezTo>
                    <a:pt x="2598" y="1076"/>
                    <a:pt x="2598" y="1076"/>
                    <a:pt x="2598" y="1076"/>
                  </a:cubicBezTo>
                  <a:moveTo>
                    <a:pt x="2641" y="1075"/>
                  </a:moveTo>
                  <a:cubicBezTo>
                    <a:pt x="2632" y="1075"/>
                    <a:pt x="2626" y="1080"/>
                    <a:pt x="2626" y="1086"/>
                  </a:cubicBezTo>
                  <a:cubicBezTo>
                    <a:pt x="2626" y="1091"/>
                    <a:pt x="2633" y="1096"/>
                    <a:pt x="2642" y="1096"/>
                  </a:cubicBezTo>
                  <a:cubicBezTo>
                    <a:pt x="2650" y="1096"/>
                    <a:pt x="2657" y="1091"/>
                    <a:pt x="2657" y="1086"/>
                  </a:cubicBezTo>
                  <a:cubicBezTo>
                    <a:pt x="2656" y="1080"/>
                    <a:pt x="2649" y="1075"/>
                    <a:pt x="2641" y="1075"/>
                  </a:cubicBezTo>
                  <a:cubicBezTo>
                    <a:pt x="2641" y="1075"/>
                    <a:pt x="2641" y="1075"/>
                    <a:pt x="2641" y="1075"/>
                  </a:cubicBezTo>
                  <a:moveTo>
                    <a:pt x="2684" y="1075"/>
                  </a:moveTo>
                  <a:cubicBezTo>
                    <a:pt x="2676" y="1075"/>
                    <a:pt x="2670" y="1080"/>
                    <a:pt x="2670" y="1086"/>
                  </a:cubicBezTo>
                  <a:cubicBezTo>
                    <a:pt x="2670" y="1091"/>
                    <a:pt x="2677" y="1096"/>
                    <a:pt x="2686" y="1096"/>
                  </a:cubicBezTo>
                  <a:cubicBezTo>
                    <a:pt x="2694" y="1096"/>
                    <a:pt x="2701" y="1091"/>
                    <a:pt x="2700" y="1085"/>
                  </a:cubicBezTo>
                  <a:cubicBezTo>
                    <a:pt x="2700" y="1080"/>
                    <a:pt x="2693" y="1075"/>
                    <a:pt x="2685" y="1075"/>
                  </a:cubicBezTo>
                  <a:cubicBezTo>
                    <a:pt x="2684" y="1075"/>
                    <a:pt x="2684" y="1075"/>
                    <a:pt x="2684" y="1075"/>
                  </a:cubicBezTo>
                  <a:moveTo>
                    <a:pt x="2726" y="1075"/>
                  </a:moveTo>
                  <a:cubicBezTo>
                    <a:pt x="2718" y="1075"/>
                    <a:pt x="2711" y="1080"/>
                    <a:pt x="2712" y="1085"/>
                  </a:cubicBezTo>
                  <a:cubicBezTo>
                    <a:pt x="2712" y="1091"/>
                    <a:pt x="2719" y="1096"/>
                    <a:pt x="2728" y="1096"/>
                  </a:cubicBezTo>
                  <a:cubicBezTo>
                    <a:pt x="2736" y="1096"/>
                    <a:pt x="2743" y="1091"/>
                    <a:pt x="2742" y="1085"/>
                  </a:cubicBezTo>
                  <a:cubicBezTo>
                    <a:pt x="2742" y="1080"/>
                    <a:pt x="2735" y="1075"/>
                    <a:pt x="2726" y="1075"/>
                  </a:cubicBezTo>
                  <a:cubicBezTo>
                    <a:pt x="2726" y="1075"/>
                    <a:pt x="2726" y="1075"/>
                    <a:pt x="2726" y="1075"/>
                  </a:cubicBezTo>
                  <a:moveTo>
                    <a:pt x="2770" y="1075"/>
                  </a:moveTo>
                  <a:cubicBezTo>
                    <a:pt x="2761" y="1075"/>
                    <a:pt x="2755" y="1080"/>
                    <a:pt x="2756" y="1085"/>
                  </a:cubicBezTo>
                  <a:cubicBezTo>
                    <a:pt x="2756" y="1091"/>
                    <a:pt x="2763" y="1095"/>
                    <a:pt x="2772" y="1095"/>
                  </a:cubicBezTo>
                  <a:cubicBezTo>
                    <a:pt x="2780" y="1095"/>
                    <a:pt x="2787" y="1091"/>
                    <a:pt x="2786" y="1085"/>
                  </a:cubicBezTo>
                  <a:cubicBezTo>
                    <a:pt x="2785" y="1080"/>
                    <a:pt x="2778" y="1075"/>
                    <a:pt x="2770" y="1075"/>
                  </a:cubicBezTo>
                  <a:cubicBezTo>
                    <a:pt x="2770" y="1075"/>
                    <a:pt x="2770" y="1075"/>
                    <a:pt x="2770" y="1075"/>
                  </a:cubicBezTo>
                  <a:moveTo>
                    <a:pt x="2811" y="1075"/>
                  </a:moveTo>
                  <a:cubicBezTo>
                    <a:pt x="2803" y="1075"/>
                    <a:pt x="2797" y="1079"/>
                    <a:pt x="2797" y="1085"/>
                  </a:cubicBezTo>
                  <a:cubicBezTo>
                    <a:pt x="2798" y="1091"/>
                    <a:pt x="2805" y="1095"/>
                    <a:pt x="2814" y="1095"/>
                  </a:cubicBezTo>
                  <a:cubicBezTo>
                    <a:pt x="2822" y="1095"/>
                    <a:pt x="2828" y="1091"/>
                    <a:pt x="2828" y="1085"/>
                  </a:cubicBezTo>
                  <a:cubicBezTo>
                    <a:pt x="2827" y="1079"/>
                    <a:pt x="2820" y="1075"/>
                    <a:pt x="2812" y="1075"/>
                  </a:cubicBezTo>
                  <a:cubicBezTo>
                    <a:pt x="2811" y="1075"/>
                    <a:pt x="2811" y="1075"/>
                    <a:pt x="2811" y="1075"/>
                  </a:cubicBezTo>
                  <a:moveTo>
                    <a:pt x="2857" y="1075"/>
                  </a:moveTo>
                  <a:cubicBezTo>
                    <a:pt x="2849" y="1075"/>
                    <a:pt x="2843" y="1079"/>
                    <a:pt x="2843" y="1085"/>
                  </a:cubicBezTo>
                  <a:cubicBezTo>
                    <a:pt x="2844" y="1091"/>
                    <a:pt x="2851" y="1095"/>
                    <a:pt x="2860" y="1095"/>
                  </a:cubicBezTo>
                  <a:cubicBezTo>
                    <a:pt x="2868" y="1095"/>
                    <a:pt x="2874" y="1091"/>
                    <a:pt x="2874" y="1085"/>
                  </a:cubicBezTo>
                  <a:cubicBezTo>
                    <a:pt x="2873" y="1079"/>
                    <a:pt x="2866" y="1075"/>
                    <a:pt x="2857" y="1075"/>
                  </a:cubicBezTo>
                  <a:cubicBezTo>
                    <a:pt x="2857" y="1075"/>
                    <a:pt x="2857" y="1075"/>
                    <a:pt x="2857" y="1075"/>
                  </a:cubicBezTo>
                  <a:moveTo>
                    <a:pt x="3895" y="1074"/>
                  </a:moveTo>
                  <a:cubicBezTo>
                    <a:pt x="3886" y="1074"/>
                    <a:pt x="3882" y="1079"/>
                    <a:pt x="3884" y="1084"/>
                  </a:cubicBezTo>
                  <a:cubicBezTo>
                    <a:pt x="3887" y="1090"/>
                    <a:pt x="3896" y="1094"/>
                    <a:pt x="3904" y="1094"/>
                  </a:cubicBezTo>
                  <a:cubicBezTo>
                    <a:pt x="3913" y="1094"/>
                    <a:pt x="3917" y="1090"/>
                    <a:pt x="3915" y="1084"/>
                  </a:cubicBezTo>
                  <a:cubicBezTo>
                    <a:pt x="3912" y="1078"/>
                    <a:pt x="3903" y="1074"/>
                    <a:pt x="3895" y="1074"/>
                  </a:cubicBezTo>
                  <a:cubicBezTo>
                    <a:pt x="3895" y="1074"/>
                    <a:pt x="3895" y="1074"/>
                    <a:pt x="3895" y="1074"/>
                  </a:cubicBezTo>
                  <a:moveTo>
                    <a:pt x="3984" y="1074"/>
                  </a:moveTo>
                  <a:cubicBezTo>
                    <a:pt x="3976" y="1074"/>
                    <a:pt x="3971" y="1078"/>
                    <a:pt x="3974" y="1084"/>
                  </a:cubicBezTo>
                  <a:cubicBezTo>
                    <a:pt x="3977" y="1090"/>
                    <a:pt x="3986" y="1094"/>
                    <a:pt x="3994" y="1094"/>
                  </a:cubicBezTo>
                  <a:cubicBezTo>
                    <a:pt x="4003" y="1094"/>
                    <a:pt x="4007" y="1089"/>
                    <a:pt x="4004" y="1084"/>
                  </a:cubicBezTo>
                  <a:cubicBezTo>
                    <a:pt x="4002" y="1078"/>
                    <a:pt x="3992" y="1074"/>
                    <a:pt x="3984" y="1074"/>
                  </a:cubicBezTo>
                  <a:cubicBezTo>
                    <a:pt x="3984" y="1074"/>
                    <a:pt x="3984" y="1074"/>
                    <a:pt x="3984" y="1074"/>
                  </a:cubicBezTo>
                  <a:moveTo>
                    <a:pt x="4196" y="1071"/>
                  </a:moveTo>
                  <a:cubicBezTo>
                    <a:pt x="4188" y="1072"/>
                    <a:pt x="4184" y="1076"/>
                    <a:pt x="4187" y="1082"/>
                  </a:cubicBezTo>
                  <a:cubicBezTo>
                    <a:pt x="4190" y="1087"/>
                    <a:pt x="4200" y="1092"/>
                    <a:pt x="4208" y="1092"/>
                  </a:cubicBezTo>
                  <a:cubicBezTo>
                    <a:pt x="4216" y="1092"/>
                    <a:pt x="4221" y="1087"/>
                    <a:pt x="4217" y="1082"/>
                  </a:cubicBezTo>
                  <a:cubicBezTo>
                    <a:pt x="4214" y="1076"/>
                    <a:pt x="4205" y="1071"/>
                    <a:pt x="4196" y="1071"/>
                  </a:cubicBezTo>
                  <a:cubicBezTo>
                    <a:pt x="4196" y="1071"/>
                    <a:pt x="4196" y="1071"/>
                    <a:pt x="4196" y="1071"/>
                  </a:cubicBezTo>
                  <a:moveTo>
                    <a:pt x="4239" y="1071"/>
                  </a:moveTo>
                  <a:cubicBezTo>
                    <a:pt x="4231" y="1071"/>
                    <a:pt x="4227" y="1076"/>
                    <a:pt x="4230" y="1082"/>
                  </a:cubicBezTo>
                  <a:cubicBezTo>
                    <a:pt x="4233" y="1087"/>
                    <a:pt x="4243" y="1092"/>
                    <a:pt x="4251" y="1092"/>
                  </a:cubicBezTo>
                  <a:cubicBezTo>
                    <a:pt x="4260" y="1092"/>
                    <a:pt x="4264" y="1087"/>
                    <a:pt x="4260" y="1082"/>
                  </a:cubicBezTo>
                  <a:cubicBezTo>
                    <a:pt x="4257" y="1076"/>
                    <a:pt x="4248" y="1071"/>
                    <a:pt x="4239" y="1071"/>
                  </a:cubicBezTo>
                  <a:cubicBezTo>
                    <a:pt x="4239" y="1071"/>
                    <a:pt x="4239" y="1071"/>
                    <a:pt x="4239" y="1071"/>
                  </a:cubicBezTo>
                  <a:moveTo>
                    <a:pt x="4283" y="1071"/>
                  </a:moveTo>
                  <a:cubicBezTo>
                    <a:pt x="4274" y="1071"/>
                    <a:pt x="4270" y="1076"/>
                    <a:pt x="4274" y="1082"/>
                  </a:cubicBezTo>
                  <a:cubicBezTo>
                    <a:pt x="4277" y="1087"/>
                    <a:pt x="4286" y="1092"/>
                    <a:pt x="4295" y="1092"/>
                  </a:cubicBezTo>
                  <a:cubicBezTo>
                    <a:pt x="4303" y="1092"/>
                    <a:pt x="4307" y="1087"/>
                    <a:pt x="4304" y="1081"/>
                  </a:cubicBezTo>
                  <a:cubicBezTo>
                    <a:pt x="4301" y="1076"/>
                    <a:pt x="4291" y="1071"/>
                    <a:pt x="4283" y="1071"/>
                  </a:cubicBezTo>
                  <a:cubicBezTo>
                    <a:pt x="4283" y="1071"/>
                    <a:pt x="4283" y="1071"/>
                    <a:pt x="4283" y="1071"/>
                  </a:cubicBezTo>
                  <a:moveTo>
                    <a:pt x="408" y="1054"/>
                  </a:moveTo>
                  <a:cubicBezTo>
                    <a:pt x="399" y="1054"/>
                    <a:pt x="389" y="1058"/>
                    <a:pt x="386" y="1064"/>
                  </a:cubicBezTo>
                  <a:cubicBezTo>
                    <a:pt x="382" y="1069"/>
                    <a:pt x="385" y="1074"/>
                    <a:pt x="394" y="1074"/>
                  </a:cubicBezTo>
                  <a:cubicBezTo>
                    <a:pt x="402" y="1074"/>
                    <a:pt x="412" y="1069"/>
                    <a:pt x="416" y="1064"/>
                  </a:cubicBezTo>
                  <a:cubicBezTo>
                    <a:pt x="420" y="1058"/>
                    <a:pt x="416" y="1054"/>
                    <a:pt x="408" y="1054"/>
                  </a:cubicBezTo>
                  <a:cubicBezTo>
                    <a:pt x="408" y="1054"/>
                    <a:pt x="408" y="1054"/>
                    <a:pt x="408" y="1054"/>
                  </a:cubicBezTo>
                  <a:moveTo>
                    <a:pt x="451" y="1053"/>
                  </a:moveTo>
                  <a:cubicBezTo>
                    <a:pt x="442" y="1053"/>
                    <a:pt x="432" y="1058"/>
                    <a:pt x="429" y="1064"/>
                  </a:cubicBezTo>
                  <a:cubicBezTo>
                    <a:pt x="425" y="1069"/>
                    <a:pt x="429" y="1074"/>
                    <a:pt x="437" y="1074"/>
                  </a:cubicBezTo>
                  <a:cubicBezTo>
                    <a:pt x="445" y="1074"/>
                    <a:pt x="455" y="1069"/>
                    <a:pt x="459" y="1064"/>
                  </a:cubicBezTo>
                  <a:cubicBezTo>
                    <a:pt x="463" y="1058"/>
                    <a:pt x="459" y="1053"/>
                    <a:pt x="451" y="1053"/>
                  </a:cubicBezTo>
                  <a:cubicBezTo>
                    <a:pt x="451" y="1053"/>
                    <a:pt x="451" y="1053"/>
                    <a:pt x="451" y="1053"/>
                  </a:cubicBezTo>
                  <a:moveTo>
                    <a:pt x="493" y="1053"/>
                  </a:moveTo>
                  <a:cubicBezTo>
                    <a:pt x="485" y="1053"/>
                    <a:pt x="475" y="1058"/>
                    <a:pt x="472" y="1064"/>
                  </a:cubicBezTo>
                  <a:cubicBezTo>
                    <a:pt x="468" y="1069"/>
                    <a:pt x="472" y="1074"/>
                    <a:pt x="480" y="1074"/>
                  </a:cubicBezTo>
                  <a:cubicBezTo>
                    <a:pt x="488" y="1074"/>
                    <a:pt x="498" y="1069"/>
                    <a:pt x="502" y="1063"/>
                  </a:cubicBezTo>
                  <a:cubicBezTo>
                    <a:pt x="505" y="1058"/>
                    <a:pt x="502" y="1053"/>
                    <a:pt x="493" y="1053"/>
                  </a:cubicBezTo>
                  <a:cubicBezTo>
                    <a:pt x="493" y="1053"/>
                    <a:pt x="493" y="1053"/>
                    <a:pt x="493" y="1053"/>
                  </a:cubicBezTo>
                  <a:moveTo>
                    <a:pt x="536" y="1053"/>
                  </a:moveTo>
                  <a:cubicBezTo>
                    <a:pt x="528" y="1053"/>
                    <a:pt x="518" y="1058"/>
                    <a:pt x="515" y="1063"/>
                  </a:cubicBezTo>
                  <a:cubicBezTo>
                    <a:pt x="511" y="1069"/>
                    <a:pt x="515" y="1073"/>
                    <a:pt x="523" y="1073"/>
                  </a:cubicBezTo>
                  <a:cubicBezTo>
                    <a:pt x="532" y="1073"/>
                    <a:pt x="541" y="1069"/>
                    <a:pt x="545" y="1063"/>
                  </a:cubicBezTo>
                  <a:cubicBezTo>
                    <a:pt x="548" y="1058"/>
                    <a:pt x="545" y="1053"/>
                    <a:pt x="536" y="1053"/>
                  </a:cubicBezTo>
                  <a:cubicBezTo>
                    <a:pt x="536" y="1053"/>
                    <a:pt x="536" y="1053"/>
                    <a:pt x="536" y="1053"/>
                  </a:cubicBezTo>
                  <a:moveTo>
                    <a:pt x="581" y="1053"/>
                  </a:moveTo>
                  <a:cubicBezTo>
                    <a:pt x="572" y="1053"/>
                    <a:pt x="563" y="1058"/>
                    <a:pt x="559" y="1063"/>
                  </a:cubicBezTo>
                  <a:cubicBezTo>
                    <a:pt x="556" y="1069"/>
                    <a:pt x="560" y="1073"/>
                    <a:pt x="568" y="1073"/>
                  </a:cubicBezTo>
                  <a:cubicBezTo>
                    <a:pt x="576" y="1073"/>
                    <a:pt x="586" y="1069"/>
                    <a:pt x="589" y="1063"/>
                  </a:cubicBezTo>
                  <a:cubicBezTo>
                    <a:pt x="593" y="1058"/>
                    <a:pt x="589" y="1053"/>
                    <a:pt x="581" y="1053"/>
                  </a:cubicBezTo>
                  <a:cubicBezTo>
                    <a:pt x="581" y="1053"/>
                    <a:pt x="581" y="1053"/>
                    <a:pt x="581" y="1053"/>
                  </a:cubicBezTo>
                  <a:moveTo>
                    <a:pt x="623" y="1053"/>
                  </a:moveTo>
                  <a:cubicBezTo>
                    <a:pt x="615" y="1053"/>
                    <a:pt x="605" y="1057"/>
                    <a:pt x="602" y="1063"/>
                  </a:cubicBezTo>
                  <a:cubicBezTo>
                    <a:pt x="599" y="1069"/>
                    <a:pt x="603" y="1073"/>
                    <a:pt x="611" y="1073"/>
                  </a:cubicBezTo>
                  <a:cubicBezTo>
                    <a:pt x="619" y="1073"/>
                    <a:pt x="629" y="1069"/>
                    <a:pt x="632" y="1063"/>
                  </a:cubicBezTo>
                  <a:cubicBezTo>
                    <a:pt x="636" y="1057"/>
                    <a:pt x="632" y="1053"/>
                    <a:pt x="623" y="1053"/>
                  </a:cubicBezTo>
                  <a:cubicBezTo>
                    <a:pt x="623" y="1053"/>
                    <a:pt x="623" y="1053"/>
                    <a:pt x="623" y="1053"/>
                  </a:cubicBezTo>
                  <a:moveTo>
                    <a:pt x="666" y="1053"/>
                  </a:moveTo>
                  <a:cubicBezTo>
                    <a:pt x="658" y="1053"/>
                    <a:pt x="649" y="1057"/>
                    <a:pt x="645" y="1063"/>
                  </a:cubicBezTo>
                  <a:cubicBezTo>
                    <a:pt x="642" y="1069"/>
                    <a:pt x="646" y="1073"/>
                    <a:pt x="654" y="1073"/>
                  </a:cubicBezTo>
                  <a:cubicBezTo>
                    <a:pt x="663" y="1073"/>
                    <a:pt x="672" y="1068"/>
                    <a:pt x="675" y="1063"/>
                  </a:cubicBezTo>
                  <a:cubicBezTo>
                    <a:pt x="679" y="1057"/>
                    <a:pt x="675" y="1053"/>
                    <a:pt x="666" y="1053"/>
                  </a:cubicBezTo>
                  <a:cubicBezTo>
                    <a:pt x="666" y="1053"/>
                    <a:pt x="666" y="1053"/>
                    <a:pt x="666" y="1053"/>
                  </a:cubicBezTo>
                  <a:moveTo>
                    <a:pt x="710" y="1053"/>
                  </a:moveTo>
                  <a:cubicBezTo>
                    <a:pt x="701" y="1053"/>
                    <a:pt x="692" y="1057"/>
                    <a:pt x="689" y="1063"/>
                  </a:cubicBezTo>
                  <a:cubicBezTo>
                    <a:pt x="685" y="1068"/>
                    <a:pt x="690" y="1073"/>
                    <a:pt x="698" y="1073"/>
                  </a:cubicBezTo>
                  <a:cubicBezTo>
                    <a:pt x="706" y="1073"/>
                    <a:pt x="716" y="1068"/>
                    <a:pt x="719" y="1063"/>
                  </a:cubicBezTo>
                  <a:cubicBezTo>
                    <a:pt x="722" y="1057"/>
                    <a:pt x="718" y="1053"/>
                    <a:pt x="710" y="1053"/>
                  </a:cubicBezTo>
                  <a:cubicBezTo>
                    <a:pt x="710" y="1053"/>
                    <a:pt x="710" y="1053"/>
                    <a:pt x="710" y="1053"/>
                  </a:cubicBezTo>
                  <a:moveTo>
                    <a:pt x="752" y="1052"/>
                  </a:moveTo>
                  <a:cubicBezTo>
                    <a:pt x="744" y="1052"/>
                    <a:pt x="735" y="1057"/>
                    <a:pt x="732" y="1063"/>
                  </a:cubicBezTo>
                  <a:cubicBezTo>
                    <a:pt x="728" y="1068"/>
                    <a:pt x="733" y="1073"/>
                    <a:pt x="741" y="1073"/>
                  </a:cubicBezTo>
                  <a:cubicBezTo>
                    <a:pt x="749" y="1073"/>
                    <a:pt x="759" y="1068"/>
                    <a:pt x="762" y="1063"/>
                  </a:cubicBezTo>
                  <a:cubicBezTo>
                    <a:pt x="765" y="1057"/>
                    <a:pt x="761" y="1052"/>
                    <a:pt x="752" y="1052"/>
                  </a:cubicBezTo>
                  <a:cubicBezTo>
                    <a:pt x="752" y="1052"/>
                    <a:pt x="752" y="1052"/>
                    <a:pt x="752" y="1052"/>
                  </a:cubicBezTo>
                  <a:moveTo>
                    <a:pt x="796" y="1052"/>
                  </a:moveTo>
                  <a:cubicBezTo>
                    <a:pt x="787" y="1052"/>
                    <a:pt x="778" y="1057"/>
                    <a:pt x="775" y="1062"/>
                  </a:cubicBezTo>
                  <a:cubicBezTo>
                    <a:pt x="772" y="1068"/>
                    <a:pt x="776" y="1072"/>
                    <a:pt x="784" y="1072"/>
                  </a:cubicBezTo>
                  <a:cubicBezTo>
                    <a:pt x="793" y="1072"/>
                    <a:pt x="802" y="1068"/>
                    <a:pt x="805" y="1062"/>
                  </a:cubicBezTo>
                  <a:cubicBezTo>
                    <a:pt x="808" y="1056"/>
                    <a:pt x="804" y="1052"/>
                    <a:pt x="796" y="1052"/>
                  </a:cubicBezTo>
                  <a:cubicBezTo>
                    <a:pt x="796" y="1052"/>
                    <a:pt x="796" y="1052"/>
                    <a:pt x="796" y="1052"/>
                  </a:cubicBezTo>
                  <a:moveTo>
                    <a:pt x="838" y="1052"/>
                  </a:moveTo>
                  <a:cubicBezTo>
                    <a:pt x="830" y="1052"/>
                    <a:pt x="821" y="1056"/>
                    <a:pt x="818" y="1062"/>
                  </a:cubicBezTo>
                  <a:cubicBezTo>
                    <a:pt x="815" y="1068"/>
                    <a:pt x="819" y="1072"/>
                    <a:pt x="827" y="1072"/>
                  </a:cubicBezTo>
                  <a:cubicBezTo>
                    <a:pt x="836" y="1072"/>
                    <a:pt x="845" y="1068"/>
                    <a:pt x="848" y="1062"/>
                  </a:cubicBezTo>
                  <a:cubicBezTo>
                    <a:pt x="851" y="1056"/>
                    <a:pt x="847" y="1052"/>
                    <a:pt x="838" y="1052"/>
                  </a:cubicBezTo>
                  <a:cubicBezTo>
                    <a:pt x="838" y="1052"/>
                    <a:pt x="838" y="1052"/>
                    <a:pt x="838" y="1052"/>
                  </a:cubicBezTo>
                  <a:moveTo>
                    <a:pt x="882" y="1050"/>
                  </a:moveTo>
                  <a:cubicBezTo>
                    <a:pt x="874" y="1050"/>
                    <a:pt x="865" y="1054"/>
                    <a:pt x="862" y="1060"/>
                  </a:cubicBezTo>
                  <a:cubicBezTo>
                    <a:pt x="859" y="1066"/>
                    <a:pt x="863" y="1070"/>
                    <a:pt x="872" y="1070"/>
                  </a:cubicBezTo>
                  <a:cubicBezTo>
                    <a:pt x="880" y="1070"/>
                    <a:pt x="889" y="1066"/>
                    <a:pt x="892" y="1060"/>
                  </a:cubicBezTo>
                  <a:cubicBezTo>
                    <a:pt x="895" y="1054"/>
                    <a:pt x="891" y="1050"/>
                    <a:pt x="882" y="1050"/>
                  </a:cubicBezTo>
                  <a:cubicBezTo>
                    <a:pt x="882" y="1050"/>
                    <a:pt x="882" y="1050"/>
                    <a:pt x="882" y="1050"/>
                  </a:cubicBezTo>
                  <a:moveTo>
                    <a:pt x="1737" y="1049"/>
                  </a:moveTo>
                  <a:cubicBezTo>
                    <a:pt x="1729" y="1049"/>
                    <a:pt x="1721" y="1053"/>
                    <a:pt x="1720" y="1059"/>
                  </a:cubicBezTo>
                  <a:cubicBezTo>
                    <a:pt x="1718" y="1065"/>
                    <a:pt x="1724" y="1069"/>
                    <a:pt x="1732" y="1069"/>
                  </a:cubicBezTo>
                  <a:cubicBezTo>
                    <a:pt x="1741" y="1069"/>
                    <a:pt x="1749" y="1065"/>
                    <a:pt x="1750" y="1059"/>
                  </a:cubicBezTo>
                  <a:cubicBezTo>
                    <a:pt x="1751" y="1053"/>
                    <a:pt x="1746" y="1049"/>
                    <a:pt x="1737" y="1049"/>
                  </a:cubicBezTo>
                  <a:cubicBezTo>
                    <a:pt x="1737" y="1049"/>
                    <a:pt x="1737" y="1049"/>
                    <a:pt x="1737" y="1049"/>
                  </a:cubicBezTo>
                  <a:moveTo>
                    <a:pt x="1780" y="1049"/>
                  </a:moveTo>
                  <a:cubicBezTo>
                    <a:pt x="1772" y="1049"/>
                    <a:pt x="1764" y="1053"/>
                    <a:pt x="1763" y="1059"/>
                  </a:cubicBezTo>
                  <a:cubicBezTo>
                    <a:pt x="1762" y="1065"/>
                    <a:pt x="1767" y="1069"/>
                    <a:pt x="1776" y="1069"/>
                  </a:cubicBezTo>
                  <a:cubicBezTo>
                    <a:pt x="1784" y="1069"/>
                    <a:pt x="1792" y="1064"/>
                    <a:pt x="1793" y="1059"/>
                  </a:cubicBezTo>
                  <a:cubicBezTo>
                    <a:pt x="1794" y="1053"/>
                    <a:pt x="1789" y="1049"/>
                    <a:pt x="1780" y="1049"/>
                  </a:cubicBezTo>
                  <a:cubicBezTo>
                    <a:pt x="1780" y="1049"/>
                    <a:pt x="1780" y="1049"/>
                    <a:pt x="1780" y="1049"/>
                  </a:cubicBezTo>
                  <a:moveTo>
                    <a:pt x="1824" y="1049"/>
                  </a:moveTo>
                  <a:cubicBezTo>
                    <a:pt x="1815" y="1049"/>
                    <a:pt x="1808" y="1053"/>
                    <a:pt x="1806" y="1059"/>
                  </a:cubicBezTo>
                  <a:cubicBezTo>
                    <a:pt x="1805" y="1064"/>
                    <a:pt x="1811" y="1069"/>
                    <a:pt x="1819" y="1069"/>
                  </a:cubicBezTo>
                  <a:cubicBezTo>
                    <a:pt x="1828" y="1069"/>
                    <a:pt x="1835" y="1064"/>
                    <a:pt x="1836" y="1059"/>
                  </a:cubicBezTo>
                  <a:cubicBezTo>
                    <a:pt x="1838" y="1053"/>
                    <a:pt x="1832" y="1049"/>
                    <a:pt x="1824" y="1049"/>
                  </a:cubicBezTo>
                  <a:cubicBezTo>
                    <a:pt x="1824" y="1049"/>
                    <a:pt x="1824" y="1049"/>
                    <a:pt x="1824" y="1049"/>
                  </a:cubicBezTo>
                  <a:moveTo>
                    <a:pt x="1866" y="1048"/>
                  </a:moveTo>
                  <a:cubicBezTo>
                    <a:pt x="1858" y="1048"/>
                    <a:pt x="1850" y="1053"/>
                    <a:pt x="1849" y="1059"/>
                  </a:cubicBezTo>
                  <a:cubicBezTo>
                    <a:pt x="1848" y="1064"/>
                    <a:pt x="1854" y="1069"/>
                    <a:pt x="1862" y="1069"/>
                  </a:cubicBezTo>
                  <a:cubicBezTo>
                    <a:pt x="1870" y="1069"/>
                    <a:pt x="1878" y="1064"/>
                    <a:pt x="1879" y="1059"/>
                  </a:cubicBezTo>
                  <a:cubicBezTo>
                    <a:pt x="1880" y="1053"/>
                    <a:pt x="1875" y="1048"/>
                    <a:pt x="1866" y="1048"/>
                  </a:cubicBezTo>
                  <a:cubicBezTo>
                    <a:pt x="1866" y="1048"/>
                    <a:pt x="1866" y="1048"/>
                    <a:pt x="1866" y="1048"/>
                  </a:cubicBezTo>
                  <a:moveTo>
                    <a:pt x="1909" y="1048"/>
                  </a:moveTo>
                  <a:cubicBezTo>
                    <a:pt x="1901" y="1048"/>
                    <a:pt x="1893" y="1053"/>
                    <a:pt x="1892" y="1059"/>
                  </a:cubicBezTo>
                  <a:cubicBezTo>
                    <a:pt x="1891" y="1064"/>
                    <a:pt x="1897" y="1069"/>
                    <a:pt x="1905" y="1069"/>
                  </a:cubicBezTo>
                  <a:cubicBezTo>
                    <a:pt x="1914" y="1069"/>
                    <a:pt x="1921" y="1064"/>
                    <a:pt x="1922" y="1058"/>
                  </a:cubicBezTo>
                  <a:cubicBezTo>
                    <a:pt x="1923" y="1053"/>
                    <a:pt x="1917" y="1048"/>
                    <a:pt x="1909" y="1048"/>
                  </a:cubicBezTo>
                  <a:cubicBezTo>
                    <a:pt x="1909" y="1048"/>
                    <a:pt x="1909" y="1048"/>
                    <a:pt x="1909" y="1048"/>
                  </a:cubicBezTo>
                  <a:moveTo>
                    <a:pt x="2039" y="1048"/>
                  </a:moveTo>
                  <a:cubicBezTo>
                    <a:pt x="2031" y="1048"/>
                    <a:pt x="2023" y="1052"/>
                    <a:pt x="2022" y="1058"/>
                  </a:cubicBezTo>
                  <a:cubicBezTo>
                    <a:pt x="2022" y="1064"/>
                    <a:pt x="2028" y="1068"/>
                    <a:pt x="2036" y="1068"/>
                  </a:cubicBezTo>
                  <a:cubicBezTo>
                    <a:pt x="2044" y="1068"/>
                    <a:pt x="2052" y="1064"/>
                    <a:pt x="2053" y="1058"/>
                  </a:cubicBezTo>
                  <a:cubicBezTo>
                    <a:pt x="2053" y="1052"/>
                    <a:pt x="2047" y="1048"/>
                    <a:pt x="2039" y="1048"/>
                  </a:cubicBezTo>
                  <a:cubicBezTo>
                    <a:pt x="2039" y="1048"/>
                    <a:pt x="2039" y="1048"/>
                    <a:pt x="2039" y="1048"/>
                  </a:cubicBezTo>
                  <a:moveTo>
                    <a:pt x="2082" y="1048"/>
                  </a:moveTo>
                  <a:cubicBezTo>
                    <a:pt x="2073" y="1048"/>
                    <a:pt x="2066" y="1052"/>
                    <a:pt x="2065" y="1058"/>
                  </a:cubicBezTo>
                  <a:cubicBezTo>
                    <a:pt x="2064" y="1064"/>
                    <a:pt x="2071" y="1068"/>
                    <a:pt x="2079" y="1068"/>
                  </a:cubicBezTo>
                  <a:cubicBezTo>
                    <a:pt x="2087" y="1068"/>
                    <a:pt x="2095" y="1064"/>
                    <a:pt x="2095" y="1058"/>
                  </a:cubicBezTo>
                  <a:cubicBezTo>
                    <a:pt x="2096" y="1052"/>
                    <a:pt x="2090" y="1048"/>
                    <a:pt x="2082" y="1048"/>
                  </a:cubicBezTo>
                  <a:cubicBezTo>
                    <a:pt x="2082" y="1048"/>
                    <a:pt x="2082" y="1048"/>
                    <a:pt x="2082" y="1048"/>
                  </a:cubicBezTo>
                  <a:moveTo>
                    <a:pt x="2125" y="1048"/>
                  </a:moveTo>
                  <a:cubicBezTo>
                    <a:pt x="2116" y="1048"/>
                    <a:pt x="2109" y="1052"/>
                    <a:pt x="2108" y="1058"/>
                  </a:cubicBezTo>
                  <a:cubicBezTo>
                    <a:pt x="2108" y="1063"/>
                    <a:pt x="2114" y="1068"/>
                    <a:pt x="2122" y="1068"/>
                  </a:cubicBezTo>
                  <a:cubicBezTo>
                    <a:pt x="2131" y="1068"/>
                    <a:pt x="2138" y="1063"/>
                    <a:pt x="2138" y="1058"/>
                  </a:cubicBezTo>
                  <a:cubicBezTo>
                    <a:pt x="2139" y="1052"/>
                    <a:pt x="2133" y="1048"/>
                    <a:pt x="2125" y="1048"/>
                  </a:cubicBezTo>
                  <a:cubicBezTo>
                    <a:pt x="2125" y="1048"/>
                    <a:pt x="2125" y="1048"/>
                    <a:pt x="2125" y="1048"/>
                  </a:cubicBezTo>
                  <a:moveTo>
                    <a:pt x="2168" y="1047"/>
                  </a:moveTo>
                  <a:cubicBezTo>
                    <a:pt x="2160" y="1047"/>
                    <a:pt x="2152" y="1052"/>
                    <a:pt x="2152" y="1058"/>
                  </a:cubicBezTo>
                  <a:cubicBezTo>
                    <a:pt x="2151" y="1063"/>
                    <a:pt x="2157" y="1068"/>
                    <a:pt x="2166" y="1068"/>
                  </a:cubicBezTo>
                  <a:cubicBezTo>
                    <a:pt x="2174" y="1068"/>
                    <a:pt x="2181" y="1063"/>
                    <a:pt x="2182" y="1058"/>
                  </a:cubicBezTo>
                  <a:cubicBezTo>
                    <a:pt x="2182" y="1052"/>
                    <a:pt x="2176" y="1047"/>
                    <a:pt x="2168" y="1047"/>
                  </a:cubicBezTo>
                  <a:cubicBezTo>
                    <a:pt x="2168" y="1047"/>
                    <a:pt x="2168" y="1047"/>
                    <a:pt x="2168" y="1047"/>
                  </a:cubicBezTo>
                  <a:moveTo>
                    <a:pt x="2210" y="1047"/>
                  </a:moveTo>
                  <a:cubicBezTo>
                    <a:pt x="2202" y="1047"/>
                    <a:pt x="2195" y="1052"/>
                    <a:pt x="2195" y="1058"/>
                  </a:cubicBezTo>
                  <a:cubicBezTo>
                    <a:pt x="2194" y="1063"/>
                    <a:pt x="2200" y="1068"/>
                    <a:pt x="2209" y="1068"/>
                  </a:cubicBezTo>
                  <a:cubicBezTo>
                    <a:pt x="2217" y="1068"/>
                    <a:pt x="2224" y="1063"/>
                    <a:pt x="2225" y="1057"/>
                  </a:cubicBezTo>
                  <a:cubicBezTo>
                    <a:pt x="2225" y="1052"/>
                    <a:pt x="2219" y="1047"/>
                    <a:pt x="2211" y="1047"/>
                  </a:cubicBezTo>
                  <a:cubicBezTo>
                    <a:pt x="2211" y="1047"/>
                    <a:pt x="2211" y="1047"/>
                    <a:pt x="2210" y="1047"/>
                  </a:cubicBezTo>
                  <a:moveTo>
                    <a:pt x="2253" y="1047"/>
                  </a:moveTo>
                  <a:cubicBezTo>
                    <a:pt x="2245" y="1047"/>
                    <a:pt x="2238" y="1052"/>
                    <a:pt x="2238" y="1057"/>
                  </a:cubicBezTo>
                  <a:cubicBezTo>
                    <a:pt x="2237" y="1063"/>
                    <a:pt x="2244" y="1068"/>
                    <a:pt x="2252" y="1068"/>
                  </a:cubicBezTo>
                  <a:cubicBezTo>
                    <a:pt x="2260" y="1068"/>
                    <a:pt x="2267" y="1063"/>
                    <a:pt x="2268" y="1057"/>
                  </a:cubicBezTo>
                  <a:cubicBezTo>
                    <a:pt x="2268" y="1052"/>
                    <a:pt x="2262" y="1047"/>
                    <a:pt x="2253" y="1047"/>
                  </a:cubicBezTo>
                  <a:cubicBezTo>
                    <a:pt x="2253" y="1047"/>
                    <a:pt x="2253" y="1047"/>
                    <a:pt x="2253" y="1047"/>
                  </a:cubicBezTo>
                  <a:moveTo>
                    <a:pt x="2296" y="1047"/>
                  </a:moveTo>
                  <a:cubicBezTo>
                    <a:pt x="2288" y="1047"/>
                    <a:pt x="2281" y="1052"/>
                    <a:pt x="2280" y="1057"/>
                  </a:cubicBezTo>
                  <a:cubicBezTo>
                    <a:pt x="2280" y="1063"/>
                    <a:pt x="2286" y="1067"/>
                    <a:pt x="2295" y="1067"/>
                  </a:cubicBezTo>
                  <a:cubicBezTo>
                    <a:pt x="2303" y="1067"/>
                    <a:pt x="2310" y="1063"/>
                    <a:pt x="2310" y="1057"/>
                  </a:cubicBezTo>
                  <a:cubicBezTo>
                    <a:pt x="2311" y="1052"/>
                    <a:pt x="2304" y="1047"/>
                    <a:pt x="2296" y="1047"/>
                  </a:cubicBezTo>
                  <a:cubicBezTo>
                    <a:pt x="2296" y="1047"/>
                    <a:pt x="2296" y="1047"/>
                    <a:pt x="2296" y="1047"/>
                  </a:cubicBezTo>
                  <a:moveTo>
                    <a:pt x="2339" y="1047"/>
                  </a:moveTo>
                  <a:cubicBezTo>
                    <a:pt x="2331" y="1047"/>
                    <a:pt x="2324" y="1051"/>
                    <a:pt x="2323" y="1057"/>
                  </a:cubicBezTo>
                  <a:cubicBezTo>
                    <a:pt x="2323" y="1063"/>
                    <a:pt x="2330" y="1067"/>
                    <a:pt x="2338" y="1067"/>
                  </a:cubicBezTo>
                  <a:cubicBezTo>
                    <a:pt x="2346" y="1067"/>
                    <a:pt x="2353" y="1063"/>
                    <a:pt x="2353" y="1057"/>
                  </a:cubicBezTo>
                  <a:cubicBezTo>
                    <a:pt x="2354" y="1051"/>
                    <a:pt x="2347" y="1047"/>
                    <a:pt x="2339" y="1047"/>
                  </a:cubicBezTo>
                  <a:cubicBezTo>
                    <a:pt x="2339" y="1047"/>
                    <a:pt x="2339" y="1047"/>
                    <a:pt x="2339" y="1047"/>
                  </a:cubicBezTo>
                  <a:moveTo>
                    <a:pt x="2382" y="1047"/>
                  </a:moveTo>
                  <a:cubicBezTo>
                    <a:pt x="2374" y="1047"/>
                    <a:pt x="2367" y="1051"/>
                    <a:pt x="2367" y="1057"/>
                  </a:cubicBezTo>
                  <a:cubicBezTo>
                    <a:pt x="2367" y="1063"/>
                    <a:pt x="2373" y="1067"/>
                    <a:pt x="2382" y="1067"/>
                  </a:cubicBezTo>
                  <a:cubicBezTo>
                    <a:pt x="2390" y="1067"/>
                    <a:pt x="2397" y="1063"/>
                    <a:pt x="2397" y="1057"/>
                  </a:cubicBezTo>
                  <a:cubicBezTo>
                    <a:pt x="2397" y="1051"/>
                    <a:pt x="2391" y="1047"/>
                    <a:pt x="2382" y="1047"/>
                  </a:cubicBezTo>
                  <a:cubicBezTo>
                    <a:pt x="2382" y="1047"/>
                    <a:pt x="2382" y="1047"/>
                    <a:pt x="2382" y="1047"/>
                  </a:cubicBezTo>
                  <a:moveTo>
                    <a:pt x="2425" y="1047"/>
                  </a:moveTo>
                  <a:cubicBezTo>
                    <a:pt x="2417" y="1047"/>
                    <a:pt x="2410" y="1051"/>
                    <a:pt x="2410" y="1057"/>
                  </a:cubicBezTo>
                  <a:cubicBezTo>
                    <a:pt x="2410" y="1062"/>
                    <a:pt x="2416" y="1067"/>
                    <a:pt x="2425" y="1067"/>
                  </a:cubicBezTo>
                  <a:cubicBezTo>
                    <a:pt x="2433" y="1067"/>
                    <a:pt x="2440" y="1062"/>
                    <a:pt x="2440" y="1057"/>
                  </a:cubicBezTo>
                  <a:cubicBezTo>
                    <a:pt x="2440" y="1051"/>
                    <a:pt x="2433" y="1047"/>
                    <a:pt x="2425" y="1047"/>
                  </a:cubicBezTo>
                  <a:cubicBezTo>
                    <a:pt x="2425" y="1047"/>
                    <a:pt x="2425" y="1047"/>
                    <a:pt x="2425" y="1047"/>
                  </a:cubicBezTo>
                  <a:moveTo>
                    <a:pt x="2468" y="1046"/>
                  </a:moveTo>
                  <a:cubicBezTo>
                    <a:pt x="2459" y="1046"/>
                    <a:pt x="2453" y="1051"/>
                    <a:pt x="2453" y="1057"/>
                  </a:cubicBezTo>
                  <a:cubicBezTo>
                    <a:pt x="2453" y="1062"/>
                    <a:pt x="2459" y="1067"/>
                    <a:pt x="2468" y="1067"/>
                  </a:cubicBezTo>
                  <a:cubicBezTo>
                    <a:pt x="2476" y="1067"/>
                    <a:pt x="2483" y="1062"/>
                    <a:pt x="2483" y="1057"/>
                  </a:cubicBezTo>
                  <a:cubicBezTo>
                    <a:pt x="2483" y="1051"/>
                    <a:pt x="2476" y="1046"/>
                    <a:pt x="2468" y="1046"/>
                  </a:cubicBezTo>
                  <a:cubicBezTo>
                    <a:pt x="2468" y="1046"/>
                    <a:pt x="2468" y="1046"/>
                    <a:pt x="2468" y="1046"/>
                  </a:cubicBezTo>
                  <a:moveTo>
                    <a:pt x="2510" y="1046"/>
                  </a:moveTo>
                  <a:cubicBezTo>
                    <a:pt x="2502" y="1046"/>
                    <a:pt x="2495" y="1051"/>
                    <a:pt x="2495" y="1057"/>
                  </a:cubicBezTo>
                  <a:cubicBezTo>
                    <a:pt x="2495" y="1062"/>
                    <a:pt x="2502" y="1067"/>
                    <a:pt x="2511" y="1067"/>
                  </a:cubicBezTo>
                  <a:cubicBezTo>
                    <a:pt x="2519" y="1067"/>
                    <a:pt x="2526" y="1062"/>
                    <a:pt x="2525" y="1056"/>
                  </a:cubicBezTo>
                  <a:cubicBezTo>
                    <a:pt x="2525" y="1051"/>
                    <a:pt x="2519" y="1046"/>
                    <a:pt x="2510" y="1046"/>
                  </a:cubicBezTo>
                  <a:cubicBezTo>
                    <a:pt x="2510" y="1046"/>
                    <a:pt x="2510" y="1046"/>
                    <a:pt x="2510" y="1046"/>
                  </a:cubicBezTo>
                  <a:moveTo>
                    <a:pt x="2553" y="1046"/>
                  </a:moveTo>
                  <a:cubicBezTo>
                    <a:pt x="2545" y="1046"/>
                    <a:pt x="2538" y="1051"/>
                    <a:pt x="2538" y="1056"/>
                  </a:cubicBezTo>
                  <a:cubicBezTo>
                    <a:pt x="2539" y="1062"/>
                    <a:pt x="2545" y="1067"/>
                    <a:pt x="2554" y="1067"/>
                  </a:cubicBezTo>
                  <a:cubicBezTo>
                    <a:pt x="2562" y="1067"/>
                    <a:pt x="2569" y="1062"/>
                    <a:pt x="2569" y="1056"/>
                  </a:cubicBezTo>
                  <a:cubicBezTo>
                    <a:pt x="2568" y="1051"/>
                    <a:pt x="2562" y="1046"/>
                    <a:pt x="2553" y="1046"/>
                  </a:cubicBezTo>
                  <a:cubicBezTo>
                    <a:pt x="2553" y="1046"/>
                    <a:pt x="2553" y="1046"/>
                    <a:pt x="2553" y="1046"/>
                  </a:cubicBezTo>
                  <a:moveTo>
                    <a:pt x="2597" y="1046"/>
                  </a:moveTo>
                  <a:cubicBezTo>
                    <a:pt x="2588" y="1046"/>
                    <a:pt x="2582" y="1051"/>
                    <a:pt x="2582" y="1056"/>
                  </a:cubicBezTo>
                  <a:cubicBezTo>
                    <a:pt x="2582" y="1062"/>
                    <a:pt x="2589" y="1066"/>
                    <a:pt x="2597" y="1066"/>
                  </a:cubicBezTo>
                  <a:cubicBezTo>
                    <a:pt x="2606" y="1066"/>
                    <a:pt x="2612" y="1062"/>
                    <a:pt x="2612" y="1056"/>
                  </a:cubicBezTo>
                  <a:cubicBezTo>
                    <a:pt x="2612" y="1051"/>
                    <a:pt x="2605" y="1046"/>
                    <a:pt x="2597" y="1046"/>
                  </a:cubicBezTo>
                  <a:cubicBezTo>
                    <a:pt x="2597" y="1046"/>
                    <a:pt x="2597" y="1046"/>
                    <a:pt x="2597" y="1046"/>
                  </a:cubicBezTo>
                  <a:moveTo>
                    <a:pt x="2639" y="1046"/>
                  </a:moveTo>
                  <a:cubicBezTo>
                    <a:pt x="2631" y="1046"/>
                    <a:pt x="2624" y="1050"/>
                    <a:pt x="2625" y="1056"/>
                  </a:cubicBezTo>
                  <a:cubicBezTo>
                    <a:pt x="2625" y="1062"/>
                    <a:pt x="2632" y="1066"/>
                    <a:pt x="2640" y="1066"/>
                  </a:cubicBezTo>
                  <a:cubicBezTo>
                    <a:pt x="2649" y="1066"/>
                    <a:pt x="2655" y="1062"/>
                    <a:pt x="2655" y="1056"/>
                  </a:cubicBezTo>
                  <a:cubicBezTo>
                    <a:pt x="2654" y="1050"/>
                    <a:pt x="2647" y="1046"/>
                    <a:pt x="2639" y="1046"/>
                  </a:cubicBezTo>
                  <a:cubicBezTo>
                    <a:pt x="2639" y="1046"/>
                    <a:pt x="2639" y="1046"/>
                    <a:pt x="2639" y="1046"/>
                  </a:cubicBezTo>
                  <a:moveTo>
                    <a:pt x="2682" y="1046"/>
                  </a:moveTo>
                  <a:cubicBezTo>
                    <a:pt x="2674" y="1046"/>
                    <a:pt x="2668" y="1050"/>
                    <a:pt x="2668" y="1056"/>
                  </a:cubicBezTo>
                  <a:cubicBezTo>
                    <a:pt x="2668" y="1062"/>
                    <a:pt x="2675" y="1066"/>
                    <a:pt x="2684" y="1066"/>
                  </a:cubicBezTo>
                  <a:cubicBezTo>
                    <a:pt x="2692" y="1066"/>
                    <a:pt x="2699" y="1062"/>
                    <a:pt x="2698" y="1056"/>
                  </a:cubicBezTo>
                  <a:cubicBezTo>
                    <a:pt x="2698" y="1050"/>
                    <a:pt x="2691" y="1046"/>
                    <a:pt x="2682" y="1046"/>
                  </a:cubicBezTo>
                  <a:cubicBezTo>
                    <a:pt x="2682" y="1046"/>
                    <a:pt x="2682" y="1046"/>
                    <a:pt x="2682" y="1046"/>
                  </a:cubicBezTo>
                  <a:moveTo>
                    <a:pt x="2724" y="1046"/>
                  </a:moveTo>
                  <a:cubicBezTo>
                    <a:pt x="2715" y="1046"/>
                    <a:pt x="2709" y="1050"/>
                    <a:pt x="2709" y="1056"/>
                  </a:cubicBezTo>
                  <a:cubicBezTo>
                    <a:pt x="2710" y="1062"/>
                    <a:pt x="2717" y="1066"/>
                    <a:pt x="2725" y="1066"/>
                  </a:cubicBezTo>
                  <a:cubicBezTo>
                    <a:pt x="2734" y="1066"/>
                    <a:pt x="2740" y="1061"/>
                    <a:pt x="2740" y="1056"/>
                  </a:cubicBezTo>
                  <a:cubicBezTo>
                    <a:pt x="2739" y="1050"/>
                    <a:pt x="2732" y="1046"/>
                    <a:pt x="2724" y="1046"/>
                  </a:cubicBezTo>
                  <a:cubicBezTo>
                    <a:pt x="2724" y="1046"/>
                    <a:pt x="2724" y="1046"/>
                    <a:pt x="2724" y="1046"/>
                  </a:cubicBezTo>
                  <a:moveTo>
                    <a:pt x="2767" y="1045"/>
                  </a:moveTo>
                  <a:cubicBezTo>
                    <a:pt x="2759" y="1045"/>
                    <a:pt x="2752" y="1050"/>
                    <a:pt x="2753" y="1056"/>
                  </a:cubicBezTo>
                  <a:cubicBezTo>
                    <a:pt x="2753" y="1061"/>
                    <a:pt x="2761" y="1066"/>
                    <a:pt x="2769" y="1066"/>
                  </a:cubicBezTo>
                  <a:cubicBezTo>
                    <a:pt x="2777" y="1066"/>
                    <a:pt x="2784" y="1061"/>
                    <a:pt x="2783" y="1056"/>
                  </a:cubicBezTo>
                  <a:cubicBezTo>
                    <a:pt x="2782" y="1050"/>
                    <a:pt x="2775" y="1045"/>
                    <a:pt x="2767" y="1045"/>
                  </a:cubicBezTo>
                  <a:cubicBezTo>
                    <a:pt x="2767" y="1045"/>
                    <a:pt x="2767" y="1045"/>
                    <a:pt x="2767" y="1045"/>
                  </a:cubicBezTo>
                  <a:moveTo>
                    <a:pt x="2808" y="1045"/>
                  </a:moveTo>
                  <a:cubicBezTo>
                    <a:pt x="2800" y="1045"/>
                    <a:pt x="2794" y="1050"/>
                    <a:pt x="2794" y="1056"/>
                  </a:cubicBezTo>
                  <a:cubicBezTo>
                    <a:pt x="2795" y="1061"/>
                    <a:pt x="2802" y="1066"/>
                    <a:pt x="2810" y="1066"/>
                  </a:cubicBezTo>
                  <a:cubicBezTo>
                    <a:pt x="2819" y="1066"/>
                    <a:pt x="2825" y="1061"/>
                    <a:pt x="2824" y="1055"/>
                  </a:cubicBezTo>
                  <a:cubicBezTo>
                    <a:pt x="2824" y="1050"/>
                    <a:pt x="2817" y="1045"/>
                    <a:pt x="2808" y="1045"/>
                  </a:cubicBezTo>
                  <a:cubicBezTo>
                    <a:pt x="2808" y="1045"/>
                    <a:pt x="2808" y="1045"/>
                    <a:pt x="2808" y="1045"/>
                  </a:cubicBezTo>
                  <a:moveTo>
                    <a:pt x="2853" y="1045"/>
                  </a:moveTo>
                  <a:cubicBezTo>
                    <a:pt x="2845" y="1045"/>
                    <a:pt x="2839" y="1050"/>
                    <a:pt x="2840" y="1055"/>
                  </a:cubicBezTo>
                  <a:cubicBezTo>
                    <a:pt x="2840" y="1061"/>
                    <a:pt x="2848" y="1066"/>
                    <a:pt x="2856" y="1066"/>
                  </a:cubicBezTo>
                  <a:cubicBezTo>
                    <a:pt x="2864" y="1066"/>
                    <a:pt x="2870" y="1061"/>
                    <a:pt x="2870" y="1055"/>
                  </a:cubicBezTo>
                  <a:cubicBezTo>
                    <a:pt x="2869" y="1050"/>
                    <a:pt x="2862" y="1045"/>
                    <a:pt x="2853" y="1045"/>
                  </a:cubicBezTo>
                  <a:cubicBezTo>
                    <a:pt x="2853" y="1045"/>
                    <a:pt x="2853" y="1045"/>
                    <a:pt x="2853" y="1045"/>
                  </a:cubicBezTo>
                  <a:moveTo>
                    <a:pt x="2897" y="1045"/>
                  </a:moveTo>
                  <a:cubicBezTo>
                    <a:pt x="2888" y="1045"/>
                    <a:pt x="2882" y="1050"/>
                    <a:pt x="2883" y="1055"/>
                  </a:cubicBezTo>
                  <a:cubicBezTo>
                    <a:pt x="2884" y="1061"/>
                    <a:pt x="2891" y="1065"/>
                    <a:pt x="2899" y="1065"/>
                  </a:cubicBezTo>
                  <a:cubicBezTo>
                    <a:pt x="2908" y="1065"/>
                    <a:pt x="2914" y="1061"/>
                    <a:pt x="2913" y="1055"/>
                  </a:cubicBezTo>
                  <a:cubicBezTo>
                    <a:pt x="2912" y="1050"/>
                    <a:pt x="2905" y="1045"/>
                    <a:pt x="2897" y="1045"/>
                  </a:cubicBezTo>
                  <a:cubicBezTo>
                    <a:pt x="2897" y="1045"/>
                    <a:pt x="2897" y="1045"/>
                    <a:pt x="2897" y="1045"/>
                  </a:cubicBezTo>
                  <a:moveTo>
                    <a:pt x="3924" y="1044"/>
                  </a:moveTo>
                  <a:cubicBezTo>
                    <a:pt x="3916" y="1044"/>
                    <a:pt x="3911" y="1049"/>
                    <a:pt x="3914" y="1054"/>
                  </a:cubicBezTo>
                  <a:cubicBezTo>
                    <a:pt x="3917" y="1060"/>
                    <a:pt x="3926" y="1065"/>
                    <a:pt x="3934" y="1065"/>
                  </a:cubicBezTo>
                  <a:cubicBezTo>
                    <a:pt x="3942" y="1065"/>
                    <a:pt x="3947" y="1060"/>
                    <a:pt x="3944" y="1054"/>
                  </a:cubicBezTo>
                  <a:cubicBezTo>
                    <a:pt x="3941" y="1049"/>
                    <a:pt x="3932" y="1044"/>
                    <a:pt x="3924" y="1044"/>
                  </a:cubicBezTo>
                  <a:cubicBezTo>
                    <a:pt x="3924" y="1044"/>
                    <a:pt x="3924" y="1044"/>
                    <a:pt x="3924" y="1044"/>
                  </a:cubicBezTo>
                  <a:moveTo>
                    <a:pt x="3970" y="1044"/>
                  </a:moveTo>
                  <a:cubicBezTo>
                    <a:pt x="3961" y="1044"/>
                    <a:pt x="3957" y="1049"/>
                    <a:pt x="3960" y="1054"/>
                  </a:cubicBezTo>
                  <a:cubicBezTo>
                    <a:pt x="3962" y="1060"/>
                    <a:pt x="3971" y="1065"/>
                    <a:pt x="3980" y="1064"/>
                  </a:cubicBezTo>
                  <a:cubicBezTo>
                    <a:pt x="3988" y="1064"/>
                    <a:pt x="3992" y="1060"/>
                    <a:pt x="3990" y="1054"/>
                  </a:cubicBezTo>
                  <a:cubicBezTo>
                    <a:pt x="3987" y="1048"/>
                    <a:pt x="3978" y="1044"/>
                    <a:pt x="3970" y="1044"/>
                  </a:cubicBezTo>
                  <a:cubicBezTo>
                    <a:pt x="3970" y="1044"/>
                    <a:pt x="3970" y="1044"/>
                    <a:pt x="3970" y="1044"/>
                  </a:cubicBezTo>
                  <a:moveTo>
                    <a:pt x="4266" y="1043"/>
                  </a:moveTo>
                  <a:cubicBezTo>
                    <a:pt x="4258" y="1043"/>
                    <a:pt x="4254" y="1047"/>
                    <a:pt x="4257" y="1053"/>
                  </a:cubicBezTo>
                  <a:cubicBezTo>
                    <a:pt x="4260" y="1059"/>
                    <a:pt x="4270" y="1063"/>
                    <a:pt x="4278" y="1063"/>
                  </a:cubicBezTo>
                  <a:cubicBezTo>
                    <a:pt x="4286" y="1063"/>
                    <a:pt x="4290" y="1059"/>
                    <a:pt x="4287" y="1053"/>
                  </a:cubicBezTo>
                  <a:cubicBezTo>
                    <a:pt x="4284" y="1047"/>
                    <a:pt x="4274" y="1043"/>
                    <a:pt x="4266" y="1043"/>
                  </a:cubicBezTo>
                  <a:cubicBezTo>
                    <a:pt x="4266" y="1043"/>
                    <a:pt x="4266" y="1043"/>
                    <a:pt x="4266" y="1043"/>
                  </a:cubicBezTo>
                  <a:moveTo>
                    <a:pt x="727" y="1023"/>
                  </a:moveTo>
                  <a:cubicBezTo>
                    <a:pt x="718" y="1023"/>
                    <a:pt x="709" y="1028"/>
                    <a:pt x="706" y="1034"/>
                  </a:cubicBezTo>
                  <a:cubicBezTo>
                    <a:pt x="703" y="1039"/>
                    <a:pt x="707" y="1044"/>
                    <a:pt x="715" y="1044"/>
                  </a:cubicBezTo>
                  <a:cubicBezTo>
                    <a:pt x="723" y="1044"/>
                    <a:pt x="732" y="1039"/>
                    <a:pt x="736" y="1033"/>
                  </a:cubicBezTo>
                  <a:cubicBezTo>
                    <a:pt x="739" y="1028"/>
                    <a:pt x="735" y="1023"/>
                    <a:pt x="727" y="1023"/>
                  </a:cubicBezTo>
                  <a:cubicBezTo>
                    <a:pt x="727" y="1023"/>
                    <a:pt x="727" y="1023"/>
                    <a:pt x="727" y="1023"/>
                  </a:cubicBezTo>
                  <a:moveTo>
                    <a:pt x="346" y="1023"/>
                  </a:moveTo>
                  <a:cubicBezTo>
                    <a:pt x="337" y="1023"/>
                    <a:pt x="328" y="1028"/>
                    <a:pt x="324" y="1033"/>
                  </a:cubicBezTo>
                  <a:cubicBezTo>
                    <a:pt x="320" y="1039"/>
                    <a:pt x="323" y="1044"/>
                    <a:pt x="331" y="1044"/>
                  </a:cubicBezTo>
                  <a:cubicBezTo>
                    <a:pt x="340" y="1044"/>
                    <a:pt x="349" y="1039"/>
                    <a:pt x="353" y="1033"/>
                  </a:cubicBezTo>
                  <a:cubicBezTo>
                    <a:pt x="357" y="1028"/>
                    <a:pt x="354" y="1023"/>
                    <a:pt x="346" y="1023"/>
                  </a:cubicBezTo>
                  <a:cubicBezTo>
                    <a:pt x="346" y="1023"/>
                    <a:pt x="346" y="1023"/>
                    <a:pt x="346" y="1023"/>
                  </a:cubicBezTo>
                  <a:moveTo>
                    <a:pt x="769" y="1023"/>
                  </a:moveTo>
                  <a:cubicBezTo>
                    <a:pt x="761" y="1023"/>
                    <a:pt x="751" y="1028"/>
                    <a:pt x="748" y="1033"/>
                  </a:cubicBezTo>
                  <a:cubicBezTo>
                    <a:pt x="745" y="1039"/>
                    <a:pt x="749" y="1044"/>
                    <a:pt x="757" y="1044"/>
                  </a:cubicBezTo>
                  <a:cubicBezTo>
                    <a:pt x="766" y="1044"/>
                    <a:pt x="775" y="1039"/>
                    <a:pt x="778" y="1033"/>
                  </a:cubicBezTo>
                  <a:cubicBezTo>
                    <a:pt x="781" y="1028"/>
                    <a:pt x="777" y="1023"/>
                    <a:pt x="769" y="1023"/>
                  </a:cubicBezTo>
                  <a:cubicBezTo>
                    <a:pt x="769" y="1023"/>
                    <a:pt x="769" y="1023"/>
                    <a:pt x="769" y="1023"/>
                  </a:cubicBezTo>
                  <a:moveTo>
                    <a:pt x="390" y="1023"/>
                  </a:moveTo>
                  <a:cubicBezTo>
                    <a:pt x="382" y="1023"/>
                    <a:pt x="372" y="1028"/>
                    <a:pt x="368" y="1033"/>
                  </a:cubicBezTo>
                  <a:cubicBezTo>
                    <a:pt x="364" y="1039"/>
                    <a:pt x="368" y="1043"/>
                    <a:pt x="376" y="1043"/>
                  </a:cubicBezTo>
                  <a:cubicBezTo>
                    <a:pt x="384" y="1043"/>
                    <a:pt x="394" y="1039"/>
                    <a:pt x="398" y="1033"/>
                  </a:cubicBezTo>
                  <a:cubicBezTo>
                    <a:pt x="402" y="1028"/>
                    <a:pt x="398" y="1023"/>
                    <a:pt x="390" y="1023"/>
                  </a:cubicBezTo>
                  <a:cubicBezTo>
                    <a:pt x="390" y="1023"/>
                    <a:pt x="390" y="1023"/>
                    <a:pt x="390" y="1023"/>
                  </a:cubicBezTo>
                  <a:moveTo>
                    <a:pt x="428" y="1023"/>
                  </a:moveTo>
                  <a:cubicBezTo>
                    <a:pt x="420" y="1023"/>
                    <a:pt x="410" y="1028"/>
                    <a:pt x="407" y="1033"/>
                  </a:cubicBezTo>
                  <a:cubicBezTo>
                    <a:pt x="403" y="1039"/>
                    <a:pt x="406" y="1043"/>
                    <a:pt x="415" y="1043"/>
                  </a:cubicBezTo>
                  <a:cubicBezTo>
                    <a:pt x="423" y="1043"/>
                    <a:pt x="433" y="1039"/>
                    <a:pt x="436" y="1033"/>
                  </a:cubicBezTo>
                  <a:cubicBezTo>
                    <a:pt x="440" y="1028"/>
                    <a:pt x="437" y="1023"/>
                    <a:pt x="428" y="1023"/>
                  </a:cubicBezTo>
                  <a:cubicBezTo>
                    <a:pt x="428" y="1023"/>
                    <a:pt x="428" y="1023"/>
                    <a:pt x="428" y="1023"/>
                  </a:cubicBezTo>
                  <a:moveTo>
                    <a:pt x="471" y="1023"/>
                  </a:moveTo>
                  <a:cubicBezTo>
                    <a:pt x="463" y="1023"/>
                    <a:pt x="453" y="1027"/>
                    <a:pt x="449" y="1033"/>
                  </a:cubicBezTo>
                  <a:cubicBezTo>
                    <a:pt x="445" y="1039"/>
                    <a:pt x="449" y="1043"/>
                    <a:pt x="457" y="1043"/>
                  </a:cubicBezTo>
                  <a:cubicBezTo>
                    <a:pt x="466" y="1043"/>
                    <a:pt x="475" y="1039"/>
                    <a:pt x="479" y="1033"/>
                  </a:cubicBezTo>
                  <a:cubicBezTo>
                    <a:pt x="483" y="1027"/>
                    <a:pt x="479" y="1023"/>
                    <a:pt x="471" y="1023"/>
                  </a:cubicBezTo>
                  <a:cubicBezTo>
                    <a:pt x="471" y="1023"/>
                    <a:pt x="471" y="1023"/>
                    <a:pt x="471" y="1023"/>
                  </a:cubicBezTo>
                  <a:moveTo>
                    <a:pt x="513" y="1023"/>
                  </a:moveTo>
                  <a:cubicBezTo>
                    <a:pt x="505" y="1023"/>
                    <a:pt x="495" y="1027"/>
                    <a:pt x="492" y="1033"/>
                  </a:cubicBezTo>
                  <a:cubicBezTo>
                    <a:pt x="488" y="1038"/>
                    <a:pt x="492" y="1043"/>
                    <a:pt x="500" y="1043"/>
                  </a:cubicBezTo>
                  <a:cubicBezTo>
                    <a:pt x="508" y="1043"/>
                    <a:pt x="518" y="1038"/>
                    <a:pt x="521" y="1033"/>
                  </a:cubicBezTo>
                  <a:cubicBezTo>
                    <a:pt x="525" y="1027"/>
                    <a:pt x="521" y="1023"/>
                    <a:pt x="513" y="1023"/>
                  </a:cubicBezTo>
                  <a:cubicBezTo>
                    <a:pt x="513" y="1023"/>
                    <a:pt x="513" y="1023"/>
                    <a:pt x="513" y="1023"/>
                  </a:cubicBezTo>
                  <a:moveTo>
                    <a:pt x="556" y="1023"/>
                  </a:moveTo>
                  <a:cubicBezTo>
                    <a:pt x="548" y="1023"/>
                    <a:pt x="538" y="1027"/>
                    <a:pt x="534" y="1033"/>
                  </a:cubicBezTo>
                  <a:cubicBezTo>
                    <a:pt x="531" y="1038"/>
                    <a:pt x="535" y="1043"/>
                    <a:pt x="543" y="1043"/>
                  </a:cubicBezTo>
                  <a:cubicBezTo>
                    <a:pt x="551" y="1043"/>
                    <a:pt x="561" y="1038"/>
                    <a:pt x="564" y="1033"/>
                  </a:cubicBezTo>
                  <a:cubicBezTo>
                    <a:pt x="568" y="1027"/>
                    <a:pt x="564" y="1023"/>
                    <a:pt x="556" y="1023"/>
                  </a:cubicBezTo>
                  <a:cubicBezTo>
                    <a:pt x="556" y="1023"/>
                    <a:pt x="556" y="1023"/>
                    <a:pt x="556" y="1023"/>
                  </a:cubicBezTo>
                  <a:moveTo>
                    <a:pt x="600" y="1022"/>
                  </a:moveTo>
                  <a:cubicBezTo>
                    <a:pt x="591" y="1022"/>
                    <a:pt x="582" y="1027"/>
                    <a:pt x="578" y="1033"/>
                  </a:cubicBezTo>
                  <a:cubicBezTo>
                    <a:pt x="575" y="1038"/>
                    <a:pt x="579" y="1043"/>
                    <a:pt x="587" y="1043"/>
                  </a:cubicBezTo>
                  <a:cubicBezTo>
                    <a:pt x="595" y="1043"/>
                    <a:pt x="605" y="1038"/>
                    <a:pt x="608" y="1033"/>
                  </a:cubicBezTo>
                  <a:cubicBezTo>
                    <a:pt x="612" y="1027"/>
                    <a:pt x="608" y="1022"/>
                    <a:pt x="600" y="1022"/>
                  </a:cubicBezTo>
                  <a:cubicBezTo>
                    <a:pt x="600" y="1022"/>
                    <a:pt x="600" y="1022"/>
                    <a:pt x="600" y="1022"/>
                  </a:cubicBezTo>
                  <a:moveTo>
                    <a:pt x="642" y="1022"/>
                  </a:moveTo>
                  <a:cubicBezTo>
                    <a:pt x="634" y="1022"/>
                    <a:pt x="624" y="1027"/>
                    <a:pt x="621" y="1032"/>
                  </a:cubicBezTo>
                  <a:cubicBezTo>
                    <a:pt x="617" y="1038"/>
                    <a:pt x="621" y="1043"/>
                    <a:pt x="630" y="1043"/>
                  </a:cubicBezTo>
                  <a:cubicBezTo>
                    <a:pt x="638" y="1043"/>
                    <a:pt x="647" y="1038"/>
                    <a:pt x="651" y="1032"/>
                  </a:cubicBezTo>
                  <a:cubicBezTo>
                    <a:pt x="654" y="1027"/>
                    <a:pt x="650" y="1022"/>
                    <a:pt x="642" y="1022"/>
                  </a:cubicBezTo>
                  <a:cubicBezTo>
                    <a:pt x="642" y="1022"/>
                    <a:pt x="642" y="1022"/>
                    <a:pt x="642" y="1022"/>
                  </a:cubicBezTo>
                  <a:moveTo>
                    <a:pt x="684" y="1022"/>
                  </a:moveTo>
                  <a:cubicBezTo>
                    <a:pt x="676" y="1022"/>
                    <a:pt x="667" y="1027"/>
                    <a:pt x="664" y="1032"/>
                  </a:cubicBezTo>
                  <a:cubicBezTo>
                    <a:pt x="660" y="1038"/>
                    <a:pt x="664" y="1042"/>
                    <a:pt x="672" y="1042"/>
                  </a:cubicBezTo>
                  <a:cubicBezTo>
                    <a:pt x="681" y="1042"/>
                    <a:pt x="690" y="1038"/>
                    <a:pt x="693" y="1032"/>
                  </a:cubicBezTo>
                  <a:cubicBezTo>
                    <a:pt x="697" y="1027"/>
                    <a:pt x="693" y="1022"/>
                    <a:pt x="685" y="1022"/>
                  </a:cubicBezTo>
                  <a:cubicBezTo>
                    <a:pt x="685" y="1022"/>
                    <a:pt x="684" y="1022"/>
                    <a:pt x="684" y="1022"/>
                  </a:cubicBezTo>
                  <a:moveTo>
                    <a:pt x="1702" y="1020"/>
                  </a:moveTo>
                  <a:cubicBezTo>
                    <a:pt x="1694" y="1020"/>
                    <a:pt x="1686" y="1024"/>
                    <a:pt x="1685" y="1030"/>
                  </a:cubicBezTo>
                  <a:cubicBezTo>
                    <a:pt x="1683" y="1035"/>
                    <a:pt x="1689" y="1040"/>
                    <a:pt x="1697" y="1040"/>
                  </a:cubicBezTo>
                  <a:cubicBezTo>
                    <a:pt x="1705" y="1040"/>
                    <a:pt x="1713" y="1035"/>
                    <a:pt x="1714" y="1030"/>
                  </a:cubicBezTo>
                  <a:cubicBezTo>
                    <a:pt x="1716" y="1024"/>
                    <a:pt x="1710" y="1020"/>
                    <a:pt x="1702" y="1020"/>
                  </a:cubicBezTo>
                  <a:cubicBezTo>
                    <a:pt x="1702" y="1020"/>
                    <a:pt x="1702" y="1020"/>
                    <a:pt x="1702" y="1020"/>
                  </a:cubicBezTo>
                  <a:moveTo>
                    <a:pt x="1744" y="1019"/>
                  </a:moveTo>
                  <a:cubicBezTo>
                    <a:pt x="1736" y="1019"/>
                    <a:pt x="1728" y="1024"/>
                    <a:pt x="1727" y="1030"/>
                  </a:cubicBezTo>
                  <a:cubicBezTo>
                    <a:pt x="1726" y="1035"/>
                    <a:pt x="1731" y="1040"/>
                    <a:pt x="1739" y="1040"/>
                  </a:cubicBezTo>
                  <a:cubicBezTo>
                    <a:pt x="1748" y="1040"/>
                    <a:pt x="1755" y="1035"/>
                    <a:pt x="1757" y="1030"/>
                  </a:cubicBezTo>
                  <a:cubicBezTo>
                    <a:pt x="1758" y="1024"/>
                    <a:pt x="1753" y="1019"/>
                    <a:pt x="1744" y="1019"/>
                  </a:cubicBezTo>
                  <a:cubicBezTo>
                    <a:pt x="1744" y="1019"/>
                    <a:pt x="1744" y="1019"/>
                    <a:pt x="1744" y="1019"/>
                  </a:cubicBezTo>
                  <a:moveTo>
                    <a:pt x="1787" y="1019"/>
                  </a:moveTo>
                  <a:cubicBezTo>
                    <a:pt x="1779" y="1019"/>
                    <a:pt x="1771" y="1024"/>
                    <a:pt x="1770" y="1030"/>
                  </a:cubicBezTo>
                  <a:cubicBezTo>
                    <a:pt x="1768" y="1035"/>
                    <a:pt x="1774" y="1040"/>
                    <a:pt x="1782" y="1040"/>
                  </a:cubicBezTo>
                  <a:cubicBezTo>
                    <a:pt x="1791" y="1040"/>
                    <a:pt x="1798" y="1035"/>
                    <a:pt x="1800" y="1029"/>
                  </a:cubicBezTo>
                  <a:cubicBezTo>
                    <a:pt x="1801" y="1024"/>
                    <a:pt x="1795" y="1019"/>
                    <a:pt x="1787" y="1019"/>
                  </a:cubicBezTo>
                  <a:cubicBezTo>
                    <a:pt x="1787" y="1019"/>
                    <a:pt x="1787" y="1019"/>
                    <a:pt x="1787" y="1019"/>
                  </a:cubicBezTo>
                  <a:moveTo>
                    <a:pt x="1830" y="1019"/>
                  </a:moveTo>
                  <a:cubicBezTo>
                    <a:pt x="1822" y="1019"/>
                    <a:pt x="1814" y="1024"/>
                    <a:pt x="1813" y="1029"/>
                  </a:cubicBezTo>
                  <a:cubicBezTo>
                    <a:pt x="1812" y="1035"/>
                    <a:pt x="1817" y="1040"/>
                    <a:pt x="1826" y="1040"/>
                  </a:cubicBezTo>
                  <a:cubicBezTo>
                    <a:pt x="1834" y="1040"/>
                    <a:pt x="1841" y="1035"/>
                    <a:pt x="1843" y="1029"/>
                  </a:cubicBezTo>
                  <a:cubicBezTo>
                    <a:pt x="1844" y="1024"/>
                    <a:pt x="1838" y="1019"/>
                    <a:pt x="1830" y="1019"/>
                  </a:cubicBezTo>
                  <a:cubicBezTo>
                    <a:pt x="1830" y="1019"/>
                    <a:pt x="1830" y="1019"/>
                    <a:pt x="1830" y="1019"/>
                  </a:cubicBezTo>
                  <a:moveTo>
                    <a:pt x="1872" y="1019"/>
                  </a:moveTo>
                  <a:cubicBezTo>
                    <a:pt x="1864" y="1019"/>
                    <a:pt x="1856" y="1024"/>
                    <a:pt x="1855" y="1029"/>
                  </a:cubicBezTo>
                  <a:cubicBezTo>
                    <a:pt x="1854" y="1035"/>
                    <a:pt x="1860" y="1039"/>
                    <a:pt x="1868" y="1039"/>
                  </a:cubicBezTo>
                  <a:cubicBezTo>
                    <a:pt x="1876" y="1039"/>
                    <a:pt x="1884" y="1035"/>
                    <a:pt x="1885" y="1029"/>
                  </a:cubicBezTo>
                  <a:cubicBezTo>
                    <a:pt x="1886" y="1024"/>
                    <a:pt x="1880" y="1019"/>
                    <a:pt x="1872" y="1019"/>
                  </a:cubicBezTo>
                  <a:cubicBezTo>
                    <a:pt x="1872" y="1019"/>
                    <a:pt x="1872" y="1019"/>
                    <a:pt x="1872" y="1019"/>
                  </a:cubicBezTo>
                  <a:moveTo>
                    <a:pt x="1915" y="1019"/>
                  </a:moveTo>
                  <a:cubicBezTo>
                    <a:pt x="1906" y="1019"/>
                    <a:pt x="1899" y="1023"/>
                    <a:pt x="1898" y="1029"/>
                  </a:cubicBezTo>
                  <a:cubicBezTo>
                    <a:pt x="1897" y="1035"/>
                    <a:pt x="1902" y="1039"/>
                    <a:pt x="1911" y="1039"/>
                  </a:cubicBezTo>
                  <a:cubicBezTo>
                    <a:pt x="1919" y="1039"/>
                    <a:pt x="1927" y="1035"/>
                    <a:pt x="1928" y="1029"/>
                  </a:cubicBezTo>
                  <a:cubicBezTo>
                    <a:pt x="1929" y="1023"/>
                    <a:pt x="1923" y="1019"/>
                    <a:pt x="1915" y="1019"/>
                  </a:cubicBezTo>
                  <a:cubicBezTo>
                    <a:pt x="1915" y="1019"/>
                    <a:pt x="1915" y="1019"/>
                    <a:pt x="1915" y="1019"/>
                  </a:cubicBezTo>
                  <a:moveTo>
                    <a:pt x="1957" y="1019"/>
                  </a:moveTo>
                  <a:cubicBezTo>
                    <a:pt x="1949" y="1019"/>
                    <a:pt x="1941" y="1023"/>
                    <a:pt x="1940" y="1029"/>
                  </a:cubicBezTo>
                  <a:cubicBezTo>
                    <a:pt x="1939" y="1035"/>
                    <a:pt x="1945" y="1039"/>
                    <a:pt x="1953" y="1039"/>
                  </a:cubicBezTo>
                  <a:cubicBezTo>
                    <a:pt x="1962" y="1039"/>
                    <a:pt x="1969" y="1034"/>
                    <a:pt x="1970" y="1029"/>
                  </a:cubicBezTo>
                  <a:cubicBezTo>
                    <a:pt x="1971" y="1023"/>
                    <a:pt x="1965" y="1019"/>
                    <a:pt x="1957" y="1019"/>
                  </a:cubicBezTo>
                  <a:cubicBezTo>
                    <a:pt x="1957" y="1019"/>
                    <a:pt x="1957" y="1019"/>
                    <a:pt x="1957" y="1019"/>
                  </a:cubicBezTo>
                  <a:moveTo>
                    <a:pt x="1999" y="1019"/>
                  </a:moveTo>
                  <a:cubicBezTo>
                    <a:pt x="1991" y="1019"/>
                    <a:pt x="1984" y="1023"/>
                    <a:pt x="1983" y="1029"/>
                  </a:cubicBezTo>
                  <a:cubicBezTo>
                    <a:pt x="1982" y="1034"/>
                    <a:pt x="1988" y="1039"/>
                    <a:pt x="1996" y="1039"/>
                  </a:cubicBezTo>
                  <a:cubicBezTo>
                    <a:pt x="2004" y="1039"/>
                    <a:pt x="2012" y="1034"/>
                    <a:pt x="2013" y="1029"/>
                  </a:cubicBezTo>
                  <a:cubicBezTo>
                    <a:pt x="2013" y="1023"/>
                    <a:pt x="2008" y="1019"/>
                    <a:pt x="1999" y="1019"/>
                  </a:cubicBezTo>
                  <a:cubicBezTo>
                    <a:pt x="1999" y="1019"/>
                    <a:pt x="1999" y="1019"/>
                    <a:pt x="1999" y="1019"/>
                  </a:cubicBezTo>
                  <a:moveTo>
                    <a:pt x="2043" y="1018"/>
                  </a:moveTo>
                  <a:cubicBezTo>
                    <a:pt x="2035" y="1018"/>
                    <a:pt x="2028" y="1023"/>
                    <a:pt x="2027" y="1029"/>
                  </a:cubicBezTo>
                  <a:cubicBezTo>
                    <a:pt x="2026" y="1034"/>
                    <a:pt x="2032" y="1039"/>
                    <a:pt x="2040" y="1039"/>
                  </a:cubicBezTo>
                  <a:cubicBezTo>
                    <a:pt x="2048" y="1039"/>
                    <a:pt x="2056" y="1034"/>
                    <a:pt x="2057" y="1029"/>
                  </a:cubicBezTo>
                  <a:cubicBezTo>
                    <a:pt x="2057" y="1023"/>
                    <a:pt x="2051" y="1018"/>
                    <a:pt x="2043" y="1018"/>
                  </a:cubicBezTo>
                  <a:cubicBezTo>
                    <a:pt x="2043" y="1018"/>
                    <a:pt x="2043" y="1018"/>
                    <a:pt x="2043" y="1018"/>
                  </a:cubicBezTo>
                  <a:moveTo>
                    <a:pt x="2085" y="1018"/>
                  </a:moveTo>
                  <a:cubicBezTo>
                    <a:pt x="2077" y="1018"/>
                    <a:pt x="2070" y="1023"/>
                    <a:pt x="2069" y="1029"/>
                  </a:cubicBezTo>
                  <a:cubicBezTo>
                    <a:pt x="2068" y="1034"/>
                    <a:pt x="2074" y="1039"/>
                    <a:pt x="2083" y="1039"/>
                  </a:cubicBezTo>
                  <a:cubicBezTo>
                    <a:pt x="2091" y="1039"/>
                    <a:pt x="2098" y="1034"/>
                    <a:pt x="2099" y="1028"/>
                  </a:cubicBezTo>
                  <a:cubicBezTo>
                    <a:pt x="2100" y="1023"/>
                    <a:pt x="2094" y="1018"/>
                    <a:pt x="2085" y="1018"/>
                  </a:cubicBezTo>
                  <a:cubicBezTo>
                    <a:pt x="2085" y="1018"/>
                    <a:pt x="2085" y="1018"/>
                    <a:pt x="2085" y="1018"/>
                  </a:cubicBezTo>
                  <a:moveTo>
                    <a:pt x="2128" y="1018"/>
                  </a:moveTo>
                  <a:cubicBezTo>
                    <a:pt x="2120" y="1018"/>
                    <a:pt x="2112" y="1023"/>
                    <a:pt x="2112" y="1028"/>
                  </a:cubicBezTo>
                  <a:cubicBezTo>
                    <a:pt x="2111" y="1034"/>
                    <a:pt x="2117" y="1039"/>
                    <a:pt x="2126" y="1039"/>
                  </a:cubicBezTo>
                  <a:cubicBezTo>
                    <a:pt x="2134" y="1038"/>
                    <a:pt x="2141" y="1034"/>
                    <a:pt x="2142" y="1028"/>
                  </a:cubicBezTo>
                  <a:cubicBezTo>
                    <a:pt x="2142" y="1023"/>
                    <a:pt x="2136" y="1018"/>
                    <a:pt x="2128" y="1018"/>
                  </a:cubicBezTo>
                  <a:cubicBezTo>
                    <a:pt x="2128" y="1018"/>
                    <a:pt x="2128" y="1018"/>
                    <a:pt x="2128" y="1018"/>
                  </a:cubicBezTo>
                  <a:moveTo>
                    <a:pt x="2171" y="1018"/>
                  </a:moveTo>
                  <a:cubicBezTo>
                    <a:pt x="2163" y="1018"/>
                    <a:pt x="2155" y="1023"/>
                    <a:pt x="2155" y="1028"/>
                  </a:cubicBezTo>
                  <a:cubicBezTo>
                    <a:pt x="2154" y="1034"/>
                    <a:pt x="2161" y="1038"/>
                    <a:pt x="2169" y="1038"/>
                  </a:cubicBezTo>
                  <a:cubicBezTo>
                    <a:pt x="2177" y="1038"/>
                    <a:pt x="2184" y="1034"/>
                    <a:pt x="2185" y="1028"/>
                  </a:cubicBezTo>
                  <a:cubicBezTo>
                    <a:pt x="2185" y="1022"/>
                    <a:pt x="2179" y="1018"/>
                    <a:pt x="2171" y="1018"/>
                  </a:cubicBezTo>
                  <a:cubicBezTo>
                    <a:pt x="2171" y="1018"/>
                    <a:pt x="2171" y="1018"/>
                    <a:pt x="2171" y="1018"/>
                  </a:cubicBezTo>
                  <a:moveTo>
                    <a:pt x="2213" y="1018"/>
                  </a:moveTo>
                  <a:cubicBezTo>
                    <a:pt x="2205" y="1018"/>
                    <a:pt x="2198" y="1022"/>
                    <a:pt x="2197" y="1028"/>
                  </a:cubicBezTo>
                  <a:cubicBezTo>
                    <a:pt x="2197" y="1034"/>
                    <a:pt x="2203" y="1038"/>
                    <a:pt x="2211" y="1038"/>
                  </a:cubicBezTo>
                  <a:cubicBezTo>
                    <a:pt x="2220" y="1038"/>
                    <a:pt x="2227" y="1034"/>
                    <a:pt x="2227" y="1028"/>
                  </a:cubicBezTo>
                  <a:cubicBezTo>
                    <a:pt x="2228" y="1022"/>
                    <a:pt x="2221" y="1018"/>
                    <a:pt x="2213" y="1018"/>
                  </a:cubicBezTo>
                  <a:cubicBezTo>
                    <a:pt x="2213" y="1018"/>
                    <a:pt x="2213" y="1018"/>
                    <a:pt x="2213" y="1018"/>
                  </a:cubicBezTo>
                  <a:moveTo>
                    <a:pt x="2255" y="1018"/>
                  </a:moveTo>
                  <a:cubicBezTo>
                    <a:pt x="2247" y="1018"/>
                    <a:pt x="2240" y="1022"/>
                    <a:pt x="2240" y="1028"/>
                  </a:cubicBezTo>
                  <a:cubicBezTo>
                    <a:pt x="2239" y="1034"/>
                    <a:pt x="2246" y="1038"/>
                    <a:pt x="2254" y="1038"/>
                  </a:cubicBezTo>
                  <a:cubicBezTo>
                    <a:pt x="2262" y="1038"/>
                    <a:pt x="2269" y="1033"/>
                    <a:pt x="2270" y="1028"/>
                  </a:cubicBezTo>
                  <a:cubicBezTo>
                    <a:pt x="2270" y="1022"/>
                    <a:pt x="2264" y="1018"/>
                    <a:pt x="2256" y="1018"/>
                  </a:cubicBezTo>
                  <a:cubicBezTo>
                    <a:pt x="2256" y="1018"/>
                    <a:pt x="2255" y="1018"/>
                    <a:pt x="2255" y="1018"/>
                  </a:cubicBezTo>
                  <a:moveTo>
                    <a:pt x="2298" y="1017"/>
                  </a:moveTo>
                  <a:cubicBezTo>
                    <a:pt x="2289" y="1018"/>
                    <a:pt x="2283" y="1022"/>
                    <a:pt x="2282" y="1028"/>
                  </a:cubicBezTo>
                  <a:cubicBezTo>
                    <a:pt x="2282" y="1033"/>
                    <a:pt x="2288" y="1038"/>
                    <a:pt x="2296" y="1038"/>
                  </a:cubicBezTo>
                  <a:cubicBezTo>
                    <a:pt x="2305" y="1038"/>
                    <a:pt x="2312" y="1033"/>
                    <a:pt x="2312" y="1028"/>
                  </a:cubicBezTo>
                  <a:cubicBezTo>
                    <a:pt x="2312" y="1022"/>
                    <a:pt x="2306" y="1017"/>
                    <a:pt x="2298" y="1017"/>
                  </a:cubicBezTo>
                  <a:cubicBezTo>
                    <a:pt x="2298" y="1017"/>
                    <a:pt x="2298" y="1017"/>
                    <a:pt x="2298" y="1017"/>
                  </a:cubicBezTo>
                  <a:moveTo>
                    <a:pt x="2340" y="1017"/>
                  </a:moveTo>
                  <a:cubicBezTo>
                    <a:pt x="2332" y="1017"/>
                    <a:pt x="2325" y="1022"/>
                    <a:pt x="2325" y="1028"/>
                  </a:cubicBezTo>
                  <a:cubicBezTo>
                    <a:pt x="2325" y="1033"/>
                    <a:pt x="2331" y="1038"/>
                    <a:pt x="2339" y="1038"/>
                  </a:cubicBezTo>
                  <a:cubicBezTo>
                    <a:pt x="2348" y="1038"/>
                    <a:pt x="2354" y="1033"/>
                    <a:pt x="2355" y="1028"/>
                  </a:cubicBezTo>
                  <a:cubicBezTo>
                    <a:pt x="2355" y="1022"/>
                    <a:pt x="2348" y="1017"/>
                    <a:pt x="2340" y="1017"/>
                  </a:cubicBezTo>
                  <a:cubicBezTo>
                    <a:pt x="2340" y="1017"/>
                    <a:pt x="2340" y="1017"/>
                    <a:pt x="2340" y="1017"/>
                  </a:cubicBezTo>
                  <a:moveTo>
                    <a:pt x="2383" y="1017"/>
                  </a:moveTo>
                  <a:cubicBezTo>
                    <a:pt x="2375" y="1017"/>
                    <a:pt x="2368" y="1022"/>
                    <a:pt x="2368" y="1027"/>
                  </a:cubicBezTo>
                  <a:cubicBezTo>
                    <a:pt x="2368" y="1033"/>
                    <a:pt x="2374" y="1038"/>
                    <a:pt x="2383" y="1038"/>
                  </a:cubicBezTo>
                  <a:cubicBezTo>
                    <a:pt x="2391" y="1038"/>
                    <a:pt x="2398" y="1033"/>
                    <a:pt x="2398" y="1027"/>
                  </a:cubicBezTo>
                  <a:cubicBezTo>
                    <a:pt x="2398" y="1022"/>
                    <a:pt x="2391" y="1017"/>
                    <a:pt x="2383" y="1017"/>
                  </a:cubicBezTo>
                  <a:cubicBezTo>
                    <a:pt x="2383" y="1017"/>
                    <a:pt x="2383" y="1017"/>
                    <a:pt x="2383" y="1017"/>
                  </a:cubicBezTo>
                  <a:moveTo>
                    <a:pt x="2425" y="1017"/>
                  </a:moveTo>
                  <a:cubicBezTo>
                    <a:pt x="2417" y="1017"/>
                    <a:pt x="2410" y="1022"/>
                    <a:pt x="2410" y="1027"/>
                  </a:cubicBezTo>
                  <a:cubicBezTo>
                    <a:pt x="2410" y="1033"/>
                    <a:pt x="2417" y="1038"/>
                    <a:pt x="2425" y="1037"/>
                  </a:cubicBezTo>
                  <a:cubicBezTo>
                    <a:pt x="2433" y="1037"/>
                    <a:pt x="2440" y="1033"/>
                    <a:pt x="2440" y="1027"/>
                  </a:cubicBezTo>
                  <a:cubicBezTo>
                    <a:pt x="2440" y="1022"/>
                    <a:pt x="2434" y="1017"/>
                    <a:pt x="2425" y="1017"/>
                  </a:cubicBezTo>
                  <a:cubicBezTo>
                    <a:pt x="2425" y="1017"/>
                    <a:pt x="2425" y="1017"/>
                    <a:pt x="2425" y="1017"/>
                  </a:cubicBezTo>
                  <a:moveTo>
                    <a:pt x="2468" y="1017"/>
                  </a:moveTo>
                  <a:cubicBezTo>
                    <a:pt x="2460" y="1017"/>
                    <a:pt x="2453" y="1022"/>
                    <a:pt x="2453" y="1027"/>
                  </a:cubicBezTo>
                  <a:cubicBezTo>
                    <a:pt x="2453" y="1033"/>
                    <a:pt x="2459" y="1037"/>
                    <a:pt x="2468" y="1037"/>
                  </a:cubicBezTo>
                  <a:cubicBezTo>
                    <a:pt x="2476" y="1037"/>
                    <a:pt x="2483" y="1033"/>
                    <a:pt x="2483" y="1027"/>
                  </a:cubicBezTo>
                  <a:cubicBezTo>
                    <a:pt x="2483" y="1021"/>
                    <a:pt x="2476" y="1017"/>
                    <a:pt x="2468" y="1017"/>
                  </a:cubicBezTo>
                  <a:cubicBezTo>
                    <a:pt x="2468" y="1017"/>
                    <a:pt x="2468" y="1017"/>
                    <a:pt x="2468" y="1017"/>
                  </a:cubicBezTo>
                  <a:moveTo>
                    <a:pt x="2510" y="1017"/>
                  </a:moveTo>
                  <a:cubicBezTo>
                    <a:pt x="2502" y="1017"/>
                    <a:pt x="2495" y="1021"/>
                    <a:pt x="2495" y="1027"/>
                  </a:cubicBezTo>
                  <a:cubicBezTo>
                    <a:pt x="2495" y="1033"/>
                    <a:pt x="2502" y="1037"/>
                    <a:pt x="2510" y="1037"/>
                  </a:cubicBezTo>
                  <a:cubicBezTo>
                    <a:pt x="2518" y="1037"/>
                    <a:pt x="2525" y="1033"/>
                    <a:pt x="2525" y="1027"/>
                  </a:cubicBezTo>
                  <a:cubicBezTo>
                    <a:pt x="2525" y="1021"/>
                    <a:pt x="2518" y="1017"/>
                    <a:pt x="2510" y="1017"/>
                  </a:cubicBezTo>
                  <a:cubicBezTo>
                    <a:pt x="2510" y="1017"/>
                    <a:pt x="2510" y="1017"/>
                    <a:pt x="2510" y="1017"/>
                  </a:cubicBezTo>
                  <a:moveTo>
                    <a:pt x="2552" y="1017"/>
                  </a:moveTo>
                  <a:cubicBezTo>
                    <a:pt x="2544" y="1017"/>
                    <a:pt x="2538" y="1021"/>
                    <a:pt x="2538" y="1027"/>
                  </a:cubicBezTo>
                  <a:cubicBezTo>
                    <a:pt x="2538" y="1033"/>
                    <a:pt x="2545" y="1037"/>
                    <a:pt x="2553" y="1037"/>
                  </a:cubicBezTo>
                  <a:cubicBezTo>
                    <a:pt x="2561" y="1037"/>
                    <a:pt x="2568" y="1032"/>
                    <a:pt x="2568" y="1027"/>
                  </a:cubicBezTo>
                  <a:cubicBezTo>
                    <a:pt x="2567" y="1021"/>
                    <a:pt x="2561" y="1017"/>
                    <a:pt x="2553" y="1017"/>
                  </a:cubicBezTo>
                  <a:cubicBezTo>
                    <a:pt x="2553" y="1017"/>
                    <a:pt x="2552" y="1017"/>
                    <a:pt x="2552" y="1017"/>
                  </a:cubicBezTo>
                  <a:moveTo>
                    <a:pt x="2595" y="1016"/>
                  </a:moveTo>
                  <a:cubicBezTo>
                    <a:pt x="2587" y="1016"/>
                    <a:pt x="2581" y="1021"/>
                    <a:pt x="2581" y="1027"/>
                  </a:cubicBezTo>
                  <a:cubicBezTo>
                    <a:pt x="2581" y="1032"/>
                    <a:pt x="2588" y="1037"/>
                    <a:pt x="2596" y="1037"/>
                  </a:cubicBezTo>
                  <a:cubicBezTo>
                    <a:pt x="2604" y="1037"/>
                    <a:pt x="2611" y="1032"/>
                    <a:pt x="2611" y="1027"/>
                  </a:cubicBezTo>
                  <a:cubicBezTo>
                    <a:pt x="2610" y="1021"/>
                    <a:pt x="2604" y="1016"/>
                    <a:pt x="2595" y="1016"/>
                  </a:cubicBezTo>
                  <a:cubicBezTo>
                    <a:pt x="2595" y="1016"/>
                    <a:pt x="2595" y="1016"/>
                    <a:pt x="2595" y="1016"/>
                  </a:cubicBezTo>
                  <a:moveTo>
                    <a:pt x="2638" y="1016"/>
                  </a:moveTo>
                  <a:cubicBezTo>
                    <a:pt x="2629" y="1016"/>
                    <a:pt x="2623" y="1021"/>
                    <a:pt x="2623" y="1027"/>
                  </a:cubicBezTo>
                  <a:cubicBezTo>
                    <a:pt x="2623" y="1032"/>
                    <a:pt x="2630" y="1037"/>
                    <a:pt x="2639" y="1037"/>
                  </a:cubicBezTo>
                  <a:cubicBezTo>
                    <a:pt x="2647" y="1037"/>
                    <a:pt x="2653" y="1032"/>
                    <a:pt x="2653" y="1026"/>
                  </a:cubicBezTo>
                  <a:cubicBezTo>
                    <a:pt x="2653" y="1021"/>
                    <a:pt x="2646" y="1016"/>
                    <a:pt x="2638" y="1016"/>
                  </a:cubicBezTo>
                  <a:cubicBezTo>
                    <a:pt x="2638" y="1016"/>
                    <a:pt x="2638" y="1016"/>
                    <a:pt x="2638" y="1016"/>
                  </a:cubicBezTo>
                  <a:moveTo>
                    <a:pt x="2680" y="1016"/>
                  </a:moveTo>
                  <a:cubicBezTo>
                    <a:pt x="2672" y="1016"/>
                    <a:pt x="2666" y="1021"/>
                    <a:pt x="2666" y="1026"/>
                  </a:cubicBezTo>
                  <a:cubicBezTo>
                    <a:pt x="2667" y="1032"/>
                    <a:pt x="2674" y="1037"/>
                    <a:pt x="2682" y="1037"/>
                  </a:cubicBezTo>
                  <a:cubicBezTo>
                    <a:pt x="2690" y="1037"/>
                    <a:pt x="2696" y="1032"/>
                    <a:pt x="2696" y="1026"/>
                  </a:cubicBezTo>
                  <a:cubicBezTo>
                    <a:pt x="2696" y="1021"/>
                    <a:pt x="2689" y="1016"/>
                    <a:pt x="2680" y="1016"/>
                  </a:cubicBezTo>
                  <a:cubicBezTo>
                    <a:pt x="2680" y="1016"/>
                    <a:pt x="2680" y="1016"/>
                    <a:pt x="2680" y="1016"/>
                  </a:cubicBezTo>
                  <a:moveTo>
                    <a:pt x="2721" y="1016"/>
                  </a:moveTo>
                  <a:cubicBezTo>
                    <a:pt x="2713" y="1016"/>
                    <a:pt x="2707" y="1021"/>
                    <a:pt x="2707" y="1026"/>
                  </a:cubicBezTo>
                  <a:cubicBezTo>
                    <a:pt x="2708" y="1032"/>
                    <a:pt x="2715" y="1036"/>
                    <a:pt x="2723" y="1036"/>
                  </a:cubicBezTo>
                  <a:cubicBezTo>
                    <a:pt x="2731" y="1036"/>
                    <a:pt x="2737" y="1032"/>
                    <a:pt x="2737" y="1026"/>
                  </a:cubicBezTo>
                  <a:cubicBezTo>
                    <a:pt x="2737" y="1021"/>
                    <a:pt x="2730" y="1016"/>
                    <a:pt x="2721" y="1016"/>
                  </a:cubicBezTo>
                  <a:cubicBezTo>
                    <a:pt x="2721" y="1016"/>
                    <a:pt x="2721" y="1016"/>
                    <a:pt x="2721" y="1016"/>
                  </a:cubicBezTo>
                  <a:moveTo>
                    <a:pt x="2764" y="1016"/>
                  </a:moveTo>
                  <a:cubicBezTo>
                    <a:pt x="2756" y="1016"/>
                    <a:pt x="2750" y="1020"/>
                    <a:pt x="2750" y="1026"/>
                  </a:cubicBezTo>
                  <a:cubicBezTo>
                    <a:pt x="2751" y="1032"/>
                    <a:pt x="2758" y="1036"/>
                    <a:pt x="2766" y="1036"/>
                  </a:cubicBezTo>
                  <a:cubicBezTo>
                    <a:pt x="2774" y="1036"/>
                    <a:pt x="2781" y="1032"/>
                    <a:pt x="2780" y="1026"/>
                  </a:cubicBezTo>
                  <a:cubicBezTo>
                    <a:pt x="2779" y="1020"/>
                    <a:pt x="2772" y="1016"/>
                    <a:pt x="2764" y="1016"/>
                  </a:cubicBezTo>
                  <a:cubicBezTo>
                    <a:pt x="2764" y="1016"/>
                    <a:pt x="2764" y="1016"/>
                    <a:pt x="2764" y="1016"/>
                  </a:cubicBezTo>
                  <a:moveTo>
                    <a:pt x="2805" y="1016"/>
                  </a:moveTo>
                  <a:cubicBezTo>
                    <a:pt x="2797" y="1016"/>
                    <a:pt x="2791" y="1020"/>
                    <a:pt x="2791" y="1026"/>
                  </a:cubicBezTo>
                  <a:cubicBezTo>
                    <a:pt x="2792" y="1032"/>
                    <a:pt x="2799" y="1036"/>
                    <a:pt x="2807" y="1036"/>
                  </a:cubicBezTo>
                  <a:cubicBezTo>
                    <a:pt x="2815" y="1036"/>
                    <a:pt x="2822" y="1032"/>
                    <a:pt x="2821" y="1026"/>
                  </a:cubicBezTo>
                  <a:cubicBezTo>
                    <a:pt x="2820" y="1020"/>
                    <a:pt x="2813" y="1016"/>
                    <a:pt x="2805" y="1016"/>
                  </a:cubicBezTo>
                  <a:cubicBezTo>
                    <a:pt x="2805" y="1016"/>
                    <a:pt x="2805" y="1016"/>
                    <a:pt x="2805" y="1016"/>
                  </a:cubicBezTo>
                  <a:moveTo>
                    <a:pt x="2850" y="1016"/>
                  </a:moveTo>
                  <a:cubicBezTo>
                    <a:pt x="2842" y="1016"/>
                    <a:pt x="2835" y="1020"/>
                    <a:pt x="2836" y="1026"/>
                  </a:cubicBezTo>
                  <a:cubicBezTo>
                    <a:pt x="2837" y="1031"/>
                    <a:pt x="2844" y="1036"/>
                    <a:pt x="2852" y="1036"/>
                  </a:cubicBezTo>
                  <a:cubicBezTo>
                    <a:pt x="2861" y="1036"/>
                    <a:pt x="2867" y="1031"/>
                    <a:pt x="2866" y="1026"/>
                  </a:cubicBezTo>
                  <a:cubicBezTo>
                    <a:pt x="2865" y="1020"/>
                    <a:pt x="2858" y="1016"/>
                    <a:pt x="2850" y="1016"/>
                  </a:cubicBezTo>
                  <a:cubicBezTo>
                    <a:pt x="2850" y="1016"/>
                    <a:pt x="2850" y="1016"/>
                    <a:pt x="2850" y="1016"/>
                  </a:cubicBezTo>
                  <a:moveTo>
                    <a:pt x="2893" y="1015"/>
                  </a:moveTo>
                  <a:cubicBezTo>
                    <a:pt x="2884" y="1015"/>
                    <a:pt x="2878" y="1020"/>
                    <a:pt x="2879" y="1026"/>
                  </a:cubicBezTo>
                  <a:cubicBezTo>
                    <a:pt x="2880" y="1031"/>
                    <a:pt x="2887" y="1036"/>
                    <a:pt x="2895" y="1036"/>
                  </a:cubicBezTo>
                  <a:cubicBezTo>
                    <a:pt x="2904" y="1036"/>
                    <a:pt x="2910" y="1031"/>
                    <a:pt x="2909" y="1026"/>
                  </a:cubicBezTo>
                  <a:cubicBezTo>
                    <a:pt x="2908" y="1020"/>
                    <a:pt x="2901" y="1015"/>
                    <a:pt x="2893" y="1015"/>
                  </a:cubicBezTo>
                  <a:cubicBezTo>
                    <a:pt x="2893" y="1015"/>
                    <a:pt x="2893" y="1015"/>
                    <a:pt x="2893" y="1015"/>
                  </a:cubicBezTo>
                  <a:moveTo>
                    <a:pt x="3527" y="1015"/>
                  </a:moveTo>
                  <a:cubicBezTo>
                    <a:pt x="3518" y="1015"/>
                    <a:pt x="3513" y="1020"/>
                    <a:pt x="3515" y="1025"/>
                  </a:cubicBezTo>
                  <a:cubicBezTo>
                    <a:pt x="3517" y="1031"/>
                    <a:pt x="3526" y="1035"/>
                    <a:pt x="3534" y="1035"/>
                  </a:cubicBezTo>
                  <a:cubicBezTo>
                    <a:pt x="3542" y="1035"/>
                    <a:pt x="3547" y="1031"/>
                    <a:pt x="3545" y="1025"/>
                  </a:cubicBezTo>
                  <a:cubicBezTo>
                    <a:pt x="3543" y="1019"/>
                    <a:pt x="3535" y="1015"/>
                    <a:pt x="3527" y="1015"/>
                  </a:cubicBezTo>
                  <a:cubicBezTo>
                    <a:pt x="3527" y="1015"/>
                    <a:pt x="3527" y="1015"/>
                    <a:pt x="3527" y="1015"/>
                  </a:cubicBezTo>
                  <a:moveTo>
                    <a:pt x="3910" y="1014"/>
                  </a:moveTo>
                  <a:cubicBezTo>
                    <a:pt x="3902" y="1014"/>
                    <a:pt x="3897" y="1019"/>
                    <a:pt x="3900" y="1025"/>
                  </a:cubicBezTo>
                  <a:cubicBezTo>
                    <a:pt x="3903" y="1030"/>
                    <a:pt x="3912" y="1035"/>
                    <a:pt x="3920" y="1035"/>
                  </a:cubicBezTo>
                  <a:cubicBezTo>
                    <a:pt x="3928" y="1035"/>
                    <a:pt x="3933" y="1030"/>
                    <a:pt x="3930" y="1025"/>
                  </a:cubicBezTo>
                  <a:cubicBezTo>
                    <a:pt x="3927" y="1019"/>
                    <a:pt x="3918" y="1014"/>
                    <a:pt x="3910" y="1014"/>
                  </a:cubicBezTo>
                  <a:cubicBezTo>
                    <a:pt x="3910" y="1014"/>
                    <a:pt x="3910" y="1014"/>
                    <a:pt x="3910" y="1014"/>
                  </a:cubicBezTo>
                  <a:moveTo>
                    <a:pt x="4376" y="1010"/>
                  </a:moveTo>
                  <a:cubicBezTo>
                    <a:pt x="4368" y="1010"/>
                    <a:pt x="4364" y="1015"/>
                    <a:pt x="4367" y="1021"/>
                  </a:cubicBezTo>
                  <a:cubicBezTo>
                    <a:pt x="4371" y="1026"/>
                    <a:pt x="4380" y="1031"/>
                    <a:pt x="4389" y="1031"/>
                  </a:cubicBezTo>
                  <a:cubicBezTo>
                    <a:pt x="4397" y="1031"/>
                    <a:pt x="4401" y="1026"/>
                    <a:pt x="4397" y="1021"/>
                  </a:cubicBezTo>
                  <a:cubicBezTo>
                    <a:pt x="4394" y="1015"/>
                    <a:pt x="4384" y="1010"/>
                    <a:pt x="4376" y="1010"/>
                  </a:cubicBezTo>
                  <a:cubicBezTo>
                    <a:pt x="4376" y="1010"/>
                    <a:pt x="4376" y="1010"/>
                    <a:pt x="4376" y="1010"/>
                  </a:cubicBezTo>
                  <a:moveTo>
                    <a:pt x="4412" y="1010"/>
                  </a:moveTo>
                  <a:cubicBezTo>
                    <a:pt x="4404" y="1010"/>
                    <a:pt x="4400" y="1015"/>
                    <a:pt x="4404" y="1021"/>
                  </a:cubicBezTo>
                  <a:cubicBezTo>
                    <a:pt x="4408" y="1026"/>
                    <a:pt x="4417" y="1031"/>
                    <a:pt x="4425" y="1031"/>
                  </a:cubicBezTo>
                  <a:cubicBezTo>
                    <a:pt x="4434" y="1031"/>
                    <a:pt x="4437" y="1026"/>
                    <a:pt x="4434" y="1020"/>
                  </a:cubicBezTo>
                  <a:cubicBezTo>
                    <a:pt x="4430" y="1015"/>
                    <a:pt x="4420" y="1010"/>
                    <a:pt x="4412" y="1010"/>
                  </a:cubicBezTo>
                  <a:cubicBezTo>
                    <a:pt x="4412" y="1010"/>
                    <a:pt x="4412" y="1010"/>
                    <a:pt x="4412" y="1010"/>
                  </a:cubicBezTo>
                  <a:moveTo>
                    <a:pt x="321" y="996"/>
                  </a:moveTo>
                  <a:cubicBezTo>
                    <a:pt x="313" y="996"/>
                    <a:pt x="303" y="1001"/>
                    <a:pt x="299" y="1006"/>
                  </a:cubicBezTo>
                  <a:cubicBezTo>
                    <a:pt x="295" y="1012"/>
                    <a:pt x="299" y="1017"/>
                    <a:pt x="307" y="1017"/>
                  </a:cubicBezTo>
                  <a:cubicBezTo>
                    <a:pt x="315" y="1016"/>
                    <a:pt x="325" y="1012"/>
                    <a:pt x="329" y="1006"/>
                  </a:cubicBezTo>
                  <a:cubicBezTo>
                    <a:pt x="333" y="1001"/>
                    <a:pt x="330" y="996"/>
                    <a:pt x="322" y="996"/>
                  </a:cubicBezTo>
                  <a:cubicBezTo>
                    <a:pt x="321" y="996"/>
                    <a:pt x="321" y="996"/>
                    <a:pt x="321" y="996"/>
                  </a:cubicBezTo>
                  <a:moveTo>
                    <a:pt x="490" y="994"/>
                  </a:moveTo>
                  <a:cubicBezTo>
                    <a:pt x="482" y="994"/>
                    <a:pt x="472" y="999"/>
                    <a:pt x="468" y="1004"/>
                  </a:cubicBezTo>
                  <a:cubicBezTo>
                    <a:pt x="465" y="1010"/>
                    <a:pt x="468" y="1014"/>
                    <a:pt x="477" y="1014"/>
                  </a:cubicBezTo>
                  <a:cubicBezTo>
                    <a:pt x="485" y="1014"/>
                    <a:pt x="494" y="1010"/>
                    <a:pt x="498" y="1004"/>
                  </a:cubicBezTo>
                  <a:cubicBezTo>
                    <a:pt x="502" y="999"/>
                    <a:pt x="498" y="994"/>
                    <a:pt x="490" y="994"/>
                  </a:cubicBezTo>
                  <a:cubicBezTo>
                    <a:pt x="490" y="994"/>
                    <a:pt x="490" y="994"/>
                    <a:pt x="490" y="994"/>
                  </a:cubicBezTo>
                  <a:moveTo>
                    <a:pt x="532" y="994"/>
                  </a:moveTo>
                  <a:cubicBezTo>
                    <a:pt x="524" y="994"/>
                    <a:pt x="514" y="998"/>
                    <a:pt x="510" y="1004"/>
                  </a:cubicBezTo>
                  <a:cubicBezTo>
                    <a:pt x="507" y="1010"/>
                    <a:pt x="510" y="1014"/>
                    <a:pt x="519" y="1014"/>
                  </a:cubicBezTo>
                  <a:cubicBezTo>
                    <a:pt x="527" y="1014"/>
                    <a:pt x="536" y="1010"/>
                    <a:pt x="540" y="1004"/>
                  </a:cubicBezTo>
                  <a:cubicBezTo>
                    <a:pt x="544" y="998"/>
                    <a:pt x="540" y="994"/>
                    <a:pt x="532" y="994"/>
                  </a:cubicBezTo>
                  <a:cubicBezTo>
                    <a:pt x="532" y="994"/>
                    <a:pt x="532" y="994"/>
                    <a:pt x="532" y="994"/>
                  </a:cubicBezTo>
                  <a:moveTo>
                    <a:pt x="574" y="994"/>
                  </a:moveTo>
                  <a:cubicBezTo>
                    <a:pt x="566" y="994"/>
                    <a:pt x="556" y="998"/>
                    <a:pt x="553" y="1004"/>
                  </a:cubicBezTo>
                  <a:cubicBezTo>
                    <a:pt x="549" y="1010"/>
                    <a:pt x="553" y="1014"/>
                    <a:pt x="561" y="1014"/>
                  </a:cubicBezTo>
                  <a:cubicBezTo>
                    <a:pt x="569" y="1014"/>
                    <a:pt x="579" y="1009"/>
                    <a:pt x="582" y="1004"/>
                  </a:cubicBezTo>
                  <a:cubicBezTo>
                    <a:pt x="586" y="998"/>
                    <a:pt x="582" y="994"/>
                    <a:pt x="574" y="994"/>
                  </a:cubicBezTo>
                  <a:cubicBezTo>
                    <a:pt x="574" y="994"/>
                    <a:pt x="574" y="994"/>
                    <a:pt x="574" y="994"/>
                  </a:cubicBezTo>
                  <a:moveTo>
                    <a:pt x="617" y="994"/>
                  </a:moveTo>
                  <a:cubicBezTo>
                    <a:pt x="609" y="994"/>
                    <a:pt x="600" y="998"/>
                    <a:pt x="596" y="1004"/>
                  </a:cubicBezTo>
                  <a:cubicBezTo>
                    <a:pt x="593" y="1009"/>
                    <a:pt x="597" y="1014"/>
                    <a:pt x="605" y="1014"/>
                  </a:cubicBezTo>
                  <a:cubicBezTo>
                    <a:pt x="613" y="1014"/>
                    <a:pt x="623" y="1009"/>
                    <a:pt x="626" y="1004"/>
                  </a:cubicBezTo>
                  <a:cubicBezTo>
                    <a:pt x="629" y="998"/>
                    <a:pt x="626" y="994"/>
                    <a:pt x="618" y="994"/>
                  </a:cubicBezTo>
                  <a:cubicBezTo>
                    <a:pt x="618" y="994"/>
                    <a:pt x="617" y="994"/>
                    <a:pt x="617" y="994"/>
                  </a:cubicBezTo>
                  <a:moveTo>
                    <a:pt x="659" y="993"/>
                  </a:moveTo>
                  <a:cubicBezTo>
                    <a:pt x="651" y="993"/>
                    <a:pt x="642" y="998"/>
                    <a:pt x="638" y="1004"/>
                  </a:cubicBezTo>
                  <a:cubicBezTo>
                    <a:pt x="635" y="1009"/>
                    <a:pt x="639" y="1014"/>
                    <a:pt x="647" y="1014"/>
                  </a:cubicBezTo>
                  <a:cubicBezTo>
                    <a:pt x="655" y="1014"/>
                    <a:pt x="665" y="1009"/>
                    <a:pt x="668" y="1003"/>
                  </a:cubicBezTo>
                  <a:cubicBezTo>
                    <a:pt x="671" y="998"/>
                    <a:pt x="668" y="993"/>
                    <a:pt x="659" y="993"/>
                  </a:cubicBezTo>
                  <a:cubicBezTo>
                    <a:pt x="659" y="993"/>
                    <a:pt x="659" y="993"/>
                    <a:pt x="659" y="993"/>
                  </a:cubicBezTo>
                  <a:moveTo>
                    <a:pt x="702" y="993"/>
                  </a:moveTo>
                  <a:cubicBezTo>
                    <a:pt x="693" y="993"/>
                    <a:pt x="684" y="998"/>
                    <a:pt x="681" y="1003"/>
                  </a:cubicBezTo>
                  <a:cubicBezTo>
                    <a:pt x="677" y="1009"/>
                    <a:pt x="681" y="1014"/>
                    <a:pt x="690" y="1014"/>
                  </a:cubicBezTo>
                  <a:cubicBezTo>
                    <a:pt x="698" y="1014"/>
                    <a:pt x="707" y="1009"/>
                    <a:pt x="710" y="1003"/>
                  </a:cubicBezTo>
                  <a:cubicBezTo>
                    <a:pt x="714" y="998"/>
                    <a:pt x="710" y="993"/>
                    <a:pt x="702" y="993"/>
                  </a:cubicBezTo>
                  <a:cubicBezTo>
                    <a:pt x="702" y="993"/>
                    <a:pt x="702" y="993"/>
                    <a:pt x="702" y="993"/>
                  </a:cubicBezTo>
                  <a:moveTo>
                    <a:pt x="740" y="993"/>
                  </a:moveTo>
                  <a:cubicBezTo>
                    <a:pt x="731" y="993"/>
                    <a:pt x="722" y="998"/>
                    <a:pt x="719" y="1003"/>
                  </a:cubicBezTo>
                  <a:cubicBezTo>
                    <a:pt x="716" y="1009"/>
                    <a:pt x="720" y="1013"/>
                    <a:pt x="728" y="1013"/>
                  </a:cubicBezTo>
                  <a:cubicBezTo>
                    <a:pt x="736" y="1013"/>
                    <a:pt x="745" y="1009"/>
                    <a:pt x="749" y="1003"/>
                  </a:cubicBezTo>
                  <a:cubicBezTo>
                    <a:pt x="752" y="998"/>
                    <a:pt x="748" y="993"/>
                    <a:pt x="740" y="993"/>
                  </a:cubicBezTo>
                  <a:cubicBezTo>
                    <a:pt x="740" y="993"/>
                    <a:pt x="740" y="993"/>
                    <a:pt x="740" y="993"/>
                  </a:cubicBezTo>
                  <a:moveTo>
                    <a:pt x="1710" y="990"/>
                  </a:moveTo>
                  <a:cubicBezTo>
                    <a:pt x="1701" y="990"/>
                    <a:pt x="1694" y="995"/>
                    <a:pt x="1692" y="1000"/>
                  </a:cubicBezTo>
                  <a:cubicBezTo>
                    <a:pt x="1691" y="1006"/>
                    <a:pt x="1696" y="1011"/>
                    <a:pt x="1704" y="1011"/>
                  </a:cubicBezTo>
                  <a:cubicBezTo>
                    <a:pt x="1713" y="1011"/>
                    <a:pt x="1720" y="1006"/>
                    <a:pt x="1722" y="1000"/>
                  </a:cubicBezTo>
                  <a:cubicBezTo>
                    <a:pt x="1723" y="995"/>
                    <a:pt x="1718" y="990"/>
                    <a:pt x="1710" y="990"/>
                  </a:cubicBezTo>
                  <a:cubicBezTo>
                    <a:pt x="1710" y="990"/>
                    <a:pt x="1710" y="990"/>
                    <a:pt x="1710" y="990"/>
                  </a:cubicBezTo>
                  <a:moveTo>
                    <a:pt x="1751" y="990"/>
                  </a:moveTo>
                  <a:cubicBezTo>
                    <a:pt x="1743" y="990"/>
                    <a:pt x="1736" y="995"/>
                    <a:pt x="1734" y="1000"/>
                  </a:cubicBezTo>
                  <a:cubicBezTo>
                    <a:pt x="1733" y="1006"/>
                    <a:pt x="1738" y="1010"/>
                    <a:pt x="1747" y="1010"/>
                  </a:cubicBezTo>
                  <a:cubicBezTo>
                    <a:pt x="1755" y="1010"/>
                    <a:pt x="1762" y="1006"/>
                    <a:pt x="1764" y="1000"/>
                  </a:cubicBezTo>
                  <a:cubicBezTo>
                    <a:pt x="1765" y="995"/>
                    <a:pt x="1760" y="990"/>
                    <a:pt x="1752" y="990"/>
                  </a:cubicBezTo>
                  <a:cubicBezTo>
                    <a:pt x="1751" y="990"/>
                    <a:pt x="1751" y="990"/>
                    <a:pt x="1751" y="990"/>
                  </a:cubicBezTo>
                  <a:moveTo>
                    <a:pt x="1794" y="990"/>
                  </a:moveTo>
                  <a:cubicBezTo>
                    <a:pt x="1785" y="990"/>
                    <a:pt x="1778" y="994"/>
                    <a:pt x="1777" y="1000"/>
                  </a:cubicBezTo>
                  <a:cubicBezTo>
                    <a:pt x="1775" y="1006"/>
                    <a:pt x="1781" y="1010"/>
                    <a:pt x="1789" y="1010"/>
                  </a:cubicBezTo>
                  <a:cubicBezTo>
                    <a:pt x="1797" y="1010"/>
                    <a:pt x="1805" y="1006"/>
                    <a:pt x="1806" y="1000"/>
                  </a:cubicBezTo>
                  <a:cubicBezTo>
                    <a:pt x="1807" y="994"/>
                    <a:pt x="1802" y="990"/>
                    <a:pt x="1794" y="990"/>
                  </a:cubicBezTo>
                  <a:cubicBezTo>
                    <a:pt x="1794" y="990"/>
                    <a:pt x="1794" y="990"/>
                    <a:pt x="1794" y="990"/>
                  </a:cubicBezTo>
                  <a:moveTo>
                    <a:pt x="1836" y="990"/>
                  </a:moveTo>
                  <a:cubicBezTo>
                    <a:pt x="1828" y="990"/>
                    <a:pt x="1820" y="994"/>
                    <a:pt x="1819" y="1000"/>
                  </a:cubicBezTo>
                  <a:cubicBezTo>
                    <a:pt x="1818" y="1006"/>
                    <a:pt x="1824" y="1010"/>
                    <a:pt x="1832" y="1010"/>
                  </a:cubicBezTo>
                  <a:cubicBezTo>
                    <a:pt x="1840" y="1010"/>
                    <a:pt x="1848" y="1005"/>
                    <a:pt x="1849" y="1000"/>
                  </a:cubicBezTo>
                  <a:cubicBezTo>
                    <a:pt x="1850" y="994"/>
                    <a:pt x="1844" y="990"/>
                    <a:pt x="1836" y="990"/>
                  </a:cubicBezTo>
                  <a:cubicBezTo>
                    <a:pt x="1836" y="990"/>
                    <a:pt x="1836" y="990"/>
                    <a:pt x="1836" y="990"/>
                  </a:cubicBezTo>
                  <a:moveTo>
                    <a:pt x="1878" y="990"/>
                  </a:moveTo>
                  <a:cubicBezTo>
                    <a:pt x="1870" y="990"/>
                    <a:pt x="1862" y="994"/>
                    <a:pt x="1861" y="1000"/>
                  </a:cubicBezTo>
                  <a:cubicBezTo>
                    <a:pt x="1860" y="1005"/>
                    <a:pt x="1866" y="1010"/>
                    <a:pt x="1874" y="1010"/>
                  </a:cubicBezTo>
                  <a:cubicBezTo>
                    <a:pt x="1882" y="1010"/>
                    <a:pt x="1890" y="1005"/>
                    <a:pt x="1891" y="1000"/>
                  </a:cubicBezTo>
                  <a:cubicBezTo>
                    <a:pt x="1892" y="994"/>
                    <a:pt x="1886" y="990"/>
                    <a:pt x="1878" y="990"/>
                  </a:cubicBezTo>
                  <a:cubicBezTo>
                    <a:pt x="1878" y="990"/>
                    <a:pt x="1878" y="990"/>
                    <a:pt x="1878" y="990"/>
                  </a:cubicBezTo>
                  <a:moveTo>
                    <a:pt x="1920" y="989"/>
                  </a:moveTo>
                  <a:cubicBezTo>
                    <a:pt x="1912" y="989"/>
                    <a:pt x="1904" y="994"/>
                    <a:pt x="1903" y="1000"/>
                  </a:cubicBezTo>
                  <a:cubicBezTo>
                    <a:pt x="1902" y="1005"/>
                    <a:pt x="1908" y="1010"/>
                    <a:pt x="1916" y="1010"/>
                  </a:cubicBezTo>
                  <a:cubicBezTo>
                    <a:pt x="1924" y="1010"/>
                    <a:pt x="1932" y="1005"/>
                    <a:pt x="1933" y="1000"/>
                  </a:cubicBezTo>
                  <a:cubicBezTo>
                    <a:pt x="1934" y="994"/>
                    <a:pt x="1928" y="989"/>
                    <a:pt x="1920" y="989"/>
                  </a:cubicBezTo>
                  <a:cubicBezTo>
                    <a:pt x="1920" y="989"/>
                    <a:pt x="1920" y="989"/>
                    <a:pt x="1920" y="989"/>
                  </a:cubicBezTo>
                  <a:moveTo>
                    <a:pt x="1962" y="989"/>
                  </a:moveTo>
                  <a:cubicBezTo>
                    <a:pt x="1954" y="989"/>
                    <a:pt x="1946" y="994"/>
                    <a:pt x="1945" y="999"/>
                  </a:cubicBezTo>
                  <a:cubicBezTo>
                    <a:pt x="1944" y="1005"/>
                    <a:pt x="1950" y="1010"/>
                    <a:pt x="1958" y="1010"/>
                  </a:cubicBezTo>
                  <a:cubicBezTo>
                    <a:pt x="1966" y="1010"/>
                    <a:pt x="1974" y="1005"/>
                    <a:pt x="1975" y="999"/>
                  </a:cubicBezTo>
                  <a:cubicBezTo>
                    <a:pt x="1976" y="994"/>
                    <a:pt x="1970" y="989"/>
                    <a:pt x="1962" y="989"/>
                  </a:cubicBezTo>
                  <a:cubicBezTo>
                    <a:pt x="1962" y="989"/>
                    <a:pt x="1962" y="989"/>
                    <a:pt x="1962" y="989"/>
                  </a:cubicBezTo>
                  <a:moveTo>
                    <a:pt x="2004" y="989"/>
                  </a:moveTo>
                  <a:cubicBezTo>
                    <a:pt x="1996" y="989"/>
                    <a:pt x="1988" y="994"/>
                    <a:pt x="1988" y="999"/>
                  </a:cubicBezTo>
                  <a:cubicBezTo>
                    <a:pt x="1987" y="1005"/>
                    <a:pt x="1993" y="1010"/>
                    <a:pt x="2001" y="1009"/>
                  </a:cubicBezTo>
                  <a:cubicBezTo>
                    <a:pt x="2009" y="1009"/>
                    <a:pt x="2016" y="1005"/>
                    <a:pt x="2017" y="999"/>
                  </a:cubicBezTo>
                  <a:cubicBezTo>
                    <a:pt x="2018" y="994"/>
                    <a:pt x="2012" y="989"/>
                    <a:pt x="2004" y="989"/>
                  </a:cubicBezTo>
                  <a:cubicBezTo>
                    <a:pt x="2004" y="989"/>
                    <a:pt x="2004" y="989"/>
                    <a:pt x="2004" y="989"/>
                  </a:cubicBezTo>
                  <a:moveTo>
                    <a:pt x="2047" y="989"/>
                  </a:moveTo>
                  <a:cubicBezTo>
                    <a:pt x="2039" y="989"/>
                    <a:pt x="2032" y="994"/>
                    <a:pt x="2031" y="999"/>
                  </a:cubicBezTo>
                  <a:cubicBezTo>
                    <a:pt x="2030" y="1005"/>
                    <a:pt x="2036" y="1009"/>
                    <a:pt x="2044" y="1009"/>
                  </a:cubicBezTo>
                  <a:cubicBezTo>
                    <a:pt x="2053" y="1009"/>
                    <a:pt x="2060" y="1005"/>
                    <a:pt x="2061" y="999"/>
                  </a:cubicBezTo>
                  <a:cubicBezTo>
                    <a:pt x="2061" y="993"/>
                    <a:pt x="2055" y="989"/>
                    <a:pt x="2047" y="989"/>
                  </a:cubicBezTo>
                  <a:cubicBezTo>
                    <a:pt x="2047" y="989"/>
                    <a:pt x="2047" y="989"/>
                    <a:pt x="2047" y="989"/>
                  </a:cubicBezTo>
                  <a:moveTo>
                    <a:pt x="2089" y="989"/>
                  </a:moveTo>
                  <a:cubicBezTo>
                    <a:pt x="2081" y="989"/>
                    <a:pt x="2074" y="993"/>
                    <a:pt x="2073" y="999"/>
                  </a:cubicBezTo>
                  <a:cubicBezTo>
                    <a:pt x="2072" y="1005"/>
                    <a:pt x="2078" y="1009"/>
                    <a:pt x="2087" y="1009"/>
                  </a:cubicBezTo>
                  <a:cubicBezTo>
                    <a:pt x="2095" y="1009"/>
                    <a:pt x="2102" y="1005"/>
                    <a:pt x="2103" y="999"/>
                  </a:cubicBezTo>
                  <a:cubicBezTo>
                    <a:pt x="2103" y="993"/>
                    <a:pt x="2097" y="989"/>
                    <a:pt x="2089" y="989"/>
                  </a:cubicBezTo>
                  <a:cubicBezTo>
                    <a:pt x="2089" y="989"/>
                    <a:pt x="2089" y="989"/>
                    <a:pt x="2089" y="989"/>
                  </a:cubicBezTo>
                  <a:moveTo>
                    <a:pt x="2131" y="989"/>
                  </a:moveTo>
                  <a:cubicBezTo>
                    <a:pt x="2123" y="989"/>
                    <a:pt x="2116" y="993"/>
                    <a:pt x="2115" y="999"/>
                  </a:cubicBezTo>
                  <a:cubicBezTo>
                    <a:pt x="2115" y="1004"/>
                    <a:pt x="2121" y="1009"/>
                    <a:pt x="2129" y="1009"/>
                  </a:cubicBezTo>
                  <a:cubicBezTo>
                    <a:pt x="2137" y="1009"/>
                    <a:pt x="2144" y="1004"/>
                    <a:pt x="2145" y="999"/>
                  </a:cubicBezTo>
                  <a:cubicBezTo>
                    <a:pt x="2145" y="993"/>
                    <a:pt x="2139" y="989"/>
                    <a:pt x="2131" y="989"/>
                  </a:cubicBezTo>
                  <a:cubicBezTo>
                    <a:pt x="2131" y="989"/>
                    <a:pt x="2131" y="989"/>
                    <a:pt x="2131" y="989"/>
                  </a:cubicBezTo>
                  <a:moveTo>
                    <a:pt x="2174" y="988"/>
                  </a:moveTo>
                  <a:cubicBezTo>
                    <a:pt x="2166" y="988"/>
                    <a:pt x="2159" y="993"/>
                    <a:pt x="2158" y="999"/>
                  </a:cubicBezTo>
                  <a:cubicBezTo>
                    <a:pt x="2157" y="1004"/>
                    <a:pt x="2164" y="1009"/>
                    <a:pt x="2172" y="1009"/>
                  </a:cubicBezTo>
                  <a:cubicBezTo>
                    <a:pt x="2180" y="1009"/>
                    <a:pt x="2187" y="1004"/>
                    <a:pt x="2188" y="999"/>
                  </a:cubicBezTo>
                  <a:cubicBezTo>
                    <a:pt x="2188" y="993"/>
                    <a:pt x="2182" y="988"/>
                    <a:pt x="2174" y="988"/>
                  </a:cubicBezTo>
                  <a:cubicBezTo>
                    <a:pt x="2174" y="988"/>
                    <a:pt x="2174" y="988"/>
                    <a:pt x="2174" y="988"/>
                  </a:cubicBezTo>
                  <a:moveTo>
                    <a:pt x="2216" y="988"/>
                  </a:moveTo>
                  <a:cubicBezTo>
                    <a:pt x="2207" y="988"/>
                    <a:pt x="2200" y="993"/>
                    <a:pt x="2200" y="999"/>
                  </a:cubicBezTo>
                  <a:cubicBezTo>
                    <a:pt x="2199" y="1004"/>
                    <a:pt x="2206" y="1009"/>
                    <a:pt x="2214" y="1009"/>
                  </a:cubicBezTo>
                  <a:cubicBezTo>
                    <a:pt x="2222" y="1009"/>
                    <a:pt x="2229" y="1004"/>
                    <a:pt x="2229" y="998"/>
                  </a:cubicBezTo>
                  <a:cubicBezTo>
                    <a:pt x="2230" y="993"/>
                    <a:pt x="2224" y="988"/>
                    <a:pt x="2216" y="988"/>
                  </a:cubicBezTo>
                  <a:cubicBezTo>
                    <a:pt x="2216" y="988"/>
                    <a:pt x="2216" y="988"/>
                    <a:pt x="2216" y="988"/>
                  </a:cubicBezTo>
                  <a:moveTo>
                    <a:pt x="2258" y="988"/>
                  </a:moveTo>
                  <a:cubicBezTo>
                    <a:pt x="2249" y="988"/>
                    <a:pt x="2243" y="993"/>
                    <a:pt x="2242" y="998"/>
                  </a:cubicBezTo>
                  <a:cubicBezTo>
                    <a:pt x="2242" y="1004"/>
                    <a:pt x="2248" y="1009"/>
                    <a:pt x="2256" y="1009"/>
                  </a:cubicBezTo>
                  <a:cubicBezTo>
                    <a:pt x="2264" y="1009"/>
                    <a:pt x="2271" y="1004"/>
                    <a:pt x="2272" y="998"/>
                  </a:cubicBezTo>
                  <a:cubicBezTo>
                    <a:pt x="2272" y="993"/>
                    <a:pt x="2266" y="988"/>
                    <a:pt x="2258" y="988"/>
                  </a:cubicBezTo>
                  <a:cubicBezTo>
                    <a:pt x="2258" y="988"/>
                    <a:pt x="2258" y="988"/>
                    <a:pt x="2258" y="988"/>
                  </a:cubicBezTo>
                  <a:moveTo>
                    <a:pt x="2299" y="988"/>
                  </a:moveTo>
                  <a:cubicBezTo>
                    <a:pt x="2291" y="988"/>
                    <a:pt x="2284" y="993"/>
                    <a:pt x="2284" y="998"/>
                  </a:cubicBezTo>
                  <a:cubicBezTo>
                    <a:pt x="2284" y="1004"/>
                    <a:pt x="2290" y="1008"/>
                    <a:pt x="2298" y="1008"/>
                  </a:cubicBezTo>
                  <a:cubicBezTo>
                    <a:pt x="2306" y="1008"/>
                    <a:pt x="2313" y="1004"/>
                    <a:pt x="2314" y="998"/>
                  </a:cubicBezTo>
                  <a:cubicBezTo>
                    <a:pt x="2314" y="993"/>
                    <a:pt x="2308" y="988"/>
                    <a:pt x="2299" y="988"/>
                  </a:cubicBezTo>
                  <a:cubicBezTo>
                    <a:pt x="2299" y="988"/>
                    <a:pt x="2299" y="988"/>
                    <a:pt x="2299" y="988"/>
                  </a:cubicBezTo>
                  <a:moveTo>
                    <a:pt x="2342" y="988"/>
                  </a:moveTo>
                  <a:cubicBezTo>
                    <a:pt x="2333" y="988"/>
                    <a:pt x="2327" y="992"/>
                    <a:pt x="2326" y="998"/>
                  </a:cubicBezTo>
                  <a:cubicBezTo>
                    <a:pt x="2326" y="1004"/>
                    <a:pt x="2332" y="1008"/>
                    <a:pt x="2341" y="1008"/>
                  </a:cubicBezTo>
                  <a:cubicBezTo>
                    <a:pt x="2349" y="1008"/>
                    <a:pt x="2356" y="1004"/>
                    <a:pt x="2356" y="998"/>
                  </a:cubicBezTo>
                  <a:cubicBezTo>
                    <a:pt x="2356" y="992"/>
                    <a:pt x="2350" y="988"/>
                    <a:pt x="2342" y="988"/>
                  </a:cubicBezTo>
                  <a:cubicBezTo>
                    <a:pt x="2342" y="988"/>
                    <a:pt x="2342" y="988"/>
                    <a:pt x="2342" y="988"/>
                  </a:cubicBezTo>
                  <a:moveTo>
                    <a:pt x="2384" y="988"/>
                  </a:moveTo>
                  <a:cubicBezTo>
                    <a:pt x="2376" y="988"/>
                    <a:pt x="2369" y="992"/>
                    <a:pt x="2369" y="998"/>
                  </a:cubicBezTo>
                  <a:cubicBezTo>
                    <a:pt x="2369" y="1004"/>
                    <a:pt x="2375" y="1008"/>
                    <a:pt x="2383" y="1008"/>
                  </a:cubicBezTo>
                  <a:cubicBezTo>
                    <a:pt x="2392" y="1008"/>
                    <a:pt x="2398" y="1003"/>
                    <a:pt x="2398" y="998"/>
                  </a:cubicBezTo>
                  <a:cubicBezTo>
                    <a:pt x="2399" y="992"/>
                    <a:pt x="2392" y="988"/>
                    <a:pt x="2384" y="988"/>
                  </a:cubicBezTo>
                  <a:cubicBezTo>
                    <a:pt x="2384" y="988"/>
                    <a:pt x="2384" y="988"/>
                    <a:pt x="2384" y="988"/>
                  </a:cubicBezTo>
                  <a:moveTo>
                    <a:pt x="2426" y="988"/>
                  </a:moveTo>
                  <a:cubicBezTo>
                    <a:pt x="2418" y="988"/>
                    <a:pt x="2411" y="992"/>
                    <a:pt x="2411" y="998"/>
                  </a:cubicBezTo>
                  <a:cubicBezTo>
                    <a:pt x="2411" y="1003"/>
                    <a:pt x="2417" y="1008"/>
                    <a:pt x="2425" y="1008"/>
                  </a:cubicBezTo>
                  <a:cubicBezTo>
                    <a:pt x="2434" y="1008"/>
                    <a:pt x="2440" y="1003"/>
                    <a:pt x="2440" y="998"/>
                  </a:cubicBezTo>
                  <a:cubicBezTo>
                    <a:pt x="2440" y="992"/>
                    <a:pt x="2434" y="988"/>
                    <a:pt x="2426" y="988"/>
                  </a:cubicBezTo>
                  <a:cubicBezTo>
                    <a:pt x="2426" y="988"/>
                    <a:pt x="2426" y="988"/>
                    <a:pt x="2426" y="988"/>
                  </a:cubicBezTo>
                  <a:moveTo>
                    <a:pt x="2468" y="987"/>
                  </a:moveTo>
                  <a:cubicBezTo>
                    <a:pt x="2460" y="987"/>
                    <a:pt x="2453" y="992"/>
                    <a:pt x="2453" y="998"/>
                  </a:cubicBezTo>
                  <a:cubicBezTo>
                    <a:pt x="2453" y="1003"/>
                    <a:pt x="2460" y="1008"/>
                    <a:pt x="2468" y="1008"/>
                  </a:cubicBezTo>
                  <a:cubicBezTo>
                    <a:pt x="2476" y="1008"/>
                    <a:pt x="2483" y="1003"/>
                    <a:pt x="2483" y="998"/>
                  </a:cubicBezTo>
                  <a:cubicBezTo>
                    <a:pt x="2483" y="992"/>
                    <a:pt x="2476" y="987"/>
                    <a:pt x="2468" y="987"/>
                  </a:cubicBezTo>
                  <a:cubicBezTo>
                    <a:pt x="2468" y="987"/>
                    <a:pt x="2468" y="987"/>
                    <a:pt x="2468" y="987"/>
                  </a:cubicBezTo>
                  <a:moveTo>
                    <a:pt x="2510" y="987"/>
                  </a:moveTo>
                  <a:cubicBezTo>
                    <a:pt x="2501" y="987"/>
                    <a:pt x="2495" y="992"/>
                    <a:pt x="2495" y="997"/>
                  </a:cubicBezTo>
                  <a:cubicBezTo>
                    <a:pt x="2495" y="1003"/>
                    <a:pt x="2502" y="1008"/>
                    <a:pt x="2510" y="1008"/>
                  </a:cubicBezTo>
                  <a:cubicBezTo>
                    <a:pt x="2518" y="1008"/>
                    <a:pt x="2525" y="1003"/>
                    <a:pt x="2524" y="997"/>
                  </a:cubicBezTo>
                  <a:cubicBezTo>
                    <a:pt x="2524" y="992"/>
                    <a:pt x="2518" y="987"/>
                    <a:pt x="2510" y="987"/>
                  </a:cubicBezTo>
                  <a:cubicBezTo>
                    <a:pt x="2510" y="987"/>
                    <a:pt x="2510" y="987"/>
                    <a:pt x="2510" y="987"/>
                  </a:cubicBezTo>
                  <a:moveTo>
                    <a:pt x="3433" y="987"/>
                  </a:moveTo>
                  <a:cubicBezTo>
                    <a:pt x="3425" y="987"/>
                    <a:pt x="3420" y="992"/>
                    <a:pt x="3422" y="997"/>
                  </a:cubicBezTo>
                  <a:cubicBezTo>
                    <a:pt x="3424" y="1003"/>
                    <a:pt x="3432" y="1008"/>
                    <a:pt x="3440" y="1008"/>
                  </a:cubicBezTo>
                  <a:cubicBezTo>
                    <a:pt x="3448" y="1008"/>
                    <a:pt x="3453" y="1003"/>
                    <a:pt x="3451" y="997"/>
                  </a:cubicBezTo>
                  <a:cubicBezTo>
                    <a:pt x="3450" y="992"/>
                    <a:pt x="3442" y="987"/>
                    <a:pt x="3434" y="987"/>
                  </a:cubicBezTo>
                  <a:cubicBezTo>
                    <a:pt x="3433" y="987"/>
                    <a:pt x="3433" y="987"/>
                    <a:pt x="3433" y="987"/>
                  </a:cubicBezTo>
                  <a:moveTo>
                    <a:pt x="2552" y="987"/>
                  </a:moveTo>
                  <a:cubicBezTo>
                    <a:pt x="2544" y="987"/>
                    <a:pt x="2537" y="992"/>
                    <a:pt x="2537" y="997"/>
                  </a:cubicBezTo>
                  <a:cubicBezTo>
                    <a:pt x="2537" y="1003"/>
                    <a:pt x="2544" y="1008"/>
                    <a:pt x="2552" y="1008"/>
                  </a:cubicBezTo>
                  <a:cubicBezTo>
                    <a:pt x="2560" y="1007"/>
                    <a:pt x="2567" y="1003"/>
                    <a:pt x="2567" y="997"/>
                  </a:cubicBezTo>
                  <a:cubicBezTo>
                    <a:pt x="2567" y="992"/>
                    <a:pt x="2560" y="987"/>
                    <a:pt x="2552" y="987"/>
                  </a:cubicBezTo>
                  <a:cubicBezTo>
                    <a:pt x="2552" y="987"/>
                    <a:pt x="2552" y="987"/>
                    <a:pt x="2552" y="987"/>
                  </a:cubicBezTo>
                  <a:moveTo>
                    <a:pt x="3476" y="987"/>
                  </a:moveTo>
                  <a:cubicBezTo>
                    <a:pt x="3467" y="987"/>
                    <a:pt x="3462" y="992"/>
                    <a:pt x="3464" y="997"/>
                  </a:cubicBezTo>
                  <a:cubicBezTo>
                    <a:pt x="3466" y="1003"/>
                    <a:pt x="3474" y="1008"/>
                    <a:pt x="3482" y="1007"/>
                  </a:cubicBezTo>
                  <a:cubicBezTo>
                    <a:pt x="3490" y="1007"/>
                    <a:pt x="3496" y="1003"/>
                    <a:pt x="3494" y="997"/>
                  </a:cubicBezTo>
                  <a:cubicBezTo>
                    <a:pt x="3492" y="992"/>
                    <a:pt x="3484" y="987"/>
                    <a:pt x="3476" y="987"/>
                  </a:cubicBezTo>
                  <a:cubicBezTo>
                    <a:pt x="3476" y="987"/>
                    <a:pt x="3476" y="987"/>
                    <a:pt x="3476" y="987"/>
                  </a:cubicBezTo>
                  <a:moveTo>
                    <a:pt x="2594" y="987"/>
                  </a:moveTo>
                  <a:cubicBezTo>
                    <a:pt x="2586" y="987"/>
                    <a:pt x="2580" y="992"/>
                    <a:pt x="2580" y="997"/>
                  </a:cubicBezTo>
                  <a:cubicBezTo>
                    <a:pt x="2580" y="1003"/>
                    <a:pt x="2587" y="1007"/>
                    <a:pt x="2595" y="1007"/>
                  </a:cubicBezTo>
                  <a:cubicBezTo>
                    <a:pt x="2603" y="1007"/>
                    <a:pt x="2610" y="1003"/>
                    <a:pt x="2609" y="997"/>
                  </a:cubicBezTo>
                  <a:cubicBezTo>
                    <a:pt x="2609" y="991"/>
                    <a:pt x="2602" y="987"/>
                    <a:pt x="2594" y="987"/>
                  </a:cubicBezTo>
                  <a:cubicBezTo>
                    <a:pt x="2594" y="987"/>
                    <a:pt x="2594" y="987"/>
                    <a:pt x="2594" y="987"/>
                  </a:cubicBezTo>
                  <a:moveTo>
                    <a:pt x="2636" y="987"/>
                  </a:moveTo>
                  <a:cubicBezTo>
                    <a:pt x="2628" y="987"/>
                    <a:pt x="2621" y="991"/>
                    <a:pt x="2622" y="997"/>
                  </a:cubicBezTo>
                  <a:cubicBezTo>
                    <a:pt x="2622" y="1003"/>
                    <a:pt x="2629" y="1007"/>
                    <a:pt x="2637" y="1007"/>
                  </a:cubicBezTo>
                  <a:cubicBezTo>
                    <a:pt x="2645" y="1007"/>
                    <a:pt x="2652" y="1003"/>
                    <a:pt x="2651" y="997"/>
                  </a:cubicBezTo>
                  <a:cubicBezTo>
                    <a:pt x="2651" y="991"/>
                    <a:pt x="2644" y="987"/>
                    <a:pt x="2636" y="987"/>
                  </a:cubicBezTo>
                  <a:cubicBezTo>
                    <a:pt x="2636" y="987"/>
                    <a:pt x="2636" y="987"/>
                    <a:pt x="2636" y="987"/>
                  </a:cubicBezTo>
                  <a:moveTo>
                    <a:pt x="2678" y="987"/>
                  </a:moveTo>
                  <a:cubicBezTo>
                    <a:pt x="2670" y="987"/>
                    <a:pt x="2664" y="991"/>
                    <a:pt x="2664" y="997"/>
                  </a:cubicBezTo>
                  <a:cubicBezTo>
                    <a:pt x="2665" y="1003"/>
                    <a:pt x="2672" y="1007"/>
                    <a:pt x="2680" y="1007"/>
                  </a:cubicBezTo>
                  <a:cubicBezTo>
                    <a:pt x="2688" y="1007"/>
                    <a:pt x="2694" y="1002"/>
                    <a:pt x="2694" y="997"/>
                  </a:cubicBezTo>
                  <a:cubicBezTo>
                    <a:pt x="2693" y="991"/>
                    <a:pt x="2687" y="987"/>
                    <a:pt x="2678" y="987"/>
                  </a:cubicBezTo>
                  <a:cubicBezTo>
                    <a:pt x="2678" y="987"/>
                    <a:pt x="2678" y="987"/>
                    <a:pt x="2678" y="987"/>
                  </a:cubicBezTo>
                  <a:moveTo>
                    <a:pt x="2719" y="986"/>
                  </a:moveTo>
                  <a:cubicBezTo>
                    <a:pt x="2711" y="986"/>
                    <a:pt x="2705" y="991"/>
                    <a:pt x="2705" y="997"/>
                  </a:cubicBezTo>
                  <a:cubicBezTo>
                    <a:pt x="2705" y="1002"/>
                    <a:pt x="2712" y="1007"/>
                    <a:pt x="2721" y="1007"/>
                  </a:cubicBezTo>
                  <a:cubicBezTo>
                    <a:pt x="2729" y="1007"/>
                    <a:pt x="2735" y="1002"/>
                    <a:pt x="2734" y="997"/>
                  </a:cubicBezTo>
                  <a:cubicBezTo>
                    <a:pt x="2734" y="991"/>
                    <a:pt x="2727" y="986"/>
                    <a:pt x="2719" y="986"/>
                  </a:cubicBezTo>
                  <a:cubicBezTo>
                    <a:pt x="2719" y="986"/>
                    <a:pt x="2719" y="986"/>
                    <a:pt x="2719" y="986"/>
                  </a:cubicBezTo>
                  <a:moveTo>
                    <a:pt x="2761" y="986"/>
                  </a:moveTo>
                  <a:cubicBezTo>
                    <a:pt x="2753" y="986"/>
                    <a:pt x="2747" y="991"/>
                    <a:pt x="2747" y="997"/>
                  </a:cubicBezTo>
                  <a:cubicBezTo>
                    <a:pt x="2748" y="1002"/>
                    <a:pt x="2755" y="1007"/>
                    <a:pt x="2763" y="1007"/>
                  </a:cubicBezTo>
                  <a:cubicBezTo>
                    <a:pt x="2771" y="1007"/>
                    <a:pt x="2778" y="1002"/>
                    <a:pt x="2777" y="996"/>
                  </a:cubicBezTo>
                  <a:cubicBezTo>
                    <a:pt x="2776" y="991"/>
                    <a:pt x="2769" y="986"/>
                    <a:pt x="2761" y="986"/>
                  </a:cubicBezTo>
                  <a:cubicBezTo>
                    <a:pt x="2761" y="986"/>
                    <a:pt x="2761" y="986"/>
                    <a:pt x="2761" y="986"/>
                  </a:cubicBezTo>
                  <a:moveTo>
                    <a:pt x="2802" y="986"/>
                  </a:moveTo>
                  <a:cubicBezTo>
                    <a:pt x="2794" y="986"/>
                    <a:pt x="2788" y="991"/>
                    <a:pt x="2788" y="996"/>
                  </a:cubicBezTo>
                  <a:cubicBezTo>
                    <a:pt x="2789" y="1002"/>
                    <a:pt x="2796" y="1007"/>
                    <a:pt x="2804" y="1007"/>
                  </a:cubicBezTo>
                  <a:cubicBezTo>
                    <a:pt x="2812" y="1007"/>
                    <a:pt x="2818" y="1002"/>
                    <a:pt x="2818" y="996"/>
                  </a:cubicBezTo>
                  <a:cubicBezTo>
                    <a:pt x="2817" y="991"/>
                    <a:pt x="2810" y="986"/>
                    <a:pt x="2802" y="986"/>
                  </a:cubicBezTo>
                  <a:cubicBezTo>
                    <a:pt x="2802" y="986"/>
                    <a:pt x="2802" y="986"/>
                    <a:pt x="2802" y="986"/>
                  </a:cubicBezTo>
                  <a:moveTo>
                    <a:pt x="2846" y="986"/>
                  </a:moveTo>
                  <a:cubicBezTo>
                    <a:pt x="2838" y="986"/>
                    <a:pt x="2832" y="991"/>
                    <a:pt x="2833" y="996"/>
                  </a:cubicBezTo>
                  <a:cubicBezTo>
                    <a:pt x="2833" y="1002"/>
                    <a:pt x="2840" y="1006"/>
                    <a:pt x="2849" y="1006"/>
                  </a:cubicBezTo>
                  <a:cubicBezTo>
                    <a:pt x="2857" y="1006"/>
                    <a:pt x="2863" y="1002"/>
                    <a:pt x="2862" y="996"/>
                  </a:cubicBezTo>
                  <a:cubicBezTo>
                    <a:pt x="2861" y="991"/>
                    <a:pt x="2854" y="986"/>
                    <a:pt x="2846" y="986"/>
                  </a:cubicBezTo>
                  <a:cubicBezTo>
                    <a:pt x="2846" y="986"/>
                    <a:pt x="2846" y="986"/>
                    <a:pt x="2846" y="986"/>
                  </a:cubicBezTo>
                  <a:moveTo>
                    <a:pt x="2889" y="986"/>
                  </a:moveTo>
                  <a:cubicBezTo>
                    <a:pt x="2880" y="986"/>
                    <a:pt x="2874" y="990"/>
                    <a:pt x="2875" y="996"/>
                  </a:cubicBezTo>
                  <a:cubicBezTo>
                    <a:pt x="2876" y="1002"/>
                    <a:pt x="2883" y="1006"/>
                    <a:pt x="2891" y="1006"/>
                  </a:cubicBezTo>
                  <a:cubicBezTo>
                    <a:pt x="2899" y="1006"/>
                    <a:pt x="2905" y="1002"/>
                    <a:pt x="2905" y="996"/>
                  </a:cubicBezTo>
                  <a:cubicBezTo>
                    <a:pt x="2904" y="990"/>
                    <a:pt x="2897" y="986"/>
                    <a:pt x="2889" y="986"/>
                  </a:cubicBezTo>
                  <a:cubicBezTo>
                    <a:pt x="2889" y="986"/>
                    <a:pt x="2889" y="986"/>
                    <a:pt x="2889" y="986"/>
                  </a:cubicBezTo>
                  <a:moveTo>
                    <a:pt x="2931" y="986"/>
                  </a:moveTo>
                  <a:cubicBezTo>
                    <a:pt x="2923" y="986"/>
                    <a:pt x="2917" y="990"/>
                    <a:pt x="2918" y="996"/>
                  </a:cubicBezTo>
                  <a:cubicBezTo>
                    <a:pt x="2919" y="1002"/>
                    <a:pt x="2926" y="1006"/>
                    <a:pt x="2935" y="1006"/>
                  </a:cubicBezTo>
                  <a:cubicBezTo>
                    <a:pt x="2943" y="1006"/>
                    <a:pt x="2949" y="1001"/>
                    <a:pt x="2948" y="996"/>
                  </a:cubicBezTo>
                  <a:cubicBezTo>
                    <a:pt x="2947" y="990"/>
                    <a:pt x="2940" y="986"/>
                    <a:pt x="2932" y="986"/>
                  </a:cubicBezTo>
                  <a:cubicBezTo>
                    <a:pt x="2932" y="986"/>
                    <a:pt x="2931" y="986"/>
                    <a:pt x="2931" y="986"/>
                  </a:cubicBezTo>
                  <a:moveTo>
                    <a:pt x="3854" y="985"/>
                  </a:moveTo>
                  <a:cubicBezTo>
                    <a:pt x="3846" y="985"/>
                    <a:pt x="3841" y="990"/>
                    <a:pt x="3844" y="995"/>
                  </a:cubicBezTo>
                  <a:cubicBezTo>
                    <a:pt x="3847" y="1001"/>
                    <a:pt x="3855" y="1006"/>
                    <a:pt x="3863" y="1006"/>
                  </a:cubicBezTo>
                  <a:cubicBezTo>
                    <a:pt x="3872" y="1005"/>
                    <a:pt x="3876" y="1001"/>
                    <a:pt x="3873" y="995"/>
                  </a:cubicBezTo>
                  <a:cubicBezTo>
                    <a:pt x="3871" y="990"/>
                    <a:pt x="3862" y="985"/>
                    <a:pt x="3854" y="985"/>
                  </a:cubicBezTo>
                  <a:cubicBezTo>
                    <a:pt x="3854" y="985"/>
                    <a:pt x="3854" y="985"/>
                    <a:pt x="3854" y="985"/>
                  </a:cubicBezTo>
                  <a:moveTo>
                    <a:pt x="3982" y="983"/>
                  </a:moveTo>
                  <a:cubicBezTo>
                    <a:pt x="3973" y="983"/>
                    <a:pt x="3969" y="988"/>
                    <a:pt x="3972" y="994"/>
                  </a:cubicBezTo>
                  <a:cubicBezTo>
                    <a:pt x="3975" y="999"/>
                    <a:pt x="3984" y="1004"/>
                    <a:pt x="3992" y="1004"/>
                  </a:cubicBezTo>
                  <a:cubicBezTo>
                    <a:pt x="4000" y="1004"/>
                    <a:pt x="4004" y="999"/>
                    <a:pt x="4001" y="994"/>
                  </a:cubicBezTo>
                  <a:cubicBezTo>
                    <a:pt x="3999" y="988"/>
                    <a:pt x="3990" y="983"/>
                    <a:pt x="3982" y="983"/>
                  </a:cubicBezTo>
                  <a:cubicBezTo>
                    <a:pt x="3982" y="983"/>
                    <a:pt x="3982" y="983"/>
                    <a:pt x="3982" y="983"/>
                  </a:cubicBezTo>
                  <a:moveTo>
                    <a:pt x="4232" y="981"/>
                  </a:moveTo>
                  <a:cubicBezTo>
                    <a:pt x="4224" y="981"/>
                    <a:pt x="4220" y="986"/>
                    <a:pt x="4223" y="991"/>
                  </a:cubicBezTo>
                  <a:cubicBezTo>
                    <a:pt x="4226" y="997"/>
                    <a:pt x="4236" y="1002"/>
                    <a:pt x="4244" y="1002"/>
                  </a:cubicBezTo>
                  <a:cubicBezTo>
                    <a:pt x="4252" y="1002"/>
                    <a:pt x="4256" y="997"/>
                    <a:pt x="4253" y="991"/>
                  </a:cubicBezTo>
                  <a:cubicBezTo>
                    <a:pt x="4249" y="986"/>
                    <a:pt x="4240" y="981"/>
                    <a:pt x="4232" y="981"/>
                  </a:cubicBezTo>
                  <a:cubicBezTo>
                    <a:pt x="4232" y="981"/>
                    <a:pt x="4232" y="981"/>
                    <a:pt x="4232" y="981"/>
                  </a:cubicBezTo>
                  <a:moveTo>
                    <a:pt x="4323" y="981"/>
                  </a:moveTo>
                  <a:cubicBezTo>
                    <a:pt x="4315" y="981"/>
                    <a:pt x="4311" y="985"/>
                    <a:pt x="4314" y="991"/>
                  </a:cubicBezTo>
                  <a:cubicBezTo>
                    <a:pt x="4318" y="997"/>
                    <a:pt x="4327" y="1001"/>
                    <a:pt x="4335" y="1001"/>
                  </a:cubicBezTo>
                  <a:cubicBezTo>
                    <a:pt x="4344" y="1001"/>
                    <a:pt x="4347" y="997"/>
                    <a:pt x="4344" y="991"/>
                  </a:cubicBezTo>
                  <a:cubicBezTo>
                    <a:pt x="4340" y="985"/>
                    <a:pt x="4331" y="981"/>
                    <a:pt x="4323" y="981"/>
                  </a:cubicBezTo>
                  <a:cubicBezTo>
                    <a:pt x="4323" y="981"/>
                    <a:pt x="4323" y="981"/>
                    <a:pt x="4323" y="981"/>
                  </a:cubicBezTo>
                  <a:moveTo>
                    <a:pt x="301" y="967"/>
                  </a:moveTo>
                  <a:cubicBezTo>
                    <a:pt x="293" y="967"/>
                    <a:pt x="283" y="972"/>
                    <a:pt x="279" y="977"/>
                  </a:cubicBezTo>
                  <a:cubicBezTo>
                    <a:pt x="275" y="983"/>
                    <a:pt x="278" y="987"/>
                    <a:pt x="286" y="987"/>
                  </a:cubicBezTo>
                  <a:cubicBezTo>
                    <a:pt x="294" y="987"/>
                    <a:pt x="304" y="983"/>
                    <a:pt x="308" y="977"/>
                  </a:cubicBezTo>
                  <a:cubicBezTo>
                    <a:pt x="312" y="972"/>
                    <a:pt x="309" y="967"/>
                    <a:pt x="301" y="967"/>
                  </a:cubicBezTo>
                  <a:cubicBezTo>
                    <a:pt x="301" y="967"/>
                    <a:pt x="301" y="967"/>
                    <a:pt x="301" y="967"/>
                  </a:cubicBezTo>
                  <a:moveTo>
                    <a:pt x="342" y="967"/>
                  </a:moveTo>
                  <a:cubicBezTo>
                    <a:pt x="334" y="967"/>
                    <a:pt x="324" y="972"/>
                    <a:pt x="320" y="977"/>
                  </a:cubicBezTo>
                  <a:cubicBezTo>
                    <a:pt x="316" y="983"/>
                    <a:pt x="320" y="987"/>
                    <a:pt x="328" y="987"/>
                  </a:cubicBezTo>
                  <a:cubicBezTo>
                    <a:pt x="336" y="987"/>
                    <a:pt x="346" y="983"/>
                    <a:pt x="350" y="977"/>
                  </a:cubicBezTo>
                  <a:cubicBezTo>
                    <a:pt x="354" y="971"/>
                    <a:pt x="350" y="967"/>
                    <a:pt x="342" y="967"/>
                  </a:cubicBezTo>
                  <a:cubicBezTo>
                    <a:pt x="342" y="967"/>
                    <a:pt x="342" y="967"/>
                    <a:pt x="342" y="967"/>
                  </a:cubicBezTo>
                  <a:moveTo>
                    <a:pt x="550" y="965"/>
                  </a:moveTo>
                  <a:cubicBezTo>
                    <a:pt x="542" y="965"/>
                    <a:pt x="533" y="970"/>
                    <a:pt x="529" y="975"/>
                  </a:cubicBezTo>
                  <a:cubicBezTo>
                    <a:pt x="526" y="981"/>
                    <a:pt x="529" y="985"/>
                    <a:pt x="537" y="985"/>
                  </a:cubicBezTo>
                  <a:cubicBezTo>
                    <a:pt x="545" y="985"/>
                    <a:pt x="555" y="981"/>
                    <a:pt x="558" y="975"/>
                  </a:cubicBezTo>
                  <a:cubicBezTo>
                    <a:pt x="562" y="970"/>
                    <a:pt x="558" y="965"/>
                    <a:pt x="550" y="965"/>
                  </a:cubicBezTo>
                  <a:cubicBezTo>
                    <a:pt x="550" y="965"/>
                    <a:pt x="550" y="965"/>
                    <a:pt x="550" y="965"/>
                  </a:cubicBezTo>
                  <a:moveTo>
                    <a:pt x="635" y="965"/>
                  </a:moveTo>
                  <a:cubicBezTo>
                    <a:pt x="627" y="965"/>
                    <a:pt x="618" y="969"/>
                    <a:pt x="614" y="975"/>
                  </a:cubicBezTo>
                  <a:cubicBezTo>
                    <a:pt x="611" y="980"/>
                    <a:pt x="615" y="985"/>
                    <a:pt x="623" y="985"/>
                  </a:cubicBezTo>
                  <a:cubicBezTo>
                    <a:pt x="631" y="985"/>
                    <a:pt x="640" y="980"/>
                    <a:pt x="644" y="975"/>
                  </a:cubicBezTo>
                  <a:cubicBezTo>
                    <a:pt x="647" y="969"/>
                    <a:pt x="643" y="965"/>
                    <a:pt x="635" y="965"/>
                  </a:cubicBezTo>
                  <a:cubicBezTo>
                    <a:pt x="635" y="965"/>
                    <a:pt x="635" y="965"/>
                    <a:pt x="635" y="965"/>
                  </a:cubicBezTo>
                  <a:moveTo>
                    <a:pt x="1677" y="962"/>
                  </a:moveTo>
                  <a:cubicBezTo>
                    <a:pt x="1669" y="962"/>
                    <a:pt x="1662" y="967"/>
                    <a:pt x="1660" y="973"/>
                  </a:cubicBezTo>
                  <a:cubicBezTo>
                    <a:pt x="1659" y="978"/>
                    <a:pt x="1664" y="983"/>
                    <a:pt x="1672" y="983"/>
                  </a:cubicBezTo>
                  <a:cubicBezTo>
                    <a:pt x="1680" y="983"/>
                    <a:pt x="1688" y="978"/>
                    <a:pt x="1689" y="973"/>
                  </a:cubicBezTo>
                  <a:cubicBezTo>
                    <a:pt x="1691" y="967"/>
                    <a:pt x="1686" y="962"/>
                    <a:pt x="1678" y="962"/>
                  </a:cubicBezTo>
                  <a:cubicBezTo>
                    <a:pt x="1678" y="962"/>
                    <a:pt x="1678" y="962"/>
                    <a:pt x="1677" y="962"/>
                  </a:cubicBezTo>
                  <a:moveTo>
                    <a:pt x="1717" y="962"/>
                  </a:moveTo>
                  <a:cubicBezTo>
                    <a:pt x="1709" y="962"/>
                    <a:pt x="1701" y="967"/>
                    <a:pt x="1699" y="972"/>
                  </a:cubicBezTo>
                  <a:cubicBezTo>
                    <a:pt x="1698" y="978"/>
                    <a:pt x="1703" y="983"/>
                    <a:pt x="1712" y="983"/>
                  </a:cubicBezTo>
                  <a:cubicBezTo>
                    <a:pt x="1720" y="983"/>
                    <a:pt x="1727" y="978"/>
                    <a:pt x="1729" y="972"/>
                  </a:cubicBezTo>
                  <a:cubicBezTo>
                    <a:pt x="1730" y="967"/>
                    <a:pt x="1725" y="962"/>
                    <a:pt x="1717" y="962"/>
                  </a:cubicBezTo>
                  <a:cubicBezTo>
                    <a:pt x="1717" y="962"/>
                    <a:pt x="1717" y="962"/>
                    <a:pt x="1717" y="962"/>
                  </a:cubicBezTo>
                  <a:moveTo>
                    <a:pt x="1758" y="962"/>
                  </a:moveTo>
                  <a:cubicBezTo>
                    <a:pt x="1750" y="962"/>
                    <a:pt x="1742" y="967"/>
                    <a:pt x="1741" y="972"/>
                  </a:cubicBezTo>
                  <a:cubicBezTo>
                    <a:pt x="1740" y="978"/>
                    <a:pt x="1745" y="983"/>
                    <a:pt x="1753" y="982"/>
                  </a:cubicBezTo>
                  <a:cubicBezTo>
                    <a:pt x="1761" y="982"/>
                    <a:pt x="1769" y="978"/>
                    <a:pt x="1770" y="972"/>
                  </a:cubicBezTo>
                  <a:cubicBezTo>
                    <a:pt x="1772" y="967"/>
                    <a:pt x="1766" y="962"/>
                    <a:pt x="1758" y="962"/>
                  </a:cubicBezTo>
                  <a:cubicBezTo>
                    <a:pt x="1758" y="962"/>
                    <a:pt x="1758" y="962"/>
                    <a:pt x="1758" y="962"/>
                  </a:cubicBezTo>
                  <a:moveTo>
                    <a:pt x="1800" y="962"/>
                  </a:moveTo>
                  <a:cubicBezTo>
                    <a:pt x="1792" y="962"/>
                    <a:pt x="1784" y="967"/>
                    <a:pt x="1783" y="972"/>
                  </a:cubicBezTo>
                  <a:cubicBezTo>
                    <a:pt x="1782" y="978"/>
                    <a:pt x="1787" y="982"/>
                    <a:pt x="1795" y="982"/>
                  </a:cubicBezTo>
                  <a:cubicBezTo>
                    <a:pt x="1803" y="982"/>
                    <a:pt x="1811" y="978"/>
                    <a:pt x="1812" y="972"/>
                  </a:cubicBezTo>
                  <a:cubicBezTo>
                    <a:pt x="1813" y="966"/>
                    <a:pt x="1808" y="962"/>
                    <a:pt x="1800" y="962"/>
                  </a:cubicBezTo>
                  <a:cubicBezTo>
                    <a:pt x="1800" y="962"/>
                    <a:pt x="1800" y="962"/>
                    <a:pt x="1800" y="962"/>
                  </a:cubicBezTo>
                  <a:moveTo>
                    <a:pt x="1842" y="962"/>
                  </a:moveTo>
                  <a:cubicBezTo>
                    <a:pt x="1834" y="962"/>
                    <a:pt x="1826" y="966"/>
                    <a:pt x="1825" y="972"/>
                  </a:cubicBezTo>
                  <a:cubicBezTo>
                    <a:pt x="1824" y="978"/>
                    <a:pt x="1830" y="982"/>
                    <a:pt x="1838" y="982"/>
                  </a:cubicBezTo>
                  <a:cubicBezTo>
                    <a:pt x="1846" y="982"/>
                    <a:pt x="1853" y="978"/>
                    <a:pt x="1855" y="972"/>
                  </a:cubicBezTo>
                  <a:cubicBezTo>
                    <a:pt x="1856" y="966"/>
                    <a:pt x="1850" y="962"/>
                    <a:pt x="1842" y="962"/>
                  </a:cubicBezTo>
                  <a:cubicBezTo>
                    <a:pt x="1842" y="962"/>
                    <a:pt x="1842" y="962"/>
                    <a:pt x="1842" y="962"/>
                  </a:cubicBezTo>
                  <a:moveTo>
                    <a:pt x="1883" y="962"/>
                  </a:moveTo>
                  <a:cubicBezTo>
                    <a:pt x="1875" y="962"/>
                    <a:pt x="1868" y="966"/>
                    <a:pt x="1867" y="972"/>
                  </a:cubicBezTo>
                  <a:cubicBezTo>
                    <a:pt x="1866" y="977"/>
                    <a:pt x="1871" y="982"/>
                    <a:pt x="1879" y="982"/>
                  </a:cubicBezTo>
                  <a:cubicBezTo>
                    <a:pt x="1888" y="982"/>
                    <a:pt x="1895" y="977"/>
                    <a:pt x="1896" y="972"/>
                  </a:cubicBezTo>
                  <a:cubicBezTo>
                    <a:pt x="1897" y="966"/>
                    <a:pt x="1892" y="962"/>
                    <a:pt x="1884" y="962"/>
                  </a:cubicBezTo>
                  <a:cubicBezTo>
                    <a:pt x="1884" y="962"/>
                    <a:pt x="1883" y="962"/>
                    <a:pt x="1883" y="962"/>
                  </a:cubicBezTo>
                  <a:moveTo>
                    <a:pt x="1925" y="961"/>
                  </a:moveTo>
                  <a:cubicBezTo>
                    <a:pt x="1917" y="961"/>
                    <a:pt x="1910" y="966"/>
                    <a:pt x="1909" y="972"/>
                  </a:cubicBezTo>
                  <a:cubicBezTo>
                    <a:pt x="1908" y="977"/>
                    <a:pt x="1913" y="982"/>
                    <a:pt x="1921" y="982"/>
                  </a:cubicBezTo>
                  <a:cubicBezTo>
                    <a:pt x="1929" y="982"/>
                    <a:pt x="1937" y="977"/>
                    <a:pt x="1938" y="972"/>
                  </a:cubicBezTo>
                  <a:cubicBezTo>
                    <a:pt x="1939" y="966"/>
                    <a:pt x="1933" y="961"/>
                    <a:pt x="1925" y="961"/>
                  </a:cubicBezTo>
                  <a:cubicBezTo>
                    <a:pt x="1925" y="961"/>
                    <a:pt x="1925" y="961"/>
                    <a:pt x="1925" y="961"/>
                  </a:cubicBezTo>
                  <a:moveTo>
                    <a:pt x="1967" y="961"/>
                  </a:moveTo>
                  <a:cubicBezTo>
                    <a:pt x="1958" y="961"/>
                    <a:pt x="1951" y="966"/>
                    <a:pt x="1950" y="972"/>
                  </a:cubicBezTo>
                  <a:cubicBezTo>
                    <a:pt x="1949" y="977"/>
                    <a:pt x="1955" y="982"/>
                    <a:pt x="1963" y="982"/>
                  </a:cubicBezTo>
                  <a:cubicBezTo>
                    <a:pt x="1971" y="982"/>
                    <a:pt x="1979" y="977"/>
                    <a:pt x="1979" y="971"/>
                  </a:cubicBezTo>
                  <a:cubicBezTo>
                    <a:pt x="1980" y="966"/>
                    <a:pt x="1975" y="961"/>
                    <a:pt x="1967" y="961"/>
                  </a:cubicBezTo>
                  <a:cubicBezTo>
                    <a:pt x="1967" y="961"/>
                    <a:pt x="1967" y="961"/>
                    <a:pt x="1967" y="961"/>
                  </a:cubicBezTo>
                  <a:moveTo>
                    <a:pt x="2008" y="961"/>
                  </a:moveTo>
                  <a:cubicBezTo>
                    <a:pt x="2000" y="961"/>
                    <a:pt x="1993" y="966"/>
                    <a:pt x="1992" y="971"/>
                  </a:cubicBezTo>
                  <a:cubicBezTo>
                    <a:pt x="1991" y="977"/>
                    <a:pt x="1997" y="982"/>
                    <a:pt x="2005" y="982"/>
                  </a:cubicBezTo>
                  <a:cubicBezTo>
                    <a:pt x="2013" y="982"/>
                    <a:pt x="2020" y="977"/>
                    <a:pt x="2021" y="971"/>
                  </a:cubicBezTo>
                  <a:cubicBezTo>
                    <a:pt x="2022" y="966"/>
                    <a:pt x="2016" y="961"/>
                    <a:pt x="2008" y="961"/>
                  </a:cubicBezTo>
                  <a:cubicBezTo>
                    <a:pt x="2008" y="961"/>
                    <a:pt x="2008" y="961"/>
                    <a:pt x="2008" y="961"/>
                  </a:cubicBezTo>
                  <a:moveTo>
                    <a:pt x="2051" y="961"/>
                  </a:moveTo>
                  <a:cubicBezTo>
                    <a:pt x="2043" y="961"/>
                    <a:pt x="2036" y="966"/>
                    <a:pt x="2035" y="971"/>
                  </a:cubicBezTo>
                  <a:cubicBezTo>
                    <a:pt x="2034" y="977"/>
                    <a:pt x="2040" y="981"/>
                    <a:pt x="2048" y="981"/>
                  </a:cubicBezTo>
                  <a:cubicBezTo>
                    <a:pt x="2057" y="981"/>
                    <a:pt x="2064" y="977"/>
                    <a:pt x="2064" y="971"/>
                  </a:cubicBezTo>
                  <a:cubicBezTo>
                    <a:pt x="2065" y="965"/>
                    <a:pt x="2059" y="961"/>
                    <a:pt x="2051" y="961"/>
                  </a:cubicBezTo>
                  <a:cubicBezTo>
                    <a:pt x="2051" y="961"/>
                    <a:pt x="2051" y="961"/>
                    <a:pt x="2051" y="961"/>
                  </a:cubicBezTo>
                  <a:moveTo>
                    <a:pt x="2093" y="961"/>
                  </a:moveTo>
                  <a:cubicBezTo>
                    <a:pt x="2085" y="961"/>
                    <a:pt x="2078" y="965"/>
                    <a:pt x="2077" y="971"/>
                  </a:cubicBezTo>
                  <a:cubicBezTo>
                    <a:pt x="2076" y="977"/>
                    <a:pt x="2082" y="981"/>
                    <a:pt x="2090" y="981"/>
                  </a:cubicBezTo>
                  <a:cubicBezTo>
                    <a:pt x="2098" y="981"/>
                    <a:pt x="2105" y="977"/>
                    <a:pt x="2106" y="971"/>
                  </a:cubicBezTo>
                  <a:cubicBezTo>
                    <a:pt x="2107" y="965"/>
                    <a:pt x="2101" y="961"/>
                    <a:pt x="2093" y="961"/>
                  </a:cubicBezTo>
                  <a:cubicBezTo>
                    <a:pt x="2093" y="961"/>
                    <a:pt x="2093" y="961"/>
                    <a:pt x="2093" y="961"/>
                  </a:cubicBezTo>
                  <a:moveTo>
                    <a:pt x="2134" y="961"/>
                  </a:moveTo>
                  <a:cubicBezTo>
                    <a:pt x="2126" y="961"/>
                    <a:pt x="2119" y="965"/>
                    <a:pt x="2119" y="971"/>
                  </a:cubicBezTo>
                  <a:cubicBezTo>
                    <a:pt x="2118" y="977"/>
                    <a:pt x="2124" y="981"/>
                    <a:pt x="2132" y="981"/>
                  </a:cubicBezTo>
                  <a:cubicBezTo>
                    <a:pt x="2140" y="981"/>
                    <a:pt x="2147" y="976"/>
                    <a:pt x="2148" y="971"/>
                  </a:cubicBezTo>
                  <a:cubicBezTo>
                    <a:pt x="2149" y="965"/>
                    <a:pt x="2143" y="961"/>
                    <a:pt x="2135" y="961"/>
                  </a:cubicBezTo>
                  <a:cubicBezTo>
                    <a:pt x="2135" y="961"/>
                    <a:pt x="2134" y="961"/>
                    <a:pt x="2134" y="961"/>
                  </a:cubicBezTo>
                  <a:moveTo>
                    <a:pt x="2177" y="960"/>
                  </a:moveTo>
                  <a:cubicBezTo>
                    <a:pt x="2169" y="961"/>
                    <a:pt x="2162" y="965"/>
                    <a:pt x="2161" y="971"/>
                  </a:cubicBezTo>
                  <a:cubicBezTo>
                    <a:pt x="2160" y="976"/>
                    <a:pt x="2166" y="981"/>
                    <a:pt x="2175" y="981"/>
                  </a:cubicBezTo>
                  <a:cubicBezTo>
                    <a:pt x="2183" y="981"/>
                    <a:pt x="2190" y="976"/>
                    <a:pt x="2190" y="971"/>
                  </a:cubicBezTo>
                  <a:cubicBezTo>
                    <a:pt x="2191" y="965"/>
                    <a:pt x="2185" y="960"/>
                    <a:pt x="2177" y="960"/>
                  </a:cubicBezTo>
                  <a:cubicBezTo>
                    <a:pt x="2177" y="960"/>
                    <a:pt x="2177" y="960"/>
                    <a:pt x="2177" y="960"/>
                  </a:cubicBezTo>
                  <a:moveTo>
                    <a:pt x="2218" y="960"/>
                  </a:moveTo>
                  <a:cubicBezTo>
                    <a:pt x="2210" y="960"/>
                    <a:pt x="2203" y="965"/>
                    <a:pt x="2202" y="971"/>
                  </a:cubicBezTo>
                  <a:cubicBezTo>
                    <a:pt x="2202" y="976"/>
                    <a:pt x="2208" y="981"/>
                    <a:pt x="2216" y="981"/>
                  </a:cubicBezTo>
                  <a:cubicBezTo>
                    <a:pt x="2224" y="981"/>
                    <a:pt x="2231" y="976"/>
                    <a:pt x="2232" y="970"/>
                  </a:cubicBezTo>
                  <a:cubicBezTo>
                    <a:pt x="2232" y="965"/>
                    <a:pt x="2226" y="960"/>
                    <a:pt x="2218" y="960"/>
                  </a:cubicBezTo>
                  <a:cubicBezTo>
                    <a:pt x="2218" y="960"/>
                    <a:pt x="2218" y="960"/>
                    <a:pt x="2218" y="960"/>
                  </a:cubicBezTo>
                  <a:moveTo>
                    <a:pt x="2260" y="960"/>
                  </a:moveTo>
                  <a:cubicBezTo>
                    <a:pt x="2252" y="960"/>
                    <a:pt x="2245" y="965"/>
                    <a:pt x="2244" y="970"/>
                  </a:cubicBezTo>
                  <a:cubicBezTo>
                    <a:pt x="2244" y="976"/>
                    <a:pt x="2250" y="981"/>
                    <a:pt x="2258" y="981"/>
                  </a:cubicBezTo>
                  <a:cubicBezTo>
                    <a:pt x="2266" y="981"/>
                    <a:pt x="2273" y="976"/>
                    <a:pt x="2273" y="970"/>
                  </a:cubicBezTo>
                  <a:cubicBezTo>
                    <a:pt x="2274" y="965"/>
                    <a:pt x="2268" y="960"/>
                    <a:pt x="2260" y="960"/>
                  </a:cubicBezTo>
                  <a:cubicBezTo>
                    <a:pt x="2260" y="960"/>
                    <a:pt x="2260" y="960"/>
                    <a:pt x="2260" y="960"/>
                  </a:cubicBezTo>
                  <a:moveTo>
                    <a:pt x="2301" y="960"/>
                  </a:moveTo>
                  <a:cubicBezTo>
                    <a:pt x="2293" y="960"/>
                    <a:pt x="2286" y="965"/>
                    <a:pt x="2286" y="970"/>
                  </a:cubicBezTo>
                  <a:cubicBezTo>
                    <a:pt x="2285" y="976"/>
                    <a:pt x="2292" y="980"/>
                    <a:pt x="2300" y="980"/>
                  </a:cubicBezTo>
                  <a:cubicBezTo>
                    <a:pt x="2308" y="980"/>
                    <a:pt x="2315" y="976"/>
                    <a:pt x="2315" y="970"/>
                  </a:cubicBezTo>
                  <a:cubicBezTo>
                    <a:pt x="2315" y="965"/>
                    <a:pt x="2309" y="960"/>
                    <a:pt x="2301" y="960"/>
                  </a:cubicBezTo>
                  <a:cubicBezTo>
                    <a:pt x="2301" y="960"/>
                    <a:pt x="2301" y="960"/>
                    <a:pt x="2301" y="960"/>
                  </a:cubicBezTo>
                  <a:moveTo>
                    <a:pt x="2343" y="960"/>
                  </a:moveTo>
                  <a:cubicBezTo>
                    <a:pt x="2335" y="960"/>
                    <a:pt x="2328" y="964"/>
                    <a:pt x="2328" y="970"/>
                  </a:cubicBezTo>
                  <a:cubicBezTo>
                    <a:pt x="2327" y="976"/>
                    <a:pt x="2334" y="980"/>
                    <a:pt x="2342" y="980"/>
                  </a:cubicBezTo>
                  <a:cubicBezTo>
                    <a:pt x="2350" y="980"/>
                    <a:pt x="2357" y="976"/>
                    <a:pt x="2357" y="970"/>
                  </a:cubicBezTo>
                  <a:cubicBezTo>
                    <a:pt x="2357" y="964"/>
                    <a:pt x="2351" y="960"/>
                    <a:pt x="2343" y="960"/>
                  </a:cubicBezTo>
                  <a:cubicBezTo>
                    <a:pt x="2343" y="960"/>
                    <a:pt x="2343" y="960"/>
                    <a:pt x="2343" y="960"/>
                  </a:cubicBezTo>
                  <a:moveTo>
                    <a:pt x="2385" y="960"/>
                  </a:moveTo>
                  <a:cubicBezTo>
                    <a:pt x="2377" y="960"/>
                    <a:pt x="2370" y="964"/>
                    <a:pt x="2370" y="970"/>
                  </a:cubicBezTo>
                  <a:cubicBezTo>
                    <a:pt x="2370" y="976"/>
                    <a:pt x="2376" y="980"/>
                    <a:pt x="2384" y="980"/>
                  </a:cubicBezTo>
                  <a:cubicBezTo>
                    <a:pt x="2392" y="980"/>
                    <a:pt x="2399" y="976"/>
                    <a:pt x="2399" y="970"/>
                  </a:cubicBezTo>
                  <a:cubicBezTo>
                    <a:pt x="2399" y="964"/>
                    <a:pt x="2393" y="960"/>
                    <a:pt x="2385" y="960"/>
                  </a:cubicBezTo>
                  <a:cubicBezTo>
                    <a:pt x="2385" y="960"/>
                    <a:pt x="2385" y="960"/>
                    <a:pt x="2385" y="960"/>
                  </a:cubicBezTo>
                  <a:moveTo>
                    <a:pt x="2426" y="960"/>
                  </a:moveTo>
                  <a:cubicBezTo>
                    <a:pt x="2418" y="960"/>
                    <a:pt x="2412" y="964"/>
                    <a:pt x="2411" y="970"/>
                  </a:cubicBezTo>
                  <a:cubicBezTo>
                    <a:pt x="2411" y="975"/>
                    <a:pt x="2418" y="980"/>
                    <a:pt x="2426" y="980"/>
                  </a:cubicBezTo>
                  <a:cubicBezTo>
                    <a:pt x="2434" y="980"/>
                    <a:pt x="2441" y="975"/>
                    <a:pt x="2441" y="970"/>
                  </a:cubicBezTo>
                  <a:cubicBezTo>
                    <a:pt x="2441" y="964"/>
                    <a:pt x="2434" y="960"/>
                    <a:pt x="2426" y="960"/>
                  </a:cubicBezTo>
                  <a:cubicBezTo>
                    <a:pt x="2426" y="960"/>
                    <a:pt x="2426" y="960"/>
                    <a:pt x="2426" y="960"/>
                  </a:cubicBezTo>
                  <a:moveTo>
                    <a:pt x="2468" y="959"/>
                  </a:moveTo>
                  <a:cubicBezTo>
                    <a:pt x="2460" y="959"/>
                    <a:pt x="2453" y="964"/>
                    <a:pt x="2453" y="970"/>
                  </a:cubicBezTo>
                  <a:cubicBezTo>
                    <a:pt x="2453" y="975"/>
                    <a:pt x="2460" y="980"/>
                    <a:pt x="2468" y="980"/>
                  </a:cubicBezTo>
                  <a:cubicBezTo>
                    <a:pt x="2476" y="980"/>
                    <a:pt x="2483" y="975"/>
                    <a:pt x="2483" y="970"/>
                  </a:cubicBezTo>
                  <a:cubicBezTo>
                    <a:pt x="2482" y="964"/>
                    <a:pt x="2476" y="959"/>
                    <a:pt x="2468" y="959"/>
                  </a:cubicBezTo>
                  <a:cubicBezTo>
                    <a:pt x="2468" y="959"/>
                    <a:pt x="2468" y="959"/>
                    <a:pt x="2468" y="959"/>
                  </a:cubicBezTo>
                  <a:moveTo>
                    <a:pt x="2509" y="959"/>
                  </a:moveTo>
                  <a:cubicBezTo>
                    <a:pt x="2501" y="959"/>
                    <a:pt x="2495" y="964"/>
                    <a:pt x="2495" y="969"/>
                  </a:cubicBezTo>
                  <a:cubicBezTo>
                    <a:pt x="2495" y="975"/>
                    <a:pt x="2501" y="980"/>
                    <a:pt x="2509" y="980"/>
                  </a:cubicBezTo>
                  <a:cubicBezTo>
                    <a:pt x="2518" y="980"/>
                    <a:pt x="2524" y="975"/>
                    <a:pt x="2524" y="969"/>
                  </a:cubicBezTo>
                  <a:cubicBezTo>
                    <a:pt x="2524" y="964"/>
                    <a:pt x="2517" y="959"/>
                    <a:pt x="2509" y="959"/>
                  </a:cubicBezTo>
                  <a:cubicBezTo>
                    <a:pt x="2509" y="959"/>
                    <a:pt x="2509" y="959"/>
                    <a:pt x="2509" y="959"/>
                  </a:cubicBezTo>
                  <a:moveTo>
                    <a:pt x="2551" y="959"/>
                  </a:moveTo>
                  <a:cubicBezTo>
                    <a:pt x="2543" y="959"/>
                    <a:pt x="2537" y="964"/>
                    <a:pt x="2537" y="969"/>
                  </a:cubicBezTo>
                  <a:cubicBezTo>
                    <a:pt x="2537" y="975"/>
                    <a:pt x="2543" y="980"/>
                    <a:pt x="2552" y="980"/>
                  </a:cubicBezTo>
                  <a:cubicBezTo>
                    <a:pt x="2560" y="979"/>
                    <a:pt x="2566" y="975"/>
                    <a:pt x="2566" y="969"/>
                  </a:cubicBezTo>
                  <a:cubicBezTo>
                    <a:pt x="2566" y="964"/>
                    <a:pt x="2559" y="959"/>
                    <a:pt x="2551" y="959"/>
                  </a:cubicBezTo>
                  <a:cubicBezTo>
                    <a:pt x="2551" y="959"/>
                    <a:pt x="2551" y="959"/>
                    <a:pt x="2551" y="959"/>
                  </a:cubicBezTo>
                  <a:moveTo>
                    <a:pt x="2593" y="959"/>
                  </a:moveTo>
                  <a:cubicBezTo>
                    <a:pt x="2585" y="959"/>
                    <a:pt x="2579" y="964"/>
                    <a:pt x="2579" y="969"/>
                  </a:cubicBezTo>
                  <a:cubicBezTo>
                    <a:pt x="2579" y="975"/>
                    <a:pt x="2586" y="979"/>
                    <a:pt x="2594" y="979"/>
                  </a:cubicBezTo>
                  <a:cubicBezTo>
                    <a:pt x="2602" y="979"/>
                    <a:pt x="2608" y="975"/>
                    <a:pt x="2608" y="969"/>
                  </a:cubicBezTo>
                  <a:cubicBezTo>
                    <a:pt x="2608" y="963"/>
                    <a:pt x="2601" y="959"/>
                    <a:pt x="2593" y="959"/>
                  </a:cubicBezTo>
                  <a:cubicBezTo>
                    <a:pt x="2593" y="959"/>
                    <a:pt x="2593" y="959"/>
                    <a:pt x="2593" y="959"/>
                  </a:cubicBezTo>
                  <a:moveTo>
                    <a:pt x="2635" y="959"/>
                  </a:moveTo>
                  <a:cubicBezTo>
                    <a:pt x="2626" y="959"/>
                    <a:pt x="2620" y="963"/>
                    <a:pt x="2620" y="969"/>
                  </a:cubicBezTo>
                  <a:cubicBezTo>
                    <a:pt x="2621" y="975"/>
                    <a:pt x="2627" y="979"/>
                    <a:pt x="2636" y="979"/>
                  </a:cubicBezTo>
                  <a:cubicBezTo>
                    <a:pt x="2644" y="979"/>
                    <a:pt x="2650" y="975"/>
                    <a:pt x="2650" y="969"/>
                  </a:cubicBezTo>
                  <a:cubicBezTo>
                    <a:pt x="2649" y="963"/>
                    <a:pt x="2643" y="959"/>
                    <a:pt x="2635" y="959"/>
                  </a:cubicBezTo>
                  <a:cubicBezTo>
                    <a:pt x="2635" y="959"/>
                    <a:pt x="2635" y="959"/>
                    <a:pt x="2635" y="959"/>
                  </a:cubicBezTo>
                  <a:moveTo>
                    <a:pt x="2677" y="959"/>
                  </a:moveTo>
                  <a:cubicBezTo>
                    <a:pt x="2668" y="959"/>
                    <a:pt x="2662" y="963"/>
                    <a:pt x="2663" y="969"/>
                  </a:cubicBezTo>
                  <a:cubicBezTo>
                    <a:pt x="2663" y="975"/>
                    <a:pt x="2670" y="979"/>
                    <a:pt x="2678" y="979"/>
                  </a:cubicBezTo>
                  <a:cubicBezTo>
                    <a:pt x="2686" y="979"/>
                    <a:pt x="2692" y="974"/>
                    <a:pt x="2692" y="969"/>
                  </a:cubicBezTo>
                  <a:cubicBezTo>
                    <a:pt x="2691" y="963"/>
                    <a:pt x="2685" y="959"/>
                    <a:pt x="2677" y="959"/>
                  </a:cubicBezTo>
                  <a:cubicBezTo>
                    <a:pt x="2677" y="959"/>
                    <a:pt x="2677" y="959"/>
                    <a:pt x="2677" y="959"/>
                  </a:cubicBezTo>
                  <a:moveTo>
                    <a:pt x="2717" y="958"/>
                  </a:moveTo>
                  <a:cubicBezTo>
                    <a:pt x="2709" y="958"/>
                    <a:pt x="2702" y="963"/>
                    <a:pt x="2703" y="969"/>
                  </a:cubicBezTo>
                  <a:cubicBezTo>
                    <a:pt x="2703" y="974"/>
                    <a:pt x="2710" y="979"/>
                    <a:pt x="2718" y="979"/>
                  </a:cubicBezTo>
                  <a:cubicBezTo>
                    <a:pt x="2726" y="979"/>
                    <a:pt x="2733" y="974"/>
                    <a:pt x="2732" y="969"/>
                  </a:cubicBezTo>
                  <a:cubicBezTo>
                    <a:pt x="2732" y="963"/>
                    <a:pt x="2725" y="958"/>
                    <a:pt x="2717" y="958"/>
                  </a:cubicBezTo>
                  <a:cubicBezTo>
                    <a:pt x="2717" y="958"/>
                    <a:pt x="2717" y="958"/>
                    <a:pt x="2717" y="958"/>
                  </a:cubicBezTo>
                  <a:moveTo>
                    <a:pt x="2759" y="958"/>
                  </a:moveTo>
                  <a:cubicBezTo>
                    <a:pt x="2751" y="958"/>
                    <a:pt x="2744" y="963"/>
                    <a:pt x="2745" y="969"/>
                  </a:cubicBezTo>
                  <a:cubicBezTo>
                    <a:pt x="2745" y="974"/>
                    <a:pt x="2752" y="979"/>
                    <a:pt x="2761" y="979"/>
                  </a:cubicBezTo>
                  <a:cubicBezTo>
                    <a:pt x="2769" y="979"/>
                    <a:pt x="2775" y="974"/>
                    <a:pt x="2774" y="968"/>
                  </a:cubicBezTo>
                  <a:cubicBezTo>
                    <a:pt x="2774" y="963"/>
                    <a:pt x="2767" y="958"/>
                    <a:pt x="2759" y="958"/>
                  </a:cubicBezTo>
                  <a:cubicBezTo>
                    <a:pt x="2759" y="958"/>
                    <a:pt x="2759" y="958"/>
                    <a:pt x="2759" y="958"/>
                  </a:cubicBezTo>
                  <a:moveTo>
                    <a:pt x="3424" y="957"/>
                  </a:moveTo>
                  <a:cubicBezTo>
                    <a:pt x="3416" y="958"/>
                    <a:pt x="3411" y="962"/>
                    <a:pt x="3413" y="968"/>
                  </a:cubicBezTo>
                  <a:cubicBezTo>
                    <a:pt x="3414" y="973"/>
                    <a:pt x="3422" y="978"/>
                    <a:pt x="3431" y="978"/>
                  </a:cubicBezTo>
                  <a:cubicBezTo>
                    <a:pt x="3439" y="978"/>
                    <a:pt x="3444" y="973"/>
                    <a:pt x="3442" y="968"/>
                  </a:cubicBezTo>
                  <a:cubicBezTo>
                    <a:pt x="3440" y="962"/>
                    <a:pt x="3432" y="957"/>
                    <a:pt x="3424" y="957"/>
                  </a:cubicBezTo>
                  <a:cubicBezTo>
                    <a:pt x="3424" y="957"/>
                    <a:pt x="3424" y="957"/>
                    <a:pt x="3424" y="957"/>
                  </a:cubicBezTo>
                  <a:moveTo>
                    <a:pt x="3466" y="957"/>
                  </a:moveTo>
                  <a:cubicBezTo>
                    <a:pt x="3458" y="957"/>
                    <a:pt x="3453" y="962"/>
                    <a:pt x="3455" y="968"/>
                  </a:cubicBezTo>
                  <a:cubicBezTo>
                    <a:pt x="3456" y="973"/>
                    <a:pt x="3464" y="978"/>
                    <a:pt x="3473" y="978"/>
                  </a:cubicBezTo>
                  <a:cubicBezTo>
                    <a:pt x="3481" y="978"/>
                    <a:pt x="3486" y="973"/>
                    <a:pt x="3484" y="968"/>
                  </a:cubicBezTo>
                  <a:cubicBezTo>
                    <a:pt x="3482" y="962"/>
                    <a:pt x="3474" y="957"/>
                    <a:pt x="3466" y="957"/>
                  </a:cubicBezTo>
                  <a:cubicBezTo>
                    <a:pt x="3466" y="957"/>
                    <a:pt x="3466" y="957"/>
                    <a:pt x="3466" y="957"/>
                  </a:cubicBezTo>
                  <a:moveTo>
                    <a:pt x="3840" y="954"/>
                  </a:moveTo>
                  <a:cubicBezTo>
                    <a:pt x="3832" y="954"/>
                    <a:pt x="3827" y="959"/>
                    <a:pt x="3830" y="964"/>
                  </a:cubicBezTo>
                  <a:cubicBezTo>
                    <a:pt x="3833" y="970"/>
                    <a:pt x="3841" y="974"/>
                    <a:pt x="3849" y="974"/>
                  </a:cubicBezTo>
                  <a:cubicBezTo>
                    <a:pt x="3857" y="974"/>
                    <a:pt x="3862" y="970"/>
                    <a:pt x="3859" y="964"/>
                  </a:cubicBezTo>
                  <a:cubicBezTo>
                    <a:pt x="3857" y="958"/>
                    <a:pt x="3848" y="954"/>
                    <a:pt x="3840" y="954"/>
                  </a:cubicBezTo>
                  <a:cubicBezTo>
                    <a:pt x="3840" y="954"/>
                    <a:pt x="3840" y="954"/>
                    <a:pt x="3840" y="954"/>
                  </a:cubicBezTo>
                  <a:moveTo>
                    <a:pt x="3926" y="954"/>
                  </a:moveTo>
                  <a:cubicBezTo>
                    <a:pt x="3918" y="954"/>
                    <a:pt x="3913" y="958"/>
                    <a:pt x="3916" y="964"/>
                  </a:cubicBezTo>
                  <a:cubicBezTo>
                    <a:pt x="3919" y="970"/>
                    <a:pt x="3928" y="974"/>
                    <a:pt x="3936" y="974"/>
                  </a:cubicBezTo>
                  <a:cubicBezTo>
                    <a:pt x="3944" y="974"/>
                    <a:pt x="3948" y="969"/>
                    <a:pt x="3945" y="964"/>
                  </a:cubicBezTo>
                  <a:cubicBezTo>
                    <a:pt x="3943" y="958"/>
                    <a:pt x="3934" y="954"/>
                    <a:pt x="3926" y="954"/>
                  </a:cubicBezTo>
                  <a:cubicBezTo>
                    <a:pt x="3926" y="954"/>
                    <a:pt x="3926" y="954"/>
                    <a:pt x="3926" y="954"/>
                  </a:cubicBezTo>
                  <a:moveTo>
                    <a:pt x="3967" y="953"/>
                  </a:moveTo>
                  <a:cubicBezTo>
                    <a:pt x="3959" y="953"/>
                    <a:pt x="3954" y="958"/>
                    <a:pt x="3957" y="964"/>
                  </a:cubicBezTo>
                  <a:cubicBezTo>
                    <a:pt x="3960" y="969"/>
                    <a:pt x="3969" y="974"/>
                    <a:pt x="3977" y="974"/>
                  </a:cubicBezTo>
                  <a:cubicBezTo>
                    <a:pt x="3985" y="974"/>
                    <a:pt x="3989" y="969"/>
                    <a:pt x="3986" y="964"/>
                  </a:cubicBezTo>
                  <a:cubicBezTo>
                    <a:pt x="3984" y="958"/>
                    <a:pt x="3975" y="953"/>
                    <a:pt x="3967" y="953"/>
                  </a:cubicBezTo>
                  <a:cubicBezTo>
                    <a:pt x="3967" y="953"/>
                    <a:pt x="3967" y="953"/>
                    <a:pt x="3967" y="953"/>
                  </a:cubicBezTo>
                  <a:moveTo>
                    <a:pt x="4008" y="953"/>
                  </a:moveTo>
                  <a:cubicBezTo>
                    <a:pt x="4000" y="953"/>
                    <a:pt x="3996" y="958"/>
                    <a:pt x="3999" y="964"/>
                  </a:cubicBezTo>
                  <a:cubicBezTo>
                    <a:pt x="4002" y="969"/>
                    <a:pt x="4010" y="974"/>
                    <a:pt x="4019" y="974"/>
                  </a:cubicBezTo>
                  <a:cubicBezTo>
                    <a:pt x="4027" y="974"/>
                    <a:pt x="4031" y="969"/>
                    <a:pt x="4028" y="963"/>
                  </a:cubicBezTo>
                  <a:cubicBezTo>
                    <a:pt x="4025" y="958"/>
                    <a:pt x="4016" y="953"/>
                    <a:pt x="4008" y="953"/>
                  </a:cubicBezTo>
                  <a:cubicBezTo>
                    <a:pt x="4008" y="953"/>
                    <a:pt x="4008" y="953"/>
                    <a:pt x="4008" y="953"/>
                  </a:cubicBezTo>
                  <a:moveTo>
                    <a:pt x="4050" y="953"/>
                  </a:moveTo>
                  <a:cubicBezTo>
                    <a:pt x="4042" y="953"/>
                    <a:pt x="4038" y="958"/>
                    <a:pt x="4040" y="963"/>
                  </a:cubicBezTo>
                  <a:cubicBezTo>
                    <a:pt x="4043" y="969"/>
                    <a:pt x="4052" y="974"/>
                    <a:pt x="4060" y="974"/>
                  </a:cubicBezTo>
                  <a:cubicBezTo>
                    <a:pt x="4069" y="974"/>
                    <a:pt x="4073" y="969"/>
                    <a:pt x="4070" y="963"/>
                  </a:cubicBezTo>
                  <a:cubicBezTo>
                    <a:pt x="4067" y="958"/>
                    <a:pt x="4058" y="953"/>
                    <a:pt x="4050" y="953"/>
                  </a:cubicBezTo>
                  <a:cubicBezTo>
                    <a:pt x="4050" y="953"/>
                    <a:pt x="4050" y="953"/>
                    <a:pt x="4050" y="953"/>
                  </a:cubicBezTo>
                  <a:moveTo>
                    <a:pt x="4341" y="951"/>
                  </a:moveTo>
                  <a:cubicBezTo>
                    <a:pt x="4332" y="951"/>
                    <a:pt x="4329" y="956"/>
                    <a:pt x="4332" y="961"/>
                  </a:cubicBezTo>
                  <a:cubicBezTo>
                    <a:pt x="4336" y="967"/>
                    <a:pt x="4345" y="972"/>
                    <a:pt x="4353" y="971"/>
                  </a:cubicBezTo>
                  <a:cubicBezTo>
                    <a:pt x="4361" y="971"/>
                    <a:pt x="4365" y="967"/>
                    <a:pt x="4361" y="961"/>
                  </a:cubicBezTo>
                  <a:cubicBezTo>
                    <a:pt x="4358" y="955"/>
                    <a:pt x="4349" y="951"/>
                    <a:pt x="4341" y="951"/>
                  </a:cubicBezTo>
                  <a:cubicBezTo>
                    <a:pt x="4341" y="951"/>
                    <a:pt x="4341" y="951"/>
                    <a:pt x="4341" y="951"/>
                  </a:cubicBezTo>
                  <a:moveTo>
                    <a:pt x="238" y="940"/>
                  </a:moveTo>
                  <a:cubicBezTo>
                    <a:pt x="230" y="940"/>
                    <a:pt x="220" y="945"/>
                    <a:pt x="216" y="950"/>
                  </a:cubicBezTo>
                  <a:cubicBezTo>
                    <a:pt x="211" y="956"/>
                    <a:pt x="214" y="960"/>
                    <a:pt x="222" y="960"/>
                  </a:cubicBezTo>
                  <a:cubicBezTo>
                    <a:pt x="230" y="960"/>
                    <a:pt x="240" y="956"/>
                    <a:pt x="245" y="950"/>
                  </a:cubicBezTo>
                  <a:cubicBezTo>
                    <a:pt x="249" y="944"/>
                    <a:pt x="246" y="940"/>
                    <a:pt x="238" y="940"/>
                  </a:cubicBezTo>
                  <a:cubicBezTo>
                    <a:pt x="238" y="940"/>
                    <a:pt x="238" y="940"/>
                    <a:pt x="238" y="940"/>
                  </a:cubicBezTo>
                  <a:moveTo>
                    <a:pt x="279" y="940"/>
                  </a:moveTo>
                  <a:cubicBezTo>
                    <a:pt x="271" y="940"/>
                    <a:pt x="261" y="944"/>
                    <a:pt x="257" y="950"/>
                  </a:cubicBezTo>
                  <a:cubicBezTo>
                    <a:pt x="253" y="956"/>
                    <a:pt x="256" y="960"/>
                    <a:pt x="264" y="960"/>
                  </a:cubicBezTo>
                  <a:cubicBezTo>
                    <a:pt x="272" y="960"/>
                    <a:pt x="282" y="955"/>
                    <a:pt x="286" y="950"/>
                  </a:cubicBezTo>
                  <a:cubicBezTo>
                    <a:pt x="290" y="944"/>
                    <a:pt x="287" y="940"/>
                    <a:pt x="279" y="940"/>
                  </a:cubicBezTo>
                  <a:cubicBezTo>
                    <a:pt x="279" y="940"/>
                    <a:pt x="279" y="940"/>
                    <a:pt x="279" y="940"/>
                  </a:cubicBezTo>
                  <a:moveTo>
                    <a:pt x="321" y="940"/>
                  </a:moveTo>
                  <a:cubicBezTo>
                    <a:pt x="313" y="940"/>
                    <a:pt x="303" y="944"/>
                    <a:pt x="299" y="950"/>
                  </a:cubicBezTo>
                  <a:cubicBezTo>
                    <a:pt x="295" y="955"/>
                    <a:pt x="298" y="960"/>
                    <a:pt x="306" y="960"/>
                  </a:cubicBezTo>
                  <a:cubicBezTo>
                    <a:pt x="314" y="960"/>
                    <a:pt x="324" y="955"/>
                    <a:pt x="328" y="950"/>
                  </a:cubicBezTo>
                  <a:cubicBezTo>
                    <a:pt x="332" y="944"/>
                    <a:pt x="329" y="940"/>
                    <a:pt x="321" y="940"/>
                  </a:cubicBezTo>
                  <a:cubicBezTo>
                    <a:pt x="321" y="940"/>
                    <a:pt x="321" y="940"/>
                    <a:pt x="321" y="940"/>
                  </a:cubicBezTo>
                  <a:moveTo>
                    <a:pt x="362" y="939"/>
                  </a:moveTo>
                  <a:cubicBezTo>
                    <a:pt x="354" y="939"/>
                    <a:pt x="344" y="944"/>
                    <a:pt x="340" y="950"/>
                  </a:cubicBezTo>
                  <a:cubicBezTo>
                    <a:pt x="336" y="955"/>
                    <a:pt x="339" y="960"/>
                    <a:pt x="347" y="960"/>
                  </a:cubicBezTo>
                  <a:cubicBezTo>
                    <a:pt x="356" y="960"/>
                    <a:pt x="365" y="955"/>
                    <a:pt x="369" y="950"/>
                  </a:cubicBezTo>
                  <a:cubicBezTo>
                    <a:pt x="373" y="944"/>
                    <a:pt x="370" y="939"/>
                    <a:pt x="362" y="939"/>
                  </a:cubicBezTo>
                  <a:cubicBezTo>
                    <a:pt x="362" y="939"/>
                    <a:pt x="362" y="939"/>
                    <a:pt x="362" y="939"/>
                  </a:cubicBezTo>
                  <a:moveTo>
                    <a:pt x="1685" y="933"/>
                  </a:moveTo>
                  <a:cubicBezTo>
                    <a:pt x="1677" y="933"/>
                    <a:pt x="1670" y="938"/>
                    <a:pt x="1668" y="943"/>
                  </a:cubicBezTo>
                  <a:cubicBezTo>
                    <a:pt x="1667" y="949"/>
                    <a:pt x="1672" y="953"/>
                    <a:pt x="1680" y="953"/>
                  </a:cubicBezTo>
                  <a:cubicBezTo>
                    <a:pt x="1688" y="953"/>
                    <a:pt x="1696" y="949"/>
                    <a:pt x="1697" y="943"/>
                  </a:cubicBezTo>
                  <a:cubicBezTo>
                    <a:pt x="1699" y="937"/>
                    <a:pt x="1693" y="933"/>
                    <a:pt x="1685" y="933"/>
                  </a:cubicBezTo>
                  <a:cubicBezTo>
                    <a:pt x="1685" y="933"/>
                    <a:pt x="1685" y="933"/>
                    <a:pt x="1685" y="933"/>
                  </a:cubicBezTo>
                  <a:moveTo>
                    <a:pt x="1724" y="933"/>
                  </a:moveTo>
                  <a:cubicBezTo>
                    <a:pt x="1716" y="933"/>
                    <a:pt x="1709" y="937"/>
                    <a:pt x="1707" y="943"/>
                  </a:cubicBezTo>
                  <a:cubicBezTo>
                    <a:pt x="1706" y="949"/>
                    <a:pt x="1711" y="953"/>
                    <a:pt x="1719" y="953"/>
                  </a:cubicBezTo>
                  <a:cubicBezTo>
                    <a:pt x="1727" y="953"/>
                    <a:pt x="1735" y="949"/>
                    <a:pt x="1736" y="943"/>
                  </a:cubicBezTo>
                  <a:cubicBezTo>
                    <a:pt x="1737" y="937"/>
                    <a:pt x="1732" y="933"/>
                    <a:pt x="1724" y="933"/>
                  </a:cubicBezTo>
                  <a:cubicBezTo>
                    <a:pt x="1724" y="933"/>
                    <a:pt x="1724" y="933"/>
                    <a:pt x="1724" y="933"/>
                  </a:cubicBezTo>
                  <a:moveTo>
                    <a:pt x="1765" y="933"/>
                  </a:moveTo>
                  <a:cubicBezTo>
                    <a:pt x="1757" y="933"/>
                    <a:pt x="1750" y="937"/>
                    <a:pt x="1748" y="943"/>
                  </a:cubicBezTo>
                  <a:cubicBezTo>
                    <a:pt x="1747" y="949"/>
                    <a:pt x="1752" y="953"/>
                    <a:pt x="1760" y="953"/>
                  </a:cubicBezTo>
                  <a:cubicBezTo>
                    <a:pt x="1768" y="953"/>
                    <a:pt x="1776" y="948"/>
                    <a:pt x="1777" y="943"/>
                  </a:cubicBezTo>
                  <a:cubicBezTo>
                    <a:pt x="1779" y="937"/>
                    <a:pt x="1773" y="933"/>
                    <a:pt x="1765" y="933"/>
                  </a:cubicBezTo>
                  <a:cubicBezTo>
                    <a:pt x="1765" y="933"/>
                    <a:pt x="1765" y="933"/>
                    <a:pt x="1765" y="933"/>
                  </a:cubicBezTo>
                  <a:moveTo>
                    <a:pt x="1807" y="932"/>
                  </a:moveTo>
                  <a:cubicBezTo>
                    <a:pt x="1799" y="933"/>
                    <a:pt x="1791" y="937"/>
                    <a:pt x="1790" y="943"/>
                  </a:cubicBezTo>
                  <a:cubicBezTo>
                    <a:pt x="1788" y="948"/>
                    <a:pt x="1794" y="953"/>
                    <a:pt x="1802" y="953"/>
                  </a:cubicBezTo>
                  <a:cubicBezTo>
                    <a:pt x="1810" y="953"/>
                    <a:pt x="1817" y="948"/>
                    <a:pt x="1819" y="943"/>
                  </a:cubicBezTo>
                  <a:cubicBezTo>
                    <a:pt x="1820" y="937"/>
                    <a:pt x="1815" y="932"/>
                    <a:pt x="1807" y="932"/>
                  </a:cubicBezTo>
                  <a:cubicBezTo>
                    <a:pt x="1807" y="932"/>
                    <a:pt x="1807" y="932"/>
                    <a:pt x="1807" y="932"/>
                  </a:cubicBezTo>
                  <a:moveTo>
                    <a:pt x="1848" y="932"/>
                  </a:moveTo>
                  <a:cubicBezTo>
                    <a:pt x="1840" y="932"/>
                    <a:pt x="1833" y="937"/>
                    <a:pt x="1832" y="943"/>
                  </a:cubicBezTo>
                  <a:cubicBezTo>
                    <a:pt x="1830" y="948"/>
                    <a:pt x="1836" y="953"/>
                    <a:pt x="1844" y="953"/>
                  </a:cubicBezTo>
                  <a:cubicBezTo>
                    <a:pt x="1852" y="953"/>
                    <a:pt x="1859" y="948"/>
                    <a:pt x="1861" y="942"/>
                  </a:cubicBezTo>
                  <a:cubicBezTo>
                    <a:pt x="1862" y="937"/>
                    <a:pt x="1856" y="932"/>
                    <a:pt x="1848" y="932"/>
                  </a:cubicBezTo>
                  <a:cubicBezTo>
                    <a:pt x="1848" y="932"/>
                    <a:pt x="1848" y="932"/>
                    <a:pt x="1848" y="932"/>
                  </a:cubicBezTo>
                  <a:moveTo>
                    <a:pt x="1889" y="932"/>
                  </a:moveTo>
                  <a:cubicBezTo>
                    <a:pt x="1881" y="932"/>
                    <a:pt x="1874" y="937"/>
                    <a:pt x="1873" y="942"/>
                  </a:cubicBezTo>
                  <a:cubicBezTo>
                    <a:pt x="1872" y="948"/>
                    <a:pt x="1877" y="953"/>
                    <a:pt x="1885" y="953"/>
                  </a:cubicBezTo>
                  <a:cubicBezTo>
                    <a:pt x="1893" y="953"/>
                    <a:pt x="1901" y="948"/>
                    <a:pt x="1902" y="942"/>
                  </a:cubicBezTo>
                  <a:cubicBezTo>
                    <a:pt x="1903" y="937"/>
                    <a:pt x="1897" y="932"/>
                    <a:pt x="1889" y="932"/>
                  </a:cubicBezTo>
                  <a:cubicBezTo>
                    <a:pt x="1889" y="932"/>
                    <a:pt x="1889" y="932"/>
                    <a:pt x="1889" y="932"/>
                  </a:cubicBezTo>
                  <a:moveTo>
                    <a:pt x="1931" y="932"/>
                  </a:moveTo>
                  <a:cubicBezTo>
                    <a:pt x="1923" y="932"/>
                    <a:pt x="1915" y="937"/>
                    <a:pt x="1914" y="942"/>
                  </a:cubicBezTo>
                  <a:cubicBezTo>
                    <a:pt x="1913" y="948"/>
                    <a:pt x="1919" y="952"/>
                    <a:pt x="1927" y="952"/>
                  </a:cubicBezTo>
                  <a:cubicBezTo>
                    <a:pt x="1935" y="952"/>
                    <a:pt x="1942" y="948"/>
                    <a:pt x="1943" y="942"/>
                  </a:cubicBezTo>
                  <a:cubicBezTo>
                    <a:pt x="1944" y="937"/>
                    <a:pt x="1939" y="932"/>
                    <a:pt x="1931" y="932"/>
                  </a:cubicBezTo>
                  <a:cubicBezTo>
                    <a:pt x="1931" y="932"/>
                    <a:pt x="1931" y="932"/>
                    <a:pt x="1931" y="932"/>
                  </a:cubicBezTo>
                  <a:moveTo>
                    <a:pt x="1972" y="932"/>
                  </a:moveTo>
                  <a:cubicBezTo>
                    <a:pt x="1964" y="932"/>
                    <a:pt x="1956" y="936"/>
                    <a:pt x="1955" y="942"/>
                  </a:cubicBezTo>
                  <a:cubicBezTo>
                    <a:pt x="1954" y="948"/>
                    <a:pt x="1960" y="952"/>
                    <a:pt x="1968" y="952"/>
                  </a:cubicBezTo>
                  <a:cubicBezTo>
                    <a:pt x="1976" y="952"/>
                    <a:pt x="1983" y="948"/>
                    <a:pt x="1984" y="942"/>
                  </a:cubicBezTo>
                  <a:cubicBezTo>
                    <a:pt x="1985" y="936"/>
                    <a:pt x="1980" y="932"/>
                    <a:pt x="1972" y="932"/>
                  </a:cubicBezTo>
                  <a:cubicBezTo>
                    <a:pt x="1972" y="932"/>
                    <a:pt x="1972" y="932"/>
                    <a:pt x="1972" y="932"/>
                  </a:cubicBezTo>
                  <a:moveTo>
                    <a:pt x="2013" y="932"/>
                  </a:moveTo>
                  <a:cubicBezTo>
                    <a:pt x="2005" y="932"/>
                    <a:pt x="1998" y="936"/>
                    <a:pt x="1997" y="942"/>
                  </a:cubicBezTo>
                  <a:cubicBezTo>
                    <a:pt x="1996" y="948"/>
                    <a:pt x="2002" y="952"/>
                    <a:pt x="2010" y="952"/>
                  </a:cubicBezTo>
                  <a:cubicBezTo>
                    <a:pt x="2018" y="952"/>
                    <a:pt x="2025" y="947"/>
                    <a:pt x="2026" y="942"/>
                  </a:cubicBezTo>
                  <a:cubicBezTo>
                    <a:pt x="2027" y="936"/>
                    <a:pt x="2021" y="932"/>
                    <a:pt x="2013" y="932"/>
                  </a:cubicBezTo>
                  <a:cubicBezTo>
                    <a:pt x="2013" y="932"/>
                    <a:pt x="2013" y="932"/>
                    <a:pt x="2013" y="932"/>
                  </a:cubicBezTo>
                  <a:moveTo>
                    <a:pt x="2055" y="931"/>
                  </a:moveTo>
                  <a:cubicBezTo>
                    <a:pt x="2047" y="932"/>
                    <a:pt x="2040" y="936"/>
                    <a:pt x="2040" y="942"/>
                  </a:cubicBezTo>
                  <a:cubicBezTo>
                    <a:pt x="2039" y="947"/>
                    <a:pt x="2045" y="952"/>
                    <a:pt x="2053" y="952"/>
                  </a:cubicBezTo>
                  <a:cubicBezTo>
                    <a:pt x="2061" y="952"/>
                    <a:pt x="2068" y="947"/>
                    <a:pt x="2069" y="942"/>
                  </a:cubicBezTo>
                  <a:cubicBezTo>
                    <a:pt x="2069" y="936"/>
                    <a:pt x="2063" y="931"/>
                    <a:pt x="2056" y="931"/>
                  </a:cubicBezTo>
                  <a:cubicBezTo>
                    <a:pt x="2056" y="931"/>
                    <a:pt x="2055" y="931"/>
                    <a:pt x="2055" y="931"/>
                  </a:cubicBezTo>
                  <a:moveTo>
                    <a:pt x="2096" y="931"/>
                  </a:moveTo>
                  <a:cubicBezTo>
                    <a:pt x="2088" y="931"/>
                    <a:pt x="2081" y="936"/>
                    <a:pt x="2081" y="942"/>
                  </a:cubicBezTo>
                  <a:cubicBezTo>
                    <a:pt x="2080" y="947"/>
                    <a:pt x="2086" y="952"/>
                    <a:pt x="2094" y="952"/>
                  </a:cubicBezTo>
                  <a:cubicBezTo>
                    <a:pt x="2102" y="952"/>
                    <a:pt x="2109" y="947"/>
                    <a:pt x="2110" y="941"/>
                  </a:cubicBezTo>
                  <a:cubicBezTo>
                    <a:pt x="2110" y="936"/>
                    <a:pt x="2104" y="931"/>
                    <a:pt x="2097" y="931"/>
                  </a:cubicBezTo>
                  <a:cubicBezTo>
                    <a:pt x="2097" y="931"/>
                    <a:pt x="2096" y="931"/>
                    <a:pt x="2096" y="931"/>
                  </a:cubicBezTo>
                  <a:moveTo>
                    <a:pt x="2138" y="931"/>
                  </a:moveTo>
                  <a:cubicBezTo>
                    <a:pt x="2130" y="931"/>
                    <a:pt x="2123" y="936"/>
                    <a:pt x="2122" y="941"/>
                  </a:cubicBezTo>
                  <a:cubicBezTo>
                    <a:pt x="2121" y="947"/>
                    <a:pt x="2127" y="952"/>
                    <a:pt x="2135" y="952"/>
                  </a:cubicBezTo>
                  <a:cubicBezTo>
                    <a:pt x="2144" y="952"/>
                    <a:pt x="2151" y="947"/>
                    <a:pt x="2151" y="941"/>
                  </a:cubicBezTo>
                  <a:cubicBezTo>
                    <a:pt x="2152" y="936"/>
                    <a:pt x="2146" y="931"/>
                    <a:pt x="2138" y="931"/>
                  </a:cubicBezTo>
                  <a:cubicBezTo>
                    <a:pt x="2138" y="931"/>
                    <a:pt x="2138" y="931"/>
                    <a:pt x="2138" y="931"/>
                  </a:cubicBezTo>
                  <a:moveTo>
                    <a:pt x="2180" y="931"/>
                  </a:moveTo>
                  <a:cubicBezTo>
                    <a:pt x="2172" y="931"/>
                    <a:pt x="2165" y="936"/>
                    <a:pt x="2164" y="941"/>
                  </a:cubicBezTo>
                  <a:cubicBezTo>
                    <a:pt x="2163" y="947"/>
                    <a:pt x="2169" y="951"/>
                    <a:pt x="2177" y="951"/>
                  </a:cubicBezTo>
                  <a:cubicBezTo>
                    <a:pt x="2186" y="951"/>
                    <a:pt x="2192" y="947"/>
                    <a:pt x="2193" y="941"/>
                  </a:cubicBezTo>
                  <a:cubicBezTo>
                    <a:pt x="2194" y="936"/>
                    <a:pt x="2188" y="931"/>
                    <a:pt x="2180" y="931"/>
                  </a:cubicBezTo>
                  <a:cubicBezTo>
                    <a:pt x="2180" y="931"/>
                    <a:pt x="2180" y="931"/>
                    <a:pt x="2180" y="931"/>
                  </a:cubicBezTo>
                  <a:moveTo>
                    <a:pt x="2221" y="931"/>
                  </a:moveTo>
                  <a:cubicBezTo>
                    <a:pt x="2213" y="931"/>
                    <a:pt x="2206" y="935"/>
                    <a:pt x="2205" y="941"/>
                  </a:cubicBezTo>
                  <a:cubicBezTo>
                    <a:pt x="2205" y="947"/>
                    <a:pt x="2211" y="951"/>
                    <a:pt x="2219" y="951"/>
                  </a:cubicBezTo>
                  <a:cubicBezTo>
                    <a:pt x="2227" y="951"/>
                    <a:pt x="2234" y="947"/>
                    <a:pt x="2234" y="941"/>
                  </a:cubicBezTo>
                  <a:cubicBezTo>
                    <a:pt x="2235" y="935"/>
                    <a:pt x="2229" y="931"/>
                    <a:pt x="2221" y="931"/>
                  </a:cubicBezTo>
                  <a:cubicBezTo>
                    <a:pt x="2221" y="931"/>
                    <a:pt x="2221" y="931"/>
                    <a:pt x="2221" y="931"/>
                  </a:cubicBezTo>
                  <a:moveTo>
                    <a:pt x="2262" y="931"/>
                  </a:moveTo>
                  <a:cubicBezTo>
                    <a:pt x="2254" y="931"/>
                    <a:pt x="2247" y="935"/>
                    <a:pt x="2247" y="941"/>
                  </a:cubicBezTo>
                  <a:cubicBezTo>
                    <a:pt x="2246" y="947"/>
                    <a:pt x="2252" y="951"/>
                    <a:pt x="2260" y="951"/>
                  </a:cubicBezTo>
                  <a:cubicBezTo>
                    <a:pt x="2268" y="951"/>
                    <a:pt x="2275" y="946"/>
                    <a:pt x="2275" y="941"/>
                  </a:cubicBezTo>
                  <a:cubicBezTo>
                    <a:pt x="2276" y="935"/>
                    <a:pt x="2270" y="931"/>
                    <a:pt x="2262" y="931"/>
                  </a:cubicBezTo>
                  <a:cubicBezTo>
                    <a:pt x="2262" y="931"/>
                    <a:pt x="2262" y="931"/>
                    <a:pt x="2262" y="931"/>
                  </a:cubicBezTo>
                  <a:moveTo>
                    <a:pt x="2303" y="931"/>
                  </a:moveTo>
                  <a:cubicBezTo>
                    <a:pt x="2295" y="931"/>
                    <a:pt x="2288" y="935"/>
                    <a:pt x="2288" y="941"/>
                  </a:cubicBezTo>
                  <a:cubicBezTo>
                    <a:pt x="2287" y="946"/>
                    <a:pt x="2294" y="951"/>
                    <a:pt x="2302" y="951"/>
                  </a:cubicBezTo>
                  <a:cubicBezTo>
                    <a:pt x="2310" y="951"/>
                    <a:pt x="2316" y="946"/>
                    <a:pt x="2317" y="941"/>
                  </a:cubicBezTo>
                  <a:cubicBezTo>
                    <a:pt x="2317" y="935"/>
                    <a:pt x="2311" y="931"/>
                    <a:pt x="2303" y="931"/>
                  </a:cubicBezTo>
                  <a:cubicBezTo>
                    <a:pt x="2303" y="931"/>
                    <a:pt x="2303" y="931"/>
                    <a:pt x="2303" y="931"/>
                  </a:cubicBezTo>
                  <a:moveTo>
                    <a:pt x="2344" y="930"/>
                  </a:moveTo>
                  <a:cubicBezTo>
                    <a:pt x="2336" y="930"/>
                    <a:pt x="2329" y="935"/>
                    <a:pt x="2329" y="941"/>
                  </a:cubicBezTo>
                  <a:cubicBezTo>
                    <a:pt x="2329" y="946"/>
                    <a:pt x="2335" y="951"/>
                    <a:pt x="2343" y="951"/>
                  </a:cubicBezTo>
                  <a:cubicBezTo>
                    <a:pt x="2351" y="951"/>
                    <a:pt x="2358" y="946"/>
                    <a:pt x="2358" y="940"/>
                  </a:cubicBezTo>
                  <a:cubicBezTo>
                    <a:pt x="2358" y="935"/>
                    <a:pt x="2352" y="930"/>
                    <a:pt x="2344" y="930"/>
                  </a:cubicBezTo>
                  <a:cubicBezTo>
                    <a:pt x="2344" y="930"/>
                    <a:pt x="2344" y="930"/>
                    <a:pt x="2344" y="930"/>
                  </a:cubicBezTo>
                  <a:moveTo>
                    <a:pt x="2386" y="930"/>
                  </a:moveTo>
                  <a:cubicBezTo>
                    <a:pt x="2378" y="930"/>
                    <a:pt x="2371" y="935"/>
                    <a:pt x="2371" y="940"/>
                  </a:cubicBezTo>
                  <a:cubicBezTo>
                    <a:pt x="2371" y="946"/>
                    <a:pt x="2377" y="951"/>
                    <a:pt x="2385" y="951"/>
                  </a:cubicBezTo>
                  <a:cubicBezTo>
                    <a:pt x="2393" y="951"/>
                    <a:pt x="2400" y="946"/>
                    <a:pt x="2400" y="940"/>
                  </a:cubicBezTo>
                  <a:cubicBezTo>
                    <a:pt x="2400" y="935"/>
                    <a:pt x="2394" y="930"/>
                    <a:pt x="2386" y="930"/>
                  </a:cubicBezTo>
                  <a:cubicBezTo>
                    <a:pt x="2386" y="930"/>
                    <a:pt x="2386" y="930"/>
                    <a:pt x="2386" y="930"/>
                  </a:cubicBezTo>
                  <a:moveTo>
                    <a:pt x="2427" y="930"/>
                  </a:moveTo>
                  <a:cubicBezTo>
                    <a:pt x="2419" y="930"/>
                    <a:pt x="2412" y="935"/>
                    <a:pt x="2412" y="940"/>
                  </a:cubicBezTo>
                  <a:cubicBezTo>
                    <a:pt x="2412" y="946"/>
                    <a:pt x="2418" y="950"/>
                    <a:pt x="2426" y="950"/>
                  </a:cubicBezTo>
                  <a:cubicBezTo>
                    <a:pt x="2434" y="950"/>
                    <a:pt x="2441" y="946"/>
                    <a:pt x="2441" y="940"/>
                  </a:cubicBezTo>
                  <a:cubicBezTo>
                    <a:pt x="2441" y="935"/>
                    <a:pt x="2435" y="930"/>
                    <a:pt x="2427" y="930"/>
                  </a:cubicBezTo>
                  <a:cubicBezTo>
                    <a:pt x="2427" y="930"/>
                    <a:pt x="2427" y="930"/>
                    <a:pt x="2427" y="930"/>
                  </a:cubicBezTo>
                  <a:moveTo>
                    <a:pt x="2468" y="930"/>
                  </a:moveTo>
                  <a:cubicBezTo>
                    <a:pt x="2460" y="930"/>
                    <a:pt x="2454" y="934"/>
                    <a:pt x="2453" y="940"/>
                  </a:cubicBezTo>
                  <a:cubicBezTo>
                    <a:pt x="2453" y="946"/>
                    <a:pt x="2460" y="950"/>
                    <a:pt x="2468" y="950"/>
                  </a:cubicBezTo>
                  <a:cubicBezTo>
                    <a:pt x="2476" y="950"/>
                    <a:pt x="2482" y="946"/>
                    <a:pt x="2482" y="940"/>
                  </a:cubicBezTo>
                  <a:cubicBezTo>
                    <a:pt x="2482" y="934"/>
                    <a:pt x="2476" y="930"/>
                    <a:pt x="2468" y="930"/>
                  </a:cubicBezTo>
                  <a:cubicBezTo>
                    <a:pt x="2468" y="930"/>
                    <a:pt x="2468" y="930"/>
                    <a:pt x="2468" y="930"/>
                  </a:cubicBezTo>
                  <a:moveTo>
                    <a:pt x="2509" y="930"/>
                  </a:moveTo>
                  <a:cubicBezTo>
                    <a:pt x="2501" y="930"/>
                    <a:pt x="2495" y="934"/>
                    <a:pt x="2495" y="940"/>
                  </a:cubicBezTo>
                  <a:cubicBezTo>
                    <a:pt x="2495" y="946"/>
                    <a:pt x="2501" y="950"/>
                    <a:pt x="2509" y="950"/>
                  </a:cubicBezTo>
                  <a:cubicBezTo>
                    <a:pt x="2517" y="950"/>
                    <a:pt x="2524" y="945"/>
                    <a:pt x="2524" y="940"/>
                  </a:cubicBezTo>
                  <a:cubicBezTo>
                    <a:pt x="2523" y="934"/>
                    <a:pt x="2517" y="930"/>
                    <a:pt x="2509" y="930"/>
                  </a:cubicBezTo>
                  <a:cubicBezTo>
                    <a:pt x="2509" y="930"/>
                    <a:pt x="2509" y="930"/>
                    <a:pt x="2509" y="930"/>
                  </a:cubicBezTo>
                  <a:moveTo>
                    <a:pt x="2550" y="930"/>
                  </a:moveTo>
                  <a:cubicBezTo>
                    <a:pt x="2542" y="930"/>
                    <a:pt x="2536" y="934"/>
                    <a:pt x="2536" y="940"/>
                  </a:cubicBezTo>
                  <a:cubicBezTo>
                    <a:pt x="2536" y="945"/>
                    <a:pt x="2543" y="950"/>
                    <a:pt x="2551" y="950"/>
                  </a:cubicBezTo>
                  <a:cubicBezTo>
                    <a:pt x="2559" y="950"/>
                    <a:pt x="2565" y="945"/>
                    <a:pt x="2565" y="940"/>
                  </a:cubicBezTo>
                  <a:cubicBezTo>
                    <a:pt x="2565" y="934"/>
                    <a:pt x="2558" y="930"/>
                    <a:pt x="2550" y="930"/>
                  </a:cubicBezTo>
                  <a:cubicBezTo>
                    <a:pt x="2550" y="930"/>
                    <a:pt x="2550" y="930"/>
                    <a:pt x="2550" y="930"/>
                  </a:cubicBezTo>
                  <a:moveTo>
                    <a:pt x="2592" y="929"/>
                  </a:moveTo>
                  <a:cubicBezTo>
                    <a:pt x="2584" y="929"/>
                    <a:pt x="2578" y="934"/>
                    <a:pt x="2578" y="940"/>
                  </a:cubicBezTo>
                  <a:cubicBezTo>
                    <a:pt x="2578" y="945"/>
                    <a:pt x="2585" y="950"/>
                    <a:pt x="2593" y="950"/>
                  </a:cubicBezTo>
                  <a:cubicBezTo>
                    <a:pt x="2601" y="950"/>
                    <a:pt x="2607" y="945"/>
                    <a:pt x="2607" y="940"/>
                  </a:cubicBezTo>
                  <a:cubicBezTo>
                    <a:pt x="2607" y="934"/>
                    <a:pt x="2600" y="929"/>
                    <a:pt x="2592" y="929"/>
                  </a:cubicBezTo>
                  <a:cubicBezTo>
                    <a:pt x="2592" y="929"/>
                    <a:pt x="2592" y="929"/>
                    <a:pt x="2592" y="929"/>
                  </a:cubicBezTo>
                  <a:moveTo>
                    <a:pt x="2633" y="929"/>
                  </a:moveTo>
                  <a:cubicBezTo>
                    <a:pt x="2625" y="929"/>
                    <a:pt x="2619" y="934"/>
                    <a:pt x="2619" y="939"/>
                  </a:cubicBezTo>
                  <a:cubicBezTo>
                    <a:pt x="2619" y="945"/>
                    <a:pt x="2626" y="950"/>
                    <a:pt x="2634" y="950"/>
                  </a:cubicBezTo>
                  <a:cubicBezTo>
                    <a:pt x="2642" y="950"/>
                    <a:pt x="2648" y="945"/>
                    <a:pt x="2648" y="939"/>
                  </a:cubicBezTo>
                  <a:cubicBezTo>
                    <a:pt x="2648" y="934"/>
                    <a:pt x="2641" y="929"/>
                    <a:pt x="2633" y="929"/>
                  </a:cubicBezTo>
                  <a:cubicBezTo>
                    <a:pt x="2633" y="929"/>
                    <a:pt x="2633" y="929"/>
                    <a:pt x="2633" y="929"/>
                  </a:cubicBezTo>
                  <a:moveTo>
                    <a:pt x="2675" y="929"/>
                  </a:moveTo>
                  <a:cubicBezTo>
                    <a:pt x="2667" y="929"/>
                    <a:pt x="2660" y="934"/>
                    <a:pt x="2661" y="939"/>
                  </a:cubicBezTo>
                  <a:cubicBezTo>
                    <a:pt x="2661" y="945"/>
                    <a:pt x="2668" y="950"/>
                    <a:pt x="2676" y="949"/>
                  </a:cubicBezTo>
                  <a:cubicBezTo>
                    <a:pt x="2684" y="949"/>
                    <a:pt x="2690" y="945"/>
                    <a:pt x="2690" y="939"/>
                  </a:cubicBezTo>
                  <a:cubicBezTo>
                    <a:pt x="2689" y="934"/>
                    <a:pt x="2683" y="929"/>
                    <a:pt x="2675" y="929"/>
                  </a:cubicBezTo>
                  <a:cubicBezTo>
                    <a:pt x="2675" y="929"/>
                    <a:pt x="2675" y="929"/>
                    <a:pt x="2675" y="929"/>
                  </a:cubicBezTo>
                  <a:moveTo>
                    <a:pt x="2714" y="929"/>
                  </a:moveTo>
                  <a:cubicBezTo>
                    <a:pt x="2706" y="929"/>
                    <a:pt x="2700" y="933"/>
                    <a:pt x="2701" y="939"/>
                  </a:cubicBezTo>
                  <a:cubicBezTo>
                    <a:pt x="2701" y="945"/>
                    <a:pt x="2708" y="949"/>
                    <a:pt x="2716" y="949"/>
                  </a:cubicBezTo>
                  <a:cubicBezTo>
                    <a:pt x="2724" y="949"/>
                    <a:pt x="2730" y="945"/>
                    <a:pt x="2730" y="939"/>
                  </a:cubicBezTo>
                  <a:cubicBezTo>
                    <a:pt x="2729" y="933"/>
                    <a:pt x="2722" y="929"/>
                    <a:pt x="2714" y="929"/>
                  </a:cubicBezTo>
                  <a:cubicBezTo>
                    <a:pt x="2714" y="929"/>
                    <a:pt x="2714" y="929"/>
                    <a:pt x="2714" y="929"/>
                  </a:cubicBezTo>
                  <a:moveTo>
                    <a:pt x="2756" y="929"/>
                  </a:moveTo>
                  <a:cubicBezTo>
                    <a:pt x="2748" y="929"/>
                    <a:pt x="2742" y="933"/>
                    <a:pt x="2742" y="939"/>
                  </a:cubicBezTo>
                  <a:cubicBezTo>
                    <a:pt x="2743" y="945"/>
                    <a:pt x="2750" y="949"/>
                    <a:pt x="2758" y="949"/>
                  </a:cubicBezTo>
                  <a:cubicBezTo>
                    <a:pt x="2766" y="949"/>
                    <a:pt x="2772" y="945"/>
                    <a:pt x="2771" y="939"/>
                  </a:cubicBezTo>
                  <a:cubicBezTo>
                    <a:pt x="2771" y="933"/>
                    <a:pt x="2764" y="929"/>
                    <a:pt x="2756" y="929"/>
                  </a:cubicBezTo>
                  <a:cubicBezTo>
                    <a:pt x="2756" y="929"/>
                    <a:pt x="2756" y="929"/>
                    <a:pt x="2756" y="929"/>
                  </a:cubicBezTo>
                  <a:moveTo>
                    <a:pt x="2796" y="929"/>
                  </a:moveTo>
                  <a:cubicBezTo>
                    <a:pt x="2788" y="929"/>
                    <a:pt x="2782" y="933"/>
                    <a:pt x="2782" y="939"/>
                  </a:cubicBezTo>
                  <a:cubicBezTo>
                    <a:pt x="2783" y="944"/>
                    <a:pt x="2790" y="949"/>
                    <a:pt x="2798" y="949"/>
                  </a:cubicBezTo>
                  <a:cubicBezTo>
                    <a:pt x="2806" y="949"/>
                    <a:pt x="2812" y="944"/>
                    <a:pt x="2811" y="939"/>
                  </a:cubicBezTo>
                  <a:cubicBezTo>
                    <a:pt x="2811" y="933"/>
                    <a:pt x="2804" y="929"/>
                    <a:pt x="2796" y="929"/>
                  </a:cubicBezTo>
                  <a:cubicBezTo>
                    <a:pt x="2796" y="929"/>
                    <a:pt x="2796" y="929"/>
                    <a:pt x="2796" y="929"/>
                  </a:cubicBezTo>
                  <a:moveTo>
                    <a:pt x="2839" y="928"/>
                  </a:moveTo>
                  <a:cubicBezTo>
                    <a:pt x="2831" y="928"/>
                    <a:pt x="2825" y="933"/>
                    <a:pt x="2826" y="939"/>
                  </a:cubicBezTo>
                  <a:cubicBezTo>
                    <a:pt x="2827" y="944"/>
                    <a:pt x="2834" y="949"/>
                    <a:pt x="2842" y="949"/>
                  </a:cubicBezTo>
                  <a:cubicBezTo>
                    <a:pt x="2850" y="949"/>
                    <a:pt x="2856" y="944"/>
                    <a:pt x="2855" y="939"/>
                  </a:cubicBezTo>
                  <a:cubicBezTo>
                    <a:pt x="2854" y="933"/>
                    <a:pt x="2847" y="928"/>
                    <a:pt x="2839" y="928"/>
                  </a:cubicBezTo>
                  <a:cubicBezTo>
                    <a:pt x="2839" y="928"/>
                    <a:pt x="2839" y="928"/>
                    <a:pt x="2839" y="928"/>
                  </a:cubicBezTo>
                  <a:moveTo>
                    <a:pt x="3374" y="928"/>
                  </a:moveTo>
                  <a:cubicBezTo>
                    <a:pt x="3366" y="928"/>
                    <a:pt x="3361" y="933"/>
                    <a:pt x="3362" y="938"/>
                  </a:cubicBezTo>
                  <a:cubicBezTo>
                    <a:pt x="3364" y="944"/>
                    <a:pt x="3372" y="949"/>
                    <a:pt x="3380" y="949"/>
                  </a:cubicBezTo>
                  <a:cubicBezTo>
                    <a:pt x="3388" y="948"/>
                    <a:pt x="3393" y="944"/>
                    <a:pt x="3391" y="938"/>
                  </a:cubicBezTo>
                  <a:cubicBezTo>
                    <a:pt x="3390" y="933"/>
                    <a:pt x="3382" y="928"/>
                    <a:pt x="3374" y="928"/>
                  </a:cubicBezTo>
                  <a:cubicBezTo>
                    <a:pt x="3374" y="928"/>
                    <a:pt x="3374" y="928"/>
                    <a:pt x="3374" y="928"/>
                  </a:cubicBezTo>
                  <a:moveTo>
                    <a:pt x="3415" y="928"/>
                  </a:moveTo>
                  <a:cubicBezTo>
                    <a:pt x="3407" y="928"/>
                    <a:pt x="3402" y="932"/>
                    <a:pt x="3403" y="938"/>
                  </a:cubicBezTo>
                  <a:cubicBezTo>
                    <a:pt x="3405" y="944"/>
                    <a:pt x="3413" y="948"/>
                    <a:pt x="3421" y="948"/>
                  </a:cubicBezTo>
                  <a:cubicBezTo>
                    <a:pt x="3429" y="948"/>
                    <a:pt x="3434" y="944"/>
                    <a:pt x="3432" y="938"/>
                  </a:cubicBezTo>
                  <a:cubicBezTo>
                    <a:pt x="3431" y="932"/>
                    <a:pt x="3423" y="928"/>
                    <a:pt x="3415" y="928"/>
                  </a:cubicBezTo>
                  <a:cubicBezTo>
                    <a:pt x="3415" y="928"/>
                    <a:pt x="3415" y="928"/>
                    <a:pt x="3415" y="928"/>
                  </a:cubicBezTo>
                  <a:moveTo>
                    <a:pt x="3456" y="928"/>
                  </a:moveTo>
                  <a:cubicBezTo>
                    <a:pt x="3448" y="928"/>
                    <a:pt x="3443" y="932"/>
                    <a:pt x="3445" y="938"/>
                  </a:cubicBezTo>
                  <a:cubicBezTo>
                    <a:pt x="3447" y="944"/>
                    <a:pt x="3455" y="948"/>
                    <a:pt x="3463" y="948"/>
                  </a:cubicBezTo>
                  <a:cubicBezTo>
                    <a:pt x="3471" y="948"/>
                    <a:pt x="3476" y="944"/>
                    <a:pt x="3474" y="938"/>
                  </a:cubicBezTo>
                  <a:cubicBezTo>
                    <a:pt x="3472" y="932"/>
                    <a:pt x="3464" y="928"/>
                    <a:pt x="3456" y="928"/>
                  </a:cubicBezTo>
                  <a:cubicBezTo>
                    <a:pt x="3456" y="928"/>
                    <a:pt x="3456" y="928"/>
                    <a:pt x="3456" y="928"/>
                  </a:cubicBezTo>
                  <a:moveTo>
                    <a:pt x="3828" y="926"/>
                  </a:moveTo>
                  <a:cubicBezTo>
                    <a:pt x="3820" y="926"/>
                    <a:pt x="3815" y="931"/>
                    <a:pt x="3818" y="937"/>
                  </a:cubicBezTo>
                  <a:cubicBezTo>
                    <a:pt x="3820" y="942"/>
                    <a:pt x="3829" y="947"/>
                    <a:pt x="3837" y="947"/>
                  </a:cubicBezTo>
                  <a:cubicBezTo>
                    <a:pt x="3845" y="947"/>
                    <a:pt x="3849" y="942"/>
                    <a:pt x="3847" y="937"/>
                  </a:cubicBezTo>
                  <a:cubicBezTo>
                    <a:pt x="3844" y="931"/>
                    <a:pt x="3836" y="926"/>
                    <a:pt x="3828" y="926"/>
                  </a:cubicBezTo>
                  <a:cubicBezTo>
                    <a:pt x="3828" y="926"/>
                    <a:pt x="3828" y="926"/>
                    <a:pt x="3828" y="926"/>
                  </a:cubicBezTo>
                  <a:moveTo>
                    <a:pt x="3869" y="926"/>
                  </a:moveTo>
                  <a:cubicBezTo>
                    <a:pt x="3861" y="926"/>
                    <a:pt x="3857" y="931"/>
                    <a:pt x="3859" y="937"/>
                  </a:cubicBezTo>
                  <a:cubicBezTo>
                    <a:pt x="3862" y="942"/>
                    <a:pt x="3870" y="947"/>
                    <a:pt x="3878" y="947"/>
                  </a:cubicBezTo>
                  <a:cubicBezTo>
                    <a:pt x="3886" y="947"/>
                    <a:pt x="3891" y="942"/>
                    <a:pt x="3888" y="937"/>
                  </a:cubicBezTo>
                  <a:cubicBezTo>
                    <a:pt x="3885" y="931"/>
                    <a:pt x="3877" y="926"/>
                    <a:pt x="3869" y="926"/>
                  </a:cubicBezTo>
                  <a:cubicBezTo>
                    <a:pt x="3869" y="926"/>
                    <a:pt x="3869" y="926"/>
                    <a:pt x="3869" y="926"/>
                  </a:cubicBezTo>
                  <a:moveTo>
                    <a:pt x="3913" y="926"/>
                  </a:moveTo>
                  <a:cubicBezTo>
                    <a:pt x="3905" y="926"/>
                    <a:pt x="3900" y="931"/>
                    <a:pt x="3903" y="936"/>
                  </a:cubicBezTo>
                  <a:cubicBezTo>
                    <a:pt x="3906" y="942"/>
                    <a:pt x="3914" y="947"/>
                    <a:pt x="3922" y="947"/>
                  </a:cubicBezTo>
                  <a:cubicBezTo>
                    <a:pt x="3930" y="947"/>
                    <a:pt x="3935" y="942"/>
                    <a:pt x="3932" y="936"/>
                  </a:cubicBezTo>
                  <a:cubicBezTo>
                    <a:pt x="3929" y="931"/>
                    <a:pt x="3921" y="926"/>
                    <a:pt x="3913" y="926"/>
                  </a:cubicBezTo>
                  <a:cubicBezTo>
                    <a:pt x="3913" y="926"/>
                    <a:pt x="3913" y="926"/>
                    <a:pt x="3913" y="926"/>
                  </a:cubicBezTo>
                  <a:moveTo>
                    <a:pt x="3953" y="926"/>
                  </a:moveTo>
                  <a:cubicBezTo>
                    <a:pt x="3945" y="926"/>
                    <a:pt x="3941" y="931"/>
                    <a:pt x="3944" y="936"/>
                  </a:cubicBezTo>
                  <a:cubicBezTo>
                    <a:pt x="3947" y="942"/>
                    <a:pt x="3955" y="947"/>
                    <a:pt x="3963" y="947"/>
                  </a:cubicBezTo>
                  <a:cubicBezTo>
                    <a:pt x="3971" y="947"/>
                    <a:pt x="3976" y="942"/>
                    <a:pt x="3973" y="936"/>
                  </a:cubicBezTo>
                  <a:cubicBezTo>
                    <a:pt x="3970" y="931"/>
                    <a:pt x="3961" y="926"/>
                    <a:pt x="3953" y="926"/>
                  </a:cubicBezTo>
                  <a:cubicBezTo>
                    <a:pt x="3953" y="926"/>
                    <a:pt x="3953" y="926"/>
                    <a:pt x="3953" y="926"/>
                  </a:cubicBezTo>
                  <a:moveTo>
                    <a:pt x="3994" y="926"/>
                  </a:moveTo>
                  <a:cubicBezTo>
                    <a:pt x="3986" y="926"/>
                    <a:pt x="3982" y="930"/>
                    <a:pt x="3985" y="936"/>
                  </a:cubicBezTo>
                  <a:cubicBezTo>
                    <a:pt x="3988" y="942"/>
                    <a:pt x="3997" y="946"/>
                    <a:pt x="4005" y="946"/>
                  </a:cubicBezTo>
                  <a:cubicBezTo>
                    <a:pt x="4013" y="946"/>
                    <a:pt x="4017" y="942"/>
                    <a:pt x="4014" y="936"/>
                  </a:cubicBezTo>
                  <a:cubicBezTo>
                    <a:pt x="4011" y="930"/>
                    <a:pt x="4002" y="926"/>
                    <a:pt x="3994" y="926"/>
                  </a:cubicBezTo>
                  <a:cubicBezTo>
                    <a:pt x="3994" y="926"/>
                    <a:pt x="3994" y="926"/>
                    <a:pt x="3994" y="926"/>
                  </a:cubicBezTo>
                  <a:moveTo>
                    <a:pt x="4282" y="925"/>
                  </a:moveTo>
                  <a:cubicBezTo>
                    <a:pt x="4274" y="925"/>
                    <a:pt x="4270" y="930"/>
                    <a:pt x="4273" y="936"/>
                  </a:cubicBezTo>
                  <a:cubicBezTo>
                    <a:pt x="4277" y="941"/>
                    <a:pt x="4286" y="946"/>
                    <a:pt x="4294" y="946"/>
                  </a:cubicBezTo>
                  <a:cubicBezTo>
                    <a:pt x="4302" y="946"/>
                    <a:pt x="4306" y="941"/>
                    <a:pt x="4302" y="936"/>
                  </a:cubicBezTo>
                  <a:cubicBezTo>
                    <a:pt x="4299" y="930"/>
                    <a:pt x="4290" y="925"/>
                    <a:pt x="4282" y="925"/>
                  </a:cubicBezTo>
                  <a:cubicBezTo>
                    <a:pt x="4282" y="925"/>
                    <a:pt x="4282" y="925"/>
                    <a:pt x="4282" y="925"/>
                  </a:cubicBezTo>
                  <a:moveTo>
                    <a:pt x="218" y="911"/>
                  </a:moveTo>
                  <a:cubicBezTo>
                    <a:pt x="210" y="911"/>
                    <a:pt x="200" y="915"/>
                    <a:pt x="196" y="921"/>
                  </a:cubicBezTo>
                  <a:cubicBezTo>
                    <a:pt x="191" y="927"/>
                    <a:pt x="194" y="931"/>
                    <a:pt x="202" y="931"/>
                  </a:cubicBezTo>
                  <a:cubicBezTo>
                    <a:pt x="210" y="931"/>
                    <a:pt x="220" y="927"/>
                    <a:pt x="225" y="921"/>
                  </a:cubicBezTo>
                  <a:cubicBezTo>
                    <a:pt x="229" y="915"/>
                    <a:pt x="226" y="911"/>
                    <a:pt x="218" y="911"/>
                  </a:cubicBezTo>
                  <a:cubicBezTo>
                    <a:pt x="218" y="911"/>
                    <a:pt x="218" y="911"/>
                    <a:pt x="218" y="911"/>
                  </a:cubicBezTo>
                  <a:moveTo>
                    <a:pt x="260" y="911"/>
                  </a:moveTo>
                  <a:cubicBezTo>
                    <a:pt x="252" y="911"/>
                    <a:pt x="242" y="915"/>
                    <a:pt x="238" y="921"/>
                  </a:cubicBezTo>
                  <a:cubicBezTo>
                    <a:pt x="233" y="926"/>
                    <a:pt x="236" y="931"/>
                    <a:pt x="244" y="931"/>
                  </a:cubicBezTo>
                  <a:cubicBezTo>
                    <a:pt x="252" y="931"/>
                    <a:pt x="262" y="926"/>
                    <a:pt x="266" y="921"/>
                  </a:cubicBezTo>
                  <a:cubicBezTo>
                    <a:pt x="271" y="915"/>
                    <a:pt x="268" y="911"/>
                    <a:pt x="260" y="911"/>
                  </a:cubicBezTo>
                  <a:cubicBezTo>
                    <a:pt x="260" y="911"/>
                    <a:pt x="260" y="911"/>
                    <a:pt x="260" y="911"/>
                  </a:cubicBezTo>
                  <a:moveTo>
                    <a:pt x="300" y="911"/>
                  </a:moveTo>
                  <a:cubicBezTo>
                    <a:pt x="292" y="911"/>
                    <a:pt x="283" y="915"/>
                    <a:pt x="278" y="921"/>
                  </a:cubicBezTo>
                  <a:cubicBezTo>
                    <a:pt x="274" y="926"/>
                    <a:pt x="277" y="931"/>
                    <a:pt x="285" y="931"/>
                  </a:cubicBezTo>
                  <a:cubicBezTo>
                    <a:pt x="293" y="931"/>
                    <a:pt x="303" y="926"/>
                    <a:pt x="307" y="921"/>
                  </a:cubicBezTo>
                  <a:cubicBezTo>
                    <a:pt x="311" y="915"/>
                    <a:pt x="308" y="911"/>
                    <a:pt x="300" y="911"/>
                  </a:cubicBezTo>
                  <a:cubicBezTo>
                    <a:pt x="300" y="911"/>
                    <a:pt x="300" y="911"/>
                    <a:pt x="300" y="911"/>
                  </a:cubicBezTo>
                  <a:moveTo>
                    <a:pt x="342" y="910"/>
                  </a:moveTo>
                  <a:cubicBezTo>
                    <a:pt x="334" y="910"/>
                    <a:pt x="324" y="915"/>
                    <a:pt x="320" y="921"/>
                  </a:cubicBezTo>
                  <a:cubicBezTo>
                    <a:pt x="316" y="926"/>
                    <a:pt x="319" y="931"/>
                    <a:pt x="327" y="931"/>
                  </a:cubicBezTo>
                  <a:cubicBezTo>
                    <a:pt x="335" y="931"/>
                    <a:pt x="345" y="926"/>
                    <a:pt x="349" y="920"/>
                  </a:cubicBezTo>
                  <a:cubicBezTo>
                    <a:pt x="353" y="915"/>
                    <a:pt x="350" y="910"/>
                    <a:pt x="342" y="910"/>
                  </a:cubicBezTo>
                  <a:cubicBezTo>
                    <a:pt x="342" y="910"/>
                    <a:pt x="342" y="910"/>
                    <a:pt x="342" y="910"/>
                  </a:cubicBezTo>
                  <a:moveTo>
                    <a:pt x="383" y="910"/>
                  </a:moveTo>
                  <a:cubicBezTo>
                    <a:pt x="375" y="910"/>
                    <a:pt x="365" y="915"/>
                    <a:pt x="361" y="920"/>
                  </a:cubicBezTo>
                  <a:cubicBezTo>
                    <a:pt x="357" y="926"/>
                    <a:pt x="360" y="930"/>
                    <a:pt x="368" y="930"/>
                  </a:cubicBezTo>
                  <a:cubicBezTo>
                    <a:pt x="376" y="930"/>
                    <a:pt x="386" y="926"/>
                    <a:pt x="390" y="920"/>
                  </a:cubicBezTo>
                  <a:cubicBezTo>
                    <a:pt x="394" y="915"/>
                    <a:pt x="391" y="910"/>
                    <a:pt x="383" y="910"/>
                  </a:cubicBezTo>
                  <a:cubicBezTo>
                    <a:pt x="383" y="910"/>
                    <a:pt x="383" y="910"/>
                    <a:pt x="383" y="910"/>
                  </a:cubicBezTo>
                  <a:moveTo>
                    <a:pt x="1646" y="904"/>
                  </a:moveTo>
                  <a:cubicBezTo>
                    <a:pt x="1638" y="904"/>
                    <a:pt x="1631" y="908"/>
                    <a:pt x="1629" y="914"/>
                  </a:cubicBezTo>
                  <a:cubicBezTo>
                    <a:pt x="1627" y="920"/>
                    <a:pt x="1633" y="924"/>
                    <a:pt x="1641" y="924"/>
                  </a:cubicBezTo>
                  <a:cubicBezTo>
                    <a:pt x="1648" y="924"/>
                    <a:pt x="1656" y="919"/>
                    <a:pt x="1658" y="914"/>
                  </a:cubicBezTo>
                  <a:cubicBezTo>
                    <a:pt x="1659" y="908"/>
                    <a:pt x="1654" y="904"/>
                    <a:pt x="1646" y="904"/>
                  </a:cubicBezTo>
                  <a:cubicBezTo>
                    <a:pt x="1646" y="904"/>
                    <a:pt x="1646" y="904"/>
                    <a:pt x="1646" y="904"/>
                  </a:cubicBezTo>
                  <a:moveTo>
                    <a:pt x="1693" y="904"/>
                  </a:moveTo>
                  <a:cubicBezTo>
                    <a:pt x="1685" y="904"/>
                    <a:pt x="1678" y="908"/>
                    <a:pt x="1676" y="914"/>
                  </a:cubicBezTo>
                  <a:cubicBezTo>
                    <a:pt x="1675" y="919"/>
                    <a:pt x="1680" y="924"/>
                    <a:pt x="1688" y="924"/>
                  </a:cubicBezTo>
                  <a:cubicBezTo>
                    <a:pt x="1696" y="924"/>
                    <a:pt x="1703" y="919"/>
                    <a:pt x="1705" y="914"/>
                  </a:cubicBezTo>
                  <a:cubicBezTo>
                    <a:pt x="1706" y="908"/>
                    <a:pt x="1701" y="904"/>
                    <a:pt x="1693" y="904"/>
                  </a:cubicBezTo>
                  <a:cubicBezTo>
                    <a:pt x="1693" y="904"/>
                    <a:pt x="1693" y="904"/>
                    <a:pt x="1693" y="904"/>
                  </a:cubicBezTo>
                  <a:moveTo>
                    <a:pt x="1732" y="903"/>
                  </a:moveTo>
                  <a:cubicBezTo>
                    <a:pt x="1724" y="903"/>
                    <a:pt x="1716" y="908"/>
                    <a:pt x="1715" y="914"/>
                  </a:cubicBezTo>
                  <a:cubicBezTo>
                    <a:pt x="1713" y="919"/>
                    <a:pt x="1718" y="924"/>
                    <a:pt x="1726" y="924"/>
                  </a:cubicBezTo>
                  <a:cubicBezTo>
                    <a:pt x="1734" y="924"/>
                    <a:pt x="1742" y="919"/>
                    <a:pt x="1743" y="913"/>
                  </a:cubicBezTo>
                  <a:cubicBezTo>
                    <a:pt x="1745" y="908"/>
                    <a:pt x="1739" y="903"/>
                    <a:pt x="1732" y="903"/>
                  </a:cubicBezTo>
                  <a:cubicBezTo>
                    <a:pt x="1732" y="903"/>
                    <a:pt x="1732" y="903"/>
                    <a:pt x="1732" y="903"/>
                  </a:cubicBezTo>
                  <a:moveTo>
                    <a:pt x="1772" y="903"/>
                  </a:moveTo>
                  <a:cubicBezTo>
                    <a:pt x="1764" y="903"/>
                    <a:pt x="1757" y="908"/>
                    <a:pt x="1755" y="913"/>
                  </a:cubicBezTo>
                  <a:cubicBezTo>
                    <a:pt x="1754" y="919"/>
                    <a:pt x="1759" y="924"/>
                    <a:pt x="1767" y="924"/>
                  </a:cubicBezTo>
                  <a:cubicBezTo>
                    <a:pt x="1775" y="924"/>
                    <a:pt x="1783" y="919"/>
                    <a:pt x="1784" y="913"/>
                  </a:cubicBezTo>
                  <a:cubicBezTo>
                    <a:pt x="1785" y="908"/>
                    <a:pt x="1780" y="903"/>
                    <a:pt x="1772" y="903"/>
                  </a:cubicBezTo>
                  <a:cubicBezTo>
                    <a:pt x="1772" y="903"/>
                    <a:pt x="1772" y="903"/>
                    <a:pt x="1772" y="903"/>
                  </a:cubicBezTo>
                  <a:moveTo>
                    <a:pt x="1813" y="903"/>
                  </a:moveTo>
                  <a:cubicBezTo>
                    <a:pt x="1805" y="903"/>
                    <a:pt x="1798" y="908"/>
                    <a:pt x="1797" y="913"/>
                  </a:cubicBezTo>
                  <a:cubicBezTo>
                    <a:pt x="1795" y="919"/>
                    <a:pt x="1801" y="923"/>
                    <a:pt x="1809" y="923"/>
                  </a:cubicBezTo>
                  <a:cubicBezTo>
                    <a:pt x="1817" y="923"/>
                    <a:pt x="1824" y="919"/>
                    <a:pt x="1825" y="913"/>
                  </a:cubicBezTo>
                  <a:cubicBezTo>
                    <a:pt x="1826" y="908"/>
                    <a:pt x="1821" y="903"/>
                    <a:pt x="1813" y="903"/>
                  </a:cubicBezTo>
                  <a:cubicBezTo>
                    <a:pt x="1813" y="903"/>
                    <a:pt x="1813" y="903"/>
                    <a:pt x="1813" y="903"/>
                  </a:cubicBezTo>
                  <a:moveTo>
                    <a:pt x="1854" y="903"/>
                  </a:moveTo>
                  <a:cubicBezTo>
                    <a:pt x="1847" y="903"/>
                    <a:pt x="1839" y="907"/>
                    <a:pt x="1838" y="913"/>
                  </a:cubicBezTo>
                  <a:cubicBezTo>
                    <a:pt x="1837" y="919"/>
                    <a:pt x="1842" y="923"/>
                    <a:pt x="1850" y="923"/>
                  </a:cubicBezTo>
                  <a:cubicBezTo>
                    <a:pt x="1858" y="923"/>
                    <a:pt x="1865" y="919"/>
                    <a:pt x="1867" y="913"/>
                  </a:cubicBezTo>
                  <a:cubicBezTo>
                    <a:pt x="1868" y="907"/>
                    <a:pt x="1862" y="903"/>
                    <a:pt x="1855" y="903"/>
                  </a:cubicBezTo>
                  <a:cubicBezTo>
                    <a:pt x="1855" y="903"/>
                    <a:pt x="1854" y="903"/>
                    <a:pt x="1854" y="903"/>
                  </a:cubicBezTo>
                  <a:moveTo>
                    <a:pt x="1895" y="903"/>
                  </a:moveTo>
                  <a:cubicBezTo>
                    <a:pt x="1887" y="903"/>
                    <a:pt x="1880" y="907"/>
                    <a:pt x="1879" y="913"/>
                  </a:cubicBezTo>
                  <a:cubicBezTo>
                    <a:pt x="1878" y="919"/>
                    <a:pt x="1883" y="923"/>
                    <a:pt x="1891" y="923"/>
                  </a:cubicBezTo>
                  <a:cubicBezTo>
                    <a:pt x="1899" y="923"/>
                    <a:pt x="1906" y="918"/>
                    <a:pt x="1907" y="913"/>
                  </a:cubicBezTo>
                  <a:cubicBezTo>
                    <a:pt x="1908" y="907"/>
                    <a:pt x="1903" y="903"/>
                    <a:pt x="1895" y="903"/>
                  </a:cubicBezTo>
                  <a:cubicBezTo>
                    <a:pt x="1895" y="903"/>
                    <a:pt x="1895" y="903"/>
                    <a:pt x="1895" y="903"/>
                  </a:cubicBezTo>
                  <a:moveTo>
                    <a:pt x="1936" y="903"/>
                  </a:moveTo>
                  <a:cubicBezTo>
                    <a:pt x="1928" y="903"/>
                    <a:pt x="1921" y="907"/>
                    <a:pt x="1920" y="913"/>
                  </a:cubicBezTo>
                  <a:cubicBezTo>
                    <a:pt x="1919" y="918"/>
                    <a:pt x="1924" y="923"/>
                    <a:pt x="1932" y="923"/>
                  </a:cubicBezTo>
                  <a:cubicBezTo>
                    <a:pt x="1940" y="923"/>
                    <a:pt x="1947" y="918"/>
                    <a:pt x="1948" y="913"/>
                  </a:cubicBezTo>
                  <a:cubicBezTo>
                    <a:pt x="1949" y="907"/>
                    <a:pt x="1944" y="903"/>
                    <a:pt x="1936" y="903"/>
                  </a:cubicBezTo>
                  <a:cubicBezTo>
                    <a:pt x="1936" y="903"/>
                    <a:pt x="1936" y="903"/>
                    <a:pt x="1936" y="903"/>
                  </a:cubicBezTo>
                  <a:moveTo>
                    <a:pt x="1977" y="902"/>
                  </a:moveTo>
                  <a:cubicBezTo>
                    <a:pt x="1969" y="902"/>
                    <a:pt x="1961" y="907"/>
                    <a:pt x="1960" y="913"/>
                  </a:cubicBezTo>
                  <a:cubicBezTo>
                    <a:pt x="1959" y="918"/>
                    <a:pt x="1965" y="923"/>
                    <a:pt x="1973" y="923"/>
                  </a:cubicBezTo>
                  <a:cubicBezTo>
                    <a:pt x="1981" y="923"/>
                    <a:pt x="1988" y="918"/>
                    <a:pt x="1989" y="912"/>
                  </a:cubicBezTo>
                  <a:cubicBezTo>
                    <a:pt x="1990" y="907"/>
                    <a:pt x="1984" y="902"/>
                    <a:pt x="1977" y="902"/>
                  </a:cubicBezTo>
                  <a:cubicBezTo>
                    <a:pt x="1977" y="902"/>
                    <a:pt x="1977" y="902"/>
                    <a:pt x="1977" y="902"/>
                  </a:cubicBezTo>
                  <a:moveTo>
                    <a:pt x="2017" y="902"/>
                  </a:moveTo>
                  <a:cubicBezTo>
                    <a:pt x="2010" y="902"/>
                    <a:pt x="2002" y="907"/>
                    <a:pt x="2002" y="912"/>
                  </a:cubicBezTo>
                  <a:cubicBezTo>
                    <a:pt x="2001" y="918"/>
                    <a:pt x="2006" y="923"/>
                    <a:pt x="2014" y="923"/>
                  </a:cubicBezTo>
                  <a:cubicBezTo>
                    <a:pt x="2022" y="923"/>
                    <a:pt x="2029" y="918"/>
                    <a:pt x="2030" y="912"/>
                  </a:cubicBezTo>
                  <a:cubicBezTo>
                    <a:pt x="2031" y="907"/>
                    <a:pt x="2025" y="902"/>
                    <a:pt x="2018" y="902"/>
                  </a:cubicBezTo>
                  <a:cubicBezTo>
                    <a:pt x="2018" y="902"/>
                    <a:pt x="2018" y="902"/>
                    <a:pt x="2017" y="902"/>
                  </a:cubicBezTo>
                  <a:moveTo>
                    <a:pt x="2060" y="902"/>
                  </a:moveTo>
                  <a:cubicBezTo>
                    <a:pt x="2052" y="902"/>
                    <a:pt x="2045" y="907"/>
                    <a:pt x="2044" y="912"/>
                  </a:cubicBezTo>
                  <a:cubicBezTo>
                    <a:pt x="2043" y="918"/>
                    <a:pt x="2049" y="922"/>
                    <a:pt x="2057" y="922"/>
                  </a:cubicBezTo>
                  <a:cubicBezTo>
                    <a:pt x="2065" y="922"/>
                    <a:pt x="2072" y="918"/>
                    <a:pt x="2073" y="912"/>
                  </a:cubicBezTo>
                  <a:cubicBezTo>
                    <a:pt x="2073" y="907"/>
                    <a:pt x="2068" y="902"/>
                    <a:pt x="2060" y="902"/>
                  </a:cubicBezTo>
                  <a:cubicBezTo>
                    <a:pt x="2060" y="902"/>
                    <a:pt x="2060" y="902"/>
                    <a:pt x="2060" y="902"/>
                  </a:cubicBezTo>
                  <a:moveTo>
                    <a:pt x="2100" y="902"/>
                  </a:moveTo>
                  <a:cubicBezTo>
                    <a:pt x="2092" y="902"/>
                    <a:pt x="2085" y="906"/>
                    <a:pt x="2085" y="912"/>
                  </a:cubicBezTo>
                  <a:cubicBezTo>
                    <a:pt x="2084" y="918"/>
                    <a:pt x="2090" y="922"/>
                    <a:pt x="2098" y="922"/>
                  </a:cubicBezTo>
                  <a:cubicBezTo>
                    <a:pt x="2106" y="922"/>
                    <a:pt x="2113" y="918"/>
                    <a:pt x="2113" y="912"/>
                  </a:cubicBezTo>
                  <a:cubicBezTo>
                    <a:pt x="2114" y="906"/>
                    <a:pt x="2108" y="902"/>
                    <a:pt x="2100" y="902"/>
                  </a:cubicBezTo>
                  <a:cubicBezTo>
                    <a:pt x="2100" y="902"/>
                    <a:pt x="2100" y="902"/>
                    <a:pt x="2100" y="902"/>
                  </a:cubicBezTo>
                  <a:moveTo>
                    <a:pt x="2141" y="902"/>
                  </a:moveTo>
                  <a:cubicBezTo>
                    <a:pt x="2133" y="902"/>
                    <a:pt x="2126" y="906"/>
                    <a:pt x="2126" y="912"/>
                  </a:cubicBezTo>
                  <a:cubicBezTo>
                    <a:pt x="2125" y="918"/>
                    <a:pt x="2131" y="922"/>
                    <a:pt x="2139" y="922"/>
                  </a:cubicBezTo>
                  <a:cubicBezTo>
                    <a:pt x="2147" y="922"/>
                    <a:pt x="2154" y="917"/>
                    <a:pt x="2154" y="912"/>
                  </a:cubicBezTo>
                  <a:cubicBezTo>
                    <a:pt x="2155" y="906"/>
                    <a:pt x="2149" y="902"/>
                    <a:pt x="2141" y="902"/>
                  </a:cubicBezTo>
                  <a:cubicBezTo>
                    <a:pt x="2141" y="902"/>
                    <a:pt x="2141" y="902"/>
                    <a:pt x="2141" y="902"/>
                  </a:cubicBezTo>
                  <a:moveTo>
                    <a:pt x="2182" y="901"/>
                  </a:moveTo>
                  <a:cubicBezTo>
                    <a:pt x="2175" y="902"/>
                    <a:pt x="2168" y="906"/>
                    <a:pt x="2167" y="912"/>
                  </a:cubicBezTo>
                  <a:cubicBezTo>
                    <a:pt x="2167" y="917"/>
                    <a:pt x="2172" y="922"/>
                    <a:pt x="2180" y="922"/>
                  </a:cubicBezTo>
                  <a:cubicBezTo>
                    <a:pt x="2188" y="922"/>
                    <a:pt x="2195" y="917"/>
                    <a:pt x="2196" y="912"/>
                  </a:cubicBezTo>
                  <a:cubicBezTo>
                    <a:pt x="2196" y="906"/>
                    <a:pt x="2190" y="901"/>
                    <a:pt x="2183" y="901"/>
                  </a:cubicBezTo>
                  <a:cubicBezTo>
                    <a:pt x="2183" y="901"/>
                    <a:pt x="2183" y="901"/>
                    <a:pt x="2182" y="901"/>
                  </a:cubicBezTo>
                  <a:moveTo>
                    <a:pt x="2223" y="901"/>
                  </a:moveTo>
                  <a:cubicBezTo>
                    <a:pt x="2215" y="901"/>
                    <a:pt x="2208" y="906"/>
                    <a:pt x="2208" y="912"/>
                  </a:cubicBezTo>
                  <a:cubicBezTo>
                    <a:pt x="2207" y="917"/>
                    <a:pt x="2213" y="922"/>
                    <a:pt x="2221" y="922"/>
                  </a:cubicBezTo>
                  <a:cubicBezTo>
                    <a:pt x="2229" y="922"/>
                    <a:pt x="2236" y="917"/>
                    <a:pt x="2237" y="911"/>
                  </a:cubicBezTo>
                  <a:cubicBezTo>
                    <a:pt x="2237" y="906"/>
                    <a:pt x="2231" y="901"/>
                    <a:pt x="2223" y="901"/>
                  </a:cubicBezTo>
                  <a:cubicBezTo>
                    <a:pt x="2223" y="901"/>
                    <a:pt x="2223" y="901"/>
                    <a:pt x="2223" y="901"/>
                  </a:cubicBezTo>
                  <a:moveTo>
                    <a:pt x="2836" y="901"/>
                  </a:moveTo>
                  <a:cubicBezTo>
                    <a:pt x="2828" y="901"/>
                    <a:pt x="2822" y="906"/>
                    <a:pt x="2823" y="911"/>
                  </a:cubicBezTo>
                  <a:cubicBezTo>
                    <a:pt x="2824" y="917"/>
                    <a:pt x="2831" y="922"/>
                    <a:pt x="2838" y="922"/>
                  </a:cubicBezTo>
                  <a:cubicBezTo>
                    <a:pt x="2846" y="922"/>
                    <a:pt x="2852" y="917"/>
                    <a:pt x="2852" y="911"/>
                  </a:cubicBezTo>
                  <a:cubicBezTo>
                    <a:pt x="2851" y="906"/>
                    <a:pt x="2844" y="901"/>
                    <a:pt x="2836" y="901"/>
                  </a:cubicBezTo>
                  <a:cubicBezTo>
                    <a:pt x="2836" y="901"/>
                    <a:pt x="2836" y="901"/>
                    <a:pt x="2836" y="901"/>
                  </a:cubicBezTo>
                  <a:moveTo>
                    <a:pt x="2264" y="901"/>
                  </a:moveTo>
                  <a:cubicBezTo>
                    <a:pt x="2256" y="901"/>
                    <a:pt x="2249" y="906"/>
                    <a:pt x="2249" y="911"/>
                  </a:cubicBezTo>
                  <a:cubicBezTo>
                    <a:pt x="2248" y="917"/>
                    <a:pt x="2254" y="922"/>
                    <a:pt x="2262" y="922"/>
                  </a:cubicBezTo>
                  <a:cubicBezTo>
                    <a:pt x="2270" y="922"/>
                    <a:pt x="2277" y="917"/>
                    <a:pt x="2277" y="911"/>
                  </a:cubicBezTo>
                  <a:cubicBezTo>
                    <a:pt x="2278" y="906"/>
                    <a:pt x="2272" y="901"/>
                    <a:pt x="2264" y="901"/>
                  </a:cubicBezTo>
                  <a:cubicBezTo>
                    <a:pt x="2264" y="901"/>
                    <a:pt x="2264" y="901"/>
                    <a:pt x="2264" y="901"/>
                  </a:cubicBezTo>
                  <a:moveTo>
                    <a:pt x="2304" y="901"/>
                  </a:moveTo>
                  <a:cubicBezTo>
                    <a:pt x="2297" y="901"/>
                    <a:pt x="2290" y="906"/>
                    <a:pt x="2290" y="911"/>
                  </a:cubicBezTo>
                  <a:cubicBezTo>
                    <a:pt x="2289" y="917"/>
                    <a:pt x="2295" y="921"/>
                    <a:pt x="2303" y="921"/>
                  </a:cubicBezTo>
                  <a:cubicBezTo>
                    <a:pt x="2311" y="921"/>
                    <a:pt x="2318" y="917"/>
                    <a:pt x="2318" y="911"/>
                  </a:cubicBezTo>
                  <a:cubicBezTo>
                    <a:pt x="2319" y="906"/>
                    <a:pt x="2312" y="901"/>
                    <a:pt x="2305" y="901"/>
                  </a:cubicBezTo>
                  <a:cubicBezTo>
                    <a:pt x="2305" y="901"/>
                    <a:pt x="2305" y="901"/>
                    <a:pt x="2304" y="901"/>
                  </a:cubicBezTo>
                  <a:moveTo>
                    <a:pt x="2917" y="901"/>
                  </a:moveTo>
                  <a:cubicBezTo>
                    <a:pt x="2909" y="901"/>
                    <a:pt x="2904" y="906"/>
                    <a:pt x="2904" y="911"/>
                  </a:cubicBezTo>
                  <a:cubicBezTo>
                    <a:pt x="2905" y="917"/>
                    <a:pt x="2912" y="921"/>
                    <a:pt x="2920" y="921"/>
                  </a:cubicBezTo>
                  <a:cubicBezTo>
                    <a:pt x="2928" y="921"/>
                    <a:pt x="2934" y="917"/>
                    <a:pt x="2933" y="911"/>
                  </a:cubicBezTo>
                  <a:cubicBezTo>
                    <a:pt x="2932" y="905"/>
                    <a:pt x="2925" y="901"/>
                    <a:pt x="2917" y="901"/>
                  </a:cubicBezTo>
                  <a:cubicBezTo>
                    <a:pt x="2917" y="901"/>
                    <a:pt x="2917" y="901"/>
                    <a:pt x="2917" y="901"/>
                  </a:cubicBezTo>
                  <a:moveTo>
                    <a:pt x="2345" y="901"/>
                  </a:moveTo>
                  <a:cubicBezTo>
                    <a:pt x="2338" y="901"/>
                    <a:pt x="2331" y="905"/>
                    <a:pt x="2331" y="911"/>
                  </a:cubicBezTo>
                  <a:cubicBezTo>
                    <a:pt x="2330" y="917"/>
                    <a:pt x="2337" y="921"/>
                    <a:pt x="2344" y="921"/>
                  </a:cubicBezTo>
                  <a:cubicBezTo>
                    <a:pt x="2352" y="921"/>
                    <a:pt x="2359" y="917"/>
                    <a:pt x="2359" y="911"/>
                  </a:cubicBezTo>
                  <a:cubicBezTo>
                    <a:pt x="2360" y="905"/>
                    <a:pt x="2353" y="901"/>
                    <a:pt x="2346" y="901"/>
                  </a:cubicBezTo>
                  <a:cubicBezTo>
                    <a:pt x="2345" y="901"/>
                    <a:pt x="2345" y="901"/>
                    <a:pt x="2345" y="901"/>
                  </a:cubicBezTo>
                  <a:moveTo>
                    <a:pt x="2387" y="901"/>
                  </a:moveTo>
                  <a:cubicBezTo>
                    <a:pt x="2379" y="901"/>
                    <a:pt x="2372" y="905"/>
                    <a:pt x="2372" y="911"/>
                  </a:cubicBezTo>
                  <a:cubicBezTo>
                    <a:pt x="2372" y="917"/>
                    <a:pt x="2378" y="921"/>
                    <a:pt x="2386" y="921"/>
                  </a:cubicBezTo>
                  <a:cubicBezTo>
                    <a:pt x="2394" y="921"/>
                    <a:pt x="2401" y="916"/>
                    <a:pt x="2401" y="911"/>
                  </a:cubicBezTo>
                  <a:cubicBezTo>
                    <a:pt x="2401" y="905"/>
                    <a:pt x="2395" y="901"/>
                    <a:pt x="2387" y="901"/>
                  </a:cubicBezTo>
                  <a:cubicBezTo>
                    <a:pt x="2387" y="901"/>
                    <a:pt x="2387" y="901"/>
                    <a:pt x="2387" y="901"/>
                  </a:cubicBezTo>
                  <a:moveTo>
                    <a:pt x="2427" y="900"/>
                  </a:moveTo>
                  <a:cubicBezTo>
                    <a:pt x="2419" y="901"/>
                    <a:pt x="2413" y="905"/>
                    <a:pt x="2413" y="911"/>
                  </a:cubicBezTo>
                  <a:cubicBezTo>
                    <a:pt x="2413" y="916"/>
                    <a:pt x="2419" y="921"/>
                    <a:pt x="2427" y="921"/>
                  </a:cubicBezTo>
                  <a:cubicBezTo>
                    <a:pt x="2435" y="921"/>
                    <a:pt x="2441" y="916"/>
                    <a:pt x="2441" y="911"/>
                  </a:cubicBezTo>
                  <a:cubicBezTo>
                    <a:pt x="2442" y="905"/>
                    <a:pt x="2435" y="900"/>
                    <a:pt x="2427" y="900"/>
                  </a:cubicBezTo>
                  <a:cubicBezTo>
                    <a:pt x="2427" y="900"/>
                    <a:pt x="2427" y="900"/>
                    <a:pt x="2427" y="900"/>
                  </a:cubicBezTo>
                  <a:moveTo>
                    <a:pt x="2468" y="900"/>
                  </a:moveTo>
                  <a:cubicBezTo>
                    <a:pt x="2460" y="900"/>
                    <a:pt x="2454" y="905"/>
                    <a:pt x="2454" y="911"/>
                  </a:cubicBezTo>
                  <a:cubicBezTo>
                    <a:pt x="2454" y="916"/>
                    <a:pt x="2460" y="921"/>
                    <a:pt x="2468" y="921"/>
                  </a:cubicBezTo>
                  <a:cubicBezTo>
                    <a:pt x="2476" y="921"/>
                    <a:pt x="2482" y="916"/>
                    <a:pt x="2482" y="910"/>
                  </a:cubicBezTo>
                  <a:cubicBezTo>
                    <a:pt x="2482" y="905"/>
                    <a:pt x="2476" y="900"/>
                    <a:pt x="2468" y="900"/>
                  </a:cubicBezTo>
                  <a:cubicBezTo>
                    <a:pt x="2468" y="900"/>
                    <a:pt x="2468" y="900"/>
                    <a:pt x="2468" y="900"/>
                  </a:cubicBezTo>
                  <a:moveTo>
                    <a:pt x="2509" y="900"/>
                  </a:moveTo>
                  <a:cubicBezTo>
                    <a:pt x="2501" y="900"/>
                    <a:pt x="2494" y="905"/>
                    <a:pt x="2494" y="910"/>
                  </a:cubicBezTo>
                  <a:cubicBezTo>
                    <a:pt x="2494" y="916"/>
                    <a:pt x="2501" y="921"/>
                    <a:pt x="2509" y="921"/>
                  </a:cubicBezTo>
                  <a:cubicBezTo>
                    <a:pt x="2517" y="921"/>
                    <a:pt x="2523" y="916"/>
                    <a:pt x="2523" y="910"/>
                  </a:cubicBezTo>
                  <a:cubicBezTo>
                    <a:pt x="2523" y="905"/>
                    <a:pt x="2517" y="900"/>
                    <a:pt x="2509" y="900"/>
                  </a:cubicBezTo>
                  <a:cubicBezTo>
                    <a:pt x="2509" y="900"/>
                    <a:pt x="2509" y="900"/>
                    <a:pt x="2509" y="900"/>
                  </a:cubicBezTo>
                  <a:moveTo>
                    <a:pt x="2550" y="900"/>
                  </a:moveTo>
                  <a:cubicBezTo>
                    <a:pt x="2542" y="900"/>
                    <a:pt x="2535" y="905"/>
                    <a:pt x="2536" y="910"/>
                  </a:cubicBezTo>
                  <a:cubicBezTo>
                    <a:pt x="2536" y="916"/>
                    <a:pt x="2542" y="920"/>
                    <a:pt x="2550" y="920"/>
                  </a:cubicBezTo>
                  <a:cubicBezTo>
                    <a:pt x="2558" y="920"/>
                    <a:pt x="2564" y="916"/>
                    <a:pt x="2564" y="910"/>
                  </a:cubicBezTo>
                  <a:cubicBezTo>
                    <a:pt x="2564" y="905"/>
                    <a:pt x="2558" y="900"/>
                    <a:pt x="2550" y="900"/>
                  </a:cubicBezTo>
                  <a:cubicBezTo>
                    <a:pt x="2550" y="900"/>
                    <a:pt x="2550" y="900"/>
                    <a:pt x="2550" y="900"/>
                  </a:cubicBezTo>
                  <a:moveTo>
                    <a:pt x="2591" y="900"/>
                  </a:moveTo>
                  <a:cubicBezTo>
                    <a:pt x="2583" y="900"/>
                    <a:pt x="2577" y="904"/>
                    <a:pt x="2577" y="910"/>
                  </a:cubicBezTo>
                  <a:cubicBezTo>
                    <a:pt x="2577" y="916"/>
                    <a:pt x="2584" y="920"/>
                    <a:pt x="2592" y="920"/>
                  </a:cubicBezTo>
                  <a:cubicBezTo>
                    <a:pt x="2600" y="920"/>
                    <a:pt x="2606" y="916"/>
                    <a:pt x="2606" y="910"/>
                  </a:cubicBezTo>
                  <a:cubicBezTo>
                    <a:pt x="2605" y="904"/>
                    <a:pt x="2599" y="900"/>
                    <a:pt x="2591" y="900"/>
                  </a:cubicBezTo>
                  <a:cubicBezTo>
                    <a:pt x="2591" y="900"/>
                    <a:pt x="2591" y="900"/>
                    <a:pt x="2591" y="900"/>
                  </a:cubicBezTo>
                  <a:moveTo>
                    <a:pt x="2874" y="900"/>
                  </a:moveTo>
                  <a:cubicBezTo>
                    <a:pt x="2866" y="900"/>
                    <a:pt x="2861" y="904"/>
                    <a:pt x="2861" y="910"/>
                  </a:cubicBezTo>
                  <a:cubicBezTo>
                    <a:pt x="2862" y="916"/>
                    <a:pt x="2869" y="920"/>
                    <a:pt x="2877" y="920"/>
                  </a:cubicBezTo>
                  <a:cubicBezTo>
                    <a:pt x="2885" y="920"/>
                    <a:pt x="2891" y="916"/>
                    <a:pt x="2890" y="910"/>
                  </a:cubicBezTo>
                  <a:cubicBezTo>
                    <a:pt x="2889" y="904"/>
                    <a:pt x="2882" y="900"/>
                    <a:pt x="2874" y="900"/>
                  </a:cubicBezTo>
                  <a:cubicBezTo>
                    <a:pt x="2874" y="900"/>
                    <a:pt x="2874" y="900"/>
                    <a:pt x="2874" y="900"/>
                  </a:cubicBezTo>
                  <a:moveTo>
                    <a:pt x="2631" y="900"/>
                  </a:moveTo>
                  <a:cubicBezTo>
                    <a:pt x="2624" y="900"/>
                    <a:pt x="2617" y="904"/>
                    <a:pt x="2618" y="910"/>
                  </a:cubicBezTo>
                  <a:cubicBezTo>
                    <a:pt x="2618" y="916"/>
                    <a:pt x="2625" y="920"/>
                    <a:pt x="2632" y="920"/>
                  </a:cubicBezTo>
                  <a:cubicBezTo>
                    <a:pt x="2640" y="920"/>
                    <a:pt x="2647" y="915"/>
                    <a:pt x="2646" y="910"/>
                  </a:cubicBezTo>
                  <a:cubicBezTo>
                    <a:pt x="2646" y="904"/>
                    <a:pt x="2639" y="900"/>
                    <a:pt x="2632" y="900"/>
                  </a:cubicBezTo>
                  <a:cubicBezTo>
                    <a:pt x="2632" y="900"/>
                    <a:pt x="2631" y="900"/>
                    <a:pt x="2631" y="900"/>
                  </a:cubicBezTo>
                  <a:moveTo>
                    <a:pt x="2673" y="899"/>
                  </a:moveTo>
                  <a:cubicBezTo>
                    <a:pt x="2665" y="899"/>
                    <a:pt x="2659" y="904"/>
                    <a:pt x="2659" y="910"/>
                  </a:cubicBezTo>
                  <a:cubicBezTo>
                    <a:pt x="2659" y="915"/>
                    <a:pt x="2666" y="920"/>
                    <a:pt x="2674" y="920"/>
                  </a:cubicBezTo>
                  <a:cubicBezTo>
                    <a:pt x="2682" y="920"/>
                    <a:pt x="2688" y="915"/>
                    <a:pt x="2688" y="910"/>
                  </a:cubicBezTo>
                  <a:cubicBezTo>
                    <a:pt x="2687" y="904"/>
                    <a:pt x="2681" y="899"/>
                    <a:pt x="2673" y="899"/>
                  </a:cubicBezTo>
                  <a:cubicBezTo>
                    <a:pt x="2673" y="899"/>
                    <a:pt x="2673" y="899"/>
                    <a:pt x="2673" y="899"/>
                  </a:cubicBezTo>
                  <a:moveTo>
                    <a:pt x="2955" y="899"/>
                  </a:moveTo>
                  <a:cubicBezTo>
                    <a:pt x="2948" y="899"/>
                    <a:pt x="2942" y="904"/>
                    <a:pt x="2943" y="910"/>
                  </a:cubicBezTo>
                  <a:cubicBezTo>
                    <a:pt x="2944" y="915"/>
                    <a:pt x="2951" y="920"/>
                    <a:pt x="2959" y="920"/>
                  </a:cubicBezTo>
                  <a:cubicBezTo>
                    <a:pt x="2967" y="920"/>
                    <a:pt x="2972" y="915"/>
                    <a:pt x="2971" y="910"/>
                  </a:cubicBezTo>
                  <a:cubicBezTo>
                    <a:pt x="2971" y="904"/>
                    <a:pt x="2963" y="899"/>
                    <a:pt x="2956" y="899"/>
                  </a:cubicBezTo>
                  <a:cubicBezTo>
                    <a:pt x="2956" y="899"/>
                    <a:pt x="2955" y="899"/>
                    <a:pt x="2955" y="899"/>
                  </a:cubicBezTo>
                  <a:moveTo>
                    <a:pt x="3365" y="898"/>
                  </a:moveTo>
                  <a:cubicBezTo>
                    <a:pt x="3357" y="898"/>
                    <a:pt x="3352" y="903"/>
                    <a:pt x="3354" y="909"/>
                  </a:cubicBezTo>
                  <a:cubicBezTo>
                    <a:pt x="3355" y="914"/>
                    <a:pt x="3363" y="919"/>
                    <a:pt x="3371" y="919"/>
                  </a:cubicBezTo>
                  <a:cubicBezTo>
                    <a:pt x="3379" y="919"/>
                    <a:pt x="3384" y="914"/>
                    <a:pt x="3382" y="909"/>
                  </a:cubicBezTo>
                  <a:cubicBezTo>
                    <a:pt x="3381" y="903"/>
                    <a:pt x="3373" y="898"/>
                    <a:pt x="3365" y="898"/>
                  </a:cubicBezTo>
                  <a:cubicBezTo>
                    <a:pt x="3365" y="898"/>
                    <a:pt x="3365" y="898"/>
                    <a:pt x="3365" y="898"/>
                  </a:cubicBezTo>
                  <a:moveTo>
                    <a:pt x="3405" y="898"/>
                  </a:moveTo>
                  <a:cubicBezTo>
                    <a:pt x="3398" y="898"/>
                    <a:pt x="3393" y="903"/>
                    <a:pt x="3394" y="909"/>
                  </a:cubicBezTo>
                  <a:cubicBezTo>
                    <a:pt x="3396" y="914"/>
                    <a:pt x="3404" y="919"/>
                    <a:pt x="3412" y="919"/>
                  </a:cubicBezTo>
                  <a:cubicBezTo>
                    <a:pt x="3420" y="919"/>
                    <a:pt x="3425" y="914"/>
                    <a:pt x="3423" y="908"/>
                  </a:cubicBezTo>
                  <a:cubicBezTo>
                    <a:pt x="3421" y="903"/>
                    <a:pt x="3413" y="898"/>
                    <a:pt x="3406" y="898"/>
                  </a:cubicBezTo>
                  <a:cubicBezTo>
                    <a:pt x="3406" y="898"/>
                    <a:pt x="3406" y="898"/>
                    <a:pt x="3405" y="898"/>
                  </a:cubicBezTo>
                  <a:moveTo>
                    <a:pt x="3446" y="898"/>
                  </a:moveTo>
                  <a:cubicBezTo>
                    <a:pt x="3439" y="898"/>
                    <a:pt x="3434" y="903"/>
                    <a:pt x="3435" y="908"/>
                  </a:cubicBezTo>
                  <a:cubicBezTo>
                    <a:pt x="3437" y="914"/>
                    <a:pt x="3445" y="919"/>
                    <a:pt x="3453" y="919"/>
                  </a:cubicBezTo>
                  <a:cubicBezTo>
                    <a:pt x="3461" y="919"/>
                    <a:pt x="3466" y="914"/>
                    <a:pt x="3464" y="908"/>
                  </a:cubicBezTo>
                  <a:cubicBezTo>
                    <a:pt x="3462" y="903"/>
                    <a:pt x="3454" y="898"/>
                    <a:pt x="3446" y="898"/>
                  </a:cubicBezTo>
                  <a:cubicBezTo>
                    <a:pt x="3446" y="898"/>
                    <a:pt x="3446" y="898"/>
                    <a:pt x="3446" y="898"/>
                  </a:cubicBezTo>
                  <a:moveTo>
                    <a:pt x="2794" y="898"/>
                  </a:moveTo>
                  <a:cubicBezTo>
                    <a:pt x="2786" y="898"/>
                    <a:pt x="2781" y="902"/>
                    <a:pt x="2781" y="908"/>
                  </a:cubicBezTo>
                  <a:cubicBezTo>
                    <a:pt x="2782" y="913"/>
                    <a:pt x="2789" y="918"/>
                    <a:pt x="2797" y="918"/>
                  </a:cubicBezTo>
                  <a:cubicBezTo>
                    <a:pt x="2804" y="918"/>
                    <a:pt x="2810" y="913"/>
                    <a:pt x="2810" y="908"/>
                  </a:cubicBezTo>
                  <a:cubicBezTo>
                    <a:pt x="2809" y="902"/>
                    <a:pt x="2802" y="898"/>
                    <a:pt x="2794" y="898"/>
                  </a:cubicBezTo>
                  <a:cubicBezTo>
                    <a:pt x="2794" y="898"/>
                    <a:pt x="2794" y="898"/>
                    <a:pt x="2794" y="898"/>
                  </a:cubicBezTo>
                  <a:moveTo>
                    <a:pt x="3814" y="897"/>
                  </a:moveTo>
                  <a:cubicBezTo>
                    <a:pt x="3806" y="897"/>
                    <a:pt x="3802" y="901"/>
                    <a:pt x="3805" y="907"/>
                  </a:cubicBezTo>
                  <a:cubicBezTo>
                    <a:pt x="3807" y="913"/>
                    <a:pt x="3816" y="917"/>
                    <a:pt x="3823" y="917"/>
                  </a:cubicBezTo>
                  <a:cubicBezTo>
                    <a:pt x="3831" y="917"/>
                    <a:pt x="3836" y="913"/>
                    <a:pt x="3833" y="907"/>
                  </a:cubicBezTo>
                  <a:cubicBezTo>
                    <a:pt x="3831" y="901"/>
                    <a:pt x="3822" y="897"/>
                    <a:pt x="3814" y="897"/>
                  </a:cubicBezTo>
                  <a:cubicBezTo>
                    <a:pt x="3814" y="897"/>
                    <a:pt x="3814" y="897"/>
                    <a:pt x="3814" y="897"/>
                  </a:cubicBezTo>
                  <a:moveTo>
                    <a:pt x="3855" y="897"/>
                  </a:moveTo>
                  <a:cubicBezTo>
                    <a:pt x="3847" y="897"/>
                    <a:pt x="3843" y="901"/>
                    <a:pt x="3846" y="907"/>
                  </a:cubicBezTo>
                  <a:cubicBezTo>
                    <a:pt x="3848" y="913"/>
                    <a:pt x="3857" y="917"/>
                    <a:pt x="3865" y="917"/>
                  </a:cubicBezTo>
                  <a:cubicBezTo>
                    <a:pt x="3873" y="917"/>
                    <a:pt x="3877" y="913"/>
                    <a:pt x="3874" y="907"/>
                  </a:cubicBezTo>
                  <a:cubicBezTo>
                    <a:pt x="3872" y="901"/>
                    <a:pt x="3863" y="897"/>
                    <a:pt x="3855" y="897"/>
                  </a:cubicBezTo>
                  <a:cubicBezTo>
                    <a:pt x="3855" y="897"/>
                    <a:pt x="3855" y="897"/>
                    <a:pt x="3855" y="897"/>
                  </a:cubicBezTo>
                  <a:moveTo>
                    <a:pt x="3898" y="896"/>
                  </a:moveTo>
                  <a:cubicBezTo>
                    <a:pt x="3891" y="897"/>
                    <a:pt x="3886" y="901"/>
                    <a:pt x="3889" y="907"/>
                  </a:cubicBezTo>
                  <a:cubicBezTo>
                    <a:pt x="3892" y="912"/>
                    <a:pt x="3900" y="917"/>
                    <a:pt x="3908" y="917"/>
                  </a:cubicBezTo>
                  <a:cubicBezTo>
                    <a:pt x="3916" y="917"/>
                    <a:pt x="3920" y="912"/>
                    <a:pt x="3918" y="907"/>
                  </a:cubicBezTo>
                  <a:cubicBezTo>
                    <a:pt x="3915" y="901"/>
                    <a:pt x="3906" y="896"/>
                    <a:pt x="3899" y="896"/>
                  </a:cubicBezTo>
                  <a:cubicBezTo>
                    <a:pt x="3899" y="896"/>
                    <a:pt x="3898" y="896"/>
                    <a:pt x="3898" y="896"/>
                  </a:cubicBezTo>
                  <a:moveTo>
                    <a:pt x="3939" y="896"/>
                  </a:moveTo>
                  <a:cubicBezTo>
                    <a:pt x="3931" y="896"/>
                    <a:pt x="3927" y="901"/>
                    <a:pt x="3929" y="907"/>
                  </a:cubicBezTo>
                  <a:cubicBezTo>
                    <a:pt x="3932" y="912"/>
                    <a:pt x="3941" y="917"/>
                    <a:pt x="3949" y="917"/>
                  </a:cubicBezTo>
                  <a:cubicBezTo>
                    <a:pt x="3957" y="917"/>
                    <a:pt x="3961" y="912"/>
                    <a:pt x="3958" y="907"/>
                  </a:cubicBezTo>
                  <a:cubicBezTo>
                    <a:pt x="3955" y="901"/>
                    <a:pt x="3947" y="896"/>
                    <a:pt x="3939" y="896"/>
                  </a:cubicBezTo>
                  <a:cubicBezTo>
                    <a:pt x="3939" y="896"/>
                    <a:pt x="3939" y="896"/>
                    <a:pt x="3939" y="896"/>
                  </a:cubicBezTo>
                  <a:moveTo>
                    <a:pt x="3979" y="896"/>
                  </a:moveTo>
                  <a:cubicBezTo>
                    <a:pt x="3971" y="896"/>
                    <a:pt x="3967" y="901"/>
                    <a:pt x="3970" y="906"/>
                  </a:cubicBezTo>
                  <a:cubicBezTo>
                    <a:pt x="3973" y="912"/>
                    <a:pt x="3982" y="917"/>
                    <a:pt x="3990" y="917"/>
                  </a:cubicBezTo>
                  <a:cubicBezTo>
                    <a:pt x="3997" y="917"/>
                    <a:pt x="4002" y="912"/>
                    <a:pt x="3999" y="906"/>
                  </a:cubicBezTo>
                  <a:cubicBezTo>
                    <a:pt x="3996" y="901"/>
                    <a:pt x="3987" y="896"/>
                    <a:pt x="3979" y="896"/>
                  </a:cubicBezTo>
                  <a:cubicBezTo>
                    <a:pt x="3979" y="896"/>
                    <a:pt x="3979" y="896"/>
                    <a:pt x="3979" y="896"/>
                  </a:cubicBezTo>
                  <a:moveTo>
                    <a:pt x="4223" y="894"/>
                  </a:moveTo>
                  <a:cubicBezTo>
                    <a:pt x="4215" y="894"/>
                    <a:pt x="4211" y="898"/>
                    <a:pt x="4215" y="904"/>
                  </a:cubicBezTo>
                  <a:cubicBezTo>
                    <a:pt x="4218" y="910"/>
                    <a:pt x="4227" y="914"/>
                    <a:pt x="4235" y="914"/>
                  </a:cubicBezTo>
                  <a:cubicBezTo>
                    <a:pt x="4243" y="914"/>
                    <a:pt x="4247" y="910"/>
                    <a:pt x="4243" y="904"/>
                  </a:cubicBezTo>
                  <a:cubicBezTo>
                    <a:pt x="4240" y="898"/>
                    <a:pt x="4231" y="894"/>
                    <a:pt x="4223" y="894"/>
                  </a:cubicBezTo>
                  <a:cubicBezTo>
                    <a:pt x="4223" y="894"/>
                    <a:pt x="4223" y="894"/>
                    <a:pt x="4223" y="894"/>
                  </a:cubicBezTo>
                  <a:moveTo>
                    <a:pt x="118" y="883"/>
                  </a:moveTo>
                  <a:cubicBezTo>
                    <a:pt x="110" y="883"/>
                    <a:pt x="100" y="888"/>
                    <a:pt x="95" y="894"/>
                  </a:cubicBezTo>
                  <a:cubicBezTo>
                    <a:pt x="91" y="899"/>
                    <a:pt x="94" y="904"/>
                    <a:pt x="101" y="904"/>
                  </a:cubicBezTo>
                  <a:cubicBezTo>
                    <a:pt x="109" y="904"/>
                    <a:pt x="119" y="899"/>
                    <a:pt x="124" y="894"/>
                  </a:cubicBezTo>
                  <a:cubicBezTo>
                    <a:pt x="128" y="888"/>
                    <a:pt x="126" y="883"/>
                    <a:pt x="118" y="883"/>
                  </a:cubicBezTo>
                  <a:cubicBezTo>
                    <a:pt x="118" y="883"/>
                    <a:pt x="118" y="883"/>
                    <a:pt x="118" y="883"/>
                  </a:cubicBezTo>
                  <a:moveTo>
                    <a:pt x="160" y="883"/>
                  </a:moveTo>
                  <a:cubicBezTo>
                    <a:pt x="152" y="883"/>
                    <a:pt x="142" y="888"/>
                    <a:pt x="137" y="893"/>
                  </a:cubicBezTo>
                  <a:cubicBezTo>
                    <a:pt x="133" y="899"/>
                    <a:pt x="136" y="904"/>
                    <a:pt x="144" y="904"/>
                  </a:cubicBezTo>
                  <a:cubicBezTo>
                    <a:pt x="152" y="903"/>
                    <a:pt x="161" y="899"/>
                    <a:pt x="166" y="893"/>
                  </a:cubicBezTo>
                  <a:cubicBezTo>
                    <a:pt x="170" y="888"/>
                    <a:pt x="167" y="883"/>
                    <a:pt x="160" y="883"/>
                  </a:cubicBezTo>
                  <a:cubicBezTo>
                    <a:pt x="160" y="883"/>
                    <a:pt x="160" y="883"/>
                    <a:pt x="160" y="883"/>
                  </a:cubicBezTo>
                  <a:moveTo>
                    <a:pt x="199" y="882"/>
                  </a:moveTo>
                  <a:cubicBezTo>
                    <a:pt x="191" y="882"/>
                    <a:pt x="181" y="887"/>
                    <a:pt x="177" y="892"/>
                  </a:cubicBezTo>
                  <a:cubicBezTo>
                    <a:pt x="172" y="898"/>
                    <a:pt x="175" y="902"/>
                    <a:pt x="183" y="902"/>
                  </a:cubicBezTo>
                  <a:cubicBezTo>
                    <a:pt x="191" y="902"/>
                    <a:pt x="201" y="898"/>
                    <a:pt x="205" y="892"/>
                  </a:cubicBezTo>
                  <a:cubicBezTo>
                    <a:pt x="209" y="887"/>
                    <a:pt x="206" y="882"/>
                    <a:pt x="199" y="882"/>
                  </a:cubicBezTo>
                  <a:cubicBezTo>
                    <a:pt x="199" y="882"/>
                    <a:pt x="199" y="882"/>
                    <a:pt x="199" y="882"/>
                  </a:cubicBezTo>
                  <a:moveTo>
                    <a:pt x="239" y="882"/>
                  </a:moveTo>
                  <a:cubicBezTo>
                    <a:pt x="231" y="882"/>
                    <a:pt x="221" y="887"/>
                    <a:pt x="217" y="892"/>
                  </a:cubicBezTo>
                  <a:cubicBezTo>
                    <a:pt x="213" y="898"/>
                    <a:pt x="216" y="902"/>
                    <a:pt x="224" y="902"/>
                  </a:cubicBezTo>
                  <a:cubicBezTo>
                    <a:pt x="231" y="902"/>
                    <a:pt x="241" y="898"/>
                    <a:pt x="246" y="892"/>
                  </a:cubicBezTo>
                  <a:cubicBezTo>
                    <a:pt x="250" y="886"/>
                    <a:pt x="247" y="882"/>
                    <a:pt x="239" y="882"/>
                  </a:cubicBezTo>
                  <a:cubicBezTo>
                    <a:pt x="239" y="882"/>
                    <a:pt x="239" y="882"/>
                    <a:pt x="239" y="882"/>
                  </a:cubicBezTo>
                  <a:moveTo>
                    <a:pt x="280" y="882"/>
                  </a:moveTo>
                  <a:cubicBezTo>
                    <a:pt x="272" y="882"/>
                    <a:pt x="262" y="886"/>
                    <a:pt x="258" y="892"/>
                  </a:cubicBezTo>
                  <a:cubicBezTo>
                    <a:pt x="254" y="898"/>
                    <a:pt x="257" y="902"/>
                    <a:pt x="264" y="902"/>
                  </a:cubicBezTo>
                  <a:cubicBezTo>
                    <a:pt x="272" y="902"/>
                    <a:pt x="282" y="897"/>
                    <a:pt x="286" y="892"/>
                  </a:cubicBezTo>
                  <a:cubicBezTo>
                    <a:pt x="290" y="886"/>
                    <a:pt x="287" y="882"/>
                    <a:pt x="280" y="882"/>
                  </a:cubicBezTo>
                  <a:cubicBezTo>
                    <a:pt x="280" y="882"/>
                    <a:pt x="280" y="882"/>
                    <a:pt x="280" y="882"/>
                  </a:cubicBezTo>
                  <a:moveTo>
                    <a:pt x="321" y="882"/>
                  </a:moveTo>
                  <a:cubicBezTo>
                    <a:pt x="314" y="882"/>
                    <a:pt x="304" y="886"/>
                    <a:pt x="300" y="892"/>
                  </a:cubicBezTo>
                  <a:cubicBezTo>
                    <a:pt x="296" y="897"/>
                    <a:pt x="299" y="902"/>
                    <a:pt x="307" y="902"/>
                  </a:cubicBezTo>
                  <a:cubicBezTo>
                    <a:pt x="315" y="902"/>
                    <a:pt x="324" y="897"/>
                    <a:pt x="328" y="892"/>
                  </a:cubicBezTo>
                  <a:cubicBezTo>
                    <a:pt x="332" y="886"/>
                    <a:pt x="329" y="882"/>
                    <a:pt x="322" y="882"/>
                  </a:cubicBezTo>
                  <a:cubicBezTo>
                    <a:pt x="322" y="882"/>
                    <a:pt x="322" y="882"/>
                    <a:pt x="321" y="882"/>
                  </a:cubicBezTo>
                  <a:moveTo>
                    <a:pt x="1701" y="874"/>
                  </a:moveTo>
                  <a:cubicBezTo>
                    <a:pt x="1693" y="874"/>
                    <a:pt x="1685" y="879"/>
                    <a:pt x="1684" y="884"/>
                  </a:cubicBezTo>
                  <a:cubicBezTo>
                    <a:pt x="1682" y="890"/>
                    <a:pt x="1688" y="894"/>
                    <a:pt x="1696" y="894"/>
                  </a:cubicBezTo>
                  <a:cubicBezTo>
                    <a:pt x="1703" y="894"/>
                    <a:pt x="1711" y="890"/>
                    <a:pt x="1712" y="884"/>
                  </a:cubicBezTo>
                  <a:cubicBezTo>
                    <a:pt x="1714" y="879"/>
                    <a:pt x="1709" y="874"/>
                    <a:pt x="1701" y="874"/>
                  </a:cubicBezTo>
                  <a:cubicBezTo>
                    <a:pt x="1701" y="874"/>
                    <a:pt x="1701" y="874"/>
                    <a:pt x="1701" y="874"/>
                  </a:cubicBezTo>
                  <a:moveTo>
                    <a:pt x="1739" y="874"/>
                  </a:moveTo>
                  <a:cubicBezTo>
                    <a:pt x="1731" y="874"/>
                    <a:pt x="1724" y="879"/>
                    <a:pt x="1722" y="884"/>
                  </a:cubicBezTo>
                  <a:cubicBezTo>
                    <a:pt x="1721" y="890"/>
                    <a:pt x="1726" y="894"/>
                    <a:pt x="1734" y="894"/>
                  </a:cubicBezTo>
                  <a:cubicBezTo>
                    <a:pt x="1742" y="894"/>
                    <a:pt x="1749" y="890"/>
                    <a:pt x="1751" y="884"/>
                  </a:cubicBezTo>
                  <a:cubicBezTo>
                    <a:pt x="1752" y="878"/>
                    <a:pt x="1747" y="874"/>
                    <a:pt x="1739" y="874"/>
                  </a:cubicBezTo>
                  <a:cubicBezTo>
                    <a:pt x="1739" y="874"/>
                    <a:pt x="1739" y="874"/>
                    <a:pt x="1739" y="874"/>
                  </a:cubicBezTo>
                  <a:moveTo>
                    <a:pt x="1779" y="874"/>
                  </a:moveTo>
                  <a:cubicBezTo>
                    <a:pt x="1771" y="874"/>
                    <a:pt x="1764" y="878"/>
                    <a:pt x="1763" y="884"/>
                  </a:cubicBezTo>
                  <a:cubicBezTo>
                    <a:pt x="1761" y="890"/>
                    <a:pt x="1766" y="894"/>
                    <a:pt x="1774" y="894"/>
                  </a:cubicBezTo>
                  <a:cubicBezTo>
                    <a:pt x="1782" y="894"/>
                    <a:pt x="1790" y="889"/>
                    <a:pt x="1791" y="884"/>
                  </a:cubicBezTo>
                  <a:cubicBezTo>
                    <a:pt x="1792" y="878"/>
                    <a:pt x="1787" y="874"/>
                    <a:pt x="1779" y="874"/>
                  </a:cubicBezTo>
                  <a:cubicBezTo>
                    <a:pt x="1779" y="874"/>
                    <a:pt x="1779" y="874"/>
                    <a:pt x="1779" y="874"/>
                  </a:cubicBezTo>
                  <a:moveTo>
                    <a:pt x="1820" y="874"/>
                  </a:moveTo>
                  <a:cubicBezTo>
                    <a:pt x="1812" y="874"/>
                    <a:pt x="1805" y="878"/>
                    <a:pt x="1803" y="884"/>
                  </a:cubicBezTo>
                  <a:cubicBezTo>
                    <a:pt x="1802" y="889"/>
                    <a:pt x="1807" y="894"/>
                    <a:pt x="1815" y="894"/>
                  </a:cubicBezTo>
                  <a:cubicBezTo>
                    <a:pt x="1823" y="894"/>
                    <a:pt x="1830" y="889"/>
                    <a:pt x="1832" y="884"/>
                  </a:cubicBezTo>
                  <a:cubicBezTo>
                    <a:pt x="1833" y="878"/>
                    <a:pt x="1828" y="874"/>
                    <a:pt x="1820" y="874"/>
                  </a:cubicBezTo>
                  <a:cubicBezTo>
                    <a:pt x="1820" y="874"/>
                    <a:pt x="1820" y="874"/>
                    <a:pt x="1820" y="874"/>
                  </a:cubicBezTo>
                  <a:moveTo>
                    <a:pt x="1861" y="873"/>
                  </a:moveTo>
                  <a:cubicBezTo>
                    <a:pt x="1853" y="873"/>
                    <a:pt x="1845" y="878"/>
                    <a:pt x="1844" y="884"/>
                  </a:cubicBezTo>
                  <a:cubicBezTo>
                    <a:pt x="1843" y="889"/>
                    <a:pt x="1848" y="894"/>
                    <a:pt x="1856" y="894"/>
                  </a:cubicBezTo>
                  <a:cubicBezTo>
                    <a:pt x="1864" y="894"/>
                    <a:pt x="1872" y="889"/>
                    <a:pt x="1873" y="884"/>
                  </a:cubicBezTo>
                  <a:cubicBezTo>
                    <a:pt x="1874" y="878"/>
                    <a:pt x="1868" y="873"/>
                    <a:pt x="1861" y="873"/>
                  </a:cubicBezTo>
                  <a:cubicBezTo>
                    <a:pt x="1861" y="873"/>
                    <a:pt x="1861" y="873"/>
                    <a:pt x="1861" y="873"/>
                  </a:cubicBezTo>
                  <a:moveTo>
                    <a:pt x="1901" y="873"/>
                  </a:moveTo>
                  <a:cubicBezTo>
                    <a:pt x="1893" y="873"/>
                    <a:pt x="1886" y="878"/>
                    <a:pt x="1885" y="883"/>
                  </a:cubicBezTo>
                  <a:cubicBezTo>
                    <a:pt x="1883" y="889"/>
                    <a:pt x="1889" y="894"/>
                    <a:pt x="1897" y="894"/>
                  </a:cubicBezTo>
                  <a:cubicBezTo>
                    <a:pt x="1905" y="894"/>
                    <a:pt x="1912" y="889"/>
                    <a:pt x="1913" y="883"/>
                  </a:cubicBezTo>
                  <a:cubicBezTo>
                    <a:pt x="1914" y="878"/>
                    <a:pt x="1909" y="873"/>
                    <a:pt x="1901" y="873"/>
                  </a:cubicBezTo>
                  <a:cubicBezTo>
                    <a:pt x="1901" y="873"/>
                    <a:pt x="1901" y="873"/>
                    <a:pt x="1901" y="873"/>
                  </a:cubicBezTo>
                  <a:moveTo>
                    <a:pt x="1941" y="873"/>
                  </a:moveTo>
                  <a:cubicBezTo>
                    <a:pt x="1933" y="873"/>
                    <a:pt x="1926" y="878"/>
                    <a:pt x="1925" y="883"/>
                  </a:cubicBezTo>
                  <a:cubicBezTo>
                    <a:pt x="1924" y="889"/>
                    <a:pt x="1930" y="893"/>
                    <a:pt x="1938" y="893"/>
                  </a:cubicBezTo>
                  <a:cubicBezTo>
                    <a:pt x="1945" y="893"/>
                    <a:pt x="1953" y="889"/>
                    <a:pt x="1954" y="883"/>
                  </a:cubicBezTo>
                  <a:cubicBezTo>
                    <a:pt x="1955" y="878"/>
                    <a:pt x="1949" y="873"/>
                    <a:pt x="1941" y="873"/>
                  </a:cubicBezTo>
                  <a:cubicBezTo>
                    <a:pt x="1941" y="873"/>
                    <a:pt x="1941" y="873"/>
                    <a:pt x="1941" y="873"/>
                  </a:cubicBezTo>
                  <a:moveTo>
                    <a:pt x="1981" y="873"/>
                  </a:moveTo>
                  <a:cubicBezTo>
                    <a:pt x="1974" y="873"/>
                    <a:pt x="1967" y="877"/>
                    <a:pt x="1966" y="883"/>
                  </a:cubicBezTo>
                  <a:cubicBezTo>
                    <a:pt x="1965" y="889"/>
                    <a:pt x="1970" y="893"/>
                    <a:pt x="1978" y="893"/>
                  </a:cubicBezTo>
                  <a:cubicBezTo>
                    <a:pt x="1986" y="893"/>
                    <a:pt x="1993" y="889"/>
                    <a:pt x="1994" y="883"/>
                  </a:cubicBezTo>
                  <a:cubicBezTo>
                    <a:pt x="1995" y="877"/>
                    <a:pt x="1989" y="873"/>
                    <a:pt x="1982" y="873"/>
                  </a:cubicBezTo>
                  <a:cubicBezTo>
                    <a:pt x="1982" y="873"/>
                    <a:pt x="1982" y="873"/>
                    <a:pt x="1981" y="873"/>
                  </a:cubicBezTo>
                  <a:moveTo>
                    <a:pt x="2022" y="873"/>
                  </a:moveTo>
                  <a:cubicBezTo>
                    <a:pt x="2014" y="873"/>
                    <a:pt x="2007" y="877"/>
                    <a:pt x="2006" y="883"/>
                  </a:cubicBezTo>
                  <a:cubicBezTo>
                    <a:pt x="2005" y="889"/>
                    <a:pt x="2011" y="893"/>
                    <a:pt x="2019" y="893"/>
                  </a:cubicBezTo>
                  <a:cubicBezTo>
                    <a:pt x="2027" y="893"/>
                    <a:pt x="2034" y="888"/>
                    <a:pt x="2035" y="883"/>
                  </a:cubicBezTo>
                  <a:cubicBezTo>
                    <a:pt x="2036" y="877"/>
                    <a:pt x="2030" y="873"/>
                    <a:pt x="2022" y="873"/>
                  </a:cubicBezTo>
                  <a:cubicBezTo>
                    <a:pt x="2022" y="873"/>
                    <a:pt x="2022" y="873"/>
                    <a:pt x="2022" y="873"/>
                  </a:cubicBezTo>
                  <a:moveTo>
                    <a:pt x="2064" y="873"/>
                  </a:moveTo>
                  <a:cubicBezTo>
                    <a:pt x="2056" y="873"/>
                    <a:pt x="2049" y="877"/>
                    <a:pt x="2048" y="883"/>
                  </a:cubicBezTo>
                  <a:cubicBezTo>
                    <a:pt x="2047" y="888"/>
                    <a:pt x="2053" y="893"/>
                    <a:pt x="2061" y="893"/>
                  </a:cubicBezTo>
                  <a:cubicBezTo>
                    <a:pt x="2069" y="893"/>
                    <a:pt x="2076" y="888"/>
                    <a:pt x="2077" y="883"/>
                  </a:cubicBezTo>
                  <a:cubicBezTo>
                    <a:pt x="2077" y="877"/>
                    <a:pt x="2072" y="873"/>
                    <a:pt x="2064" y="873"/>
                  </a:cubicBezTo>
                  <a:cubicBezTo>
                    <a:pt x="2064" y="873"/>
                    <a:pt x="2064" y="873"/>
                    <a:pt x="2064" y="873"/>
                  </a:cubicBezTo>
                  <a:moveTo>
                    <a:pt x="2104" y="872"/>
                  </a:moveTo>
                  <a:cubicBezTo>
                    <a:pt x="2096" y="872"/>
                    <a:pt x="2089" y="877"/>
                    <a:pt x="2088" y="883"/>
                  </a:cubicBezTo>
                  <a:cubicBezTo>
                    <a:pt x="2088" y="888"/>
                    <a:pt x="2093" y="893"/>
                    <a:pt x="2101" y="893"/>
                  </a:cubicBezTo>
                  <a:cubicBezTo>
                    <a:pt x="2109" y="893"/>
                    <a:pt x="2116" y="888"/>
                    <a:pt x="2117" y="882"/>
                  </a:cubicBezTo>
                  <a:cubicBezTo>
                    <a:pt x="2118" y="877"/>
                    <a:pt x="2112" y="872"/>
                    <a:pt x="2104" y="872"/>
                  </a:cubicBezTo>
                  <a:cubicBezTo>
                    <a:pt x="2104" y="872"/>
                    <a:pt x="2104" y="872"/>
                    <a:pt x="2104" y="872"/>
                  </a:cubicBezTo>
                  <a:moveTo>
                    <a:pt x="2145" y="872"/>
                  </a:moveTo>
                  <a:cubicBezTo>
                    <a:pt x="2137" y="872"/>
                    <a:pt x="2130" y="877"/>
                    <a:pt x="2129" y="882"/>
                  </a:cubicBezTo>
                  <a:cubicBezTo>
                    <a:pt x="2128" y="888"/>
                    <a:pt x="2134" y="893"/>
                    <a:pt x="2142" y="893"/>
                  </a:cubicBezTo>
                  <a:cubicBezTo>
                    <a:pt x="2150" y="893"/>
                    <a:pt x="2157" y="888"/>
                    <a:pt x="2158" y="882"/>
                  </a:cubicBezTo>
                  <a:cubicBezTo>
                    <a:pt x="2158" y="877"/>
                    <a:pt x="2152" y="872"/>
                    <a:pt x="2145" y="872"/>
                  </a:cubicBezTo>
                  <a:cubicBezTo>
                    <a:pt x="2145" y="872"/>
                    <a:pt x="2145" y="872"/>
                    <a:pt x="2145" y="872"/>
                  </a:cubicBezTo>
                  <a:moveTo>
                    <a:pt x="2833" y="872"/>
                  </a:moveTo>
                  <a:cubicBezTo>
                    <a:pt x="2825" y="872"/>
                    <a:pt x="2819" y="877"/>
                    <a:pt x="2820" y="882"/>
                  </a:cubicBezTo>
                  <a:cubicBezTo>
                    <a:pt x="2820" y="888"/>
                    <a:pt x="2827" y="893"/>
                    <a:pt x="2835" y="893"/>
                  </a:cubicBezTo>
                  <a:cubicBezTo>
                    <a:pt x="2843" y="893"/>
                    <a:pt x="2849" y="888"/>
                    <a:pt x="2848" y="882"/>
                  </a:cubicBezTo>
                  <a:cubicBezTo>
                    <a:pt x="2847" y="877"/>
                    <a:pt x="2840" y="872"/>
                    <a:pt x="2833" y="872"/>
                  </a:cubicBezTo>
                  <a:cubicBezTo>
                    <a:pt x="2833" y="872"/>
                    <a:pt x="2833" y="872"/>
                    <a:pt x="2833" y="872"/>
                  </a:cubicBezTo>
                  <a:moveTo>
                    <a:pt x="2185" y="872"/>
                  </a:moveTo>
                  <a:cubicBezTo>
                    <a:pt x="2178" y="872"/>
                    <a:pt x="2171" y="877"/>
                    <a:pt x="2170" y="882"/>
                  </a:cubicBezTo>
                  <a:cubicBezTo>
                    <a:pt x="2170" y="888"/>
                    <a:pt x="2175" y="892"/>
                    <a:pt x="2183" y="892"/>
                  </a:cubicBezTo>
                  <a:cubicBezTo>
                    <a:pt x="2191" y="892"/>
                    <a:pt x="2198" y="888"/>
                    <a:pt x="2199" y="882"/>
                  </a:cubicBezTo>
                  <a:cubicBezTo>
                    <a:pt x="2199" y="877"/>
                    <a:pt x="2193" y="872"/>
                    <a:pt x="2185" y="872"/>
                  </a:cubicBezTo>
                  <a:cubicBezTo>
                    <a:pt x="2185" y="872"/>
                    <a:pt x="2185" y="872"/>
                    <a:pt x="2185" y="872"/>
                  </a:cubicBezTo>
                  <a:moveTo>
                    <a:pt x="2226" y="872"/>
                  </a:moveTo>
                  <a:cubicBezTo>
                    <a:pt x="2218" y="872"/>
                    <a:pt x="2211" y="876"/>
                    <a:pt x="2211" y="882"/>
                  </a:cubicBezTo>
                  <a:cubicBezTo>
                    <a:pt x="2210" y="888"/>
                    <a:pt x="2216" y="892"/>
                    <a:pt x="2224" y="892"/>
                  </a:cubicBezTo>
                  <a:cubicBezTo>
                    <a:pt x="2232" y="892"/>
                    <a:pt x="2238" y="888"/>
                    <a:pt x="2239" y="882"/>
                  </a:cubicBezTo>
                  <a:cubicBezTo>
                    <a:pt x="2239" y="876"/>
                    <a:pt x="2233" y="872"/>
                    <a:pt x="2226" y="872"/>
                  </a:cubicBezTo>
                  <a:cubicBezTo>
                    <a:pt x="2226" y="872"/>
                    <a:pt x="2226" y="872"/>
                    <a:pt x="2226" y="872"/>
                  </a:cubicBezTo>
                  <a:moveTo>
                    <a:pt x="2913" y="872"/>
                  </a:moveTo>
                  <a:cubicBezTo>
                    <a:pt x="2905" y="872"/>
                    <a:pt x="2900" y="876"/>
                    <a:pt x="2900" y="882"/>
                  </a:cubicBezTo>
                  <a:cubicBezTo>
                    <a:pt x="2901" y="888"/>
                    <a:pt x="2908" y="892"/>
                    <a:pt x="2916" y="892"/>
                  </a:cubicBezTo>
                  <a:cubicBezTo>
                    <a:pt x="2924" y="892"/>
                    <a:pt x="2930" y="888"/>
                    <a:pt x="2929" y="882"/>
                  </a:cubicBezTo>
                  <a:cubicBezTo>
                    <a:pt x="2928" y="876"/>
                    <a:pt x="2921" y="872"/>
                    <a:pt x="2913" y="872"/>
                  </a:cubicBezTo>
                  <a:cubicBezTo>
                    <a:pt x="2913" y="872"/>
                    <a:pt x="2913" y="872"/>
                    <a:pt x="2913" y="872"/>
                  </a:cubicBezTo>
                  <a:moveTo>
                    <a:pt x="2871" y="872"/>
                  </a:moveTo>
                  <a:cubicBezTo>
                    <a:pt x="2863" y="872"/>
                    <a:pt x="2857" y="876"/>
                    <a:pt x="2858" y="882"/>
                  </a:cubicBezTo>
                  <a:cubicBezTo>
                    <a:pt x="2858" y="888"/>
                    <a:pt x="2865" y="892"/>
                    <a:pt x="2873" y="892"/>
                  </a:cubicBezTo>
                  <a:cubicBezTo>
                    <a:pt x="2881" y="892"/>
                    <a:pt x="2887" y="887"/>
                    <a:pt x="2886" y="882"/>
                  </a:cubicBezTo>
                  <a:cubicBezTo>
                    <a:pt x="2885" y="876"/>
                    <a:pt x="2878" y="872"/>
                    <a:pt x="2871" y="872"/>
                  </a:cubicBezTo>
                  <a:cubicBezTo>
                    <a:pt x="2871" y="872"/>
                    <a:pt x="2871" y="872"/>
                    <a:pt x="2871" y="872"/>
                  </a:cubicBezTo>
                  <a:moveTo>
                    <a:pt x="2266" y="872"/>
                  </a:moveTo>
                  <a:cubicBezTo>
                    <a:pt x="2258" y="872"/>
                    <a:pt x="2252" y="876"/>
                    <a:pt x="2251" y="882"/>
                  </a:cubicBezTo>
                  <a:cubicBezTo>
                    <a:pt x="2251" y="888"/>
                    <a:pt x="2257" y="892"/>
                    <a:pt x="2265" y="892"/>
                  </a:cubicBezTo>
                  <a:cubicBezTo>
                    <a:pt x="2272" y="892"/>
                    <a:pt x="2279" y="887"/>
                    <a:pt x="2279" y="882"/>
                  </a:cubicBezTo>
                  <a:cubicBezTo>
                    <a:pt x="2280" y="876"/>
                    <a:pt x="2274" y="872"/>
                    <a:pt x="2266" y="872"/>
                  </a:cubicBezTo>
                  <a:cubicBezTo>
                    <a:pt x="2266" y="872"/>
                    <a:pt x="2266" y="872"/>
                    <a:pt x="2266" y="872"/>
                  </a:cubicBezTo>
                  <a:moveTo>
                    <a:pt x="2306" y="871"/>
                  </a:moveTo>
                  <a:cubicBezTo>
                    <a:pt x="2298" y="871"/>
                    <a:pt x="2292" y="876"/>
                    <a:pt x="2291" y="882"/>
                  </a:cubicBezTo>
                  <a:cubicBezTo>
                    <a:pt x="2291" y="887"/>
                    <a:pt x="2297" y="892"/>
                    <a:pt x="2305" y="892"/>
                  </a:cubicBezTo>
                  <a:cubicBezTo>
                    <a:pt x="2313" y="892"/>
                    <a:pt x="2320" y="887"/>
                    <a:pt x="2320" y="882"/>
                  </a:cubicBezTo>
                  <a:cubicBezTo>
                    <a:pt x="2320" y="876"/>
                    <a:pt x="2314" y="871"/>
                    <a:pt x="2306" y="871"/>
                  </a:cubicBezTo>
                  <a:cubicBezTo>
                    <a:pt x="2306" y="871"/>
                    <a:pt x="2306" y="871"/>
                    <a:pt x="2306" y="871"/>
                  </a:cubicBezTo>
                  <a:moveTo>
                    <a:pt x="2995" y="871"/>
                  </a:moveTo>
                  <a:cubicBezTo>
                    <a:pt x="2988" y="871"/>
                    <a:pt x="2982" y="876"/>
                    <a:pt x="2983" y="882"/>
                  </a:cubicBezTo>
                  <a:cubicBezTo>
                    <a:pt x="2984" y="887"/>
                    <a:pt x="2991" y="892"/>
                    <a:pt x="2999" y="892"/>
                  </a:cubicBezTo>
                  <a:cubicBezTo>
                    <a:pt x="3007" y="892"/>
                    <a:pt x="3012" y="887"/>
                    <a:pt x="3011" y="882"/>
                  </a:cubicBezTo>
                  <a:cubicBezTo>
                    <a:pt x="3010" y="876"/>
                    <a:pt x="3003" y="871"/>
                    <a:pt x="2995" y="871"/>
                  </a:cubicBezTo>
                  <a:cubicBezTo>
                    <a:pt x="2995" y="871"/>
                    <a:pt x="2995" y="871"/>
                    <a:pt x="2995" y="871"/>
                  </a:cubicBezTo>
                  <a:moveTo>
                    <a:pt x="2951" y="871"/>
                  </a:moveTo>
                  <a:cubicBezTo>
                    <a:pt x="2943" y="871"/>
                    <a:pt x="2938" y="876"/>
                    <a:pt x="2938" y="882"/>
                  </a:cubicBezTo>
                  <a:cubicBezTo>
                    <a:pt x="2939" y="887"/>
                    <a:pt x="2946" y="892"/>
                    <a:pt x="2954" y="892"/>
                  </a:cubicBezTo>
                  <a:cubicBezTo>
                    <a:pt x="2962" y="892"/>
                    <a:pt x="2968" y="887"/>
                    <a:pt x="2967" y="882"/>
                  </a:cubicBezTo>
                  <a:cubicBezTo>
                    <a:pt x="2966" y="876"/>
                    <a:pt x="2959" y="871"/>
                    <a:pt x="2951" y="871"/>
                  </a:cubicBezTo>
                  <a:cubicBezTo>
                    <a:pt x="2951" y="871"/>
                    <a:pt x="2951" y="871"/>
                    <a:pt x="2951" y="871"/>
                  </a:cubicBezTo>
                  <a:moveTo>
                    <a:pt x="2347" y="871"/>
                  </a:moveTo>
                  <a:cubicBezTo>
                    <a:pt x="2339" y="871"/>
                    <a:pt x="2332" y="876"/>
                    <a:pt x="2332" y="882"/>
                  </a:cubicBezTo>
                  <a:cubicBezTo>
                    <a:pt x="2332" y="887"/>
                    <a:pt x="2338" y="892"/>
                    <a:pt x="2346" y="892"/>
                  </a:cubicBezTo>
                  <a:cubicBezTo>
                    <a:pt x="2354" y="892"/>
                    <a:pt x="2360" y="887"/>
                    <a:pt x="2360" y="881"/>
                  </a:cubicBezTo>
                  <a:cubicBezTo>
                    <a:pt x="2361" y="876"/>
                    <a:pt x="2355" y="871"/>
                    <a:pt x="2347" y="871"/>
                  </a:cubicBezTo>
                  <a:cubicBezTo>
                    <a:pt x="2347" y="871"/>
                    <a:pt x="2347" y="871"/>
                    <a:pt x="2347" y="871"/>
                  </a:cubicBezTo>
                  <a:moveTo>
                    <a:pt x="2388" y="871"/>
                  </a:moveTo>
                  <a:cubicBezTo>
                    <a:pt x="2380" y="871"/>
                    <a:pt x="2373" y="876"/>
                    <a:pt x="2373" y="881"/>
                  </a:cubicBezTo>
                  <a:cubicBezTo>
                    <a:pt x="2373" y="887"/>
                    <a:pt x="2379" y="892"/>
                    <a:pt x="2387" y="892"/>
                  </a:cubicBezTo>
                  <a:cubicBezTo>
                    <a:pt x="2395" y="892"/>
                    <a:pt x="2401" y="887"/>
                    <a:pt x="2402" y="881"/>
                  </a:cubicBezTo>
                  <a:cubicBezTo>
                    <a:pt x="2402" y="876"/>
                    <a:pt x="2395" y="871"/>
                    <a:pt x="2388" y="871"/>
                  </a:cubicBezTo>
                  <a:cubicBezTo>
                    <a:pt x="2388" y="871"/>
                    <a:pt x="2388" y="871"/>
                    <a:pt x="2388" y="871"/>
                  </a:cubicBezTo>
                  <a:moveTo>
                    <a:pt x="2428" y="871"/>
                  </a:moveTo>
                  <a:cubicBezTo>
                    <a:pt x="2420" y="871"/>
                    <a:pt x="2414" y="876"/>
                    <a:pt x="2413" y="881"/>
                  </a:cubicBezTo>
                  <a:cubicBezTo>
                    <a:pt x="2413" y="887"/>
                    <a:pt x="2420" y="891"/>
                    <a:pt x="2427" y="891"/>
                  </a:cubicBezTo>
                  <a:cubicBezTo>
                    <a:pt x="2435" y="891"/>
                    <a:pt x="2442" y="887"/>
                    <a:pt x="2442" y="881"/>
                  </a:cubicBezTo>
                  <a:cubicBezTo>
                    <a:pt x="2442" y="875"/>
                    <a:pt x="2436" y="871"/>
                    <a:pt x="2428" y="871"/>
                  </a:cubicBezTo>
                  <a:cubicBezTo>
                    <a:pt x="2428" y="871"/>
                    <a:pt x="2428" y="871"/>
                    <a:pt x="2428" y="871"/>
                  </a:cubicBezTo>
                  <a:moveTo>
                    <a:pt x="2468" y="871"/>
                  </a:moveTo>
                  <a:cubicBezTo>
                    <a:pt x="2460" y="871"/>
                    <a:pt x="2454" y="875"/>
                    <a:pt x="2454" y="881"/>
                  </a:cubicBezTo>
                  <a:cubicBezTo>
                    <a:pt x="2454" y="887"/>
                    <a:pt x="2460" y="891"/>
                    <a:pt x="2468" y="891"/>
                  </a:cubicBezTo>
                  <a:cubicBezTo>
                    <a:pt x="2476" y="891"/>
                    <a:pt x="2482" y="887"/>
                    <a:pt x="2482" y="881"/>
                  </a:cubicBezTo>
                  <a:cubicBezTo>
                    <a:pt x="2482" y="875"/>
                    <a:pt x="2476" y="871"/>
                    <a:pt x="2468" y="871"/>
                  </a:cubicBezTo>
                  <a:cubicBezTo>
                    <a:pt x="2468" y="871"/>
                    <a:pt x="2468" y="871"/>
                    <a:pt x="2468" y="871"/>
                  </a:cubicBezTo>
                  <a:moveTo>
                    <a:pt x="2508" y="871"/>
                  </a:moveTo>
                  <a:cubicBezTo>
                    <a:pt x="2501" y="871"/>
                    <a:pt x="2494" y="875"/>
                    <a:pt x="2494" y="881"/>
                  </a:cubicBezTo>
                  <a:cubicBezTo>
                    <a:pt x="2494" y="887"/>
                    <a:pt x="2501" y="891"/>
                    <a:pt x="2509" y="891"/>
                  </a:cubicBezTo>
                  <a:cubicBezTo>
                    <a:pt x="2516" y="891"/>
                    <a:pt x="2523" y="886"/>
                    <a:pt x="2523" y="881"/>
                  </a:cubicBezTo>
                  <a:cubicBezTo>
                    <a:pt x="2523" y="875"/>
                    <a:pt x="2516" y="871"/>
                    <a:pt x="2508" y="871"/>
                  </a:cubicBezTo>
                  <a:cubicBezTo>
                    <a:pt x="2508" y="871"/>
                    <a:pt x="2508" y="871"/>
                    <a:pt x="2508" y="871"/>
                  </a:cubicBezTo>
                  <a:moveTo>
                    <a:pt x="2549" y="870"/>
                  </a:moveTo>
                  <a:cubicBezTo>
                    <a:pt x="2541" y="870"/>
                    <a:pt x="2535" y="875"/>
                    <a:pt x="2535" y="881"/>
                  </a:cubicBezTo>
                  <a:cubicBezTo>
                    <a:pt x="2535" y="886"/>
                    <a:pt x="2542" y="891"/>
                    <a:pt x="2549" y="891"/>
                  </a:cubicBezTo>
                  <a:cubicBezTo>
                    <a:pt x="2557" y="891"/>
                    <a:pt x="2563" y="886"/>
                    <a:pt x="2563" y="881"/>
                  </a:cubicBezTo>
                  <a:cubicBezTo>
                    <a:pt x="2563" y="875"/>
                    <a:pt x="2557" y="870"/>
                    <a:pt x="2549" y="870"/>
                  </a:cubicBezTo>
                  <a:cubicBezTo>
                    <a:pt x="2549" y="870"/>
                    <a:pt x="2549" y="870"/>
                    <a:pt x="2549" y="870"/>
                  </a:cubicBezTo>
                  <a:moveTo>
                    <a:pt x="2590" y="870"/>
                  </a:moveTo>
                  <a:cubicBezTo>
                    <a:pt x="2582" y="870"/>
                    <a:pt x="2576" y="875"/>
                    <a:pt x="2576" y="881"/>
                  </a:cubicBezTo>
                  <a:cubicBezTo>
                    <a:pt x="2576" y="886"/>
                    <a:pt x="2583" y="891"/>
                    <a:pt x="2591" y="891"/>
                  </a:cubicBezTo>
                  <a:cubicBezTo>
                    <a:pt x="2598" y="891"/>
                    <a:pt x="2605" y="886"/>
                    <a:pt x="2604" y="880"/>
                  </a:cubicBezTo>
                  <a:cubicBezTo>
                    <a:pt x="2604" y="875"/>
                    <a:pt x="2598" y="870"/>
                    <a:pt x="2590" y="870"/>
                  </a:cubicBezTo>
                  <a:cubicBezTo>
                    <a:pt x="2590" y="870"/>
                    <a:pt x="2590" y="870"/>
                    <a:pt x="2590" y="870"/>
                  </a:cubicBezTo>
                  <a:moveTo>
                    <a:pt x="2630" y="870"/>
                  </a:moveTo>
                  <a:cubicBezTo>
                    <a:pt x="2622" y="870"/>
                    <a:pt x="2616" y="875"/>
                    <a:pt x="2616" y="880"/>
                  </a:cubicBezTo>
                  <a:cubicBezTo>
                    <a:pt x="2617" y="886"/>
                    <a:pt x="2623" y="891"/>
                    <a:pt x="2631" y="891"/>
                  </a:cubicBezTo>
                  <a:cubicBezTo>
                    <a:pt x="2639" y="890"/>
                    <a:pt x="2645" y="886"/>
                    <a:pt x="2645" y="880"/>
                  </a:cubicBezTo>
                  <a:cubicBezTo>
                    <a:pt x="2644" y="875"/>
                    <a:pt x="2638" y="870"/>
                    <a:pt x="2630" y="870"/>
                  </a:cubicBezTo>
                  <a:cubicBezTo>
                    <a:pt x="2630" y="870"/>
                    <a:pt x="2630" y="870"/>
                    <a:pt x="2630" y="870"/>
                  </a:cubicBezTo>
                  <a:moveTo>
                    <a:pt x="2671" y="870"/>
                  </a:moveTo>
                  <a:cubicBezTo>
                    <a:pt x="2663" y="870"/>
                    <a:pt x="2657" y="875"/>
                    <a:pt x="2657" y="880"/>
                  </a:cubicBezTo>
                  <a:cubicBezTo>
                    <a:pt x="2658" y="886"/>
                    <a:pt x="2664" y="890"/>
                    <a:pt x="2672" y="890"/>
                  </a:cubicBezTo>
                  <a:cubicBezTo>
                    <a:pt x="2680" y="890"/>
                    <a:pt x="2686" y="886"/>
                    <a:pt x="2686" y="880"/>
                  </a:cubicBezTo>
                  <a:cubicBezTo>
                    <a:pt x="2685" y="874"/>
                    <a:pt x="2679" y="870"/>
                    <a:pt x="2671" y="870"/>
                  </a:cubicBezTo>
                  <a:cubicBezTo>
                    <a:pt x="2671" y="870"/>
                    <a:pt x="2671" y="870"/>
                    <a:pt x="2671" y="870"/>
                  </a:cubicBezTo>
                  <a:moveTo>
                    <a:pt x="3316" y="869"/>
                  </a:moveTo>
                  <a:cubicBezTo>
                    <a:pt x="3309" y="869"/>
                    <a:pt x="3303" y="874"/>
                    <a:pt x="3305" y="879"/>
                  </a:cubicBezTo>
                  <a:cubicBezTo>
                    <a:pt x="3307" y="885"/>
                    <a:pt x="3314" y="890"/>
                    <a:pt x="3322" y="890"/>
                  </a:cubicBezTo>
                  <a:cubicBezTo>
                    <a:pt x="3330" y="890"/>
                    <a:pt x="3335" y="885"/>
                    <a:pt x="3333" y="879"/>
                  </a:cubicBezTo>
                  <a:cubicBezTo>
                    <a:pt x="3332" y="874"/>
                    <a:pt x="3324" y="869"/>
                    <a:pt x="3316" y="869"/>
                  </a:cubicBezTo>
                  <a:cubicBezTo>
                    <a:pt x="3316" y="869"/>
                    <a:pt x="3316" y="869"/>
                    <a:pt x="3316" y="869"/>
                  </a:cubicBezTo>
                  <a:moveTo>
                    <a:pt x="3357" y="869"/>
                  </a:moveTo>
                  <a:cubicBezTo>
                    <a:pt x="3349" y="869"/>
                    <a:pt x="3344" y="874"/>
                    <a:pt x="3346" y="879"/>
                  </a:cubicBezTo>
                  <a:cubicBezTo>
                    <a:pt x="3348" y="885"/>
                    <a:pt x="3355" y="889"/>
                    <a:pt x="3363" y="889"/>
                  </a:cubicBezTo>
                  <a:cubicBezTo>
                    <a:pt x="3371" y="889"/>
                    <a:pt x="3376" y="885"/>
                    <a:pt x="3374" y="879"/>
                  </a:cubicBezTo>
                  <a:cubicBezTo>
                    <a:pt x="3373" y="873"/>
                    <a:pt x="3365" y="869"/>
                    <a:pt x="3357" y="869"/>
                  </a:cubicBezTo>
                  <a:cubicBezTo>
                    <a:pt x="3357" y="869"/>
                    <a:pt x="3357" y="869"/>
                    <a:pt x="3357" y="869"/>
                  </a:cubicBezTo>
                  <a:moveTo>
                    <a:pt x="3397" y="869"/>
                  </a:moveTo>
                  <a:cubicBezTo>
                    <a:pt x="3389" y="869"/>
                    <a:pt x="3384" y="873"/>
                    <a:pt x="3386" y="879"/>
                  </a:cubicBezTo>
                  <a:cubicBezTo>
                    <a:pt x="3388" y="885"/>
                    <a:pt x="3396" y="889"/>
                    <a:pt x="3403" y="889"/>
                  </a:cubicBezTo>
                  <a:cubicBezTo>
                    <a:pt x="3411" y="889"/>
                    <a:pt x="3416" y="885"/>
                    <a:pt x="3414" y="879"/>
                  </a:cubicBezTo>
                  <a:cubicBezTo>
                    <a:pt x="3413" y="873"/>
                    <a:pt x="3405" y="869"/>
                    <a:pt x="3397" y="869"/>
                  </a:cubicBezTo>
                  <a:cubicBezTo>
                    <a:pt x="3397" y="869"/>
                    <a:pt x="3397" y="869"/>
                    <a:pt x="3397" y="869"/>
                  </a:cubicBezTo>
                  <a:moveTo>
                    <a:pt x="2749" y="869"/>
                  </a:moveTo>
                  <a:cubicBezTo>
                    <a:pt x="2741" y="869"/>
                    <a:pt x="2735" y="873"/>
                    <a:pt x="2736" y="879"/>
                  </a:cubicBezTo>
                  <a:cubicBezTo>
                    <a:pt x="2736" y="885"/>
                    <a:pt x="2743" y="889"/>
                    <a:pt x="2751" y="889"/>
                  </a:cubicBezTo>
                  <a:cubicBezTo>
                    <a:pt x="2759" y="889"/>
                    <a:pt x="2765" y="884"/>
                    <a:pt x="2764" y="879"/>
                  </a:cubicBezTo>
                  <a:cubicBezTo>
                    <a:pt x="2763" y="873"/>
                    <a:pt x="2757" y="869"/>
                    <a:pt x="2749" y="869"/>
                  </a:cubicBezTo>
                  <a:cubicBezTo>
                    <a:pt x="2749" y="869"/>
                    <a:pt x="2749" y="869"/>
                    <a:pt x="2749" y="869"/>
                  </a:cubicBezTo>
                  <a:moveTo>
                    <a:pt x="3437" y="869"/>
                  </a:moveTo>
                  <a:cubicBezTo>
                    <a:pt x="3429" y="869"/>
                    <a:pt x="3425" y="873"/>
                    <a:pt x="3426" y="879"/>
                  </a:cubicBezTo>
                  <a:cubicBezTo>
                    <a:pt x="3428" y="885"/>
                    <a:pt x="3436" y="889"/>
                    <a:pt x="3444" y="889"/>
                  </a:cubicBezTo>
                  <a:cubicBezTo>
                    <a:pt x="3452" y="889"/>
                    <a:pt x="3457" y="884"/>
                    <a:pt x="3455" y="879"/>
                  </a:cubicBezTo>
                  <a:cubicBezTo>
                    <a:pt x="3453" y="873"/>
                    <a:pt x="3445" y="869"/>
                    <a:pt x="3437" y="869"/>
                  </a:cubicBezTo>
                  <a:cubicBezTo>
                    <a:pt x="3437" y="869"/>
                    <a:pt x="3437" y="869"/>
                    <a:pt x="3437" y="869"/>
                  </a:cubicBezTo>
                  <a:moveTo>
                    <a:pt x="2791" y="868"/>
                  </a:moveTo>
                  <a:cubicBezTo>
                    <a:pt x="2783" y="868"/>
                    <a:pt x="2778" y="873"/>
                    <a:pt x="2778" y="879"/>
                  </a:cubicBezTo>
                  <a:cubicBezTo>
                    <a:pt x="2779" y="884"/>
                    <a:pt x="2786" y="889"/>
                    <a:pt x="2793" y="889"/>
                  </a:cubicBezTo>
                  <a:cubicBezTo>
                    <a:pt x="2801" y="889"/>
                    <a:pt x="2807" y="884"/>
                    <a:pt x="2807" y="879"/>
                  </a:cubicBezTo>
                  <a:cubicBezTo>
                    <a:pt x="2806" y="873"/>
                    <a:pt x="2799" y="868"/>
                    <a:pt x="2791" y="868"/>
                  </a:cubicBezTo>
                  <a:cubicBezTo>
                    <a:pt x="2791" y="868"/>
                    <a:pt x="2791" y="868"/>
                    <a:pt x="2791" y="868"/>
                  </a:cubicBezTo>
                  <a:moveTo>
                    <a:pt x="3478" y="868"/>
                  </a:moveTo>
                  <a:cubicBezTo>
                    <a:pt x="3470" y="868"/>
                    <a:pt x="3465" y="873"/>
                    <a:pt x="3467" y="879"/>
                  </a:cubicBezTo>
                  <a:cubicBezTo>
                    <a:pt x="3469" y="884"/>
                    <a:pt x="3477" y="889"/>
                    <a:pt x="3485" y="889"/>
                  </a:cubicBezTo>
                  <a:cubicBezTo>
                    <a:pt x="3492" y="889"/>
                    <a:pt x="3497" y="884"/>
                    <a:pt x="3495" y="879"/>
                  </a:cubicBezTo>
                  <a:cubicBezTo>
                    <a:pt x="3493" y="873"/>
                    <a:pt x="3486" y="868"/>
                    <a:pt x="3478" y="868"/>
                  </a:cubicBezTo>
                  <a:cubicBezTo>
                    <a:pt x="3478" y="868"/>
                    <a:pt x="3478" y="868"/>
                    <a:pt x="3478" y="868"/>
                  </a:cubicBezTo>
                  <a:moveTo>
                    <a:pt x="3720" y="867"/>
                  </a:moveTo>
                  <a:cubicBezTo>
                    <a:pt x="3713" y="867"/>
                    <a:pt x="3708" y="872"/>
                    <a:pt x="3711" y="878"/>
                  </a:cubicBezTo>
                  <a:cubicBezTo>
                    <a:pt x="3713" y="883"/>
                    <a:pt x="3721" y="888"/>
                    <a:pt x="3729" y="888"/>
                  </a:cubicBezTo>
                  <a:cubicBezTo>
                    <a:pt x="3737" y="888"/>
                    <a:pt x="3741" y="883"/>
                    <a:pt x="3739" y="878"/>
                  </a:cubicBezTo>
                  <a:cubicBezTo>
                    <a:pt x="3737" y="872"/>
                    <a:pt x="3728" y="867"/>
                    <a:pt x="3721" y="867"/>
                  </a:cubicBezTo>
                  <a:cubicBezTo>
                    <a:pt x="3721" y="867"/>
                    <a:pt x="3721" y="867"/>
                    <a:pt x="3720" y="867"/>
                  </a:cubicBezTo>
                  <a:moveTo>
                    <a:pt x="3761" y="867"/>
                  </a:moveTo>
                  <a:cubicBezTo>
                    <a:pt x="3753" y="867"/>
                    <a:pt x="3749" y="872"/>
                    <a:pt x="3751" y="878"/>
                  </a:cubicBezTo>
                  <a:cubicBezTo>
                    <a:pt x="3754" y="883"/>
                    <a:pt x="3762" y="888"/>
                    <a:pt x="3770" y="888"/>
                  </a:cubicBezTo>
                  <a:cubicBezTo>
                    <a:pt x="3778" y="888"/>
                    <a:pt x="3782" y="883"/>
                    <a:pt x="3780" y="878"/>
                  </a:cubicBezTo>
                  <a:cubicBezTo>
                    <a:pt x="3777" y="872"/>
                    <a:pt x="3769" y="867"/>
                    <a:pt x="3761" y="867"/>
                  </a:cubicBezTo>
                  <a:cubicBezTo>
                    <a:pt x="3761" y="867"/>
                    <a:pt x="3761" y="867"/>
                    <a:pt x="3761" y="867"/>
                  </a:cubicBezTo>
                  <a:moveTo>
                    <a:pt x="3801" y="867"/>
                  </a:moveTo>
                  <a:cubicBezTo>
                    <a:pt x="3793" y="867"/>
                    <a:pt x="3789" y="872"/>
                    <a:pt x="3791" y="878"/>
                  </a:cubicBezTo>
                  <a:cubicBezTo>
                    <a:pt x="3794" y="883"/>
                    <a:pt x="3802" y="888"/>
                    <a:pt x="3810" y="888"/>
                  </a:cubicBezTo>
                  <a:cubicBezTo>
                    <a:pt x="3818" y="888"/>
                    <a:pt x="3822" y="883"/>
                    <a:pt x="3820" y="877"/>
                  </a:cubicBezTo>
                  <a:cubicBezTo>
                    <a:pt x="3817" y="872"/>
                    <a:pt x="3809" y="867"/>
                    <a:pt x="3801" y="867"/>
                  </a:cubicBezTo>
                  <a:cubicBezTo>
                    <a:pt x="3801" y="867"/>
                    <a:pt x="3801" y="867"/>
                    <a:pt x="3801" y="867"/>
                  </a:cubicBezTo>
                  <a:moveTo>
                    <a:pt x="3842" y="867"/>
                  </a:moveTo>
                  <a:cubicBezTo>
                    <a:pt x="3834" y="867"/>
                    <a:pt x="3829" y="872"/>
                    <a:pt x="3832" y="877"/>
                  </a:cubicBezTo>
                  <a:cubicBezTo>
                    <a:pt x="3835" y="883"/>
                    <a:pt x="3843" y="888"/>
                    <a:pt x="3851" y="888"/>
                  </a:cubicBezTo>
                  <a:cubicBezTo>
                    <a:pt x="3859" y="888"/>
                    <a:pt x="3863" y="883"/>
                    <a:pt x="3860" y="877"/>
                  </a:cubicBezTo>
                  <a:cubicBezTo>
                    <a:pt x="3858" y="872"/>
                    <a:pt x="3849" y="867"/>
                    <a:pt x="3842" y="867"/>
                  </a:cubicBezTo>
                  <a:cubicBezTo>
                    <a:pt x="3842" y="867"/>
                    <a:pt x="3842" y="867"/>
                    <a:pt x="3842" y="867"/>
                  </a:cubicBezTo>
                  <a:moveTo>
                    <a:pt x="3884" y="867"/>
                  </a:moveTo>
                  <a:cubicBezTo>
                    <a:pt x="3877" y="867"/>
                    <a:pt x="3872" y="872"/>
                    <a:pt x="3875" y="877"/>
                  </a:cubicBezTo>
                  <a:cubicBezTo>
                    <a:pt x="3878" y="883"/>
                    <a:pt x="3886" y="887"/>
                    <a:pt x="3894" y="887"/>
                  </a:cubicBezTo>
                  <a:cubicBezTo>
                    <a:pt x="3902" y="887"/>
                    <a:pt x="3906" y="883"/>
                    <a:pt x="3903" y="877"/>
                  </a:cubicBezTo>
                  <a:cubicBezTo>
                    <a:pt x="3901" y="871"/>
                    <a:pt x="3892" y="867"/>
                    <a:pt x="3884" y="867"/>
                  </a:cubicBezTo>
                  <a:cubicBezTo>
                    <a:pt x="3884" y="867"/>
                    <a:pt x="3884" y="867"/>
                    <a:pt x="3884" y="867"/>
                  </a:cubicBezTo>
                  <a:moveTo>
                    <a:pt x="3924" y="867"/>
                  </a:moveTo>
                  <a:cubicBezTo>
                    <a:pt x="3916" y="867"/>
                    <a:pt x="3912" y="871"/>
                    <a:pt x="3915" y="877"/>
                  </a:cubicBezTo>
                  <a:cubicBezTo>
                    <a:pt x="3918" y="883"/>
                    <a:pt x="3926" y="887"/>
                    <a:pt x="3934" y="887"/>
                  </a:cubicBezTo>
                  <a:cubicBezTo>
                    <a:pt x="3942" y="887"/>
                    <a:pt x="3946" y="883"/>
                    <a:pt x="3943" y="877"/>
                  </a:cubicBezTo>
                  <a:cubicBezTo>
                    <a:pt x="3941" y="871"/>
                    <a:pt x="3932" y="867"/>
                    <a:pt x="3924" y="867"/>
                  </a:cubicBezTo>
                  <a:cubicBezTo>
                    <a:pt x="3924" y="867"/>
                    <a:pt x="3924" y="867"/>
                    <a:pt x="3924" y="867"/>
                  </a:cubicBezTo>
                  <a:moveTo>
                    <a:pt x="4205" y="863"/>
                  </a:moveTo>
                  <a:cubicBezTo>
                    <a:pt x="4197" y="863"/>
                    <a:pt x="4193" y="868"/>
                    <a:pt x="4197" y="873"/>
                  </a:cubicBezTo>
                  <a:cubicBezTo>
                    <a:pt x="4200" y="879"/>
                    <a:pt x="4209" y="883"/>
                    <a:pt x="4217" y="883"/>
                  </a:cubicBezTo>
                  <a:cubicBezTo>
                    <a:pt x="4225" y="883"/>
                    <a:pt x="4228" y="879"/>
                    <a:pt x="4225" y="873"/>
                  </a:cubicBezTo>
                  <a:cubicBezTo>
                    <a:pt x="4222" y="867"/>
                    <a:pt x="4213" y="863"/>
                    <a:pt x="4205" y="863"/>
                  </a:cubicBezTo>
                  <a:cubicBezTo>
                    <a:pt x="4205" y="863"/>
                    <a:pt x="4205" y="863"/>
                    <a:pt x="4205" y="863"/>
                  </a:cubicBezTo>
                  <a:moveTo>
                    <a:pt x="62" y="853"/>
                  </a:moveTo>
                  <a:cubicBezTo>
                    <a:pt x="54" y="853"/>
                    <a:pt x="44" y="858"/>
                    <a:pt x="39" y="863"/>
                  </a:cubicBezTo>
                  <a:cubicBezTo>
                    <a:pt x="35" y="869"/>
                    <a:pt x="37" y="874"/>
                    <a:pt x="45" y="874"/>
                  </a:cubicBezTo>
                  <a:cubicBezTo>
                    <a:pt x="53" y="874"/>
                    <a:pt x="63" y="869"/>
                    <a:pt x="68" y="863"/>
                  </a:cubicBezTo>
                  <a:cubicBezTo>
                    <a:pt x="72" y="858"/>
                    <a:pt x="70" y="853"/>
                    <a:pt x="62" y="853"/>
                  </a:cubicBezTo>
                  <a:cubicBezTo>
                    <a:pt x="62" y="853"/>
                    <a:pt x="62" y="853"/>
                    <a:pt x="62" y="853"/>
                  </a:cubicBezTo>
                  <a:moveTo>
                    <a:pt x="102" y="853"/>
                  </a:moveTo>
                  <a:cubicBezTo>
                    <a:pt x="94" y="853"/>
                    <a:pt x="84" y="858"/>
                    <a:pt x="79" y="863"/>
                  </a:cubicBezTo>
                  <a:cubicBezTo>
                    <a:pt x="75" y="869"/>
                    <a:pt x="78" y="873"/>
                    <a:pt x="85" y="873"/>
                  </a:cubicBezTo>
                  <a:cubicBezTo>
                    <a:pt x="93" y="873"/>
                    <a:pt x="103" y="869"/>
                    <a:pt x="108" y="863"/>
                  </a:cubicBezTo>
                  <a:cubicBezTo>
                    <a:pt x="112" y="858"/>
                    <a:pt x="110" y="853"/>
                    <a:pt x="102" y="853"/>
                  </a:cubicBezTo>
                  <a:cubicBezTo>
                    <a:pt x="102" y="853"/>
                    <a:pt x="102" y="853"/>
                    <a:pt x="102" y="853"/>
                  </a:cubicBezTo>
                  <a:moveTo>
                    <a:pt x="142" y="853"/>
                  </a:moveTo>
                  <a:cubicBezTo>
                    <a:pt x="134" y="853"/>
                    <a:pt x="124" y="858"/>
                    <a:pt x="120" y="863"/>
                  </a:cubicBezTo>
                  <a:cubicBezTo>
                    <a:pt x="115" y="869"/>
                    <a:pt x="118" y="873"/>
                    <a:pt x="126" y="873"/>
                  </a:cubicBezTo>
                  <a:cubicBezTo>
                    <a:pt x="134" y="873"/>
                    <a:pt x="144" y="869"/>
                    <a:pt x="148" y="863"/>
                  </a:cubicBezTo>
                  <a:cubicBezTo>
                    <a:pt x="153" y="857"/>
                    <a:pt x="150" y="853"/>
                    <a:pt x="142" y="853"/>
                  </a:cubicBezTo>
                  <a:cubicBezTo>
                    <a:pt x="142" y="853"/>
                    <a:pt x="142" y="853"/>
                    <a:pt x="142" y="853"/>
                  </a:cubicBezTo>
                  <a:moveTo>
                    <a:pt x="221" y="853"/>
                  </a:moveTo>
                  <a:cubicBezTo>
                    <a:pt x="213" y="853"/>
                    <a:pt x="204" y="857"/>
                    <a:pt x="199" y="863"/>
                  </a:cubicBezTo>
                  <a:cubicBezTo>
                    <a:pt x="195" y="869"/>
                    <a:pt x="198" y="873"/>
                    <a:pt x="206" y="873"/>
                  </a:cubicBezTo>
                  <a:cubicBezTo>
                    <a:pt x="213" y="873"/>
                    <a:pt x="223" y="868"/>
                    <a:pt x="228" y="863"/>
                  </a:cubicBezTo>
                  <a:cubicBezTo>
                    <a:pt x="232" y="857"/>
                    <a:pt x="229" y="853"/>
                    <a:pt x="221" y="853"/>
                  </a:cubicBezTo>
                  <a:cubicBezTo>
                    <a:pt x="221" y="853"/>
                    <a:pt x="221" y="853"/>
                    <a:pt x="221" y="853"/>
                  </a:cubicBezTo>
                  <a:moveTo>
                    <a:pt x="184" y="853"/>
                  </a:moveTo>
                  <a:cubicBezTo>
                    <a:pt x="176" y="853"/>
                    <a:pt x="166" y="857"/>
                    <a:pt x="161" y="863"/>
                  </a:cubicBezTo>
                  <a:cubicBezTo>
                    <a:pt x="157" y="869"/>
                    <a:pt x="160" y="873"/>
                    <a:pt x="168" y="873"/>
                  </a:cubicBezTo>
                  <a:cubicBezTo>
                    <a:pt x="175" y="873"/>
                    <a:pt x="185" y="868"/>
                    <a:pt x="190" y="863"/>
                  </a:cubicBezTo>
                  <a:cubicBezTo>
                    <a:pt x="194" y="857"/>
                    <a:pt x="191" y="853"/>
                    <a:pt x="184" y="853"/>
                  </a:cubicBezTo>
                  <a:cubicBezTo>
                    <a:pt x="184" y="853"/>
                    <a:pt x="184" y="853"/>
                    <a:pt x="184" y="853"/>
                  </a:cubicBezTo>
                  <a:moveTo>
                    <a:pt x="343" y="852"/>
                  </a:moveTo>
                  <a:cubicBezTo>
                    <a:pt x="335" y="852"/>
                    <a:pt x="325" y="857"/>
                    <a:pt x="321" y="862"/>
                  </a:cubicBezTo>
                  <a:cubicBezTo>
                    <a:pt x="317" y="868"/>
                    <a:pt x="320" y="873"/>
                    <a:pt x="328" y="873"/>
                  </a:cubicBezTo>
                  <a:cubicBezTo>
                    <a:pt x="336" y="873"/>
                    <a:pt x="346" y="868"/>
                    <a:pt x="350" y="862"/>
                  </a:cubicBezTo>
                  <a:cubicBezTo>
                    <a:pt x="354" y="857"/>
                    <a:pt x="351" y="852"/>
                    <a:pt x="343" y="852"/>
                  </a:cubicBezTo>
                  <a:cubicBezTo>
                    <a:pt x="343" y="852"/>
                    <a:pt x="343" y="852"/>
                    <a:pt x="343" y="852"/>
                  </a:cubicBezTo>
                  <a:moveTo>
                    <a:pt x="378" y="852"/>
                  </a:moveTo>
                  <a:cubicBezTo>
                    <a:pt x="370" y="852"/>
                    <a:pt x="360" y="857"/>
                    <a:pt x="356" y="862"/>
                  </a:cubicBezTo>
                  <a:cubicBezTo>
                    <a:pt x="352" y="868"/>
                    <a:pt x="355" y="872"/>
                    <a:pt x="363" y="872"/>
                  </a:cubicBezTo>
                  <a:cubicBezTo>
                    <a:pt x="371" y="872"/>
                    <a:pt x="380" y="868"/>
                    <a:pt x="384" y="862"/>
                  </a:cubicBezTo>
                  <a:cubicBezTo>
                    <a:pt x="388" y="857"/>
                    <a:pt x="385" y="852"/>
                    <a:pt x="378" y="852"/>
                  </a:cubicBezTo>
                  <a:cubicBezTo>
                    <a:pt x="378" y="852"/>
                    <a:pt x="378" y="852"/>
                    <a:pt x="378" y="852"/>
                  </a:cubicBezTo>
                  <a:moveTo>
                    <a:pt x="662" y="850"/>
                  </a:moveTo>
                  <a:cubicBezTo>
                    <a:pt x="654" y="850"/>
                    <a:pt x="645" y="855"/>
                    <a:pt x="641" y="860"/>
                  </a:cubicBezTo>
                  <a:cubicBezTo>
                    <a:pt x="638" y="866"/>
                    <a:pt x="641" y="870"/>
                    <a:pt x="649" y="870"/>
                  </a:cubicBezTo>
                  <a:cubicBezTo>
                    <a:pt x="657" y="870"/>
                    <a:pt x="666" y="866"/>
                    <a:pt x="670" y="860"/>
                  </a:cubicBezTo>
                  <a:cubicBezTo>
                    <a:pt x="673" y="855"/>
                    <a:pt x="670" y="850"/>
                    <a:pt x="662" y="850"/>
                  </a:cubicBezTo>
                  <a:cubicBezTo>
                    <a:pt x="662" y="850"/>
                    <a:pt x="662" y="850"/>
                    <a:pt x="662" y="850"/>
                  </a:cubicBezTo>
                  <a:moveTo>
                    <a:pt x="1708" y="846"/>
                  </a:moveTo>
                  <a:cubicBezTo>
                    <a:pt x="1700" y="846"/>
                    <a:pt x="1693" y="851"/>
                    <a:pt x="1691" y="856"/>
                  </a:cubicBezTo>
                  <a:cubicBezTo>
                    <a:pt x="1690" y="862"/>
                    <a:pt x="1695" y="866"/>
                    <a:pt x="1703" y="866"/>
                  </a:cubicBezTo>
                  <a:cubicBezTo>
                    <a:pt x="1711" y="866"/>
                    <a:pt x="1718" y="862"/>
                    <a:pt x="1720" y="856"/>
                  </a:cubicBezTo>
                  <a:cubicBezTo>
                    <a:pt x="1721" y="851"/>
                    <a:pt x="1716" y="846"/>
                    <a:pt x="1708" y="846"/>
                  </a:cubicBezTo>
                  <a:cubicBezTo>
                    <a:pt x="1708" y="846"/>
                    <a:pt x="1708" y="846"/>
                    <a:pt x="1708" y="846"/>
                  </a:cubicBezTo>
                  <a:moveTo>
                    <a:pt x="1746" y="846"/>
                  </a:moveTo>
                  <a:cubicBezTo>
                    <a:pt x="1738" y="846"/>
                    <a:pt x="1731" y="851"/>
                    <a:pt x="1729" y="856"/>
                  </a:cubicBezTo>
                  <a:cubicBezTo>
                    <a:pt x="1728" y="862"/>
                    <a:pt x="1733" y="866"/>
                    <a:pt x="1741" y="866"/>
                  </a:cubicBezTo>
                  <a:cubicBezTo>
                    <a:pt x="1749" y="866"/>
                    <a:pt x="1756" y="862"/>
                    <a:pt x="1757" y="856"/>
                  </a:cubicBezTo>
                  <a:cubicBezTo>
                    <a:pt x="1759" y="850"/>
                    <a:pt x="1754" y="846"/>
                    <a:pt x="1746" y="846"/>
                  </a:cubicBezTo>
                  <a:cubicBezTo>
                    <a:pt x="1746" y="846"/>
                    <a:pt x="1746" y="846"/>
                    <a:pt x="1746" y="846"/>
                  </a:cubicBezTo>
                  <a:moveTo>
                    <a:pt x="1786" y="846"/>
                  </a:moveTo>
                  <a:cubicBezTo>
                    <a:pt x="1778" y="846"/>
                    <a:pt x="1771" y="850"/>
                    <a:pt x="1769" y="856"/>
                  </a:cubicBezTo>
                  <a:cubicBezTo>
                    <a:pt x="1768" y="862"/>
                    <a:pt x="1773" y="866"/>
                    <a:pt x="1781" y="866"/>
                  </a:cubicBezTo>
                  <a:cubicBezTo>
                    <a:pt x="1789" y="866"/>
                    <a:pt x="1796" y="861"/>
                    <a:pt x="1797" y="856"/>
                  </a:cubicBezTo>
                  <a:cubicBezTo>
                    <a:pt x="1799" y="850"/>
                    <a:pt x="1794" y="846"/>
                    <a:pt x="1786" y="846"/>
                  </a:cubicBezTo>
                  <a:cubicBezTo>
                    <a:pt x="1786" y="846"/>
                    <a:pt x="1786" y="846"/>
                    <a:pt x="1786" y="846"/>
                  </a:cubicBezTo>
                  <a:moveTo>
                    <a:pt x="1826" y="846"/>
                  </a:moveTo>
                  <a:cubicBezTo>
                    <a:pt x="1818" y="846"/>
                    <a:pt x="1811" y="850"/>
                    <a:pt x="1810" y="856"/>
                  </a:cubicBezTo>
                  <a:cubicBezTo>
                    <a:pt x="1808" y="861"/>
                    <a:pt x="1814" y="866"/>
                    <a:pt x="1821" y="866"/>
                  </a:cubicBezTo>
                  <a:cubicBezTo>
                    <a:pt x="1829" y="866"/>
                    <a:pt x="1837" y="861"/>
                    <a:pt x="1838" y="856"/>
                  </a:cubicBezTo>
                  <a:cubicBezTo>
                    <a:pt x="1839" y="850"/>
                    <a:pt x="1834" y="846"/>
                    <a:pt x="1826" y="846"/>
                  </a:cubicBezTo>
                  <a:cubicBezTo>
                    <a:pt x="1826" y="846"/>
                    <a:pt x="1826" y="846"/>
                    <a:pt x="1826" y="846"/>
                  </a:cubicBezTo>
                  <a:moveTo>
                    <a:pt x="1866" y="845"/>
                  </a:moveTo>
                  <a:cubicBezTo>
                    <a:pt x="1859" y="845"/>
                    <a:pt x="1851" y="850"/>
                    <a:pt x="1850" y="856"/>
                  </a:cubicBezTo>
                  <a:cubicBezTo>
                    <a:pt x="1849" y="861"/>
                    <a:pt x="1854" y="866"/>
                    <a:pt x="1862" y="866"/>
                  </a:cubicBezTo>
                  <a:cubicBezTo>
                    <a:pt x="1870" y="866"/>
                    <a:pt x="1877" y="861"/>
                    <a:pt x="1878" y="855"/>
                  </a:cubicBezTo>
                  <a:cubicBezTo>
                    <a:pt x="1880" y="850"/>
                    <a:pt x="1874" y="845"/>
                    <a:pt x="1867" y="845"/>
                  </a:cubicBezTo>
                  <a:cubicBezTo>
                    <a:pt x="1867" y="845"/>
                    <a:pt x="1867" y="845"/>
                    <a:pt x="1866" y="845"/>
                  </a:cubicBezTo>
                  <a:moveTo>
                    <a:pt x="1906" y="845"/>
                  </a:moveTo>
                  <a:cubicBezTo>
                    <a:pt x="1899" y="845"/>
                    <a:pt x="1891" y="850"/>
                    <a:pt x="1890" y="855"/>
                  </a:cubicBezTo>
                  <a:cubicBezTo>
                    <a:pt x="1889" y="861"/>
                    <a:pt x="1895" y="866"/>
                    <a:pt x="1902" y="866"/>
                  </a:cubicBezTo>
                  <a:cubicBezTo>
                    <a:pt x="1910" y="866"/>
                    <a:pt x="1917" y="861"/>
                    <a:pt x="1918" y="855"/>
                  </a:cubicBezTo>
                  <a:cubicBezTo>
                    <a:pt x="1919" y="850"/>
                    <a:pt x="1914" y="845"/>
                    <a:pt x="1906" y="845"/>
                  </a:cubicBezTo>
                  <a:cubicBezTo>
                    <a:pt x="1906" y="845"/>
                    <a:pt x="1906" y="845"/>
                    <a:pt x="1906" y="845"/>
                  </a:cubicBezTo>
                  <a:moveTo>
                    <a:pt x="1946" y="845"/>
                  </a:moveTo>
                  <a:cubicBezTo>
                    <a:pt x="1939" y="845"/>
                    <a:pt x="1932" y="850"/>
                    <a:pt x="1930" y="855"/>
                  </a:cubicBezTo>
                  <a:cubicBezTo>
                    <a:pt x="1929" y="861"/>
                    <a:pt x="1935" y="865"/>
                    <a:pt x="1943" y="865"/>
                  </a:cubicBezTo>
                  <a:cubicBezTo>
                    <a:pt x="1950" y="865"/>
                    <a:pt x="1958" y="861"/>
                    <a:pt x="1959" y="855"/>
                  </a:cubicBezTo>
                  <a:cubicBezTo>
                    <a:pt x="1960" y="850"/>
                    <a:pt x="1954" y="845"/>
                    <a:pt x="1946" y="845"/>
                  </a:cubicBezTo>
                  <a:cubicBezTo>
                    <a:pt x="1946" y="845"/>
                    <a:pt x="1946" y="845"/>
                    <a:pt x="1946" y="845"/>
                  </a:cubicBezTo>
                  <a:moveTo>
                    <a:pt x="1986" y="845"/>
                  </a:moveTo>
                  <a:cubicBezTo>
                    <a:pt x="1978" y="845"/>
                    <a:pt x="1971" y="849"/>
                    <a:pt x="1970" y="855"/>
                  </a:cubicBezTo>
                  <a:cubicBezTo>
                    <a:pt x="1969" y="861"/>
                    <a:pt x="1975" y="865"/>
                    <a:pt x="1983" y="865"/>
                  </a:cubicBezTo>
                  <a:cubicBezTo>
                    <a:pt x="1991" y="865"/>
                    <a:pt x="1998" y="861"/>
                    <a:pt x="1999" y="855"/>
                  </a:cubicBezTo>
                  <a:cubicBezTo>
                    <a:pt x="1999" y="849"/>
                    <a:pt x="1994" y="845"/>
                    <a:pt x="1986" y="845"/>
                  </a:cubicBezTo>
                  <a:cubicBezTo>
                    <a:pt x="1986" y="845"/>
                    <a:pt x="1986" y="845"/>
                    <a:pt x="1986" y="845"/>
                  </a:cubicBezTo>
                  <a:moveTo>
                    <a:pt x="2026" y="845"/>
                  </a:moveTo>
                  <a:cubicBezTo>
                    <a:pt x="2019" y="845"/>
                    <a:pt x="2012" y="849"/>
                    <a:pt x="2011" y="855"/>
                  </a:cubicBezTo>
                  <a:cubicBezTo>
                    <a:pt x="2010" y="861"/>
                    <a:pt x="2015" y="865"/>
                    <a:pt x="2023" y="865"/>
                  </a:cubicBezTo>
                  <a:cubicBezTo>
                    <a:pt x="2031" y="865"/>
                    <a:pt x="2038" y="860"/>
                    <a:pt x="2039" y="855"/>
                  </a:cubicBezTo>
                  <a:cubicBezTo>
                    <a:pt x="2040" y="849"/>
                    <a:pt x="2034" y="845"/>
                    <a:pt x="2026" y="845"/>
                  </a:cubicBezTo>
                  <a:cubicBezTo>
                    <a:pt x="2026" y="845"/>
                    <a:pt x="2026" y="845"/>
                    <a:pt x="2026" y="845"/>
                  </a:cubicBezTo>
                  <a:moveTo>
                    <a:pt x="2068" y="844"/>
                  </a:moveTo>
                  <a:cubicBezTo>
                    <a:pt x="2060" y="844"/>
                    <a:pt x="2053" y="849"/>
                    <a:pt x="2052" y="855"/>
                  </a:cubicBezTo>
                  <a:cubicBezTo>
                    <a:pt x="2051" y="860"/>
                    <a:pt x="2057" y="865"/>
                    <a:pt x="2065" y="865"/>
                  </a:cubicBezTo>
                  <a:cubicBezTo>
                    <a:pt x="2073" y="865"/>
                    <a:pt x="2080" y="860"/>
                    <a:pt x="2080" y="855"/>
                  </a:cubicBezTo>
                  <a:cubicBezTo>
                    <a:pt x="2081" y="849"/>
                    <a:pt x="2076" y="844"/>
                    <a:pt x="2068" y="844"/>
                  </a:cubicBezTo>
                  <a:cubicBezTo>
                    <a:pt x="2068" y="844"/>
                    <a:pt x="2068" y="844"/>
                    <a:pt x="2068" y="844"/>
                  </a:cubicBezTo>
                  <a:moveTo>
                    <a:pt x="2108" y="844"/>
                  </a:moveTo>
                  <a:cubicBezTo>
                    <a:pt x="2100" y="844"/>
                    <a:pt x="2093" y="849"/>
                    <a:pt x="2092" y="855"/>
                  </a:cubicBezTo>
                  <a:cubicBezTo>
                    <a:pt x="2091" y="860"/>
                    <a:pt x="2097" y="865"/>
                    <a:pt x="2105" y="865"/>
                  </a:cubicBezTo>
                  <a:cubicBezTo>
                    <a:pt x="2113" y="865"/>
                    <a:pt x="2120" y="860"/>
                    <a:pt x="2120" y="854"/>
                  </a:cubicBezTo>
                  <a:cubicBezTo>
                    <a:pt x="2121" y="849"/>
                    <a:pt x="2115" y="844"/>
                    <a:pt x="2108" y="844"/>
                  </a:cubicBezTo>
                  <a:cubicBezTo>
                    <a:pt x="2108" y="844"/>
                    <a:pt x="2108" y="844"/>
                    <a:pt x="2108" y="844"/>
                  </a:cubicBezTo>
                  <a:moveTo>
                    <a:pt x="2148" y="844"/>
                  </a:moveTo>
                  <a:cubicBezTo>
                    <a:pt x="2140" y="844"/>
                    <a:pt x="2133" y="849"/>
                    <a:pt x="2132" y="854"/>
                  </a:cubicBezTo>
                  <a:cubicBezTo>
                    <a:pt x="2132" y="860"/>
                    <a:pt x="2138" y="865"/>
                    <a:pt x="2145" y="865"/>
                  </a:cubicBezTo>
                  <a:cubicBezTo>
                    <a:pt x="2153" y="864"/>
                    <a:pt x="2160" y="860"/>
                    <a:pt x="2161" y="854"/>
                  </a:cubicBezTo>
                  <a:cubicBezTo>
                    <a:pt x="2161" y="849"/>
                    <a:pt x="2155" y="844"/>
                    <a:pt x="2148" y="844"/>
                  </a:cubicBezTo>
                  <a:cubicBezTo>
                    <a:pt x="2148" y="844"/>
                    <a:pt x="2148" y="844"/>
                    <a:pt x="2148" y="844"/>
                  </a:cubicBezTo>
                  <a:moveTo>
                    <a:pt x="2188" y="844"/>
                  </a:moveTo>
                  <a:cubicBezTo>
                    <a:pt x="2180" y="844"/>
                    <a:pt x="2174" y="849"/>
                    <a:pt x="2173" y="854"/>
                  </a:cubicBezTo>
                  <a:cubicBezTo>
                    <a:pt x="2173" y="860"/>
                    <a:pt x="2178" y="864"/>
                    <a:pt x="2186" y="864"/>
                  </a:cubicBezTo>
                  <a:cubicBezTo>
                    <a:pt x="2194" y="864"/>
                    <a:pt x="2201" y="860"/>
                    <a:pt x="2201" y="854"/>
                  </a:cubicBezTo>
                  <a:cubicBezTo>
                    <a:pt x="2202" y="848"/>
                    <a:pt x="2196" y="844"/>
                    <a:pt x="2188" y="844"/>
                  </a:cubicBezTo>
                  <a:cubicBezTo>
                    <a:pt x="2188" y="844"/>
                    <a:pt x="2188" y="844"/>
                    <a:pt x="2188" y="844"/>
                  </a:cubicBezTo>
                  <a:moveTo>
                    <a:pt x="2228" y="844"/>
                  </a:moveTo>
                  <a:cubicBezTo>
                    <a:pt x="2220" y="844"/>
                    <a:pt x="2214" y="848"/>
                    <a:pt x="2213" y="854"/>
                  </a:cubicBezTo>
                  <a:cubicBezTo>
                    <a:pt x="2213" y="860"/>
                    <a:pt x="2218" y="864"/>
                    <a:pt x="2226" y="864"/>
                  </a:cubicBezTo>
                  <a:cubicBezTo>
                    <a:pt x="2234" y="864"/>
                    <a:pt x="2241" y="860"/>
                    <a:pt x="2241" y="854"/>
                  </a:cubicBezTo>
                  <a:cubicBezTo>
                    <a:pt x="2242" y="848"/>
                    <a:pt x="2236" y="844"/>
                    <a:pt x="2228" y="844"/>
                  </a:cubicBezTo>
                  <a:cubicBezTo>
                    <a:pt x="2228" y="844"/>
                    <a:pt x="2228" y="844"/>
                    <a:pt x="2228" y="844"/>
                  </a:cubicBezTo>
                  <a:moveTo>
                    <a:pt x="2268" y="844"/>
                  </a:moveTo>
                  <a:cubicBezTo>
                    <a:pt x="2260" y="844"/>
                    <a:pt x="2254" y="848"/>
                    <a:pt x="2253" y="854"/>
                  </a:cubicBezTo>
                  <a:cubicBezTo>
                    <a:pt x="2253" y="859"/>
                    <a:pt x="2259" y="864"/>
                    <a:pt x="2267" y="864"/>
                  </a:cubicBezTo>
                  <a:cubicBezTo>
                    <a:pt x="2274" y="864"/>
                    <a:pt x="2281" y="859"/>
                    <a:pt x="2281" y="854"/>
                  </a:cubicBezTo>
                  <a:cubicBezTo>
                    <a:pt x="2282" y="848"/>
                    <a:pt x="2276" y="844"/>
                    <a:pt x="2268" y="844"/>
                  </a:cubicBezTo>
                  <a:cubicBezTo>
                    <a:pt x="2268" y="844"/>
                    <a:pt x="2268" y="844"/>
                    <a:pt x="2268" y="844"/>
                  </a:cubicBezTo>
                  <a:moveTo>
                    <a:pt x="2308" y="843"/>
                  </a:moveTo>
                  <a:cubicBezTo>
                    <a:pt x="2300" y="843"/>
                    <a:pt x="2294" y="848"/>
                    <a:pt x="2293" y="854"/>
                  </a:cubicBezTo>
                  <a:cubicBezTo>
                    <a:pt x="2293" y="859"/>
                    <a:pt x="2299" y="864"/>
                    <a:pt x="2307" y="864"/>
                  </a:cubicBezTo>
                  <a:cubicBezTo>
                    <a:pt x="2314" y="864"/>
                    <a:pt x="2321" y="859"/>
                    <a:pt x="2321" y="854"/>
                  </a:cubicBezTo>
                  <a:cubicBezTo>
                    <a:pt x="2322" y="848"/>
                    <a:pt x="2316" y="843"/>
                    <a:pt x="2308" y="843"/>
                  </a:cubicBezTo>
                  <a:cubicBezTo>
                    <a:pt x="2308" y="843"/>
                    <a:pt x="2308" y="843"/>
                    <a:pt x="2308" y="843"/>
                  </a:cubicBezTo>
                  <a:moveTo>
                    <a:pt x="2348" y="843"/>
                  </a:moveTo>
                  <a:cubicBezTo>
                    <a:pt x="2340" y="843"/>
                    <a:pt x="2334" y="848"/>
                    <a:pt x="2333" y="853"/>
                  </a:cubicBezTo>
                  <a:cubicBezTo>
                    <a:pt x="2333" y="859"/>
                    <a:pt x="2339" y="864"/>
                    <a:pt x="2347" y="864"/>
                  </a:cubicBezTo>
                  <a:cubicBezTo>
                    <a:pt x="2355" y="864"/>
                    <a:pt x="2361" y="859"/>
                    <a:pt x="2362" y="853"/>
                  </a:cubicBezTo>
                  <a:cubicBezTo>
                    <a:pt x="2362" y="848"/>
                    <a:pt x="2356" y="843"/>
                    <a:pt x="2348" y="843"/>
                  </a:cubicBezTo>
                  <a:cubicBezTo>
                    <a:pt x="2348" y="843"/>
                    <a:pt x="2348" y="843"/>
                    <a:pt x="2348" y="843"/>
                  </a:cubicBezTo>
                  <a:moveTo>
                    <a:pt x="2388" y="843"/>
                  </a:moveTo>
                  <a:cubicBezTo>
                    <a:pt x="2381" y="843"/>
                    <a:pt x="2374" y="848"/>
                    <a:pt x="2374" y="853"/>
                  </a:cubicBezTo>
                  <a:cubicBezTo>
                    <a:pt x="2374" y="859"/>
                    <a:pt x="2380" y="864"/>
                    <a:pt x="2388" y="863"/>
                  </a:cubicBezTo>
                  <a:cubicBezTo>
                    <a:pt x="2396" y="863"/>
                    <a:pt x="2402" y="859"/>
                    <a:pt x="2402" y="853"/>
                  </a:cubicBezTo>
                  <a:cubicBezTo>
                    <a:pt x="2402" y="848"/>
                    <a:pt x="2396" y="843"/>
                    <a:pt x="2389" y="843"/>
                  </a:cubicBezTo>
                  <a:cubicBezTo>
                    <a:pt x="2389" y="843"/>
                    <a:pt x="2389" y="843"/>
                    <a:pt x="2388" y="843"/>
                  </a:cubicBezTo>
                  <a:moveTo>
                    <a:pt x="2428" y="843"/>
                  </a:moveTo>
                  <a:cubicBezTo>
                    <a:pt x="2421" y="843"/>
                    <a:pt x="2414" y="847"/>
                    <a:pt x="2414" y="853"/>
                  </a:cubicBezTo>
                  <a:cubicBezTo>
                    <a:pt x="2414" y="859"/>
                    <a:pt x="2420" y="863"/>
                    <a:pt x="2428" y="863"/>
                  </a:cubicBezTo>
                  <a:cubicBezTo>
                    <a:pt x="2436" y="863"/>
                    <a:pt x="2442" y="859"/>
                    <a:pt x="2442" y="853"/>
                  </a:cubicBezTo>
                  <a:cubicBezTo>
                    <a:pt x="2442" y="847"/>
                    <a:pt x="2436" y="843"/>
                    <a:pt x="2428" y="843"/>
                  </a:cubicBezTo>
                  <a:cubicBezTo>
                    <a:pt x="2428" y="843"/>
                    <a:pt x="2428" y="843"/>
                    <a:pt x="2428" y="843"/>
                  </a:cubicBezTo>
                  <a:moveTo>
                    <a:pt x="2468" y="843"/>
                  </a:moveTo>
                  <a:cubicBezTo>
                    <a:pt x="2461" y="843"/>
                    <a:pt x="2454" y="847"/>
                    <a:pt x="2454" y="853"/>
                  </a:cubicBezTo>
                  <a:cubicBezTo>
                    <a:pt x="2454" y="859"/>
                    <a:pt x="2460" y="863"/>
                    <a:pt x="2468" y="863"/>
                  </a:cubicBezTo>
                  <a:cubicBezTo>
                    <a:pt x="2476" y="863"/>
                    <a:pt x="2482" y="858"/>
                    <a:pt x="2482" y="853"/>
                  </a:cubicBezTo>
                  <a:cubicBezTo>
                    <a:pt x="2482" y="847"/>
                    <a:pt x="2476" y="843"/>
                    <a:pt x="2468" y="843"/>
                  </a:cubicBezTo>
                  <a:cubicBezTo>
                    <a:pt x="2468" y="843"/>
                    <a:pt x="2468" y="843"/>
                    <a:pt x="2468" y="843"/>
                  </a:cubicBezTo>
                  <a:moveTo>
                    <a:pt x="2829" y="843"/>
                  </a:moveTo>
                  <a:cubicBezTo>
                    <a:pt x="2821" y="843"/>
                    <a:pt x="2816" y="847"/>
                    <a:pt x="2816" y="853"/>
                  </a:cubicBezTo>
                  <a:cubicBezTo>
                    <a:pt x="2817" y="858"/>
                    <a:pt x="2824" y="863"/>
                    <a:pt x="2831" y="863"/>
                  </a:cubicBezTo>
                  <a:cubicBezTo>
                    <a:pt x="2839" y="863"/>
                    <a:pt x="2845" y="858"/>
                    <a:pt x="2844" y="853"/>
                  </a:cubicBezTo>
                  <a:cubicBezTo>
                    <a:pt x="2844" y="847"/>
                    <a:pt x="2837" y="843"/>
                    <a:pt x="2829" y="843"/>
                  </a:cubicBezTo>
                  <a:cubicBezTo>
                    <a:pt x="2829" y="843"/>
                    <a:pt x="2829" y="843"/>
                    <a:pt x="2829" y="843"/>
                  </a:cubicBezTo>
                  <a:moveTo>
                    <a:pt x="2508" y="843"/>
                  </a:moveTo>
                  <a:cubicBezTo>
                    <a:pt x="2500" y="843"/>
                    <a:pt x="2494" y="847"/>
                    <a:pt x="2494" y="853"/>
                  </a:cubicBezTo>
                  <a:cubicBezTo>
                    <a:pt x="2494" y="858"/>
                    <a:pt x="2501" y="863"/>
                    <a:pt x="2508" y="863"/>
                  </a:cubicBezTo>
                  <a:cubicBezTo>
                    <a:pt x="2516" y="863"/>
                    <a:pt x="2522" y="858"/>
                    <a:pt x="2522" y="853"/>
                  </a:cubicBezTo>
                  <a:cubicBezTo>
                    <a:pt x="2522" y="847"/>
                    <a:pt x="2516" y="843"/>
                    <a:pt x="2508" y="843"/>
                  </a:cubicBezTo>
                  <a:cubicBezTo>
                    <a:pt x="2508" y="843"/>
                    <a:pt x="2508" y="843"/>
                    <a:pt x="2508" y="843"/>
                  </a:cubicBezTo>
                  <a:moveTo>
                    <a:pt x="2548" y="842"/>
                  </a:moveTo>
                  <a:cubicBezTo>
                    <a:pt x="2541" y="842"/>
                    <a:pt x="2534" y="847"/>
                    <a:pt x="2534" y="853"/>
                  </a:cubicBezTo>
                  <a:cubicBezTo>
                    <a:pt x="2535" y="858"/>
                    <a:pt x="2541" y="863"/>
                    <a:pt x="2549" y="863"/>
                  </a:cubicBezTo>
                  <a:cubicBezTo>
                    <a:pt x="2557" y="863"/>
                    <a:pt x="2563" y="858"/>
                    <a:pt x="2563" y="852"/>
                  </a:cubicBezTo>
                  <a:cubicBezTo>
                    <a:pt x="2562" y="847"/>
                    <a:pt x="2556" y="842"/>
                    <a:pt x="2548" y="842"/>
                  </a:cubicBezTo>
                  <a:cubicBezTo>
                    <a:pt x="2548" y="842"/>
                    <a:pt x="2548" y="842"/>
                    <a:pt x="2548" y="842"/>
                  </a:cubicBezTo>
                  <a:moveTo>
                    <a:pt x="2909" y="842"/>
                  </a:moveTo>
                  <a:cubicBezTo>
                    <a:pt x="2901" y="842"/>
                    <a:pt x="2895" y="847"/>
                    <a:pt x="2896" y="852"/>
                  </a:cubicBezTo>
                  <a:cubicBezTo>
                    <a:pt x="2897" y="858"/>
                    <a:pt x="2904" y="863"/>
                    <a:pt x="2912" y="863"/>
                  </a:cubicBezTo>
                  <a:cubicBezTo>
                    <a:pt x="2919" y="863"/>
                    <a:pt x="2925" y="858"/>
                    <a:pt x="2924" y="852"/>
                  </a:cubicBezTo>
                  <a:cubicBezTo>
                    <a:pt x="2923" y="847"/>
                    <a:pt x="2917" y="842"/>
                    <a:pt x="2909" y="842"/>
                  </a:cubicBezTo>
                  <a:cubicBezTo>
                    <a:pt x="2909" y="842"/>
                    <a:pt x="2909" y="842"/>
                    <a:pt x="2909" y="842"/>
                  </a:cubicBezTo>
                  <a:moveTo>
                    <a:pt x="2589" y="842"/>
                  </a:moveTo>
                  <a:cubicBezTo>
                    <a:pt x="2581" y="842"/>
                    <a:pt x="2575" y="847"/>
                    <a:pt x="2575" y="852"/>
                  </a:cubicBezTo>
                  <a:cubicBezTo>
                    <a:pt x="2575" y="858"/>
                    <a:pt x="2582" y="863"/>
                    <a:pt x="2589" y="863"/>
                  </a:cubicBezTo>
                  <a:cubicBezTo>
                    <a:pt x="2597" y="863"/>
                    <a:pt x="2603" y="858"/>
                    <a:pt x="2603" y="852"/>
                  </a:cubicBezTo>
                  <a:cubicBezTo>
                    <a:pt x="2603" y="847"/>
                    <a:pt x="2597" y="842"/>
                    <a:pt x="2589" y="842"/>
                  </a:cubicBezTo>
                  <a:cubicBezTo>
                    <a:pt x="2589" y="842"/>
                    <a:pt x="2589" y="842"/>
                    <a:pt x="2589" y="842"/>
                  </a:cubicBezTo>
                  <a:moveTo>
                    <a:pt x="2867" y="842"/>
                  </a:moveTo>
                  <a:cubicBezTo>
                    <a:pt x="2859" y="842"/>
                    <a:pt x="2853" y="847"/>
                    <a:pt x="2854" y="852"/>
                  </a:cubicBezTo>
                  <a:cubicBezTo>
                    <a:pt x="2855" y="858"/>
                    <a:pt x="2862" y="863"/>
                    <a:pt x="2869" y="863"/>
                  </a:cubicBezTo>
                  <a:cubicBezTo>
                    <a:pt x="2877" y="863"/>
                    <a:pt x="2883" y="858"/>
                    <a:pt x="2882" y="852"/>
                  </a:cubicBezTo>
                  <a:cubicBezTo>
                    <a:pt x="2881" y="847"/>
                    <a:pt x="2874" y="842"/>
                    <a:pt x="2867" y="842"/>
                  </a:cubicBezTo>
                  <a:cubicBezTo>
                    <a:pt x="2867" y="842"/>
                    <a:pt x="2867" y="842"/>
                    <a:pt x="2867" y="842"/>
                  </a:cubicBezTo>
                  <a:moveTo>
                    <a:pt x="2629" y="842"/>
                  </a:moveTo>
                  <a:cubicBezTo>
                    <a:pt x="2621" y="842"/>
                    <a:pt x="2615" y="847"/>
                    <a:pt x="2615" y="852"/>
                  </a:cubicBezTo>
                  <a:cubicBezTo>
                    <a:pt x="2615" y="858"/>
                    <a:pt x="2622" y="862"/>
                    <a:pt x="2630" y="862"/>
                  </a:cubicBezTo>
                  <a:cubicBezTo>
                    <a:pt x="2637" y="862"/>
                    <a:pt x="2643" y="858"/>
                    <a:pt x="2643" y="852"/>
                  </a:cubicBezTo>
                  <a:cubicBezTo>
                    <a:pt x="2643" y="847"/>
                    <a:pt x="2636" y="842"/>
                    <a:pt x="2629" y="842"/>
                  </a:cubicBezTo>
                  <a:cubicBezTo>
                    <a:pt x="2629" y="842"/>
                    <a:pt x="2629" y="842"/>
                    <a:pt x="2629" y="842"/>
                  </a:cubicBezTo>
                  <a:moveTo>
                    <a:pt x="2990" y="842"/>
                  </a:moveTo>
                  <a:cubicBezTo>
                    <a:pt x="2982" y="842"/>
                    <a:pt x="2977" y="846"/>
                    <a:pt x="2978" y="852"/>
                  </a:cubicBezTo>
                  <a:cubicBezTo>
                    <a:pt x="2979" y="858"/>
                    <a:pt x="2986" y="862"/>
                    <a:pt x="2994" y="862"/>
                  </a:cubicBezTo>
                  <a:cubicBezTo>
                    <a:pt x="3002" y="862"/>
                    <a:pt x="3007" y="858"/>
                    <a:pt x="3006" y="852"/>
                  </a:cubicBezTo>
                  <a:cubicBezTo>
                    <a:pt x="3005" y="846"/>
                    <a:pt x="2998" y="842"/>
                    <a:pt x="2990" y="842"/>
                  </a:cubicBezTo>
                  <a:cubicBezTo>
                    <a:pt x="2990" y="842"/>
                    <a:pt x="2990" y="842"/>
                    <a:pt x="2990" y="842"/>
                  </a:cubicBezTo>
                  <a:moveTo>
                    <a:pt x="2709" y="842"/>
                  </a:moveTo>
                  <a:cubicBezTo>
                    <a:pt x="2701" y="842"/>
                    <a:pt x="2695" y="846"/>
                    <a:pt x="2696" y="852"/>
                  </a:cubicBezTo>
                  <a:cubicBezTo>
                    <a:pt x="2696" y="858"/>
                    <a:pt x="2703" y="862"/>
                    <a:pt x="2711" y="862"/>
                  </a:cubicBezTo>
                  <a:cubicBezTo>
                    <a:pt x="2718" y="862"/>
                    <a:pt x="2724" y="858"/>
                    <a:pt x="2724" y="852"/>
                  </a:cubicBezTo>
                  <a:cubicBezTo>
                    <a:pt x="2723" y="846"/>
                    <a:pt x="2717" y="842"/>
                    <a:pt x="2709" y="842"/>
                  </a:cubicBezTo>
                  <a:cubicBezTo>
                    <a:pt x="2709" y="842"/>
                    <a:pt x="2709" y="842"/>
                    <a:pt x="2709" y="842"/>
                  </a:cubicBezTo>
                  <a:moveTo>
                    <a:pt x="2946" y="842"/>
                  </a:moveTo>
                  <a:cubicBezTo>
                    <a:pt x="2939" y="842"/>
                    <a:pt x="2933" y="846"/>
                    <a:pt x="2934" y="852"/>
                  </a:cubicBezTo>
                  <a:cubicBezTo>
                    <a:pt x="2935" y="858"/>
                    <a:pt x="2942" y="862"/>
                    <a:pt x="2950" y="862"/>
                  </a:cubicBezTo>
                  <a:cubicBezTo>
                    <a:pt x="2957" y="862"/>
                    <a:pt x="2963" y="858"/>
                    <a:pt x="2962" y="852"/>
                  </a:cubicBezTo>
                  <a:cubicBezTo>
                    <a:pt x="2961" y="846"/>
                    <a:pt x="2954" y="842"/>
                    <a:pt x="2946" y="842"/>
                  </a:cubicBezTo>
                  <a:cubicBezTo>
                    <a:pt x="2946" y="842"/>
                    <a:pt x="2946" y="842"/>
                    <a:pt x="2946" y="842"/>
                  </a:cubicBezTo>
                  <a:moveTo>
                    <a:pt x="3028" y="841"/>
                  </a:moveTo>
                  <a:cubicBezTo>
                    <a:pt x="3020" y="841"/>
                    <a:pt x="3015" y="846"/>
                    <a:pt x="3016" y="852"/>
                  </a:cubicBezTo>
                  <a:cubicBezTo>
                    <a:pt x="3017" y="857"/>
                    <a:pt x="3024" y="862"/>
                    <a:pt x="3032" y="862"/>
                  </a:cubicBezTo>
                  <a:cubicBezTo>
                    <a:pt x="3039" y="862"/>
                    <a:pt x="3045" y="857"/>
                    <a:pt x="3044" y="852"/>
                  </a:cubicBezTo>
                  <a:cubicBezTo>
                    <a:pt x="3043" y="846"/>
                    <a:pt x="3036" y="841"/>
                    <a:pt x="3028" y="841"/>
                  </a:cubicBezTo>
                  <a:cubicBezTo>
                    <a:pt x="3028" y="841"/>
                    <a:pt x="3028" y="841"/>
                    <a:pt x="3028" y="841"/>
                  </a:cubicBezTo>
                  <a:moveTo>
                    <a:pt x="2747" y="840"/>
                  </a:moveTo>
                  <a:cubicBezTo>
                    <a:pt x="2739" y="840"/>
                    <a:pt x="2733" y="845"/>
                    <a:pt x="2734" y="851"/>
                  </a:cubicBezTo>
                  <a:cubicBezTo>
                    <a:pt x="2734" y="856"/>
                    <a:pt x="2741" y="861"/>
                    <a:pt x="2749" y="861"/>
                  </a:cubicBezTo>
                  <a:cubicBezTo>
                    <a:pt x="2756" y="861"/>
                    <a:pt x="2762" y="856"/>
                    <a:pt x="2762" y="850"/>
                  </a:cubicBezTo>
                  <a:cubicBezTo>
                    <a:pt x="2761" y="845"/>
                    <a:pt x="2754" y="840"/>
                    <a:pt x="2747" y="840"/>
                  </a:cubicBezTo>
                  <a:cubicBezTo>
                    <a:pt x="2747" y="840"/>
                    <a:pt x="2747" y="840"/>
                    <a:pt x="2747" y="840"/>
                  </a:cubicBezTo>
                  <a:moveTo>
                    <a:pt x="2789" y="840"/>
                  </a:moveTo>
                  <a:cubicBezTo>
                    <a:pt x="2781" y="840"/>
                    <a:pt x="2775" y="845"/>
                    <a:pt x="2776" y="850"/>
                  </a:cubicBezTo>
                  <a:cubicBezTo>
                    <a:pt x="2776" y="856"/>
                    <a:pt x="2783" y="861"/>
                    <a:pt x="2791" y="861"/>
                  </a:cubicBezTo>
                  <a:cubicBezTo>
                    <a:pt x="2799" y="861"/>
                    <a:pt x="2804" y="856"/>
                    <a:pt x="2804" y="850"/>
                  </a:cubicBezTo>
                  <a:cubicBezTo>
                    <a:pt x="2803" y="845"/>
                    <a:pt x="2797" y="840"/>
                    <a:pt x="2789" y="840"/>
                  </a:cubicBezTo>
                  <a:cubicBezTo>
                    <a:pt x="2789" y="840"/>
                    <a:pt x="2789" y="840"/>
                    <a:pt x="2789" y="840"/>
                  </a:cubicBezTo>
                  <a:moveTo>
                    <a:pt x="3308" y="839"/>
                  </a:moveTo>
                  <a:cubicBezTo>
                    <a:pt x="3300" y="839"/>
                    <a:pt x="3295" y="844"/>
                    <a:pt x="3297" y="850"/>
                  </a:cubicBezTo>
                  <a:cubicBezTo>
                    <a:pt x="3298" y="855"/>
                    <a:pt x="3306" y="860"/>
                    <a:pt x="3314" y="860"/>
                  </a:cubicBezTo>
                  <a:cubicBezTo>
                    <a:pt x="3322" y="860"/>
                    <a:pt x="3327" y="855"/>
                    <a:pt x="3325" y="850"/>
                  </a:cubicBezTo>
                  <a:cubicBezTo>
                    <a:pt x="3323" y="844"/>
                    <a:pt x="3316" y="839"/>
                    <a:pt x="3308" y="839"/>
                  </a:cubicBezTo>
                  <a:cubicBezTo>
                    <a:pt x="3308" y="839"/>
                    <a:pt x="3308" y="839"/>
                    <a:pt x="3308" y="839"/>
                  </a:cubicBezTo>
                  <a:moveTo>
                    <a:pt x="3348" y="839"/>
                  </a:moveTo>
                  <a:cubicBezTo>
                    <a:pt x="3341" y="839"/>
                    <a:pt x="3336" y="844"/>
                    <a:pt x="3337" y="850"/>
                  </a:cubicBezTo>
                  <a:cubicBezTo>
                    <a:pt x="3339" y="855"/>
                    <a:pt x="3347" y="860"/>
                    <a:pt x="3354" y="860"/>
                  </a:cubicBezTo>
                  <a:cubicBezTo>
                    <a:pt x="3362" y="860"/>
                    <a:pt x="3367" y="855"/>
                    <a:pt x="3365" y="849"/>
                  </a:cubicBezTo>
                  <a:cubicBezTo>
                    <a:pt x="3364" y="844"/>
                    <a:pt x="3356" y="839"/>
                    <a:pt x="3349" y="839"/>
                  </a:cubicBezTo>
                  <a:cubicBezTo>
                    <a:pt x="3348" y="839"/>
                    <a:pt x="3348" y="839"/>
                    <a:pt x="3348" y="839"/>
                  </a:cubicBezTo>
                  <a:moveTo>
                    <a:pt x="3388" y="839"/>
                  </a:moveTo>
                  <a:cubicBezTo>
                    <a:pt x="3380" y="839"/>
                    <a:pt x="3375" y="844"/>
                    <a:pt x="3377" y="849"/>
                  </a:cubicBezTo>
                  <a:cubicBezTo>
                    <a:pt x="3379" y="855"/>
                    <a:pt x="3386" y="860"/>
                    <a:pt x="3394" y="860"/>
                  </a:cubicBezTo>
                  <a:cubicBezTo>
                    <a:pt x="3402" y="860"/>
                    <a:pt x="3407" y="855"/>
                    <a:pt x="3405" y="849"/>
                  </a:cubicBezTo>
                  <a:cubicBezTo>
                    <a:pt x="3403" y="844"/>
                    <a:pt x="3396" y="839"/>
                    <a:pt x="3388" y="839"/>
                  </a:cubicBezTo>
                  <a:cubicBezTo>
                    <a:pt x="3388" y="839"/>
                    <a:pt x="3388" y="839"/>
                    <a:pt x="3388" y="839"/>
                  </a:cubicBezTo>
                  <a:moveTo>
                    <a:pt x="3428" y="839"/>
                  </a:moveTo>
                  <a:cubicBezTo>
                    <a:pt x="3420" y="839"/>
                    <a:pt x="3415" y="844"/>
                    <a:pt x="3417" y="849"/>
                  </a:cubicBezTo>
                  <a:cubicBezTo>
                    <a:pt x="3419" y="855"/>
                    <a:pt x="3426" y="859"/>
                    <a:pt x="3434" y="859"/>
                  </a:cubicBezTo>
                  <a:cubicBezTo>
                    <a:pt x="3442" y="859"/>
                    <a:pt x="3447" y="855"/>
                    <a:pt x="3445" y="849"/>
                  </a:cubicBezTo>
                  <a:cubicBezTo>
                    <a:pt x="3443" y="843"/>
                    <a:pt x="3435" y="839"/>
                    <a:pt x="3428" y="839"/>
                  </a:cubicBezTo>
                  <a:cubicBezTo>
                    <a:pt x="3428" y="839"/>
                    <a:pt x="3428" y="839"/>
                    <a:pt x="3428" y="839"/>
                  </a:cubicBezTo>
                  <a:moveTo>
                    <a:pt x="3468" y="839"/>
                  </a:moveTo>
                  <a:cubicBezTo>
                    <a:pt x="3460" y="839"/>
                    <a:pt x="3455" y="843"/>
                    <a:pt x="3457" y="849"/>
                  </a:cubicBezTo>
                  <a:cubicBezTo>
                    <a:pt x="3459" y="855"/>
                    <a:pt x="3467" y="859"/>
                    <a:pt x="3475" y="859"/>
                  </a:cubicBezTo>
                  <a:cubicBezTo>
                    <a:pt x="3482" y="859"/>
                    <a:pt x="3487" y="855"/>
                    <a:pt x="3485" y="849"/>
                  </a:cubicBezTo>
                  <a:cubicBezTo>
                    <a:pt x="3483" y="843"/>
                    <a:pt x="3476" y="839"/>
                    <a:pt x="3468" y="839"/>
                  </a:cubicBezTo>
                  <a:cubicBezTo>
                    <a:pt x="3468" y="839"/>
                    <a:pt x="3468" y="839"/>
                    <a:pt x="3468" y="839"/>
                  </a:cubicBezTo>
                  <a:moveTo>
                    <a:pt x="3508" y="839"/>
                  </a:moveTo>
                  <a:cubicBezTo>
                    <a:pt x="3500" y="839"/>
                    <a:pt x="3496" y="843"/>
                    <a:pt x="3498" y="849"/>
                  </a:cubicBezTo>
                  <a:cubicBezTo>
                    <a:pt x="3500" y="855"/>
                    <a:pt x="3508" y="859"/>
                    <a:pt x="3515" y="859"/>
                  </a:cubicBezTo>
                  <a:cubicBezTo>
                    <a:pt x="3523" y="859"/>
                    <a:pt x="3528" y="854"/>
                    <a:pt x="3526" y="849"/>
                  </a:cubicBezTo>
                  <a:cubicBezTo>
                    <a:pt x="3524" y="843"/>
                    <a:pt x="3516" y="839"/>
                    <a:pt x="3508" y="839"/>
                  </a:cubicBezTo>
                  <a:cubicBezTo>
                    <a:pt x="3508" y="839"/>
                    <a:pt x="3508" y="839"/>
                    <a:pt x="3508" y="839"/>
                  </a:cubicBezTo>
                  <a:moveTo>
                    <a:pt x="3748" y="838"/>
                  </a:moveTo>
                  <a:cubicBezTo>
                    <a:pt x="3740" y="838"/>
                    <a:pt x="3736" y="842"/>
                    <a:pt x="3739" y="848"/>
                  </a:cubicBezTo>
                  <a:cubicBezTo>
                    <a:pt x="3741" y="854"/>
                    <a:pt x="3749" y="858"/>
                    <a:pt x="3757" y="858"/>
                  </a:cubicBezTo>
                  <a:cubicBezTo>
                    <a:pt x="3765" y="858"/>
                    <a:pt x="3769" y="854"/>
                    <a:pt x="3767" y="848"/>
                  </a:cubicBezTo>
                  <a:cubicBezTo>
                    <a:pt x="3764" y="842"/>
                    <a:pt x="3756" y="838"/>
                    <a:pt x="3748" y="838"/>
                  </a:cubicBezTo>
                  <a:cubicBezTo>
                    <a:pt x="3748" y="838"/>
                    <a:pt x="3748" y="838"/>
                    <a:pt x="3748" y="838"/>
                  </a:cubicBezTo>
                  <a:moveTo>
                    <a:pt x="3708" y="838"/>
                  </a:moveTo>
                  <a:cubicBezTo>
                    <a:pt x="3700" y="838"/>
                    <a:pt x="3696" y="842"/>
                    <a:pt x="3698" y="848"/>
                  </a:cubicBezTo>
                  <a:cubicBezTo>
                    <a:pt x="3701" y="854"/>
                    <a:pt x="3709" y="858"/>
                    <a:pt x="3717" y="858"/>
                  </a:cubicBezTo>
                  <a:cubicBezTo>
                    <a:pt x="3724" y="858"/>
                    <a:pt x="3729" y="854"/>
                    <a:pt x="3726" y="848"/>
                  </a:cubicBezTo>
                  <a:cubicBezTo>
                    <a:pt x="3724" y="842"/>
                    <a:pt x="3716" y="838"/>
                    <a:pt x="3708" y="838"/>
                  </a:cubicBezTo>
                  <a:cubicBezTo>
                    <a:pt x="3708" y="838"/>
                    <a:pt x="3708" y="838"/>
                    <a:pt x="3708" y="838"/>
                  </a:cubicBezTo>
                  <a:moveTo>
                    <a:pt x="3788" y="838"/>
                  </a:moveTo>
                  <a:cubicBezTo>
                    <a:pt x="3780" y="838"/>
                    <a:pt x="3776" y="842"/>
                    <a:pt x="3778" y="848"/>
                  </a:cubicBezTo>
                  <a:cubicBezTo>
                    <a:pt x="3781" y="854"/>
                    <a:pt x="3789" y="858"/>
                    <a:pt x="3797" y="858"/>
                  </a:cubicBezTo>
                  <a:cubicBezTo>
                    <a:pt x="3805" y="858"/>
                    <a:pt x="3809" y="853"/>
                    <a:pt x="3806" y="848"/>
                  </a:cubicBezTo>
                  <a:cubicBezTo>
                    <a:pt x="3804" y="842"/>
                    <a:pt x="3796" y="838"/>
                    <a:pt x="3788" y="838"/>
                  </a:cubicBezTo>
                  <a:cubicBezTo>
                    <a:pt x="3788" y="838"/>
                    <a:pt x="3788" y="838"/>
                    <a:pt x="3788" y="838"/>
                  </a:cubicBezTo>
                  <a:moveTo>
                    <a:pt x="3828" y="837"/>
                  </a:moveTo>
                  <a:cubicBezTo>
                    <a:pt x="3820" y="837"/>
                    <a:pt x="3816" y="842"/>
                    <a:pt x="3819" y="848"/>
                  </a:cubicBezTo>
                  <a:cubicBezTo>
                    <a:pt x="3821" y="853"/>
                    <a:pt x="3830" y="858"/>
                    <a:pt x="3837" y="858"/>
                  </a:cubicBezTo>
                  <a:cubicBezTo>
                    <a:pt x="3845" y="858"/>
                    <a:pt x="3849" y="853"/>
                    <a:pt x="3847" y="848"/>
                  </a:cubicBezTo>
                  <a:cubicBezTo>
                    <a:pt x="3844" y="842"/>
                    <a:pt x="3836" y="837"/>
                    <a:pt x="3828" y="837"/>
                  </a:cubicBezTo>
                  <a:cubicBezTo>
                    <a:pt x="3828" y="837"/>
                    <a:pt x="3828" y="837"/>
                    <a:pt x="3828" y="837"/>
                  </a:cubicBezTo>
                  <a:moveTo>
                    <a:pt x="3870" y="837"/>
                  </a:moveTo>
                  <a:cubicBezTo>
                    <a:pt x="3863" y="837"/>
                    <a:pt x="3859" y="842"/>
                    <a:pt x="3861" y="848"/>
                  </a:cubicBezTo>
                  <a:cubicBezTo>
                    <a:pt x="3864" y="853"/>
                    <a:pt x="3872" y="858"/>
                    <a:pt x="3880" y="858"/>
                  </a:cubicBezTo>
                  <a:cubicBezTo>
                    <a:pt x="3888" y="858"/>
                    <a:pt x="3892" y="853"/>
                    <a:pt x="3889" y="847"/>
                  </a:cubicBezTo>
                  <a:cubicBezTo>
                    <a:pt x="3887" y="842"/>
                    <a:pt x="3878" y="837"/>
                    <a:pt x="3870" y="837"/>
                  </a:cubicBezTo>
                  <a:cubicBezTo>
                    <a:pt x="3870" y="837"/>
                    <a:pt x="3870" y="837"/>
                    <a:pt x="3870" y="837"/>
                  </a:cubicBezTo>
                  <a:moveTo>
                    <a:pt x="86" y="824"/>
                  </a:moveTo>
                  <a:cubicBezTo>
                    <a:pt x="78" y="824"/>
                    <a:pt x="68" y="829"/>
                    <a:pt x="64" y="834"/>
                  </a:cubicBezTo>
                  <a:cubicBezTo>
                    <a:pt x="59" y="840"/>
                    <a:pt x="62" y="844"/>
                    <a:pt x="69" y="844"/>
                  </a:cubicBezTo>
                  <a:cubicBezTo>
                    <a:pt x="77" y="844"/>
                    <a:pt x="87" y="840"/>
                    <a:pt x="92" y="834"/>
                  </a:cubicBezTo>
                  <a:cubicBezTo>
                    <a:pt x="96" y="829"/>
                    <a:pt x="94" y="824"/>
                    <a:pt x="86" y="824"/>
                  </a:cubicBezTo>
                  <a:cubicBezTo>
                    <a:pt x="86" y="824"/>
                    <a:pt x="86" y="824"/>
                    <a:pt x="86" y="824"/>
                  </a:cubicBezTo>
                  <a:moveTo>
                    <a:pt x="125" y="824"/>
                  </a:moveTo>
                  <a:cubicBezTo>
                    <a:pt x="118" y="824"/>
                    <a:pt x="108" y="828"/>
                    <a:pt x="103" y="834"/>
                  </a:cubicBezTo>
                  <a:cubicBezTo>
                    <a:pt x="99" y="840"/>
                    <a:pt x="101" y="844"/>
                    <a:pt x="109" y="844"/>
                  </a:cubicBezTo>
                  <a:cubicBezTo>
                    <a:pt x="117" y="844"/>
                    <a:pt x="127" y="840"/>
                    <a:pt x="131" y="834"/>
                  </a:cubicBezTo>
                  <a:cubicBezTo>
                    <a:pt x="136" y="828"/>
                    <a:pt x="133" y="824"/>
                    <a:pt x="126" y="824"/>
                  </a:cubicBezTo>
                  <a:cubicBezTo>
                    <a:pt x="125" y="824"/>
                    <a:pt x="125" y="824"/>
                    <a:pt x="125" y="824"/>
                  </a:cubicBezTo>
                  <a:moveTo>
                    <a:pt x="165" y="824"/>
                  </a:moveTo>
                  <a:cubicBezTo>
                    <a:pt x="158" y="824"/>
                    <a:pt x="148" y="828"/>
                    <a:pt x="143" y="834"/>
                  </a:cubicBezTo>
                  <a:cubicBezTo>
                    <a:pt x="139" y="839"/>
                    <a:pt x="141" y="844"/>
                    <a:pt x="149" y="844"/>
                  </a:cubicBezTo>
                  <a:cubicBezTo>
                    <a:pt x="157" y="844"/>
                    <a:pt x="167" y="839"/>
                    <a:pt x="171" y="834"/>
                  </a:cubicBezTo>
                  <a:cubicBezTo>
                    <a:pt x="176" y="828"/>
                    <a:pt x="173" y="824"/>
                    <a:pt x="165" y="824"/>
                  </a:cubicBezTo>
                  <a:cubicBezTo>
                    <a:pt x="165" y="824"/>
                    <a:pt x="165" y="824"/>
                    <a:pt x="165" y="824"/>
                  </a:cubicBezTo>
                  <a:moveTo>
                    <a:pt x="206" y="824"/>
                  </a:moveTo>
                  <a:cubicBezTo>
                    <a:pt x="199" y="824"/>
                    <a:pt x="189" y="828"/>
                    <a:pt x="184" y="834"/>
                  </a:cubicBezTo>
                  <a:cubicBezTo>
                    <a:pt x="180" y="839"/>
                    <a:pt x="183" y="844"/>
                    <a:pt x="191" y="844"/>
                  </a:cubicBezTo>
                  <a:cubicBezTo>
                    <a:pt x="198" y="844"/>
                    <a:pt x="208" y="839"/>
                    <a:pt x="212" y="834"/>
                  </a:cubicBezTo>
                  <a:cubicBezTo>
                    <a:pt x="217" y="828"/>
                    <a:pt x="214" y="824"/>
                    <a:pt x="206" y="824"/>
                  </a:cubicBezTo>
                  <a:cubicBezTo>
                    <a:pt x="206" y="824"/>
                    <a:pt x="206" y="824"/>
                    <a:pt x="206" y="824"/>
                  </a:cubicBezTo>
                  <a:moveTo>
                    <a:pt x="399" y="823"/>
                  </a:moveTo>
                  <a:cubicBezTo>
                    <a:pt x="391" y="823"/>
                    <a:pt x="382" y="827"/>
                    <a:pt x="377" y="833"/>
                  </a:cubicBezTo>
                  <a:cubicBezTo>
                    <a:pt x="373" y="838"/>
                    <a:pt x="376" y="843"/>
                    <a:pt x="384" y="843"/>
                  </a:cubicBezTo>
                  <a:cubicBezTo>
                    <a:pt x="392" y="843"/>
                    <a:pt x="401" y="838"/>
                    <a:pt x="405" y="833"/>
                  </a:cubicBezTo>
                  <a:cubicBezTo>
                    <a:pt x="409" y="827"/>
                    <a:pt x="406" y="823"/>
                    <a:pt x="399" y="823"/>
                  </a:cubicBezTo>
                  <a:cubicBezTo>
                    <a:pt x="399" y="823"/>
                    <a:pt x="399" y="823"/>
                    <a:pt x="399" y="823"/>
                  </a:cubicBezTo>
                  <a:moveTo>
                    <a:pt x="564" y="821"/>
                  </a:moveTo>
                  <a:cubicBezTo>
                    <a:pt x="556" y="821"/>
                    <a:pt x="547" y="826"/>
                    <a:pt x="543" y="831"/>
                  </a:cubicBezTo>
                  <a:cubicBezTo>
                    <a:pt x="539" y="837"/>
                    <a:pt x="543" y="841"/>
                    <a:pt x="550" y="841"/>
                  </a:cubicBezTo>
                  <a:cubicBezTo>
                    <a:pt x="558" y="841"/>
                    <a:pt x="567" y="837"/>
                    <a:pt x="571" y="831"/>
                  </a:cubicBezTo>
                  <a:cubicBezTo>
                    <a:pt x="575" y="826"/>
                    <a:pt x="571" y="821"/>
                    <a:pt x="564" y="821"/>
                  </a:cubicBezTo>
                  <a:cubicBezTo>
                    <a:pt x="564" y="821"/>
                    <a:pt x="564" y="821"/>
                    <a:pt x="564" y="821"/>
                  </a:cubicBezTo>
                  <a:moveTo>
                    <a:pt x="602" y="821"/>
                  </a:moveTo>
                  <a:cubicBezTo>
                    <a:pt x="595" y="821"/>
                    <a:pt x="585" y="826"/>
                    <a:pt x="582" y="831"/>
                  </a:cubicBezTo>
                  <a:cubicBezTo>
                    <a:pt x="578" y="837"/>
                    <a:pt x="581" y="841"/>
                    <a:pt x="589" y="841"/>
                  </a:cubicBezTo>
                  <a:cubicBezTo>
                    <a:pt x="597" y="841"/>
                    <a:pt x="606" y="837"/>
                    <a:pt x="610" y="831"/>
                  </a:cubicBezTo>
                  <a:cubicBezTo>
                    <a:pt x="613" y="825"/>
                    <a:pt x="610" y="821"/>
                    <a:pt x="602" y="821"/>
                  </a:cubicBezTo>
                  <a:cubicBezTo>
                    <a:pt x="602" y="821"/>
                    <a:pt x="602" y="821"/>
                    <a:pt x="602" y="821"/>
                  </a:cubicBezTo>
                  <a:moveTo>
                    <a:pt x="1716" y="817"/>
                  </a:moveTo>
                  <a:cubicBezTo>
                    <a:pt x="1708" y="817"/>
                    <a:pt x="1701" y="821"/>
                    <a:pt x="1699" y="827"/>
                  </a:cubicBezTo>
                  <a:cubicBezTo>
                    <a:pt x="1698" y="832"/>
                    <a:pt x="1703" y="837"/>
                    <a:pt x="1711" y="837"/>
                  </a:cubicBezTo>
                  <a:cubicBezTo>
                    <a:pt x="1718" y="837"/>
                    <a:pt x="1726" y="832"/>
                    <a:pt x="1727" y="827"/>
                  </a:cubicBezTo>
                  <a:cubicBezTo>
                    <a:pt x="1729" y="821"/>
                    <a:pt x="1724" y="817"/>
                    <a:pt x="1716" y="817"/>
                  </a:cubicBezTo>
                  <a:cubicBezTo>
                    <a:pt x="1716" y="817"/>
                    <a:pt x="1716" y="817"/>
                    <a:pt x="1716" y="817"/>
                  </a:cubicBezTo>
                  <a:moveTo>
                    <a:pt x="1753" y="816"/>
                  </a:moveTo>
                  <a:cubicBezTo>
                    <a:pt x="1746" y="816"/>
                    <a:pt x="1738" y="821"/>
                    <a:pt x="1737" y="827"/>
                  </a:cubicBezTo>
                  <a:cubicBezTo>
                    <a:pt x="1735" y="832"/>
                    <a:pt x="1740" y="837"/>
                    <a:pt x="1748" y="837"/>
                  </a:cubicBezTo>
                  <a:cubicBezTo>
                    <a:pt x="1756" y="837"/>
                    <a:pt x="1763" y="832"/>
                    <a:pt x="1765" y="827"/>
                  </a:cubicBezTo>
                  <a:cubicBezTo>
                    <a:pt x="1766" y="821"/>
                    <a:pt x="1761" y="816"/>
                    <a:pt x="1753" y="816"/>
                  </a:cubicBezTo>
                  <a:cubicBezTo>
                    <a:pt x="1753" y="816"/>
                    <a:pt x="1753" y="816"/>
                    <a:pt x="1753" y="816"/>
                  </a:cubicBezTo>
                  <a:moveTo>
                    <a:pt x="1793" y="816"/>
                  </a:moveTo>
                  <a:cubicBezTo>
                    <a:pt x="1785" y="816"/>
                    <a:pt x="1778" y="821"/>
                    <a:pt x="1776" y="827"/>
                  </a:cubicBezTo>
                  <a:cubicBezTo>
                    <a:pt x="1775" y="832"/>
                    <a:pt x="1780" y="837"/>
                    <a:pt x="1788" y="837"/>
                  </a:cubicBezTo>
                  <a:cubicBezTo>
                    <a:pt x="1796" y="837"/>
                    <a:pt x="1803" y="832"/>
                    <a:pt x="1804" y="826"/>
                  </a:cubicBezTo>
                  <a:cubicBezTo>
                    <a:pt x="1806" y="821"/>
                    <a:pt x="1800" y="816"/>
                    <a:pt x="1793" y="816"/>
                  </a:cubicBezTo>
                  <a:cubicBezTo>
                    <a:pt x="1793" y="816"/>
                    <a:pt x="1793" y="816"/>
                    <a:pt x="1793" y="816"/>
                  </a:cubicBezTo>
                  <a:moveTo>
                    <a:pt x="1833" y="816"/>
                  </a:moveTo>
                  <a:cubicBezTo>
                    <a:pt x="1825" y="816"/>
                    <a:pt x="1818" y="821"/>
                    <a:pt x="1816" y="826"/>
                  </a:cubicBezTo>
                  <a:cubicBezTo>
                    <a:pt x="1815" y="832"/>
                    <a:pt x="1820" y="837"/>
                    <a:pt x="1828" y="836"/>
                  </a:cubicBezTo>
                  <a:cubicBezTo>
                    <a:pt x="1836" y="836"/>
                    <a:pt x="1843" y="832"/>
                    <a:pt x="1844" y="826"/>
                  </a:cubicBezTo>
                  <a:cubicBezTo>
                    <a:pt x="1845" y="821"/>
                    <a:pt x="1840" y="816"/>
                    <a:pt x="1833" y="816"/>
                  </a:cubicBezTo>
                  <a:cubicBezTo>
                    <a:pt x="1833" y="816"/>
                    <a:pt x="1833" y="816"/>
                    <a:pt x="1833" y="816"/>
                  </a:cubicBezTo>
                  <a:moveTo>
                    <a:pt x="1873" y="816"/>
                  </a:moveTo>
                  <a:cubicBezTo>
                    <a:pt x="1865" y="816"/>
                    <a:pt x="1858" y="821"/>
                    <a:pt x="1857" y="826"/>
                  </a:cubicBezTo>
                  <a:cubicBezTo>
                    <a:pt x="1855" y="832"/>
                    <a:pt x="1861" y="836"/>
                    <a:pt x="1868" y="836"/>
                  </a:cubicBezTo>
                  <a:cubicBezTo>
                    <a:pt x="1876" y="836"/>
                    <a:pt x="1883" y="832"/>
                    <a:pt x="1884" y="826"/>
                  </a:cubicBezTo>
                  <a:cubicBezTo>
                    <a:pt x="1886" y="820"/>
                    <a:pt x="1880" y="816"/>
                    <a:pt x="1873" y="816"/>
                  </a:cubicBezTo>
                  <a:cubicBezTo>
                    <a:pt x="1873" y="816"/>
                    <a:pt x="1873" y="816"/>
                    <a:pt x="1873" y="816"/>
                  </a:cubicBezTo>
                  <a:moveTo>
                    <a:pt x="1912" y="816"/>
                  </a:moveTo>
                  <a:cubicBezTo>
                    <a:pt x="1904" y="816"/>
                    <a:pt x="1897" y="820"/>
                    <a:pt x="1896" y="826"/>
                  </a:cubicBezTo>
                  <a:cubicBezTo>
                    <a:pt x="1895" y="832"/>
                    <a:pt x="1900" y="836"/>
                    <a:pt x="1908" y="836"/>
                  </a:cubicBezTo>
                  <a:cubicBezTo>
                    <a:pt x="1916" y="836"/>
                    <a:pt x="1923" y="831"/>
                    <a:pt x="1924" y="826"/>
                  </a:cubicBezTo>
                  <a:cubicBezTo>
                    <a:pt x="1925" y="820"/>
                    <a:pt x="1920" y="816"/>
                    <a:pt x="1912" y="816"/>
                  </a:cubicBezTo>
                  <a:cubicBezTo>
                    <a:pt x="1912" y="816"/>
                    <a:pt x="1912" y="816"/>
                    <a:pt x="1912" y="816"/>
                  </a:cubicBezTo>
                  <a:moveTo>
                    <a:pt x="1952" y="816"/>
                  </a:moveTo>
                  <a:cubicBezTo>
                    <a:pt x="1944" y="816"/>
                    <a:pt x="1937" y="820"/>
                    <a:pt x="1936" y="826"/>
                  </a:cubicBezTo>
                  <a:cubicBezTo>
                    <a:pt x="1935" y="831"/>
                    <a:pt x="1940" y="836"/>
                    <a:pt x="1948" y="836"/>
                  </a:cubicBezTo>
                  <a:cubicBezTo>
                    <a:pt x="1956" y="836"/>
                    <a:pt x="1963" y="831"/>
                    <a:pt x="1964" y="826"/>
                  </a:cubicBezTo>
                  <a:cubicBezTo>
                    <a:pt x="1965" y="820"/>
                    <a:pt x="1959" y="816"/>
                    <a:pt x="1952" y="816"/>
                  </a:cubicBezTo>
                  <a:cubicBezTo>
                    <a:pt x="1952" y="816"/>
                    <a:pt x="1952" y="816"/>
                    <a:pt x="1952" y="816"/>
                  </a:cubicBezTo>
                  <a:moveTo>
                    <a:pt x="1991" y="815"/>
                  </a:moveTo>
                  <a:cubicBezTo>
                    <a:pt x="1983" y="815"/>
                    <a:pt x="1976" y="820"/>
                    <a:pt x="1976" y="826"/>
                  </a:cubicBezTo>
                  <a:cubicBezTo>
                    <a:pt x="1975" y="831"/>
                    <a:pt x="1980" y="836"/>
                    <a:pt x="1988" y="836"/>
                  </a:cubicBezTo>
                  <a:cubicBezTo>
                    <a:pt x="1995" y="836"/>
                    <a:pt x="2002" y="831"/>
                    <a:pt x="2003" y="825"/>
                  </a:cubicBezTo>
                  <a:cubicBezTo>
                    <a:pt x="2004" y="820"/>
                    <a:pt x="1999" y="815"/>
                    <a:pt x="1991" y="815"/>
                  </a:cubicBezTo>
                  <a:cubicBezTo>
                    <a:pt x="1991" y="815"/>
                    <a:pt x="1991" y="815"/>
                    <a:pt x="1991" y="815"/>
                  </a:cubicBezTo>
                  <a:moveTo>
                    <a:pt x="2031" y="815"/>
                  </a:moveTo>
                  <a:cubicBezTo>
                    <a:pt x="2023" y="815"/>
                    <a:pt x="2016" y="820"/>
                    <a:pt x="2015" y="825"/>
                  </a:cubicBezTo>
                  <a:cubicBezTo>
                    <a:pt x="2015" y="831"/>
                    <a:pt x="2020" y="836"/>
                    <a:pt x="2028" y="836"/>
                  </a:cubicBezTo>
                  <a:cubicBezTo>
                    <a:pt x="2036" y="836"/>
                    <a:pt x="2042" y="831"/>
                    <a:pt x="2043" y="825"/>
                  </a:cubicBezTo>
                  <a:cubicBezTo>
                    <a:pt x="2044" y="820"/>
                    <a:pt x="2039" y="815"/>
                    <a:pt x="2031" y="815"/>
                  </a:cubicBezTo>
                  <a:cubicBezTo>
                    <a:pt x="2031" y="815"/>
                    <a:pt x="2031" y="815"/>
                    <a:pt x="2031" y="815"/>
                  </a:cubicBezTo>
                  <a:moveTo>
                    <a:pt x="2072" y="815"/>
                  </a:moveTo>
                  <a:cubicBezTo>
                    <a:pt x="2064" y="815"/>
                    <a:pt x="2057" y="820"/>
                    <a:pt x="2057" y="825"/>
                  </a:cubicBezTo>
                  <a:cubicBezTo>
                    <a:pt x="2056" y="831"/>
                    <a:pt x="2061" y="835"/>
                    <a:pt x="2069" y="835"/>
                  </a:cubicBezTo>
                  <a:cubicBezTo>
                    <a:pt x="2077" y="835"/>
                    <a:pt x="2084" y="831"/>
                    <a:pt x="2084" y="825"/>
                  </a:cubicBezTo>
                  <a:cubicBezTo>
                    <a:pt x="2085" y="820"/>
                    <a:pt x="2080" y="815"/>
                    <a:pt x="2072" y="815"/>
                  </a:cubicBezTo>
                  <a:cubicBezTo>
                    <a:pt x="2072" y="815"/>
                    <a:pt x="2072" y="815"/>
                    <a:pt x="2072" y="815"/>
                  </a:cubicBezTo>
                  <a:moveTo>
                    <a:pt x="2111" y="815"/>
                  </a:moveTo>
                  <a:cubicBezTo>
                    <a:pt x="2104" y="815"/>
                    <a:pt x="2097" y="819"/>
                    <a:pt x="2096" y="825"/>
                  </a:cubicBezTo>
                  <a:cubicBezTo>
                    <a:pt x="2095" y="831"/>
                    <a:pt x="2101" y="835"/>
                    <a:pt x="2109" y="835"/>
                  </a:cubicBezTo>
                  <a:cubicBezTo>
                    <a:pt x="2116" y="835"/>
                    <a:pt x="2123" y="831"/>
                    <a:pt x="2124" y="825"/>
                  </a:cubicBezTo>
                  <a:cubicBezTo>
                    <a:pt x="2125" y="819"/>
                    <a:pt x="2119" y="815"/>
                    <a:pt x="2111" y="815"/>
                  </a:cubicBezTo>
                  <a:cubicBezTo>
                    <a:pt x="2111" y="815"/>
                    <a:pt x="2111" y="815"/>
                    <a:pt x="2111" y="815"/>
                  </a:cubicBezTo>
                  <a:moveTo>
                    <a:pt x="2151" y="815"/>
                  </a:moveTo>
                  <a:cubicBezTo>
                    <a:pt x="2143" y="815"/>
                    <a:pt x="2137" y="819"/>
                    <a:pt x="2136" y="825"/>
                  </a:cubicBezTo>
                  <a:cubicBezTo>
                    <a:pt x="2135" y="831"/>
                    <a:pt x="2141" y="835"/>
                    <a:pt x="2149" y="835"/>
                  </a:cubicBezTo>
                  <a:cubicBezTo>
                    <a:pt x="2156" y="835"/>
                    <a:pt x="2163" y="830"/>
                    <a:pt x="2164" y="825"/>
                  </a:cubicBezTo>
                  <a:cubicBezTo>
                    <a:pt x="2164" y="819"/>
                    <a:pt x="2159" y="815"/>
                    <a:pt x="2151" y="815"/>
                  </a:cubicBezTo>
                  <a:cubicBezTo>
                    <a:pt x="2151" y="815"/>
                    <a:pt x="2151" y="815"/>
                    <a:pt x="2151" y="815"/>
                  </a:cubicBezTo>
                  <a:moveTo>
                    <a:pt x="2191" y="814"/>
                  </a:moveTo>
                  <a:cubicBezTo>
                    <a:pt x="2183" y="814"/>
                    <a:pt x="2177" y="819"/>
                    <a:pt x="2176" y="825"/>
                  </a:cubicBezTo>
                  <a:cubicBezTo>
                    <a:pt x="2176" y="830"/>
                    <a:pt x="2181" y="835"/>
                    <a:pt x="2189" y="835"/>
                  </a:cubicBezTo>
                  <a:cubicBezTo>
                    <a:pt x="2197" y="835"/>
                    <a:pt x="2204" y="830"/>
                    <a:pt x="2204" y="825"/>
                  </a:cubicBezTo>
                  <a:cubicBezTo>
                    <a:pt x="2205" y="819"/>
                    <a:pt x="2199" y="814"/>
                    <a:pt x="2191" y="814"/>
                  </a:cubicBezTo>
                  <a:cubicBezTo>
                    <a:pt x="2191" y="814"/>
                    <a:pt x="2191" y="814"/>
                    <a:pt x="2191" y="814"/>
                  </a:cubicBezTo>
                  <a:moveTo>
                    <a:pt x="2231" y="814"/>
                  </a:moveTo>
                  <a:cubicBezTo>
                    <a:pt x="2223" y="814"/>
                    <a:pt x="2216" y="819"/>
                    <a:pt x="2216" y="825"/>
                  </a:cubicBezTo>
                  <a:cubicBezTo>
                    <a:pt x="2215" y="830"/>
                    <a:pt x="2221" y="835"/>
                    <a:pt x="2229" y="835"/>
                  </a:cubicBezTo>
                  <a:cubicBezTo>
                    <a:pt x="2236" y="835"/>
                    <a:pt x="2243" y="830"/>
                    <a:pt x="2244" y="824"/>
                  </a:cubicBezTo>
                  <a:cubicBezTo>
                    <a:pt x="2244" y="819"/>
                    <a:pt x="2238" y="814"/>
                    <a:pt x="2231" y="814"/>
                  </a:cubicBezTo>
                  <a:cubicBezTo>
                    <a:pt x="2231" y="814"/>
                    <a:pt x="2231" y="814"/>
                    <a:pt x="2231" y="814"/>
                  </a:cubicBezTo>
                  <a:moveTo>
                    <a:pt x="2270" y="814"/>
                  </a:moveTo>
                  <a:cubicBezTo>
                    <a:pt x="2263" y="814"/>
                    <a:pt x="2256" y="819"/>
                    <a:pt x="2256" y="824"/>
                  </a:cubicBezTo>
                  <a:cubicBezTo>
                    <a:pt x="2255" y="830"/>
                    <a:pt x="2261" y="835"/>
                    <a:pt x="2269" y="834"/>
                  </a:cubicBezTo>
                  <a:cubicBezTo>
                    <a:pt x="2276" y="834"/>
                    <a:pt x="2283" y="830"/>
                    <a:pt x="2283" y="824"/>
                  </a:cubicBezTo>
                  <a:cubicBezTo>
                    <a:pt x="2284" y="819"/>
                    <a:pt x="2278" y="814"/>
                    <a:pt x="2270" y="814"/>
                  </a:cubicBezTo>
                  <a:cubicBezTo>
                    <a:pt x="2270" y="814"/>
                    <a:pt x="2270" y="814"/>
                    <a:pt x="2270" y="814"/>
                  </a:cubicBezTo>
                  <a:moveTo>
                    <a:pt x="2310" y="814"/>
                  </a:moveTo>
                  <a:cubicBezTo>
                    <a:pt x="2302" y="814"/>
                    <a:pt x="2295" y="819"/>
                    <a:pt x="2295" y="824"/>
                  </a:cubicBezTo>
                  <a:cubicBezTo>
                    <a:pt x="2295" y="830"/>
                    <a:pt x="2301" y="834"/>
                    <a:pt x="2308" y="834"/>
                  </a:cubicBezTo>
                  <a:cubicBezTo>
                    <a:pt x="2316" y="834"/>
                    <a:pt x="2323" y="830"/>
                    <a:pt x="2323" y="824"/>
                  </a:cubicBezTo>
                  <a:cubicBezTo>
                    <a:pt x="2323" y="818"/>
                    <a:pt x="2317" y="814"/>
                    <a:pt x="2310" y="814"/>
                  </a:cubicBezTo>
                  <a:cubicBezTo>
                    <a:pt x="2310" y="814"/>
                    <a:pt x="2310" y="814"/>
                    <a:pt x="2310" y="814"/>
                  </a:cubicBezTo>
                  <a:moveTo>
                    <a:pt x="2349" y="814"/>
                  </a:moveTo>
                  <a:cubicBezTo>
                    <a:pt x="2342" y="814"/>
                    <a:pt x="2335" y="818"/>
                    <a:pt x="2335" y="824"/>
                  </a:cubicBezTo>
                  <a:cubicBezTo>
                    <a:pt x="2335" y="830"/>
                    <a:pt x="2341" y="834"/>
                    <a:pt x="2348" y="834"/>
                  </a:cubicBezTo>
                  <a:cubicBezTo>
                    <a:pt x="2356" y="834"/>
                    <a:pt x="2363" y="829"/>
                    <a:pt x="2363" y="824"/>
                  </a:cubicBezTo>
                  <a:cubicBezTo>
                    <a:pt x="2363" y="818"/>
                    <a:pt x="2357" y="814"/>
                    <a:pt x="2349" y="814"/>
                  </a:cubicBezTo>
                  <a:cubicBezTo>
                    <a:pt x="2349" y="814"/>
                    <a:pt x="2349" y="814"/>
                    <a:pt x="2349" y="814"/>
                  </a:cubicBezTo>
                  <a:moveTo>
                    <a:pt x="2389" y="814"/>
                  </a:moveTo>
                  <a:cubicBezTo>
                    <a:pt x="2382" y="814"/>
                    <a:pt x="2375" y="818"/>
                    <a:pt x="2375" y="824"/>
                  </a:cubicBezTo>
                  <a:cubicBezTo>
                    <a:pt x="2375" y="829"/>
                    <a:pt x="2381" y="834"/>
                    <a:pt x="2389" y="834"/>
                  </a:cubicBezTo>
                  <a:cubicBezTo>
                    <a:pt x="2397" y="834"/>
                    <a:pt x="2403" y="829"/>
                    <a:pt x="2403" y="824"/>
                  </a:cubicBezTo>
                  <a:cubicBezTo>
                    <a:pt x="2403" y="818"/>
                    <a:pt x="2397" y="814"/>
                    <a:pt x="2390" y="814"/>
                  </a:cubicBezTo>
                  <a:cubicBezTo>
                    <a:pt x="2389" y="814"/>
                    <a:pt x="2389" y="814"/>
                    <a:pt x="2389" y="814"/>
                  </a:cubicBezTo>
                  <a:moveTo>
                    <a:pt x="2429" y="813"/>
                  </a:moveTo>
                  <a:cubicBezTo>
                    <a:pt x="2421" y="813"/>
                    <a:pt x="2415" y="818"/>
                    <a:pt x="2415" y="824"/>
                  </a:cubicBezTo>
                  <a:cubicBezTo>
                    <a:pt x="2415" y="829"/>
                    <a:pt x="2421" y="834"/>
                    <a:pt x="2428" y="834"/>
                  </a:cubicBezTo>
                  <a:cubicBezTo>
                    <a:pt x="2436" y="834"/>
                    <a:pt x="2443" y="829"/>
                    <a:pt x="2443" y="823"/>
                  </a:cubicBezTo>
                  <a:cubicBezTo>
                    <a:pt x="2443" y="818"/>
                    <a:pt x="2437" y="813"/>
                    <a:pt x="2429" y="813"/>
                  </a:cubicBezTo>
                  <a:cubicBezTo>
                    <a:pt x="2429" y="813"/>
                    <a:pt x="2429" y="813"/>
                    <a:pt x="2429" y="813"/>
                  </a:cubicBezTo>
                  <a:moveTo>
                    <a:pt x="2468" y="813"/>
                  </a:moveTo>
                  <a:cubicBezTo>
                    <a:pt x="2461" y="813"/>
                    <a:pt x="2455" y="818"/>
                    <a:pt x="2454" y="823"/>
                  </a:cubicBezTo>
                  <a:cubicBezTo>
                    <a:pt x="2454" y="829"/>
                    <a:pt x="2461" y="834"/>
                    <a:pt x="2468" y="834"/>
                  </a:cubicBezTo>
                  <a:cubicBezTo>
                    <a:pt x="2476" y="834"/>
                    <a:pt x="2482" y="829"/>
                    <a:pt x="2482" y="823"/>
                  </a:cubicBezTo>
                  <a:cubicBezTo>
                    <a:pt x="2482" y="818"/>
                    <a:pt x="2476" y="813"/>
                    <a:pt x="2469" y="813"/>
                  </a:cubicBezTo>
                  <a:cubicBezTo>
                    <a:pt x="2469" y="813"/>
                    <a:pt x="2469" y="813"/>
                    <a:pt x="2468" y="813"/>
                  </a:cubicBezTo>
                  <a:moveTo>
                    <a:pt x="2508" y="813"/>
                  </a:moveTo>
                  <a:cubicBezTo>
                    <a:pt x="2500" y="813"/>
                    <a:pt x="2494" y="818"/>
                    <a:pt x="2494" y="823"/>
                  </a:cubicBezTo>
                  <a:cubicBezTo>
                    <a:pt x="2494" y="829"/>
                    <a:pt x="2500" y="833"/>
                    <a:pt x="2508" y="833"/>
                  </a:cubicBezTo>
                  <a:cubicBezTo>
                    <a:pt x="2516" y="833"/>
                    <a:pt x="2522" y="829"/>
                    <a:pt x="2522" y="823"/>
                  </a:cubicBezTo>
                  <a:cubicBezTo>
                    <a:pt x="2522" y="817"/>
                    <a:pt x="2516" y="813"/>
                    <a:pt x="2508" y="813"/>
                  </a:cubicBezTo>
                  <a:cubicBezTo>
                    <a:pt x="2508" y="813"/>
                    <a:pt x="2508" y="813"/>
                    <a:pt x="2508" y="813"/>
                  </a:cubicBezTo>
                  <a:moveTo>
                    <a:pt x="2826" y="813"/>
                  </a:moveTo>
                  <a:cubicBezTo>
                    <a:pt x="2818" y="813"/>
                    <a:pt x="2812" y="818"/>
                    <a:pt x="2813" y="823"/>
                  </a:cubicBezTo>
                  <a:cubicBezTo>
                    <a:pt x="2813" y="829"/>
                    <a:pt x="2820" y="833"/>
                    <a:pt x="2828" y="833"/>
                  </a:cubicBezTo>
                  <a:cubicBezTo>
                    <a:pt x="2836" y="833"/>
                    <a:pt x="2841" y="829"/>
                    <a:pt x="2841" y="823"/>
                  </a:cubicBezTo>
                  <a:cubicBezTo>
                    <a:pt x="2840" y="817"/>
                    <a:pt x="2833" y="813"/>
                    <a:pt x="2826" y="813"/>
                  </a:cubicBezTo>
                  <a:cubicBezTo>
                    <a:pt x="2826" y="813"/>
                    <a:pt x="2826" y="813"/>
                    <a:pt x="2826" y="813"/>
                  </a:cubicBezTo>
                  <a:moveTo>
                    <a:pt x="2548" y="813"/>
                  </a:moveTo>
                  <a:cubicBezTo>
                    <a:pt x="2540" y="813"/>
                    <a:pt x="2534" y="817"/>
                    <a:pt x="2534" y="823"/>
                  </a:cubicBezTo>
                  <a:cubicBezTo>
                    <a:pt x="2534" y="829"/>
                    <a:pt x="2540" y="833"/>
                    <a:pt x="2548" y="833"/>
                  </a:cubicBezTo>
                  <a:cubicBezTo>
                    <a:pt x="2556" y="833"/>
                    <a:pt x="2562" y="829"/>
                    <a:pt x="2562" y="823"/>
                  </a:cubicBezTo>
                  <a:cubicBezTo>
                    <a:pt x="2562" y="817"/>
                    <a:pt x="2555" y="813"/>
                    <a:pt x="2548" y="813"/>
                  </a:cubicBezTo>
                  <a:cubicBezTo>
                    <a:pt x="2548" y="813"/>
                    <a:pt x="2548" y="813"/>
                    <a:pt x="2548" y="813"/>
                  </a:cubicBezTo>
                  <a:moveTo>
                    <a:pt x="2588" y="813"/>
                  </a:moveTo>
                  <a:cubicBezTo>
                    <a:pt x="2580" y="813"/>
                    <a:pt x="2574" y="817"/>
                    <a:pt x="2574" y="823"/>
                  </a:cubicBezTo>
                  <a:cubicBezTo>
                    <a:pt x="2574" y="829"/>
                    <a:pt x="2581" y="833"/>
                    <a:pt x="2588" y="833"/>
                  </a:cubicBezTo>
                  <a:cubicBezTo>
                    <a:pt x="2596" y="833"/>
                    <a:pt x="2602" y="828"/>
                    <a:pt x="2602" y="823"/>
                  </a:cubicBezTo>
                  <a:cubicBezTo>
                    <a:pt x="2602" y="817"/>
                    <a:pt x="2595" y="813"/>
                    <a:pt x="2588" y="813"/>
                  </a:cubicBezTo>
                  <a:cubicBezTo>
                    <a:pt x="2588" y="813"/>
                    <a:pt x="2588" y="813"/>
                    <a:pt x="2588" y="813"/>
                  </a:cubicBezTo>
                  <a:moveTo>
                    <a:pt x="2904" y="813"/>
                  </a:moveTo>
                  <a:cubicBezTo>
                    <a:pt x="2897" y="813"/>
                    <a:pt x="2891" y="817"/>
                    <a:pt x="2892" y="823"/>
                  </a:cubicBezTo>
                  <a:cubicBezTo>
                    <a:pt x="2893" y="829"/>
                    <a:pt x="2900" y="833"/>
                    <a:pt x="2907" y="833"/>
                  </a:cubicBezTo>
                  <a:cubicBezTo>
                    <a:pt x="2915" y="833"/>
                    <a:pt x="2921" y="828"/>
                    <a:pt x="2920" y="823"/>
                  </a:cubicBezTo>
                  <a:cubicBezTo>
                    <a:pt x="2919" y="817"/>
                    <a:pt x="2912" y="813"/>
                    <a:pt x="2905" y="813"/>
                  </a:cubicBezTo>
                  <a:cubicBezTo>
                    <a:pt x="2905" y="813"/>
                    <a:pt x="2904" y="813"/>
                    <a:pt x="2904" y="813"/>
                  </a:cubicBezTo>
                  <a:moveTo>
                    <a:pt x="2863" y="813"/>
                  </a:moveTo>
                  <a:cubicBezTo>
                    <a:pt x="2855" y="813"/>
                    <a:pt x="2850" y="817"/>
                    <a:pt x="2850" y="823"/>
                  </a:cubicBezTo>
                  <a:cubicBezTo>
                    <a:pt x="2851" y="828"/>
                    <a:pt x="2858" y="833"/>
                    <a:pt x="2865" y="833"/>
                  </a:cubicBezTo>
                  <a:cubicBezTo>
                    <a:pt x="2873" y="833"/>
                    <a:pt x="2879" y="828"/>
                    <a:pt x="2878" y="823"/>
                  </a:cubicBezTo>
                  <a:cubicBezTo>
                    <a:pt x="2877" y="817"/>
                    <a:pt x="2871" y="813"/>
                    <a:pt x="2863" y="813"/>
                  </a:cubicBezTo>
                  <a:cubicBezTo>
                    <a:pt x="2863" y="813"/>
                    <a:pt x="2863" y="813"/>
                    <a:pt x="2863" y="813"/>
                  </a:cubicBezTo>
                  <a:moveTo>
                    <a:pt x="2627" y="812"/>
                  </a:moveTo>
                  <a:cubicBezTo>
                    <a:pt x="2619" y="812"/>
                    <a:pt x="2613" y="817"/>
                    <a:pt x="2614" y="823"/>
                  </a:cubicBezTo>
                  <a:cubicBezTo>
                    <a:pt x="2614" y="828"/>
                    <a:pt x="2620" y="833"/>
                    <a:pt x="2628" y="833"/>
                  </a:cubicBezTo>
                  <a:cubicBezTo>
                    <a:pt x="2636" y="833"/>
                    <a:pt x="2642" y="828"/>
                    <a:pt x="2641" y="823"/>
                  </a:cubicBezTo>
                  <a:cubicBezTo>
                    <a:pt x="2641" y="817"/>
                    <a:pt x="2635" y="812"/>
                    <a:pt x="2627" y="812"/>
                  </a:cubicBezTo>
                  <a:cubicBezTo>
                    <a:pt x="2627" y="812"/>
                    <a:pt x="2627" y="812"/>
                    <a:pt x="2627" y="812"/>
                  </a:cubicBezTo>
                  <a:moveTo>
                    <a:pt x="2985" y="812"/>
                  </a:moveTo>
                  <a:cubicBezTo>
                    <a:pt x="2977" y="812"/>
                    <a:pt x="2972" y="817"/>
                    <a:pt x="2973" y="823"/>
                  </a:cubicBezTo>
                  <a:cubicBezTo>
                    <a:pt x="2974" y="828"/>
                    <a:pt x="2981" y="833"/>
                    <a:pt x="2989" y="833"/>
                  </a:cubicBezTo>
                  <a:cubicBezTo>
                    <a:pt x="2996" y="833"/>
                    <a:pt x="3002" y="828"/>
                    <a:pt x="3001" y="822"/>
                  </a:cubicBezTo>
                  <a:cubicBezTo>
                    <a:pt x="3000" y="817"/>
                    <a:pt x="2993" y="812"/>
                    <a:pt x="2985" y="812"/>
                  </a:cubicBezTo>
                  <a:cubicBezTo>
                    <a:pt x="2985" y="812"/>
                    <a:pt x="2985" y="812"/>
                    <a:pt x="2985" y="812"/>
                  </a:cubicBezTo>
                  <a:moveTo>
                    <a:pt x="2942" y="812"/>
                  </a:moveTo>
                  <a:cubicBezTo>
                    <a:pt x="2934" y="812"/>
                    <a:pt x="2929" y="817"/>
                    <a:pt x="2929" y="822"/>
                  </a:cubicBezTo>
                  <a:cubicBezTo>
                    <a:pt x="2930" y="828"/>
                    <a:pt x="2937" y="833"/>
                    <a:pt x="2945" y="833"/>
                  </a:cubicBezTo>
                  <a:cubicBezTo>
                    <a:pt x="2953" y="833"/>
                    <a:pt x="2958" y="828"/>
                    <a:pt x="2957" y="822"/>
                  </a:cubicBezTo>
                  <a:cubicBezTo>
                    <a:pt x="2956" y="817"/>
                    <a:pt x="2949" y="812"/>
                    <a:pt x="2942" y="812"/>
                  </a:cubicBezTo>
                  <a:cubicBezTo>
                    <a:pt x="2942" y="812"/>
                    <a:pt x="2942" y="812"/>
                    <a:pt x="2942" y="812"/>
                  </a:cubicBezTo>
                  <a:moveTo>
                    <a:pt x="3022" y="812"/>
                  </a:moveTo>
                  <a:cubicBezTo>
                    <a:pt x="3015" y="812"/>
                    <a:pt x="3009" y="816"/>
                    <a:pt x="3010" y="822"/>
                  </a:cubicBezTo>
                  <a:cubicBezTo>
                    <a:pt x="3011" y="828"/>
                    <a:pt x="3018" y="832"/>
                    <a:pt x="3026" y="832"/>
                  </a:cubicBezTo>
                  <a:cubicBezTo>
                    <a:pt x="3034" y="832"/>
                    <a:pt x="3039" y="828"/>
                    <a:pt x="3038" y="822"/>
                  </a:cubicBezTo>
                  <a:cubicBezTo>
                    <a:pt x="3037" y="816"/>
                    <a:pt x="3030" y="812"/>
                    <a:pt x="3022" y="812"/>
                  </a:cubicBezTo>
                  <a:cubicBezTo>
                    <a:pt x="3022" y="812"/>
                    <a:pt x="3022" y="812"/>
                    <a:pt x="3022" y="812"/>
                  </a:cubicBezTo>
                  <a:moveTo>
                    <a:pt x="2707" y="810"/>
                  </a:moveTo>
                  <a:cubicBezTo>
                    <a:pt x="2699" y="810"/>
                    <a:pt x="2693" y="815"/>
                    <a:pt x="2693" y="820"/>
                  </a:cubicBezTo>
                  <a:cubicBezTo>
                    <a:pt x="2694" y="826"/>
                    <a:pt x="2700" y="831"/>
                    <a:pt x="2708" y="831"/>
                  </a:cubicBezTo>
                  <a:cubicBezTo>
                    <a:pt x="2716" y="831"/>
                    <a:pt x="2722" y="826"/>
                    <a:pt x="2721" y="820"/>
                  </a:cubicBezTo>
                  <a:cubicBezTo>
                    <a:pt x="2721" y="815"/>
                    <a:pt x="2714" y="810"/>
                    <a:pt x="2707" y="810"/>
                  </a:cubicBezTo>
                  <a:cubicBezTo>
                    <a:pt x="2707" y="810"/>
                    <a:pt x="2707" y="810"/>
                    <a:pt x="2707" y="810"/>
                  </a:cubicBezTo>
                  <a:moveTo>
                    <a:pt x="3260" y="810"/>
                  </a:moveTo>
                  <a:cubicBezTo>
                    <a:pt x="3252" y="810"/>
                    <a:pt x="3247" y="815"/>
                    <a:pt x="3249" y="820"/>
                  </a:cubicBezTo>
                  <a:cubicBezTo>
                    <a:pt x="3250" y="826"/>
                    <a:pt x="3258" y="831"/>
                    <a:pt x="3265" y="831"/>
                  </a:cubicBezTo>
                  <a:cubicBezTo>
                    <a:pt x="3273" y="830"/>
                    <a:pt x="3278" y="826"/>
                    <a:pt x="3277" y="820"/>
                  </a:cubicBezTo>
                  <a:cubicBezTo>
                    <a:pt x="3275" y="815"/>
                    <a:pt x="3268" y="810"/>
                    <a:pt x="3260" y="810"/>
                  </a:cubicBezTo>
                  <a:cubicBezTo>
                    <a:pt x="3260" y="810"/>
                    <a:pt x="3260" y="810"/>
                    <a:pt x="3260" y="810"/>
                  </a:cubicBezTo>
                  <a:moveTo>
                    <a:pt x="2746" y="810"/>
                  </a:moveTo>
                  <a:cubicBezTo>
                    <a:pt x="2738" y="810"/>
                    <a:pt x="2732" y="815"/>
                    <a:pt x="2733" y="820"/>
                  </a:cubicBezTo>
                  <a:cubicBezTo>
                    <a:pt x="2733" y="826"/>
                    <a:pt x="2740" y="830"/>
                    <a:pt x="2748" y="830"/>
                  </a:cubicBezTo>
                  <a:cubicBezTo>
                    <a:pt x="2755" y="830"/>
                    <a:pt x="2761" y="826"/>
                    <a:pt x="2761" y="820"/>
                  </a:cubicBezTo>
                  <a:cubicBezTo>
                    <a:pt x="2760" y="814"/>
                    <a:pt x="2754" y="810"/>
                    <a:pt x="2746" y="810"/>
                  </a:cubicBezTo>
                  <a:cubicBezTo>
                    <a:pt x="2746" y="810"/>
                    <a:pt x="2746" y="810"/>
                    <a:pt x="2746" y="810"/>
                  </a:cubicBezTo>
                  <a:moveTo>
                    <a:pt x="3300" y="810"/>
                  </a:moveTo>
                  <a:cubicBezTo>
                    <a:pt x="3292" y="810"/>
                    <a:pt x="3287" y="814"/>
                    <a:pt x="3289" y="820"/>
                  </a:cubicBezTo>
                  <a:cubicBezTo>
                    <a:pt x="3290" y="826"/>
                    <a:pt x="3298" y="830"/>
                    <a:pt x="3305" y="830"/>
                  </a:cubicBezTo>
                  <a:cubicBezTo>
                    <a:pt x="3313" y="830"/>
                    <a:pt x="3318" y="826"/>
                    <a:pt x="3317" y="820"/>
                  </a:cubicBezTo>
                  <a:cubicBezTo>
                    <a:pt x="3315" y="814"/>
                    <a:pt x="3307" y="810"/>
                    <a:pt x="3300" y="810"/>
                  </a:cubicBezTo>
                  <a:cubicBezTo>
                    <a:pt x="3300" y="810"/>
                    <a:pt x="3300" y="810"/>
                    <a:pt x="3300" y="810"/>
                  </a:cubicBezTo>
                  <a:moveTo>
                    <a:pt x="2786" y="810"/>
                  </a:moveTo>
                  <a:cubicBezTo>
                    <a:pt x="2778" y="810"/>
                    <a:pt x="2772" y="814"/>
                    <a:pt x="2773" y="820"/>
                  </a:cubicBezTo>
                  <a:cubicBezTo>
                    <a:pt x="2773" y="826"/>
                    <a:pt x="2780" y="830"/>
                    <a:pt x="2788" y="830"/>
                  </a:cubicBezTo>
                  <a:cubicBezTo>
                    <a:pt x="2795" y="830"/>
                    <a:pt x="2801" y="826"/>
                    <a:pt x="2801" y="820"/>
                  </a:cubicBezTo>
                  <a:cubicBezTo>
                    <a:pt x="2800" y="814"/>
                    <a:pt x="2793" y="810"/>
                    <a:pt x="2786" y="810"/>
                  </a:cubicBezTo>
                  <a:cubicBezTo>
                    <a:pt x="2786" y="810"/>
                    <a:pt x="2786" y="810"/>
                    <a:pt x="2786" y="810"/>
                  </a:cubicBezTo>
                  <a:moveTo>
                    <a:pt x="3340" y="810"/>
                  </a:moveTo>
                  <a:cubicBezTo>
                    <a:pt x="3332" y="810"/>
                    <a:pt x="3327" y="814"/>
                    <a:pt x="3329" y="820"/>
                  </a:cubicBezTo>
                  <a:cubicBezTo>
                    <a:pt x="3331" y="826"/>
                    <a:pt x="3338" y="830"/>
                    <a:pt x="3346" y="830"/>
                  </a:cubicBezTo>
                  <a:cubicBezTo>
                    <a:pt x="3353" y="830"/>
                    <a:pt x="3358" y="826"/>
                    <a:pt x="3357" y="820"/>
                  </a:cubicBezTo>
                  <a:cubicBezTo>
                    <a:pt x="3355" y="814"/>
                    <a:pt x="3347" y="810"/>
                    <a:pt x="3340" y="810"/>
                  </a:cubicBezTo>
                  <a:cubicBezTo>
                    <a:pt x="3340" y="810"/>
                    <a:pt x="3340" y="810"/>
                    <a:pt x="3340" y="810"/>
                  </a:cubicBezTo>
                  <a:moveTo>
                    <a:pt x="3379" y="809"/>
                  </a:moveTo>
                  <a:cubicBezTo>
                    <a:pt x="3371" y="809"/>
                    <a:pt x="3366" y="814"/>
                    <a:pt x="3368" y="820"/>
                  </a:cubicBezTo>
                  <a:cubicBezTo>
                    <a:pt x="3370" y="825"/>
                    <a:pt x="3377" y="830"/>
                    <a:pt x="3385" y="830"/>
                  </a:cubicBezTo>
                  <a:cubicBezTo>
                    <a:pt x="3393" y="830"/>
                    <a:pt x="3398" y="825"/>
                    <a:pt x="3396" y="820"/>
                  </a:cubicBezTo>
                  <a:cubicBezTo>
                    <a:pt x="3394" y="814"/>
                    <a:pt x="3387" y="809"/>
                    <a:pt x="3379" y="809"/>
                  </a:cubicBezTo>
                  <a:cubicBezTo>
                    <a:pt x="3379" y="809"/>
                    <a:pt x="3379" y="809"/>
                    <a:pt x="3379" y="809"/>
                  </a:cubicBezTo>
                  <a:moveTo>
                    <a:pt x="3418" y="809"/>
                  </a:moveTo>
                  <a:cubicBezTo>
                    <a:pt x="3411" y="809"/>
                    <a:pt x="3406" y="814"/>
                    <a:pt x="3408" y="820"/>
                  </a:cubicBezTo>
                  <a:cubicBezTo>
                    <a:pt x="3409" y="825"/>
                    <a:pt x="3417" y="830"/>
                    <a:pt x="3425" y="830"/>
                  </a:cubicBezTo>
                  <a:cubicBezTo>
                    <a:pt x="3432" y="830"/>
                    <a:pt x="3437" y="825"/>
                    <a:pt x="3435" y="819"/>
                  </a:cubicBezTo>
                  <a:cubicBezTo>
                    <a:pt x="3434" y="814"/>
                    <a:pt x="3426" y="809"/>
                    <a:pt x="3418" y="809"/>
                  </a:cubicBezTo>
                  <a:cubicBezTo>
                    <a:pt x="3418" y="809"/>
                    <a:pt x="3418" y="809"/>
                    <a:pt x="3418" y="809"/>
                  </a:cubicBezTo>
                  <a:moveTo>
                    <a:pt x="3458" y="809"/>
                  </a:moveTo>
                  <a:cubicBezTo>
                    <a:pt x="3450" y="809"/>
                    <a:pt x="3445" y="814"/>
                    <a:pt x="3447" y="819"/>
                  </a:cubicBezTo>
                  <a:cubicBezTo>
                    <a:pt x="3449" y="825"/>
                    <a:pt x="3457" y="830"/>
                    <a:pt x="3465" y="830"/>
                  </a:cubicBezTo>
                  <a:cubicBezTo>
                    <a:pt x="3472" y="830"/>
                    <a:pt x="3477" y="825"/>
                    <a:pt x="3475" y="819"/>
                  </a:cubicBezTo>
                  <a:cubicBezTo>
                    <a:pt x="3473" y="814"/>
                    <a:pt x="3466" y="809"/>
                    <a:pt x="3458" y="809"/>
                  </a:cubicBezTo>
                  <a:cubicBezTo>
                    <a:pt x="3458" y="809"/>
                    <a:pt x="3458" y="809"/>
                    <a:pt x="3458" y="809"/>
                  </a:cubicBezTo>
                  <a:moveTo>
                    <a:pt x="3498" y="809"/>
                  </a:moveTo>
                  <a:cubicBezTo>
                    <a:pt x="3490" y="809"/>
                    <a:pt x="3486" y="814"/>
                    <a:pt x="3488" y="819"/>
                  </a:cubicBezTo>
                  <a:cubicBezTo>
                    <a:pt x="3489" y="825"/>
                    <a:pt x="3497" y="829"/>
                    <a:pt x="3505" y="829"/>
                  </a:cubicBezTo>
                  <a:cubicBezTo>
                    <a:pt x="3513" y="829"/>
                    <a:pt x="3517" y="825"/>
                    <a:pt x="3515" y="819"/>
                  </a:cubicBezTo>
                  <a:cubicBezTo>
                    <a:pt x="3513" y="813"/>
                    <a:pt x="3506" y="809"/>
                    <a:pt x="3498" y="809"/>
                  </a:cubicBezTo>
                  <a:cubicBezTo>
                    <a:pt x="3498" y="809"/>
                    <a:pt x="3498" y="809"/>
                    <a:pt x="3498" y="809"/>
                  </a:cubicBezTo>
                  <a:moveTo>
                    <a:pt x="3537" y="809"/>
                  </a:moveTo>
                  <a:cubicBezTo>
                    <a:pt x="3530" y="809"/>
                    <a:pt x="3525" y="813"/>
                    <a:pt x="3527" y="819"/>
                  </a:cubicBezTo>
                  <a:cubicBezTo>
                    <a:pt x="3529" y="825"/>
                    <a:pt x="3537" y="829"/>
                    <a:pt x="3545" y="829"/>
                  </a:cubicBezTo>
                  <a:cubicBezTo>
                    <a:pt x="3552" y="829"/>
                    <a:pt x="3557" y="825"/>
                    <a:pt x="3555" y="819"/>
                  </a:cubicBezTo>
                  <a:cubicBezTo>
                    <a:pt x="3553" y="813"/>
                    <a:pt x="3545" y="809"/>
                    <a:pt x="3537" y="809"/>
                  </a:cubicBezTo>
                  <a:cubicBezTo>
                    <a:pt x="3537" y="809"/>
                    <a:pt x="3537" y="809"/>
                    <a:pt x="3537" y="809"/>
                  </a:cubicBezTo>
                  <a:moveTo>
                    <a:pt x="3656" y="808"/>
                  </a:moveTo>
                  <a:cubicBezTo>
                    <a:pt x="3648" y="808"/>
                    <a:pt x="3644" y="813"/>
                    <a:pt x="3646" y="819"/>
                  </a:cubicBezTo>
                  <a:cubicBezTo>
                    <a:pt x="3648" y="824"/>
                    <a:pt x="3656" y="829"/>
                    <a:pt x="3664" y="829"/>
                  </a:cubicBezTo>
                  <a:cubicBezTo>
                    <a:pt x="3672" y="829"/>
                    <a:pt x="3676" y="824"/>
                    <a:pt x="3674" y="818"/>
                  </a:cubicBezTo>
                  <a:cubicBezTo>
                    <a:pt x="3672" y="813"/>
                    <a:pt x="3664" y="808"/>
                    <a:pt x="3656" y="808"/>
                  </a:cubicBezTo>
                  <a:cubicBezTo>
                    <a:pt x="3656" y="808"/>
                    <a:pt x="3656" y="808"/>
                    <a:pt x="3656" y="808"/>
                  </a:cubicBezTo>
                  <a:moveTo>
                    <a:pt x="3696" y="808"/>
                  </a:moveTo>
                  <a:cubicBezTo>
                    <a:pt x="3688" y="808"/>
                    <a:pt x="3684" y="813"/>
                    <a:pt x="3686" y="818"/>
                  </a:cubicBezTo>
                  <a:cubicBezTo>
                    <a:pt x="3689" y="824"/>
                    <a:pt x="3697" y="829"/>
                    <a:pt x="3704" y="829"/>
                  </a:cubicBezTo>
                  <a:cubicBezTo>
                    <a:pt x="3712" y="829"/>
                    <a:pt x="3716" y="824"/>
                    <a:pt x="3714" y="818"/>
                  </a:cubicBezTo>
                  <a:cubicBezTo>
                    <a:pt x="3712" y="813"/>
                    <a:pt x="3704" y="808"/>
                    <a:pt x="3696" y="808"/>
                  </a:cubicBezTo>
                  <a:cubicBezTo>
                    <a:pt x="3696" y="808"/>
                    <a:pt x="3696" y="808"/>
                    <a:pt x="3696" y="808"/>
                  </a:cubicBezTo>
                  <a:moveTo>
                    <a:pt x="3735" y="807"/>
                  </a:moveTo>
                  <a:cubicBezTo>
                    <a:pt x="3727" y="807"/>
                    <a:pt x="3723" y="811"/>
                    <a:pt x="3725" y="817"/>
                  </a:cubicBezTo>
                  <a:cubicBezTo>
                    <a:pt x="3728" y="823"/>
                    <a:pt x="3736" y="827"/>
                    <a:pt x="3744" y="827"/>
                  </a:cubicBezTo>
                  <a:cubicBezTo>
                    <a:pt x="3751" y="827"/>
                    <a:pt x="3756" y="823"/>
                    <a:pt x="3753" y="817"/>
                  </a:cubicBezTo>
                  <a:cubicBezTo>
                    <a:pt x="3751" y="811"/>
                    <a:pt x="3743" y="807"/>
                    <a:pt x="3735" y="807"/>
                  </a:cubicBezTo>
                  <a:cubicBezTo>
                    <a:pt x="3735" y="807"/>
                    <a:pt x="3735" y="807"/>
                    <a:pt x="3735" y="807"/>
                  </a:cubicBezTo>
                  <a:moveTo>
                    <a:pt x="3774" y="806"/>
                  </a:moveTo>
                  <a:cubicBezTo>
                    <a:pt x="3767" y="807"/>
                    <a:pt x="3762" y="811"/>
                    <a:pt x="3765" y="817"/>
                  </a:cubicBezTo>
                  <a:cubicBezTo>
                    <a:pt x="3767" y="823"/>
                    <a:pt x="3776" y="827"/>
                    <a:pt x="3783" y="827"/>
                  </a:cubicBezTo>
                  <a:cubicBezTo>
                    <a:pt x="3791" y="827"/>
                    <a:pt x="3795" y="822"/>
                    <a:pt x="3793" y="817"/>
                  </a:cubicBezTo>
                  <a:cubicBezTo>
                    <a:pt x="3790" y="811"/>
                    <a:pt x="3782" y="806"/>
                    <a:pt x="3774" y="806"/>
                  </a:cubicBezTo>
                  <a:cubicBezTo>
                    <a:pt x="3774" y="806"/>
                    <a:pt x="3774" y="806"/>
                    <a:pt x="3774" y="806"/>
                  </a:cubicBezTo>
                  <a:moveTo>
                    <a:pt x="3814" y="806"/>
                  </a:moveTo>
                  <a:cubicBezTo>
                    <a:pt x="3806" y="806"/>
                    <a:pt x="3802" y="811"/>
                    <a:pt x="3805" y="817"/>
                  </a:cubicBezTo>
                  <a:cubicBezTo>
                    <a:pt x="3807" y="822"/>
                    <a:pt x="3815" y="827"/>
                    <a:pt x="3823" y="827"/>
                  </a:cubicBezTo>
                  <a:cubicBezTo>
                    <a:pt x="3831" y="827"/>
                    <a:pt x="3835" y="822"/>
                    <a:pt x="3832" y="817"/>
                  </a:cubicBezTo>
                  <a:cubicBezTo>
                    <a:pt x="3830" y="811"/>
                    <a:pt x="3822" y="806"/>
                    <a:pt x="3814" y="806"/>
                  </a:cubicBezTo>
                  <a:cubicBezTo>
                    <a:pt x="3814" y="806"/>
                    <a:pt x="3814" y="806"/>
                    <a:pt x="3814" y="806"/>
                  </a:cubicBezTo>
                  <a:moveTo>
                    <a:pt x="3856" y="806"/>
                  </a:moveTo>
                  <a:cubicBezTo>
                    <a:pt x="3848" y="806"/>
                    <a:pt x="3844" y="811"/>
                    <a:pt x="3847" y="816"/>
                  </a:cubicBezTo>
                  <a:cubicBezTo>
                    <a:pt x="3849" y="822"/>
                    <a:pt x="3858" y="827"/>
                    <a:pt x="3866" y="827"/>
                  </a:cubicBezTo>
                  <a:cubicBezTo>
                    <a:pt x="3873" y="827"/>
                    <a:pt x="3877" y="822"/>
                    <a:pt x="3875" y="816"/>
                  </a:cubicBezTo>
                  <a:cubicBezTo>
                    <a:pt x="3872" y="811"/>
                    <a:pt x="3864" y="806"/>
                    <a:pt x="3856" y="806"/>
                  </a:cubicBezTo>
                  <a:cubicBezTo>
                    <a:pt x="3856" y="806"/>
                    <a:pt x="3856" y="806"/>
                    <a:pt x="3856" y="806"/>
                  </a:cubicBezTo>
                  <a:moveTo>
                    <a:pt x="3895" y="806"/>
                  </a:moveTo>
                  <a:cubicBezTo>
                    <a:pt x="3887" y="806"/>
                    <a:pt x="3883" y="811"/>
                    <a:pt x="3886" y="816"/>
                  </a:cubicBezTo>
                  <a:cubicBezTo>
                    <a:pt x="3889" y="822"/>
                    <a:pt x="3897" y="827"/>
                    <a:pt x="3905" y="827"/>
                  </a:cubicBezTo>
                  <a:cubicBezTo>
                    <a:pt x="3912" y="826"/>
                    <a:pt x="3916" y="822"/>
                    <a:pt x="3914" y="816"/>
                  </a:cubicBezTo>
                  <a:cubicBezTo>
                    <a:pt x="3911" y="811"/>
                    <a:pt x="3903" y="806"/>
                    <a:pt x="3895" y="806"/>
                  </a:cubicBezTo>
                  <a:cubicBezTo>
                    <a:pt x="3895" y="806"/>
                    <a:pt x="3895" y="806"/>
                    <a:pt x="3895" y="806"/>
                  </a:cubicBezTo>
                  <a:moveTo>
                    <a:pt x="3934" y="806"/>
                  </a:moveTo>
                  <a:cubicBezTo>
                    <a:pt x="3927" y="806"/>
                    <a:pt x="3923" y="810"/>
                    <a:pt x="3925" y="816"/>
                  </a:cubicBezTo>
                  <a:cubicBezTo>
                    <a:pt x="3928" y="822"/>
                    <a:pt x="3937" y="826"/>
                    <a:pt x="3944" y="826"/>
                  </a:cubicBezTo>
                  <a:cubicBezTo>
                    <a:pt x="3952" y="826"/>
                    <a:pt x="3956" y="822"/>
                    <a:pt x="3953" y="816"/>
                  </a:cubicBezTo>
                  <a:cubicBezTo>
                    <a:pt x="3950" y="810"/>
                    <a:pt x="3942" y="806"/>
                    <a:pt x="3934" y="806"/>
                  </a:cubicBezTo>
                  <a:cubicBezTo>
                    <a:pt x="3934" y="806"/>
                    <a:pt x="3934" y="806"/>
                    <a:pt x="3934" y="806"/>
                  </a:cubicBezTo>
                  <a:moveTo>
                    <a:pt x="3974" y="806"/>
                  </a:moveTo>
                  <a:cubicBezTo>
                    <a:pt x="3966" y="806"/>
                    <a:pt x="3962" y="810"/>
                    <a:pt x="3965" y="816"/>
                  </a:cubicBezTo>
                  <a:cubicBezTo>
                    <a:pt x="3968" y="822"/>
                    <a:pt x="3977" y="826"/>
                    <a:pt x="3984" y="826"/>
                  </a:cubicBezTo>
                  <a:cubicBezTo>
                    <a:pt x="3992" y="826"/>
                    <a:pt x="3996" y="821"/>
                    <a:pt x="3993" y="816"/>
                  </a:cubicBezTo>
                  <a:cubicBezTo>
                    <a:pt x="3990" y="810"/>
                    <a:pt x="3982" y="806"/>
                    <a:pt x="3974" y="806"/>
                  </a:cubicBezTo>
                  <a:cubicBezTo>
                    <a:pt x="3974" y="806"/>
                    <a:pt x="3974" y="806"/>
                    <a:pt x="3974" y="806"/>
                  </a:cubicBezTo>
                  <a:moveTo>
                    <a:pt x="28" y="798"/>
                  </a:moveTo>
                  <a:cubicBezTo>
                    <a:pt x="20" y="798"/>
                    <a:pt x="10" y="802"/>
                    <a:pt x="5" y="808"/>
                  </a:cubicBezTo>
                  <a:cubicBezTo>
                    <a:pt x="0" y="813"/>
                    <a:pt x="3" y="818"/>
                    <a:pt x="10" y="818"/>
                  </a:cubicBezTo>
                  <a:cubicBezTo>
                    <a:pt x="18" y="818"/>
                    <a:pt x="28" y="813"/>
                    <a:pt x="33" y="808"/>
                  </a:cubicBezTo>
                  <a:cubicBezTo>
                    <a:pt x="38" y="802"/>
                    <a:pt x="35" y="798"/>
                    <a:pt x="28" y="798"/>
                  </a:cubicBezTo>
                  <a:cubicBezTo>
                    <a:pt x="28" y="798"/>
                    <a:pt x="28" y="798"/>
                    <a:pt x="28" y="798"/>
                  </a:cubicBezTo>
                  <a:moveTo>
                    <a:pt x="187" y="797"/>
                  </a:moveTo>
                  <a:cubicBezTo>
                    <a:pt x="179" y="797"/>
                    <a:pt x="169" y="801"/>
                    <a:pt x="165" y="807"/>
                  </a:cubicBezTo>
                  <a:cubicBezTo>
                    <a:pt x="160" y="813"/>
                    <a:pt x="163" y="817"/>
                    <a:pt x="171" y="817"/>
                  </a:cubicBezTo>
                  <a:cubicBezTo>
                    <a:pt x="178" y="817"/>
                    <a:pt x="188" y="813"/>
                    <a:pt x="192" y="807"/>
                  </a:cubicBezTo>
                  <a:cubicBezTo>
                    <a:pt x="197" y="801"/>
                    <a:pt x="194" y="797"/>
                    <a:pt x="187" y="797"/>
                  </a:cubicBezTo>
                  <a:cubicBezTo>
                    <a:pt x="187" y="797"/>
                    <a:pt x="187" y="797"/>
                    <a:pt x="187" y="797"/>
                  </a:cubicBezTo>
                  <a:moveTo>
                    <a:pt x="228" y="795"/>
                  </a:moveTo>
                  <a:cubicBezTo>
                    <a:pt x="221" y="795"/>
                    <a:pt x="211" y="800"/>
                    <a:pt x="207" y="805"/>
                  </a:cubicBezTo>
                  <a:cubicBezTo>
                    <a:pt x="202" y="811"/>
                    <a:pt x="205" y="815"/>
                    <a:pt x="213" y="815"/>
                  </a:cubicBezTo>
                  <a:cubicBezTo>
                    <a:pt x="220" y="815"/>
                    <a:pt x="230" y="811"/>
                    <a:pt x="234" y="805"/>
                  </a:cubicBezTo>
                  <a:cubicBezTo>
                    <a:pt x="239" y="800"/>
                    <a:pt x="236" y="795"/>
                    <a:pt x="229" y="795"/>
                  </a:cubicBezTo>
                  <a:cubicBezTo>
                    <a:pt x="229" y="795"/>
                    <a:pt x="228" y="795"/>
                    <a:pt x="228" y="795"/>
                  </a:cubicBezTo>
                  <a:moveTo>
                    <a:pt x="111" y="793"/>
                  </a:moveTo>
                  <a:cubicBezTo>
                    <a:pt x="103" y="793"/>
                    <a:pt x="94" y="798"/>
                    <a:pt x="89" y="803"/>
                  </a:cubicBezTo>
                  <a:cubicBezTo>
                    <a:pt x="84" y="809"/>
                    <a:pt x="87" y="814"/>
                    <a:pt x="95" y="814"/>
                  </a:cubicBezTo>
                  <a:cubicBezTo>
                    <a:pt x="102" y="813"/>
                    <a:pt x="112" y="809"/>
                    <a:pt x="117" y="803"/>
                  </a:cubicBezTo>
                  <a:cubicBezTo>
                    <a:pt x="121" y="798"/>
                    <a:pt x="119" y="793"/>
                    <a:pt x="111" y="793"/>
                  </a:cubicBezTo>
                  <a:cubicBezTo>
                    <a:pt x="111" y="793"/>
                    <a:pt x="111" y="793"/>
                    <a:pt x="111" y="793"/>
                  </a:cubicBezTo>
                  <a:moveTo>
                    <a:pt x="150" y="793"/>
                  </a:moveTo>
                  <a:cubicBezTo>
                    <a:pt x="143" y="793"/>
                    <a:pt x="133" y="798"/>
                    <a:pt x="128" y="803"/>
                  </a:cubicBezTo>
                  <a:cubicBezTo>
                    <a:pt x="124" y="809"/>
                    <a:pt x="126" y="813"/>
                    <a:pt x="134" y="813"/>
                  </a:cubicBezTo>
                  <a:cubicBezTo>
                    <a:pt x="142" y="813"/>
                    <a:pt x="151" y="809"/>
                    <a:pt x="156" y="803"/>
                  </a:cubicBezTo>
                  <a:cubicBezTo>
                    <a:pt x="160" y="798"/>
                    <a:pt x="158" y="793"/>
                    <a:pt x="150" y="793"/>
                  </a:cubicBezTo>
                  <a:cubicBezTo>
                    <a:pt x="150" y="793"/>
                    <a:pt x="150" y="793"/>
                    <a:pt x="150" y="793"/>
                  </a:cubicBezTo>
                  <a:moveTo>
                    <a:pt x="1724" y="786"/>
                  </a:moveTo>
                  <a:cubicBezTo>
                    <a:pt x="1716" y="786"/>
                    <a:pt x="1709" y="791"/>
                    <a:pt x="1708" y="796"/>
                  </a:cubicBezTo>
                  <a:cubicBezTo>
                    <a:pt x="1706" y="802"/>
                    <a:pt x="1711" y="806"/>
                    <a:pt x="1719" y="806"/>
                  </a:cubicBezTo>
                  <a:cubicBezTo>
                    <a:pt x="1726" y="806"/>
                    <a:pt x="1734" y="802"/>
                    <a:pt x="1735" y="796"/>
                  </a:cubicBezTo>
                  <a:cubicBezTo>
                    <a:pt x="1737" y="790"/>
                    <a:pt x="1732" y="786"/>
                    <a:pt x="1724" y="786"/>
                  </a:cubicBezTo>
                  <a:cubicBezTo>
                    <a:pt x="1724" y="786"/>
                    <a:pt x="1724" y="786"/>
                    <a:pt x="1724" y="786"/>
                  </a:cubicBezTo>
                  <a:moveTo>
                    <a:pt x="1761" y="786"/>
                  </a:moveTo>
                  <a:cubicBezTo>
                    <a:pt x="1753" y="786"/>
                    <a:pt x="1746" y="790"/>
                    <a:pt x="1745" y="796"/>
                  </a:cubicBezTo>
                  <a:cubicBezTo>
                    <a:pt x="1743" y="802"/>
                    <a:pt x="1748" y="806"/>
                    <a:pt x="1756" y="806"/>
                  </a:cubicBezTo>
                  <a:cubicBezTo>
                    <a:pt x="1764" y="806"/>
                    <a:pt x="1771" y="802"/>
                    <a:pt x="1772" y="796"/>
                  </a:cubicBezTo>
                  <a:cubicBezTo>
                    <a:pt x="1774" y="790"/>
                    <a:pt x="1769" y="786"/>
                    <a:pt x="1761" y="786"/>
                  </a:cubicBezTo>
                  <a:cubicBezTo>
                    <a:pt x="1761" y="786"/>
                    <a:pt x="1761" y="786"/>
                    <a:pt x="1761" y="786"/>
                  </a:cubicBezTo>
                  <a:moveTo>
                    <a:pt x="1800" y="786"/>
                  </a:moveTo>
                  <a:cubicBezTo>
                    <a:pt x="1792" y="786"/>
                    <a:pt x="1785" y="790"/>
                    <a:pt x="1784" y="796"/>
                  </a:cubicBezTo>
                  <a:cubicBezTo>
                    <a:pt x="1782" y="801"/>
                    <a:pt x="1788" y="806"/>
                    <a:pt x="1795" y="806"/>
                  </a:cubicBezTo>
                  <a:cubicBezTo>
                    <a:pt x="1803" y="806"/>
                    <a:pt x="1810" y="801"/>
                    <a:pt x="1811" y="796"/>
                  </a:cubicBezTo>
                  <a:cubicBezTo>
                    <a:pt x="1813" y="790"/>
                    <a:pt x="1808" y="786"/>
                    <a:pt x="1800" y="786"/>
                  </a:cubicBezTo>
                  <a:cubicBezTo>
                    <a:pt x="1800" y="786"/>
                    <a:pt x="1800" y="786"/>
                    <a:pt x="1800" y="786"/>
                  </a:cubicBezTo>
                  <a:moveTo>
                    <a:pt x="1839" y="785"/>
                  </a:moveTo>
                  <a:cubicBezTo>
                    <a:pt x="1832" y="785"/>
                    <a:pt x="1825" y="790"/>
                    <a:pt x="1823" y="796"/>
                  </a:cubicBezTo>
                  <a:cubicBezTo>
                    <a:pt x="1822" y="801"/>
                    <a:pt x="1827" y="806"/>
                    <a:pt x="1835" y="806"/>
                  </a:cubicBezTo>
                  <a:cubicBezTo>
                    <a:pt x="1842" y="806"/>
                    <a:pt x="1850" y="801"/>
                    <a:pt x="1851" y="796"/>
                  </a:cubicBezTo>
                  <a:cubicBezTo>
                    <a:pt x="1852" y="790"/>
                    <a:pt x="1847" y="785"/>
                    <a:pt x="1839" y="785"/>
                  </a:cubicBezTo>
                  <a:cubicBezTo>
                    <a:pt x="1839" y="785"/>
                    <a:pt x="1839" y="785"/>
                    <a:pt x="1839" y="785"/>
                  </a:cubicBezTo>
                  <a:moveTo>
                    <a:pt x="1879" y="785"/>
                  </a:moveTo>
                  <a:cubicBezTo>
                    <a:pt x="1871" y="785"/>
                    <a:pt x="1864" y="790"/>
                    <a:pt x="1863" y="795"/>
                  </a:cubicBezTo>
                  <a:cubicBezTo>
                    <a:pt x="1862" y="801"/>
                    <a:pt x="1867" y="806"/>
                    <a:pt x="1875" y="806"/>
                  </a:cubicBezTo>
                  <a:cubicBezTo>
                    <a:pt x="1882" y="806"/>
                    <a:pt x="1890" y="801"/>
                    <a:pt x="1891" y="795"/>
                  </a:cubicBezTo>
                  <a:cubicBezTo>
                    <a:pt x="1892" y="790"/>
                    <a:pt x="1887" y="785"/>
                    <a:pt x="1879" y="785"/>
                  </a:cubicBezTo>
                  <a:cubicBezTo>
                    <a:pt x="1879" y="785"/>
                    <a:pt x="1879" y="785"/>
                    <a:pt x="1879" y="785"/>
                  </a:cubicBezTo>
                  <a:moveTo>
                    <a:pt x="1918" y="785"/>
                  </a:moveTo>
                  <a:cubicBezTo>
                    <a:pt x="1910" y="785"/>
                    <a:pt x="1903" y="790"/>
                    <a:pt x="1902" y="795"/>
                  </a:cubicBezTo>
                  <a:cubicBezTo>
                    <a:pt x="1901" y="801"/>
                    <a:pt x="1906" y="805"/>
                    <a:pt x="1914" y="805"/>
                  </a:cubicBezTo>
                  <a:cubicBezTo>
                    <a:pt x="1922" y="805"/>
                    <a:pt x="1929" y="801"/>
                    <a:pt x="1930" y="795"/>
                  </a:cubicBezTo>
                  <a:cubicBezTo>
                    <a:pt x="1931" y="790"/>
                    <a:pt x="1926" y="785"/>
                    <a:pt x="1918" y="785"/>
                  </a:cubicBezTo>
                  <a:cubicBezTo>
                    <a:pt x="1918" y="785"/>
                    <a:pt x="1918" y="785"/>
                    <a:pt x="1918" y="785"/>
                  </a:cubicBezTo>
                  <a:moveTo>
                    <a:pt x="1957" y="785"/>
                  </a:moveTo>
                  <a:cubicBezTo>
                    <a:pt x="1950" y="785"/>
                    <a:pt x="1943" y="789"/>
                    <a:pt x="1942" y="795"/>
                  </a:cubicBezTo>
                  <a:cubicBezTo>
                    <a:pt x="1941" y="801"/>
                    <a:pt x="1946" y="805"/>
                    <a:pt x="1954" y="805"/>
                  </a:cubicBezTo>
                  <a:cubicBezTo>
                    <a:pt x="1961" y="805"/>
                    <a:pt x="1968" y="801"/>
                    <a:pt x="1969" y="795"/>
                  </a:cubicBezTo>
                  <a:cubicBezTo>
                    <a:pt x="1970" y="789"/>
                    <a:pt x="1965" y="785"/>
                    <a:pt x="1957" y="785"/>
                  </a:cubicBezTo>
                  <a:cubicBezTo>
                    <a:pt x="1957" y="785"/>
                    <a:pt x="1957" y="785"/>
                    <a:pt x="1957" y="785"/>
                  </a:cubicBezTo>
                  <a:moveTo>
                    <a:pt x="1996" y="785"/>
                  </a:moveTo>
                  <a:cubicBezTo>
                    <a:pt x="1989" y="785"/>
                    <a:pt x="1982" y="789"/>
                    <a:pt x="1981" y="795"/>
                  </a:cubicBezTo>
                  <a:cubicBezTo>
                    <a:pt x="1980" y="801"/>
                    <a:pt x="1985" y="805"/>
                    <a:pt x="1993" y="805"/>
                  </a:cubicBezTo>
                  <a:cubicBezTo>
                    <a:pt x="2001" y="805"/>
                    <a:pt x="2007" y="800"/>
                    <a:pt x="2008" y="795"/>
                  </a:cubicBezTo>
                  <a:cubicBezTo>
                    <a:pt x="2009" y="789"/>
                    <a:pt x="2004" y="785"/>
                    <a:pt x="1996" y="785"/>
                  </a:cubicBezTo>
                  <a:cubicBezTo>
                    <a:pt x="1996" y="785"/>
                    <a:pt x="1996" y="785"/>
                    <a:pt x="1996" y="785"/>
                  </a:cubicBezTo>
                  <a:moveTo>
                    <a:pt x="2036" y="784"/>
                  </a:moveTo>
                  <a:cubicBezTo>
                    <a:pt x="2028" y="784"/>
                    <a:pt x="2021" y="789"/>
                    <a:pt x="2020" y="795"/>
                  </a:cubicBezTo>
                  <a:cubicBezTo>
                    <a:pt x="2019" y="800"/>
                    <a:pt x="2025" y="805"/>
                    <a:pt x="2033" y="805"/>
                  </a:cubicBezTo>
                  <a:cubicBezTo>
                    <a:pt x="2040" y="805"/>
                    <a:pt x="2047" y="800"/>
                    <a:pt x="2048" y="795"/>
                  </a:cubicBezTo>
                  <a:cubicBezTo>
                    <a:pt x="2049" y="789"/>
                    <a:pt x="2043" y="784"/>
                    <a:pt x="2036" y="784"/>
                  </a:cubicBezTo>
                  <a:cubicBezTo>
                    <a:pt x="2036" y="784"/>
                    <a:pt x="2036" y="784"/>
                    <a:pt x="2036" y="784"/>
                  </a:cubicBezTo>
                  <a:moveTo>
                    <a:pt x="2076" y="784"/>
                  </a:moveTo>
                  <a:cubicBezTo>
                    <a:pt x="2069" y="784"/>
                    <a:pt x="2062" y="789"/>
                    <a:pt x="2061" y="795"/>
                  </a:cubicBezTo>
                  <a:cubicBezTo>
                    <a:pt x="2060" y="800"/>
                    <a:pt x="2066" y="805"/>
                    <a:pt x="2073" y="805"/>
                  </a:cubicBezTo>
                  <a:cubicBezTo>
                    <a:pt x="2081" y="805"/>
                    <a:pt x="2088" y="800"/>
                    <a:pt x="2089" y="794"/>
                  </a:cubicBezTo>
                  <a:cubicBezTo>
                    <a:pt x="2089" y="789"/>
                    <a:pt x="2084" y="784"/>
                    <a:pt x="2076" y="784"/>
                  </a:cubicBezTo>
                  <a:cubicBezTo>
                    <a:pt x="2076" y="784"/>
                    <a:pt x="2076" y="784"/>
                    <a:pt x="2076" y="784"/>
                  </a:cubicBezTo>
                  <a:moveTo>
                    <a:pt x="2115" y="784"/>
                  </a:moveTo>
                  <a:cubicBezTo>
                    <a:pt x="2108" y="784"/>
                    <a:pt x="2101" y="789"/>
                    <a:pt x="2100" y="794"/>
                  </a:cubicBezTo>
                  <a:cubicBezTo>
                    <a:pt x="2099" y="800"/>
                    <a:pt x="2105" y="805"/>
                    <a:pt x="2113" y="804"/>
                  </a:cubicBezTo>
                  <a:cubicBezTo>
                    <a:pt x="2120" y="804"/>
                    <a:pt x="2127" y="800"/>
                    <a:pt x="2128" y="794"/>
                  </a:cubicBezTo>
                  <a:cubicBezTo>
                    <a:pt x="2128" y="789"/>
                    <a:pt x="2123" y="784"/>
                    <a:pt x="2115" y="784"/>
                  </a:cubicBezTo>
                  <a:cubicBezTo>
                    <a:pt x="2115" y="784"/>
                    <a:pt x="2115" y="784"/>
                    <a:pt x="2115" y="784"/>
                  </a:cubicBezTo>
                  <a:moveTo>
                    <a:pt x="2155" y="784"/>
                  </a:moveTo>
                  <a:cubicBezTo>
                    <a:pt x="2147" y="784"/>
                    <a:pt x="2140" y="789"/>
                    <a:pt x="2140" y="794"/>
                  </a:cubicBezTo>
                  <a:cubicBezTo>
                    <a:pt x="2139" y="800"/>
                    <a:pt x="2145" y="804"/>
                    <a:pt x="2152" y="804"/>
                  </a:cubicBezTo>
                  <a:cubicBezTo>
                    <a:pt x="2160" y="804"/>
                    <a:pt x="2167" y="800"/>
                    <a:pt x="2167" y="794"/>
                  </a:cubicBezTo>
                  <a:cubicBezTo>
                    <a:pt x="2168" y="788"/>
                    <a:pt x="2162" y="784"/>
                    <a:pt x="2155" y="784"/>
                  </a:cubicBezTo>
                  <a:cubicBezTo>
                    <a:pt x="2155" y="784"/>
                    <a:pt x="2155" y="784"/>
                    <a:pt x="2155" y="784"/>
                  </a:cubicBezTo>
                  <a:moveTo>
                    <a:pt x="2194" y="784"/>
                  </a:moveTo>
                  <a:cubicBezTo>
                    <a:pt x="2187" y="784"/>
                    <a:pt x="2180" y="788"/>
                    <a:pt x="2179" y="794"/>
                  </a:cubicBezTo>
                  <a:cubicBezTo>
                    <a:pt x="2179" y="800"/>
                    <a:pt x="2185" y="804"/>
                    <a:pt x="2192" y="804"/>
                  </a:cubicBezTo>
                  <a:cubicBezTo>
                    <a:pt x="2200" y="804"/>
                    <a:pt x="2206" y="799"/>
                    <a:pt x="2207" y="794"/>
                  </a:cubicBezTo>
                  <a:cubicBezTo>
                    <a:pt x="2207" y="788"/>
                    <a:pt x="2202" y="784"/>
                    <a:pt x="2194" y="784"/>
                  </a:cubicBezTo>
                  <a:cubicBezTo>
                    <a:pt x="2194" y="784"/>
                    <a:pt x="2194" y="784"/>
                    <a:pt x="2194" y="784"/>
                  </a:cubicBezTo>
                  <a:moveTo>
                    <a:pt x="2233" y="784"/>
                  </a:moveTo>
                  <a:cubicBezTo>
                    <a:pt x="2226" y="784"/>
                    <a:pt x="2219" y="788"/>
                    <a:pt x="2219" y="794"/>
                  </a:cubicBezTo>
                  <a:cubicBezTo>
                    <a:pt x="2218" y="799"/>
                    <a:pt x="2224" y="804"/>
                    <a:pt x="2231" y="804"/>
                  </a:cubicBezTo>
                  <a:cubicBezTo>
                    <a:pt x="2239" y="804"/>
                    <a:pt x="2246" y="799"/>
                    <a:pt x="2246" y="794"/>
                  </a:cubicBezTo>
                  <a:cubicBezTo>
                    <a:pt x="2247" y="788"/>
                    <a:pt x="2241" y="784"/>
                    <a:pt x="2233" y="784"/>
                  </a:cubicBezTo>
                  <a:cubicBezTo>
                    <a:pt x="2233" y="784"/>
                    <a:pt x="2233" y="784"/>
                    <a:pt x="2233" y="784"/>
                  </a:cubicBezTo>
                  <a:moveTo>
                    <a:pt x="2822" y="783"/>
                  </a:moveTo>
                  <a:cubicBezTo>
                    <a:pt x="2815" y="783"/>
                    <a:pt x="2809" y="788"/>
                    <a:pt x="2810" y="794"/>
                  </a:cubicBezTo>
                  <a:cubicBezTo>
                    <a:pt x="2810" y="799"/>
                    <a:pt x="2817" y="804"/>
                    <a:pt x="2824" y="804"/>
                  </a:cubicBezTo>
                  <a:cubicBezTo>
                    <a:pt x="2832" y="804"/>
                    <a:pt x="2838" y="799"/>
                    <a:pt x="2837" y="794"/>
                  </a:cubicBezTo>
                  <a:cubicBezTo>
                    <a:pt x="2836" y="788"/>
                    <a:pt x="2830" y="783"/>
                    <a:pt x="2822" y="783"/>
                  </a:cubicBezTo>
                  <a:cubicBezTo>
                    <a:pt x="2822" y="783"/>
                    <a:pt x="2822" y="783"/>
                    <a:pt x="2822" y="783"/>
                  </a:cubicBezTo>
                  <a:moveTo>
                    <a:pt x="2272" y="783"/>
                  </a:moveTo>
                  <a:cubicBezTo>
                    <a:pt x="2265" y="783"/>
                    <a:pt x="2258" y="788"/>
                    <a:pt x="2258" y="794"/>
                  </a:cubicBezTo>
                  <a:cubicBezTo>
                    <a:pt x="2257" y="799"/>
                    <a:pt x="2263" y="804"/>
                    <a:pt x="2271" y="804"/>
                  </a:cubicBezTo>
                  <a:cubicBezTo>
                    <a:pt x="2279" y="804"/>
                    <a:pt x="2285" y="799"/>
                    <a:pt x="2285" y="793"/>
                  </a:cubicBezTo>
                  <a:cubicBezTo>
                    <a:pt x="2286" y="788"/>
                    <a:pt x="2280" y="783"/>
                    <a:pt x="2272" y="783"/>
                  </a:cubicBezTo>
                  <a:cubicBezTo>
                    <a:pt x="2272" y="783"/>
                    <a:pt x="2272" y="783"/>
                    <a:pt x="2272" y="783"/>
                  </a:cubicBezTo>
                  <a:moveTo>
                    <a:pt x="2311" y="783"/>
                  </a:moveTo>
                  <a:cubicBezTo>
                    <a:pt x="2304" y="783"/>
                    <a:pt x="2297" y="788"/>
                    <a:pt x="2297" y="793"/>
                  </a:cubicBezTo>
                  <a:cubicBezTo>
                    <a:pt x="2297" y="799"/>
                    <a:pt x="2303" y="804"/>
                    <a:pt x="2310" y="804"/>
                  </a:cubicBezTo>
                  <a:cubicBezTo>
                    <a:pt x="2318" y="804"/>
                    <a:pt x="2324" y="799"/>
                    <a:pt x="2325" y="793"/>
                  </a:cubicBezTo>
                  <a:cubicBezTo>
                    <a:pt x="2325" y="788"/>
                    <a:pt x="2319" y="783"/>
                    <a:pt x="2312" y="783"/>
                  </a:cubicBezTo>
                  <a:cubicBezTo>
                    <a:pt x="2311" y="783"/>
                    <a:pt x="2311" y="783"/>
                    <a:pt x="2311" y="783"/>
                  </a:cubicBezTo>
                  <a:moveTo>
                    <a:pt x="2900" y="783"/>
                  </a:moveTo>
                  <a:cubicBezTo>
                    <a:pt x="2893" y="783"/>
                    <a:pt x="2887" y="788"/>
                    <a:pt x="2888" y="793"/>
                  </a:cubicBezTo>
                  <a:cubicBezTo>
                    <a:pt x="2889" y="799"/>
                    <a:pt x="2896" y="804"/>
                    <a:pt x="2903" y="803"/>
                  </a:cubicBezTo>
                  <a:cubicBezTo>
                    <a:pt x="2911" y="803"/>
                    <a:pt x="2916" y="799"/>
                    <a:pt x="2915" y="793"/>
                  </a:cubicBezTo>
                  <a:cubicBezTo>
                    <a:pt x="2915" y="788"/>
                    <a:pt x="2908" y="783"/>
                    <a:pt x="2900" y="783"/>
                  </a:cubicBezTo>
                  <a:cubicBezTo>
                    <a:pt x="2900" y="783"/>
                    <a:pt x="2900" y="783"/>
                    <a:pt x="2900" y="783"/>
                  </a:cubicBezTo>
                  <a:moveTo>
                    <a:pt x="2351" y="783"/>
                  </a:moveTo>
                  <a:cubicBezTo>
                    <a:pt x="2343" y="783"/>
                    <a:pt x="2337" y="788"/>
                    <a:pt x="2336" y="793"/>
                  </a:cubicBezTo>
                  <a:cubicBezTo>
                    <a:pt x="2336" y="799"/>
                    <a:pt x="2342" y="803"/>
                    <a:pt x="2350" y="803"/>
                  </a:cubicBezTo>
                  <a:cubicBezTo>
                    <a:pt x="2357" y="803"/>
                    <a:pt x="2364" y="799"/>
                    <a:pt x="2364" y="793"/>
                  </a:cubicBezTo>
                  <a:cubicBezTo>
                    <a:pt x="2364" y="787"/>
                    <a:pt x="2358" y="783"/>
                    <a:pt x="2351" y="783"/>
                  </a:cubicBezTo>
                  <a:cubicBezTo>
                    <a:pt x="2351" y="783"/>
                    <a:pt x="2351" y="783"/>
                    <a:pt x="2351" y="783"/>
                  </a:cubicBezTo>
                  <a:moveTo>
                    <a:pt x="2859" y="783"/>
                  </a:moveTo>
                  <a:cubicBezTo>
                    <a:pt x="2851" y="783"/>
                    <a:pt x="2846" y="788"/>
                    <a:pt x="2847" y="793"/>
                  </a:cubicBezTo>
                  <a:cubicBezTo>
                    <a:pt x="2847" y="799"/>
                    <a:pt x="2854" y="803"/>
                    <a:pt x="2862" y="803"/>
                  </a:cubicBezTo>
                  <a:cubicBezTo>
                    <a:pt x="2869" y="803"/>
                    <a:pt x="2875" y="799"/>
                    <a:pt x="2874" y="793"/>
                  </a:cubicBezTo>
                  <a:cubicBezTo>
                    <a:pt x="2873" y="787"/>
                    <a:pt x="2867" y="783"/>
                    <a:pt x="2859" y="783"/>
                  </a:cubicBezTo>
                  <a:cubicBezTo>
                    <a:pt x="2859" y="783"/>
                    <a:pt x="2859" y="783"/>
                    <a:pt x="2859" y="783"/>
                  </a:cubicBezTo>
                  <a:moveTo>
                    <a:pt x="2390" y="783"/>
                  </a:moveTo>
                  <a:cubicBezTo>
                    <a:pt x="2383" y="783"/>
                    <a:pt x="2377" y="787"/>
                    <a:pt x="2376" y="793"/>
                  </a:cubicBezTo>
                  <a:cubicBezTo>
                    <a:pt x="2376" y="799"/>
                    <a:pt x="2382" y="803"/>
                    <a:pt x="2390" y="803"/>
                  </a:cubicBezTo>
                  <a:cubicBezTo>
                    <a:pt x="2397" y="803"/>
                    <a:pt x="2404" y="799"/>
                    <a:pt x="2404" y="793"/>
                  </a:cubicBezTo>
                  <a:cubicBezTo>
                    <a:pt x="2404" y="787"/>
                    <a:pt x="2398" y="783"/>
                    <a:pt x="2391" y="783"/>
                  </a:cubicBezTo>
                  <a:cubicBezTo>
                    <a:pt x="2390" y="783"/>
                    <a:pt x="2390" y="783"/>
                    <a:pt x="2390" y="783"/>
                  </a:cubicBezTo>
                  <a:moveTo>
                    <a:pt x="2429" y="783"/>
                  </a:moveTo>
                  <a:cubicBezTo>
                    <a:pt x="2422" y="783"/>
                    <a:pt x="2416" y="787"/>
                    <a:pt x="2415" y="793"/>
                  </a:cubicBezTo>
                  <a:cubicBezTo>
                    <a:pt x="2415" y="798"/>
                    <a:pt x="2421" y="803"/>
                    <a:pt x="2429" y="803"/>
                  </a:cubicBezTo>
                  <a:cubicBezTo>
                    <a:pt x="2437" y="803"/>
                    <a:pt x="2443" y="798"/>
                    <a:pt x="2443" y="793"/>
                  </a:cubicBezTo>
                  <a:cubicBezTo>
                    <a:pt x="2443" y="787"/>
                    <a:pt x="2437" y="783"/>
                    <a:pt x="2429" y="783"/>
                  </a:cubicBezTo>
                  <a:cubicBezTo>
                    <a:pt x="2429" y="783"/>
                    <a:pt x="2429" y="783"/>
                    <a:pt x="2429" y="783"/>
                  </a:cubicBezTo>
                  <a:moveTo>
                    <a:pt x="2937" y="783"/>
                  </a:moveTo>
                  <a:cubicBezTo>
                    <a:pt x="2930" y="783"/>
                    <a:pt x="2924" y="787"/>
                    <a:pt x="2925" y="793"/>
                  </a:cubicBezTo>
                  <a:cubicBezTo>
                    <a:pt x="2926" y="799"/>
                    <a:pt x="2933" y="803"/>
                    <a:pt x="2940" y="803"/>
                  </a:cubicBezTo>
                  <a:cubicBezTo>
                    <a:pt x="2948" y="803"/>
                    <a:pt x="2953" y="798"/>
                    <a:pt x="2952" y="793"/>
                  </a:cubicBezTo>
                  <a:cubicBezTo>
                    <a:pt x="2952" y="787"/>
                    <a:pt x="2945" y="783"/>
                    <a:pt x="2937" y="783"/>
                  </a:cubicBezTo>
                  <a:cubicBezTo>
                    <a:pt x="2937" y="783"/>
                    <a:pt x="2937" y="783"/>
                    <a:pt x="2937" y="783"/>
                  </a:cubicBezTo>
                  <a:moveTo>
                    <a:pt x="2666" y="782"/>
                  </a:moveTo>
                  <a:cubicBezTo>
                    <a:pt x="2658" y="782"/>
                    <a:pt x="2652" y="787"/>
                    <a:pt x="2653" y="793"/>
                  </a:cubicBezTo>
                  <a:cubicBezTo>
                    <a:pt x="2653" y="798"/>
                    <a:pt x="2659" y="803"/>
                    <a:pt x="2667" y="803"/>
                  </a:cubicBezTo>
                  <a:cubicBezTo>
                    <a:pt x="2675" y="803"/>
                    <a:pt x="2681" y="798"/>
                    <a:pt x="2680" y="793"/>
                  </a:cubicBezTo>
                  <a:cubicBezTo>
                    <a:pt x="2680" y="787"/>
                    <a:pt x="2673" y="782"/>
                    <a:pt x="2666" y="782"/>
                  </a:cubicBezTo>
                  <a:cubicBezTo>
                    <a:pt x="2666" y="782"/>
                    <a:pt x="2666" y="782"/>
                    <a:pt x="2666" y="782"/>
                  </a:cubicBezTo>
                  <a:moveTo>
                    <a:pt x="2469" y="782"/>
                  </a:moveTo>
                  <a:cubicBezTo>
                    <a:pt x="2461" y="782"/>
                    <a:pt x="2455" y="787"/>
                    <a:pt x="2455" y="793"/>
                  </a:cubicBezTo>
                  <a:cubicBezTo>
                    <a:pt x="2455" y="798"/>
                    <a:pt x="2461" y="803"/>
                    <a:pt x="2469" y="803"/>
                  </a:cubicBezTo>
                  <a:cubicBezTo>
                    <a:pt x="2476" y="803"/>
                    <a:pt x="2482" y="798"/>
                    <a:pt x="2482" y="793"/>
                  </a:cubicBezTo>
                  <a:cubicBezTo>
                    <a:pt x="2482" y="787"/>
                    <a:pt x="2476" y="782"/>
                    <a:pt x="2469" y="782"/>
                  </a:cubicBezTo>
                  <a:cubicBezTo>
                    <a:pt x="2469" y="782"/>
                    <a:pt x="2469" y="782"/>
                    <a:pt x="2469" y="782"/>
                  </a:cubicBezTo>
                  <a:moveTo>
                    <a:pt x="2980" y="782"/>
                  </a:moveTo>
                  <a:cubicBezTo>
                    <a:pt x="2972" y="782"/>
                    <a:pt x="2967" y="787"/>
                    <a:pt x="2968" y="793"/>
                  </a:cubicBezTo>
                  <a:cubicBezTo>
                    <a:pt x="2969" y="798"/>
                    <a:pt x="2976" y="803"/>
                    <a:pt x="2983" y="803"/>
                  </a:cubicBezTo>
                  <a:cubicBezTo>
                    <a:pt x="2991" y="803"/>
                    <a:pt x="2997" y="798"/>
                    <a:pt x="2996" y="792"/>
                  </a:cubicBezTo>
                  <a:cubicBezTo>
                    <a:pt x="2995" y="787"/>
                    <a:pt x="2988" y="782"/>
                    <a:pt x="2980" y="782"/>
                  </a:cubicBezTo>
                  <a:cubicBezTo>
                    <a:pt x="2980" y="782"/>
                    <a:pt x="2980" y="782"/>
                    <a:pt x="2980" y="782"/>
                  </a:cubicBezTo>
                  <a:moveTo>
                    <a:pt x="2704" y="782"/>
                  </a:moveTo>
                  <a:cubicBezTo>
                    <a:pt x="2697" y="782"/>
                    <a:pt x="2691" y="787"/>
                    <a:pt x="2691" y="793"/>
                  </a:cubicBezTo>
                  <a:cubicBezTo>
                    <a:pt x="2692" y="798"/>
                    <a:pt x="2698" y="803"/>
                    <a:pt x="2706" y="803"/>
                  </a:cubicBezTo>
                  <a:cubicBezTo>
                    <a:pt x="2714" y="803"/>
                    <a:pt x="2719" y="798"/>
                    <a:pt x="2719" y="792"/>
                  </a:cubicBezTo>
                  <a:cubicBezTo>
                    <a:pt x="2719" y="787"/>
                    <a:pt x="2712" y="782"/>
                    <a:pt x="2705" y="782"/>
                  </a:cubicBezTo>
                  <a:cubicBezTo>
                    <a:pt x="2704" y="782"/>
                    <a:pt x="2704" y="782"/>
                    <a:pt x="2704" y="782"/>
                  </a:cubicBezTo>
                  <a:moveTo>
                    <a:pt x="2508" y="782"/>
                  </a:moveTo>
                  <a:cubicBezTo>
                    <a:pt x="2500" y="782"/>
                    <a:pt x="2494" y="787"/>
                    <a:pt x="2494" y="792"/>
                  </a:cubicBezTo>
                  <a:cubicBezTo>
                    <a:pt x="2494" y="798"/>
                    <a:pt x="2500" y="803"/>
                    <a:pt x="2508" y="803"/>
                  </a:cubicBezTo>
                  <a:cubicBezTo>
                    <a:pt x="2515" y="803"/>
                    <a:pt x="2522" y="798"/>
                    <a:pt x="2521" y="792"/>
                  </a:cubicBezTo>
                  <a:cubicBezTo>
                    <a:pt x="2521" y="787"/>
                    <a:pt x="2515" y="782"/>
                    <a:pt x="2508" y="782"/>
                  </a:cubicBezTo>
                  <a:cubicBezTo>
                    <a:pt x="2508" y="782"/>
                    <a:pt x="2508" y="782"/>
                    <a:pt x="2508" y="782"/>
                  </a:cubicBezTo>
                  <a:moveTo>
                    <a:pt x="2743" y="782"/>
                  </a:moveTo>
                  <a:cubicBezTo>
                    <a:pt x="2736" y="782"/>
                    <a:pt x="2730" y="787"/>
                    <a:pt x="2731" y="792"/>
                  </a:cubicBezTo>
                  <a:cubicBezTo>
                    <a:pt x="2731" y="798"/>
                    <a:pt x="2738" y="803"/>
                    <a:pt x="2745" y="803"/>
                  </a:cubicBezTo>
                  <a:cubicBezTo>
                    <a:pt x="2753" y="803"/>
                    <a:pt x="2759" y="798"/>
                    <a:pt x="2758" y="792"/>
                  </a:cubicBezTo>
                  <a:cubicBezTo>
                    <a:pt x="2758" y="787"/>
                    <a:pt x="2751" y="782"/>
                    <a:pt x="2743" y="782"/>
                  </a:cubicBezTo>
                  <a:cubicBezTo>
                    <a:pt x="2743" y="782"/>
                    <a:pt x="2743" y="782"/>
                    <a:pt x="2743" y="782"/>
                  </a:cubicBezTo>
                  <a:moveTo>
                    <a:pt x="2547" y="782"/>
                  </a:moveTo>
                  <a:cubicBezTo>
                    <a:pt x="2539" y="782"/>
                    <a:pt x="2533" y="787"/>
                    <a:pt x="2533" y="792"/>
                  </a:cubicBezTo>
                  <a:cubicBezTo>
                    <a:pt x="2533" y="798"/>
                    <a:pt x="2540" y="802"/>
                    <a:pt x="2547" y="802"/>
                  </a:cubicBezTo>
                  <a:cubicBezTo>
                    <a:pt x="2555" y="802"/>
                    <a:pt x="2561" y="798"/>
                    <a:pt x="2561" y="792"/>
                  </a:cubicBezTo>
                  <a:cubicBezTo>
                    <a:pt x="2561" y="787"/>
                    <a:pt x="2555" y="782"/>
                    <a:pt x="2547" y="782"/>
                  </a:cubicBezTo>
                  <a:cubicBezTo>
                    <a:pt x="2547" y="782"/>
                    <a:pt x="2547" y="782"/>
                    <a:pt x="2547" y="782"/>
                  </a:cubicBezTo>
                  <a:moveTo>
                    <a:pt x="2783" y="782"/>
                  </a:moveTo>
                  <a:cubicBezTo>
                    <a:pt x="2775" y="782"/>
                    <a:pt x="2769" y="787"/>
                    <a:pt x="2770" y="792"/>
                  </a:cubicBezTo>
                  <a:cubicBezTo>
                    <a:pt x="2771" y="798"/>
                    <a:pt x="2777" y="802"/>
                    <a:pt x="2785" y="802"/>
                  </a:cubicBezTo>
                  <a:cubicBezTo>
                    <a:pt x="2792" y="802"/>
                    <a:pt x="2798" y="798"/>
                    <a:pt x="2798" y="792"/>
                  </a:cubicBezTo>
                  <a:cubicBezTo>
                    <a:pt x="2797" y="786"/>
                    <a:pt x="2790" y="782"/>
                    <a:pt x="2783" y="782"/>
                  </a:cubicBezTo>
                  <a:cubicBezTo>
                    <a:pt x="2783" y="782"/>
                    <a:pt x="2783" y="782"/>
                    <a:pt x="2783" y="782"/>
                  </a:cubicBezTo>
                  <a:moveTo>
                    <a:pt x="3017" y="782"/>
                  </a:moveTo>
                  <a:cubicBezTo>
                    <a:pt x="3009" y="782"/>
                    <a:pt x="3004" y="786"/>
                    <a:pt x="3005" y="792"/>
                  </a:cubicBezTo>
                  <a:cubicBezTo>
                    <a:pt x="3006" y="798"/>
                    <a:pt x="3013" y="802"/>
                    <a:pt x="3021" y="802"/>
                  </a:cubicBezTo>
                  <a:cubicBezTo>
                    <a:pt x="3028" y="802"/>
                    <a:pt x="3034" y="798"/>
                    <a:pt x="3033" y="792"/>
                  </a:cubicBezTo>
                  <a:cubicBezTo>
                    <a:pt x="3031" y="786"/>
                    <a:pt x="3025" y="782"/>
                    <a:pt x="3017" y="782"/>
                  </a:cubicBezTo>
                  <a:cubicBezTo>
                    <a:pt x="3017" y="782"/>
                    <a:pt x="3017" y="782"/>
                    <a:pt x="3017" y="782"/>
                  </a:cubicBezTo>
                  <a:moveTo>
                    <a:pt x="2587" y="782"/>
                  </a:moveTo>
                  <a:cubicBezTo>
                    <a:pt x="2579" y="782"/>
                    <a:pt x="2573" y="786"/>
                    <a:pt x="2573" y="792"/>
                  </a:cubicBezTo>
                  <a:cubicBezTo>
                    <a:pt x="2573" y="798"/>
                    <a:pt x="2580" y="802"/>
                    <a:pt x="2587" y="802"/>
                  </a:cubicBezTo>
                  <a:cubicBezTo>
                    <a:pt x="2595" y="802"/>
                    <a:pt x="2601" y="798"/>
                    <a:pt x="2601" y="792"/>
                  </a:cubicBezTo>
                  <a:cubicBezTo>
                    <a:pt x="2600" y="786"/>
                    <a:pt x="2594" y="782"/>
                    <a:pt x="2587" y="782"/>
                  </a:cubicBezTo>
                  <a:cubicBezTo>
                    <a:pt x="2587" y="782"/>
                    <a:pt x="2587" y="782"/>
                    <a:pt x="2587" y="782"/>
                  </a:cubicBezTo>
                  <a:moveTo>
                    <a:pt x="3217" y="781"/>
                  </a:moveTo>
                  <a:cubicBezTo>
                    <a:pt x="3209" y="781"/>
                    <a:pt x="3204" y="785"/>
                    <a:pt x="3206" y="791"/>
                  </a:cubicBezTo>
                  <a:cubicBezTo>
                    <a:pt x="3207" y="797"/>
                    <a:pt x="3215" y="801"/>
                    <a:pt x="3222" y="801"/>
                  </a:cubicBezTo>
                  <a:cubicBezTo>
                    <a:pt x="3230" y="801"/>
                    <a:pt x="3235" y="796"/>
                    <a:pt x="3233" y="791"/>
                  </a:cubicBezTo>
                  <a:cubicBezTo>
                    <a:pt x="3232" y="785"/>
                    <a:pt x="3225" y="781"/>
                    <a:pt x="3217" y="781"/>
                  </a:cubicBezTo>
                  <a:cubicBezTo>
                    <a:pt x="3217" y="781"/>
                    <a:pt x="3217" y="781"/>
                    <a:pt x="3217" y="781"/>
                  </a:cubicBezTo>
                  <a:moveTo>
                    <a:pt x="3257" y="780"/>
                  </a:moveTo>
                  <a:cubicBezTo>
                    <a:pt x="3249" y="780"/>
                    <a:pt x="3244" y="785"/>
                    <a:pt x="3246" y="791"/>
                  </a:cubicBezTo>
                  <a:cubicBezTo>
                    <a:pt x="3247" y="796"/>
                    <a:pt x="3254" y="801"/>
                    <a:pt x="3262" y="801"/>
                  </a:cubicBezTo>
                  <a:cubicBezTo>
                    <a:pt x="3270" y="801"/>
                    <a:pt x="3275" y="796"/>
                    <a:pt x="3273" y="791"/>
                  </a:cubicBezTo>
                  <a:cubicBezTo>
                    <a:pt x="3272" y="785"/>
                    <a:pt x="3264" y="780"/>
                    <a:pt x="3257" y="780"/>
                  </a:cubicBezTo>
                  <a:cubicBezTo>
                    <a:pt x="3257" y="780"/>
                    <a:pt x="3257" y="780"/>
                    <a:pt x="3257" y="780"/>
                  </a:cubicBezTo>
                  <a:moveTo>
                    <a:pt x="3292" y="780"/>
                  </a:moveTo>
                  <a:cubicBezTo>
                    <a:pt x="3284" y="780"/>
                    <a:pt x="3279" y="785"/>
                    <a:pt x="3281" y="791"/>
                  </a:cubicBezTo>
                  <a:cubicBezTo>
                    <a:pt x="3282" y="796"/>
                    <a:pt x="3290" y="801"/>
                    <a:pt x="3297" y="801"/>
                  </a:cubicBezTo>
                  <a:cubicBezTo>
                    <a:pt x="3305" y="801"/>
                    <a:pt x="3310" y="796"/>
                    <a:pt x="3308" y="790"/>
                  </a:cubicBezTo>
                  <a:cubicBezTo>
                    <a:pt x="3307" y="785"/>
                    <a:pt x="3299" y="780"/>
                    <a:pt x="3292" y="780"/>
                  </a:cubicBezTo>
                  <a:cubicBezTo>
                    <a:pt x="3292" y="780"/>
                    <a:pt x="3292" y="780"/>
                    <a:pt x="3292" y="780"/>
                  </a:cubicBezTo>
                  <a:moveTo>
                    <a:pt x="3331" y="780"/>
                  </a:moveTo>
                  <a:cubicBezTo>
                    <a:pt x="3324" y="780"/>
                    <a:pt x="3319" y="785"/>
                    <a:pt x="3320" y="790"/>
                  </a:cubicBezTo>
                  <a:cubicBezTo>
                    <a:pt x="3322" y="796"/>
                    <a:pt x="3329" y="801"/>
                    <a:pt x="3337" y="801"/>
                  </a:cubicBezTo>
                  <a:cubicBezTo>
                    <a:pt x="3345" y="800"/>
                    <a:pt x="3350" y="796"/>
                    <a:pt x="3348" y="790"/>
                  </a:cubicBezTo>
                  <a:cubicBezTo>
                    <a:pt x="3346" y="785"/>
                    <a:pt x="3339" y="780"/>
                    <a:pt x="3331" y="780"/>
                  </a:cubicBezTo>
                  <a:cubicBezTo>
                    <a:pt x="3331" y="780"/>
                    <a:pt x="3331" y="780"/>
                    <a:pt x="3331" y="780"/>
                  </a:cubicBezTo>
                  <a:moveTo>
                    <a:pt x="3370" y="780"/>
                  </a:moveTo>
                  <a:cubicBezTo>
                    <a:pt x="3362" y="780"/>
                    <a:pt x="3357" y="784"/>
                    <a:pt x="3359" y="790"/>
                  </a:cubicBezTo>
                  <a:cubicBezTo>
                    <a:pt x="3361" y="796"/>
                    <a:pt x="3368" y="800"/>
                    <a:pt x="3376" y="800"/>
                  </a:cubicBezTo>
                  <a:cubicBezTo>
                    <a:pt x="3384" y="800"/>
                    <a:pt x="3388" y="796"/>
                    <a:pt x="3387" y="790"/>
                  </a:cubicBezTo>
                  <a:cubicBezTo>
                    <a:pt x="3385" y="784"/>
                    <a:pt x="3377" y="780"/>
                    <a:pt x="3370" y="780"/>
                  </a:cubicBezTo>
                  <a:cubicBezTo>
                    <a:pt x="3370" y="780"/>
                    <a:pt x="3370" y="780"/>
                    <a:pt x="3370" y="780"/>
                  </a:cubicBezTo>
                  <a:moveTo>
                    <a:pt x="3409" y="780"/>
                  </a:moveTo>
                  <a:cubicBezTo>
                    <a:pt x="3401" y="780"/>
                    <a:pt x="3396" y="784"/>
                    <a:pt x="3398" y="790"/>
                  </a:cubicBezTo>
                  <a:cubicBezTo>
                    <a:pt x="3400" y="796"/>
                    <a:pt x="3408" y="800"/>
                    <a:pt x="3415" y="800"/>
                  </a:cubicBezTo>
                  <a:cubicBezTo>
                    <a:pt x="3423" y="800"/>
                    <a:pt x="3428" y="795"/>
                    <a:pt x="3426" y="790"/>
                  </a:cubicBezTo>
                  <a:cubicBezTo>
                    <a:pt x="3424" y="784"/>
                    <a:pt x="3416" y="780"/>
                    <a:pt x="3409" y="780"/>
                  </a:cubicBezTo>
                  <a:cubicBezTo>
                    <a:pt x="3409" y="780"/>
                    <a:pt x="3409" y="780"/>
                    <a:pt x="3409" y="780"/>
                  </a:cubicBezTo>
                  <a:moveTo>
                    <a:pt x="3448" y="779"/>
                  </a:moveTo>
                  <a:cubicBezTo>
                    <a:pt x="3440" y="779"/>
                    <a:pt x="3436" y="784"/>
                    <a:pt x="3438" y="790"/>
                  </a:cubicBezTo>
                  <a:cubicBezTo>
                    <a:pt x="3440" y="795"/>
                    <a:pt x="3447" y="800"/>
                    <a:pt x="3455" y="800"/>
                  </a:cubicBezTo>
                  <a:cubicBezTo>
                    <a:pt x="3462" y="800"/>
                    <a:pt x="3467" y="795"/>
                    <a:pt x="3465" y="790"/>
                  </a:cubicBezTo>
                  <a:cubicBezTo>
                    <a:pt x="3463" y="784"/>
                    <a:pt x="3456" y="779"/>
                    <a:pt x="3448" y="779"/>
                  </a:cubicBezTo>
                  <a:cubicBezTo>
                    <a:pt x="3448" y="779"/>
                    <a:pt x="3448" y="779"/>
                    <a:pt x="3448" y="779"/>
                  </a:cubicBezTo>
                  <a:moveTo>
                    <a:pt x="3488" y="779"/>
                  </a:moveTo>
                  <a:cubicBezTo>
                    <a:pt x="3480" y="779"/>
                    <a:pt x="3476" y="784"/>
                    <a:pt x="3477" y="790"/>
                  </a:cubicBezTo>
                  <a:cubicBezTo>
                    <a:pt x="3479" y="795"/>
                    <a:pt x="3487" y="800"/>
                    <a:pt x="3495" y="800"/>
                  </a:cubicBezTo>
                  <a:cubicBezTo>
                    <a:pt x="3502" y="800"/>
                    <a:pt x="3507" y="795"/>
                    <a:pt x="3505" y="789"/>
                  </a:cubicBezTo>
                  <a:cubicBezTo>
                    <a:pt x="3503" y="784"/>
                    <a:pt x="3495" y="779"/>
                    <a:pt x="3488" y="779"/>
                  </a:cubicBezTo>
                  <a:cubicBezTo>
                    <a:pt x="3488" y="779"/>
                    <a:pt x="3488" y="779"/>
                    <a:pt x="3488" y="779"/>
                  </a:cubicBezTo>
                  <a:moveTo>
                    <a:pt x="3527" y="779"/>
                  </a:moveTo>
                  <a:cubicBezTo>
                    <a:pt x="3519" y="779"/>
                    <a:pt x="3515" y="784"/>
                    <a:pt x="3517" y="789"/>
                  </a:cubicBezTo>
                  <a:cubicBezTo>
                    <a:pt x="3519" y="795"/>
                    <a:pt x="3526" y="800"/>
                    <a:pt x="3534" y="800"/>
                  </a:cubicBezTo>
                  <a:cubicBezTo>
                    <a:pt x="3542" y="800"/>
                    <a:pt x="3546" y="795"/>
                    <a:pt x="3544" y="789"/>
                  </a:cubicBezTo>
                  <a:cubicBezTo>
                    <a:pt x="3542" y="784"/>
                    <a:pt x="3534" y="779"/>
                    <a:pt x="3527" y="779"/>
                  </a:cubicBezTo>
                  <a:cubicBezTo>
                    <a:pt x="3527" y="779"/>
                    <a:pt x="3527" y="779"/>
                    <a:pt x="3527" y="779"/>
                  </a:cubicBezTo>
                  <a:moveTo>
                    <a:pt x="3566" y="779"/>
                  </a:moveTo>
                  <a:cubicBezTo>
                    <a:pt x="3558" y="779"/>
                    <a:pt x="3554" y="784"/>
                    <a:pt x="3556" y="789"/>
                  </a:cubicBezTo>
                  <a:cubicBezTo>
                    <a:pt x="3558" y="795"/>
                    <a:pt x="3566" y="799"/>
                    <a:pt x="3573" y="799"/>
                  </a:cubicBezTo>
                  <a:cubicBezTo>
                    <a:pt x="3581" y="799"/>
                    <a:pt x="3585" y="795"/>
                    <a:pt x="3583" y="789"/>
                  </a:cubicBezTo>
                  <a:cubicBezTo>
                    <a:pt x="3581" y="783"/>
                    <a:pt x="3573" y="779"/>
                    <a:pt x="3566" y="779"/>
                  </a:cubicBezTo>
                  <a:cubicBezTo>
                    <a:pt x="3566" y="779"/>
                    <a:pt x="3566" y="779"/>
                    <a:pt x="3566" y="779"/>
                  </a:cubicBezTo>
                  <a:moveTo>
                    <a:pt x="4129" y="779"/>
                  </a:moveTo>
                  <a:cubicBezTo>
                    <a:pt x="4121" y="779"/>
                    <a:pt x="4117" y="783"/>
                    <a:pt x="4121" y="789"/>
                  </a:cubicBezTo>
                  <a:cubicBezTo>
                    <a:pt x="4124" y="795"/>
                    <a:pt x="4133" y="799"/>
                    <a:pt x="4140" y="799"/>
                  </a:cubicBezTo>
                  <a:cubicBezTo>
                    <a:pt x="4148" y="799"/>
                    <a:pt x="4151" y="795"/>
                    <a:pt x="4148" y="789"/>
                  </a:cubicBezTo>
                  <a:cubicBezTo>
                    <a:pt x="4145" y="783"/>
                    <a:pt x="4136" y="779"/>
                    <a:pt x="4129" y="779"/>
                  </a:cubicBezTo>
                  <a:cubicBezTo>
                    <a:pt x="4129" y="779"/>
                    <a:pt x="4129" y="779"/>
                    <a:pt x="4129" y="779"/>
                  </a:cubicBezTo>
                  <a:moveTo>
                    <a:pt x="3605" y="779"/>
                  </a:moveTo>
                  <a:cubicBezTo>
                    <a:pt x="3597" y="779"/>
                    <a:pt x="3593" y="783"/>
                    <a:pt x="3595" y="789"/>
                  </a:cubicBezTo>
                  <a:cubicBezTo>
                    <a:pt x="3597" y="795"/>
                    <a:pt x="3605" y="799"/>
                    <a:pt x="3613" y="799"/>
                  </a:cubicBezTo>
                  <a:cubicBezTo>
                    <a:pt x="3620" y="799"/>
                    <a:pt x="3625" y="795"/>
                    <a:pt x="3622" y="789"/>
                  </a:cubicBezTo>
                  <a:cubicBezTo>
                    <a:pt x="3620" y="783"/>
                    <a:pt x="3612" y="779"/>
                    <a:pt x="3605" y="779"/>
                  </a:cubicBezTo>
                  <a:cubicBezTo>
                    <a:pt x="3605" y="779"/>
                    <a:pt x="3605" y="779"/>
                    <a:pt x="3605" y="779"/>
                  </a:cubicBezTo>
                  <a:moveTo>
                    <a:pt x="3644" y="779"/>
                  </a:moveTo>
                  <a:cubicBezTo>
                    <a:pt x="3636" y="779"/>
                    <a:pt x="3632" y="783"/>
                    <a:pt x="3634" y="789"/>
                  </a:cubicBezTo>
                  <a:cubicBezTo>
                    <a:pt x="3637" y="795"/>
                    <a:pt x="3645" y="799"/>
                    <a:pt x="3652" y="799"/>
                  </a:cubicBezTo>
                  <a:cubicBezTo>
                    <a:pt x="3660" y="799"/>
                    <a:pt x="3664" y="794"/>
                    <a:pt x="3662" y="789"/>
                  </a:cubicBezTo>
                  <a:cubicBezTo>
                    <a:pt x="3660" y="783"/>
                    <a:pt x="3652" y="779"/>
                    <a:pt x="3644" y="779"/>
                  </a:cubicBezTo>
                  <a:cubicBezTo>
                    <a:pt x="3644" y="779"/>
                    <a:pt x="3644" y="779"/>
                    <a:pt x="3644" y="779"/>
                  </a:cubicBezTo>
                  <a:moveTo>
                    <a:pt x="3684" y="778"/>
                  </a:moveTo>
                  <a:cubicBezTo>
                    <a:pt x="3676" y="778"/>
                    <a:pt x="3672" y="783"/>
                    <a:pt x="3674" y="789"/>
                  </a:cubicBezTo>
                  <a:cubicBezTo>
                    <a:pt x="3676" y="794"/>
                    <a:pt x="3684" y="799"/>
                    <a:pt x="3692" y="799"/>
                  </a:cubicBezTo>
                  <a:cubicBezTo>
                    <a:pt x="3700" y="799"/>
                    <a:pt x="3704" y="794"/>
                    <a:pt x="3702" y="789"/>
                  </a:cubicBezTo>
                  <a:cubicBezTo>
                    <a:pt x="3699" y="783"/>
                    <a:pt x="3691" y="778"/>
                    <a:pt x="3684" y="778"/>
                  </a:cubicBezTo>
                  <a:cubicBezTo>
                    <a:pt x="3684" y="778"/>
                    <a:pt x="3684" y="778"/>
                    <a:pt x="3684" y="778"/>
                  </a:cubicBezTo>
                  <a:moveTo>
                    <a:pt x="3722" y="777"/>
                  </a:moveTo>
                  <a:cubicBezTo>
                    <a:pt x="3715" y="777"/>
                    <a:pt x="3711" y="782"/>
                    <a:pt x="3713" y="787"/>
                  </a:cubicBezTo>
                  <a:cubicBezTo>
                    <a:pt x="3715" y="793"/>
                    <a:pt x="3723" y="798"/>
                    <a:pt x="3731" y="798"/>
                  </a:cubicBezTo>
                  <a:cubicBezTo>
                    <a:pt x="3739" y="798"/>
                    <a:pt x="3743" y="793"/>
                    <a:pt x="3740" y="787"/>
                  </a:cubicBezTo>
                  <a:cubicBezTo>
                    <a:pt x="3738" y="782"/>
                    <a:pt x="3730" y="777"/>
                    <a:pt x="3722" y="777"/>
                  </a:cubicBezTo>
                  <a:cubicBezTo>
                    <a:pt x="3722" y="777"/>
                    <a:pt x="3722" y="777"/>
                    <a:pt x="3722" y="777"/>
                  </a:cubicBezTo>
                  <a:moveTo>
                    <a:pt x="3761" y="777"/>
                  </a:moveTo>
                  <a:cubicBezTo>
                    <a:pt x="3754" y="777"/>
                    <a:pt x="3750" y="782"/>
                    <a:pt x="3752" y="787"/>
                  </a:cubicBezTo>
                  <a:cubicBezTo>
                    <a:pt x="3754" y="793"/>
                    <a:pt x="3763" y="797"/>
                    <a:pt x="3770" y="797"/>
                  </a:cubicBezTo>
                  <a:cubicBezTo>
                    <a:pt x="3778" y="797"/>
                    <a:pt x="3782" y="793"/>
                    <a:pt x="3779" y="787"/>
                  </a:cubicBezTo>
                  <a:cubicBezTo>
                    <a:pt x="3777" y="781"/>
                    <a:pt x="3769" y="777"/>
                    <a:pt x="3761" y="777"/>
                  </a:cubicBezTo>
                  <a:cubicBezTo>
                    <a:pt x="3761" y="777"/>
                    <a:pt x="3761" y="777"/>
                    <a:pt x="3761" y="777"/>
                  </a:cubicBezTo>
                  <a:moveTo>
                    <a:pt x="3800" y="777"/>
                  </a:moveTo>
                  <a:cubicBezTo>
                    <a:pt x="3793" y="777"/>
                    <a:pt x="3789" y="781"/>
                    <a:pt x="3791" y="787"/>
                  </a:cubicBezTo>
                  <a:cubicBezTo>
                    <a:pt x="3794" y="793"/>
                    <a:pt x="3802" y="797"/>
                    <a:pt x="3810" y="797"/>
                  </a:cubicBezTo>
                  <a:cubicBezTo>
                    <a:pt x="3817" y="797"/>
                    <a:pt x="3821" y="793"/>
                    <a:pt x="3819" y="787"/>
                  </a:cubicBezTo>
                  <a:cubicBezTo>
                    <a:pt x="3816" y="781"/>
                    <a:pt x="3808" y="777"/>
                    <a:pt x="3801" y="777"/>
                  </a:cubicBezTo>
                  <a:cubicBezTo>
                    <a:pt x="3801" y="777"/>
                    <a:pt x="3800" y="777"/>
                    <a:pt x="3800" y="777"/>
                  </a:cubicBezTo>
                  <a:moveTo>
                    <a:pt x="3842" y="776"/>
                  </a:moveTo>
                  <a:cubicBezTo>
                    <a:pt x="3834" y="777"/>
                    <a:pt x="3830" y="781"/>
                    <a:pt x="3833" y="787"/>
                  </a:cubicBezTo>
                  <a:cubicBezTo>
                    <a:pt x="3836" y="793"/>
                    <a:pt x="3844" y="797"/>
                    <a:pt x="3852" y="797"/>
                  </a:cubicBezTo>
                  <a:cubicBezTo>
                    <a:pt x="3859" y="797"/>
                    <a:pt x="3863" y="792"/>
                    <a:pt x="3861" y="787"/>
                  </a:cubicBezTo>
                  <a:cubicBezTo>
                    <a:pt x="3858" y="781"/>
                    <a:pt x="3850" y="776"/>
                    <a:pt x="3842" y="776"/>
                  </a:cubicBezTo>
                  <a:cubicBezTo>
                    <a:pt x="3842" y="776"/>
                    <a:pt x="3842" y="776"/>
                    <a:pt x="3842" y="776"/>
                  </a:cubicBezTo>
                  <a:moveTo>
                    <a:pt x="3881" y="776"/>
                  </a:moveTo>
                  <a:cubicBezTo>
                    <a:pt x="3873" y="776"/>
                    <a:pt x="3869" y="781"/>
                    <a:pt x="3872" y="787"/>
                  </a:cubicBezTo>
                  <a:cubicBezTo>
                    <a:pt x="3875" y="792"/>
                    <a:pt x="3883" y="797"/>
                    <a:pt x="3891" y="797"/>
                  </a:cubicBezTo>
                  <a:cubicBezTo>
                    <a:pt x="3898" y="797"/>
                    <a:pt x="3902" y="792"/>
                    <a:pt x="3899" y="787"/>
                  </a:cubicBezTo>
                  <a:cubicBezTo>
                    <a:pt x="3897" y="781"/>
                    <a:pt x="3888" y="776"/>
                    <a:pt x="3881" y="776"/>
                  </a:cubicBezTo>
                  <a:cubicBezTo>
                    <a:pt x="3881" y="776"/>
                    <a:pt x="3881" y="776"/>
                    <a:pt x="3881" y="776"/>
                  </a:cubicBezTo>
                  <a:moveTo>
                    <a:pt x="3920" y="776"/>
                  </a:moveTo>
                  <a:cubicBezTo>
                    <a:pt x="3912" y="776"/>
                    <a:pt x="3908" y="781"/>
                    <a:pt x="3911" y="786"/>
                  </a:cubicBezTo>
                  <a:cubicBezTo>
                    <a:pt x="3914" y="792"/>
                    <a:pt x="3922" y="797"/>
                    <a:pt x="3930" y="797"/>
                  </a:cubicBezTo>
                  <a:cubicBezTo>
                    <a:pt x="3937" y="797"/>
                    <a:pt x="3941" y="792"/>
                    <a:pt x="3938" y="786"/>
                  </a:cubicBezTo>
                  <a:cubicBezTo>
                    <a:pt x="3936" y="781"/>
                    <a:pt x="3927" y="776"/>
                    <a:pt x="3920" y="776"/>
                  </a:cubicBezTo>
                  <a:cubicBezTo>
                    <a:pt x="3920" y="776"/>
                    <a:pt x="3920" y="776"/>
                    <a:pt x="3920" y="776"/>
                  </a:cubicBezTo>
                  <a:moveTo>
                    <a:pt x="3959" y="776"/>
                  </a:moveTo>
                  <a:cubicBezTo>
                    <a:pt x="3951" y="776"/>
                    <a:pt x="3947" y="781"/>
                    <a:pt x="3950" y="786"/>
                  </a:cubicBezTo>
                  <a:cubicBezTo>
                    <a:pt x="3953" y="792"/>
                    <a:pt x="3962" y="797"/>
                    <a:pt x="3969" y="796"/>
                  </a:cubicBezTo>
                  <a:cubicBezTo>
                    <a:pt x="3977" y="796"/>
                    <a:pt x="3981" y="792"/>
                    <a:pt x="3978" y="786"/>
                  </a:cubicBezTo>
                  <a:cubicBezTo>
                    <a:pt x="3975" y="780"/>
                    <a:pt x="3966" y="776"/>
                    <a:pt x="3959" y="776"/>
                  </a:cubicBezTo>
                  <a:cubicBezTo>
                    <a:pt x="3959" y="776"/>
                    <a:pt x="3959" y="776"/>
                    <a:pt x="3959" y="776"/>
                  </a:cubicBezTo>
                  <a:moveTo>
                    <a:pt x="3998" y="776"/>
                  </a:moveTo>
                  <a:cubicBezTo>
                    <a:pt x="3991" y="776"/>
                    <a:pt x="3987" y="780"/>
                    <a:pt x="3990" y="786"/>
                  </a:cubicBezTo>
                  <a:cubicBezTo>
                    <a:pt x="3993" y="792"/>
                    <a:pt x="4001" y="796"/>
                    <a:pt x="4009" y="796"/>
                  </a:cubicBezTo>
                  <a:cubicBezTo>
                    <a:pt x="4017" y="796"/>
                    <a:pt x="4020" y="792"/>
                    <a:pt x="4017" y="786"/>
                  </a:cubicBezTo>
                  <a:cubicBezTo>
                    <a:pt x="4015" y="780"/>
                    <a:pt x="4006" y="776"/>
                    <a:pt x="3998" y="776"/>
                  </a:cubicBezTo>
                  <a:cubicBezTo>
                    <a:pt x="3998" y="776"/>
                    <a:pt x="3998" y="776"/>
                    <a:pt x="3998" y="776"/>
                  </a:cubicBezTo>
                  <a:moveTo>
                    <a:pt x="4037" y="776"/>
                  </a:moveTo>
                  <a:cubicBezTo>
                    <a:pt x="4030" y="776"/>
                    <a:pt x="4026" y="780"/>
                    <a:pt x="4029" y="786"/>
                  </a:cubicBezTo>
                  <a:cubicBezTo>
                    <a:pt x="4032" y="792"/>
                    <a:pt x="4041" y="796"/>
                    <a:pt x="4048" y="796"/>
                  </a:cubicBezTo>
                  <a:cubicBezTo>
                    <a:pt x="4056" y="796"/>
                    <a:pt x="4060" y="791"/>
                    <a:pt x="4057" y="786"/>
                  </a:cubicBezTo>
                  <a:cubicBezTo>
                    <a:pt x="4053" y="780"/>
                    <a:pt x="4045" y="776"/>
                    <a:pt x="4037" y="776"/>
                  </a:cubicBezTo>
                  <a:cubicBezTo>
                    <a:pt x="4037" y="776"/>
                    <a:pt x="4037" y="776"/>
                    <a:pt x="4037" y="776"/>
                  </a:cubicBezTo>
                  <a:moveTo>
                    <a:pt x="94" y="767"/>
                  </a:moveTo>
                  <a:cubicBezTo>
                    <a:pt x="86" y="767"/>
                    <a:pt x="77" y="771"/>
                    <a:pt x="72" y="777"/>
                  </a:cubicBezTo>
                  <a:cubicBezTo>
                    <a:pt x="67" y="782"/>
                    <a:pt x="70" y="787"/>
                    <a:pt x="77" y="787"/>
                  </a:cubicBezTo>
                  <a:cubicBezTo>
                    <a:pt x="85" y="787"/>
                    <a:pt x="95" y="782"/>
                    <a:pt x="99" y="777"/>
                  </a:cubicBezTo>
                  <a:cubicBezTo>
                    <a:pt x="104" y="771"/>
                    <a:pt x="102" y="767"/>
                    <a:pt x="94" y="767"/>
                  </a:cubicBezTo>
                  <a:cubicBezTo>
                    <a:pt x="94" y="767"/>
                    <a:pt x="94" y="767"/>
                    <a:pt x="94" y="767"/>
                  </a:cubicBezTo>
                  <a:moveTo>
                    <a:pt x="211" y="766"/>
                  </a:moveTo>
                  <a:cubicBezTo>
                    <a:pt x="203" y="766"/>
                    <a:pt x="194" y="771"/>
                    <a:pt x="189" y="776"/>
                  </a:cubicBezTo>
                  <a:cubicBezTo>
                    <a:pt x="185" y="782"/>
                    <a:pt x="187" y="786"/>
                    <a:pt x="195" y="786"/>
                  </a:cubicBezTo>
                  <a:cubicBezTo>
                    <a:pt x="203" y="786"/>
                    <a:pt x="212" y="782"/>
                    <a:pt x="217" y="776"/>
                  </a:cubicBezTo>
                  <a:cubicBezTo>
                    <a:pt x="221" y="770"/>
                    <a:pt x="218" y="766"/>
                    <a:pt x="211" y="766"/>
                  </a:cubicBezTo>
                  <a:cubicBezTo>
                    <a:pt x="211" y="766"/>
                    <a:pt x="211" y="766"/>
                    <a:pt x="211" y="766"/>
                  </a:cubicBezTo>
                  <a:moveTo>
                    <a:pt x="251" y="766"/>
                  </a:moveTo>
                  <a:cubicBezTo>
                    <a:pt x="244" y="766"/>
                    <a:pt x="234" y="770"/>
                    <a:pt x="230" y="776"/>
                  </a:cubicBezTo>
                  <a:cubicBezTo>
                    <a:pt x="225" y="782"/>
                    <a:pt x="228" y="786"/>
                    <a:pt x="235" y="786"/>
                  </a:cubicBezTo>
                  <a:cubicBezTo>
                    <a:pt x="243" y="786"/>
                    <a:pt x="253" y="781"/>
                    <a:pt x="257" y="776"/>
                  </a:cubicBezTo>
                  <a:cubicBezTo>
                    <a:pt x="261" y="770"/>
                    <a:pt x="259" y="766"/>
                    <a:pt x="251" y="766"/>
                  </a:cubicBezTo>
                  <a:cubicBezTo>
                    <a:pt x="251" y="766"/>
                    <a:pt x="251" y="766"/>
                    <a:pt x="251" y="766"/>
                  </a:cubicBezTo>
                  <a:moveTo>
                    <a:pt x="135" y="764"/>
                  </a:moveTo>
                  <a:cubicBezTo>
                    <a:pt x="127" y="764"/>
                    <a:pt x="118" y="769"/>
                    <a:pt x="113" y="774"/>
                  </a:cubicBezTo>
                  <a:cubicBezTo>
                    <a:pt x="108" y="780"/>
                    <a:pt x="111" y="784"/>
                    <a:pt x="118" y="784"/>
                  </a:cubicBezTo>
                  <a:cubicBezTo>
                    <a:pt x="126" y="784"/>
                    <a:pt x="136" y="780"/>
                    <a:pt x="140" y="774"/>
                  </a:cubicBezTo>
                  <a:cubicBezTo>
                    <a:pt x="145" y="769"/>
                    <a:pt x="142" y="764"/>
                    <a:pt x="135" y="764"/>
                  </a:cubicBezTo>
                  <a:cubicBezTo>
                    <a:pt x="135" y="764"/>
                    <a:pt x="135" y="764"/>
                    <a:pt x="135" y="764"/>
                  </a:cubicBezTo>
                  <a:moveTo>
                    <a:pt x="174" y="764"/>
                  </a:moveTo>
                  <a:cubicBezTo>
                    <a:pt x="166" y="764"/>
                    <a:pt x="156" y="768"/>
                    <a:pt x="152" y="774"/>
                  </a:cubicBezTo>
                  <a:cubicBezTo>
                    <a:pt x="147" y="780"/>
                    <a:pt x="150" y="784"/>
                    <a:pt x="157" y="784"/>
                  </a:cubicBezTo>
                  <a:cubicBezTo>
                    <a:pt x="165" y="784"/>
                    <a:pt x="175" y="779"/>
                    <a:pt x="179" y="774"/>
                  </a:cubicBezTo>
                  <a:cubicBezTo>
                    <a:pt x="184" y="768"/>
                    <a:pt x="181" y="764"/>
                    <a:pt x="174" y="764"/>
                  </a:cubicBezTo>
                  <a:cubicBezTo>
                    <a:pt x="174" y="764"/>
                    <a:pt x="174" y="764"/>
                    <a:pt x="174" y="764"/>
                  </a:cubicBezTo>
                  <a:moveTo>
                    <a:pt x="1768" y="756"/>
                  </a:moveTo>
                  <a:cubicBezTo>
                    <a:pt x="1761" y="756"/>
                    <a:pt x="1753" y="761"/>
                    <a:pt x="1752" y="767"/>
                  </a:cubicBezTo>
                  <a:cubicBezTo>
                    <a:pt x="1751" y="772"/>
                    <a:pt x="1756" y="777"/>
                    <a:pt x="1763" y="777"/>
                  </a:cubicBezTo>
                  <a:cubicBezTo>
                    <a:pt x="1771" y="777"/>
                    <a:pt x="1778" y="772"/>
                    <a:pt x="1779" y="766"/>
                  </a:cubicBezTo>
                  <a:cubicBezTo>
                    <a:pt x="1781" y="761"/>
                    <a:pt x="1776" y="756"/>
                    <a:pt x="1768" y="756"/>
                  </a:cubicBezTo>
                  <a:cubicBezTo>
                    <a:pt x="1768" y="756"/>
                    <a:pt x="1768" y="756"/>
                    <a:pt x="1768" y="756"/>
                  </a:cubicBezTo>
                  <a:moveTo>
                    <a:pt x="1807" y="756"/>
                  </a:moveTo>
                  <a:cubicBezTo>
                    <a:pt x="1799" y="756"/>
                    <a:pt x="1792" y="761"/>
                    <a:pt x="1791" y="766"/>
                  </a:cubicBezTo>
                  <a:cubicBezTo>
                    <a:pt x="1789" y="772"/>
                    <a:pt x="1795" y="777"/>
                    <a:pt x="1802" y="777"/>
                  </a:cubicBezTo>
                  <a:cubicBezTo>
                    <a:pt x="1810" y="776"/>
                    <a:pt x="1817" y="772"/>
                    <a:pt x="1818" y="766"/>
                  </a:cubicBezTo>
                  <a:cubicBezTo>
                    <a:pt x="1819" y="761"/>
                    <a:pt x="1814" y="756"/>
                    <a:pt x="1807" y="756"/>
                  </a:cubicBezTo>
                  <a:cubicBezTo>
                    <a:pt x="1807" y="756"/>
                    <a:pt x="1807" y="756"/>
                    <a:pt x="1807" y="756"/>
                  </a:cubicBezTo>
                  <a:moveTo>
                    <a:pt x="1846" y="756"/>
                  </a:moveTo>
                  <a:cubicBezTo>
                    <a:pt x="1838" y="756"/>
                    <a:pt x="1831" y="761"/>
                    <a:pt x="1830" y="766"/>
                  </a:cubicBezTo>
                  <a:cubicBezTo>
                    <a:pt x="1829" y="772"/>
                    <a:pt x="1834" y="776"/>
                    <a:pt x="1841" y="776"/>
                  </a:cubicBezTo>
                  <a:cubicBezTo>
                    <a:pt x="1849" y="776"/>
                    <a:pt x="1856" y="772"/>
                    <a:pt x="1857" y="766"/>
                  </a:cubicBezTo>
                  <a:cubicBezTo>
                    <a:pt x="1858" y="760"/>
                    <a:pt x="1853" y="756"/>
                    <a:pt x="1846" y="756"/>
                  </a:cubicBezTo>
                  <a:cubicBezTo>
                    <a:pt x="1846" y="756"/>
                    <a:pt x="1846" y="756"/>
                    <a:pt x="1846" y="756"/>
                  </a:cubicBezTo>
                  <a:moveTo>
                    <a:pt x="1885" y="756"/>
                  </a:moveTo>
                  <a:cubicBezTo>
                    <a:pt x="1878" y="756"/>
                    <a:pt x="1871" y="760"/>
                    <a:pt x="1869" y="766"/>
                  </a:cubicBezTo>
                  <a:cubicBezTo>
                    <a:pt x="1868" y="772"/>
                    <a:pt x="1873" y="776"/>
                    <a:pt x="1881" y="776"/>
                  </a:cubicBezTo>
                  <a:cubicBezTo>
                    <a:pt x="1888" y="776"/>
                    <a:pt x="1896" y="771"/>
                    <a:pt x="1897" y="766"/>
                  </a:cubicBezTo>
                  <a:cubicBezTo>
                    <a:pt x="1898" y="760"/>
                    <a:pt x="1893" y="756"/>
                    <a:pt x="1885" y="756"/>
                  </a:cubicBezTo>
                  <a:cubicBezTo>
                    <a:pt x="1885" y="756"/>
                    <a:pt x="1885" y="756"/>
                    <a:pt x="1885" y="756"/>
                  </a:cubicBezTo>
                  <a:moveTo>
                    <a:pt x="1924" y="756"/>
                  </a:moveTo>
                  <a:cubicBezTo>
                    <a:pt x="1916" y="756"/>
                    <a:pt x="1909" y="760"/>
                    <a:pt x="1908" y="766"/>
                  </a:cubicBezTo>
                  <a:cubicBezTo>
                    <a:pt x="1907" y="771"/>
                    <a:pt x="1912" y="776"/>
                    <a:pt x="1920" y="776"/>
                  </a:cubicBezTo>
                  <a:cubicBezTo>
                    <a:pt x="1927" y="776"/>
                    <a:pt x="1934" y="771"/>
                    <a:pt x="1935" y="766"/>
                  </a:cubicBezTo>
                  <a:cubicBezTo>
                    <a:pt x="1936" y="760"/>
                    <a:pt x="1931" y="756"/>
                    <a:pt x="1924" y="756"/>
                  </a:cubicBezTo>
                  <a:cubicBezTo>
                    <a:pt x="1924" y="756"/>
                    <a:pt x="1924" y="756"/>
                    <a:pt x="1924" y="756"/>
                  </a:cubicBezTo>
                  <a:moveTo>
                    <a:pt x="1963" y="755"/>
                  </a:moveTo>
                  <a:cubicBezTo>
                    <a:pt x="1955" y="755"/>
                    <a:pt x="1948" y="760"/>
                    <a:pt x="1947" y="766"/>
                  </a:cubicBezTo>
                  <a:cubicBezTo>
                    <a:pt x="1946" y="771"/>
                    <a:pt x="1951" y="776"/>
                    <a:pt x="1959" y="776"/>
                  </a:cubicBezTo>
                  <a:cubicBezTo>
                    <a:pt x="1966" y="776"/>
                    <a:pt x="1973" y="771"/>
                    <a:pt x="1974" y="765"/>
                  </a:cubicBezTo>
                  <a:cubicBezTo>
                    <a:pt x="1975" y="760"/>
                    <a:pt x="1970" y="755"/>
                    <a:pt x="1963" y="755"/>
                  </a:cubicBezTo>
                  <a:cubicBezTo>
                    <a:pt x="1963" y="755"/>
                    <a:pt x="1963" y="755"/>
                    <a:pt x="1963" y="755"/>
                  </a:cubicBezTo>
                  <a:moveTo>
                    <a:pt x="2819" y="755"/>
                  </a:moveTo>
                  <a:cubicBezTo>
                    <a:pt x="2811" y="755"/>
                    <a:pt x="2806" y="760"/>
                    <a:pt x="2806" y="766"/>
                  </a:cubicBezTo>
                  <a:cubicBezTo>
                    <a:pt x="2807" y="771"/>
                    <a:pt x="2814" y="776"/>
                    <a:pt x="2821" y="776"/>
                  </a:cubicBezTo>
                  <a:cubicBezTo>
                    <a:pt x="2829" y="776"/>
                    <a:pt x="2834" y="771"/>
                    <a:pt x="2834" y="765"/>
                  </a:cubicBezTo>
                  <a:cubicBezTo>
                    <a:pt x="2833" y="760"/>
                    <a:pt x="2826" y="755"/>
                    <a:pt x="2819" y="755"/>
                  </a:cubicBezTo>
                  <a:cubicBezTo>
                    <a:pt x="2819" y="755"/>
                    <a:pt x="2819" y="755"/>
                    <a:pt x="2819" y="755"/>
                  </a:cubicBezTo>
                  <a:moveTo>
                    <a:pt x="2001" y="755"/>
                  </a:moveTo>
                  <a:cubicBezTo>
                    <a:pt x="1994" y="755"/>
                    <a:pt x="1987" y="760"/>
                    <a:pt x="1986" y="765"/>
                  </a:cubicBezTo>
                  <a:cubicBezTo>
                    <a:pt x="1985" y="771"/>
                    <a:pt x="1990" y="776"/>
                    <a:pt x="1998" y="776"/>
                  </a:cubicBezTo>
                  <a:cubicBezTo>
                    <a:pt x="2005" y="776"/>
                    <a:pt x="2012" y="771"/>
                    <a:pt x="2013" y="765"/>
                  </a:cubicBezTo>
                  <a:cubicBezTo>
                    <a:pt x="2014" y="760"/>
                    <a:pt x="2009" y="755"/>
                    <a:pt x="2001" y="755"/>
                  </a:cubicBezTo>
                  <a:cubicBezTo>
                    <a:pt x="2001" y="755"/>
                    <a:pt x="2001" y="755"/>
                    <a:pt x="2001" y="755"/>
                  </a:cubicBezTo>
                  <a:moveTo>
                    <a:pt x="2040" y="755"/>
                  </a:moveTo>
                  <a:cubicBezTo>
                    <a:pt x="2033" y="755"/>
                    <a:pt x="2026" y="760"/>
                    <a:pt x="2025" y="765"/>
                  </a:cubicBezTo>
                  <a:cubicBezTo>
                    <a:pt x="2024" y="771"/>
                    <a:pt x="2029" y="775"/>
                    <a:pt x="2037" y="775"/>
                  </a:cubicBezTo>
                  <a:cubicBezTo>
                    <a:pt x="2045" y="775"/>
                    <a:pt x="2051" y="771"/>
                    <a:pt x="2052" y="765"/>
                  </a:cubicBezTo>
                  <a:cubicBezTo>
                    <a:pt x="2053" y="759"/>
                    <a:pt x="2048" y="755"/>
                    <a:pt x="2040" y="755"/>
                  </a:cubicBezTo>
                  <a:cubicBezTo>
                    <a:pt x="2040" y="755"/>
                    <a:pt x="2040" y="755"/>
                    <a:pt x="2040" y="755"/>
                  </a:cubicBezTo>
                  <a:moveTo>
                    <a:pt x="2855" y="755"/>
                  </a:moveTo>
                  <a:cubicBezTo>
                    <a:pt x="2848" y="755"/>
                    <a:pt x="2842" y="759"/>
                    <a:pt x="2843" y="765"/>
                  </a:cubicBezTo>
                  <a:cubicBezTo>
                    <a:pt x="2844" y="771"/>
                    <a:pt x="2850" y="775"/>
                    <a:pt x="2858" y="775"/>
                  </a:cubicBezTo>
                  <a:cubicBezTo>
                    <a:pt x="2866" y="775"/>
                    <a:pt x="2871" y="771"/>
                    <a:pt x="2870" y="765"/>
                  </a:cubicBezTo>
                  <a:cubicBezTo>
                    <a:pt x="2870" y="759"/>
                    <a:pt x="2863" y="755"/>
                    <a:pt x="2855" y="755"/>
                  </a:cubicBezTo>
                  <a:cubicBezTo>
                    <a:pt x="2855" y="755"/>
                    <a:pt x="2855" y="755"/>
                    <a:pt x="2855" y="755"/>
                  </a:cubicBezTo>
                  <a:moveTo>
                    <a:pt x="2080" y="755"/>
                  </a:moveTo>
                  <a:cubicBezTo>
                    <a:pt x="2073" y="755"/>
                    <a:pt x="2066" y="759"/>
                    <a:pt x="2065" y="765"/>
                  </a:cubicBezTo>
                  <a:cubicBezTo>
                    <a:pt x="2064" y="771"/>
                    <a:pt x="2070" y="775"/>
                    <a:pt x="2077" y="775"/>
                  </a:cubicBezTo>
                  <a:cubicBezTo>
                    <a:pt x="2085" y="775"/>
                    <a:pt x="2092" y="771"/>
                    <a:pt x="2092" y="765"/>
                  </a:cubicBezTo>
                  <a:cubicBezTo>
                    <a:pt x="2093" y="759"/>
                    <a:pt x="2088" y="755"/>
                    <a:pt x="2080" y="755"/>
                  </a:cubicBezTo>
                  <a:cubicBezTo>
                    <a:pt x="2080" y="755"/>
                    <a:pt x="2080" y="755"/>
                    <a:pt x="2080" y="755"/>
                  </a:cubicBezTo>
                  <a:moveTo>
                    <a:pt x="2119" y="755"/>
                  </a:moveTo>
                  <a:cubicBezTo>
                    <a:pt x="2111" y="755"/>
                    <a:pt x="2105" y="759"/>
                    <a:pt x="2104" y="765"/>
                  </a:cubicBezTo>
                  <a:cubicBezTo>
                    <a:pt x="2103" y="770"/>
                    <a:pt x="2109" y="775"/>
                    <a:pt x="2116" y="775"/>
                  </a:cubicBezTo>
                  <a:cubicBezTo>
                    <a:pt x="2124" y="775"/>
                    <a:pt x="2131" y="770"/>
                    <a:pt x="2131" y="765"/>
                  </a:cubicBezTo>
                  <a:cubicBezTo>
                    <a:pt x="2132" y="759"/>
                    <a:pt x="2126" y="755"/>
                    <a:pt x="2119" y="755"/>
                  </a:cubicBezTo>
                  <a:cubicBezTo>
                    <a:pt x="2119" y="755"/>
                    <a:pt x="2119" y="755"/>
                    <a:pt x="2119" y="755"/>
                  </a:cubicBezTo>
                  <a:moveTo>
                    <a:pt x="2158" y="754"/>
                  </a:moveTo>
                  <a:cubicBezTo>
                    <a:pt x="2150" y="754"/>
                    <a:pt x="2144" y="759"/>
                    <a:pt x="2143" y="765"/>
                  </a:cubicBezTo>
                  <a:cubicBezTo>
                    <a:pt x="2142" y="770"/>
                    <a:pt x="2148" y="775"/>
                    <a:pt x="2156" y="775"/>
                  </a:cubicBezTo>
                  <a:cubicBezTo>
                    <a:pt x="2163" y="775"/>
                    <a:pt x="2170" y="770"/>
                    <a:pt x="2170" y="765"/>
                  </a:cubicBezTo>
                  <a:cubicBezTo>
                    <a:pt x="2171" y="759"/>
                    <a:pt x="2165" y="754"/>
                    <a:pt x="2158" y="754"/>
                  </a:cubicBezTo>
                  <a:cubicBezTo>
                    <a:pt x="2158" y="754"/>
                    <a:pt x="2158" y="754"/>
                    <a:pt x="2158" y="754"/>
                  </a:cubicBezTo>
                  <a:moveTo>
                    <a:pt x="2197" y="754"/>
                  </a:moveTo>
                  <a:cubicBezTo>
                    <a:pt x="2190" y="754"/>
                    <a:pt x="2183" y="759"/>
                    <a:pt x="2182" y="764"/>
                  </a:cubicBezTo>
                  <a:cubicBezTo>
                    <a:pt x="2182" y="770"/>
                    <a:pt x="2188" y="775"/>
                    <a:pt x="2195" y="775"/>
                  </a:cubicBezTo>
                  <a:cubicBezTo>
                    <a:pt x="2203" y="775"/>
                    <a:pt x="2209" y="770"/>
                    <a:pt x="2210" y="764"/>
                  </a:cubicBezTo>
                  <a:cubicBezTo>
                    <a:pt x="2210" y="759"/>
                    <a:pt x="2205" y="754"/>
                    <a:pt x="2197" y="754"/>
                  </a:cubicBezTo>
                  <a:cubicBezTo>
                    <a:pt x="2197" y="754"/>
                    <a:pt x="2197" y="754"/>
                    <a:pt x="2197" y="754"/>
                  </a:cubicBezTo>
                  <a:moveTo>
                    <a:pt x="2236" y="754"/>
                  </a:moveTo>
                  <a:cubicBezTo>
                    <a:pt x="2228" y="754"/>
                    <a:pt x="2222" y="759"/>
                    <a:pt x="2221" y="764"/>
                  </a:cubicBezTo>
                  <a:cubicBezTo>
                    <a:pt x="2221" y="770"/>
                    <a:pt x="2226" y="774"/>
                    <a:pt x="2234" y="774"/>
                  </a:cubicBezTo>
                  <a:cubicBezTo>
                    <a:pt x="2242" y="774"/>
                    <a:pt x="2248" y="770"/>
                    <a:pt x="2248" y="764"/>
                  </a:cubicBezTo>
                  <a:cubicBezTo>
                    <a:pt x="2249" y="759"/>
                    <a:pt x="2243" y="754"/>
                    <a:pt x="2236" y="754"/>
                  </a:cubicBezTo>
                  <a:cubicBezTo>
                    <a:pt x="2236" y="754"/>
                    <a:pt x="2236" y="754"/>
                    <a:pt x="2236" y="754"/>
                  </a:cubicBezTo>
                  <a:moveTo>
                    <a:pt x="2275" y="754"/>
                  </a:moveTo>
                  <a:cubicBezTo>
                    <a:pt x="2267" y="754"/>
                    <a:pt x="2261" y="758"/>
                    <a:pt x="2260" y="764"/>
                  </a:cubicBezTo>
                  <a:cubicBezTo>
                    <a:pt x="2260" y="770"/>
                    <a:pt x="2266" y="774"/>
                    <a:pt x="2273" y="774"/>
                  </a:cubicBezTo>
                  <a:cubicBezTo>
                    <a:pt x="2281" y="774"/>
                    <a:pt x="2287" y="770"/>
                    <a:pt x="2287" y="764"/>
                  </a:cubicBezTo>
                  <a:cubicBezTo>
                    <a:pt x="2288" y="758"/>
                    <a:pt x="2282" y="754"/>
                    <a:pt x="2275" y="754"/>
                  </a:cubicBezTo>
                  <a:cubicBezTo>
                    <a:pt x="2275" y="754"/>
                    <a:pt x="2275" y="754"/>
                    <a:pt x="2275" y="754"/>
                  </a:cubicBezTo>
                  <a:moveTo>
                    <a:pt x="2313" y="754"/>
                  </a:moveTo>
                  <a:cubicBezTo>
                    <a:pt x="2306" y="754"/>
                    <a:pt x="2299" y="758"/>
                    <a:pt x="2299" y="764"/>
                  </a:cubicBezTo>
                  <a:cubicBezTo>
                    <a:pt x="2299" y="770"/>
                    <a:pt x="2304" y="774"/>
                    <a:pt x="2312" y="774"/>
                  </a:cubicBezTo>
                  <a:cubicBezTo>
                    <a:pt x="2320" y="774"/>
                    <a:pt x="2326" y="769"/>
                    <a:pt x="2326" y="764"/>
                  </a:cubicBezTo>
                  <a:cubicBezTo>
                    <a:pt x="2327" y="758"/>
                    <a:pt x="2321" y="754"/>
                    <a:pt x="2313" y="754"/>
                  </a:cubicBezTo>
                  <a:cubicBezTo>
                    <a:pt x="2313" y="754"/>
                    <a:pt x="2313" y="754"/>
                    <a:pt x="2313" y="754"/>
                  </a:cubicBezTo>
                  <a:moveTo>
                    <a:pt x="2352" y="753"/>
                  </a:moveTo>
                  <a:cubicBezTo>
                    <a:pt x="2345" y="753"/>
                    <a:pt x="2338" y="758"/>
                    <a:pt x="2338" y="764"/>
                  </a:cubicBezTo>
                  <a:cubicBezTo>
                    <a:pt x="2338" y="769"/>
                    <a:pt x="2344" y="774"/>
                    <a:pt x="2351" y="774"/>
                  </a:cubicBezTo>
                  <a:cubicBezTo>
                    <a:pt x="2359" y="774"/>
                    <a:pt x="2365" y="769"/>
                    <a:pt x="2365" y="764"/>
                  </a:cubicBezTo>
                  <a:cubicBezTo>
                    <a:pt x="2365" y="758"/>
                    <a:pt x="2360" y="753"/>
                    <a:pt x="2352" y="753"/>
                  </a:cubicBezTo>
                  <a:cubicBezTo>
                    <a:pt x="2352" y="753"/>
                    <a:pt x="2352" y="753"/>
                    <a:pt x="2352" y="753"/>
                  </a:cubicBezTo>
                  <a:moveTo>
                    <a:pt x="2391" y="753"/>
                  </a:moveTo>
                  <a:cubicBezTo>
                    <a:pt x="2384" y="753"/>
                    <a:pt x="2378" y="758"/>
                    <a:pt x="2377" y="764"/>
                  </a:cubicBezTo>
                  <a:cubicBezTo>
                    <a:pt x="2377" y="769"/>
                    <a:pt x="2383" y="774"/>
                    <a:pt x="2391" y="774"/>
                  </a:cubicBezTo>
                  <a:cubicBezTo>
                    <a:pt x="2398" y="774"/>
                    <a:pt x="2405" y="769"/>
                    <a:pt x="2405" y="763"/>
                  </a:cubicBezTo>
                  <a:cubicBezTo>
                    <a:pt x="2405" y="758"/>
                    <a:pt x="2399" y="753"/>
                    <a:pt x="2391" y="753"/>
                  </a:cubicBezTo>
                  <a:cubicBezTo>
                    <a:pt x="2391" y="753"/>
                    <a:pt x="2391" y="753"/>
                    <a:pt x="2391" y="753"/>
                  </a:cubicBezTo>
                  <a:moveTo>
                    <a:pt x="2430" y="753"/>
                  </a:moveTo>
                  <a:cubicBezTo>
                    <a:pt x="2422" y="753"/>
                    <a:pt x="2416" y="758"/>
                    <a:pt x="2416" y="763"/>
                  </a:cubicBezTo>
                  <a:cubicBezTo>
                    <a:pt x="2416" y="769"/>
                    <a:pt x="2422" y="774"/>
                    <a:pt x="2430" y="773"/>
                  </a:cubicBezTo>
                  <a:cubicBezTo>
                    <a:pt x="2437" y="773"/>
                    <a:pt x="2443" y="769"/>
                    <a:pt x="2443" y="763"/>
                  </a:cubicBezTo>
                  <a:cubicBezTo>
                    <a:pt x="2443" y="758"/>
                    <a:pt x="2438" y="753"/>
                    <a:pt x="2430" y="753"/>
                  </a:cubicBezTo>
                  <a:cubicBezTo>
                    <a:pt x="2430" y="753"/>
                    <a:pt x="2430" y="753"/>
                    <a:pt x="2430" y="753"/>
                  </a:cubicBezTo>
                  <a:moveTo>
                    <a:pt x="3011" y="753"/>
                  </a:moveTo>
                  <a:cubicBezTo>
                    <a:pt x="3003" y="753"/>
                    <a:pt x="2998" y="758"/>
                    <a:pt x="2999" y="763"/>
                  </a:cubicBezTo>
                  <a:cubicBezTo>
                    <a:pt x="3000" y="769"/>
                    <a:pt x="3007" y="773"/>
                    <a:pt x="3014" y="773"/>
                  </a:cubicBezTo>
                  <a:cubicBezTo>
                    <a:pt x="3022" y="773"/>
                    <a:pt x="3027" y="769"/>
                    <a:pt x="3026" y="763"/>
                  </a:cubicBezTo>
                  <a:cubicBezTo>
                    <a:pt x="3025" y="757"/>
                    <a:pt x="3018" y="753"/>
                    <a:pt x="3011" y="753"/>
                  </a:cubicBezTo>
                  <a:cubicBezTo>
                    <a:pt x="3011" y="753"/>
                    <a:pt x="3011" y="753"/>
                    <a:pt x="3011" y="753"/>
                  </a:cubicBezTo>
                  <a:moveTo>
                    <a:pt x="2469" y="753"/>
                  </a:moveTo>
                  <a:cubicBezTo>
                    <a:pt x="2461" y="753"/>
                    <a:pt x="2455" y="757"/>
                    <a:pt x="2455" y="763"/>
                  </a:cubicBezTo>
                  <a:cubicBezTo>
                    <a:pt x="2455" y="769"/>
                    <a:pt x="2461" y="773"/>
                    <a:pt x="2469" y="773"/>
                  </a:cubicBezTo>
                  <a:cubicBezTo>
                    <a:pt x="2476" y="773"/>
                    <a:pt x="2482" y="769"/>
                    <a:pt x="2482" y="763"/>
                  </a:cubicBezTo>
                  <a:cubicBezTo>
                    <a:pt x="2482" y="757"/>
                    <a:pt x="2476" y="753"/>
                    <a:pt x="2469" y="753"/>
                  </a:cubicBezTo>
                  <a:cubicBezTo>
                    <a:pt x="2469" y="753"/>
                    <a:pt x="2469" y="753"/>
                    <a:pt x="2469" y="753"/>
                  </a:cubicBezTo>
                  <a:moveTo>
                    <a:pt x="3049" y="753"/>
                  </a:moveTo>
                  <a:cubicBezTo>
                    <a:pt x="3042" y="753"/>
                    <a:pt x="3037" y="757"/>
                    <a:pt x="3038" y="763"/>
                  </a:cubicBezTo>
                  <a:cubicBezTo>
                    <a:pt x="3039" y="769"/>
                    <a:pt x="3046" y="773"/>
                    <a:pt x="3053" y="773"/>
                  </a:cubicBezTo>
                  <a:cubicBezTo>
                    <a:pt x="3061" y="773"/>
                    <a:pt x="3066" y="769"/>
                    <a:pt x="3065" y="763"/>
                  </a:cubicBezTo>
                  <a:cubicBezTo>
                    <a:pt x="3064" y="757"/>
                    <a:pt x="3057" y="753"/>
                    <a:pt x="3050" y="753"/>
                  </a:cubicBezTo>
                  <a:cubicBezTo>
                    <a:pt x="3050" y="753"/>
                    <a:pt x="3050" y="753"/>
                    <a:pt x="3049" y="753"/>
                  </a:cubicBezTo>
                  <a:moveTo>
                    <a:pt x="2507" y="753"/>
                  </a:moveTo>
                  <a:cubicBezTo>
                    <a:pt x="2500" y="753"/>
                    <a:pt x="2494" y="757"/>
                    <a:pt x="2494" y="763"/>
                  </a:cubicBezTo>
                  <a:cubicBezTo>
                    <a:pt x="2494" y="769"/>
                    <a:pt x="2500" y="773"/>
                    <a:pt x="2508" y="773"/>
                  </a:cubicBezTo>
                  <a:cubicBezTo>
                    <a:pt x="2515" y="773"/>
                    <a:pt x="2521" y="768"/>
                    <a:pt x="2521" y="763"/>
                  </a:cubicBezTo>
                  <a:cubicBezTo>
                    <a:pt x="2521" y="757"/>
                    <a:pt x="2515" y="753"/>
                    <a:pt x="2507" y="753"/>
                  </a:cubicBezTo>
                  <a:cubicBezTo>
                    <a:pt x="2507" y="753"/>
                    <a:pt x="2507" y="753"/>
                    <a:pt x="2507" y="753"/>
                  </a:cubicBezTo>
                  <a:moveTo>
                    <a:pt x="2546" y="752"/>
                  </a:moveTo>
                  <a:cubicBezTo>
                    <a:pt x="2539" y="752"/>
                    <a:pt x="2533" y="757"/>
                    <a:pt x="2533" y="763"/>
                  </a:cubicBezTo>
                  <a:cubicBezTo>
                    <a:pt x="2533" y="768"/>
                    <a:pt x="2539" y="773"/>
                    <a:pt x="2547" y="773"/>
                  </a:cubicBezTo>
                  <a:cubicBezTo>
                    <a:pt x="2554" y="773"/>
                    <a:pt x="2560" y="768"/>
                    <a:pt x="2560" y="763"/>
                  </a:cubicBezTo>
                  <a:cubicBezTo>
                    <a:pt x="2560" y="757"/>
                    <a:pt x="2554" y="752"/>
                    <a:pt x="2546" y="752"/>
                  </a:cubicBezTo>
                  <a:cubicBezTo>
                    <a:pt x="2546" y="752"/>
                    <a:pt x="2546" y="752"/>
                    <a:pt x="2546" y="752"/>
                  </a:cubicBezTo>
                  <a:moveTo>
                    <a:pt x="2586" y="752"/>
                  </a:moveTo>
                  <a:cubicBezTo>
                    <a:pt x="2578" y="752"/>
                    <a:pt x="2572" y="757"/>
                    <a:pt x="2572" y="763"/>
                  </a:cubicBezTo>
                  <a:cubicBezTo>
                    <a:pt x="2572" y="768"/>
                    <a:pt x="2579" y="773"/>
                    <a:pt x="2586" y="773"/>
                  </a:cubicBezTo>
                  <a:cubicBezTo>
                    <a:pt x="2594" y="773"/>
                    <a:pt x="2600" y="768"/>
                    <a:pt x="2600" y="762"/>
                  </a:cubicBezTo>
                  <a:cubicBezTo>
                    <a:pt x="2599" y="757"/>
                    <a:pt x="2593" y="752"/>
                    <a:pt x="2586" y="752"/>
                  </a:cubicBezTo>
                  <a:cubicBezTo>
                    <a:pt x="2586" y="752"/>
                    <a:pt x="2586" y="752"/>
                    <a:pt x="2586" y="752"/>
                  </a:cubicBezTo>
                  <a:moveTo>
                    <a:pt x="2664" y="752"/>
                  </a:moveTo>
                  <a:cubicBezTo>
                    <a:pt x="2656" y="752"/>
                    <a:pt x="2650" y="757"/>
                    <a:pt x="2650" y="762"/>
                  </a:cubicBezTo>
                  <a:cubicBezTo>
                    <a:pt x="2651" y="768"/>
                    <a:pt x="2657" y="773"/>
                    <a:pt x="2665" y="773"/>
                  </a:cubicBezTo>
                  <a:cubicBezTo>
                    <a:pt x="2672" y="773"/>
                    <a:pt x="2678" y="768"/>
                    <a:pt x="2678" y="762"/>
                  </a:cubicBezTo>
                  <a:cubicBezTo>
                    <a:pt x="2677" y="757"/>
                    <a:pt x="2671" y="752"/>
                    <a:pt x="2664" y="752"/>
                  </a:cubicBezTo>
                  <a:cubicBezTo>
                    <a:pt x="2664" y="752"/>
                    <a:pt x="2664" y="752"/>
                    <a:pt x="2664" y="752"/>
                  </a:cubicBezTo>
                  <a:moveTo>
                    <a:pt x="2702" y="752"/>
                  </a:moveTo>
                  <a:cubicBezTo>
                    <a:pt x="2695" y="752"/>
                    <a:pt x="2689" y="757"/>
                    <a:pt x="2689" y="762"/>
                  </a:cubicBezTo>
                  <a:cubicBezTo>
                    <a:pt x="2690" y="768"/>
                    <a:pt x="2696" y="772"/>
                    <a:pt x="2704" y="772"/>
                  </a:cubicBezTo>
                  <a:cubicBezTo>
                    <a:pt x="2711" y="772"/>
                    <a:pt x="2717" y="768"/>
                    <a:pt x="2717" y="762"/>
                  </a:cubicBezTo>
                  <a:cubicBezTo>
                    <a:pt x="2716" y="756"/>
                    <a:pt x="2710" y="752"/>
                    <a:pt x="2702" y="752"/>
                  </a:cubicBezTo>
                  <a:cubicBezTo>
                    <a:pt x="2702" y="752"/>
                    <a:pt x="2702" y="752"/>
                    <a:pt x="2702" y="752"/>
                  </a:cubicBezTo>
                  <a:moveTo>
                    <a:pt x="2975" y="752"/>
                  </a:moveTo>
                  <a:cubicBezTo>
                    <a:pt x="2967" y="752"/>
                    <a:pt x="2962" y="756"/>
                    <a:pt x="2963" y="762"/>
                  </a:cubicBezTo>
                  <a:cubicBezTo>
                    <a:pt x="2964" y="768"/>
                    <a:pt x="2971" y="772"/>
                    <a:pt x="2978" y="772"/>
                  </a:cubicBezTo>
                  <a:cubicBezTo>
                    <a:pt x="2986" y="772"/>
                    <a:pt x="2991" y="768"/>
                    <a:pt x="2990" y="762"/>
                  </a:cubicBezTo>
                  <a:cubicBezTo>
                    <a:pt x="2989" y="756"/>
                    <a:pt x="2982" y="752"/>
                    <a:pt x="2975" y="752"/>
                  </a:cubicBezTo>
                  <a:cubicBezTo>
                    <a:pt x="2975" y="752"/>
                    <a:pt x="2975" y="752"/>
                    <a:pt x="2975" y="752"/>
                  </a:cubicBezTo>
                  <a:moveTo>
                    <a:pt x="2741" y="752"/>
                  </a:moveTo>
                  <a:cubicBezTo>
                    <a:pt x="2733" y="752"/>
                    <a:pt x="2728" y="756"/>
                    <a:pt x="2728" y="762"/>
                  </a:cubicBezTo>
                  <a:cubicBezTo>
                    <a:pt x="2728" y="768"/>
                    <a:pt x="2735" y="772"/>
                    <a:pt x="2743" y="772"/>
                  </a:cubicBezTo>
                  <a:cubicBezTo>
                    <a:pt x="2750" y="772"/>
                    <a:pt x="2756" y="768"/>
                    <a:pt x="2755" y="762"/>
                  </a:cubicBezTo>
                  <a:cubicBezTo>
                    <a:pt x="2755" y="756"/>
                    <a:pt x="2748" y="752"/>
                    <a:pt x="2741" y="752"/>
                  </a:cubicBezTo>
                  <a:cubicBezTo>
                    <a:pt x="2741" y="752"/>
                    <a:pt x="2741" y="752"/>
                    <a:pt x="2741" y="752"/>
                  </a:cubicBezTo>
                  <a:moveTo>
                    <a:pt x="3169" y="751"/>
                  </a:moveTo>
                  <a:cubicBezTo>
                    <a:pt x="3161" y="751"/>
                    <a:pt x="3156" y="756"/>
                    <a:pt x="3158" y="762"/>
                  </a:cubicBezTo>
                  <a:cubicBezTo>
                    <a:pt x="3159" y="767"/>
                    <a:pt x="3166" y="772"/>
                    <a:pt x="3174" y="772"/>
                  </a:cubicBezTo>
                  <a:cubicBezTo>
                    <a:pt x="3181" y="772"/>
                    <a:pt x="3186" y="767"/>
                    <a:pt x="3185" y="762"/>
                  </a:cubicBezTo>
                  <a:cubicBezTo>
                    <a:pt x="3184" y="756"/>
                    <a:pt x="3176" y="751"/>
                    <a:pt x="3169" y="751"/>
                  </a:cubicBezTo>
                  <a:cubicBezTo>
                    <a:pt x="3169" y="751"/>
                    <a:pt x="3169" y="751"/>
                    <a:pt x="3169" y="751"/>
                  </a:cubicBezTo>
                  <a:moveTo>
                    <a:pt x="3088" y="751"/>
                  </a:moveTo>
                  <a:cubicBezTo>
                    <a:pt x="3080" y="751"/>
                    <a:pt x="3075" y="756"/>
                    <a:pt x="3076" y="762"/>
                  </a:cubicBezTo>
                  <a:cubicBezTo>
                    <a:pt x="3077" y="767"/>
                    <a:pt x="3084" y="772"/>
                    <a:pt x="3092" y="772"/>
                  </a:cubicBezTo>
                  <a:cubicBezTo>
                    <a:pt x="3100" y="772"/>
                    <a:pt x="3105" y="767"/>
                    <a:pt x="3104" y="761"/>
                  </a:cubicBezTo>
                  <a:cubicBezTo>
                    <a:pt x="3102" y="756"/>
                    <a:pt x="3095" y="751"/>
                    <a:pt x="3088" y="751"/>
                  </a:cubicBezTo>
                  <a:cubicBezTo>
                    <a:pt x="3088" y="751"/>
                    <a:pt x="3088" y="751"/>
                    <a:pt x="3088" y="751"/>
                  </a:cubicBezTo>
                  <a:moveTo>
                    <a:pt x="3208" y="751"/>
                  </a:moveTo>
                  <a:cubicBezTo>
                    <a:pt x="3201" y="751"/>
                    <a:pt x="3196" y="756"/>
                    <a:pt x="3197" y="761"/>
                  </a:cubicBezTo>
                  <a:cubicBezTo>
                    <a:pt x="3198" y="767"/>
                    <a:pt x="3206" y="772"/>
                    <a:pt x="3213" y="772"/>
                  </a:cubicBezTo>
                  <a:cubicBezTo>
                    <a:pt x="3221" y="772"/>
                    <a:pt x="3226" y="767"/>
                    <a:pt x="3224" y="761"/>
                  </a:cubicBezTo>
                  <a:cubicBezTo>
                    <a:pt x="3223" y="756"/>
                    <a:pt x="3216" y="751"/>
                    <a:pt x="3208" y="751"/>
                  </a:cubicBezTo>
                  <a:cubicBezTo>
                    <a:pt x="3208" y="751"/>
                    <a:pt x="3208" y="751"/>
                    <a:pt x="3208" y="751"/>
                  </a:cubicBezTo>
                  <a:moveTo>
                    <a:pt x="2780" y="751"/>
                  </a:moveTo>
                  <a:cubicBezTo>
                    <a:pt x="2772" y="751"/>
                    <a:pt x="2766" y="756"/>
                    <a:pt x="2767" y="761"/>
                  </a:cubicBezTo>
                  <a:cubicBezTo>
                    <a:pt x="2768" y="767"/>
                    <a:pt x="2774" y="772"/>
                    <a:pt x="2782" y="772"/>
                  </a:cubicBezTo>
                  <a:cubicBezTo>
                    <a:pt x="2789" y="772"/>
                    <a:pt x="2795" y="767"/>
                    <a:pt x="2794" y="761"/>
                  </a:cubicBezTo>
                  <a:cubicBezTo>
                    <a:pt x="2794" y="756"/>
                    <a:pt x="2787" y="751"/>
                    <a:pt x="2780" y="751"/>
                  </a:cubicBezTo>
                  <a:cubicBezTo>
                    <a:pt x="2780" y="751"/>
                    <a:pt x="2780" y="751"/>
                    <a:pt x="2780" y="751"/>
                  </a:cubicBezTo>
                  <a:moveTo>
                    <a:pt x="3127" y="751"/>
                  </a:moveTo>
                  <a:cubicBezTo>
                    <a:pt x="3119" y="751"/>
                    <a:pt x="3114" y="756"/>
                    <a:pt x="3115" y="761"/>
                  </a:cubicBezTo>
                  <a:cubicBezTo>
                    <a:pt x="3117" y="767"/>
                    <a:pt x="3124" y="772"/>
                    <a:pt x="3131" y="772"/>
                  </a:cubicBezTo>
                  <a:cubicBezTo>
                    <a:pt x="3139" y="772"/>
                    <a:pt x="3144" y="767"/>
                    <a:pt x="3143" y="761"/>
                  </a:cubicBezTo>
                  <a:cubicBezTo>
                    <a:pt x="3141" y="756"/>
                    <a:pt x="3134" y="751"/>
                    <a:pt x="3127" y="751"/>
                  </a:cubicBezTo>
                  <a:cubicBezTo>
                    <a:pt x="3127" y="751"/>
                    <a:pt x="3127" y="751"/>
                    <a:pt x="3127" y="751"/>
                  </a:cubicBezTo>
                  <a:moveTo>
                    <a:pt x="3711" y="751"/>
                  </a:moveTo>
                  <a:cubicBezTo>
                    <a:pt x="3704" y="751"/>
                    <a:pt x="3700" y="756"/>
                    <a:pt x="3702" y="761"/>
                  </a:cubicBezTo>
                  <a:cubicBezTo>
                    <a:pt x="3704" y="767"/>
                    <a:pt x="3712" y="772"/>
                    <a:pt x="3720" y="772"/>
                  </a:cubicBezTo>
                  <a:cubicBezTo>
                    <a:pt x="3728" y="772"/>
                    <a:pt x="3732" y="767"/>
                    <a:pt x="3729" y="761"/>
                  </a:cubicBezTo>
                  <a:cubicBezTo>
                    <a:pt x="3727" y="756"/>
                    <a:pt x="3719" y="751"/>
                    <a:pt x="3711" y="751"/>
                  </a:cubicBezTo>
                  <a:cubicBezTo>
                    <a:pt x="3711" y="751"/>
                    <a:pt x="3711" y="751"/>
                    <a:pt x="3711" y="751"/>
                  </a:cubicBezTo>
                  <a:moveTo>
                    <a:pt x="3244" y="751"/>
                  </a:moveTo>
                  <a:cubicBezTo>
                    <a:pt x="3237" y="751"/>
                    <a:pt x="3232" y="756"/>
                    <a:pt x="3233" y="761"/>
                  </a:cubicBezTo>
                  <a:cubicBezTo>
                    <a:pt x="3235" y="767"/>
                    <a:pt x="3242" y="771"/>
                    <a:pt x="3250" y="771"/>
                  </a:cubicBezTo>
                  <a:cubicBezTo>
                    <a:pt x="3257" y="771"/>
                    <a:pt x="3262" y="767"/>
                    <a:pt x="3261" y="761"/>
                  </a:cubicBezTo>
                  <a:cubicBezTo>
                    <a:pt x="3259" y="756"/>
                    <a:pt x="3252" y="751"/>
                    <a:pt x="3244" y="751"/>
                  </a:cubicBezTo>
                  <a:cubicBezTo>
                    <a:pt x="3244" y="751"/>
                    <a:pt x="3244" y="751"/>
                    <a:pt x="3244" y="751"/>
                  </a:cubicBezTo>
                  <a:moveTo>
                    <a:pt x="3750" y="751"/>
                  </a:moveTo>
                  <a:cubicBezTo>
                    <a:pt x="3742" y="751"/>
                    <a:pt x="3738" y="756"/>
                    <a:pt x="3741" y="761"/>
                  </a:cubicBezTo>
                  <a:cubicBezTo>
                    <a:pt x="3743" y="767"/>
                    <a:pt x="3751" y="771"/>
                    <a:pt x="3759" y="771"/>
                  </a:cubicBezTo>
                  <a:cubicBezTo>
                    <a:pt x="3766" y="771"/>
                    <a:pt x="3770" y="767"/>
                    <a:pt x="3768" y="761"/>
                  </a:cubicBezTo>
                  <a:cubicBezTo>
                    <a:pt x="3766" y="755"/>
                    <a:pt x="3757" y="751"/>
                    <a:pt x="3750" y="751"/>
                  </a:cubicBezTo>
                  <a:cubicBezTo>
                    <a:pt x="3750" y="751"/>
                    <a:pt x="3750" y="751"/>
                    <a:pt x="3750" y="751"/>
                  </a:cubicBezTo>
                  <a:moveTo>
                    <a:pt x="3284" y="751"/>
                  </a:moveTo>
                  <a:cubicBezTo>
                    <a:pt x="3276" y="751"/>
                    <a:pt x="3271" y="755"/>
                    <a:pt x="3273" y="761"/>
                  </a:cubicBezTo>
                  <a:cubicBezTo>
                    <a:pt x="3274" y="767"/>
                    <a:pt x="3282" y="771"/>
                    <a:pt x="3289" y="771"/>
                  </a:cubicBezTo>
                  <a:cubicBezTo>
                    <a:pt x="3297" y="771"/>
                    <a:pt x="3302" y="767"/>
                    <a:pt x="3300" y="761"/>
                  </a:cubicBezTo>
                  <a:cubicBezTo>
                    <a:pt x="3298" y="755"/>
                    <a:pt x="3291" y="751"/>
                    <a:pt x="3284" y="751"/>
                  </a:cubicBezTo>
                  <a:cubicBezTo>
                    <a:pt x="3284" y="751"/>
                    <a:pt x="3284" y="751"/>
                    <a:pt x="3284" y="751"/>
                  </a:cubicBezTo>
                  <a:moveTo>
                    <a:pt x="3789" y="751"/>
                  </a:moveTo>
                  <a:cubicBezTo>
                    <a:pt x="3781" y="751"/>
                    <a:pt x="3777" y="755"/>
                    <a:pt x="3780" y="761"/>
                  </a:cubicBezTo>
                  <a:cubicBezTo>
                    <a:pt x="3782" y="767"/>
                    <a:pt x="3790" y="771"/>
                    <a:pt x="3798" y="771"/>
                  </a:cubicBezTo>
                  <a:cubicBezTo>
                    <a:pt x="3806" y="771"/>
                    <a:pt x="3810" y="767"/>
                    <a:pt x="3807" y="761"/>
                  </a:cubicBezTo>
                  <a:cubicBezTo>
                    <a:pt x="3804" y="755"/>
                    <a:pt x="3796" y="751"/>
                    <a:pt x="3789" y="751"/>
                  </a:cubicBezTo>
                  <a:cubicBezTo>
                    <a:pt x="3789" y="751"/>
                    <a:pt x="3789" y="751"/>
                    <a:pt x="3789" y="751"/>
                  </a:cubicBezTo>
                  <a:moveTo>
                    <a:pt x="3322" y="751"/>
                  </a:moveTo>
                  <a:cubicBezTo>
                    <a:pt x="3315" y="751"/>
                    <a:pt x="3310" y="755"/>
                    <a:pt x="3311" y="761"/>
                  </a:cubicBezTo>
                  <a:cubicBezTo>
                    <a:pt x="3313" y="767"/>
                    <a:pt x="3320" y="771"/>
                    <a:pt x="3328" y="771"/>
                  </a:cubicBezTo>
                  <a:cubicBezTo>
                    <a:pt x="3336" y="771"/>
                    <a:pt x="3340" y="766"/>
                    <a:pt x="3339" y="761"/>
                  </a:cubicBezTo>
                  <a:cubicBezTo>
                    <a:pt x="3337" y="755"/>
                    <a:pt x="3330" y="751"/>
                    <a:pt x="3322" y="751"/>
                  </a:cubicBezTo>
                  <a:cubicBezTo>
                    <a:pt x="3322" y="751"/>
                    <a:pt x="3322" y="751"/>
                    <a:pt x="3322" y="751"/>
                  </a:cubicBezTo>
                  <a:moveTo>
                    <a:pt x="3830" y="750"/>
                  </a:moveTo>
                  <a:cubicBezTo>
                    <a:pt x="3823" y="750"/>
                    <a:pt x="3819" y="755"/>
                    <a:pt x="3821" y="761"/>
                  </a:cubicBezTo>
                  <a:cubicBezTo>
                    <a:pt x="3824" y="766"/>
                    <a:pt x="3832" y="771"/>
                    <a:pt x="3840" y="771"/>
                  </a:cubicBezTo>
                  <a:cubicBezTo>
                    <a:pt x="3847" y="771"/>
                    <a:pt x="3851" y="766"/>
                    <a:pt x="3848" y="761"/>
                  </a:cubicBezTo>
                  <a:cubicBezTo>
                    <a:pt x="3846" y="755"/>
                    <a:pt x="3838" y="750"/>
                    <a:pt x="3830" y="750"/>
                  </a:cubicBezTo>
                  <a:cubicBezTo>
                    <a:pt x="3830" y="750"/>
                    <a:pt x="3830" y="750"/>
                    <a:pt x="3830" y="750"/>
                  </a:cubicBezTo>
                  <a:moveTo>
                    <a:pt x="3361" y="750"/>
                  </a:moveTo>
                  <a:cubicBezTo>
                    <a:pt x="3353" y="750"/>
                    <a:pt x="3349" y="755"/>
                    <a:pt x="3350" y="761"/>
                  </a:cubicBezTo>
                  <a:cubicBezTo>
                    <a:pt x="3352" y="766"/>
                    <a:pt x="3360" y="771"/>
                    <a:pt x="3367" y="771"/>
                  </a:cubicBezTo>
                  <a:cubicBezTo>
                    <a:pt x="3375" y="771"/>
                    <a:pt x="3379" y="766"/>
                    <a:pt x="3378" y="761"/>
                  </a:cubicBezTo>
                  <a:cubicBezTo>
                    <a:pt x="3376" y="755"/>
                    <a:pt x="3368" y="750"/>
                    <a:pt x="3361" y="750"/>
                  </a:cubicBezTo>
                  <a:cubicBezTo>
                    <a:pt x="3361" y="750"/>
                    <a:pt x="3361" y="750"/>
                    <a:pt x="3361" y="750"/>
                  </a:cubicBezTo>
                  <a:moveTo>
                    <a:pt x="3868" y="750"/>
                  </a:moveTo>
                  <a:cubicBezTo>
                    <a:pt x="3861" y="750"/>
                    <a:pt x="3857" y="755"/>
                    <a:pt x="3860" y="761"/>
                  </a:cubicBezTo>
                  <a:cubicBezTo>
                    <a:pt x="3862" y="766"/>
                    <a:pt x="3871" y="771"/>
                    <a:pt x="3878" y="771"/>
                  </a:cubicBezTo>
                  <a:cubicBezTo>
                    <a:pt x="3886" y="771"/>
                    <a:pt x="3890" y="766"/>
                    <a:pt x="3887" y="760"/>
                  </a:cubicBezTo>
                  <a:cubicBezTo>
                    <a:pt x="3884" y="755"/>
                    <a:pt x="3876" y="750"/>
                    <a:pt x="3868" y="750"/>
                  </a:cubicBezTo>
                  <a:cubicBezTo>
                    <a:pt x="3868" y="750"/>
                    <a:pt x="3868" y="750"/>
                    <a:pt x="3868" y="750"/>
                  </a:cubicBezTo>
                  <a:moveTo>
                    <a:pt x="3399" y="750"/>
                  </a:moveTo>
                  <a:cubicBezTo>
                    <a:pt x="3392" y="750"/>
                    <a:pt x="3387" y="755"/>
                    <a:pt x="3389" y="761"/>
                  </a:cubicBezTo>
                  <a:cubicBezTo>
                    <a:pt x="3391" y="766"/>
                    <a:pt x="3398" y="771"/>
                    <a:pt x="3406" y="771"/>
                  </a:cubicBezTo>
                  <a:cubicBezTo>
                    <a:pt x="3413" y="771"/>
                    <a:pt x="3418" y="766"/>
                    <a:pt x="3416" y="760"/>
                  </a:cubicBezTo>
                  <a:cubicBezTo>
                    <a:pt x="3415" y="755"/>
                    <a:pt x="3407" y="750"/>
                    <a:pt x="3400" y="750"/>
                  </a:cubicBezTo>
                  <a:cubicBezTo>
                    <a:pt x="3400" y="750"/>
                    <a:pt x="3400" y="750"/>
                    <a:pt x="3399" y="750"/>
                  </a:cubicBezTo>
                  <a:moveTo>
                    <a:pt x="3907" y="750"/>
                  </a:moveTo>
                  <a:cubicBezTo>
                    <a:pt x="3899" y="750"/>
                    <a:pt x="3895" y="755"/>
                    <a:pt x="3898" y="760"/>
                  </a:cubicBezTo>
                  <a:cubicBezTo>
                    <a:pt x="3901" y="766"/>
                    <a:pt x="3909" y="771"/>
                    <a:pt x="3917" y="771"/>
                  </a:cubicBezTo>
                  <a:cubicBezTo>
                    <a:pt x="3924" y="771"/>
                    <a:pt x="3928" y="766"/>
                    <a:pt x="3926" y="760"/>
                  </a:cubicBezTo>
                  <a:cubicBezTo>
                    <a:pt x="3923" y="755"/>
                    <a:pt x="3914" y="750"/>
                    <a:pt x="3907" y="750"/>
                  </a:cubicBezTo>
                  <a:cubicBezTo>
                    <a:pt x="3907" y="750"/>
                    <a:pt x="3907" y="750"/>
                    <a:pt x="3907" y="750"/>
                  </a:cubicBezTo>
                  <a:moveTo>
                    <a:pt x="3438" y="750"/>
                  </a:moveTo>
                  <a:cubicBezTo>
                    <a:pt x="3431" y="750"/>
                    <a:pt x="3426" y="755"/>
                    <a:pt x="3428" y="760"/>
                  </a:cubicBezTo>
                  <a:cubicBezTo>
                    <a:pt x="3430" y="766"/>
                    <a:pt x="3438" y="771"/>
                    <a:pt x="3445" y="771"/>
                  </a:cubicBezTo>
                  <a:cubicBezTo>
                    <a:pt x="3453" y="770"/>
                    <a:pt x="3457" y="766"/>
                    <a:pt x="3455" y="760"/>
                  </a:cubicBezTo>
                  <a:cubicBezTo>
                    <a:pt x="3453" y="755"/>
                    <a:pt x="3446" y="750"/>
                    <a:pt x="3438" y="750"/>
                  </a:cubicBezTo>
                  <a:cubicBezTo>
                    <a:pt x="3438" y="750"/>
                    <a:pt x="3438" y="750"/>
                    <a:pt x="3438" y="750"/>
                  </a:cubicBezTo>
                  <a:moveTo>
                    <a:pt x="3946" y="750"/>
                  </a:moveTo>
                  <a:cubicBezTo>
                    <a:pt x="3938" y="750"/>
                    <a:pt x="3934" y="755"/>
                    <a:pt x="3937" y="760"/>
                  </a:cubicBezTo>
                  <a:cubicBezTo>
                    <a:pt x="3940" y="766"/>
                    <a:pt x="3949" y="770"/>
                    <a:pt x="3956" y="770"/>
                  </a:cubicBezTo>
                  <a:cubicBezTo>
                    <a:pt x="3964" y="770"/>
                    <a:pt x="3967" y="766"/>
                    <a:pt x="3965" y="760"/>
                  </a:cubicBezTo>
                  <a:cubicBezTo>
                    <a:pt x="3962" y="754"/>
                    <a:pt x="3953" y="750"/>
                    <a:pt x="3946" y="750"/>
                  </a:cubicBezTo>
                  <a:cubicBezTo>
                    <a:pt x="3946" y="750"/>
                    <a:pt x="3946" y="750"/>
                    <a:pt x="3946" y="750"/>
                  </a:cubicBezTo>
                  <a:moveTo>
                    <a:pt x="3478" y="750"/>
                  </a:moveTo>
                  <a:cubicBezTo>
                    <a:pt x="3470" y="750"/>
                    <a:pt x="3466" y="754"/>
                    <a:pt x="3467" y="760"/>
                  </a:cubicBezTo>
                  <a:cubicBezTo>
                    <a:pt x="3469" y="766"/>
                    <a:pt x="3477" y="770"/>
                    <a:pt x="3485" y="770"/>
                  </a:cubicBezTo>
                  <a:cubicBezTo>
                    <a:pt x="3492" y="770"/>
                    <a:pt x="3497" y="766"/>
                    <a:pt x="3495" y="760"/>
                  </a:cubicBezTo>
                  <a:cubicBezTo>
                    <a:pt x="3493" y="754"/>
                    <a:pt x="3485" y="750"/>
                    <a:pt x="3478" y="750"/>
                  </a:cubicBezTo>
                  <a:cubicBezTo>
                    <a:pt x="3478" y="750"/>
                    <a:pt x="3478" y="750"/>
                    <a:pt x="3478" y="750"/>
                  </a:cubicBezTo>
                  <a:moveTo>
                    <a:pt x="3985" y="750"/>
                  </a:moveTo>
                  <a:cubicBezTo>
                    <a:pt x="3977" y="750"/>
                    <a:pt x="3974" y="754"/>
                    <a:pt x="3977" y="760"/>
                  </a:cubicBezTo>
                  <a:cubicBezTo>
                    <a:pt x="3980" y="766"/>
                    <a:pt x="3988" y="770"/>
                    <a:pt x="3996" y="770"/>
                  </a:cubicBezTo>
                  <a:cubicBezTo>
                    <a:pt x="4003" y="770"/>
                    <a:pt x="4007" y="766"/>
                    <a:pt x="4004" y="760"/>
                  </a:cubicBezTo>
                  <a:cubicBezTo>
                    <a:pt x="4001" y="754"/>
                    <a:pt x="3993" y="750"/>
                    <a:pt x="3985" y="750"/>
                  </a:cubicBezTo>
                  <a:cubicBezTo>
                    <a:pt x="3985" y="750"/>
                    <a:pt x="3985" y="750"/>
                    <a:pt x="3985" y="750"/>
                  </a:cubicBezTo>
                  <a:moveTo>
                    <a:pt x="3516" y="750"/>
                  </a:moveTo>
                  <a:cubicBezTo>
                    <a:pt x="3509" y="750"/>
                    <a:pt x="3504" y="754"/>
                    <a:pt x="3506" y="760"/>
                  </a:cubicBezTo>
                  <a:cubicBezTo>
                    <a:pt x="3508" y="766"/>
                    <a:pt x="3516" y="770"/>
                    <a:pt x="3523" y="770"/>
                  </a:cubicBezTo>
                  <a:cubicBezTo>
                    <a:pt x="3531" y="770"/>
                    <a:pt x="3535" y="765"/>
                    <a:pt x="3533" y="760"/>
                  </a:cubicBezTo>
                  <a:cubicBezTo>
                    <a:pt x="3531" y="754"/>
                    <a:pt x="3524" y="750"/>
                    <a:pt x="3516" y="750"/>
                  </a:cubicBezTo>
                  <a:cubicBezTo>
                    <a:pt x="3516" y="750"/>
                    <a:pt x="3516" y="750"/>
                    <a:pt x="3516" y="750"/>
                  </a:cubicBezTo>
                  <a:moveTo>
                    <a:pt x="4024" y="749"/>
                  </a:moveTo>
                  <a:cubicBezTo>
                    <a:pt x="4016" y="750"/>
                    <a:pt x="4012" y="754"/>
                    <a:pt x="4015" y="760"/>
                  </a:cubicBezTo>
                  <a:cubicBezTo>
                    <a:pt x="4018" y="766"/>
                    <a:pt x="4027" y="770"/>
                    <a:pt x="4034" y="770"/>
                  </a:cubicBezTo>
                  <a:cubicBezTo>
                    <a:pt x="4042" y="770"/>
                    <a:pt x="4046" y="765"/>
                    <a:pt x="4043" y="760"/>
                  </a:cubicBezTo>
                  <a:cubicBezTo>
                    <a:pt x="4040" y="754"/>
                    <a:pt x="4031" y="749"/>
                    <a:pt x="4024" y="749"/>
                  </a:cubicBezTo>
                  <a:cubicBezTo>
                    <a:pt x="4024" y="749"/>
                    <a:pt x="4024" y="749"/>
                    <a:pt x="4024" y="749"/>
                  </a:cubicBezTo>
                  <a:moveTo>
                    <a:pt x="3555" y="749"/>
                  </a:moveTo>
                  <a:cubicBezTo>
                    <a:pt x="3547" y="749"/>
                    <a:pt x="3543" y="754"/>
                    <a:pt x="3545" y="760"/>
                  </a:cubicBezTo>
                  <a:cubicBezTo>
                    <a:pt x="3547" y="765"/>
                    <a:pt x="3555" y="770"/>
                    <a:pt x="3563" y="770"/>
                  </a:cubicBezTo>
                  <a:cubicBezTo>
                    <a:pt x="3570" y="770"/>
                    <a:pt x="3574" y="765"/>
                    <a:pt x="3572" y="760"/>
                  </a:cubicBezTo>
                  <a:cubicBezTo>
                    <a:pt x="3570" y="754"/>
                    <a:pt x="3562" y="749"/>
                    <a:pt x="3555" y="749"/>
                  </a:cubicBezTo>
                  <a:cubicBezTo>
                    <a:pt x="3555" y="749"/>
                    <a:pt x="3555" y="749"/>
                    <a:pt x="3555" y="749"/>
                  </a:cubicBezTo>
                  <a:moveTo>
                    <a:pt x="4061" y="749"/>
                  </a:moveTo>
                  <a:cubicBezTo>
                    <a:pt x="4054" y="749"/>
                    <a:pt x="4050" y="754"/>
                    <a:pt x="4053" y="760"/>
                  </a:cubicBezTo>
                  <a:cubicBezTo>
                    <a:pt x="4056" y="765"/>
                    <a:pt x="4065" y="770"/>
                    <a:pt x="4072" y="770"/>
                  </a:cubicBezTo>
                  <a:cubicBezTo>
                    <a:pt x="4080" y="770"/>
                    <a:pt x="4083" y="765"/>
                    <a:pt x="4080" y="760"/>
                  </a:cubicBezTo>
                  <a:cubicBezTo>
                    <a:pt x="4077" y="754"/>
                    <a:pt x="4069" y="749"/>
                    <a:pt x="4061" y="749"/>
                  </a:cubicBezTo>
                  <a:cubicBezTo>
                    <a:pt x="4061" y="749"/>
                    <a:pt x="4061" y="749"/>
                    <a:pt x="4061" y="749"/>
                  </a:cubicBezTo>
                  <a:moveTo>
                    <a:pt x="3593" y="749"/>
                  </a:moveTo>
                  <a:cubicBezTo>
                    <a:pt x="3586" y="749"/>
                    <a:pt x="3582" y="754"/>
                    <a:pt x="3584" y="760"/>
                  </a:cubicBezTo>
                  <a:cubicBezTo>
                    <a:pt x="3586" y="765"/>
                    <a:pt x="3594" y="770"/>
                    <a:pt x="3601" y="770"/>
                  </a:cubicBezTo>
                  <a:cubicBezTo>
                    <a:pt x="3609" y="770"/>
                    <a:pt x="3613" y="765"/>
                    <a:pt x="3611" y="759"/>
                  </a:cubicBezTo>
                  <a:cubicBezTo>
                    <a:pt x="3609" y="754"/>
                    <a:pt x="3601" y="749"/>
                    <a:pt x="3594" y="749"/>
                  </a:cubicBezTo>
                  <a:cubicBezTo>
                    <a:pt x="3594" y="749"/>
                    <a:pt x="3594" y="749"/>
                    <a:pt x="3593" y="749"/>
                  </a:cubicBezTo>
                  <a:moveTo>
                    <a:pt x="3632" y="749"/>
                  </a:moveTo>
                  <a:cubicBezTo>
                    <a:pt x="3625" y="749"/>
                    <a:pt x="3621" y="754"/>
                    <a:pt x="3623" y="759"/>
                  </a:cubicBezTo>
                  <a:cubicBezTo>
                    <a:pt x="3625" y="765"/>
                    <a:pt x="3633" y="770"/>
                    <a:pt x="3640" y="770"/>
                  </a:cubicBezTo>
                  <a:cubicBezTo>
                    <a:pt x="3648" y="770"/>
                    <a:pt x="3652" y="765"/>
                    <a:pt x="3650" y="759"/>
                  </a:cubicBezTo>
                  <a:cubicBezTo>
                    <a:pt x="3648" y="754"/>
                    <a:pt x="3640" y="749"/>
                    <a:pt x="3632" y="749"/>
                  </a:cubicBezTo>
                  <a:cubicBezTo>
                    <a:pt x="3632" y="749"/>
                    <a:pt x="3632" y="749"/>
                    <a:pt x="3632" y="749"/>
                  </a:cubicBezTo>
                  <a:moveTo>
                    <a:pt x="3672" y="749"/>
                  </a:moveTo>
                  <a:cubicBezTo>
                    <a:pt x="3664" y="749"/>
                    <a:pt x="3660" y="754"/>
                    <a:pt x="3662" y="759"/>
                  </a:cubicBezTo>
                  <a:cubicBezTo>
                    <a:pt x="3664" y="765"/>
                    <a:pt x="3672" y="769"/>
                    <a:pt x="3680" y="769"/>
                  </a:cubicBezTo>
                  <a:cubicBezTo>
                    <a:pt x="3688" y="769"/>
                    <a:pt x="3692" y="765"/>
                    <a:pt x="3689" y="759"/>
                  </a:cubicBezTo>
                  <a:cubicBezTo>
                    <a:pt x="3687" y="753"/>
                    <a:pt x="3679" y="749"/>
                    <a:pt x="3672" y="749"/>
                  </a:cubicBezTo>
                  <a:cubicBezTo>
                    <a:pt x="3672" y="749"/>
                    <a:pt x="3672" y="749"/>
                    <a:pt x="3672" y="749"/>
                  </a:cubicBezTo>
                  <a:moveTo>
                    <a:pt x="232" y="739"/>
                  </a:moveTo>
                  <a:cubicBezTo>
                    <a:pt x="224" y="739"/>
                    <a:pt x="215" y="744"/>
                    <a:pt x="210" y="749"/>
                  </a:cubicBezTo>
                  <a:cubicBezTo>
                    <a:pt x="206" y="755"/>
                    <a:pt x="208" y="760"/>
                    <a:pt x="216" y="760"/>
                  </a:cubicBezTo>
                  <a:cubicBezTo>
                    <a:pt x="223" y="760"/>
                    <a:pt x="233" y="755"/>
                    <a:pt x="237" y="749"/>
                  </a:cubicBezTo>
                  <a:cubicBezTo>
                    <a:pt x="242" y="744"/>
                    <a:pt x="239" y="739"/>
                    <a:pt x="232" y="739"/>
                  </a:cubicBezTo>
                  <a:cubicBezTo>
                    <a:pt x="232" y="739"/>
                    <a:pt x="232" y="739"/>
                    <a:pt x="232" y="739"/>
                  </a:cubicBezTo>
                  <a:moveTo>
                    <a:pt x="37" y="739"/>
                  </a:moveTo>
                  <a:cubicBezTo>
                    <a:pt x="29" y="739"/>
                    <a:pt x="19" y="744"/>
                    <a:pt x="14" y="749"/>
                  </a:cubicBezTo>
                  <a:cubicBezTo>
                    <a:pt x="10" y="755"/>
                    <a:pt x="12" y="760"/>
                    <a:pt x="19" y="759"/>
                  </a:cubicBezTo>
                  <a:cubicBezTo>
                    <a:pt x="27" y="759"/>
                    <a:pt x="37" y="755"/>
                    <a:pt x="41" y="749"/>
                  </a:cubicBezTo>
                  <a:cubicBezTo>
                    <a:pt x="46" y="744"/>
                    <a:pt x="44" y="739"/>
                    <a:pt x="37" y="739"/>
                  </a:cubicBezTo>
                  <a:cubicBezTo>
                    <a:pt x="37" y="739"/>
                    <a:pt x="37" y="739"/>
                    <a:pt x="37" y="739"/>
                  </a:cubicBezTo>
                  <a:moveTo>
                    <a:pt x="115" y="739"/>
                  </a:moveTo>
                  <a:cubicBezTo>
                    <a:pt x="108" y="739"/>
                    <a:pt x="98" y="743"/>
                    <a:pt x="93" y="749"/>
                  </a:cubicBezTo>
                  <a:cubicBezTo>
                    <a:pt x="89" y="755"/>
                    <a:pt x="91" y="759"/>
                    <a:pt x="98" y="759"/>
                  </a:cubicBezTo>
                  <a:cubicBezTo>
                    <a:pt x="106" y="759"/>
                    <a:pt x="116" y="754"/>
                    <a:pt x="120" y="749"/>
                  </a:cubicBezTo>
                  <a:cubicBezTo>
                    <a:pt x="125" y="743"/>
                    <a:pt x="123" y="739"/>
                    <a:pt x="115" y="739"/>
                  </a:cubicBezTo>
                  <a:cubicBezTo>
                    <a:pt x="115" y="739"/>
                    <a:pt x="115" y="739"/>
                    <a:pt x="115" y="739"/>
                  </a:cubicBezTo>
                  <a:moveTo>
                    <a:pt x="311" y="738"/>
                  </a:moveTo>
                  <a:cubicBezTo>
                    <a:pt x="303" y="738"/>
                    <a:pt x="294" y="742"/>
                    <a:pt x="290" y="748"/>
                  </a:cubicBezTo>
                  <a:cubicBezTo>
                    <a:pt x="285" y="754"/>
                    <a:pt x="288" y="758"/>
                    <a:pt x="296" y="758"/>
                  </a:cubicBezTo>
                  <a:cubicBezTo>
                    <a:pt x="303" y="758"/>
                    <a:pt x="313" y="754"/>
                    <a:pt x="317" y="748"/>
                  </a:cubicBezTo>
                  <a:cubicBezTo>
                    <a:pt x="321" y="742"/>
                    <a:pt x="318" y="738"/>
                    <a:pt x="311" y="738"/>
                  </a:cubicBezTo>
                  <a:cubicBezTo>
                    <a:pt x="311" y="738"/>
                    <a:pt x="311" y="738"/>
                    <a:pt x="311" y="738"/>
                  </a:cubicBezTo>
                  <a:moveTo>
                    <a:pt x="273" y="737"/>
                  </a:moveTo>
                  <a:cubicBezTo>
                    <a:pt x="265" y="737"/>
                    <a:pt x="256" y="742"/>
                    <a:pt x="252" y="748"/>
                  </a:cubicBezTo>
                  <a:cubicBezTo>
                    <a:pt x="247" y="753"/>
                    <a:pt x="250" y="758"/>
                    <a:pt x="257" y="758"/>
                  </a:cubicBezTo>
                  <a:cubicBezTo>
                    <a:pt x="265" y="758"/>
                    <a:pt x="274" y="753"/>
                    <a:pt x="279" y="748"/>
                  </a:cubicBezTo>
                  <a:cubicBezTo>
                    <a:pt x="283" y="742"/>
                    <a:pt x="280" y="737"/>
                    <a:pt x="273" y="737"/>
                  </a:cubicBezTo>
                  <a:cubicBezTo>
                    <a:pt x="273" y="737"/>
                    <a:pt x="273" y="737"/>
                    <a:pt x="273" y="737"/>
                  </a:cubicBezTo>
                  <a:moveTo>
                    <a:pt x="582" y="736"/>
                  </a:moveTo>
                  <a:cubicBezTo>
                    <a:pt x="574" y="737"/>
                    <a:pt x="565" y="741"/>
                    <a:pt x="561" y="747"/>
                  </a:cubicBezTo>
                  <a:cubicBezTo>
                    <a:pt x="558" y="752"/>
                    <a:pt x="561" y="757"/>
                    <a:pt x="568" y="757"/>
                  </a:cubicBezTo>
                  <a:cubicBezTo>
                    <a:pt x="576" y="757"/>
                    <a:pt x="585" y="752"/>
                    <a:pt x="589" y="747"/>
                  </a:cubicBezTo>
                  <a:cubicBezTo>
                    <a:pt x="592" y="741"/>
                    <a:pt x="589" y="736"/>
                    <a:pt x="582" y="736"/>
                  </a:cubicBezTo>
                  <a:cubicBezTo>
                    <a:pt x="582" y="736"/>
                    <a:pt x="582" y="736"/>
                    <a:pt x="582" y="736"/>
                  </a:cubicBezTo>
                  <a:moveTo>
                    <a:pt x="157" y="736"/>
                  </a:moveTo>
                  <a:cubicBezTo>
                    <a:pt x="150" y="736"/>
                    <a:pt x="140" y="741"/>
                    <a:pt x="136" y="746"/>
                  </a:cubicBezTo>
                  <a:cubicBezTo>
                    <a:pt x="131" y="752"/>
                    <a:pt x="134" y="756"/>
                    <a:pt x="141" y="756"/>
                  </a:cubicBezTo>
                  <a:cubicBezTo>
                    <a:pt x="149" y="756"/>
                    <a:pt x="158" y="752"/>
                    <a:pt x="163" y="746"/>
                  </a:cubicBezTo>
                  <a:cubicBezTo>
                    <a:pt x="167" y="741"/>
                    <a:pt x="165" y="736"/>
                    <a:pt x="158" y="736"/>
                  </a:cubicBezTo>
                  <a:cubicBezTo>
                    <a:pt x="158" y="736"/>
                    <a:pt x="158" y="736"/>
                    <a:pt x="157" y="736"/>
                  </a:cubicBezTo>
                  <a:moveTo>
                    <a:pt x="196" y="736"/>
                  </a:moveTo>
                  <a:cubicBezTo>
                    <a:pt x="188" y="736"/>
                    <a:pt x="179" y="741"/>
                    <a:pt x="174" y="746"/>
                  </a:cubicBezTo>
                  <a:cubicBezTo>
                    <a:pt x="170" y="752"/>
                    <a:pt x="172" y="756"/>
                    <a:pt x="180" y="756"/>
                  </a:cubicBezTo>
                  <a:cubicBezTo>
                    <a:pt x="187" y="756"/>
                    <a:pt x="197" y="752"/>
                    <a:pt x="201" y="746"/>
                  </a:cubicBezTo>
                  <a:cubicBezTo>
                    <a:pt x="206" y="741"/>
                    <a:pt x="203" y="736"/>
                    <a:pt x="196" y="736"/>
                  </a:cubicBezTo>
                  <a:cubicBezTo>
                    <a:pt x="196" y="736"/>
                    <a:pt x="196" y="736"/>
                    <a:pt x="196" y="736"/>
                  </a:cubicBezTo>
                  <a:moveTo>
                    <a:pt x="1775" y="729"/>
                  </a:moveTo>
                  <a:cubicBezTo>
                    <a:pt x="1768" y="729"/>
                    <a:pt x="1760" y="733"/>
                    <a:pt x="1759" y="739"/>
                  </a:cubicBezTo>
                  <a:cubicBezTo>
                    <a:pt x="1758" y="744"/>
                    <a:pt x="1763" y="749"/>
                    <a:pt x="1770" y="749"/>
                  </a:cubicBezTo>
                  <a:cubicBezTo>
                    <a:pt x="1778" y="749"/>
                    <a:pt x="1785" y="744"/>
                    <a:pt x="1786" y="739"/>
                  </a:cubicBezTo>
                  <a:cubicBezTo>
                    <a:pt x="1787" y="733"/>
                    <a:pt x="1783" y="729"/>
                    <a:pt x="1775" y="729"/>
                  </a:cubicBezTo>
                  <a:cubicBezTo>
                    <a:pt x="1775" y="729"/>
                    <a:pt x="1775" y="729"/>
                    <a:pt x="1775" y="729"/>
                  </a:cubicBezTo>
                  <a:moveTo>
                    <a:pt x="1813" y="728"/>
                  </a:moveTo>
                  <a:cubicBezTo>
                    <a:pt x="1806" y="728"/>
                    <a:pt x="1799" y="733"/>
                    <a:pt x="1797" y="739"/>
                  </a:cubicBezTo>
                  <a:cubicBezTo>
                    <a:pt x="1796" y="744"/>
                    <a:pt x="1801" y="749"/>
                    <a:pt x="1809" y="749"/>
                  </a:cubicBezTo>
                  <a:cubicBezTo>
                    <a:pt x="1816" y="749"/>
                    <a:pt x="1823" y="744"/>
                    <a:pt x="1824" y="739"/>
                  </a:cubicBezTo>
                  <a:cubicBezTo>
                    <a:pt x="1826" y="733"/>
                    <a:pt x="1821" y="728"/>
                    <a:pt x="1813" y="728"/>
                  </a:cubicBezTo>
                  <a:cubicBezTo>
                    <a:pt x="1813" y="728"/>
                    <a:pt x="1813" y="728"/>
                    <a:pt x="1813" y="728"/>
                  </a:cubicBezTo>
                  <a:moveTo>
                    <a:pt x="1852" y="728"/>
                  </a:moveTo>
                  <a:cubicBezTo>
                    <a:pt x="1844" y="728"/>
                    <a:pt x="1837" y="733"/>
                    <a:pt x="1836" y="738"/>
                  </a:cubicBezTo>
                  <a:cubicBezTo>
                    <a:pt x="1835" y="744"/>
                    <a:pt x="1840" y="749"/>
                    <a:pt x="1847" y="749"/>
                  </a:cubicBezTo>
                  <a:cubicBezTo>
                    <a:pt x="1855" y="749"/>
                    <a:pt x="1862" y="744"/>
                    <a:pt x="1863" y="738"/>
                  </a:cubicBezTo>
                  <a:cubicBezTo>
                    <a:pt x="1864" y="733"/>
                    <a:pt x="1859" y="728"/>
                    <a:pt x="1852" y="728"/>
                  </a:cubicBezTo>
                  <a:cubicBezTo>
                    <a:pt x="1852" y="728"/>
                    <a:pt x="1852" y="728"/>
                    <a:pt x="1852" y="728"/>
                  </a:cubicBezTo>
                  <a:moveTo>
                    <a:pt x="1891" y="728"/>
                  </a:moveTo>
                  <a:cubicBezTo>
                    <a:pt x="1883" y="728"/>
                    <a:pt x="1876" y="733"/>
                    <a:pt x="1875" y="738"/>
                  </a:cubicBezTo>
                  <a:cubicBezTo>
                    <a:pt x="1874" y="744"/>
                    <a:pt x="1879" y="748"/>
                    <a:pt x="1887" y="748"/>
                  </a:cubicBezTo>
                  <a:cubicBezTo>
                    <a:pt x="1894" y="748"/>
                    <a:pt x="1901" y="744"/>
                    <a:pt x="1902" y="738"/>
                  </a:cubicBezTo>
                  <a:cubicBezTo>
                    <a:pt x="1903" y="733"/>
                    <a:pt x="1898" y="728"/>
                    <a:pt x="1891" y="728"/>
                  </a:cubicBezTo>
                  <a:cubicBezTo>
                    <a:pt x="1891" y="728"/>
                    <a:pt x="1891" y="728"/>
                    <a:pt x="1891" y="728"/>
                  </a:cubicBezTo>
                  <a:moveTo>
                    <a:pt x="1929" y="728"/>
                  </a:moveTo>
                  <a:cubicBezTo>
                    <a:pt x="1922" y="728"/>
                    <a:pt x="1915" y="732"/>
                    <a:pt x="1914" y="738"/>
                  </a:cubicBezTo>
                  <a:cubicBezTo>
                    <a:pt x="1912" y="744"/>
                    <a:pt x="1918" y="748"/>
                    <a:pt x="1925" y="748"/>
                  </a:cubicBezTo>
                  <a:cubicBezTo>
                    <a:pt x="1933" y="748"/>
                    <a:pt x="1940" y="744"/>
                    <a:pt x="1941" y="738"/>
                  </a:cubicBezTo>
                  <a:cubicBezTo>
                    <a:pt x="1942" y="732"/>
                    <a:pt x="1937" y="728"/>
                    <a:pt x="1929" y="728"/>
                  </a:cubicBezTo>
                  <a:cubicBezTo>
                    <a:pt x="1929" y="728"/>
                    <a:pt x="1929" y="728"/>
                    <a:pt x="1929" y="728"/>
                  </a:cubicBezTo>
                  <a:moveTo>
                    <a:pt x="1968" y="728"/>
                  </a:moveTo>
                  <a:cubicBezTo>
                    <a:pt x="1960" y="728"/>
                    <a:pt x="1953" y="732"/>
                    <a:pt x="1952" y="738"/>
                  </a:cubicBezTo>
                  <a:cubicBezTo>
                    <a:pt x="1951" y="744"/>
                    <a:pt x="1956" y="748"/>
                    <a:pt x="1964" y="748"/>
                  </a:cubicBezTo>
                  <a:cubicBezTo>
                    <a:pt x="1971" y="748"/>
                    <a:pt x="1978" y="743"/>
                    <a:pt x="1979" y="738"/>
                  </a:cubicBezTo>
                  <a:cubicBezTo>
                    <a:pt x="1980" y="732"/>
                    <a:pt x="1975" y="728"/>
                    <a:pt x="1968" y="728"/>
                  </a:cubicBezTo>
                  <a:cubicBezTo>
                    <a:pt x="1968" y="728"/>
                    <a:pt x="1968" y="728"/>
                    <a:pt x="1968" y="728"/>
                  </a:cubicBezTo>
                  <a:moveTo>
                    <a:pt x="2006" y="727"/>
                  </a:moveTo>
                  <a:cubicBezTo>
                    <a:pt x="1998" y="727"/>
                    <a:pt x="1992" y="732"/>
                    <a:pt x="1991" y="738"/>
                  </a:cubicBezTo>
                  <a:cubicBezTo>
                    <a:pt x="1990" y="743"/>
                    <a:pt x="1995" y="748"/>
                    <a:pt x="2002" y="748"/>
                  </a:cubicBezTo>
                  <a:cubicBezTo>
                    <a:pt x="2010" y="748"/>
                    <a:pt x="2017" y="743"/>
                    <a:pt x="2018" y="738"/>
                  </a:cubicBezTo>
                  <a:cubicBezTo>
                    <a:pt x="2019" y="732"/>
                    <a:pt x="2013" y="727"/>
                    <a:pt x="2006" y="727"/>
                  </a:cubicBezTo>
                  <a:cubicBezTo>
                    <a:pt x="2006" y="727"/>
                    <a:pt x="2006" y="727"/>
                    <a:pt x="2006" y="727"/>
                  </a:cubicBezTo>
                  <a:moveTo>
                    <a:pt x="2044" y="727"/>
                  </a:moveTo>
                  <a:cubicBezTo>
                    <a:pt x="2037" y="727"/>
                    <a:pt x="2030" y="732"/>
                    <a:pt x="2029" y="737"/>
                  </a:cubicBezTo>
                  <a:cubicBezTo>
                    <a:pt x="2028" y="743"/>
                    <a:pt x="2034" y="748"/>
                    <a:pt x="2041" y="748"/>
                  </a:cubicBezTo>
                  <a:cubicBezTo>
                    <a:pt x="2049" y="748"/>
                    <a:pt x="2056" y="743"/>
                    <a:pt x="2056" y="737"/>
                  </a:cubicBezTo>
                  <a:cubicBezTo>
                    <a:pt x="2057" y="732"/>
                    <a:pt x="2052" y="727"/>
                    <a:pt x="2045" y="727"/>
                  </a:cubicBezTo>
                  <a:cubicBezTo>
                    <a:pt x="2044" y="727"/>
                    <a:pt x="2044" y="727"/>
                    <a:pt x="2044" y="727"/>
                  </a:cubicBezTo>
                  <a:moveTo>
                    <a:pt x="2084" y="727"/>
                  </a:moveTo>
                  <a:cubicBezTo>
                    <a:pt x="2077" y="727"/>
                    <a:pt x="2070" y="732"/>
                    <a:pt x="2069" y="737"/>
                  </a:cubicBezTo>
                  <a:cubicBezTo>
                    <a:pt x="2068" y="743"/>
                    <a:pt x="2074" y="747"/>
                    <a:pt x="2081" y="747"/>
                  </a:cubicBezTo>
                  <a:cubicBezTo>
                    <a:pt x="2089" y="747"/>
                    <a:pt x="2095" y="743"/>
                    <a:pt x="2096" y="737"/>
                  </a:cubicBezTo>
                  <a:cubicBezTo>
                    <a:pt x="2097" y="732"/>
                    <a:pt x="2092" y="727"/>
                    <a:pt x="2084" y="727"/>
                  </a:cubicBezTo>
                  <a:cubicBezTo>
                    <a:pt x="2084" y="727"/>
                    <a:pt x="2084" y="727"/>
                    <a:pt x="2084" y="727"/>
                  </a:cubicBezTo>
                  <a:moveTo>
                    <a:pt x="2122" y="727"/>
                  </a:moveTo>
                  <a:cubicBezTo>
                    <a:pt x="2115" y="727"/>
                    <a:pt x="2108" y="731"/>
                    <a:pt x="2108" y="737"/>
                  </a:cubicBezTo>
                  <a:cubicBezTo>
                    <a:pt x="2107" y="743"/>
                    <a:pt x="2112" y="747"/>
                    <a:pt x="2120" y="747"/>
                  </a:cubicBezTo>
                  <a:cubicBezTo>
                    <a:pt x="2127" y="747"/>
                    <a:pt x="2134" y="743"/>
                    <a:pt x="2135" y="737"/>
                  </a:cubicBezTo>
                  <a:cubicBezTo>
                    <a:pt x="2135" y="731"/>
                    <a:pt x="2130" y="727"/>
                    <a:pt x="2122" y="727"/>
                  </a:cubicBezTo>
                  <a:cubicBezTo>
                    <a:pt x="2122" y="727"/>
                    <a:pt x="2122" y="727"/>
                    <a:pt x="2122" y="727"/>
                  </a:cubicBezTo>
                  <a:moveTo>
                    <a:pt x="2161" y="727"/>
                  </a:moveTo>
                  <a:cubicBezTo>
                    <a:pt x="2154" y="727"/>
                    <a:pt x="2147" y="731"/>
                    <a:pt x="2146" y="737"/>
                  </a:cubicBezTo>
                  <a:cubicBezTo>
                    <a:pt x="2146" y="743"/>
                    <a:pt x="2151" y="747"/>
                    <a:pt x="2159" y="747"/>
                  </a:cubicBezTo>
                  <a:cubicBezTo>
                    <a:pt x="2166" y="747"/>
                    <a:pt x="2173" y="742"/>
                    <a:pt x="2173" y="737"/>
                  </a:cubicBezTo>
                  <a:cubicBezTo>
                    <a:pt x="2174" y="731"/>
                    <a:pt x="2168" y="727"/>
                    <a:pt x="2161" y="727"/>
                  </a:cubicBezTo>
                  <a:cubicBezTo>
                    <a:pt x="2161" y="727"/>
                    <a:pt x="2161" y="727"/>
                    <a:pt x="2161" y="727"/>
                  </a:cubicBezTo>
                  <a:moveTo>
                    <a:pt x="2200" y="726"/>
                  </a:moveTo>
                  <a:cubicBezTo>
                    <a:pt x="2192" y="726"/>
                    <a:pt x="2186" y="731"/>
                    <a:pt x="2185" y="737"/>
                  </a:cubicBezTo>
                  <a:cubicBezTo>
                    <a:pt x="2185" y="742"/>
                    <a:pt x="2190" y="747"/>
                    <a:pt x="2198" y="747"/>
                  </a:cubicBezTo>
                  <a:cubicBezTo>
                    <a:pt x="2205" y="747"/>
                    <a:pt x="2212" y="742"/>
                    <a:pt x="2212" y="737"/>
                  </a:cubicBezTo>
                  <a:cubicBezTo>
                    <a:pt x="2213" y="731"/>
                    <a:pt x="2207" y="726"/>
                    <a:pt x="2200" y="726"/>
                  </a:cubicBezTo>
                  <a:cubicBezTo>
                    <a:pt x="2200" y="726"/>
                    <a:pt x="2200" y="726"/>
                    <a:pt x="2200" y="726"/>
                  </a:cubicBezTo>
                  <a:moveTo>
                    <a:pt x="2238" y="726"/>
                  </a:moveTo>
                  <a:cubicBezTo>
                    <a:pt x="2231" y="726"/>
                    <a:pt x="2224" y="731"/>
                    <a:pt x="2224" y="736"/>
                  </a:cubicBezTo>
                  <a:cubicBezTo>
                    <a:pt x="2223" y="742"/>
                    <a:pt x="2229" y="747"/>
                    <a:pt x="2236" y="747"/>
                  </a:cubicBezTo>
                  <a:cubicBezTo>
                    <a:pt x="2244" y="747"/>
                    <a:pt x="2250" y="742"/>
                    <a:pt x="2251" y="736"/>
                  </a:cubicBezTo>
                  <a:cubicBezTo>
                    <a:pt x="2251" y="731"/>
                    <a:pt x="2246" y="726"/>
                    <a:pt x="2238" y="726"/>
                  </a:cubicBezTo>
                  <a:cubicBezTo>
                    <a:pt x="2238" y="726"/>
                    <a:pt x="2238" y="726"/>
                    <a:pt x="2238" y="726"/>
                  </a:cubicBezTo>
                  <a:moveTo>
                    <a:pt x="2277" y="726"/>
                  </a:moveTo>
                  <a:cubicBezTo>
                    <a:pt x="2269" y="726"/>
                    <a:pt x="2263" y="731"/>
                    <a:pt x="2262" y="736"/>
                  </a:cubicBezTo>
                  <a:cubicBezTo>
                    <a:pt x="2262" y="742"/>
                    <a:pt x="2268" y="746"/>
                    <a:pt x="2275" y="746"/>
                  </a:cubicBezTo>
                  <a:cubicBezTo>
                    <a:pt x="2283" y="746"/>
                    <a:pt x="2289" y="742"/>
                    <a:pt x="2289" y="736"/>
                  </a:cubicBezTo>
                  <a:cubicBezTo>
                    <a:pt x="2290" y="731"/>
                    <a:pt x="2284" y="726"/>
                    <a:pt x="2277" y="726"/>
                  </a:cubicBezTo>
                  <a:cubicBezTo>
                    <a:pt x="2277" y="726"/>
                    <a:pt x="2277" y="726"/>
                    <a:pt x="2277" y="726"/>
                  </a:cubicBezTo>
                  <a:moveTo>
                    <a:pt x="2315" y="726"/>
                  </a:moveTo>
                  <a:cubicBezTo>
                    <a:pt x="2307" y="726"/>
                    <a:pt x="2301" y="730"/>
                    <a:pt x="2301" y="736"/>
                  </a:cubicBezTo>
                  <a:cubicBezTo>
                    <a:pt x="2300" y="742"/>
                    <a:pt x="2306" y="746"/>
                    <a:pt x="2314" y="746"/>
                  </a:cubicBezTo>
                  <a:cubicBezTo>
                    <a:pt x="2321" y="746"/>
                    <a:pt x="2327" y="742"/>
                    <a:pt x="2328" y="736"/>
                  </a:cubicBezTo>
                  <a:cubicBezTo>
                    <a:pt x="2328" y="730"/>
                    <a:pt x="2322" y="726"/>
                    <a:pt x="2315" y="726"/>
                  </a:cubicBezTo>
                  <a:cubicBezTo>
                    <a:pt x="2315" y="726"/>
                    <a:pt x="2315" y="726"/>
                    <a:pt x="2315" y="726"/>
                  </a:cubicBezTo>
                  <a:moveTo>
                    <a:pt x="2815" y="726"/>
                  </a:moveTo>
                  <a:cubicBezTo>
                    <a:pt x="2808" y="726"/>
                    <a:pt x="2803" y="730"/>
                    <a:pt x="2803" y="736"/>
                  </a:cubicBezTo>
                  <a:cubicBezTo>
                    <a:pt x="2804" y="742"/>
                    <a:pt x="2810" y="746"/>
                    <a:pt x="2818" y="746"/>
                  </a:cubicBezTo>
                  <a:cubicBezTo>
                    <a:pt x="2825" y="746"/>
                    <a:pt x="2831" y="741"/>
                    <a:pt x="2830" y="736"/>
                  </a:cubicBezTo>
                  <a:cubicBezTo>
                    <a:pt x="2829" y="730"/>
                    <a:pt x="2823" y="726"/>
                    <a:pt x="2816" y="726"/>
                  </a:cubicBezTo>
                  <a:cubicBezTo>
                    <a:pt x="2816" y="726"/>
                    <a:pt x="2816" y="726"/>
                    <a:pt x="2815" y="726"/>
                  </a:cubicBezTo>
                  <a:moveTo>
                    <a:pt x="2353" y="726"/>
                  </a:moveTo>
                  <a:cubicBezTo>
                    <a:pt x="2346" y="726"/>
                    <a:pt x="2340" y="730"/>
                    <a:pt x="2339" y="736"/>
                  </a:cubicBezTo>
                  <a:cubicBezTo>
                    <a:pt x="2339" y="742"/>
                    <a:pt x="2345" y="746"/>
                    <a:pt x="2352" y="746"/>
                  </a:cubicBezTo>
                  <a:cubicBezTo>
                    <a:pt x="2360" y="746"/>
                    <a:pt x="2366" y="741"/>
                    <a:pt x="2366" y="736"/>
                  </a:cubicBezTo>
                  <a:cubicBezTo>
                    <a:pt x="2367" y="730"/>
                    <a:pt x="2361" y="726"/>
                    <a:pt x="2353" y="726"/>
                  </a:cubicBezTo>
                  <a:cubicBezTo>
                    <a:pt x="2353" y="726"/>
                    <a:pt x="2353" y="726"/>
                    <a:pt x="2353" y="726"/>
                  </a:cubicBezTo>
                  <a:moveTo>
                    <a:pt x="2392" y="725"/>
                  </a:moveTo>
                  <a:cubicBezTo>
                    <a:pt x="2385" y="725"/>
                    <a:pt x="2379" y="730"/>
                    <a:pt x="2378" y="736"/>
                  </a:cubicBezTo>
                  <a:cubicBezTo>
                    <a:pt x="2378" y="741"/>
                    <a:pt x="2384" y="746"/>
                    <a:pt x="2392" y="746"/>
                  </a:cubicBezTo>
                  <a:cubicBezTo>
                    <a:pt x="2399" y="746"/>
                    <a:pt x="2405" y="741"/>
                    <a:pt x="2405" y="736"/>
                  </a:cubicBezTo>
                  <a:cubicBezTo>
                    <a:pt x="2406" y="730"/>
                    <a:pt x="2400" y="725"/>
                    <a:pt x="2392" y="725"/>
                  </a:cubicBezTo>
                  <a:cubicBezTo>
                    <a:pt x="2392" y="725"/>
                    <a:pt x="2392" y="725"/>
                    <a:pt x="2392" y="725"/>
                  </a:cubicBezTo>
                  <a:moveTo>
                    <a:pt x="2430" y="725"/>
                  </a:moveTo>
                  <a:cubicBezTo>
                    <a:pt x="2423" y="725"/>
                    <a:pt x="2417" y="730"/>
                    <a:pt x="2417" y="736"/>
                  </a:cubicBezTo>
                  <a:cubicBezTo>
                    <a:pt x="2417" y="741"/>
                    <a:pt x="2423" y="746"/>
                    <a:pt x="2430" y="746"/>
                  </a:cubicBezTo>
                  <a:cubicBezTo>
                    <a:pt x="2438" y="746"/>
                    <a:pt x="2444" y="741"/>
                    <a:pt x="2444" y="735"/>
                  </a:cubicBezTo>
                  <a:cubicBezTo>
                    <a:pt x="2444" y="730"/>
                    <a:pt x="2438" y="725"/>
                    <a:pt x="2431" y="725"/>
                  </a:cubicBezTo>
                  <a:cubicBezTo>
                    <a:pt x="2431" y="725"/>
                    <a:pt x="2431" y="725"/>
                    <a:pt x="2430" y="725"/>
                  </a:cubicBezTo>
                  <a:moveTo>
                    <a:pt x="2469" y="725"/>
                  </a:moveTo>
                  <a:cubicBezTo>
                    <a:pt x="2461" y="725"/>
                    <a:pt x="2455" y="730"/>
                    <a:pt x="2455" y="735"/>
                  </a:cubicBezTo>
                  <a:cubicBezTo>
                    <a:pt x="2455" y="741"/>
                    <a:pt x="2461" y="746"/>
                    <a:pt x="2469" y="745"/>
                  </a:cubicBezTo>
                  <a:cubicBezTo>
                    <a:pt x="2476" y="745"/>
                    <a:pt x="2482" y="741"/>
                    <a:pt x="2482" y="735"/>
                  </a:cubicBezTo>
                  <a:cubicBezTo>
                    <a:pt x="2482" y="730"/>
                    <a:pt x="2476" y="725"/>
                    <a:pt x="2469" y="725"/>
                  </a:cubicBezTo>
                  <a:cubicBezTo>
                    <a:pt x="2469" y="725"/>
                    <a:pt x="2469" y="725"/>
                    <a:pt x="2469" y="725"/>
                  </a:cubicBezTo>
                  <a:moveTo>
                    <a:pt x="2507" y="725"/>
                  </a:moveTo>
                  <a:cubicBezTo>
                    <a:pt x="2500" y="725"/>
                    <a:pt x="2494" y="729"/>
                    <a:pt x="2494" y="735"/>
                  </a:cubicBezTo>
                  <a:cubicBezTo>
                    <a:pt x="2494" y="741"/>
                    <a:pt x="2500" y="745"/>
                    <a:pt x="2507" y="745"/>
                  </a:cubicBezTo>
                  <a:cubicBezTo>
                    <a:pt x="2515" y="745"/>
                    <a:pt x="2521" y="741"/>
                    <a:pt x="2521" y="735"/>
                  </a:cubicBezTo>
                  <a:cubicBezTo>
                    <a:pt x="2521" y="729"/>
                    <a:pt x="2515" y="725"/>
                    <a:pt x="2507" y="725"/>
                  </a:cubicBezTo>
                  <a:cubicBezTo>
                    <a:pt x="2507" y="725"/>
                    <a:pt x="2507" y="725"/>
                    <a:pt x="2507" y="725"/>
                  </a:cubicBezTo>
                  <a:moveTo>
                    <a:pt x="2546" y="725"/>
                  </a:moveTo>
                  <a:cubicBezTo>
                    <a:pt x="2538" y="725"/>
                    <a:pt x="2532" y="729"/>
                    <a:pt x="2532" y="735"/>
                  </a:cubicBezTo>
                  <a:cubicBezTo>
                    <a:pt x="2533" y="741"/>
                    <a:pt x="2539" y="745"/>
                    <a:pt x="2546" y="745"/>
                  </a:cubicBezTo>
                  <a:cubicBezTo>
                    <a:pt x="2554" y="745"/>
                    <a:pt x="2560" y="740"/>
                    <a:pt x="2559" y="735"/>
                  </a:cubicBezTo>
                  <a:cubicBezTo>
                    <a:pt x="2559" y="729"/>
                    <a:pt x="2553" y="725"/>
                    <a:pt x="2546" y="725"/>
                  </a:cubicBezTo>
                  <a:cubicBezTo>
                    <a:pt x="2546" y="725"/>
                    <a:pt x="2546" y="725"/>
                    <a:pt x="2546" y="725"/>
                  </a:cubicBezTo>
                  <a:moveTo>
                    <a:pt x="2622" y="724"/>
                  </a:moveTo>
                  <a:cubicBezTo>
                    <a:pt x="2615" y="724"/>
                    <a:pt x="2609" y="729"/>
                    <a:pt x="2609" y="735"/>
                  </a:cubicBezTo>
                  <a:cubicBezTo>
                    <a:pt x="2609" y="740"/>
                    <a:pt x="2616" y="745"/>
                    <a:pt x="2623" y="745"/>
                  </a:cubicBezTo>
                  <a:cubicBezTo>
                    <a:pt x="2631" y="745"/>
                    <a:pt x="2636" y="740"/>
                    <a:pt x="2636" y="735"/>
                  </a:cubicBezTo>
                  <a:cubicBezTo>
                    <a:pt x="2636" y="729"/>
                    <a:pt x="2630" y="724"/>
                    <a:pt x="2622" y="724"/>
                  </a:cubicBezTo>
                  <a:cubicBezTo>
                    <a:pt x="2622" y="724"/>
                    <a:pt x="2622" y="724"/>
                    <a:pt x="2622" y="724"/>
                  </a:cubicBezTo>
                  <a:moveTo>
                    <a:pt x="2662" y="724"/>
                  </a:moveTo>
                  <a:cubicBezTo>
                    <a:pt x="2655" y="724"/>
                    <a:pt x="2649" y="729"/>
                    <a:pt x="2649" y="735"/>
                  </a:cubicBezTo>
                  <a:cubicBezTo>
                    <a:pt x="2650" y="740"/>
                    <a:pt x="2656" y="745"/>
                    <a:pt x="2663" y="745"/>
                  </a:cubicBezTo>
                  <a:cubicBezTo>
                    <a:pt x="2671" y="745"/>
                    <a:pt x="2677" y="740"/>
                    <a:pt x="2676" y="734"/>
                  </a:cubicBezTo>
                  <a:cubicBezTo>
                    <a:pt x="2676" y="729"/>
                    <a:pt x="2670" y="724"/>
                    <a:pt x="2662" y="724"/>
                  </a:cubicBezTo>
                  <a:cubicBezTo>
                    <a:pt x="2662" y="724"/>
                    <a:pt x="2662" y="724"/>
                    <a:pt x="2662" y="724"/>
                  </a:cubicBezTo>
                  <a:moveTo>
                    <a:pt x="2700" y="724"/>
                  </a:moveTo>
                  <a:cubicBezTo>
                    <a:pt x="2693" y="724"/>
                    <a:pt x="2687" y="729"/>
                    <a:pt x="2687" y="734"/>
                  </a:cubicBezTo>
                  <a:cubicBezTo>
                    <a:pt x="2688" y="740"/>
                    <a:pt x="2694" y="745"/>
                    <a:pt x="2702" y="745"/>
                  </a:cubicBezTo>
                  <a:cubicBezTo>
                    <a:pt x="2709" y="744"/>
                    <a:pt x="2715" y="740"/>
                    <a:pt x="2714" y="734"/>
                  </a:cubicBezTo>
                  <a:cubicBezTo>
                    <a:pt x="2714" y="729"/>
                    <a:pt x="2708" y="724"/>
                    <a:pt x="2700" y="724"/>
                  </a:cubicBezTo>
                  <a:cubicBezTo>
                    <a:pt x="2700" y="724"/>
                    <a:pt x="2700" y="724"/>
                    <a:pt x="2700" y="724"/>
                  </a:cubicBezTo>
                  <a:moveTo>
                    <a:pt x="2738" y="724"/>
                  </a:moveTo>
                  <a:cubicBezTo>
                    <a:pt x="2731" y="724"/>
                    <a:pt x="2725" y="729"/>
                    <a:pt x="2726" y="734"/>
                  </a:cubicBezTo>
                  <a:cubicBezTo>
                    <a:pt x="2726" y="740"/>
                    <a:pt x="2733" y="744"/>
                    <a:pt x="2740" y="744"/>
                  </a:cubicBezTo>
                  <a:cubicBezTo>
                    <a:pt x="2748" y="744"/>
                    <a:pt x="2753" y="740"/>
                    <a:pt x="2753" y="734"/>
                  </a:cubicBezTo>
                  <a:cubicBezTo>
                    <a:pt x="2752" y="728"/>
                    <a:pt x="2746" y="724"/>
                    <a:pt x="2738" y="724"/>
                  </a:cubicBezTo>
                  <a:cubicBezTo>
                    <a:pt x="2738" y="724"/>
                    <a:pt x="2738" y="724"/>
                    <a:pt x="2738" y="724"/>
                  </a:cubicBezTo>
                  <a:moveTo>
                    <a:pt x="2777" y="723"/>
                  </a:moveTo>
                  <a:cubicBezTo>
                    <a:pt x="2769" y="723"/>
                    <a:pt x="2764" y="728"/>
                    <a:pt x="2764" y="734"/>
                  </a:cubicBezTo>
                  <a:cubicBezTo>
                    <a:pt x="2765" y="739"/>
                    <a:pt x="2771" y="744"/>
                    <a:pt x="2779" y="744"/>
                  </a:cubicBezTo>
                  <a:cubicBezTo>
                    <a:pt x="2786" y="744"/>
                    <a:pt x="2792" y="739"/>
                    <a:pt x="2791" y="733"/>
                  </a:cubicBezTo>
                  <a:cubicBezTo>
                    <a:pt x="2791" y="728"/>
                    <a:pt x="2784" y="723"/>
                    <a:pt x="2777" y="723"/>
                  </a:cubicBezTo>
                  <a:cubicBezTo>
                    <a:pt x="2777" y="723"/>
                    <a:pt x="2777" y="723"/>
                    <a:pt x="2777" y="723"/>
                  </a:cubicBezTo>
                  <a:moveTo>
                    <a:pt x="2890" y="723"/>
                  </a:moveTo>
                  <a:cubicBezTo>
                    <a:pt x="2882" y="723"/>
                    <a:pt x="2877" y="728"/>
                    <a:pt x="2878" y="733"/>
                  </a:cubicBezTo>
                  <a:cubicBezTo>
                    <a:pt x="2878" y="739"/>
                    <a:pt x="2885" y="744"/>
                    <a:pt x="2892" y="744"/>
                  </a:cubicBezTo>
                  <a:cubicBezTo>
                    <a:pt x="2900" y="744"/>
                    <a:pt x="2905" y="739"/>
                    <a:pt x="2905" y="733"/>
                  </a:cubicBezTo>
                  <a:cubicBezTo>
                    <a:pt x="2904" y="728"/>
                    <a:pt x="2897" y="723"/>
                    <a:pt x="2890" y="723"/>
                  </a:cubicBezTo>
                  <a:cubicBezTo>
                    <a:pt x="2890" y="723"/>
                    <a:pt x="2890" y="723"/>
                    <a:pt x="2890" y="723"/>
                  </a:cubicBezTo>
                  <a:moveTo>
                    <a:pt x="2928" y="723"/>
                  </a:moveTo>
                  <a:cubicBezTo>
                    <a:pt x="2921" y="723"/>
                    <a:pt x="2915" y="728"/>
                    <a:pt x="2916" y="733"/>
                  </a:cubicBezTo>
                  <a:cubicBezTo>
                    <a:pt x="2917" y="739"/>
                    <a:pt x="2924" y="743"/>
                    <a:pt x="2931" y="743"/>
                  </a:cubicBezTo>
                  <a:cubicBezTo>
                    <a:pt x="2939" y="743"/>
                    <a:pt x="2944" y="739"/>
                    <a:pt x="2943" y="733"/>
                  </a:cubicBezTo>
                  <a:cubicBezTo>
                    <a:pt x="2942" y="727"/>
                    <a:pt x="2936" y="723"/>
                    <a:pt x="2928" y="723"/>
                  </a:cubicBezTo>
                  <a:cubicBezTo>
                    <a:pt x="2928" y="723"/>
                    <a:pt x="2928" y="723"/>
                    <a:pt x="2928" y="723"/>
                  </a:cubicBezTo>
                  <a:moveTo>
                    <a:pt x="2967" y="723"/>
                  </a:moveTo>
                  <a:cubicBezTo>
                    <a:pt x="2960" y="723"/>
                    <a:pt x="2954" y="727"/>
                    <a:pt x="2955" y="733"/>
                  </a:cubicBezTo>
                  <a:cubicBezTo>
                    <a:pt x="2956" y="739"/>
                    <a:pt x="2963" y="743"/>
                    <a:pt x="2970" y="743"/>
                  </a:cubicBezTo>
                  <a:cubicBezTo>
                    <a:pt x="2978" y="743"/>
                    <a:pt x="2983" y="738"/>
                    <a:pt x="2982" y="733"/>
                  </a:cubicBezTo>
                  <a:cubicBezTo>
                    <a:pt x="2981" y="727"/>
                    <a:pt x="2974" y="723"/>
                    <a:pt x="2967" y="723"/>
                  </a:cubicBezTo>
                  <a:cubicBezTo>
                    <a:pt x="2967" y="723"/>
                    <a:pt x="2967" y="723"/>
                    <a:pt x="2967" y="723"/>
                  </a:cubicBezTo>
                  <a:moveTo>
                    <a:pt x="3005" y="722"/>
                  </a:moveTo>
                  <a:cubicBezTo>
                    <a:pt x="2998" y="723"/>
                    <a:pt x="2993" y="727"/>
                    <a:pt x="2994" y="733"/>
                  </a:cubicBezTo>
                  <a:cubicBezTo>
                    <a:pt x="2995" y="738"/>
                    <a:pt x="3001" y="743"/>
                    <a:pt x="3009" y="743"/>
                  </a:cubicBezTo>
                  <a:cubicBezTo>
                    <a:pt x="3016" y="743"/>
                    <a:pt x="3022" y="738"/>
                    <a:pt x="3021" y="733"/>
                  </a:cubicBezTo>
                  <a:cubicBezTo>
                    <a:pt x="3019" y="727"/>
                    <a:pt x="3013" y="722"/>
                    <a:pt x="3005" y="722"/>
                  </a:cubicBezTo>
                  <a:cubicBezTo>
                    <a:pt x="3005" y="722"/>
                    <a:pt x="3005" y="722"/>
                    <a:pt x="3005" y="722"/>
                  </a:cubicBezTo>
                  <a:moveTo>
                    <a:pt x="3044" y="722"/>
                  </a:moveTo>
                  <a:cubicBezTo>
                    <a:pt x="3036" y="722"/>
                    <a:pt x="3031" y="727"/>
                    <a:pt x="3032" y="733"/>
                  </a:cubicBezTo>
                  <a:cubicBezTo>
                    <a:pt x="3033" y="738"/>
                    <a:pt x="3040" y="743"/>
                    <a:pt x="3048" y="743"/>
                  </a:cubicBezTo>
                  <a:cubicBezTo>
                    <a:pt x="3055" y="743"/>
                    <a:pt x="3060" y="738"/>
                    <a:pt x="3059" y="732"/>
                  </a:cubicBezTo>
                  <a:cubicBezTo>
                    <a:pt x="3058" y="727"/>
                    <a:pt x="3051" y="722"/>
                    <a:pt x="3044" y="722"/>
                  </a:cubicBezTo>
                  <a:cubicBezTo>
                    <a:pt x="3044" y="722"/>
                    <a:pt x="3044" y="722"/>
                    <a:pt x="3044" y="722"/>
                  </a:cubicBezTo>
                  <a:moveTo>
                    <a:pt x="3160" y="722"/>
                  </a:moveTo>
                  <a:cubicBezTo>
                    <a:pt x="3153" y="722"/>
                    <a:pt x="3148" y="726"/>
                    <a:pt x="3149" y="732"/>
                  </a:cubicBezTo>
                  <a:cubicBezTo>
                    <a:pt x="3150" y="738"/>
                    <a:pt x="3157" y="742"/>
                    <a:pt x="3165" y="742"/>
                  </a:cubicBezTo>
                  <a:cubicBezTo>
                    <a:pt x="3172" y="742"/>
                    <a:pt x="3177" y="738"/>
                    <a:pt x="3176" y="732"/>
                  </a:cubicBezTo>
                  <a:cubicBezTo>
                    <a:pt x="3174" y="726"/>
                    <a:pt x="3167" y="722"/>
                    <a:pt x="3160" y="722"/>
                  </a:cubicBezTo>
                  <a:cubicBezTo>
                    <a:pt x="3160" y="722"/>
                    <a:pt x="3160" y="722"/>
                    <a:pt x="3160" y="722"/>
                  </a:cubicBezTo>
                  <a:moveTo>
                    <a:pt x="3082" y="722"/>
                  </a:moveTo>
                  <a:cubicBezTo>
                    <a:pt x="3074" y="722"/>
                    <a:pt x="3069" y="726"/>
                    <a:pt x="3070" y="732"/>
                  </a:cubicBezTo>
                  <a:cubicBezTo>
                    <a:pt x="3071" y="738"/>
                    <a:pt x="3078" y="742"/>
                    <a:pt x="3086" y="742"/>
                  </a:cubicBezTo>
                  <a:cubicBezTo>
                    <a:pt x="3093" y="742"/>
                    <a:pt x="3098" y="737"/>
                    <a:pt x="3097" y="732"/>
                  </a:cubicBezTo>
                  <a:cubicBezTo>
                    <a:pt x="3096" y="726"/>
                    <a:pt x="3089" y="722"/>
                    <a:pt x="3082" y="722"/>
                  </a:cubicBezTo>
                  <a:cubicBezTo>
                    <a:pt x="3082" y="722"/>
                    <a:pt x="3082" y="722"/>
                    <a:pt x="3082" y="722"/>
                  </a:cubicBezTo>
                  <a:moveTo>
                    <a:pt x="3198" y="722"/>
                  </a:moveTo>
                  <a:cubicBezTo>
                    <a:pt x="3191" y="722"/>
                    <a:pt x="3186" y="726"/>
                    <a:pt x="3187" y="732"/>
                  </a:cubicBezTo>
                  <a:cubicBezTo>
                    <a:pt x="3189" y="738"/>
                    <a:pt x="3196" y="742"/>
                    <a:pt x="3203" y="742"/>
                  </a:cubicBezTo>
                  <a:cubicBezTo>
                    <a:pt x="3211" y="742"/>
                    <a:pt x="3216" y="737"/>
                    <a:pt x="3214" y="732"/>
                  </a:cubicBezTo>
                  <a:cubicBezTo>
                    <a:pt x="3213" y="726"/>
                    <a:pt x="3206" y="722"/>
                    <a:pt x="3198" y="722"/>
                  </a:cubicBezTo>
                  <a:cubicBezTo>
                    <a:pt x="3198" y="722"/>
                    <a:pt x="3198" y="722"/>
                    <a:pt x="3198" y="722"/>
                  </a:cubicBezTo>
                  <a:moveTo>
                    <a:pt x="3120" y="721"/>
                  </a:moveTo>
                  <a:cubicBezTo>
                    <a:pt x="3113" y="721"/>
                    <a:pt x="3108" y="726"/>
                    <a:pt x="3109" y="732"/>
                  </a:cubicBezTo>
                  <a:cubicBezTo>
                    <a:pt x="3110" y="737"/>
                    <a:pt x="3117" y="742"/>
                    <a:pt x="3125" y="742"/>
                  </a:cubicBezTo>
                  <a:cubicBezTo>
                    <a:pt x="3132" y="742"/>
                    <a:pt x="3137" y="737"/>
                    <a:pt x="3136" y="732"/>
                  </a:cubicBezTo>
                  <a:cubicBezTo>
                    <a:pt x="3135" y="726"/>
                    <a:pt x="3128" y="721"/>
                    <a:pt x="3120" y="721"/>
                  </a:cubicBezTo>
                  <a:cubicBezTo>
                    <a:pt x="3120" y="721"/>
                    <a:pt x="3120" y="721"/>
                    <a:pt x="3120" y="721"/>
                  </a:cubicBezTo>
                  <a:moveTo>
                    <a:pt x="3699" y="721"/>
                  </a:moveTo>
                  <a:cubicBezTo>
                    <a:pt x="3691" y="721"/>
                    <a:pt x="3687" y="726"/>
                    <a:pt x="3690" y="732"/>
                  </a:cubicBezTo>
                  <a:cubicBezTo>
                    <a:pt x="3692" y="737"/>
                    <a:pt x="3700" y="742"/>
                    <a:pt x="3707" y="742"/>
                  </a:cubicBezTo>
                  <a:cubicBezTo>
                    <a:pt x="3715" y="742"/>
                    <a:pt x="3719" y="737"/>
                    <a:pt x="3717" y="732"/>
                  </a:cubicBezTo>
                  <a:cubicBezTo>
                    <a:pt x="3714" y="726"/>
                    <a:pt x="3706" y="721"/>
                    <a:pt x="3699" y="721"/>
                  </a:cubicBezTo>
                  <a:cubicBezTo>
                    <a:pt x="3699" y="721"/>
                    <a:pt x="3699" y="721"/>
                    <a:pt x="3699" y="721"/>
                  </a:cubicBezTo>
                  <a:moveTo>
                    <a:pt x="3237" y="721"/>
                  </a:moveTo>
                  <a:cubicBezTo>
                    <a:pt x="3229" y="721"/>
                    <a:pt x="3224" y="726"/>
                    <a:pt x="3226" y="732"/>
                  </a:cubicBezTo>
                  <a:cubicBezTo>
                    <a:pt x="3227" y="737"/>
                    <a:pt x="3234" y="742"/>
                    <a:pt x="3242" y="742"/>
                  </a:cubicBezTo>
                  <a:cubicBezTo>
                    <a:pt x="3249" y="742"/>
                    <a:pt x="3254" y="737"/>
                    <a:pt x="3253" y="732"/>
                  </a:cubicBezTo>
                  <a:cubicBezTo>
                    <a:pt x="3251" y="726"/>
                    <a:pt x="3244" y="721"/>
                    <a:pt x="3237" y="721"/>
                  </a:cubicBezTo>
                  <a:cubicBezTo>
                    <a:pt x="3237" y="721"/>
                    <a:pt x="3237" y="721"/>
                    <a:pt x="3237" y="721"/>
                  </a:cubicBezTo>
                  <a:moveTo>
                    <a:pt x="3737" y="721"/>
                  </a:moveTo>
                  <a:cubicBezTo>
                    <a:pt x="3730" y="721"/>
                    <a:pt x="3726" y="726"/>
                    <a:pt x="3728" y="732"/>
                  </a:cubicBezTo>
                  <a:cubicBezTo>
                    <a:pt x="3730" y="737"/>
                    <a:pt x="3738" y="742"/>
                    <a:pt x="3746" y="742"/>
                  </a:cubicBezTo>
                  <a:cubicBezTo>
                    <a:pt x="3753" y="742"/>
                    <a:pt x="3757" y="737"/>
                    <a:pt x="3755" y="731"/>
                  </a:cubicBezTo>
                  <a:cubicBezTo>
                    <a:pt x="3753" y="726"/>
                    <a:pt x="3745" y="721"/>
                    <a:pt x="3737" y="721"/>
                  </a:cubicBezTo>
                  <a:cubicBezTo>
                    <a:pt x="3737" y="721"/>
                    <a:pt x="3737" y="721"/>
                    <a:pt x="3737" y="721"/>
                  </a:cubicBezTo>
                  <a:moveTo>
                    <a:pt x="3275" y="721"/>
                  </a:moveTo>
                  <a:cubicBezTo>
                    <a:pt x="3268" y="721"/>
                    <a:pt x="3263" y="726"/>
                    <a:pt x="3265" y="731"/>
                  </a:cubicBezTo>
                  <a:cubicBezTo>
                    <a:pt x="3266" y="737"/>
                    <a:pt x="3274" y="742"/>
                    <a:pt x="3281" y="742"/>
                  </a:cubicBezTo>
                  <a:cubicBezTo>
                    <a:pt x="3289" y="742"/>
                    <a:pt x="3293" y="737"/>
                    <a:pt x="3292" y="731"/>
                  </a:cubicBezTo>
                  <a:cubicBezTo>
                    <a:pt x="3290" y="726"/>
                    <a:pt x="3283" y="721"/>
                    <a:pt x="3276" y="721"/>
                  </a:cubicBezTo>
                  <a:cubicBezTo>
                    <a:pt x="3276" y="721"/>
                    <a:pt x="3275" y="721"/>
                    <a:pt x="3275" y="721"/>
                  </a:cubicBezTo>
                  <a:moveTo>
                    <a:pt x="3776" y="721"/>
                  </a:moveTo>
                  <a:cubicBezTo>
                    <a:pt x="3768" y="721"/>
                    <a:pt x="3764" y="726"/>
                    <a:pt x="3767" y="731"/>
                  </a:cubicBezTo>
                  <a:cubicBezTo>
                    <a:pt x="3769" y="737"/>
                    <a:pt x="3777" y="742"/>
                    <a:pt x="3785" y="742"/>
                  </a:cubicBezTo>
                  <a:cubicBezTo>
                    <a:pt x="3792" y="742"/>
                    <a:pt x="3796" y="737"/>
                    <a:pt x="3794" y="731"/>
                  </a:cubicBezTo>
                  <a:cubicBezTo>
                    <a:pt x="3791" y="726"/>
                    <a:pt x="3783" y="721"/>
                    <a:pt x="3776" y="721"/>
                  </a:cubicBezTo>
                  <a:cubicBezTo>
                    <a:pt x="3776" y="721"/>
                    <a:pt x="3776" y="721"/>
                    <a:pt x="3776" y="721"/>
                  </a:cubicBezTo>
                  <a:moveTo>
                    <a:pt x="3314" y="721"/>
                  </a:moveTo>
                  <a:cubicBezTo>
                    <a:pt x="3306" y="721"/>
                    <a:pt x="3301" y="726"/>
                    <a:pt x="3303" y="731"/>
                  </a:cubicBezTo>
                  <a:cubicBezTo>
                    <a:pt x="3305" y="737"/>
                    <a:pt x="3312" y="741"/>
                    <a:pt x="3320" y="741"/>
                  </a:cubicBezTo>
                  <a:cubicBezTo>
                    <a:pt x="3327" y="741"/>
                    <a:pt x="3332" y="737"/>
                    <a:pt x="3330" y="731"/>
                  </a:cubicBezTo>
                  <a:cubicBezTo>
                    <a:pt x="3328" y="725"/>
                    <a:pt x="3321" y="721"/>
                    <a:pt x="3314" y="721"/>
                  </a:cubicBezTo>
                  <a:cubicBezTo>
                    <a:pt x="3314" y="721"/>
                    <a:pt x="3314" y="721"/>
                    <a:pt x="3314" y="721"/>
                  </a:cubicBezTo>
                  <a:moveTo>
                    <a:pt x="3816" y="721"/>
                  </a:moveTo>
                  <a:cubicBezTo>
                    <a:pt x="3809" y="721"/>
                    <a:pt x="3805" y="725"/>
                    <a:pt x="3808" y="731"/>
                  </a:cubicBezTo>
                  <a:cubicBezTo>
                    <a:pt x="3810" y="737"/>
                    <a:pt x="3818" y="741"/>
                    <a:pt x="3826" y="741"/>
                  </a:cubicBezTo>
                  <a:cubicBezTo>
                    <a:pt x="3833" y="741"/>
                    <a:pt x="3837" y="737"/>
                    <a:pt x="3835" y="731"/>
                  </a:cubicBezTo>
                  <a:cubicBezTo>
                    <a:pt x="3832" y="725"/>
                    <a:pt x="3824" y="721"/>
                    <a:pt x="3816" y="721"/>
                  </a:cubicBezTo>
                  <a:cubicBezTo>
                    <a:pt x="3816" y="721"/>
                    <a:pt x="3816" y="721"/>
                    <a:pt x="3816" y="721"/>
                  </a:cubicBezTo>
                  <a:moveTo>
                    <a:pt x="3352" y="721"/>
                  </a:moveTo>
                  <a:cubicBezTo>
                    <a:pt x="3345" y="721"/>
                    <a:pt x="3340" y="725"/>
                    <a:pt x="3342" y="731"/>
                  </a:cubicBezTo>
                  <a:cubicBezTo>
                    <a:pt x="3343" y="737"/>
                    <a:pt x="3351" y="741"/>
                    <a:pt x="3358" y="741"/>
                  </a:cubicBezTo>
                  <a:cubicBezTo>
                    <a:pt x="3366" y="741"/>
                    <a:pt x="3370" y="737"/>
                    <a:pt x="3369" y="731"/>
                  </a:cubicBezTo>
                  <a:cubicBezTo>
                    <a:pt x="3367" y="725"/>
                    <a:pt x="3360" y="721"/>
                    <a:pt x="3352" y="721"/>
                  </a:cubicBezTo>
                  <a:cubicBezTo>
                    <a:pt x="3352" y="721"/>
                    <a:pt x="3352" y="721"/>
                    <a:pt x="3352" y="721"/>
                  </a:cubicBezTo>
                  <a:moveTo>
                    <a:pt x="3854" y="721"/>
                  </a:moveTo>
                  <a:cubicBezTo>
                    <a:pt x="3847" y="721"/>
                    <a:pt x="3843" y="725"/>
                    <a:pt x="3846" y="731"/>
                  </a:cubicBezTo>
                  <a:cubicBezTo>
                    <a:pt x="3848" y="737"/>
                    <a:pt x="3856" y="741"/>
                    <a:pt x="3864" y="741"/>
                  </a:cubicBezTo>
                  <a:cubicBezTo>
                    <a:pt x="3871" y="741"/>
                    <a:pt x="3875" y="736"/>
                    <a:pt x="3873" y="731"/>
                  </a:cubicBezTo>
                  <a:cubicBezTo>
                    <a:pt x="3870" y="725"/>
                    <a:pt x="3862" y="721"/>
                    <a:pt x="3854" y="721"/>
                  </a:cubicBezTo>
                  <a:cubicBezTo>
                    <a:pt x="3854" y="721"/>
                    <a:pt x="3854" y="721"/>
                    <a:pt x="3854" y="721"/>
                  </a:cubicBezTo>
                  <a:moveTo>
                    <a:pt x="3390" y="721"/>
                  </a:moveTo>
                  <a:cubicBezTo>
                    <a:pt x="3383" y="721"/>
                    <a:pt x="3378" y="725"/>
                    <a:pt x="3380" y="731"/>
                  </a:cubicBezTo>
                  <a:cubicBezTo>
                    <a:pt x="3382" y="737"/>
                    <a:pt x="3389" y="741"/>
                    <a:pt x="3397" y="741"/>
                  </a:cubicBezTo>
                  <a:cubicBezTo>
                    <a:pt x="3404" y="741"/>
                    <a:pt x="3409" y="736"/>
                    <a:pt x="3407" y="731"/>
                  </a:cubicBezTo>
                  <a:cubicBezTo>
                    <a:pt x="3405" y="725"/>
                    <a:pt x="3398" y="721"/>
                    <a:pt x="3390" y="721"/>
                  </a:cubicBezTo>
                  <a:cubicBezTo>
                    <a:pt x="3390" y="721"/>
                    <a:pt x="3390" y="721"/>
                    <a:pt x="3390" y="721"/>
                  </a:cubicBezTo>
                  <a:moveTo>
                    <a:pt x="3892" y="720"/>
                  </a:moveTo>
                  <a:cubicBezTo>
                    <a:pt x="3885" y="720"/>
                    <a:pt x="3881" y="725"/>
                    <a:pt x="3884" y="731"/>
                  </a:cubicBezTo>
                  <a:cubicBezTo>
                    <a:pt x="3887" y="736"/>
                    <a:pt x="3895" y="741"/>
                    <a:pt x="3902" y="741"/>
                  </a:cubicBezTo>
                  <a:cubicBezTo>
                    <a:pt x="3910" y="741"/>
                    <a:pt x="3914" y="736"/>
                    <a:pt x="3911" y="731"/>
                  </a:cubicBezTo>
                  <a:cubicBezTo>
                    <a:pt x="3908" y="725"/>
                    <a:pt x="3900" y="720"/>
                    <a:pt x="3892" y="720"/>
                  </a:cubicBezTo>
                  <a:cubicBezTo>
                    <a:pt x="3892" y="720"/>
                    <a:pt x="3892" y="720"/>
                    <a:pt x="3892" y="720"/>
                  </a:cubicBezTo>
                  <a:moveTo>
                    <a:pt x="3429" y="720"/>
                  </a:moveTo>
                  <a:cubicBezTo>
                    <a:pt x="3421" y="720"/>
                    <a:pt x="3417" y="725"/>
                    <a:pt x="3419" y="731"/>
                  </a:cubicBezTo>
                  <a:cubicBezTo>
                    <a:pt x="3420" y="736"/>
                    <a:pt x="3428" y="741"/>
                    <a:pt x="3435" y="741"/>
                  </a:cubicBezTo>
                  <a:cubicBezTo>
                    <a:pt x="3443" y="741"/>
                    <a:pt x="3447" y="736"/>
                    <a:pt x="3446" y="731"/>
                  </a:cubicBezTo>
                  <a:cubicBezTo>
                    <a:pt x="3444" y="725"/>
                    <a:pt x="3436" y="720"/>
                    <a:pt x="3429" y="720"/>
                  </a:cubicBezTo>
                  <a:cubicBezTo>
                    <a:pt x="3429" y="720"/>
                    <a:pt x="3429" y="720"/>
                    <a:pt x="3429" y="720"/>
                  </a:cubicBezTo>
                  <a:moveTo>
                    <a:pt x="3931" y="720"/>
                  </a:moveTo>
                  <a:cubicBezTo>
                    <a:pt x="3923" y="720"/>
                    <a:pt x="3920" y="725"/>
                    <a:pt x="3923" y="731"/>
                  </a:cubicBezTo>
                  <a:cubicBezTo>
                    <a:pt x="3925" y="736"/>
                    <a:pt x="3934" y="741"/>
                    <a:pt x="3941" y="741"/>
                  </a:cubicBezTo>
                  <a:cubicBezTo>
                    <a:pt x="3949" y="741"/>
                    <a:pt x="3952" y="736"/>
                    <a:pt x="3950" y="730"/>
                  </a:cubicBezTo>
                  <a:cubicBezTo>
                    <a:pt x="3947" y="725"/>
                    <a:pt x="3938" y="720"/>
                    <a:pt x="3931" y="720"/>
                  </a:cubicBezTo>
                  <a:cubicBezTo>
                    <a:pt x="3931" y="720"/>
                    <a:pt x="3931" y="720"/>
                    <a:pt x="3931" y="720"/>
                  </a:cubicBezTo>
                  <a:moveTo>
                    <a:pt x="3468" y="720"/>
                  </a:moveTo>
                  <a:cubicBezTo>
                    <a:pt x="3460" y="720"/>
                    <a:pt x="3456" y="725"/>
                    <a:pt x="3458" y="730"/>
                  </a:cubicBezTo>
                  <a:cubicBezTo>
                    <a:pt x="3459" y="736"/>
                    <a:pt x="3467" y="741"/>
                    <a:pt x="3474" y="741"/>
                  </a:cubicBezTo>
                  <a:cubicBezTo>
                    <a:pt x="3482" y="741"/>
                    <a:pt x="3486" y="736"/>
                    <a:pt x="3484" y="730"/>
                  </a:cubicBezTo>
                  <a:cubicBezTo>
                    <a:pt x="3483" y="725"/>
                    <a:pt x="3475" y="720"/>
                    <a:pt x="3468" y="720"/>
                  </a:cubicBezTo>
                  <a:cubicBezTo>
                    <a:pt x="3468" y="720"/>
                    <a:pt x="3468" y="720"/>
                    <a:pt x="3468" y="720"/>
                  </a:cubicBezTo>
                  <a:moveTo>
                    <a:pt x="3970" y="720"/>
                  </a:moveTo>
                  <a:cubicBezTo>
                    <a:pt x="3962" y="720"/>
                    <a:pt x="3959" y="725"/>
                    <a:pt x="3961" y="730"/>
                  </a:cubicBezTo>
                  <a:cubicBezTo>
                    <a:pt x="3964" y="736"/>
                    <a:pt x="3973" y="741"/>
                    <a:pt x="3980" y="741"/>
                  </a:cubicBezTo>
                  <a:cubicBezTo>
                    <a:pt x="3988" y="741"/>
                    <a:pt x="3991" y="736"/>
                    <a:pt x="3988" y="730"/>
                  </a:cubicBezTo>
                  <a:cubicBezTo>
                    <a:pt x="3986" y="725"/>
                    <a:pt x="3977" y="720"/>
                    <a:pt x="3970" y="720"/>
                  </a:cubicBezTo>
                  <a:cubicBezTo>
                    <a:pt x="3970" y="720"/>
                    <a:pt x="3970" y="720"/>
                    <a:pt x="3970" y="720"/>
                  </a:cubicBezTo>
                  <a:moveTo>
                    <a:pt x="3506" y="720"/>
                  </a:moveTo>
                  <a:cubicBezTo>
                    <a:pt x="3498" y="720"/>
                    <a:pt x="3494" y="725"/>
                    <a:pt x="3496" y="730"/>
                  </a:cubicBezTo>
                  <a:cubicBezTo>
                    <a:pt x="3498" y="736"/>
                    <a:pt x="3505" y="741"/>
                    <a:pt x="3513" y="740"/>
                  </a:cubicBezTo>
                  <a:cubicBezTo>
                    <a:pt x="3520" y="740"/>
                    <a:pt x="3525" y="736"/>
                    <a:pt x="3523" y="730"/>
                  </a:cubicBezTo>
                  <a:cubicBezTo>
                    <a:pt x="3521" y="725"/>
                    <a:pt x="3513" y="720"/>
                    <a:pt x="3506" y="720"/>
                  </a:cubicBezTo>
                  <a:cubicBezTo>
                    <a:pt x="3506" y="720"/>
                    <a:pt x="3506" y="720"/>
                    <a:pt x="3506" y="720"/>
                  </a:cubicBezTo>
                  <a:moveTo>
                    <a:pt x="4008" y="720"/>
                  </a:moveTo>
                  <a:cubicBezTo>
                    <a:pt x="4000" y="720"/>
                    <a:pt x="3997" y="724"/>
                    <a:pt x="4000" y="730"/>
                  </a:cubicBezTo>
                  <a:cubicBezTo>
                    <a:pt x="4003" y="736"/>
                    <a:pt x="4011" y="740"/>
                    <a:pt x="4019" y="740"/>
                  </a:cubicBezTo>
                  <a:cubicBezTo>
                    <a:pt x="4026" y="740"/>
                    <a:pt x="4030" y="736"/>
                    <a:pt x="4027" y="730"/>
                  </a:cubicBezTo>
                  <a:cubicBezTo>
                    <a:pt x="4024" y="724"/>
                    <a:pt x="4015" y="720"/>
                    <a:pt x="4008" y="720"/>
                  </a:cubicBezTo>
                  <a:cubicBezTo>
                    <a:pt x="4008" y="720"/>
                    <a:pt x="4008" y="720"/>
                    <a:pt x="4008" y="720"/>
                  </a:cubicBezTo>
                  <a:moveTo>
                    <a:pt x="3544" y="720"/>
                  </a:moveTo>
                  <a:cubicBezTo>
                    <a:pt x="3537" y="720"/>
                    <a:pt x="3532" y="724"/>
                    <a:pt x="3534" y="730"/>
                  </a:cubicBezTo>
                  <a:cubicBezTo>
                    <a:pt x="3536" y="736"/>
                    <a:pt x="3544" y="740"/>
                    <a:pt x="3552" y="740"/>
                  </a:cubicBezTo>
                  <a:cubicBezTo>
                    <a:pt x="3559" y="740"/>
                    <a:pt x="3563" y="736"/>
                    <a:pt x="3561" y="730"/>
                  </a:cubicBezTo>
                  <a:cubicBezTo>
                    <a:pt x="3559" y="724"/>
                    <a:pt x="3552" y="720"/>
                    <a:pt x="3544" y="720"/>
                  </a:cubicBezTo>
                  <a:cubicBezTo>
                    <a:pt x="3544" y="720"/>
                    <a:pt x="3544" y="720"/>
                    <a:pt x="3544" y="720"/>
                  </a:cubicBezTo>
                  <a:moveTo>
                    <a:pt x="4045" y="720"/>
                  </a:moveTo>
                  <a:cubicBezTo>
                    <a:pt x="4038" y="720"/>
                    <a:pt x="4034" y="724"/>
                    <a:pt x="4037" y="730"/>
                  </a:cubicBezTo>
                  <a:cubicBezTo>
                    <a:pt x="4040" y="736"/>
                    <a:pt x="4049" y="740"/>
                    <a:pt x="4056" y="740"/>
                  </a:cubicBezTo>
                  <a:cubicBezTo>
                    <a:pt x="4064" y="740"/>
                    <a:pt x="4067" y="736"/>
                    <a:pt x="4064" y="730"/>
                  </a:cubicBezTo>
                  <a:cubicBezTo>
                    <a:pt x="4061" y="724"/>
                    <a:pt x="4053" y="720"/>
                    <a:pt x="4045" y="720"/>
                  </a:cubicBezTo>
                  <a:cubicBezTo>
                    <a:pt x="4045" y="720"/>
                    <a:pt x="4045" y="720"/>
                    <a:pt x="4045" y="720"/>
                  </a:cubicBezTo>
                  <a:moveTo>
                    <a:pt x="3582" y="720"/>
                  </a:moveTo>
                  <a:cubicBezTo>
                    <a:pt x="3575" y="720"/>
                    <a:pt x="3571" y="724"/>
                    <a:pt x="3573" y="730"/>
                  </a:cubicBezTo>
                  <a:cubicBezTo>
                    <a:pt x="3575" y="736"/>
                    <a:pt x="3583" y="740"/>
                    <a:pt x="3590" y="740"/>
                  </a:cubicBezTo>
                  <a:cubicBezTo>
                    <a:pt x="3597" y="740"/>
                    <a:pt x="3602" y="735"/>
                    <a:pt x="3600" y="730"/>
                  </a:cubicBezTo>
                  <a:cubicBezTo>
                    <a:pt x="3597" y="724"/>
                    <a:pt x="3590" y="720"/>
                    <a:pt x="3582" y="720"/>
                  </a:cubicBezTo>
                  <a:cubicBezTo>
                    <a:pt x="3582" y="720"/>
                    <a:pt x="3582" y="720"/>
                    <a:pt x="3582" y="720"/>
                  </a:cubicBezTo>
                  <a:moveTo>
                    <a:pt x="3621" y="719"/>
                  </a:moveTo>
                  <a:cubicBezTo>
                    <a:pt x="3613" y="719"/>
                    <a:pt x="3609" y="724"/>
                    <a:pt x="3611" y="730"/>
                  </a:cubicBezTo>
                  <a:cubicBezTo>
                    <a:pt x="3613" y="735"/>
                    <a:pt x="3621" y="740"/>
                    <a:pt x="3629" y="740"/>
                  </a:cubicBezTo>
                  <a:cubicBezTo>
                    <a:pt x="3636" y="740"/>
                    <a:pt x="3640" y="735"/>
                    <a:pt x="3638" y="730"/>
                  </a:cubicBezTo>
                  <a:cubicBezTo>
                    <a:pt x="3636" y="724"/>
                    <a:pt x="3628" y="719"/>
                    <a:pt x="3621" y="719"/>
                  </a:cubicBezTo>
                  <a:cubicBezTo>
                    <a:pt x="3621" y="719"/>
                    <a:pt x="3621" y="719"/>
                    <a:pt x="3621" y="719"/>
                  </a:cubicBezTo>
                  <a:moveTo>
                    <a:pt x="3660" y="719"/>
                  </a:moveTo>
                  <a:cubicBezTo>
                    <a:pt x="3652" y="719"/>
                    <a:pt x="3648" y="724"/>
                    <a:pt x="3650" y="730"/>
                  </a:cubicBezTo>
                  <a:cubicBezTo>
                    <a:pt x="3652" y="735"/>
                    <a:pt x="3660" y="740"/>
                    <a:pt x="3668" y="740"/>
                  </a:cubicBezTo>
                  <a:cubicBezTo>
                    <a:pt x="3675" y="740"/>
                    <a:pt x="3679" y="735"/>
                    <a:pt x="3677" y="729"/>
                  </a:cubicBezTo>
                  <a:cubicBezTo>
                    <a:pt x="3675" y="724"/>
                    <a:pt x="3667" y="719"/>
                    <a:pt x="3660" y="719"/>
                  </a:cubicBezTo>
                  <a:cubicBezTo>
                    <a:pt x="3660" y="719"/>
                    <a:pt x="3660" y="719"/>
                    <a:pt x="3660" y="719"/>
                  </a:cubicBezTo>
                  <a:moveTo>
                    <a:pt x="61" y="710"/>
                  </a:moveTo>
                  <a:cubicBezTo>
                    <a:pt x="54" y="710"/>
                    <a:pt x="44" y="715"/>
                    <a:pt x="39" y="720"/>
                  </a:cubicBezTo>
                  <a:cubicBezTo>
                    <a:pt x="35" y="726"/>
                    <a:pt x="37" y="730"/>
                    <a:pt x="44" y="730"/>
                  </a:cubicBezTo>
                  <a:cubicBezTo>
                    <a:pt x="52" y="730"/>
                    <a:pt x="61" y="726"/>
                    <a:pt x="66" y="720"/>
                  </a:cubicBezTo>
                  <a:cubicBezTo>
                    <a:pt x="71" y="715"/>
                    <a:pt x="69" y="710"/>
                    <a:pt x="61" y="710"/>
                  </a:cubicBezTo>
                  <a:cubicBezTo>
                    <a:pt x="61" y="710"/>
                    <a:pt x="61" y="710"/>
                    <a:pt x="61" y="710"/>
                  </a:cubicBezTo>
                  <a:moveTo>
                    <a:pt x="100" y="710"/>
                  </a:moveTo>
                  <a:cubicBezTo>
                    <a:pt x="92" y="710"/>
                    <a:pt x="82" y="714"/>
                    <a:pt x="78" y="720"/>
                  </a:cubicBezTo>
                  <a:cubicBezTo>
                    <a:pt x="73" y="726"/>
                    <a:pt x="75" y="730"/>
                    <a:pt x="83" y="730"/>
                  </a:cubicBezTo>
                  <a:cubicBezTo>
                    <a:pt x="90" y="730"/>
                    <a:pt x="100" y="725"/>
                    <a:pt x="105" y="720"/>
                  </a:cubicBezTo>
                  <a:cubicBezTo>
                    <a:pt x="109" y="714"/>
                    <a:pt x="107" y="710"/>
                    <a:pt x="100" y="710"/>
                  </a:cubicBezTo>
                  <a:cubicBezTo>
                    <a:pt x="100" y="710"/>
                    <a:pt x="100" y="710"/>
                    <a:pt x="100" y="710"/>
                  </a:cubicBezTo>
                  <a:moveTo>
                    <a:pt x="139" y="710"/>
                  </a:moveTo>
                  <a:cubicBezTo>
                    <a:pt x="132" y="710"/>
                    <a:pt x="122" y="714"/>
                    <a:pt x="117" y="720"/>
                  </a:cubicBezTo>
                  <a:cubicBezTo>
                    <a:pt x="113" y="725"/>
                    <a:pt x="115" y="730"/>
                    <a:pt x="123" y="730"/>
                  </a:cubicBezTo>
                  <a:cubicBezTo>
                    <a:pt x="130" y="730"/>
                    <a:pt x="140" y="725"/>
                    <a:pt x="144" y="720"/>
                  </a:cubicBezTo>
                  <a:cubicBezTo>
                    <a:pt x="149" y="714"/>
                    <a:pt x="147" y="710"/>
                    <a:pt x="139" y="710"/>
                  </a:cubicBezTo>
                  <a:cubicBezTo>
                    <a:pt x="139" y="710"/>
                    <a:pt x="139" y="710"/>
                    <a:pt x="139" y="710"/>
                  </a:cubicBezTo>
                  <a:moveTo>
                    <a:pt x="333" y="709"/>
                  </a:moveTo>
                  <a:cubicBezTo>
                    <a:pt x="326" y="709"/>
                    <a:pt x="316" y="713"/>
                    <a:pt x="312" y="719"/>
                  </a:cubicBezTo>
                  <a:cubicBezTo>
                    <a:pt x="308" y="724"/>
                    <a:pt x="310" y="729"/>
                    <a:pt x="318" y="729"/>
                  </a:cubicBezTo>
                  <a:cubicBezTo>
                    <a:pt x="325" y="729"/>
                    <a:pt x="335" y="724"/>
                    <a:pt x="339" y="719"/>
                  </a:cubicBezTo>
                  <a:cubicBezTo>
                    <a:pt x="343" y="713"/>
                    <a:pt x="340" y="709"/>
                    <a:pt x="333" y="709"/>
                  </a:cubicBezTo>
                  <a:cubicBezTo>
                    <a:pt x="333" y="709"/>
                    <a:pt x="333" y="709"/>
                    <a:pt x="333" y="709"/>
                  </a:cubicBezTo>
                  <a:moveTo>
                    <a:pt x="256" y="708"/>
                  </a:moveTo>
                  <a:cubicBezTo>
                    <a:pt x="249" y="708"/>
                    <a:pt x="239" y="713"/>
                    <a:pt x="235" y="719"/>
                  </a:cubicBezTo>
                  <a:cubicBezTo>
                    <a:pt x="230" y="724"/>
                    <a:pt x="233" y="729"/>
                    <a:pt x="240" y="729"/>
                  </a:cubicBezTo>
                  <a:cubicBezTo>
                    <a:pt x="248" y="729"/>
                    <a:pt x="257" y="724"/>
                    <a:pt x="261" y="718"/>
                  </a:cubicBezTo>
                  <a:cubicBezTo>
                    <a:pt x="266" y="713"/>
                    <a:pt x="263" y="708"/>
                    <a:pt x="256" y="708"/>
                  </a:cubicBezTo>
                  <a:cubicBezTo>
                    <a:pt x="256" y="708"/>
                    <a:pt x="256" y="708"/>
                    <a:pt x="256" y="708"/>
                  </a:cubicBezTo>
                  <a:moveTo>
                    <a:pt x="371" y="708"/>
                  </a:moveTo>
                  <a:cubicBezTo>
                    <a:pt x="364" y="708"/>
                    <a:pt x="355" y="713"/>
                    <a:pt x="350" y="719"/>
                  </a:cubicBezTo>
                  <a:cubicBezTo>
                    <a:pt x="346" y="724"/>
                    <a:pt x="349" y="729"/>
                    <a:pt x="356" y="729"/>
                  </a:cubicBezTo>
                  <a:cubicBezTo>
                    <a:pt x="364" y="729"/>
                    <a:pt x="373" y="724"/>
                    <a:pt x="377" y="718"/>
                  </a:cubicBezTo>
                  <a:cubicBezTo>
                    <a:pt x="381" y="713"/>
                    <a:pt x="379" y="708"/>
                    <a:pt x="371" y="708"/>
                  </a:cubicBezTo>
                  <a:cubicBezTo>
                    <a:pt x="371" y="708"/>
                    <a:pt x="371" y="708"/>
                    <a:pt x="371" y="708"/>
                  </a:cubicBezTo>
                  <a:moveTo>
                    <a:pt x="295" y="708"/>
                  </a:moveTo>
                  <a:cubicBezTo>
                    <a:pt x="288" y="708"/>
                    <a:pt x="279" y="713"/>
                    <a:pt x="274" y="718"/>
                  </a:cubicBezTo>
                  <a:cubicBezTo>
                    <a:pt x="270" y="724"/>
                    <a:pt x="272" y="728"/>
                    <a:pt x="280" y="728"/>
                  </a:cubicBezTo>
                  <a:cubicBezTo>
                    <a:pt x="287" y="728"/>
                    <a:pt x="297" y="724"/>
                    <a:pt x="301" y="718"/>
                  </a:cubicBezTo>
                  <a:cubicBezTo>
                    <a:pt x="305" y="713"/>
                    <a:pt x="303" y="708"/>
                    <a:pt x="295" y="708"/>
                  </a:cubicBezTo>
                  <a:cubicBezTo>
                    <a:pt x="295" y="708"/>
                    <a:pt x="295" y="708"/>
                    <a:pt x="295" y="708"/>
                  </a:cubicBezTo>
                  <a:moveTo>
                    <a:pt x="410" y="708"/>
                  </a:moveTo>
                  <a:cubicBezTo>
                    <a:pt x="403" y="708"/>
                    <a:pt x="393" y="713"/>
                    <a:pt x="389" y="718"/>
                  </a:cubicBezTo>
                  <a:cubicBezTo>
                    <a:pt x="385" y="724"/>
                    <a:pt x="388" y="728"/>
                    <a:pt x="395" y="728"/>
                  </a:cubicBezTo>
                  <a:cubicBezTo>
                    <a:pt x="403" y="728"/>
                    <a:pt x="412" y="724"/>
                    <a:pt x="416" y="718"/>
                  </a:cubicBezTo>
                  <a:cubicBezTo>
                    <a:pt x="420" y="713"/>
                    <a:pt x="417" y="708"/>
                    <a:pt x="410" y="708"/>
                  </a:cubicBezTo>
                  <a:cubicBezTo>
                    <a:pt x="410" y="708"/>
                    <a:pt x="410" y="708"/>
                    <a:pt x="410" y="708"/>
                  </a:cubicBezTo>
                  <a:moveTo>
                    <a:pt x="448" y="708"/>
                  </a:moveTo>
                  <a:cubicBezTo>
                    <a:pt x="441" y="708"/>
                    <a:pt x="431" y="713"/>
                    <a:pt x="427" y="718"/>
                  </a:cubicBezTo>
                  <a:cubicBezTo>
                    <a:pt x="423" y="724"/>
                    <a:pt x="426" y="728"/>
                    <a:pt x="433" y="728"/>
                  </a:cubicBezTo>
                  <a:cubicBezTo>
                    <a:pt x="441" y="728"/>
                    <a:pt x="450" y="724"/>
                    <a:pt x="454" y="718"/>
                  </a:cubicBezTo>
                  <a:cubicBezTo>
                    <a:pt x="458" y="712"/>
                    <a:pt x="455" y="708"/>
                    <a:pt x="448" y="708"/>
                  </a:cubicBezTo>
                  <a:cubicBezTo>
                    <a:pt x="448" y="708"/>
                    <a:pt x="448" y="708"/>
                    <a:pt x="448" y="708"/>
                  </a:cubicBezTo>
                  <a:moveTo>
                    <a:pt x="486" y="708"/>
                  </a:moveTo>
                  <a:cubicBezTo>
                    <a:pt x="479" y="708"/>
                    <a:pt x="470" y="712"/>
                    <a:pt x="466" y="718"/>
                  </a:cubicBezTo>
                  <a:cubicBezTo>
                    <a:pt x="462" y="724"/>
                    <a:pt x="465" y="728"/>
                    <a:pt x="472" y="728"/>
                  </a:cubicBezTo>
                  <a:cubicBezTo>
                    <a:pt x="479" y="728"/>
                    <a:pt x="489" y="723"/>
                    <a:pt x="492" y="718"/>
                  </a:cubicBezTo>
                  <a:cubicBezTo>
                    <a:pt x="496" y="712"/>
                    <a:pt x="494" y="708"/>
                    <a:pt x="486" y="708"/>
                  </a:cubicBezTo>
                  <a:cubicBezTo>
                    <a:pt x="486" y="708"/>
                    <a:pt x="486" y="708"/>
                    <a:pt x="486" y="708"/>
                  </a:cubicBezTo>
                  <a:moveTo>
                    <a:pt x="601" y="707"/>
                  </a:moveTo>
                  <a:cubicBezTo>
                    <a:pt x="594" y="707"/>
                    <a:pt x="585" y="712"/>
                    <a:pt x="581" y="717"/>
                  </a:cubicBezTo>
                  <a:cubicBezTo>
                    <a:pt x="577" y="723"/>
                    <a:pt x="580" y="727"/>
                    <a:pt x="588" y="727"/>
                  </a:cubicBezTo>
                  <a:cubicBezTo>
                    <a:pt x="595" y="727"/>
                    <a:pt x="604" y="723"/>
                    <a:pt x="608" y="717"/>
                  </a:cubicBezTo>
                  <a:cubicBezTo>
                    <a:pt x="611" y="712"/>
                    <a:pt x="608" y="707"/>
                    <a:pt x="601" y="707"/>
                  </a:cubicBezTo>
                  <a:cubicBezTo>
                    <a:pt x="601" y="707"/>
                    <a:pt x="601" y="707"/>
                    <a:pt x="601" y="707"/>
                  </a:cubicBezTo>
                  <a:moveTo>
                    <a:pt x="181" y="707"/>
                  </a:moveTo>
                  <a:cubicBezTo>
                    <a:pt x="174" y="707"/>
                    <a:pt x="164" y="712"/>
                    <a:pt x="159" y="717"/>
                  </a:cubicBezTo>
                  <a:cubicBezTo>
                    <a:pt x="155" y="723"/>
                    <a:pt x="157" y="727"/>
                    <a:pt x="165" y="727"/>
                  </a:cubicBezTo>
                  <a:cubicBezTo>
                    <a:pt x="172" y="727"/>
                    <a:pt x="182" y="723"/>
                    <a:pt x="186" y="717"/>
                  </a:cubicBezTo>
                  <a:cubicBezTo>
                    <a:pt x="191" y="711"/>
                    <a:pt x="188" y="707"/>
                    <a:pt x="181" y="707"/>
                  </a:cubicBezTo>
                  <a:cubicBezTo>
                    <a:pt x="181" y="707"/>
                    <a:pt x="181" y="707"/>
                    <a:pt x="181" y="707"/>
                  </a:cubicBezTo>
                  <a:moveTo>
                    <a:pt x="219" y="707"/>
                  </a:moveTo>
                  <a:cubicBezTo>
                    <a:pt x="212" y="707"/>
                    <a:pt x="202" y="711"/>
                    <a:pt x="198" y="717"/>
                  </a:cubicBezTo>
                  <a:cubicBezTo>
                    <a:pt x="193" y="723"/>
                    <a:pt x="196" y="727"/>
                    <a:pt x="203" y="727"/>
                  </a:cubicBezTo>
                  <a:cubicBezTo>
                    <a:pt x="210" y="727"/>
                    <a:pt x="220" y="722"/>
                    <a:pt x="224" y="717"/>
                  </a:cubicBezTo>
                  <a:cubicBezTo>
                    <a:pt x="229" y="711"/>
                    <a:pt x="226" y="707"/>
                    <a:pt x="219" y="707"/>
                  </a:cubicBezTo>
                  <a:cubicBezTo>
                    <a:pt x="219" y="707"/>
                    <a:pt x="219" y="707"/>
                    <a:pt x="219" y="707"/>
                  </a:cubicBezTo>
                  <a:moveTo>
                    <a:pt x="1858" y="699"/>
                  </a:moveTo>
                  <a:cubicBezTo>
                    <a:pt x="1851" y="699"/>
                    <a:pt x="1844" y="703"/>
                    <a:pt x="1843" y="709"/>
                  </a:cubicBezTo>
                  <a:cubicBezTo>
                    <a:pt x="1841" y="715"/>
                    <a:pt x="1846" y="719"/>
                    <a:pt x="1854" y="719"/>
                  </a:cubicBezTo>
                  <a:cubicBezTo>
                    <a:pt x="1861" y="719"/>
                    <a:pt x="1868" y="715"/>
                    <a:pt x="1869" y="709"/>
                  </a:cubicBezTo>
                  <a:cubicBezTo>
                    <a:pt x="1871" y="703"/>
                    <a:pt x="1866" y="699"/>
                    <a:pt x="1858" y="699"/>
                  </a:cubicBezTo>
                  <a:cubicBezTo>
                    <a:pt x="1858" y="699"/>
                    <a:pt x="1858" y="699"/>
                    <a:pt x="1858" y="699"/>
                  </a:cubicBezTo>
                  <a:moveTo>
                    <a:pt x="1897" y="699"/>
                  </a:moveTo>
                  <a:cubicBezTo>
                    <a:pt x="1890" y="699"/>
                    <a:pt x="1883" y="703"/>
                    <a:pt x="1881" y="709"/>
                  </a:cubicBezTo>
                  <a:cubicBezTo>
                    <a:pt x="1880" y="714"/>
                    <a:pt x="1885" y="719"/>
                    <a:pt x="1893" y="719"/>
                  </a:cubicBezTo>
                  <a:cubicBezTo>
                    <a:pt x="1900" y="719"/>
                    <a:pt x="1907" y="714"/>
                    <a:pt x="1908" y="709"/>
                  </a:cubicBezTo>
                  <a:cubicBezTo>
                    <a:pt x="1909" y="703"/>
                    <a:pt x="1904" y="699"/>
                    <a:pt x="1897" y="699"/>
                  </a:cubicBezTo>
                  <a:cubicBezTo>
                    <a:pt x="1897" y="699"/>
                    <a:pt x="1897" y="699"/>
                    <a:pt x="1897" y="699"/>
                  </a:cubicBezTo>
                  <a:moveTo>
                    <a:pt x="1935" y="698"/>
                  </a:moveTo>
                  <a:cubicBezTo>
                    <a:pt x="1927" y="698"/>
                    <a:pt x="1921" y="703"/>
                    <a:pt x="1919" y="709"/>
                  </a:cubicBezTo>
                  <a:cubicBezTo>
                    <a:pt x="1918" y="714"/>
                    <a:pt x="1923" y="719"/>
                    <a:pt x="1931" y="719"/>
                  </a:cubicBezTo>
                  <a:cubicBezTo>
                    <a:pt x="1938" y="719"/>
                    <a:pt x="1945" y="714"/>
                    <a:pt x="1946" y="709"/>
                  </a:cubicBezTo>
                  <a:cubicBezTo>
                    <a:pt x="1947" y="703"/>
                    <a:pt x="1942" y="698"/>
                    <a:pt x="1935" y="698"/>
                  </a:cubicBezTo>
                  <a:cubicBezTo>
                    <a:pt x="1935" y="698"/>
                    <a:pt x="1935" y="698"/>
                    <a:pt x="1935" y="698"/>
                  </a:cubicBezTo>
                  <a:moveTo>
                    <a:pt x="1973" y="698"/>
                  </a:moveTo>
                  <a:cubicBezTo>
                    <a:pt x="1965" y="698"/>
                    <a:pt x="1959" y="703"/>
                    <a:pt x="1958" y="708"/>
                  </a:cubicBezTo>
                  <a:cubicBezTo>
                    <a:pt x="1957" y="714"/>
                    <a:pt x="1962" y="719"/>
                    <a:pt x="1969" y="719"/>
                  </a:cubicBezTo>
                  <a:cubicBezTo>
                    <a:pt x="1977" y="719"/>
                    <a:pt x="1983" y="714"/>
                    <a:pt x="1984" y="708"/>
                  </a:cubicBezTo>
                  <a:cubicBezTo>
                    <a:pt x="1985" y="703"/>
                    <a:pt x="1980" y="698"/>
                    <a:pt x="1973" y="698"/>
                  </a:cubicBezTo>
                  <a:cubicBezTo>
                    <a:pt x="1973" y="698"/>
                    <a:pt x="1973" y="698"/>
                    <a:pt x="1973" y="698"/>
                  </a:cubicBezTo>
                  <a:moveTo>
                    <a:pt x="2011" y="698"/>
                  </a:moveTo>
                  <a:cubicBezTo>
                    <a:pt x="2003" y="698"/>
                    <a:pt x="1997" y="703"/>
                    <a:pt x="1996" y="708"/>
                  </a:cubicBezTo>
                  <a:cubicBezTo>
                    <a:pt x="1995" y="714"/>
                    <a:pt x="2000" y="718"/>
                    <a:pt x="2007" y="718"/>
                  </a:cubicBezTo>
                  <a:cubicBezTo>
                    <a:pt x="2015" y="718"/>
                    <a:pt x="2022" y="714"/>
                    <a:pt x="2022" y="708"/>
                  </a:cubicBezTo>
                  <a:cubicBezTo>
                    <a:pt x="2023" y="702"/>
                    <a:pt x="2018" y="698"/>
                    <a:pt x="2011" y="698"/>
                  </a:cubicBezTo>
                  <a:cubicBezTo>
                    <a:pt x="2011" y="698"/>
                    <a:pt x="2011" y="698"/>
                    <a:pt x="2011" y="698"/>
                  </a:cubicBezTo>
                  <a:moveTo>
                    <a:pt x="2049" y="698"/>
                  </a:moveTo>
                  <a:cubicBezTo>
                    <a:pt x="2042" y="698"/>
                    <a:pt x="2035" y="702"/>
                    <a:pt x="2034" y="708"/>
                  </a:cubicBezTo>
                  <a:cubicBezTo>
                    <a:pt x="2033" y="714"/>
                    <a:pt x="2038" y="718"/>
                    <a:pt x="2046" y="718"/>
                  </a:cubicBezTo>
                  <a:cubicBezTo>
                    <a:pt x="2053" y="718"/>
                    <a:pt x="2060" y="714"/>
                    <a:pt x="2061" y="708"/>
                  </a:cubicBezTo>
                  <a:cubicBezTo>
                    <a:pt x="2062" y="702"/>
                    <a:pt x="2056" y="698"/>
                    <a:pt x="2049" y="698"/>
                  </a:cubicBezTo>
                  <a:cubicBezTo>
                    <a:pt x="2049" y="698"/>
                    <a:pt x="2049" y="698"/>
                    <a:pt x="2049" y="698"/>
                  </a:cubicBezTo>
                  <a:moveTo>
                    <a:pt x="2088" y="698"/>
                  </a:moveTo>
                  <a:cubicBezTo>
                    <a:pt x="2081" y="698"/>
                    <a:pt x="2074" y="702"/>
                    <a:pt x="2073" y="708"/>
                  </a:cubicBezTo>
                  <a:cubicBezTo>
                    <a:pt x="2073" y="713"/>
                    <a:pt x="2078" y="718"/>
                    <a:pt x="2085" y="718"/>
                  </a:cubicBezTo>
                  <a:cubicBezTo>
                    <a:pt x="2093" y="718"/>
                    <a:pt x="2099" y="713"/>
                    <a:pt x="2100" y="708"/>
                  </a:cubicBezTo>
                  <a:cubicBezTo>
                    <a:pt x="2101" y="702"/>
                    <a:pt x="2096" y="698"/>
                    <a:pt x="2088" y="698"/>
                  </a:cubicBezTo>
                  <a:cubicBezTo>
                    <a:pt x="2088" y="698"/>
                    <a:pt x="2088" y="698"/>
                    <a:pt x="2088" y="698"/>
                  </a:cubicBezTo>
                  <a:moveTo>
                    <a:pt x="2126" y="697"/>
                  </a:moveTo>
                  <a:cubicBezTo>
                    <a:pt x="2119" y="697"/>
                    <a:pt x="2112" y="702"/>
                    <a:pt x="2111" y="708"/>
                  </a:cubicBezTo>
                  <a:cubicBezTo>
                    <a:pt x="2111" y="713"/>
                    <a:pt x="2116" y="718"/>
                    <a:pt x="2124" y="718"/>
                  </a:cubicBezTo>
                  <a:cubicBezTo>
                    <a:pt x="2131" y="718"/>
                    <a:pt x="2137" y="713"/>
                    <a:pt x="2138" y="708"/>
                  </a:cubicBezTo>
                  <a:cubicBezTo>
                    <a:pt x="2139" y="702"/>
                    <a:pt x="2134" y="697"/>
                    <a:pt x="2126" y="697"/>
                  </a:cubicBezTo>
                  <a:cubicBezTo>
                    <a:pt x="2126" y="697"/>
                    <a:pt x="2126" y="697"/>
                    <a:pt x="2126" y="697"/>
                  </a:cubicBezTo>
                  <a:moveTo>
                    <a:pt x="2164" y="697"/>
                  </a:moveTo>
                  <a:cubicBezTo>
                    <a:pt x="2157" y="697"/>
                    <a:pt x="2150" y="702"/>
                    <a:pt x="2150" y="707"/>
                  </a:cubicBezTo>
                  <a:cubicBezTo>
                    <a:pt x="2149" y="713"/>
                    <a:pt x="2155" y="718"/>
                    <a:pt x="2162" y="718"/>
                  </a:cubicBezTo>
                  <a:cubicBezTo>
                    <a:pt x="2169" y="718"/>
                    <a:pt x="2176" y="713"/>
                    <a:pt x="2176" y="707"/>
                  </a:cubicBezTo>
                  <a:cubicBezTo>
                    <a:pt x="2177" y="702"/>
                    <a:pt x="2172" y="697"/>
                    <a:pt x="2164" y="697"/>
                  </a:cubicBezTo>
                  <a:cubicBezTo>
                    <a:pt x="2164" y="697"/>
                    <a:pt x="2164" y="697"/>
                    <a:pt x="2164" y="697"/>
                  </a:cubicBezTo>
                  <a:moveTo>
                    <a:pt x="2203" y="697"/>
                  </a:moveTo>
                  <a:cubicBezTo>
                    <a:pt x="2195" y="697"/>
                    <a:pt x="2189" y="702"/>
                    <a:pt x="2188" y="707"/>
                  </a:cubicBezTo>
                  <a:cubicBezTo>
                    <a:pt x="2188" y="713"/>
                    <a:pt x="2193" y="717"/>
                    <a:pt x="2201" y="717"/>
                  </a:cubicBezTo>
                  <a:cubicBezTo>
                    <a:pt x="2208" y="717"/>
                    <a:pt x="2215" y="713"/>
                    <a:pt x="2215" y="707"/>
                  </a:cubicBezTo>
                  <a:cubicBezTo>
                    <a:pt x="2216" y="701"/>
                    <a:pt x="2210" y="697"/>
                    <a:pt x="2203" y="697"/>
                  </a:cubicBezTo>
                  <a:cubicBezTo>
                    <a:pt x="2203" y="697"/>
                    <a:pt x="2203" y="697"/>
                    <a:pt x="2203" y="697"/>
                  </a:cubicBezTo>
                  <a:moveTo>
                    <a:pt x="2241" y="697"/>
                  </a:moveTo>
                  <a:cubicBezTo>
                    <a:pt x="2233" y="697"/>
                    <a:pt x="2227" y="701"/>
                    <a:pt x="2226" y="707"/>
                  </a:cubicBezTo>
                  <a:cubicBezTo>
                    <a:pt x="2226" y="713"/>
                    <a:pt x="2231" y="717"/>
                    <a:pt x="2239" y="717"/>
                  </a:cubicBezTo>
                  <a:cubicBezTo>
                    <a:pt x="2246" y="717"/>
                    <a:pt x="2253" y="713"/>
                    <a:pt x="2253" y="707"/>
                  </a:cubicBezTo>
                  <a:cubicBezTo>
                    <a:pt x="2254" y="701"/>
                    <a:pt x="2248" y="697"/>
                    <a:pt x="2241" y="697"/>
                  </a:cubicBezTo>
                  <a:cubicBezTo>
                    <a:pt x="2241" y="697"/>
                    <a:pt x="2241" y="697"/>
                    <a:pt x="2241" y="697"/>
                  </a:cubicBezTo>
                  <a:moveTo>
                    <a:pt x="2279" y="697"/>
                  </a:moveTo>
                  <a:cubicBezTo>
                    <a:pt x="2271" y="697"/>
                    <a:pt x="2265" y="701"/>
                    <a:pt x="2265" y="707"/>
                  </a:cubicBezTo>
                  <a:cubicBezTo>
                    <a:pt x="2264" y="712"/>
                    <a:pt x="2270" y="717"/>
                    <a:pt x="2277" y="717"/>
                  </a:cubicBezTo>
                  <a:cubicBezTo>
                    <a:pt x="2285" y="717"/>
                    <a:pt x="2291" y="712"/>
                    <a:pt x="2291" y="707"/>
                  </a:cubicBezTo>
                  <a:cubicBezTo>
                    <a:pt x="2292" y="701"/>
                    <a:pt x="2286" y="697"/>
                    <a:pt x="2279" y="697"/>
                  </a:cubicBezTo>
                  <a:cubicBezTo>
                    <a:pt x="2279" y="697"/>
                    <a:pt x="2279" y="697"/>
                    <a:pt x="2279" y="697"/>
                  </a:cubicBezTo>
                  <a:moveTo>
                    <a:pt x="2317" y="696"/>
                  </a:moveTo>
                  <a:cubicBezTo>
                    <a:pt x="2309" y="696"/>
                    <a:pt x="2303" y="701"/>
                    <a:pt x="2303" y="707"/>
                  </a:cubicBezTo>
                  <a:cubicBezTo>
                    <a:pt x="2302" y="712"/>
                    <a:pt x="2308" y="717"/>
                    <a:pt x="2315" y="717"/>
                  </a:cubicBezTo>
                  <a:cubicBezTo>
                    <a:pt x="2323" y="717"/>
                    <a:pt x="2329" y="712"/>
                    <a:pt x="2329" y="707"/>
                  </a:cubicBezTo>
                  <a:cubicBezTo>
                    <a:pt x="2330" y="701"/>
                    <a:pt x="2324" y="696"/>
                    <a:pt x="2317" y="696"/>
                  </a:cubicBezTo>
                  <a:cubicBezTo>
                    <a:pt x="2317" y="696"/>
                    <a:pt x="2317" y="696"/>
                    <a:pt x="2317" y="696"/>
                  </a:cubicBezTo>
                  <a:moveTo>
                    <a:pt x="2355" y="696"/>
                  </a:moveTo>
                  <a:cubicBezTo>
                    <a:pt x="2347" y="696"/>
                    <a:pt x="2341" y="701"/>
                    <a:pt x="2341" y="706"/>
                  </a:cubicBezTo>
                  <a:cubicBezTo>
                    <a:pt x="2341" y="712"/>
                    <a:pt x="2346" y="717"/>
                    <a:pt x="2354" y="717"/>
                  </a:cubicBezTo>
                  <a:cubicBezTo>
                    <a:pt x="2361" y="717"/>
                    <a:pt x="2367" y="712"/>
                    <a:pt x="2368" y="706"/>
                  </a:cubicBezTo>
                  <a:cubicBezTo>
                    <a:pt x="2368" y="701"/>
                    <a:pt x="2362" y="696"/>
                    <a:pt x="2355" y="696"/>
                  </a:cubicBezTo>
                  <a:cubicBezTo>
                    <a:pt x="2355" y="696"/>
                    <a:pt x="2355" y="696"/>
                    <a:pt x="2355" y="696"/>
                  </a:cubicBezTo>
                  <a:moveTo>
                    <a:pt x="2393" y="696"/>
                  </a:moveTo>
                  <a:cubicBezTo>
                    <a:pt x="2386" y="696"/>
                    <a:pt x="2380" y="701"/>
                    <a:pt x="2380" y="706"/>
                  </a:cubicBezTo>
                  <a:cubicBezTo>
                    <a:pt x="2379" y="712"/>
                    <a:pt x="2385" y="716"/>
                    <a:pt x="2393" y="716"/>
                  </a:cubicBezTo>
                  <a:cubicBezTo>
                    <a:pt x="2400" y="716"/>
                    <a:pt x="2406" y="712"/>
                    <a:pt x="2406" y="706"/>
                  </a:cubicBezTo>
                  <a:cubicBezTo>
                    <a:pt x="2406" y="700"/>
                    <a:pt x="2401" y="696"/>
                    <a:pt x="2393" y="696"/>
                  </a:cubicBezTo>
                  <a:cubicBezTo>
                    <a:pt x="2393" y="696"/>
                    <a:pt x="2393" y="696"/>
                    <a:pt x="2393" y="696"/>
                  </a:cubicBezTo>
                  <a:moveTo>
                    <a:pt x="2431" y="696"/>
                  </a:moveTo>
                  <a:cubicBezTo>
                    <a:pt x="2424" y="696"/>
                    <a:pt x="2418" y="700"/>
                    <a:pt x="2417" y="706"/>
                  </a:cubicBezTo>
                  <a:cubicBezTo>
                    <a:pt x="2417" y="712"/>
                    <a:pt x="2423" y="716"/>
                    <a:pt x="2431" y="716"/>
                  </a:cubicBezTo>
                  <a:cubicBezTo>
                    <a:pt x="2438" y="716"/>
                    <a:pt x="2444" y="712"/>
                    <a:pt x="2444" y="706"/>
                  </a:cubicBezTo>
                  <a:cubicBezTo>
                    <a:pt x="2444" y="700"/>
                    <a:pt x="2438" y="696"/>
                    <a:pt x="2431" y="696"/>
                  </a:cubicBezTo>
                  <a:cubicBezTo>
                    <a:pt x="2431" y="696"/>
                    <a:pt x="2431" y="696"/>
                    <a:pt x="2431" y="696"/>
                  </a:cubicBezTo>
                  <a:moveTo>
                    <a:pt x="2469" y="696"/>
                  </a:moveTo>
                  <a:cubicBezTo>
                    <a:pt x="2462" y="696"/>
                    <a:pt x="2456" y="700"/>
                    <a:pt x="2456" y="706"/>
                  </a:cubicBezTo>
                  <a:cubicBezTo>
                    <a:pt x="2456" y="711"/>
                    <a:pt x="2462" y="716"/>
                    <a:pt x="2469" y="716"/>
                  </a:cubicBezTo>
                  <a:cubicBezTo>
                    <a:pt x="2476" y="716"/>
                    <a:pt x="2482" y="711"/>
                    <a:pt x="2482" y="706"/>
                  </a:cubicBezTo>
                  <a:cubicBezTo>
                    <a:pt x="2482" y="700"/>
                    <a:pt x="2477" y="696"/>
                    <a:pt x="2469" y="696"/>
                  </a:cubicBezTo>
                  <a:cubicBezTo>
                    <a:pt x="2469" y="696"/>
                    <a:pt x="2469" y="696"/>
                    <a:pt x="2469" y="696"/>
                  </a:cubicBezTo>
                  <a:moveTo>
                    <a:pt x="2507" y="695"/>
                  </a:moveTo>
                  <a:cubicBezTo>
                    <a:pt x="2500" y="695"/>
                    <a:pt x="2494" y="700"/>
                    <a:pt x="2494" y="706"/>
                  </a:cubicBezTo>
                  <a:cubicBezTo>
                    <a:pt x="2494" y="711"/>
                    <a:pt x="2500" y="716"/>
                    <a:pt x="2507" y="716"/>
                  </a:cubicBezTo>
                  <a:cubicBezTo>
                    <a:pt x="2515" y="716"/>
                    <a:pt x="2520" y="711"/>
                    <a:pt x="2520" y="706"/>
                  </a:cubicBezTo>
                  <a:cubicBezTo>
                    <a:pt x="2520" y="700"/>
                    <a:pt x="2514" y="695"/>
                    <a:pt x="2507" y="695"/>
                  </a:cubicBezTo>
                  <a:cubicBezTo>
                    <a:pt x="2507" y="695"/>
                    <a:pt x="2507" y="695"/>
                    <a:pt x="2507" y="695"/>
                  </a:cubicBezTo>
                  <a:moveTo>
                    <a:pt x="2545" y="695"/>
                  </a:moveTo>
                  <a:cubicBezTo>
                    <a:pt x="2538" y="695"/>
                    <a:pt x="2532" y="700"/>
                    <a:pt x="2532" y="705"/>
                  </a:cubicBezTo>
                  <a:cubicBezTo>
                    <a:pt x="2532" y="711"/>
                    <a:pt x="2538" y="716"/>
                    <a:pt x="2546" y="716"/>
                  </a:cubicBezTo>
                  <a:cubicBezTo>
                    <a:pt x="2553" y="716"/>
                    <a:pt x="2559" y="711"/>
                    <a:pt x="2559" y="705"/>
                  </a:cubicBezTo>
                  <a:cubicBezTo>
                    <a:pt x="2559" y="700"/>
                    <a:pt x="2553" y="695"/>
                    <a:pt x="2545" y="695"/>
                  </a:cubicBezTo>
                  <a:cubicBezTo>
                    <a:pt x="2545" y="695"/>
                    <a:pt x="2545" y="695"/>
                    <a:pt x="2545" y="695"/>
                  </a:cubicBezTo>
                  <a:moveTo>
                    <a:pt x="2580" y="695"/>
                  </a:moveTo>
                  <a:cubicBezTo>
                    <a:pt x="2572" y="695"/>
                    <a:pt x="2566" y="700"/>
                    <a:pt x="2567" y="705"/>
                  </a:cubicBezTo>
                  <a:cubicBezTo>
                    <a:pt x="2567" y="711"/>
                    <a:pt x="2573" y="715"/>
                    <a:pt x="2580" y="715"/>
                  </a:cubicBezTo>
                  <a:cubicBezTo>
                    <a:pt x="2588" y="715"/>
                    <a:pt x="2593" y="711"/>
                    <a:pt x="2593" y="705"/>
                  </a:cubicBezTo>
                  <a:cubicBezTo>
                    <a:pt x="2593" y="699"/>
                    <a:pt x="2587" y="695"/>
                    <a:pt x="2580" y="695"/>
                  </a:cubicBezTo>
                  <a:cubicBezTo>
                    <a:pt x="2580" y="695"/>
                    <a:pt x="2580" y="695"/>
                    <a:pt x="2580" y="695"/>
                  </a:cubicBezTo>
                  <a:moveTo>
                    <a:pt x="2812" y="695"/>
                  </a:moveTo>
                  <a:cubicBezTo>
                    <a:pt x="2805" y="695"/>
                    <a:pt x="2799" y="699"/>
                    <a:pt x="2800" y="705"/>
                  </a:cubicBezTo>
                  <a:cubicBezTo>
                    <a:pt x="2800" y="711"/>
                    <a:pt x="2807" y="715"/>
                    <a:pt x="2814" y="715"/>
                  </a:cubicBezTo>
                  <a:cubicBezTo>
                    <a:pt x="2822" y="715"/>
                    <a:pt x="2827" y="711"/>
                    <a:pt x="2826" y="705"/>
                  </a:cubicBezTo>
                  <a:cubicBezTo>
                    <a:pt x="2826" y="699"/>
                    <a:pt x="2819" y="695"/>
                    <a:pt x="2812" y="695"/>
                  </a:cubicBezTo>
                  <a:cubicBezTo>
                    <a:pt x="2812" y="695"/>
                    <a:pt x="2812" y="695"/>
                    <a:pt x="2812" y="695"/>
                  </a:cubicBezTo>
                  <a:moveTo>
                    <a:pt x="2885" y="694"/>
                  </a:moveTo>
                  <a:cubicBezTo>
                    <a:pt x="2878" y="694"/>
                    <a:pt x="2873" y="698"/>
                    <a:pt x="2874" y="704"/>
                  </a:cubicBezTo>
                  <a:cubicBezTo>
                    <a:pt x="2874" y="709"/>
                    <a:pt x="2881" y="714"/>
                    <a:pt x="2888" y="714"/>
                  </a:cubicBezTo>
                  <a:cubicBezTo>
                    <a:pt x="2896" y="714"/>
                    <a:pt x="2901" y="709"/>
                    <a:pt x="2900" y="704"/>
                  </a:cubicBezTo>
                  <a:cubicBezTo>
                    <a:pt x="2899" y="698"/>
                    <a:pt x="2893" y="694"/>
                    <a:pt x="2886" y="694"/>
                  </a:cubicBezTo>
                  <a:cubicBezTo>
                    <a:pt x="2886" y="694"/>
                    <a:pt x="2886" y="694"/>
                    <a:pt x="2885" y="694"/>
                  </a:cubicBezTo>
                  <a:moveTo>
                    <a:pt x="2660" y="693"/>
                  </a:moveTo>
                  <a:cubicBezTo>
                    <a:pt x="2653" y="694"/>
                    <a:pt x="2647" y="698"/>
                    <a:pt x="2648" y="704"/>
                  </a:cubicBezTo>
                  <a:cubicBezTo>
                    <a:pt x="2648" y="709"/>
                    <a:pt x="2654" y="714"/>
                    <a:pt x="2662" y="714"/>
                  </a:cubicBezTo>
                  <a:cubicBezTo>
                    <a:pt x="2669" y="714"/>
                    <a:pt x="2675" y="709"/>
                    <a:pt x="2674" y="704"/>
                  </a:cubicBezTo>
                  <a:cubicBezTo>
                    <a:pt x="2674" y="698"/>
                    <a:pt x="2668" y="693"/>
                    <a:pt x="2660" y="693"/>
                  </a:cubicBezTo>
                  <a:cubicBezTo>
                    <a:pt x="2660" y="693"/>
                    <a:pt x="2660" y="693"/>
                    <a:pt x="2660" y="693"/>
                  </a:cubicBezTo>
                  <a:moveTo>
                    <a:pt x="2924" y="693"/>
                  </a:moveTo>
                  <a:cubicBezTo>
                    <a:pt x="2916" y="693"/>
                    <a:pt x="2911" y="698"/>
                    <a:pt x="2912" y="704"/>
                  </a:cubicBezTo>
                  <a:cubicBezTo>
                    <a:pt x="2913" y="709"/>
                    <a:pt x="2919" y="714"/>
                    <a:pt x="2927" y="714"/>
                  </a:cubicBezTo>
                  <a:cubicBezTo>
                    <a:pt x="2934" y="714"/>
                    <a:pt x="2939" y="709"/>
                    <a:pt x="2939" y="703"/>
                  </a:cubicBezTo>
                  <a:cubicBezTo>
                    <a:pt x="2938" y="698"/>
                    <a:pt x="2931" y="693"/>
                    <a:pt x="2924" y="693"/>
                  </a:cubicBezTo>
                  <a:cubicBezTo>
                    <a:pt x="2924" y="693"/>
                    <a:pt x="2924" y="693"/>
                    <a:pt x="2924" y="693"/>
                  </a:cubicBezTo>
                  <a:moveTo>
                    <a:pt x="2698" y="693"/>
                  </a:moveTo>
                  <a:cubicBezTo>
                    <a:pt x="2690" y="693"/>
                    <a:pt x="2685" y="698"/>
                    <a:pt x="2685" y="704"/>
                  </a:cubicBezTo>
                  <a:cubicBezTo>
                    <a:pt x="2686" y="709"/>
                    <a:pt x="2692" y="714"/>
                    <a:pt x="2699" y="714"/>
                  </a:cubicBezTo>
                  <a:cubicBezTo>
                    <a:pt x="2707" y="714"/>
                    <a:pt x="2712" y="709"/>
                    <a:pt x="2712" y="703"/>
                  </a:cubicBezTo>
                  <a:cubicBezTo>
                    <a:pt x="2711" y="698"/>
                    <a:pt x="2705" y="693"/>
                    <a:pt x="2698" y="693"/>
                  </a:cubicBezTo>
                  <a:cubicBezTo>
                    <a:pt x="2698" y="693"/>
                    <a:pt x="2698" y="693"/>
                    <a:pt x="2698" y="693"/>
                  </a:cubicBezTo>
                  <a:moveTo>
                    <a:pt x="2962" y="693"/>
                  </a:moveTo>
                  <a:cubicBezTo>
                    <a:pt x="2955" y="693"/>
                    <a:pt x="2949" y="698"/>
                    <a:pt x="2950" y="703"/>
                  </a:cubicBezTo>
                  <a:cubicBezTo>
                    <a:pt x="2951" y="709"/>
                    <a:pt x="2958" y="714"/>
                    <a:pt x="2965" y="714"/>
                  </a:cubicBezTo>
                  <a:cubicBezTo>
                    <a:pt x="2973" y="714"/>
                    <a:pt x="2978" y="709"/>
                    <a:pt x="2977" y="703"/>
                  </a:cubicBezTo>
                  <a:cubicBezTo>
                    <a:pt x="2976" y="698"/>
                    <a:pt x="2969" y="693"/>
                    <a:pt x="2962" y="693"/>
                  </a:cubicBezTo>
                  <a:cubicBezTo>
                    <a:pt x="2962" y="693"/>
                    <a:pt x="2962" y="693"/>
                    <a:pt x="2962" y="693"/>
                  </a:cubicBezTo>
                  <a:moveTo>
                    <a:pt x="2736" y="693"/>
                  </a:moveTo>
                  <a:cubicBezTo>
                    <a:pt x="2728" y="693"/>
                    <a:pt x="2723" y="698"/>
                    <a:pt x="2723" y="703"/>
                  </a:cubicBezTo>
                  <a:cubicBezTo>
                    <a:pt x="2724" y="709"/>
                    <a:pt x="2730" y="714"/>
                    <a:pt x="2737" y="714"/>
                  </a:cubicBezTo>
                  <a:cubicBezTo>
                    <a:pt x="2745" y="714"/>
                    <a:pt x="2750" y="709"/>
                    <a:pt x="2750" y="703"/>
                  </a:cubicBezTo>
                  <a:cubicBezTo>
                    <a:pt x="2749" y="698"/>
                    <a:pt x="2743" y="693"/>
                    <a:pt x="2736" y="693"/>
                  </a:cubicBezTo>
                  <a:cubicBezTo>
                    <a:pt x="2736" y="693"/>
                    <a:pt x="2736" y="693"/>
                    <a:pt x="2736" y="693"/>
                  </a:cubicBezTo>
                  <a:moveTo>
                    <a:pt x="3000" y="693"/>
                  </a:moveTo>
                  <a:cubicBezTo>
                    <a:pt x="2993" y="693"/>
                    <a:pt x="2987" y="698"/>
                    <a:pt x="2988" y="703"/>
                  </a:cubicBezTo>
                  <a:cubicBezTo>
                    <a:pt x="2989" y="709"/>
                    <a:pt x="2996" y="713"/>
                    <a:pt x="3004" y="713"/>
                  </a:cubicBezTo>
                  <a:cubicBezTo>
                    <a:pt x="3011" y="713"/>
                    <a:pt x="3016" y="709"/>
                    <a:pt x="3015" y="703"/>
                  </a:cubicBezTo>
                  <a:cubicBezTo>
                    <a:pt x="3014" y="697"/>
                    <a:pt x="3007" y="693"/>
                    <a:pt x="3000" y="693"/>
                  </a:cubicBezTo>
                  <a:cubicBezTo>
                    <a:pt x="3000" y="693"/>
                    <a:pt x="3000" y="693"/>
                    <a:pt x="3000" y="693"/>
                  </a:cubicBezTo>
                  <a:moveTo>
                    <a:pt x="3038" y="693"/>
                  </a:moveTo>
                  <a:cubicBezTo>
                    <a:pt x="3031" y="693"/>
                    <a:pt x="3025" y="697"/>
                    <a:pt x="3027" y="703"/>
                  </a:cubicBezTo>
                  <a:cubicBezTo>
                    <a:pt x="3028" y="709"/>
                    <a:pt x="3034" y="713"/>
                    <a:pt x="3042" y="713"/>
                  </a:cubicBezTo>
                  <a:cubicBezTo>
                    <a:pt x="3049" y="713"/>
                    <a:pt x="3054" y="709"/>
                    <a:pt x="3053" y="703"/>
                  </a:cubicBezTo>
                  <a:cubicBezTo>
                    <a:pt x="3052" y="697"/>
                    <a:pt x="3045" y="693"/>
                    <a:pt x="3038" y="693"/>
                  </a:cubicBezTo>
                  <a:cubicBezTo>
                    <a:pt x="3038" y="693"/>
                    <a:pt x="3038" y="693"/>
                    <a:pt x="3038" y="693"/>
                  </a:cubicBezTo>
                  <a:moveTo>
                    <a:pt x="3076" y="693"/>
                  </a:moveTo>
                  <a:cubicBezTo>
                    <a:pt x="3068" y="693"/>
                    <a:pt x="3063" y="697"/>
                    <a:pt x="3064" y="703"/>
                  </a:cubicBezTo>
                  <a:cubicBezTo>
                    <a:pt x="3066" y="708"/>
                    <a:pt x="3072" y="713"/>
                    <a:pt x="3080" y="713"/>
                  </a:cubicBezTo>
                  <a:cubicBezTo>
                    <a:pt x="3087" y="713"/>
                    <a:pt x="3092" y="708"/>
                    <a:pt x="3091" y="703"/>
                  </a:cubicBezTo>
                  <a:cubicBezTo>
                    <a:pt x="3090" y="697"/>
                    <a:pt x="3083" y="693"/>
                    <a:pt x="3076" y="693"/>
                  </a:cubicBezTo>
                  <a:cubicBezTo>
                    <a:pt x="3076" y="693"/>
                    <a:pt x="3076" y="693"/>
                    <a:pt x="3076" y="693"/>
                  </a:cubicBezTo>
                  <a:moveTo>
                    <a:pt x="3114" y="692"/>
                  </a:moveTo>
                  <a:cubicBezTo>
                    <a:pt x="3106" y="692"/>
                    <a:pt x="3101" y="697"/>
                    <a:pt x="3103" y="703"/>
                  </a:cubicBezTo>
                  <a:cubicBezTo>
                    <a:pt x="3104" y="708"/>
                    <a:pt x="3111" y="713"/>
                    <a:pt x="3118" y="713"/>
                  </a:cubicBezTo>
                  <a:cubicBezTo>
                    <a:pt x="3126" y="713"/>
                    <a:pt x="3131" y="708"/>
                    <a:pt x="3129" y="702"/>
                  </a:cubicBezTo>
                  <a:cubicBezTo>
                    <a:pt x="3128" y="697"/>
                    <a:pt x="3121" y="692"/>
                    <a:pt x="3114" y="692"/>
                  </a:cubicBezTo>
                  <a:cubicBezTo>
                    <a:pt x="3114" y="692"/>
                    <a:pt x="3114" y="692"/>
                    <a:pt x="3114" y="692"/>
                  </a:cubicBezTo>
                  <a:moveTo>
                    <a:pt x="3153" y="692"/>
                  </a:moveTo>
                  <a:cubicBezTo>
                    <a:pt x="3146" y="692"/>
                    <a:pt x="3141" y="697"/>
                    <a:pt x="3142" y="702"/>
                  </a:cubicBezTo>
                  <a:cubicBezTo>
                    <a:pt x="3143" y="708"/>
                    <a:pt x="3150" y="713"/>
                    <a:pt x="3158" y="713"/>
                  </a:cubicBezTo>
                  <a:cubicBezTo>
                    <a:pt x="3165" y="713"/>
                    <a:pt x="3170" y="708"/>
                    <a:pt x="3169" y="702"/>
                  </a:cubicBezTo>
                  <a:cubicBezTo>
                    <a:pt x="3167" y="697"/>
                    <a:pt x="3160" y="692"/>
                    <a:pt x="3153" y="692"/>
                  </a:cubicBezTo>
                  <a:cubicBezTo>
                    <a:pt x="3153" y="692"/>
                    <a:pt x="3153" y="692"/>
                    <a:pt x="3153" y="692"/>
                  </a:cubicBezTo>
                  <a:moveTo>
                    <a:pt x="3191" y="692"/>
                  </a:moveTo>
                  <a:cubicBezTo>
                    <a:pt x="3184" y="692"/>
                    <a:pt x="3179" y="697"/>
                    <a:pt x="3180" y="702"/>
                  </a:cubicBezTo>
                  <a:cubicBezTo>
                    <a:pt x="3181" y="708"/>
                    <a:pt x="3188" y="712"/>
                    <a:pt x="3196" y="712"/>
                  </a:cubicBezTo>
                  <a:cubicBezTo>
                    <a:pt x="3203" y="712"/>
                    <a:pt x="3208" y="708"/>
                    <a:pt x="3207" y="702"/>
                  </a:cubicBezTo>
                  <a:cubicBezTo>
                    <a:pt x="3205" y="696"/>
                    <a:pt x="3198" y="692"/>
                    <a:pt x="3191" y="692"/>
                  </a:cubicBezTo>
                  <a:cubicBezTo>
                    <a:pt x="3191" y="692"/>
                    <a:pt x="3191" y="692"/>
                    <a:pt x="3191" y="692"/>
                  </a:cubicBezTo>
                  <a:moveTo>
                    <a:pt x="3687" y="692"/>
                  </a:moveTo>
                  <a:cubicBezTo>
                    <a:pt x="3679" y="692"/>
                    <a:pt x="3675" y="696"/>
                    <a:pt x="3677" y="702"/>
                  </a:cubicBezTo>
                  <a:cubicBezTo>
                    <a:pt x="3680" y="708"/>
                    <a:pt x="3688" y="712"/>
                    <a:pt x="3695" y="712"/>
                  </a:cubicBezTo>
                  <a:cubicBezTo>
                    <a:pt x="3702" y="712"/>
                    <a:pt x="3707" y="708"/>
                    <a:pt x="3704" y="702"/>
                  </a:cubicBezTo>
                  <a:cubicBezTo>
                    <a:pt x="3702" y="696"/>
                    <a:pt x="3694" y="692"/>
                    <a:pt x="3687" y="692"/>
                  </a:cubicBezTo>
                  <a:cubicBezTo>
                    <a:pt x="3687" y="692"/>
                    <a:pt x="3687" y="692"/>
                    <a:pt x="3687" y="692"/>
                  </a:cubicBezTo>
                  <a:moveTo>
                    <a:pt x="3229" y="692"/>
                  </a:moveTo>
                  <a:cubicBezTo>
                    <a:pt x="3222" y="692"/>
                    <a:pt x="3217" y="696"/>
                    <a:pt x="3218" y="702"/>
                  </a:cubicBezTo>
                  <a:cubicBezTo>
                    <a:pt x="3220" y="708"/>
                    <a:pt x="3227" y="712"/>
                    <a:pt x="3234" y="712"/>
                  </a:cubicBezTo>
                  <a:cubicBezTo>
                    <a:pt x="3242" y="712"/>
                    <a:pt x="3246" y="708"/>
                    <a:pt x="3245" y="702"/>
                  </a:cubicBezTo>
                  <a:cubicBezTo>
                    <a:pt x="3243" y="696"/>
                    <a:pt x="3236" y="692"/>
                    <a:pt x="3229" y="692"/>
                  </a:cubicBezTo>
                  <a:cubicBezTo>
                    <a:pt x="3229" y="692"/>
                    <a:pt x="3229" y="692"/>
                    <a:pt x="3229" y="692"/>
                  </a:cubicBezTo>
                  <a:moveTo>
                    <a:pt x="3724" y="692"/>
                  </a:moveTo>
                  <a:cubicBezTo>
                    <a:pt x="3717" y="692"/>
                    <a:pt x="3713" y="696"/>
                    <a:pt x="3715" y="702"/>
                  </a:cubicBezTo>
                  <a:cubicBezTo>
                    <a:pt x="3718" y="708"/>
                    <a:pt x="3726" y="712"/>
                    <a:pt x="3733" y="712"/>
                  </a:cubicBezTo>
                  <a:cubicBezTo>
                    <a:pt x="3741" y="712"/>
                    <a:pt x="3745" y="707"/>
                    <a:pt x="3742" y="702"/>
                  </a:cubicBezTo>
                  <a:cubicBezTo>
                    <a:pt x="3740" y="696"/>
                    <a:pt x="3732" y="692"/>
                    <a:pt x="3724" y="692"/>
                  </a:cubicBezTo>
                  <a:cubicBezTo>
                    <a:pt x="3724" y="692"/>
                    <a:pt x="3724" y="692"/>
                    <a:pt x="3724" y="692"/>
                  </a:cubicBezTo>
                  <a:moveTo>
                    <a:pt x="2774" y="692"/>
                  </a:moveTo>
                  <a:cubicBezTo>
                    <a:pt x="2766" y="692"/>
                    <a:pt x="2761" y="696"/>
                    <a:pt x="2761" y="702"/>
                  </a:cubicBezTo>
                  <a:cubicBezTo>
                    <a:pt x="2762" y="708"/>
                    <a:pt x="2768" y="712"/>
                    <a:pt x="2776" y="712"/>
                  </a:cubicBezTo>
                  <a:cubicBezTo>
                    <a:pt x="2783" y="712"/>
                    <a:pt x="2789" y="707"/>
                    <a:pt x="2788" y="702"/>
                  </a:cubicBezTo>
                  <a:cubicBezTo>
                    <a:pt x="2787" y="696"/>
                    <a:pt x="2781" y="692"/>
                    <a:pt x="2774" y="692"/>
                  </a:cubicBezTo>
                  <a:cubicBezTo>
                    <a:pt x="2774" y="692"/>
                    <a:pt x="2774" y="692"/>
                    <a:pt x="2774" y="692"/>
                  </a:cubicBezTo>
                  <a:moveTo>
                    <a:pt x="3267" y="691"/>
                  </a:moveTo>
                  <a:cubicBezTo>
                    <a:pt x="3260" y="692"/>
                    <a:pt x="3255" y="696"/>
                    <a:pt x="3257" y="702"/>
                  </a:cubicBezTo>
                  <a:cubicBezTo>
                    <a:pt x="3258" y="708"/>
                    <a:pt x="3266" y="712"/>
                    <a:pt x="3273" y="712"/>
                  </a:cubicBezTo>
                  <a:cubicBezTo>
                    <a:pt x="3280" y="712"/>
                    <a:pt x="3285" y="707"/>
                    <a:pt x="3284" y="702"/>
                  </a:cubicBezTo>
                  <a:cubicBezTo>
                    <a:pt x="3282" y="696"/>
                    <a:pt x="3275" y="691"/>
                    <a:pt x="3267" y="691"/>
                  </a:cubicBezTo>
                  <a:cubicBezTo>
                    <a:pt x="3267" y="691"/>
                    <a:pt x="3267" y="691"/>
                    <a:pt x="3267" y="691"/>
                  </a:cubicBezTo>
                  <a:moveTo>
                    <a:pt x="3762" y="691"/>
                  </a:moveTo>
                  <a:cubicBezTo>
                    <a:pt x="3755" y="691"/>
                    <a:pt x="3751" y="696"/>
                    <a:pt x="3754" y="702"/>
                  </a:cubicBezTo>
                  <a:cubicBezTo>
                    <a:pt x="3756" y="707"/>
                    <a:pt x="3764" y="712"/>
                    <a:pt x="3772" y="712"/>
                  </a:cubicBezTo>
                  <a:cubicBezTo>
                    <a:pt x="3779" y="712"/>
                    <a:pt x="3783" y="707"/>
                    <a:pt x="3780" y="702"/>
                  </a:cubicBezTo>
                  <a:cubicBezTo>
                    <a:pt x="3778" y="696"/>
                    <a:pt x="3770" y="691"/>
                    <a:pt x="3763" y="691"/>
                  </a:cubicBezTo>
                  <a:cubicBezTo>
                    <a:pt x="3762" y="691"/>
                    <a:pt x="3762" y="691"/>
                    <a:pt x="3762" y="691"/>
                  </a:cubicBezTo>
                  <a:moveTo>
                    <a:pt x="3305" y="691"/>
                  </a:moveTo>
                  <a:cubicBezTo>
                    <a:pt x="3298" y="691"/>
                    <a:pt x="3293" y="696"/>
                    <a:pt x="3295" y="702"/>
                  </a:cubicBezTo>
                  <a:cubicBezTo>
                    <a:pt x="3296" y="707"/>
                    <a:pt x="3304" y="712"/>
                    <a:pt x="3311" y="712"/>
                  </a:cubicBezTo>
                  <a:cubicBezTo>
                    <a:pt x="3318" y="712"/>
                    <a:pt x="3323" y="707"/>
                    <a:pt x="3321" y="701"/>
                  </a:cubicBezTo>
                  <a:cubicBezTo>
                    <a:pt x="3320" y="696"/>
                    <a:pt x="3313" y="691"/>
                    <a:pt x="3305" y="691"/>
                  </a:cubicBezTo>
                  <a:cubicBezTo>
                    <a:pt x="3305" y="691"/>
                    <a:pt x="3305" y="691"/>
                    <a:pt x="3305" y="691"/>
                  </a:cubicBezTo>
                  <a:moveTo>
                    <a:pt x="3803" y="691"/>
                  </a:moveTo>
                  <a:cubicBezTo>
                    <a:pt x="3795" y="691"/>
                    <a:pt x="3792" y="696"/>
                    <a:pt x="3794" y="702"/>
                  </a:cubicBezTo>
                  <a:cubicBezTo>
                    <a:pt x="3797" y="707"/>
                    <a:pt x="3805" y="712"/>
                    <a:pt x="3812" y="712"/>
                  </a:cubicBezTo>
                  <a:cubicBezTo>
                    <a:pt x="3820" y="712"/>
                    <a:pt x="3823" y="707"/>
                    <a:pt x="3821" y="701"/>
                  </a:cubicBezTo>
                  <a:cubicBezTo>
                    <a:pt x="3818" y="696"/>
                    <a:pt x="3810" y="691"/>
                    <a:pt x="3803" y="691"/>
                  </a:cubicBezTo>
                  <a:cubicBezTo>
                    <a:pt x="3803" y="691"/>
                    <a:pt x="3803" y="691"/>
                    <a:pt x="3803" y="691"/>
                  </a:cubicBezTo>
                  <a:moveTo>
                    <a:pt x="3343" y="691"/>
                  </a:moveTo>
                  <a:cubicBezTo>
                    <a:pt x="3336" y="691"/>
                    <a:pt x="3331" y="696"/>
                    <a:pt x="3333" y="701"/>
                  </a:cubicBezTo>
                  <a:cubicBezTo>
                    <a:pt x="3335" y="707"/>
                    <a:pt x="3342" y="712"/>
                    <a:pt x="3349" y="712"/>
                  </a:cubicBezTo>
                  <a:cubicBezTo>
                    <a:pt x="3357" y="712"/>
                    <a:pt x="3361" y="707"/>
                    <a:pt x="3360" y="701"/>
                  </a:cubicBezTo>
                  <a:cubicBezTo>
                    <a:pt x="3358" y="696"/>
                    <a:pt x="3351" y="691"/>
                    <a:pt x="3343" y="691"/>
                  </a:cubicBezTo>
                  <a:cubicBezTo>
                    <a:pt x="3343" y="691"/>
                    <a:pt x="3343" y="691"/>
                    <a:pt x="3343" y="691"/>
                  </a:cubicBezTo>
                  <a:moveTo>
                    <a:pt x="2622" y="691"/>
                  </a:moveTo>
                  <a:cubicBezTo>
                    <a:pt x="2615" y="691"/>
                    <a:pt x="2609" y="696"/>
                    <a:pt x="2609" y="701"/>
                  </a:cubicBezTo>
                  <a:cubicBezTo>
                    <a:pt x="2610" y="707"/>
                    <a:pt x="2616" y="712"/>
                    <a:pt x="2623" y="712"/>
                  </a:cubicBezTo>
                  <a:cubicBezTo>
                    <a:pt x="2631" y="711"/>
                    <a:pt x="2636" y="707"/>
                    <a:pt x="2636" y="701"/>
                  </a:cubicBezTo>
                  <a:cubicBezTo>
                    <a:pt x="2636" y="696"/>
                    <a:pt x="2630" y="691"/>
                    <a:pt x="2622" y="691"/>
                  </a:cubicBezTo>
                  <a:cubicBezTo>
                    <a:pt x="2622" y="691"/>
                    <a:pt x="2622" y="691"/>
                    <a:pt x="2622" y="691"/>
                  </a:cubicBezTo>
                  <a:moveTo>
                    <a:pt x="3840" y="691"/>
                  </a:moveTo>
                  <a:cubicBezTo>
                    <a:pt x="3833" y="691"/>
                    <a:pt x="3829" y="696"/>
                    <a:pt x="3832" y="701"/>
                  </a:cubicBezTo>
                  <a:cubicBezTo>
                    <a:pt x="3834" y="707"/>
                    <a:pt x="3843" y="712"/>
                    <a:pt x="3850" y="712"/>
                  </a:cubicBezTo>
                  <a:cubicBezTo>
                    <a:pt x="3857" y="711"/>
                    <a:pt x="3861" y="707"/>
                    <a:pt x="3858" y="701"/>
                  </a:cubicBezTo>
                  <a:cubicBezTo>
                    <a:pt x="3856" y="696"/>
                    <a:pt x="3848" y="691"/>
                    <a:pt x="3840" y="691"/>
                  </a:cubicBezTo>
                  <a:cubicBezTo>
                    <a:pt x="3840" y="691"/>
                    <a:pt x="3840" y="691"/>
                    <a:pt x="3840" y="691"/>
                  </a:cubicBezTo>
                  <a:moveTo>
                    <a:pt x="3381" y="691"/>
                  </a:moveTo>
                  <a:cubicBezTo>
                    <a:pt x="3374" y="691"/>
                    <a:pt x="3369" y="696"/>
                    <a:pt x="3371" y="701"/>
                  </a:cubicBezTo>
                  <a:cubicBezTo>
                    <a:pt x="3373" y="707"/>
                    <a:pt x="3380" y="711"/>
                    <a:pt x="3387" y="711"/>
                  </a:cubicBezTo>
                  <a:cubicBezTo>
                    <a:pt x="3395" y="711"/>
                    <a:pt x="3399" y="707"/>
                    <a:pt x="3397" y="701"/>
                  </a:cubicBezTo>
                  <a:cubicBezTo>
                    <a:pt x="3396" y="695"/>
                    <a:pt x="3388" y="691"/>
                    <a:pt x="3381" y="691"/>
                  </a:cubicBezTo>
                  <a:cubicBezTo>
                    <a:pt x="3381" y="691"/>
                    <a:pt x="3381" y="691"/>
                    <a:pt x="3381" y="691"/>
                  </a:cubicBezTo>
                  <a:moveTo>
                    <a:pt x="3878" y="691"/>
                  </a:moveTo>
                  <a:cubicBezTo>
                    <a:pt x="3871" y="691"/>
                    <a:pt x="3867" y="695"/>
                    <a:pt x="3870" y="701"/>
                  </a:cubicBezTo>
                  <a:cubicBezTo>
                    <a:pt x="3872" y="707"/>
                    <a:pt x="3881" y="711"/>
                    <a:pt x="3888" y="711"/>
                  </a:cubicBezTo>
                  <a:cubicBezTo>
                    <a:pt x="3895" y="711"/>
                    <a:pt x="3899" y="707"/>
                    <a:pt x="3896" y="701"/>
                  </a:cubicBezTo>
                  <a:cubicBezTo>
                    <a:pt x="3894" y="695"/>
                    <a:pt x="3885" y="691"/>
                    <a:pt x="3878" y="691"/>
                  </a:cubicBezTo>
                  <a:cubicBezTo>
                    <a:pt x="3878" y="691"/>
                    <a:pt x="3878" y="691"/>
                    <a:pt x="3878" y="691"/>
                  </a:cubicBezTo>
                  <a:moveTo>
                    <a:pt x="3419" y="691"/>
                  </a:moveTo>
                  <a:cubicBezTo>
                    <a:pt x="3412" y="691"/>
                    <a:pt x="3407" y="695"/>
                    <a:pt x="3409" y="701"/>
                  </a:cubicBezTo>
                  <a:cubicBezTo>
                    <a:pt x="3411" y="707"/>
                    <a:pt x="3418" y="711"/>
                    <a:pt x="3426" y="711"/>
                  </a:cubicBezTo>
                  <a:cubicBezTo>
                    <a:pt x="3433" y="711"/>
                    <a:pt x="3438" y="707"/>
                    <a:pt x="3436" y="701"/>
                  </a:cubicBezTo>
                  <a:cubicBezTo>
                    <a:pt x="3434" y="695"/>
                    <a:pt x="3426" y="691"/>
                    <a:pt x="3419" y="691"/>
                  </a:cubicBezTo>
                  <a:cubicBezTo>
                    <a:pt x="3419" y="691"/>
                    <a:pt x="3419" y="691"/>
                    <a:pt x="3419" y="691"/>
                  </a:cubicBezTo>
                  <a:moveTo>
                    <a:pt x="3916" y="691"/>
                  </a:moveTo>
                  <a:cubicBezTo>
                    <a:pt x="3909" y="691"/>
                    <a:pt x="3905" y="695"/>
                    <a:pt x="3908" y="701"/>
                  </a:cubicBezTo>
                  <a:cubicBezTo>
                    <a:pt x="3911" y="707"/>
                    <a:pt x="3919" y="711"/>
                    <a:pt x="3926" y="711"/>
                  </a:cubicBezTo>
                  <a:cubicBezTo>
                    <a:pt x="3934" y="711"/>
                    <a:pt x="3937" y="706"/>
                    <a:pt x="3935" y="701"/>
                  </a:cubicBezTo>
                  <a:cubicBezTo>
                    <a:pt x="3932" y="695"/>
                    <a:pt x="3924" y="691"/>
                    <a:pt x="3916" y="691"/>
                  </a:cubicBezTo>
                  <a:cubicBezTo>
                    <a:pt x="3916" y="691"/>
                    <a:pt x="3916" y="691"/>
                    <a:pt x="3916" y="691"/>
                  </a:cubicBezTo>
                  <a:moveTo>
                    <a:pt x="3457" y="690"/>
                  </a:moveTo>
                  <a:cubicBezTo>
                    <a:pt x="3450" y="691"/>
                    <a:pt x="3446" y="695"/>
                    <a:pt x="3448" y="701"/>
                  </a:cubicBezTo>
                  <a:cubicBezTo>
                    <a:pt x="3449" y="707"/>
                    <a:pt x="3457" y="711"/>
                    <a:pt x="3464" y="711"/>
                  </a:cubicBezTo>
                  <a:cubicBezTo>
                    <a:pt x="3472" y="711"/>
                    <a:pt x="3476" y="706"/>
                    <a:pt x="3474" y="701"/>
                  </a:cubicBezTo>
                  <a:cubicBezTo>
                    <a:pt x="3472" y="695"/>
                    <a:pt x="3465" y="690"/>
                    <a:pt x="3458" y="690"/>
                  </a:cubicBezTo>
                  <a:cubicBezTo>
                    <a:pt x="3458" y="690"/>
                    <a:pt x="3458" y="690"/>
                    <a:pt x="3457" y="690"/>
                  </a:cubicBezTo>
                  <a:moveTo>
                    <a:pt x="3955" y="690"/>
                  </a:moveTo>
                  <a:cubicBezTo>
                    <a:pt x="3947" y="690"/>
                    <a:pt x="3944" y="695"/>
                    <a:pt x="3946" y="701"/>
                  </a:cubicBezTo>
                  <a:cubicBezTo>
                    <a:pt x="3949" y="706"/>
                    <a:pt x="3958" y="711"/>
                    <a:pt x="3965" y="711"/>
                  </a:cubicBezTo>
                  <a:cubicBezTo>
                    <a:pt x="3972" y="711"/>
                    <a:pt x="3976" y="706"/>
                    <a:pt x="3973" y="701"/>
                  </a:cubicBezTo>
                  <a:cubicBezTo>
                    <a:pt x="3970" y="695"/>
                    <a:pt x="3962" y="690"/>
                    <a:pt x="3955" y="690"/>
                  </a:cubicBezTo>
                  <a:cubicBezTo>
                    <a:pt x="3955" y="690"/>
                    <a:pt x="3955" y="690"/>
                    <a:pt x="3955" y="690"/>
                  </a:cubicBezTo>
                  <a:moveTo>
                    <a:pt x="3495" y="690"/>
                  </a:moveTo>
                  <a:cubicBezTo>
                    <a:pt x="3488" y="690"/>
                    <a:pt x="3484" y="695"/>
                    <a:pt x="3486" y="701"/>
                  </a:cubicBezTo>
                  <a:cubicBezTo>
                    <a:pt x="3487" y="706"/>
                    <a:pt x="3495" y="711"/>
                    <a:pt x="3502" y="711"/>
                  </a:cubicBezTo>
                  <a:cubicBezTo>
                    <a:pt x="3510" y="711"/>
                    <a:pt x="3514" y="706"/>
                    <a:pt x="3512" y="700"/>
                  </a:cubicBezTo>
                  <a:cubicBezTo>
                    <a:pt x="3510" y="695"/>
                    <a:pt x="3503" y="690"/>
                    <a:pt x="3495" y="690"/>
                  </a:cubicBezTo>
                  <a:cubicBezTo>
                    <a:pt x="3495" y="690"/>
                    <a:pt x="3495" y="690"/>
                    <a:pt x="3495" y="690"/>
                  </a:cubicBezTo>
                  <a:moveTo>
                    <a:pt x="3992" y="690"/>
                  </a:moveTo>
                  <a:cubicBezTo>
                    <a:pt x="3985" y="690"/>
                    <a:pt x="3981" y="695"/>
                    <a:pt x="3984" y="701"/>
                  </a:cubicBezTo>
                  <a:cubicBezTo>
                    <a:pt x="3987" y="706"/>
                    <a:pt x="3996" y="711"/>
                    <a:pt x="4003" y="711"/>
                  </a:cubicBezTo>
                  <a:cubicBezTo>
                    <a:pt x="4010" y="711"/>
                    <a:pt x="4014" y="706"/>
                    <a:pt x="4011" y="700"/>
                  </a:cubicBezTo>
                  <a:cubicBezTo>
                    <a:pt x="4008" y="695"/>
                    <a:pt x="4000" y="690"/>
                    <a:pt x="3992" y="690"/>
                  </a:cubicBezTo>
                  <a:cubicBezTo>
                    <a:pt x="3992" y="690"/>
                    <a:pt x="3992" y="690"/>
                    <a:pt x="3992" y="690"/>
                  </a:cubicBezTo>
                  <a:moveTo>
                    <a:pt x="3533" y="690"/>
                  </a:moveTo>
                  <a:cubicBezTo>
                    <a:pt x="3526" y="690"/>
                    <a:pt x="3522" y="695"/>
                    <a:pt x="3524" y="700"/>
                  </a:cubicBezTo>
                  <a:cubicBezTo>
                    <a:pt x="3526" y="706"/>
                    <a:pt x="3533" y="711"/>
                    <a:pt x="3541" y="711"/>
                  </a:cubicBezTo>
                  <a:cubicBezTo>
                    <a:pt x="3548" y="711"/>
                    <a:pt x="3552" y="706"/>
                    <a:pt x="3550" y="700"/>
                  </a:cubicBezTo>
                  <a:cubicBezTo>
                    <a:pt x="3548" y="695"/>
                    <a:pt x="3541" y="690"/>
                    <a:pt x="3533" y="690"/>
                  </a:cubicBezTo>
                  <a:cubicBezTo>
                    <a:pt x="3533" y="690"/>
                    <a:pt x="3533" y="690"/>
                    <a:pt x="3533" y="690"/>
                  </a:cubicBezTo>
                  <a:moveTo>
                    <a:pt x="4029" y="690"/>
                  </a:moveTo>
                  <a:cubicBezTo>
                    <a:pt x="4022" y="690"/>
                    <a:pt x="4018" y="695"/>
                    <a:pt x="4021" y="700"/>
                  </a:cubicBezTo>
                  <a:cubicBezTo>
                    <a:pt x="4024" y="706"/>
                    <a:pt x="4033" y="711"/>
                    <a:pt x="4040" y="711"/>
                  </a:cubicBezTo>
                  <a:cubicBezTo>
                    <a:pt x="4048" y="710"/>
                    <a:pt x="4051" y="706"/>
                    <a:pt x="4048" y="700"/>
                  </a:cubicBezTo>
                  <a:cubicBezTo>
                    <a:pt x="4045" y="695"/>
                    <a:pt x="4037" y="690"/>
                    <a:pt x="4029" y="690"/>
                  </a:cubicBezTo>
                  <a:cubicBezTo>
                    <a:pt x="4029" y="690"/>
                    <a:pt x="4029" y="690"/>
                    <a:pt x="4029" y="690"/>
                  </a:cubicBezTo>
                  <a:moveTo>
                    <a:pt x="3571" y="690"/>
                  </a:moveTo>
                  <a:cubicBezTo>
                    <a:pt x="3564" y="690"/>
                    <a:pt x="3559" y="695"/>
                    <a:pt x="3562" y="700"/>
                  </a:cubicBezTo>
                  <a:cubicBezTo>
                    <a:pt x="3564" y="706"/>
                    <a:pt x="3571" y="710"/>
                    <a:pt x="3579" y="710"/>
                  </a:cubicBezTo>
                  <a:cubicBezTo>
                    <a:pt x="3586" y="710"/>
                    <a:pt x="3590" y="706"/>
                    <a:pt x="3588" y="700"/>
                  </a:cubicBezTo>
                  <a:cubicBezTo>
                    <a:pt x="3586" y="694"/>
                    <a:pt x="3578" y="690"/>
                    <a:pt x="3571" y="690"/>
                  </a:cubicBezTo>
                  <a:cubicBezTo>
                    <a:pt x="3571" y="690"/>
                    <a:pt x="3571" y="690"/>
                    <a:pt x="3571" y="690"/>
                  </a:cubicBezTo>
                  <a:moveTo>
                    <a:pt x="4061" y="690"/>
                  </a:moveTo>
                  <a:cubicBezTo>
                    <a:pt x="4053" y="690"/>
                    <a:pt x="4050" y="694"/>
                    <a:pt x="4053" y="700"/>
                  </a:cubicBezTo>
                  <a:cubicBezTo>
                    <a:pt x="4056" y="706"/>
                    <a:pt x="4064" y="710"/>
                    <a:pt x="4072" y="710"/>
                  </a:cubicBezTo>
                  <a:cubicBezTo>
                    <a:pt x="4079" y="710"/>
                    <a:pt x="4083" y="706"/>
                    <a:pt x="4080" y="700"/>
                  </a:cubicBezTo>
                  <a:cubicBezTo>
                    <a:pt x="4076" y="694"/>
                    <a:pt x="4068" y="690"/>
                    <a:pt x="4061" y="690"/>
                  </a:cubicBezTo>
                  <a:cubicBezTo>
                    <a:pt x="4061" y="690"/>
                    <a:pt x="4061" y="690"/>
                    <a:pt x="4061" y="690"/>
                  </a:cubicBezTo>
                  <a:moveTo>
                    <a:pt x="3609" y="690"/>
                  </a:moveTo>
                  <a:cubicBezTo>
                    <a:pt x="3602" y="690"/>
                    <a:pt x="3598" y="694"/>
                    <a:pt x="3600" y="700"/>
                  </a:cubicBezTo>
                  <a:cubicBezTo>
                    <a:pt x="3602" y="706"/>
                    <a:pt x="3610" y="710"/>
                    <a:pt x="3617" y="710"/>
                  </a:cubicBezTo>
                  <a:cubicBezTo>
                    <a:pt x="3625" y="710"/>
                    <a:pt x="3629" y="706"/>
                    <a:pt x="3626" y="700"/>
                  </a:cubicBezTo>
                  <a:cubicBezTo>
                    <a:pt x="3624" y="694"/>
                    <a:pt x="3617" y="690"/>
                    <a:pt x="3609" y="690"/>
                  </a:cubicBezTo>
                  <a:cubicBezTo>
                    <a:pt x="3609" y="690"/>
                    <a:pt x="3609" y="690"/>
                    <a:pt x="3609" y="690"/>
                  </a:cubicBezTo>
                  <a:moveTo>
                    <a:pt x="3648" y="689"/>
                  </a:moveTo>
                  <a:cubicBezTo>
                    <a:pt x="3640" y="690"/>
                    <a:pt x="3636" y="694"/>
                    <a:pt x="3638" y="700"/>
                  </a:cubicBezTo>
                  <a:cubicBezTo>
                    <a:pt x="3641" y="706"/>
                    <a:pt x="3648" y="710"/>
                    <a:pt x="3656" y="710"/>
                  </a:cubicBezTo>
                  <a:cubicBezTo>
                    <a:pt x="3663" y="710"/>
                    <a:pt x="3667" y="705"/>
                    <a:pt x="3665" y="700"/>
                  </a:cubicBezTo>
                  <a:cubicBezTo>
                    <a:pt x="3663" y="694"/>
                    <a:pt x="3655" y="689"/>
                    <a:pt x="3648" y="689"/>
                  </a:cubicBezTo>
                  <a:cubicBezTo>
                    <a:pt x="3648" y="689"/>
                    <a:pt x="3648" y="689"/>
                    <a:pt x="3648" y="689"/>
                  </a:cubicBezTo>
                  <a:moveTo>
                    <a:pt x="89" y="681"/>
                  </a:moveTo>
                  <a:cubicBezTo>
                    <a:pt x="82" y="681"/>
                    <a:pt x="72" y="685"/>
                    <a:pt x="68" y="691"/>
                  </a:cubicBezTo>
                  <a:cubicBezTo>
                    <a:pt x="63" y="697"/>
                    <a:pt x="65" y="701"/>
                    <a:pt x="72" y="701"/>
                  </a:cubicBezTo>
                  <a:cubicBezTo>
                    <a:pt x="80" y="701"/>
                    <a:pt x="90" y="696"/>
                    <a:pt x="94" y="691"/>
                  </a:cubicBezTo>
                  <a:cubicBezTo>
                    <a:pt x="99" y="685"/>
                    <a:pt x="97" y="681"/>
                    <a:pt x="90" y="681"/>
                  </a:cubicBezTo>
                  <a:cubicBezTo>
                    <a:pt x="89" y="681"/>
                    <a:pt x="89" y="681"/>
                    <a:pt x="89" y="681"/>
                  </a:cubicBezTo>
                  <a:moveTo>
                    <a:pt x="127" y="681"/>
                  </a:moveTo>
                  <a:cubicBezTo>
                    <a:pt x="120" y="681"/>
                    <a:pt x="110" y="685"/>
                    <a:pt x="106" y="691"/>
                  </a:cubicBezTo>
                  <a:cubicBezTo>
                    <a:pt x="101" y="696"/>
                    <a:pt x="103" y="701"/>
                    <a:pt x="110" y="701"/>
                  </a:cubicBezTo>
                  <a:cubicBezTo>
                    <a:pt x="118" y="701"/>
                    <a:pt x="128" y="696"/>
                    <a:pt x="132" y="691"/>
                  </a:cubicBezTo>
                  <a:cubicBezTo>
                    <a:pt x="137" y="685"/>
                    <a:pt x="135" y="681"/>
                    <a:pt x="127" y="681"/>
                  </a:cubicBezTo>
                  <a:cubicBezTo>
                    <a:pt x="127" y="681"/>
                    <a:pt x="127" y="681"/>
                    <a:pt x="127" y="681"/>
                  </a:cubicBezTo>
                  <a:moveTo>
                    <a:pt x="165" y="680"/>
                  </a:moveTo>
                  <a:cubicBezTo>
                    <a:pt x="157" y="680"/>
                    <a:pt x="148" y="685"/>
                    <a:pt x="143" y="691"/>
                  </a:cubicBezTo>
                  <a:cubicBezTo>
                    <a:pt x="139" y="696"/>
                    <a:pt x="141" y="701"/>
                    <a:pt x="148" y="701"/>
                  </a:cubicBezTo>
                  <a:cubicBezTo>
                    <a:pt x="156" y="701"/>
                    <a:pt x="165" y="696"/>
                    <a:pt x="170" y="690"/>
                  </a:cubicBezTo>
                  <a:cubicBezTo>
                    <a:pt x="174" y="685"/>
                    <a:pt x="172" y="680"/>
                    <a:pt x="165" y="680"/>
                  </a:cubicBezTo>
                  <a:cubicBezTo>
                    <a:pt x="165" y="680"/>
                    <a:pt x="165" y="680"/>
                    <a:pt x="165" y="680"/>
                  </a:cubicBezTo>
                  <a:moveTo>
                    <a:pt x="203" y="680"/>
                  </a:moveTo>
                  <a:cubicBezTo>
                    <a:pt x="195" y="680"/>
                    <a:pt x="186" y="685"/>
                    <a:pt x="181" y="690"/>
                  </a:cubicBezTo>
                  <a:cubicBezTo>
                    <a:pt x="177" y="696"/>
                    <a:pt x="179" y="700"/>
                    <a:pt x="186" y="700"/>
                  </a:cubicBezTo>
                  <a:cubicBezTo>
                    <a:pt x="194" y="700"/>
                    <a:pt x="203" y="696"/>
                    <a:pt x="208" y="690"/>
                  </a:cubicBezTo>
                  <a:cubicBezTo>
                    <a:pt x="212" y="685"/>
                    <a:pt x="210" y="680"/>
                    <a:pt x="203" y="680"/>
                  </a:cubicBezTo>
                  <a:cubicBezTo>
                    <a:pt x="203" y="680"/>
                    <a:pt x="203" y="680"/>
                    <a:pt x="203" y="680"/>
                  </a:cubicBezTo>
                  <a:moveTo>
                    <a:pt x="240" y="680"/>
                  </a:moveTo>
                  <a:cubicBezTo>
                    <a:pt x="233" y="680"/>
                    <a:pt x="223" y="685"/>
                    <a:pt x="219" y="690"/>
                  </a:cubicBezTo>
                  <a:cubicBezTo>
                    <a:pt x="215" y="696"/>
                    <a:pt x="217" y="700"/>
                    <a:pt x="224" y="700"/>
                  </a:cubicBezTo>
                  <a:cubicBezTo>
                    <a:pt x="232" y="700"/>
                    <a:pt x="241" y="696"/>
                    <a:pt x="246" y="690"/>
                  </a:cubicBezTo>
                  <a:cubicBezTo>
                    <a:pt x="250" y="684"/>
                    <a:pt x="248" y="680"/>
                    <a:pt x="240" y="680"/>
                  </a:cubicBezTo>
                  <a:cubicBezTo>
                    <a:pt x="240" y="680"/>
                    <a:pt x="240" y="680"/>
                    <a:pt x="240" y="680"/>
                  </a:cubicBezTo>
                  <a:moveTo>
                    <a:pt x="278" y="680"/>
                  </a:moveTo>
                  <a:cubicBezTo>
                    <a:pt x="271" y="680"/>
                    <a:pt x="261" y="684"/>
                    <a:pt x="257" y="690"/>
                  </a:cubicBezTo>
                  <a:cubicBezTo>
                    <a:pt x="253" y="696"/>
                    <a:pt x="255" y="700"/>
                    <a:pt x="262" y="700"/>
                  </a:cubicBezTo>
                  <a:cubicBezTo>
                    <a:pt x="270" y="700"/>
                    <a:pt x="279" y="695"/>
                    <a:pt x="284" y="690"/>
                  </a:cubicBezTo>
                  <a:cubicBezTo>
                    <a:pt x="288" y="684"/>
                    <a:pt x="286" y="680"/>
                    <a:pt x="278" y="680"/>
                  </a:cubicBezTo>
                  <a:cubicBezTo>
                    <a:pt x="278" y="680"/>
                    <a:pt x="278" y="680"/>
                    <a:pt x="278" y="680"/>
                  </a:cubicBezTo>
                  <a:moveTo>
                    <a:pt x="317" y="680"/>
                  </a:moveTo>
                  <a:cubicBezTo>
                    <a:pt x="310" y="680"/>
                    <a:pt x="301" y="684"/>
                    <a:pt x="296" y="690"/>
                  </a:cubicBezTo>
                  <a:cubicBezTo>
                    <a:pt x="292" y="695"/>
                    <a:pt x="294" y="700"/>
                    <a:pt x="302" y="700"/>
                  </a:cubicBezTo>
                  <a:cubicBezTo>
                    <a:pt x="309" y="700"/>
                    <a:pt x="319" y="695"/>
                    <a:pt x="323" y="690"/>
                  </a:cubicBezTo>
                  <a:cubicBezTo>
                    <a:pt x="327" y="684"/>
                    <a:pt x="325" y="680"/>
                    <a:pt x="317" y="680"/>
                  </a:cubicBezTo>
                  <a:cubicBezTo>
                    <a:pt x="317" y="680"/>
                    <a:pt x="317" y="680"/>
                    <a:pt x="317" y="680"/>
                  </a:cubicBezTo>
                  <a:moveTo>
                    <a:pt x="355" y="679"/>
                  </a:moveTo>
                  <a:cubicBezTo>
                    <a:pt x="348" y="679"/>
                    <a:pt x="338" y="684"/>
                    <a:pt x="334" y="690"/>
                  </a:cubicBezTo>
                  <a:cubicBezTo>
                    <a:pt x="330" y="695"/>
                    <a:pt x="332" y="700"/>
                    <a:pt x="340" y="700"/>
                  </a:cubicBezTo>
                  <a:cubicBezTo>
                    <a:pt x="347" y="700"/>
                    <a:pt x="356" y="695"/>
                    <a:pt x="361" y="689"/>
                  </a:cubicBezTo>
                  <a:cubicBezTo>
                    <a:pt x="365" y="684"/>
                    <a:pt x="362" y="679"/>
                    <a:pt x="355" y="679"/>
                  </a:cubicBezTo>
                  <a:cubicBezTo>
                    <a:pt x="355" y="679"/>
                    <a:pt x="355" y="679"/>
                    <a:pt x="355" y="679"/>
                  </a:cubicBezTo>
                  <a:moveTo>
                    <a:pt x="393" y="679"/>
                  </a:moveTo>
                  <a:cubicBezTo>
                    <a:pt x="386" y="679"/>
                    <a:pt x="376" y="684"/>
                    <a:pt x="372" y="689"/>
                  </a:cubicBezTo>
                  <a:cubicBezTo>
                    <a:pt x="368" y="695"/>
                    <a:pt x="371" y="699"/>
                    <a:pt x="378" y="699"/>
                  </a:cubicBezTo>
                  <a:cubicBezTo>
                    <a:pt x="385" y="699"/>
                    <a:pt x="395" y="695"/>
                    <a:pt x="399" y="689"/>
                  </a:cubicBezTo>
                  <a:cubicBezTo>
                    <a:pt x="403" y="684"/>
                    <a:pt x="400" y="679"/>
                    <a:pt x="393" y="679"/>
                  </a:cubicBezTo>
                  <a:cubicBezTo>
                    <a:pt x="393" y="679"/>
                    <a:pt x="393" y="679"/>
                    <a:pt x="393" y="679"/>
                  </a:cubicBezTo>
                  <a:moveTo>
                    <a:pt x="431" y="679"/>
                  </a:moveTo>
                  <a:cubicBezTo>
                    <a:pt x="424" y="679"/>
                    <a:pt x="415" y="684"/>
                    <a:pt x="410" y="689"/>
                  </a:cubicBezTo>
                  <a:cubicBezTo>
                    <a:pt x="406" y="695"/>
                    <a:pt x="409" y="699"/>
                    <a:pt x="416" y="699"/>
                  </a:cubicBezTo>
                  <a:cubicBezTo>
                    <a:pt x="424" y="699"/>
                    <a:pt x="433" y="695"/>
                    <a:pt x="437" y="689"/>
                  </a:cubicBezTo>
                  <a:cubicBezTo>
                    <a:pt x="441" y="683"/>
                    <a:pt x="438" y="679"/>
                    <a:pt x="431" y="679"/>
                  </a:cubicBezTo>
                  <a:cubicBezTo>
                    <a:pt x="431" y="679"/>
                    <a:pt x="431" y="679"/>
                    <a:pt x="431" y="679"/>
                  </a:cubicBezTo>
                  <a:moveTo>
                    <a:pt x="469" y="679"/>
                  </a:moveTo>
                  <a:cubicBezTo>
                    <a:pt x="461" y="679"/>
                    <a:pt x="452" y="683"/>
                    <a:pt x="448" y="689"/>
                  </a:cubicBezTo>
                  <a:cubicBezTo>
                    <a:pt x="444" y="694"/>
                    <a:pt x="447" y="699"/>
                    <a:pt x="454" y="699"/>
                  </a:cubicBezTo>
                  <a:cubicBezTo>
                    <a:pt x="462" y="699"/>
                    <a:pt x="471" y="694"/>
                    <a:pt x="475" y="689"/>
                  </a:cubicBezTo>
                  <a:cubicBezTo>
                    <a:pt x="479" y="683"/>
                    <a:pt x="476" y="679"/>
                    <a:pt x="469" y="679"/>
                  </a:cubicBezTo>
                  <a:cubicBezTo>
                    <a:pt x="469" y="679"/>
                    <a:pt x="469" y="679"/>
                    <a:pt x="469" y="679"/>
                  </a:cubicBezTo>
                  <a:moveTo>
                    <a:pt x="507" y="678"/>
                  </a:moveTo>
                  <a:cubicBezTo>
                    <a:pt x="499" y="679"/>
                    <a:pt x="490" y="683"/>
                    <a:pt x="486" y="689"/>
                  </a:cubicBezTo>
                  <a:cubicBezTo>
                    <a:pt x="482" y="694"/>
                    <a:pt x="485" y="699"/>
                    <a:pt x="492" y="699"/>
                  </a:cubicBezTo>
                  <a:cubicBezTo>
                    <a:pt x="500" y="699"/>
                    <a:pt x="509" y="694"/>
                    <a:pt x="513" y="689"/>
                  </a:cubicBezTo>
                  <a:cubicBezTo>
                    <a:pt x="517" y="683"/>
                    <a:pt x="514" y="678"/>
                    <a:pt x="507" y="678"/>
                  </a:cubicBezTo>
                  <a:cubicBezTo>
                    <a:pt x="507" y="678"/>
                    <a:pt x="507" y="678"/>
                    <a:pt x="507" y="678"/>
                  </a:cubicBezTo>
                  <a:moveTo>
                    <a:pt x="544" y="678"/>
                  </a:moveTo>
                  <a:cubicBezTo>
                    <a:pt x="537" y="678"/>
                    <a:pt x="528" y="683"/>
                    <a:pt x="524" y="689"/>
                  </a:cubicBezTo>
                  <a:cubicBezTo>
                    <a:pt x="520" y="694"/>
                    <a:pt x="523" y="699"/>
                    <a:pt x="530" y="699"/>
                  </a:cubicBezTo>
                  <a:cubicBezTo>
                    <a:pt x="538" y="699"/>
                    <a:pt x="547" y="694"/>
                    <a:pt x="551" y="688"/>
                  </a:cubicBezTo>
                  <a:cubicBezTo>
                    <a:pt x="554" y="683"/>
                    <a:pt x="551" y="678"/>
                    <a:pt x="544" y="678"/>
                  </a:cubicBezTo>
                  <a:cubicBezTo>
                    <a:pt x="544" y="678"/>
                    <a:pt x="544" y="678"/>
                    <a:pt x="544" y="678"/>
                  </a:cubicBezTo>
                  <a:moveTo>
                    <a:pt x="582" y="678"/>
                  </a:moveTo>
                  <a:cubicBezTo>
                    <a:pt x="575" y="678"/>
                    <a:pt x="566" y="683"/>
                    <a:pt x="562" y="688"/>
                  </a:cubicBezTo>
                  <a:cubicBezTo>
                    <a:pt x="558" y="694"/>
                    <a:pt x="561" y="698"/>
                    <a:pt x="568" y="698"/>
                  </a:cubicBezTo>
                  <a:cubicBezTo>
                    <a:pt x="576" y="698"/>
                    <a:pt x="585" y="694"/>
                    <a:pt x="589" y="688"/>
                  </a:cubicBezTo>
                  <a:cubicBezTo>
                    <a:pt x="592" y="683"/>
                    <a:pt x="589" y="678"/>
                    <a:pt x="582" y="678"/>
                  </a:cubicBezTo>
                  <a:cubicBezTo>
                    <a:pt x="582" y="678"/>
                    <a:pt x="582" y="678"/>
                    <a:pt x="582" y="678"/>
                  </a:cubicBezTo>
                  <a:moveTo>
                    <a:pt x="620" y="678"/>
                  </a:moveTo>
                  <a:cubicBezTo>
                    <a:pt x="613" y="678"/>
                    <a:pt x="604" y="682"/>
                    <a:pt x="600" y="688"/>
                  </a:cubicBezTo>
                  <a:cubicBezTo>
                    <a:pt x="597" y="694"/>
                    <a:pt x="600" y="698"/>
                    <a:pt x="607" y="698"/>
                  </a:cubicBezTo>
                  <a:cubicBezTo>
                    <a:pt x="614" y="698"/>
                    <a:pt x="623" y="694"/>
                    <a:pt x="627" y="688"/>
                  </a:cubicBezTo>
                  <a:cubicBezTo>
                    <a:pt x="631" y="682"/>
                    <a:pt x="628" y="678"/>
                    <a:pt x="620" y="678"/>
                  </a:cubicBezTo>
                  <a:cubicBezTo>
                    <a:pt x="620" y="678"/>
                    <a:pt x="620" y="678"/>
                    <a:pt x="620" y="678"/>
                  </a:cubicBezTo>
                  <a:moveTo>
                    <a:pt x="658" y="678"/>
                  </a:moveTo>
                  <a:cubicBezTo>
                    <a:pt x="651" y="678"/>
                    <a:pt x="642" y="682"/>
                    <a:pt x="638" y="688"/>
                  </a:cubicBezTo>
                  <a:cubicBezTo>
                    <a:pt x="634" y="693"/>
                    <a:pt x="638" y="698"/>
                    <a:pt x="645" y="698"/>
                  </a:cubicBezTo>
                  <a:cubicBezTo>
                    <a:pt x="652" y="698"/>
                    <a:pt x="661" y="693"/>
                    <a:pt x="665" y="688"/>
                  </a:cubicBezTo>
                  <a:cubicBezTo>
                    <a:pt x="668" y="682"/>
                    <a:pt x="665" y="678"/>
                    <a:pt x="658" y="678"/>
                  </a:cubicBezTo>
                  <a:cubicBezTo>
                    <a:pt x="658" y="678"/>
                    <a:pt x="658" y="678"/>
                    <a:pt x="658" y="678"/>
                  </a:cubicBezTo>
                  <a:moveTo>
                    <a:pt x="1864" y="671"/>
                  </a:moveTo>
                  <a:cubicBezTo>
                    <a:pt x="1857" y="671"/>
                    <a:pt x="1850" y="675"/>
                    <a:pt x="1849" y="681"/>
                  </a:cubicBezTo>
                  <a:cubicBezTo>
                    <a:pt x="1848" y="687"/>
                    <a:pt x="1853" y="691"/>
                    <a:pt x="1860" y="691"/>
                  </a:cubicBezTo>
                  <a:cubicBezTo>
                    <a:pt x="1867" y="691"/>
                    <a:pt x="1874" y="686"/>
                    <a:pt x="1876" y="681"/>
                  </a:cubicBezTo>
                  <a:cubicBezTo>
                    <a:pt x="1877" y="675"/>
                    <a:pt x="1872" y="671"/>
                    <a:pt x="1865" y="671"/>
                  </a:cubicBezTo>
                  <a:cubicBezTo>
                    <a:pt x="1865" y="671"/>
                    <a:pt x="1865" y="671"/>
                    <a:pt x="1864" y="671"/>
                  </a:cubicBezTo>
                  <a:moveTo>
                    <a:pt x="1903" y="671"/>
                  </a:moveTo>
                  <a:cubicBezTo>
                    <a:pt x="1895" y="671"/>
                    <a:pt x="1888" y="675"/>
                    <a:pt x="1887" y="681"/>
                  </a:cubicBezTo>
                  <a:cubicBezTo>
                    <a:pt x="1886" y="686"/>
                    <a:pt x="1891" y="691"/>
                    <a:pt x="1898" y="691"/>
                  </a:cubicBezTo>
                  <a:cubicBezTo>
                    <a:pt x="1906" y="691"/>
                    <a:pt x="1913" y="686"/>
                    <a:pt x="1914" y="681"/>
                  </a:cubicBezTo>
                  <a:cubicBezTo>
                    <a:pt x="1915" y="675"/>
                    <a:pt x="1910" y="671"/>
                    <a:pt x="1903" y="671"/>
                  </a:cubicBezTo>
                  <a:cubicBezTo>
                    <a:pt x="1903" y="671"/>
                    <a:pt x="1903" y="671"/>
                    <a:pt x="1903" y="671"/>
                  </a:cubicBezTo>
                  <a:moveTo>
                    <a:pt x="1940" y="670"/>
                  </a:moveTo>
                  <a:cubicBezTo>
                    <a:pt x="1933" y="670"/>
                    <a:pt x="1926" y="675"/>
                    <a:pt x="1925" y="681"/>
                  </a:cubicBezTo>
                  <a:cubicBezTo>
                    <a:pt x="1924" y="686"/>
                    <a:pt x="1929" y="691"/>
                    <a:pt x="1936" y="691"/>
                  </a:cubicBezTo>
                  <a:cubicBezTo>
                    <a:pt x="1944" y="691"/>
                    <a:pt x="1950" y="686"/>
                    <a:pt x="1951" y="680"/>
                  </a:cubicBezTo>
                  <a:cubicBezTo>
                    <a:pt x="1953" y="675"/>
                    <a:pt x="1947" y="670"/>
                    <a:pt x="1940" y="670"/>
                  </a:cubicBezTo>
                  <a:cubicBezTo>
                    <a:pt x="1940" y="670"/>
                    <a:pt x="1940" y="670"/>
                    <a:pt x="1940" y="670"/>
                  </a:cubicBezTo>
                  <a:moveTo>
                    <a:pt x="1978" y="670"/>
                  </a:moveTo>
                  <a:cubicBezTo>
                    <a:pt x="1971" y="670"/>
                    <a:pt x="1964" y="675"/>
                    <a:pt x="1963" y="680"/>
                  </a:cubicBezTo>
                  <a:cubicBezTo>
                    <a:pt x="1962" y="686"/>
                    <a:pt x="1967" y="691"/>
                    <a:pt x="1974" y="690"/>
                  </a:cubicBezTo>
                  <a:cubicBezTo>
                    <a:pt x="1982" y="690"/>
                    <a:pt x="1988" y="686"/>
                    <a:pt x="1989" y="680"/>
                  </a:cubicBezTo>
                  <a:cubicBezTo>
                    <a:pt x="1990" y="675"/>
                    <a:pt x="1985" y="670"/>
                    <a:pt x="1978" y="670"/>
                  </a:cubicBezTo>
                  <a:cubicBezTo>
                    <a:pt x="1978" y="670"/>
                    <a:pt x="1978" y="670"/>
                    <a:pt x="1978" y="670"/>
                  </a:cubicBezTo>
                  <a:moveTo>
                    <a:pt x="2015" y="670"/>
                  </a:moveTo>
                  <a:cubicBezTo>
                    <a:pt x="2008" y="670"/>
                    <a:pt x="2001" y="675"/>
                    <a:pt x="2000" y="680"/>
                  </a:cubicBezTo>
                  <a:cubicBezTo>
                    <a:pt x="1999" y="686"/>
                    <a:pt x="2005" y="690"/>
                    <a:pt x="2012" y="690"/>
                  </a:cubicBezTo>
                  <a:cubicBezTo>
                    <a:pt x="2019" y="690"/>
                    <a:pt x="2026" y="686"/>
                    <a:pt x="2027" y="680"/>
                  </a:cubicBezTo>
                  <a:cubicBezTo>
                    <a:pt x="2028" y="674"/>
                    <a:pt x="2023" y="670"/>
                    <a:pt x="2015" y="670"/>
                  </a:cubicBezTo>
                  <a:cubicBezTo>
                    <a:pt x="2015" y="670"/>
                    <a:pt x="2015" y="670"/>
                    <a:pt x="2015" y="670"/>
                  </a:cubicBezTo>
                  <a:moveTo>
                    <a:pt x="2053" y="670"/>
                  </a:moveTo>
                  <a:cubicBezTo>
                    <a:pt x="2046" y="670"/>
                    <a:pt x="2039" y="674"/>
                    <a:pt x="2038" y="680"/>
                  </a:cubicBezTo>
                  <a:cubicBezTo>
                    <a:pt x="2038" y="686"/>
                    <a:pt x="2043" y="690"/>
                    <a:pt x="2050" y="690"/>
                  </a:cubicBezTo>
                  <a:cubicBezTo>
                    <a:pt x="2057" y="690"/>
                    <a:pt x="2064" y="685"/>
                    <a:pt x="2065" y="680"/>
                  </a:cubicBezTo>
                  <a:cubicBezTo>
                    <a:pt x="2066" y="674"/>
                    <a:pt x="2061" y="670"/>
                    <a:pt x="2053" y="670"/>
                  </a:cubicBezTo>
                  <a:cubicBezTo>
                    <a:pt x="2053" y="670"/>
                    <a:pt x="2053" y="670"/>
                    <a:pt x="2053" y="670"/>
                  </a:cubicBezTo>
                  <a:moveTo>
                    <a:pt x="2092" y="669"/>
                  </a:moveTo>
                  <a:cubicBezTo>
                    <a:pt x="2085" y="670"/>
                    <a:pt x="2078" y="674"/>
                    <a:pt x="2077" y="680"/>
                  </a:cubicBezTo>
                  <a:cubicBezTo>
                    <a:pt x="2077" y="685"/>
                    <a:pt x="2082" y="690"/>
                    <a:pt x="2089" y="690"/>
                  </a:cubicBezTo>
                  <a:cubicBezTo>
                    <a:pt x="2097" y="690"/>
                    <a:pt x="2103" y="685"/>
                    <a:pt x="2104" y="680"/>
                  </a:cubicBezTo>
                  <a:cubicBezTo>
                    <a:pt x="2105" y="674"/>
                    <a:pt x="2099" y="669"/>
                    <a:pt x="2092" y="669"/>
                  </a:cubicBezTo>
                  <a:cubicBezTo>
                    <a:pt x="2092" y="669"/>
                    <a:pt x="2092" y="669"/>
                    <a:pt x="2092" y="669"/>
                  </a:cubicBezTo>
                  <a:moveTo>
                    <a:pt x="2130" y="669"/>
                  </a:moveTo>
                  <a:cubicBezTo>
                    <a:pt x="2122" y="669"/>
                    <a:pt x="2116" y="674"/>
                    <a:pt x="2115" y="680"/>
                  </a:cubicBezTo>
                  <a:cubicBezTo>
                    <a:pt x="2114" y="685"/>
                    <a:pt x="2120" y="690"/>
                    <a:pt x="2127" y="690"/>
                  </a:cubicBezTo>
                  <a:cubicBezTo>
                    <a:pt x="2134" y="690"/>
                    <a:pt x="2141" y="685"/>
                    <a:pt x="2142" y="679"/>
                  </a:cubicBezTo>
                  <a:cubicBezTo>
                    <a:pt x="2142" y="674"/>
                    <a:pt x="2137" y="669"/>
                    <a:pt x="2130" y="669"/>
                  </a:cubicBezTo>
                  <a:cubicBezTo>
                    <a:pt x="2130" y="669"/>
                    <a:pt x="2130" y="669"/>
                    <a:pt x="2130" y="669"/>
                  </a:cubicBezTo>
                  <a:moveTo>
                    <a:pt x="2167" y="669"/>
                  </a:moveTo>
                  <a:cubicBezTo>
                    <a:pt x="2160" y="669"/>
                    <a:pt x="2154" y="674"/>
                    <a:pt x="2153" y="679"/>
                  </a:cubicBezTo>
                  <a:cubicBezTo>
                    <a:pt x="2152" y="685"/>
                    <a:pt x="2158" y="690"/>
                    <a:pt x="2165" y="689"/>
                  </a:cubicBezTo>
                  <a:cubicBezTo>
                    <a:pt x="2172" y="689"/>
                    <a:pt x="2179" y="685"/>
                    <a:pt x="2180" y="679"/>
                  </a:cubicBezTo>
                  <a:cubicBezTo>
                    <a:pt x="2180" y="674"/>
                    <a:pt x="2175" y="669"/>
                    <a:pt x="2168" y="669"/>
                  </a:cubicBezTo>
                  <a:cubicBezTo>
                    <a:pt x="2167" y="669"/>
                    <a:pt x="2167" y="669"/>
                    <a:pt x="2167" y="669"/>
                  </a:cubicBezTo>
                  <a:moveTo>
                    <a:pt x="2206" y="669"/>
                  </a:moveTo>
                  <a:cubicBezTo>
                    <a:pt x="2198" y="669"/>
                    <a:pt x="2192" y="673"/>
                    <a:pt x="2191" y="679"/>
                  </a:cubicBezTo>
                  <a:cubicBezTo>
                    <a:pt x="2191" y="685"/>
                    <a:pt x="2196" y="689"/>
                    <a:pt x="2204" y="689"/>
                  </a:cubicBezTo>
                  <a:cubicBezTo>
                    <a:pt x="2211" y="689"/>
                    <a:pt x="2217" y="685"/>
                    <a:pt x="2218" y="679"/>
                  </a:cubicBezTo>
                  <a:cubicBezTo>
                    <a:pt x="2218" y="673"/>
                    <a:pt x="2213" y="669"/>
                    <a:pt x="2206" y="669"/>
                  </a:cubicBezTo>
                  <a:cubicBezTo>
                    <a:pt x="2206" y="669"/>
                    <a:pt x="2206" y="669"/>
                    <a:pt x="2206" y="669"/>
                  </a:cubicBezTo>
                  <a:moveTo>
                    <a:pt x="2243" y="669"/>
                  </a:moveTo>
                  <a:cubicBezTo>
                    <a:pt x="2236" y="669"/>
                    <a:pt x="2229" y="673"/>
                    <a:pt x="2229" y="679"/>
                  </a:cubicBezTo>
                  <a:cubicBezTo>
                    <a:pt x="2228" y="685"/>
                    <a:pt x="2234" y="689"/>
                    <a:pt x="2241" y="689"/>
                  </a:cubicBezTo>
                  <a:cubicBezTo>
                    <a:pt x="2249" y="689"/>
                    <a:pt x="2255" y="684"/>
                    <a:pt x="2255" y="679"/>
                  </a:cubicBezTo>
                  <a:cubicBezTo>
                    <a:pt x="2256" y="673"/>
                    <a:pt x="2250" y="669"/>
                    <a:pt x="2243" y="669"/>
                  </a:cubicBezTo>
                  <a:cubicBezTo>
                    <a:pt x="2243" y="669"/>
                    <a:pt x="2243" y="669"/>
                    <a:pt x="2243" y="669"/>
                  </a:cubicBezTo>
                  <a:moveTo>
                    <a:pt x="2356" y="666"/>
                  </a:moveTo>
                  <a:cubicBezTo>
                    <a:pt x="2349" y="666"/>
                    <a:pt x="2343" y="670"/>
                    <a:pt x="2342" y="676"/>
                  </a:cubicBezTo>
                  <a:cubicBezTo>
                    <a:pt x="2342" y="682"/>
                    <a:pt x="2348" y="686"/>
                    <a:pt x="2355" y="686"/>
                  </a:cubicBezTo>
                  <a:cubicBezTo>
                    <a:pt x="2363" y="686"/>
                    <a:pt x="2369" y="682"/>
                    <a:pt x="2369" y="676"/>
                  </a:cubicBezTo>
                  <a:cubicBezTo>
                    <a:pt x="2369" y="670"/>
                    <a:pt x="2363" y="666"/>
                    <a:pt x="2356" y="666"/>
                  </a:cubicBezTo>
                  <a:cubicBezTo>
                    <a:pt x="2356" y="666"/>
                    <a:pt x="2356" y="666"/>
                    <a:pt x="2356" y="666"/>
                  </a:cubicBezTo>
                  <a:moveTo>
                    <a:pt x="2659" y="666"/>
                  </a:moveTo>
                  <a:cubicBezTo>
                    <a:pt x="2651" y="666"/>
                    <a:pt x="2646" y="670"/>
                    <a:pt x="2646" y="676"/>
                  </a:cubicBezTo>
                  <a:cubicBezTo>
                    <a:pt x="2646" y="682"/>
                    <a:pt x="2652" y="686"/>
                    <a:pt x="2660" y="686"/>
                  </a:cubicBezTo>
                  <a:cubicBezTo>
                    <a:pt x="2667" y="686"/>
                    <a:pt x="2673" y="681"/>
                    <a:pt x="2672" y="676"/>
                  </a:cubicBezTo>
                  <a:cubicBezTo>
                    <a:pt x="2672" y="670"/>
                    <a:pt x="2666" y="666"/>
                    <a:pt x="2659" y="666"/>
                  </a:cubicBezTo>
                  <a:cubicBezTo>
                    <a:pt x="2659" y="666"/>
                    <a:pt x="2659" y="666"/>
                    <a:pt x="2659" y="666"/>
                  </a:cubicBezTo>
                  <a:moveTo>
                    <a:pt x="2394" y="666"/>
                  </a:moveTo>
                  <a:cubicBezTo>
                    <a:pt x="2387" y="666"/>
                    <a:pt x="2381" y="670"/>
                    <a:pt x="2381" y="676"/>
                  </a:cubicBezTo>
                  <a:cubicBezTo>
                    <a:pt x="2380" y="682"/>
                    <a:pt x="2386" y="686"/>
                    <a:pt x="2394" y="686"/>
                  </a:cubicBezTo>
                  <a:cubicBezTo>
                    <a:pt x="2401" y="686"/>
                    <a:pt x="2407" y="681"/>
                    <a:pt x="2407" y="676"/>
                  </a:cubicBezTo>
                  <a:cubicBezTo>
                    <a:pt x="2407" y="670"/>
                    <a:pt x="2402" y="666"/>
                    <a:pt x="2394" y="666"/>
                  </a:cubicBezTo>
                  <a:cubicBezTo>
                    <a:pt x="2394" y="666"/>
                    <a:pt x="2394" y="666"/>
                    <a:pt x="2394" y="666"/>
                  </a:cubicBezTo>
                  <a:moveTo>
                    <a:pt x="2696" y="665"/>
                  </a:moveTo>
                  <a:cubicBezTo>
                    <a:pt x="2688" y="665"/>
                    <a:pt x="2683" y="670"/>
                    <a:pt x="2683" y="676"/>
                  </a:cubicBezTo>
                  <a:cubicBezTo>
                    <a:pt x="2684" y="681"/>
                    <a:pt x="2690" y="686"/>
                    <a:pt x="2697" y="686"/>
                  </a:cubicBezTo>
                  <a:cubicBezTo>
                    <a:pt x="2705" y="686"/>
                    <a:pt x="2710" y="681"/>
                    <a:pt x="2710" y="676"/>
                  </a:cubicBezTo>
                  <a:cubicBezTo>
                    <a:pt x="2709" y="670"/>
                    <a:pt x="2703" y="665"/>
                    <a:pt x="2696" y="665"/>
                  </a:cubicBezTo>
                  <a:cubicBezTo>
                    <a:pt x="2696" y="665"/>
                    <a:pt x="2696" y="665"/>
                    <a:pt x="2696" y="665"/>
                  </a:cubicBezTo>
                  <a:moveTo>
                    <a:pt x="2808" y="665"/>
                  </a:moveTo>
                  <a:cubicBezTo>
                    <a:pt x="2800" y="665"/>
                    <a:pt x="2795" y="670"/>
                    <a:pt x="2796" y="676"/>
                  </a:cubicBezTo>
                  <a:cubicBezTo>
                    <a:pt x="2796" y="681"/>
                    <a:pt x="2803" y="686"/>
                    <a:pt x="2810" y="686"/>
                  </a:cubicBezTo>
                  <a:cubicBezTo>
                    <a:pt x="2817" y="686"/>
                    <a:pt x="2823" y="681"/>
                    <a:pt x="2822" y="675"/>
                  </a:cubicBezTo>
                  <a:cubicBezTo>
                    <a:pt x="2821" y="670"/>
                    <a:pt x="2815" y="665"/>
                    <a:pt x="2808" y="665"/>
                  </a:cubicBezTo>
                  <a:cubicBezTo>
                    <a:pt x="2808" y="665"/>
                    <a:pt x="2808" y="665"/>
                    <a:pt x="2808" y="665"/>
                  </a:cubicBezTo>
                  <a:moveTo>
                    <a:pt x="2733" y="665"/>
                  </a:moveTo>
                  <a:cubicBezTo>
                    <a:pt x="2726" y="665"/>
                    <a:pt x="2720" y="670"/>
                    <a:pt x="2721" y="676"/>
                  </a:cubicBezTo>
                  <a:cubicBezTo>
                    <a:pt x="2721" y="681"/>
                    <a:pt x="2728" y="686"/>
                    <a:pt x="2735" y="686"/>
                  </a:cubicBezTo>
                  <a:cubicBezTo>
                    <a:pt x="2742" y="686"/>
                    <a:pt x="2748" y="681"/>
                    <a:pt x="2747" y="675"/>
                  </a:cubicBezTo>
                  <a:cubicBezTo>
                    <a:pt x="2747" y="670"/>
                    <a:pt x="2741" y="665"/>
                    <a:pt x="2733" y="665"/>
                  </a:cubicBezTo>
                  <a:cubicBezTo>
                    <a:pt x="2733" y="665"/>
                    <a:pt x="2733" y="665"/>
                    <a:pt x="2733" y="665"/>
                  </a:cubicBezTo>
                  <a:moveTo>
                    <a:pt x="2844" y="664"/>
                  </a:moveTo>
                  <a:cubicBezTo>
                    <a:pt x="2837" y="664"/>
                    <a:pt x="2831" y="669"/>
                    <a:pt x="2832" y="674"/>
                  </a:cubicBezTo>
                  <a:cubicBezTo>
                    <a:pt x="2833" y="680"/>
                    <a:pt x="2839" y="685"/>
                    <a:pt x="2847" y="685"/>
                  </a:cubicBezTo>
                  <a:cubicBezTo>
                    <a:pt x="2854" y="685"/>
                    <a:pt x="2859" y="680"/>
                    <a:pt x="2858" y="674"/>
                  </a:cubicBezTo>
                  <a:cubicBezTo>
                    <a:pt x="2858" y="669"/>
                    <a:pt x="2851" y="664"/>
                    <a:pt x="2844" y="664"/>
                  </a:cubicBezTo>
                  <a:cubicBezTo>
                    <a:pt x="2844" y="664"/>
                    <a:pt x="2844" y="664"/>
                    <a:pt x="2844" y="664"/>
                  </a:cubicBezTo>
                  <a:moveTo>
                    <a:pt x="2881" y="664"/>
                  </a:moveTo>
                  <a:cubicBezTo>
                    <a:pt x="2874" y="664"/>
                    <a:pt x="2869" y="669"/>
                    <a:pt x="2870" y="674"/>
                  </a:cubicBezTo>
                  <a:cubicBezTo>
                    <a:pt x="2870" y="680"/>
                    <a:pt x="2877" y="684"/>
                    <a:pt x="2884" y="684"/>
                  </a:cubicBezTo>
                  <a:cubicBezTo>
                    <a:pt x="2892" y="684"/>
                    <a:pt x="2897" y="680"/>
                    <a:pt x="2896" y="674"/>
                  </a:cubicBezTo>
                  <a:cubicBezTo>
                    <a:pt x="2895" y="668"/>
                    <a:pt x="2889" y="664"/>
                    <a:pt x="2881" y="664"/>
                  </a:cubicBezTo>
                  <a:cubicBezTo>
                    <a:pt x="2881" y="664"/>
                    <a:pt x="2881" y="664"/>
                    <a:pt x="2881" y="664"/>
                  </a:cubicBezTo>
                  <a:moveTo>
                    <a:pt x="2919" y="664"/>
                  </a:moveTo>
                  <a:cubicBezTo>
                    <a:pt x="2912" y="664"/>
                    <a:pt x="2907" y="668"/>
                    <a:pt x="2907" y="674"/>
                  </a:cubicBezTo>
                  <a:cubicBezTo>
                    <a:pt x="2908" y="680"/>
                    <a:pt x="2915" y="684"/>
                    <a:pt x="2922" y="684"/>
                  </a:cubicBezTo>
                  <a:cubicBezTo>
                    <a:pt x="2930" y="684"/>
                    <a:pt x="2935" y="680"/>
                    <a:pt x="2934" y="674"/>
                  </a:cubicBezTo>
                  <a:cubicBezTo>
                    <a:pt x="2933" y="668"/>
                    <a:pt x="2926" y="664"/>
                    <a:pt x="2919" y="664"/>
                  </a:cubicBezTo>
                  <a:cubicBezTo>
                    <a:pt x="2919" y="664"/>
                    <a:pt x="2919" y="664"/>
                    <a:pt x="2919" y="664"/>
                  </a:cubicBezTo>
                  <a:moveTo>
                    <a:pt x="2771" y="664"/>
                  </a:moveTo>
                  <a:cubicBezTo>
                    <a:pt x="2764" y="664"/>
                    <a:pt x="2758" y="668"/>
                    <a:pt x="2759" y="674"/>
                  </a:cubicBezTo>
                  <a:cubicBezTo>
                    <a:pt x="2759" y="680"/>
                    <a:pt x="2766" y="684"/>
                    <a:pt x="2773" y="684"/>
                  </a:cubicBezTo>
                  <a:cubicBezTo>
                    <a:pt x="2780" y="684"/>
                    <a:pt x="2786" y="680"/>
                    <a:pt x="2785" y="674"/>
                  </a:cubicBezTo>
                  <a:cubicBezTo>
                    <a:pt x="2784" y="668"/>
                    <a:pt x="2778" y="664"/>
                    <a:pt x="2771" y="664"/>
                  </a:cubicBezTo>
                  <a:cubicBezTo>
                    <a:pt x="2771" y="664"/>
                    <a:pt x="2771" y="664"/>
                    <a:pt x="2771" y="664"/>
                  </a:cubicBezTo>
                  <a:moveTo>
                    <a:pt x="2957" y="664"/>
                  </a:moveTo>
                  <a:cubicBezTo>
                    <a:pt x="2950" y="664"/>
                    <a:pt x="2945" y="668"/>
                    <a:pt x="2946" y="674"/>
                  </a:cubicBezTo>
                  <a:cubicBezTo>
                    <a:pt x="2947" y="679"/>
                    <a:pt x="2953" y="684"/>
                    <a:pt x="2961" y="684"/>
                  </a:cubicBezTo>
                  <a:cubicBezTo>
                    <a:pt x="2968" y="684"/>
                    <a:pt x="2973" y="679"/>
                    <a:pt x="2972" y="674"/>
                  </a:cubicBezTo>
                  <a:cubicBezTo>
                    <a:pt x="2971" y="668"/>
                    <a:pt x="2965" y="664"/>
                    <a:pt x="2957" y="664"/>
                  </a:cubicBezTo>
                  <a:cubicBezTo>
                    <a:pt x="2957" y="664"/>
                    <a:pt x="2957" y="664"/>
                    <a:pt x="2957" y="664"/>
                  </a:cubicBezTo>
                  <a:moveTo>
                    <a:pt x="2995" y="663"/>
                  </a:moveTo>
                  <a:cubicBezTo>
                    <a:pt x="2987" y="663"/>
                    <a:pt x="2982" y="668"/>
                    <a:pt x="2983" y="674"/>
                  </a:cubicBezTo>
                  <a:cubicBezTo>
                    <a:pt x="2984" y="679"/>
                    <a:pt x="2991" y="684"/>
                    <a:pt x="2998" y="684"/>
                  </a:cubicBezTo>
                  <a:cubicBezTo>
                    <a:pt x="3006" y="684"/>
                    <a:pt x="3011" y="679"/>
                    <a:pt x="3010" y="673"/>
                  </a:cubicBezTo>
                  <a:cubicBezTo>
                    <a:pt x="3009" y="668"/>
                    <a:pt x="3002" y="663"/>
                    <a:pt x="2995" y="663"/>
                  </a:cubicBezTo>
                  <a:cubicBezTo>
                    <a:pt x="2995" y="663"/>
                    <a:pt x="2995" y="663"/>
                    <a:pt x="2995" y="663"/>
                  </a:cubicBezTo>
                  <a:moveTo>
                    <a:pt x="2621" y="663"/>
                  </a:moveTo>
                  <a:cubicBezTo>
                    <a:pt x="2614" y="663"/>
                    <a:pt x="2608" y="668"/>
                    <a:pt x="2608" y="674"/>
                  </a:cubicBezTo>
                  <a:cubicBezTo>
                    <a:pt x="2609" y="679"/>
                    <a:pt x="2615" y="684"/>
                    <a:pt x="2622" y="684"/>
                  </a:cubicBezTo>
                  <a:cubicBezTo>
                    <a:pt x="2629" y="684"/>
                    <a:pt x="2635" y="679"/>
                    <a:pt x="2635" y="673"/>
                  </a:cubicBezTo>
                  <a:cubicBezTo>
                    <a:pt x="2634" y="668"/>
                    <a:pt x="2628" y="663"/>
                    <a:pt x="2621" y="663"/>
                  </a:cubicBezTo>
                  <a:cubicBezTo>
                    <a:pt x="2621" y="663"/>
                    <a:pt x="2621" y="663"/>
                    <a:pt x="2621" y="663"/>
                  </a:cubicBezTo>
                  <a:moveTo>
                    <a:pt x="3032" y="663"/>
                  </a:moveTo>
                  <a:cubicBezTo>
                    <a:pt x="3025" y="663"/>
                    <a:pt x="3020" y="668"/>
                    <a:pt x="3021" y="673"/>
                  </a:cubicBezTo>
                  <a:cubicBezTo>
                    <a:pt x="3022" y="679"/>
                    <a:pt x="3029" y="684"/>
                    <a:pt x="3036" y="684"/>
                  </a:cubicBezTo>
                  <a:cubicBezTo>
                    <a:pt x="3043" y="684"/>
                    <a:pt x="3049" y="679"/>
                    <a:pt x="3047" y="673"/>
                  </a:cubicBezTo>
                  <a:cubicBezTo>
                    <a:pt x="3046" y="668"/>
                    <a:pt x="3040" y="663"/>
                    <a:pt x="3032" y="663"/>
                  </a:cubicBezTo>
                  <a:cubicBezTo>
                    <a:pt x="3032" y="663"/>
                    <a:pt x="3032" y="663"/>
                    <a:pt x="3032" y="663"/>
                  </a:cubicBezTo>
                  <a:moveTo>
                    <a:pt x="3070" y="663"/>
                  </a:moveTo>
                  <a:cubicBezTo>
                    <a:pt x="3062" y="663"/>
                    <a:pt x="3057" y="668"/>
                    <a:pt x="3059" y="673"/>
                  </a:cubicBezTo>
                  <a:cubicBezTo>
                    <a:pt x="3060" y="679"/>
                    <a:pt x="3067" y="683"/>
                    <a:pt x="3074" y="683"/>
                  </a:cubicBezTo>
                  <a:cubicBezTo>
                    <a:pt x="3081" y="683"/>
                    <a:pt x="3086" y="679"/>
                    <a:pt x="3085" y="673"/>
                  </a:cubicBezTo>
                  <a:cubicBezTo>
                    <a:pt x="3084" y="667"/>
                    <a:pt x="3077" y="663"/>
                    <a:pt x="3070" y="663"/>
                  </a:cubicBezTo>
                  <a:cubicBezTo>
                    <a:pt x="3070" y="663"/>
                    <a:pt x="3070" y="663"/>
                    <a:pt x="3070" y="663"/>
                  </a:cubicBezTo>
                  <a:moveTo>
                    <a:pt x="3107" y="663"/>
                  </a:moveTo>
                  <a:cubicBezTo>
                    <a:pt x="3100" y="663"/>
                    <a:pt x="3095" y="667"/>
                    <a:pt x="3096" y="673"/>
                  </a:cubicBezTo>
                  <a:cubicBezTo>
                    <a:pt x="3098" y="679"/>
                    <a:pt x="3105" y="683"/>
                    <a:pt x="3112" y="683"/>
                  </a:cubicBezTo>
                  <a:cubicBezTo>
                    <a:pt x="3119" y="683"/>
                    <a:pt x="3124" y="679"/>
                    <a:pt x="3123" y="673"/>
                  </a:cubicBezTo>
                  <a:cubicBezTo>
                    <a:pt x="3122" y="667"/>
                    <a:pt x="3115" y="663"/>
                    <a:pt x="3107" y="663"/>
                  </a:cubicBezTo>
                  <a:cubicBezTo>
                    <a:pt x="3107" y="663"/>
                    <a:pt x="3107" y="663"/>
                    <a:pt x="3107" y="663"/>
                  </a:cubicBezTo>
                  <a:moveTo>
                    <a:pt x="3146" y="662"/>
                  </a:moveTo>
                  <a:cubicBezTo>
                    <a:pt x="3139" y="663"/>
                    <a:pt x="3134" y="667"/>
                    <a:pt x="3135" y="673"/>
                  </a:cubicBezTo>
                  <a:cubicBezTo>
                    <a:pt x="3137" y="678"/>
                    <a:pt x="3144" y="683"/>
                    <a:pt x="3151" y="683"/>
                  </a:cubicBezTo>
                  <a:cubicBezTo>
                    <a:pt x="3158" y="683"/>
                    <a:pt x="3163" y="678"/>
                    <a:pt x="3162" y="673"/>
                  </a:cubicBezTo>
                  <a:cubicBezTo>
                    <a:pt x="3160" y="667"/>
                    <a:pt x="3154" y="662"/>
                    <a:pt x="3146" y="662"/>
                  </a:cubicBezTo>
                  <a:cubicBezTo>
                    <a:pt x="3146" y="662"/>
                    <a:pt x="3146" y="662"/>
                    <a:pt x="3146" y="662"/>
                  </a:cubicBezTo>
                  <a:moveTo>
                    <a:pt x="3184" y="662"/>
                  </a:moveTo>
                  <a:cubicBezTo>
                    <a:pt x="3176" y="662"/>
                    <a:pt x="3172" y="667"/>
                    <a:pt x="3173" y="673"/>
                  </a:cubicBezTo>
                  <a:cubicBezTo>
                    <a:pt x="3174" y="678"/>
                    <a:pt x="3181" y="683"/>
                    <a:pt x="3189" y="683"/>
                  </a:cubicBezTo>
                  <a:cubicBezTo>
                    <a:pt x="3196" y="683"/>
                    <a:pt x="3201" y="678"/>
                    <a:pt x="3199" y="672"/>
                  </a:cubicBezTo>
                  <a:cubicBezTo>
                    <a:pt x="3198" y="667"/>
                    <a:pt x="3191" y="662"/>
                    <a:pt x="3184" y="662"/>
                  </a:cubicBezTo>
                  <a:cubicBezTo>
                    <a:pt x="3184" y="662"/>
                    <a:pt x="3184" y="662"/>
                    <a:pt x="3184" y="662"/>
                  </a:cubicBezTo>
                  <a:moveTo>
                    <a:pt x="3674" y="662"/>
                  </a:moveTo>
                  <a:cubicBezTo>
                    <a:pt x="3667" y="662"/>
                    <a:pt x="3663" y="667"/>
                    <a:pt x="3665" y="672"/>
                  </a:cubicBezTo>
                  <a:cubicBezTo>
                    <a:pt x="3668" y="678"/>
                    <a:pt x="3675" y="683"/>
                    <a:pt x="3683" y="683"/>
                  </a:cubicBezTo>
                  <a:cubicBezTo>
                    <a:pt x="3690" y="683"/>
                    <a:pt x="3694" y="678"/>
                    <a:pt x="3692" y="672"/>
                  </a:cubicBezTo>
                  <a:cubicBezTo>
                    <a:pt x="3689" y="667"/>
                    <a:pt x="3682" y="662"/>
                    <a:pt x="3674" y="662"/>
                  </a:cubicBezTo>
                  <a:cubicBezTo>
                    <a:pt x="3674" y="662"/>
                    <a:pt x="3674" y="662"/>
                    <a:pt x="3674" y="662"/>
                  </a:cubicBezTo>
                  <a:moveTo>
                    <a:pt x="3221" y="662"/>
                  </a:moveTo>
                  <a:cubicBezTo>
                    <a:pt x="3214" y="662"/>
                    <a:pt x="3209" y="667"/>
                    <a:pt x="3211" y="672"/>
                  </a:cubicBezTo>
                  <a:cubicBezTo>
                    <a:pt x="3212" y="678"/>
                    <a:pt x="3219" y="683"/>
                    <a:pt x="3227" y="683"/>
                  </a:cubicBezTo>
                  <a:cubicBezTo>
                    <a:pt x="3234" y="683"/>
                    <a:pt x="3239" y="678"/>
                    <a:pt x="3237" y="672"/>
                  </a:cubicBezTo>
                  <a:cubicBezTo>
                    <a:pt x="3236" y="667"/>
                    <a:pt x="3229" y="662"/>
                    <a:pt x="3221" y="662"/>
                  </a:cubicBezTo>
                  <a:cubicBezTo>
                    <a:pt x="3221" y="662"/>
                    <a:pt x="3221" y="662"/>
                    <a:pt x="3221" y="662"/>
                  </a:cubicBezTo>
                  <a:moveTo>
                    <a:pt x="3712" y="662"/>
                  </a:moveTo>
                  <a:cubicBezTo>
                    <a:pt x="3704" y="662"/>
                    <a:pt x="3700" y="667"/>
                    <a:pt x="3703" y="672"/>
                  </a:cubicBezTo>
                  <a:cubicBezTo>
                    <a:pt x="3705" y="678"/>
                    <a:pt x="3713" y="683"/>
                    <a:pt x="3720" y="682"/>
                  </a:cubicBezTo>
                  <a:cubicBezTo>
                    <a:pt x="3728" y="682"/>
                    <a:pt x="3732" y="678"/>
                    <a:pt x="3729" y="672"/>
                  </a:cubicBezTo>
                  <a:cubicBezTo>
                    <a:pt x="3727" y="666"/>
                    <a:pt x="3719" y="662"/>
                    <a:pt x="3712" y="662"/>
                  </a:cubicBezTo>
                  <a:cubicBezTo>
                    <a:pt x="3712" y="662"/>
                    <a:pt x="3712" y="662"/>
                    <a:pt x="3712" y="662"/>
                  </a:cubicBezTo>
                  <a:moveTo>
                    <a:pt x="3259" y="662"/>
                  </a:moveTo>
                  <a:cubicBezTo>
                    <a:pt x="3252" y="662"/>
                    <a:pt x="3247" y="667"/>
                    <a:pt x="3249" y="672"/>
                  </a:cubicBezTo>
                  <a:cubicBezTo>
                    <a:pt x="3250" y="678"/>
                    <a:pt x="3258" y="682"/>
                    <a:pt x="3265" y="682"/>
                  </a:cubicBezTo>
                  <a:cubicBezTo>
                    <a:pt x="3272" y="682"/>
                    <a:pt x="3277" y="678"/>
                    <a:pt x="3275" y="672"/>
                  </a:cubicBezTo>
                  <a:cubicBezTo>
                    <a:pt x="3274" y="666"/>
                    <a:pt x="3267" y="662"/>
                    <a:pt x="3259" y="662"/>
                  </a:cubicBezTo>
                  <a:cubicBezTo>
                    <a:pt x="3259" y="662"/>
                    <a:pt x="3259" y="662"/>
                    <a:pt x="3259" y="662"/>
                  </a:cubicBezTo>
                  <a:moveTo>
                    <a:pt x="3749" y="662"/>
                  </a:moveTo>
                  <a:cubicBezTo>
                    <a:pt x="3742" y="662"/>
                    <a:pt x="3738" y="666"/>
                    <a:pt x="3741" y="672"/>
                  </a:cubicBezTo>
                  <a:cubicBezTo>
                    <a:pt x="3743" y="678"/>
                    <a:pt x="3751" y="682"/>
                    <a:pt x="3758" y="682"/>
                  </a:cubicBezTo>
                  <a:cubicBezTo>
                    <a:pt x="3766" y="682"/>
                    <a:pt x="3770" y="678"/>
                    <a:pt x="3767" y="672"/>
                  </a:cubicBezTo>
                  <a:cubicBezTo>
                    <a:pt x="3765" y="666"/>
                    <a:pt x="3757" y="662"/>
                    <a:pt x="3749" y="662"/>
                  </a:cubicBezTo>
                  <a:cubicBezTo>
                    <a:pt x="3749" y="662"/>
                    <a:pt x="3749" y="662"/>
                    <a:pt x="3749" y="662"/>
                  </a:cubicBezTo>
                  <a:moveTo>
                    <a:pt x="3297" y="662"/>
                  </a:moveTo>
                  <a:cubicBezTo>
                    <a:pt x="3290" y="662"/>
                    <a:pt x="3285" y="666"/>
                    <a:pt x="3286" y="672"/>
                  </a:cubicBezTo>
                  <a:cubicBezTo>
                    <a:pt x="3288" y="678"/>
                    <a:pt x="3295" y="682"/>
                    <a:pt x="3303" y="682"/>
                  </a:cubicBezTo>
                  <a:cubicBezTo>
                    <a:pt x="3310" y="682"/>
                    <a:pt x="3315" y="677"/>
                    <a:pt x="3313" y="672"/>
                  </a:cubicBezTo>
                  <a:cubicBezTo>
                    <a:pt x="3311" y="666"/>
                    <a:pt x="3304" y="662"/>
                    <a:pt x="3297" y="662"/>
                  </a:cubicBezTo>
                  <a:cubicBezTo>
                    <a:pt x="3297" y="662"/>
                    <a:pt x="3297" y="662"/>
                    <a:pt x="3297" y="662"/>
                  </a:cubicBezTo>
                  <a:moveTo>
                    <a:pt x="3789" y="662"/>
                  </a:moveTo>
                  <a:cubicBezTo>
                    <a:pt x="3782" y="662"/>
                    <a:pt x="3778" y="666"/>
                    <a:pt x="3781" y="672"/>
                  </a:cubicBezTo>
                  <a:cubicBezTo>
                    <a:pt x="3783" y="678"/>
                    <a:pt x="3791" y="682"/>
                    <a:pt x="3799" y="682"/>
                  </a:cubicBezTo>
                  <a:cubicBezTo>
                    <a:pt x="3806" y="682"/>
                    <a:pt x="3810" y="677"/>
                    <a:pt x="3807" y="672"/>
                  </a:cubicBezTo>
                  <a:cubicBezTo>
                    <a:pt x="3805" y="666"/>
                    <a:pt x="3797" y="662"/>
                    <a:pt x="3789" y="662"/>
                  </a:cubicBezTo>
                  <a:cubicBezTo>
                    <a:pt x="3789" y="662"/>
                    <a:pt x="3789" y="662"/>
                    <a:pt x="3789" y="662"/>
                  </a:cubicBezTo>
                  <a:moveTo>
                    <a:pt x="3334" y="661"/>
                  </a:moveTo>
                  <a:cubicBezTo>
                    <a:pt x="3327" y="661"/>
                    <a:pt x="3323" y="666"/>
                    <a:pt x="3324" y="672"/>
                  </a:cubicBezTo>
                  <a:cubicBezTo>
                    <a:pt x="3326" y="677"/>
                    <a:pt x="3333" y="682"/>
                    <a:pt x="3340" y="682"/>
                  </a:cubicBezTo>
                  <a:cubicBezTo>
                    <a:pt x="3348" y="682"/>
                    <a:pt x="3352" y="677"/>
                    <a:pt x="3351" y="672"/>
                  </a:cubicBezTo>
                  <a:cubicBezTo>
                    <a:pt x="3349" y="666"/>
                    <a:pt x="3342" y="661"/>
                    <a:pt x="3334" y="661"/>
                  </a:cubicBezTo>
                  <a:cubicBezTo>
                    <a:pt x="3334" y="661"/>
                    <a:pt x="3334" y="661"/>
                    <a:pt x="3334" y="661"/>
                  </a:cubicBezTo>
                  <a:moveTo>
                    <a:pt x="3826" y="661"/>
                  </a:moveTo>
                  <a:cubicBezTo>
                    <a:pt x="3819" y="661"/>
                    <a:pt x="3815" y="666"/>
                    <a:pt x="3818" y="672"/>
                  </a:cubicBezTo>
                  <a:cubicBezTo>
                    <a:pt x="3821" y="677"/>
                    <a:pt x="3829" y="682"/>
                    <a:pt x="3836" y="682"/>
                  </a:cubicBezTo>
                  <a:cubicBezTo>
                    <a:pt x="3843" y="682"/>
                    <a:pt x="3847" y="677"/>
                    <a:pt x="3844" y="672"/>
                  </a:cubicBezTo>
                  <a:cubicBezTo>
                    <a:pt x="3842" y="666"/>
                    <a:pt x="3834" y="661"/>
                    <a:pt x="3826" y="661"/>
                  </a:cubicBezTo>
                  <a:cubicBezTo>
                    <a:pt x="3826" y="661"/>
                    <a:pt x="3826" y="661"/>
                    <a:pt x="3826" y="661"/>
                  </a:cubicBezTo>
                  <a:moveTo>
                    <a:pt x="3372" y="661"/>
                  </a:moveTo>
                  <a:cubicBezTo>
                    <a:pt x="3365" y="661"/>
                    <a:pt x="3360" y="666"/>
                    <a:pt x="3362" y="672"/>
                  </a:cubicBezTo>
                  <a:cubicBezTo>
                    <a:pt x="3363" y="677"/>
                    <a:pt x="3371" y="682"/>
                    <a:pt x="3378" y="682"/>
                  </a:cubicBezTo>
                  <a:cubicBezTo>
                    <a:pt x="3385" y="682"/>
                    <a:pt x="3390" y="677"/>
                    <a:pt x="3388" y="671"/>
                  </a:cubicBezTo>
                  <a:cubicBezTo>
                    <a:pt x="3386" y="666"/>
                    <a:pt x="3379" y="661"/>
                    <a:pt x="3372" y="661"/>
                  </a:cubicBezTo>
                  <a:cubicBezTo>
                    <a:pt x="3372" y="661"/>
                    <a:pt x="3372" y="661"/>
                    <a:pt x="3372" y="661"/>
                  </a:cubicBezTo>
                  <a:moveTo>
                    <a:pt x="3864" y="661"/>
                  </a:moveTo>
                  <a:cubicBezTo>
                    <a:pt x="3857" y="661"/>
                    <a:pt x="3853" y="666"/>
                    <a:pt x="3856" y="671"/>
                  </a:cubicBezTo>
                  <a:cubicBezTo>
                    <a:pt x="3858" y="677"/>
                    <a:pt x="3866" y="682"/>
                    <a:pt x="3874" y="682"/>
                  </a:cubicBezTo>
                  <a:cubicBezTo>
                    <a:pt x="3881" y="682"/>
                    <a:pt x="3885" y="677"/>
                    <a:pt x="3882" y="671"/>
                  </a:cubicBezTo>
                  <a:cubicBezTo>
                    <a:pt x="3879" y="666"/>
                    <a:pt x="3871" y="661"/>
                    <a:pt x="3864" y="661"/>
                  </a:cubicBezTo>
                  <a:cubicBezTo>
                    <a:pt x="3864" y="661"/>
                    <a:pt x="3864" y="661"/>
                    <a:pt x="3864" y="661"/>
                  </a:cubicBezTo>
                  <a:moveTo>
                    <a:pt x="3409" y="661"/>
                  </a:moveTo>
                  <a:cubicBezTo>
                    <a:pt x="3402" y="661"/>
                    <a:pt x="3398" y="666"/>
                    <a:pt x="3400" y="671"/>
                  </a:cubicBezTo>
                  <a:cubicBezTo>
                    <a:pt x="3401" y="677"/>
                    <a:pt x="3409" y="682"/>
                    <a:pt x="3416" y="682"/>
                  </a:cubicBezTo>
                  <a:cubicBezTo>
                    <a:pt x="3423" y="682"/>
                    <a:pt x="3428" y="677"/>
                    <a:pt x="3426" y="671"/>
                  </a:cubicBezTo>
                  <a:cubicBezTo>
                    <a:pt x="3424" y="666"/>
                    <a:pt x="3417" y="661"/>
                    <a:pt x="3410" y="661"/>
                  </a:cubicBezTo>
                  <a:cubicBezTo>
                    <a:pt x="3410" y="661"/>
                    <a:pt x="3410" y="661"/>
                    <a:pt x="3409" y="661"/>
                  </a:cubicBezTo>
                  <a:moveTo>
                    <a:pt x="3901" y="661"/>
                  </a:moveTo>
                  <a:cubicBezTo>
                    <a:pt x="3894" y="661"/>
                    <a:pt x="3891" y="666"/>
                    <a:pt x="3893" y="671"/>
                  </a:cubicBezTo>
                  <a:cubicBezTo>
                    <a:pt x="3896" y="677"/>
                    <a:pt x="3904" y="682"/>
                    <a:pt x="3912" y="681"/>
                  </a:cubicBezTo>
                  <a:cubicBezTo>
                    <a:pt x="3919" y="681"/>
                    <a:pt x="3923" y="677"/>
                    <a:pt x="3920" y="671"/>
                  </a:cubicBezTo>
                  <a:cubicBezTo>
                    <a:pt x="3917" y="665"/>
                    <a:pt x="3909" y="661"/>
                    <a:pt x="3902" y="661"/>
                  </a:cubicBezTo>
                  <a:cubicBezTo>
                    <a:pt x="3902" y="661"/>
                    <a:pt x="3902" y="661"/>
                    <a:pt x="3901" y="661"/>
                  </a:cubicBezTo>
                  <a:moveTo>
                    <a:pt x="3448" y="661"/>
                  </a:moveTo>
                  <a:cubicBezTo>
                    <a:pt x="3440" y="661"/>
                    <a:pt x="3436" y="666"/>
                    <a:pt x="3438" y="671"/>
                  </a:cubicBezTo>
                  <a:cubicBezTo>
                    <a:pt x="3440" y="677"/>
                    <a:pt x="3447" y="681"/>
                    <a:pt x="3454" y="681"/>
                  </a:cubicBezTo>
                  <a:cubicBezTo>
                    <a:pt x="3462" y="681"/>
                    <a:pt x="3466" y="677"/>
                    <a:pt x="3464" y="671"/>
                  </a:cubicBezTo>
                  <a:cubicBezTo>
                    <a:pt x="3462" y="665"/>
                    <a:pt x="3455" y="661"/>
                    <a:pt x="3448" y="661"/>
                  </a:cubicBezTo>
                  <a:cubicBezTo>
                    <a:pt x="3448" y="661"/>
                    <a:pt x="3448" y="661"/>
                    <a:pt x="3448" y="661"/>
                  </a:cubicBezTo>
                  <a:moveTo>
                    <a:pt x="3940" y="661"/>
                  </a:moveTo>
                  <a:cubicBezTo>
                    <a:pt x="3932" y="661"/>
                    <a:pt x="3929" y="665"/>
                    <a:pt x="3932" y="671"/>
                  </a:cubicBezTo>
                  <a:cubicBezTo>
                    <a:pt x="3934" y="677"/>
                    <a:pt x="3943" y="681"/>
                    <a:pt x="3950" y="681"/>
                  </a:cubicBezTo>
                  <a:cubicBezTo>
                    <a:pt x="3957" y="681"/>
                    <a:pt x="3961" y="677"/>
                    <a:pt x="3958" y="671"/>
                  </a:cubicBezTo>
                  <a:cubicBezTo>
                    <a:pt x="3955" y="665"/>
                    <a:pt x="3947" y="661"/>
                    <a:pt x="3940" y="661"/>
                  </a:cubicBezTo>
                  <a:cubicBezTo>
                    <a:pt x="3940" y="661"/>
                    <a:pt x="3940" y="661"/>
                    <a:pt x="3940" y="661"/>
                  </a:cubicBezTo>
                  <a:moveTo>
                    <a:pt x="3485" y="661"/>
                  </a:moveTo>
                  <a:cubicBezTo>
                    <a:pt x="3478" y="661"/>
                    <a:pt x="3473" y="665"/>
                    <a:pt x="3475" y="671"/>
                  </a:cubicBezTo>
                  <a:cubicBezTo>
                    <a:pt x="3477" y="677"/>
                    <a:pt x="3485" y="681"/>
                    <a:pt x="3492" y="681"/>
                  </a:cubicBezTo>
                  <a:cubicBezTo>
                    <a:pt x="3499" y="681"/>
                    <a:pt x="3504" y="676"/>
                    <a:pt x="3502" y="671"/>
                  </a:cubicBezTo>
                  <a:cubicBezTo>
                    <a:pt x="3500" y="665"/>
                    <a:pt x="3492" y="661"/>
                    <a:pt x="3485" y="661"/>
                  </a:cubicBezTo>
                  <a:cubicBezTo>
                    <a:pt x="3485" y="661"/>
                    <a:pt x="3485" y="661"/>
                    <a:pt x="3485" y="661"/>
                  </a:cubicBezTo>
                  <a:moveTo>
                    <a:pt x="3977" y="660"/>
                  </a:moveTo>
                  <a:cubicBezTo>
                    <a:pt x="3970" y="661"/>
                    <a:pt x="3966" y="665"/>
                    <a:pt x="3969" y="671"/>
                  </a:cubicBezTo>
                  <a:cubicBezTo>
                    <a:pt x="3972" y="677"/>
                    <a:pt x="3980" y="681"/>
                    <a:pt x="3988" y="681"/>
                  </a:cubicBezTo>
                  <a:cubicBezTo>
                    <a:pt x="3995" y="681"/>
                    <a:pt x="3998" y="676"/>
                    <a:pt x="3995" y="671"/>
                  </a:cubicBezTo>
                  <a:cubicBezTo>
                    <a:pt x="3992" y="665"/>
                    <a:pt x="3984" y="660"/>
                    <a:pt x="3977" y="660"/>
                  </a:cubicBezTo>
                  <a:cubicBezTo>
                    <a:pt x="3977" y="660"/>
                    <a:pt x="3977" y="660"/>
                    <a:pt x="3977" y="660"/>
                  </a:cubicBezTo>
                  <a:moveTo>
                    <a:pt x="3523" y="660"/>
                  </a:moveTo>
                  <a:cubicBezTo>
                    <a:pt x="3515" y="660"/>
                    <a:pt x="3511" y="665"/>
                    <a:pt x="3513" y="671"/>
                  </a:cubicBezTo>
                  <a:cubicBezTo>
                    <a:pt x="3515" y="676"/>
                    <a:pt x="3523" y="681"/>
                    <a:pt x="3530" y="681"/>
                  </a:cubicBezTo>
                  <a:cubicBezTo>
                    <a:pt x="3537" y="681"/>
                    <a:pt x="3541" y="676"/>
                    <a:pt x="3539" y="671"/>
                  </a:cubicBezTo>
                  <a:cubicBezTo>
                    <a:pt x="3537" y="665"/>
                    <a:pt x="3530" y="660"/>
                    <a:pt x="3523" y="660"/>
                  </a:cubicBezTo>
                  <a:cubicBezTo>
                    <a:pt x="3523" y="660"/>
                    <a:pt x="3523" y="660"/>
                    <a:pt x="3523" y="660"/>
                  </a:cubicBezTo>
                  <a:moveTo>
                    <a:pt x="4013" y="660"/>
                  </a:moveTo>
                  <a:cubicBezTo>
                    <a:pt x="4006" y="660"/>
                    <a:pt x="4003" y="665"/>
                    <a:pt x="4006" y="671"/>
                  </a:cubicBezTo>
                  <a:cubicBezTo>
                    <a:pt x="4009" y="676"/>
                    <a:pt x="4017" y="681"/>
                    <a:pt x="4024" y="681"/>
                  </a:cubicBezTo>
                  <a:cubicBezTo>
                    <a:pt x="4032" y="681"/>
                    <a:pt x="4035" y="676"/>
                    <a:pt x="4032" y="670"/>
                  </a:cubicBezTo>
                  <a:cubicBezTo>
                    <a:pt x="4029" y="665"/>
                    <a:pt x="4021" y="660"/>
                    <a:pt x="4014" y="660"/>
                  </a:cubicBezTo>
                  <a:cubicBezTo>
                    <a:pt x="4014" y="660"/>
                    <a:pt x="4013" y="660"/>
                    <a:pt x="4013" y="660"/>
                  </a:cubicBezTo>
                  <a:moveTo>
                    <a:pt x="3560" y="660"/>
                  </a:moveTo>
                  <a:cubicBezTo>
                    <a:pt x="3553" y="660"/>
                    <a:pt x="3548" y="665"/>
                    <a:pt x="3551" y="671"/>
                  </a:cubicBezTo>
                  <a:cubicBezTo>
                    <a:pt x="3553" y="676"/>
                    <a:pt x="3560" y="681"/>
                    <a:pt x="3568" y="681"/>
                  </a:cubicBezTo>
                  <a:cubicBezTo>
                    <a:pt x="3575" y="681"/>
                    <a:pt x="3579" y="676"/>
                    <a:pt x="3577" y="670"/>
                  </a:cubicBezTo>
                  <a:cubicBezTo>
                    <a:pt x="3575" y="665"/>
                    <a:pt x="3567" y="660"/>
                    <a:pt x="3560" y="660"/>
                  </a:cubicBezTo>
                  <a:cubicBezTo>
                    <a:pt x="3560" y="660"/>
                    <a:pt x="3560" y="660"/>
                    <a:pt x="3560" y="660"/>
                  </a:cubicBezTo>
                  <a:moveTo>
                    <a:pt x="3598" y="660"/>
                  </a:moveTo>
                  <a:cubicBezTo>
                    <a:pt x="3590" y="660"/>
                    <a:pt x="3586" y="665"/>
                    <a:pt x="3588" y="670"/>
                  </a:cubicBezTo>
                  <a:cubicBezTo>
                    <a:pt x="3591" y="676"/>
                    <a:pt x="3598" y="681"/>
                    <a:pt x="3606" y="681"/>
                  </a:cubicBezTo>
                  <a:cubicBezTo>
                    <a:pt x="3613" y="681"/>
                    <a:pt x="3617" y="676"/>
                    <a:pt x="3615" y="670"/>
                  </a:cubicBezTo>
                  <a:cubicBezTo>
                    <a:pt x="3613" y="665"/>
                    <a:pt x="3605" y="660"/>
                    <a:pt x="3598" y="660"/>
                  </a:cubicBezTo>
                  <a:cubicBezTo>
                    <a:pt x="3598" y="660"/>
                    <a:pt x="3598" y="660"/>
                    <a:pt x="3598" y="660"/>
                  </a:cubicBezTo>
                  <a:moveTo>
                    <a:pt x="3636" y="660"/>
                  </a:moveTo>
                  <a:cubicBezTo>
                    <a:pt x="3628" y="660"/>
                    <a:pt x="3624" y="664"/>
                    <a:pt x="3626" y="670"/>
                  </a:cubicBezTo>
                  <a:cubicBezTo>
                    <a:pt x="3629" y="676"/>
                    <a:pt x="3637" y="680"/>
                    <a:pt x="3644" y="680"/>
                  </a:cubicBezTo>
                  <a:cubicBezTo>
                    <a:pt x="3651" y="680"/>
                    <a:pt x="3655" y="676"/>
                    <a:pt x="3653" y="670"/>
                  </a:cubicBezTo>
                  <a:cubicBezTo>
                    <a:pt x="3651" y="664"/>
                    <a:pt x="3643" y="660"/>
                    <a:pt x="3636" y="660"/>
                  </a:cubicBezTo>
                  <a:cubicBezTo>
                    <a:pt x="3636" y="660"/>
                    <a:pt x="3636" y="660"/>
                    <a:pt x="3636" y="660"/>
                  </a:cubicBezTo>
                  <a:moveTo>
                    <a:pt x="75" y="652"/>
                  </a:moveTo>
                  <a:cubicBezTo>
                    <a:pt x="68" y="652"/>
                    <a:pt x="58" y="656"/>
                    <a:pt x="53" y="662"/>
                  </a:cubicBezTo>
                  <a:cubicBezTo>
                    <a:pt x="48" y="668"/>
                    <a:pt x="50" y="672"/>
                    <a:pt x="58" y="672"/>
                  </a:cubicBezTo>
                  <a:cubicBezTo>
                    <a:pt x="65" y="672"/>
                    <a:pt x="75" y="667"/>
                    <a:pt x="80" y="662"/>
                  </a:cubicBezTo>
                  <a:cubicBezTo>
                    <a:pt x="84" y="656"/>
                    <a:pt x="82" y="652"/>
                    <a:pt x="75" y="652"/>
                  </a:cubicBezTo>
                  <a:cubicBezTo>
                    <a:pt x="75" y="652"/>
                    <a:pt x="75" y="652"/>
                    <a:pt x="75" y="652"/>
                  </a:cubicBezTo>
                  <a:moveTo>
                    <a:pt x="114" y="652"/>
                  </a:moveTo>
                  <a:cubicBezTo>
                    <a:pt x="107" y="652"/>
                    <a:pt x="97" y="656"/>
                    <a:pt x="92" y="662"/>
                  </a:cubicBezTo>
                  <a:cubicBezTo>
                    <a:pt x="88" y="667"/>
                    <a:pt x="90" y="672"/>
                    <a:pt x="97" y="672"/>
                  </a:cubicBezTo>
                  <a:cubicBezTo>
                    <a:pt x="104" y="672"/>
                    <a:pt x="114" y="667"/>
                    <a:pt x="119" y="662"/>
                  </a:cubicBezTo>
                  <a:cubicBezTo>
                    <a:pt x="123" y="656"/>
                    <a:pt x="121" y="652"/>
                    <a:pt x="114" y="652"/>
                  </a:cubicBezTo>
                  <a:cubicBezTo>
                    <a:pt x="114" y="652"/>
                    <a:pt x="114" y="652"/>
                    <a:pt x="114" y="652"/>
                  </a:cubicBezTo>
                  <a:moveTo>
                    <a:pt x="151" y="651"/>
                  </a:moveTo>
                  <a:cubicBezTo>
                    <a:pt x="144" y="651"/>
                    <a:pt x="135" y="656"/>
                    <a:pt x="130" y="662"/>
                  </a:cubicBezTo>
                  <a:cubicBezTo>
                    <a:pt x="125" y="667"/>
                    <a:pt x="127" y="672"/>
                    <a:pt x="135" y="672"/>
                  </a:cubicBezTo>
                  <a:cubicBezTo>
                    <a:pt x="142" y="672"/>
                    <a:pt x="152" y="667"/>
                    <a:pt x="156" y="661"/>
                  </a:cubicBezTo>
                  <a:cubicBezTo>
                    <a:pt x="161" y="656"/>
                    <a:pt x="159" y="651"/>
                    <a:pt x="152" y="651"/>
                  </a:cubicBezTo>
                  <a:cubicBezTo>
                    <a:pt x="152" y="651"/>
                    <a:pt x="151" y="651"/>
                    <a:pt x="151" y="651"/>
                  </a:cubicBezTo>
                  <a:moveTo>
                    <a:pt x="189" y="651"/>
                  </a:moveTo>
                  <a:cubicBezTo>
                    <a:pt x="181" y="651"/>
                    <a:pt x="172" y="656"/>
                    <a:pt x="167" y="661"/>
                  </a:cubicBezTo>
                  <a:cubicBezTo>
                    <a:pt x="163" y="667"/>
                    <a:pt x="165" y="671"/>
                    <a:pt x="172" y="671"/>
                  </a:cubicBezTo>
                  <a:cubicBezTo>
                    <a:pt x="179" y="671"/>
                    <a:pt x="189" y="667"/>
                    <a:pt x="194" y="661"/>
                  </a:cubicBezTo>
                  <a:cubicBezTo>
                    <a:pt x="198" y="656"/>
                    <a:pt x="196" y="651"/>
                    <a:pt x="189" y="651"/>
                  </a:cubicBezTo>
                  <a:cubicBezTo>
                    <a:pt x="189" y="651"/>
                    <a:pt x="189" y="651"/>
                    <a:pt x="189" y="651"/>
                  </a:cubicBezTo>
                  <a:moveTo>
                    <a:pt x="226" y="651"/>
                  </a:moveTo>
                  <a:cubicBezTo>
                    <a:pt x="219" y="651"/>
                    <a:pt x="209" y="656"/>
                    <a:pt x="205" y="661"/>
                  </a:cubicBezTo>
                  <a:cubicBezTo>
                    <a:pt x="200" y="667"/>
                    <a:pt x="203" y="671"/>
                    <a:pt x="210" y="671"/>
                  </a:cubicBezTo>
                  <a:cubicBezTo>
                    <a:pt x="217" y="671"/>
                    <a:pt x="227" y="667"/>
                    <a:pt x="231" y="661"/>
                  </a:cubicBezTo>
                  <a:cubicBezTo>
                    <a:pt x="236" y="655"/>
                    <a:pt x="233" y="651"/>
                    <a:pt x="226" y="651"/>
                  </a:cubicBezTo>
                  <a:cubicBezTo>
                    <a:pt x="226" y="651"/>
                    <a:pt x="226" y="651"/>
                    <a:pt x="226" y="651"/>
                  </a:cubicBezTo>
                  <a:moveTo>
                    <a:pt x="263" y="651"/>
                  </a:moveTo>
                  <a:cubicBezTo>
                    <a:pt x="256" y="651"/>
                    <a:pt x="247" y="655"/>
                    <a:pt x="242" y="661"/>
                  </a:cubicBezTo>
                  <a:cubicBezTo>
                    <a:pt x="238" y="666"/>
                    <a:pt x="240" y="671"/>
                    <a:pt x="247" y="671"/>
                  </a:cubicBezTo>
                  <a:cubicBezTo>
                    <a:pt x="255" y="671"/>
                    <a:pt x="264" y="666"/>
                    <a:pt x="268" y="661"/>
                  </a:cubicBezTo>
                  <a:cubicBezTo>
                    <a:pt x="273" y="655"/>
                    <a:pt x="271" y="651"/>
                    <a:pt x="263" y="651"/>
                  </a:cubicBezTo>
                  <a:cubicBezTo>
                    <a:pt x="263" y="651"/>
                    <a:pt x="263" y="651"/>
                    <a:pt x="263" y="651"/>
                  </a:cubicBezTo>
                  <a:moveTo>
                    <a:pt x="301" y="650"/>
                  </a:moveTo>
                  <a:cubicBezTo>
                    <a:pt x="294" y="651"/>
                    <a:pt x="284" y="655"/>
                    <a:pt x="280" y="661"/>
                  </a:cubicBezTo>
                  <a:cubicBezTo>
                    <a:pt x="275" y="666"/>
                    <a:pt x="278" y="671"/>
                    <a:pt x="285" y="671"/>
                  </a:cubicBezTo>
                  <a:cubicBezTo>
                    <a:pt x="292" y="671"/>
                    <a:pt x="302" y="666"/>
                    <a:pt x="306" y="661"/>
                  </a:cubicBezTo>
                  <a:cubicBezTo>
                    <a:pt x="310" y="655"/>
                    <a:pt x="308" y="650"/>
                    <a:pt x="301" y="650"/>
                  </a:cubicBezTo>
                  <a:cubicBezTo>
                    <a:pt x="301" y="650"/>
                    <a:pt x="301" y="650"/>
                    <a:pt x="301" y="650"/>
                  </a:cubicBezTo>
                  <a:moveTo>
                    <a:pt x="339" y="650"/>
                  </a:moveTo>
                  <a:cubicBezTo>
                    <a:pt x="332" y="650"/>
                    <a:pt x="323" y="655"/>
                    <a:pt x="319" y="660"/>
                  </a:cubicBezTo>
                  <a:cubicBezTo>
                    <a:pt x="314" y="666"/>
                    <a:pt x="317" y="671"/>
                    <a:pt x="324" y="671"/>
                  </a:cubicBezTo>
                  <a:cubicBezTo>
                    <a:pt x="331" y="670"/>
                    <a:pt x="341" y="666"/>
                    <a:pt x="345" y="660"/>
                  </a:cubicBezTo>
                  <a:cubicBezTo>
                    <a:pt x="349" y="655"/>
                    <a:pt x="347" y="650"/>
                    <a:pt x="340" y="650"/>
                  </a:cubicBezTo>
                  <a:cubicBezTo>
                    <a:pt x="340" y="650"/>
                    <a:pt x="340" y="650"/>
                    <a:pt x="339" y="650"/>
                  </a:cubicBezTo>
                  <a:moveTo>
                    <a:pt x="377" y="650"/>
                  </a:moveTo>
                  <a:cubicBezTo>
                    <a:pt x="369" y="650"/>
                    <a:pt x="360" y="655"/>
                    <a:pt x="356" y="660"/>
                  </a:cubicBezTo>
                  <a:cubicBezTo>
                    <a:pt x="352" y="666"/>
                    <a:pt x="354" y="670"/>
                    <a:pt x="362" y="670"/>
                  </a:cubicBezTo>
                  <a:cubicBezTo>
                    <a:pt x="369" y="670"/>
                    <a:pt x="378" y="666"/>
                    <a:pt x="382" y="660"/>
                  </a:cubicBezTo>
                  <a:cubicBezTo>
                    <a:pt x="386" y="655"/>
                    <a:pt x="384" y="650"/>
                    <a:pt x="377" y="650"/>
                  </a:cubicBezTo>
                  <a:cubicBezTo>
                    <a:pt x="377" y="650"/>
                    <a:pt x="377" y="650"/>
                    <a:pt x="377" y="650"/>
                  </a:cubicBezTo>
                  <a:moveTo>
                    <a:pt x="414" y="650"/>
                  </a:moveTo>
                  <a:cubicBezTo>
                    <a:pt x="407" y="650"/>
                    <a:pt x="398" y="654"/>
                    <a:pt x="394" y="660"/>
                  </a:cubicBezTo>
                  <a:cubicBezTo>
                    <a:pt x="390" y="666"/>
                    <a:pt x="392" y="670"/>
                    <a:pt x="399" y="670"/>
                  </a:cubicBezTo>
                  <a:cubicBezTo>
                    <a:pt x="407" y="670"/>
                    <a:pt x="416" y="666"/>
                    <a:pt x="420" y="660"/>
                  </a:cubicBezTo>
                  <a:cubicBezTo>
                    <a:pt x="424" y="654"/>
                    <a:pt x="422" y="650"/>
                    <a:pt x="414" y="650"/>
                  </a:cubicBezTo>
                  <a:cubicBezTo>
                    <a:pt x="414" y="650"/>
                    <a:pt x="414" y="650"/>
                    <a:pt x="414" y="650"/>
                  </a:cubicBezTo>
                  <a:moveTo>
                    <a:pt x="452" y="650"/>
                  </a:moveTo>
                  <a:cubicBezTo>
                    <a:pt x="445" y="650"/>
                    <a:pt x="436" y="654"/>
                    <a:pt x="432" y="660"/>
                  </a:cubicBezTo>
                  <a:cubicBezTo>
                    <a:pt x="428" y="665"/>
                    <a:pt x="430" y="670"/>
                    <a:pt x="438" y="670"/>
                  </a:cubicBezTo>
                  <a:cubicBezTo>
                    <a:pt x="445" y="670"/>
                    <a:pt x="454" y="665"/>
                    <a:pt x="458" y="660"/>
                  </a:cubicBezTo>
                  <a:cubicBezTo>
                    <a:pt x="462" y="654"/>
                    <a:pt x="459" y="650"/>
                    <a:pt x="452" y="650"/>
                  </a:cubicBezTo>
                  <a:cubicBezTo>
                    <a:pt x="452" y="650"/>
                    <a:pt x="452" y="650"/>
                    <a:pt x="452" y="650"/>
                  </a:cubicBezTo>
                  <a:moveTo>
                    <a:pt x="489" y="649"/>
                  </a:moveTo>
                  <a:cubicBezTo>
                    <a:pt x="482" y="649"/>
                    <a:pt x="473" y="654"/>
                    <a:pt x="469" y="660"/>
                  </a:cubicBezTo>
                  <a:cubicBezTo>
                    <a:pt x="465" y="665"/>
                    <a:pt x="468" y="670"/>
                    <a:pt x="475" y="670"/>
                  </a:cubicBezTo>
                  <a:cubicBezTo>
                    <a:pt x="482" y="670"/>
                    <a:pt x="491" y="665"/>
                    <a:pt x="495" y="659"/>
                  </a:cubicBezTo>
                  <a:cubicBezTo>
                    <a:pt x="499" y="654"/>
                    <a:pt x="497" y="649"/>
                    <a:pt x="489" y="649"/>
                  </a:cubicBezTo>
                  <a:cubicBezTo>
                    <a:pt x="489" y="649"/>
                    <a:pt x="489" y="649"/>
                    <a:pt x="489" y="649"/>
                  </a:cubicBezTo>
                  <a:moveTo>
                    <a:pt x="527" y="649"/>
                  </a:moveTo>
                  <a:cubicBezTo>
                    <a:pt x="520" y="649"/>
                    <a:pt x="511" y="654"/>
                    <a:pt x="507" y="659"/>
                  </a:cubicBezTo>
                  <a:cubicBezTo>
                    <a:pt x="503" y="665"/>
                    <a:pt x="505" y="670"/>
                    <a:pt x="513" y="669"/>
                  </a:cubicBezTo>
                  <a:cubicBezTo>
                    <a:pt x="520" y="669"/>
                    <a:pt x="529" y="665"/>
                    <a:pt x="533" y="659"/>
                  </a:cubicBezTo>
                  <a:cubicBezTo>
                    <a:pt x="537" y="654"/>
                    <a:pt x="534" y="649"/>
                    <a:pt x="527" y="649"/>
                  </a:cubicBezTo>
                  <a:cubicBezTo>
                    <a:pt x="527" y="649"/>
                    <a:pt x="527" y="649"/>
                    <a:pt x="527" y="649"/>
                  </a:cubicBezTo>
                  <a:moveTo>
                    <a:pt x="564" y="649"/>
                  </a:moveTo>
                  <a:cubicBezTo>
                    <a:pt x="557" y="649"/>
                    <a:pt x="548" y="654"/>
                    <a:pt x="544" y="659"/>
                  </a:cubicBezTo>
                  <a:cubicBezTo>
                    <a:pt x="540" y="665"/>
                    <a:pt x="543" y="669"/>
                    <a:pt x="550" y="669"/>
                  </a:cubicBezTo>
                  <a:cubicBezTo>
                    <a:pt x="558" y="669"/>
                    <a:pt x="567" y="665"/>
                    <a:pt x="570" y="659"/>
                  </a:cubicBezTo>
                  <a:cubicBezTo>
                    <a:pt x="574" y="653"/>
                    <a:pt x="571" y="649"/>
                    <a:pt x="564" y="649"/>
                  </a:cubicBezTo>
                  <a:cubicBezTo>
                    <a:pt x="564" y="649"/>
                    <a:pt x="564" y="649"/>
                    <a:pt x="564" y="649"/>
                  </a:cubicBezTo>
                  <a:moveTo>
                    <a:pt x="602" y="649"/>
                  </a:moveTo>
                  <a:cubicBezTo>
                    <a:pt x="594" y="649"/>
                    <a:pt x="585" y="653"/>
                    <a:pt x="582" y="659"/>
                  </a:cubicBezTo>
                  <a:cubicBezTo>
                    <a:pt x="578" y="665"/>
                    <a:pt x="581" y="669"/>
                    <a:pt x="588" y="669"/>
                  </a:cubicBezTo>
                  <a:cubicBezTo>
                    <a:pt x="595" y="669"/>
                    <a:pt x="604" y="664"/>
                    <a:pt x="608" y="659"/>
                  </a:cubicBezTo>
                  <a:cubicBezTo>
                    <a:pt x="612" y="653"/>
                    <a:pt x="609" y="649"/>
                    <a:pt x="602" y="649"/>
                  </a:cubicBezTo>
                  <a:cubicBezTo>
                    <a:pt x="602" y="649"/>
                    <a:pt x="602" y="649"/>
                    <a:pt x="602" y="649"/>
                  </a:cubicBezTo>
                  <a:moveTo>
                    <a:pt x="639" y="649"/>
                  </a:moveTo>
                  <a:cubicBezTo>
                    <a:pt x="632" y="649"/>
                    <a:pt x="623" y="653"/>
                    <a:pt x="620" y="659"/>
                  </a:cubicBezTo>
                  <a:cubicBezTo>
                    <a:pt x="616" y="664"/>
                    <a:pt x="619" y="669"/>
                    <a:pt x="626" y="669"/>
                  </a:cubicBezTo>
                  <a:cubicBezTo>
                    <a:pt x="634" y="669"/>
                    <a:pt x="642" y="664"/>
                    <a:pt x="646" y="659"/>
                  </a:cubicBezTo>
                  <a:cubicBezTo>
                    <a:pt x="650" y="653"/>
                    <a:pt x="647" y="649"/>
                    <a:pt x="640" y="649"/>
                  </a:cubicBezTo>
                  <a:cubicBezTo>
                    <a:pt x="639" y="649"/>
                    <a:pt x="639" y="649"/>
                    <a:pt x="639" y="649"/>
                  </a:cubicBezTo>
                  <a:moveTo>
                    <a:pt x="677" y="648"/>
                  </a:moveTo>
                  <a:cubicBezTo>
                    <a:pt x="669" y="648"/>
                    <a:pt x="661" y="653"/>
                    <a:pt x="657" y="659"/>
                  </a:cubicBezTo>
                  <a:cubicBezTo>
                    <a:pt x="653" y="664"/>
                    <a:pt x="656" y="669"/>
                    <a:pt x="664" y="669"/>
                  </a:cubicBezTo>
                  <a:cubicBezTo>
                    <a:pt x="671" y="669"/>
                    <a:pt x="680" y="664"/>
                    <a:pt x="683" y="658"/>
                  </a:cubicBezTo>
                  <a:cubicBezTo>
                    <a:pt x="687" y="653"/>
                    <a:pt x="684" y="648"/>
                    <a:pt x="677" y="648"/>
                  </a:cubicBezTo>
                  <a:cubicBezTo>
                    <a:pt x="677" y="648"/>
                    <a:pt x="677" y="648"/>
                    <a:pt x="677" y="648"/>
                  </a:cubicBezTo>
                  <a:moveTo>
                    <a:pt x="714" y="648"/>
                  </a:moveTo>
                  <a:cubicBezTo>
                    <a:pt x="707" y="648"/>
                    <a:pt x="698" y="653"/>
                    <a:pt x="695" y="658"/>
                  </a:cubicBezTo>
                  <a:cubicBezTo>
                    <a:pt x="691" y="664"/>
                    <a:pt x="694" y="668"/>
                    <a:pt x="701" y="668"/>
                  </a:cubicBezTo>
                  <a:cubicBezTo>
                    <a:pt x="709" y="668"/>
                    <a:pt x="717" y="664"/>
                    <a:pt x="721" y="658"/>
                  </a:cubicBezTo>
                  <a:cubicBezTo>
                    <a:pt x="724" y="653"/>
                    <a:pt x="721" y="648"/>
                    <a:pt x="714" y="648"/>
                  </a:cubicBezTo>
                  <a:cubicBezTo>
                    <a:pt x="714" y="648"/>
                    <a:pt x="714" y="648"/>
                    <a:pt x="714" y="648"/>
                  </a:cubicBezTo>
                  <a:moveTo>
                    <a:pt x="1909" y="640"/>
                  </a:moveTo>
                  <a:cubicBezTo>
                    <a:pt x="1902" y="640"/>
                    <a:pt x="1895" y="644"/>
                    <a:pt x="1894" y="650"/>
                  </a:cubicBezTo>
                  <a:cubicBezTo>
                    <a:pt x="1893" y="656"/>
                    <a:pt x="1898" y="660"/>
                    <a:pt x="1905" y="660"/>
                  </a:cubicBezTo>
                  <a:cubicBezTo>
                    <a:pt x="1912" y="660"/>
                    <a:pt x="1919" y="656"/>
                    <a:pt x="1920" y="650"/>
                  </a:cubicBezTo>
                  <a:cubicBezTo>
                    <a:pt x="1921" y="644"/>
                    <a:pt x="1916" y="640"/>
                    <a:pt x="1909" y="640"/>
                  </a:cubicBezTo>
                  <a:cubicBezTo>
                    <a:pt x="1909" y="640"/>
                    <a:pt x="1909" y="640"/>
                    <a:pt x="1909" y="640"/>
                  </a:cubicBezTo>
                  <a:moveTo>
                    <a:pt x="1946" y="640"/>
                  </a:moveTo>
                  <a:cubicBezTo>
                    <a:pt x="1939" y="640"/>
                    <a:pt x="1932" y="644"/>
                    <a:pt x="1931" y="650"/>
                  </a:cubicBezTo>
                  <a:cubicBezTo>
                    <a:pt x="1930" y="655"/>
                    <a:pt x="1935" y="660"/>
                    <a:pt x="1942" y="660"/>
                  </a:cubicBezTo>
                  <a:cubicBezTo>
                    <a:pt x="1949" y="660"/>
                    <a:pt x="1956" y="655"/>
                    <a:pt x="1957" y="650"/>
                  </a:cubicBezTo>
                  <a:cubicBezTo>
                    <a:pt x="1958" y="644"/>
                    <a:pt x="1953" y="640"/>
                    <a:pt x="1946" y="640"/>
                  </a:cubicBezTo>
                  <a:cubicBezTo>
                    <a:pt x="1946" y="640"/>
                    <a:pt x="1946" y="640"/>
                    <a:pt x="1946" y="640"/>
                  </a:cubicBezTo>
                  <a:moveTo>
                    <a:pt x="1983" y="639"/>
                  </a:moveTo>
                  <a:cubicBezTo>
                    <a:pt x="1976" y="639"/>
                    <a:pt x="1969" y="644"/>
                    <a:pt x="1968" y="650"/>
                  </a:cubicBezTo>
                  <a:cubicBezTo>
                    <a:pt x="1967" y="655"/>
                    <a:pt x="1972" y="660"/>
                    <a:pt x="1980" y="660"/>
                  </a:cubicBezTo>
                  <a:cubicBezTo>
                    <a:pt x="1987" y="660"/>
                    <a:pt x="1994" y="655"/>
                    <a:pt x="1995" y="649"/>
                  </a:cubicBezTo>
                  <a:cubicBezTo>
                    <a:pt x="1996" y="644"/>
                    <a:pt x="1991" y="639"/>
                    <a:pt x="1983" y="639"/>
                  </a:cubicBezTo>
                  <a:cubicBezTo>
                    <a:pt x="1983" y="639"/>
                    <a:pt x="1983" y="639"/>
                    <a:pt x="1983" y="639"/>
                  </a:cubicBezTo>
                  <a:moveTo>
                    <a:pt x="2020" y="639"/>
                  </a:moveTo>
                  <a:cubicBezTo>
                    <a:pt x="2013" y="639"/>
                    <a:pt x="2007" y="644"/>
                    <a:pt x="2006" y="649"/>
                  </a:cubicBezTo>
                  <a:cubicBezTo>
                    <a:pt x="2005" y="655"/>
                    <a:pt x="2010" y="660"/>
                    <a:pt x="2017" y="660"/>
                  </a:cubicBezTo>
                  <a:cubicBezTo>
                    <a:pt x="2024" y="659"/>
                    <a:pt x="2031" y="655"/>
                    <a:pt x="2032" y="649"/>
                  </a:cubicBezTo>
                  <a:cubicBezTo>
                    <a:pt x="2033" y="644"/>
                    <a:pt x="2028" y="639"/>
                    <a:pt x="2021" y="639"/>
                  </a:cubicBezTo>
                  <a:cubicBezTo>
                    <a:pt x="2021" y="639"/>
                    <a:pt x="2020" y="639"/>
                    <a:pt x="2020" y="639"/>
                  </a:cubicBezTo>
                  <a:moveTo>
                    <a:pt x="2058" y="639"/>
                  </a:moveTo>
                  <a:cubicBezTo>
                    <a:pt x="2051" y="639"/>
                    <a:pt x="2044" y="644"/>
                    <a:pt x="2043" y="649"/>
                  </a:cubicBezTo>
                  <a:cubicBezTo>
                    <a:pt x="2042" y="655"/>
                    <a:pt x="2048" y="659"/>
                    <a:pt x="2055" y="659"/>
                  </a:cubicBezTo>
                  <a:cubicBezTo>
                    <a:pt x="2062" y="659"/>
                    <a:pt x="2069" y="655"/>
                    <a:pt x="2069" y="649"/>
                  </a:cubicBezTo>
                  <a:cubicBezTo>
                    <a:pt x="2070" y="643"/>
                    <a:pt x="2065" y="639"/>
                    <a:pt x="2058" y="639"/>
                  </a:cubicBezTo>
                  <a:cubicBezTo>
                    <a:pt x="2058" y="639"/>
                    <a:pt x="2058" y="639"/>
                    <a:pt x="2058" y="639"/>
                  </a:cubicBezTo>
                  <a:moveTo>
                    <a:pt x="2096" y="639"/>
                  </a:moveTo>
                  <a:cubicBezTo>
                    <a:pt x="2089" y="639"/>
                    <a:pt x="2083" y="643"/>
                    <a:pt x="2082" y="649"/>
                  </a:cubicBezTo>
                  <a:cubicBezTo>
                    <a:pt x="2081" y="655"/>
                    <a:pt x="2086" y="659"/>
                    <a:pt x="2094" y="659"/>
                  </a:cubicBezTo>
                  <a:cubicBezTo>
                    <a:pt x="2101" y="659"/>
                    <a:pt x="2107" y="654"/>
                    <a:pt x="2108" y="649"/>
                  </a:cubicBezTo>
                  <a:cubicBezTo>
                    <a:pt x="2109" y="643"/>
                    <a:pt x="2104" y="639"/>
                    <a:pt x="2096" y="639"/>
                  </a:cubicBezTo>
                  <a:cubicBezTo>
                    <a:pt x="2096" y="639"/>
                    <a:pt x="2096" y="639"/>
                    <a:pt x="2096" y="639"/>
                  </a:cubicBezTo>
                  <a:moveTo>
                    <a:pt x="2133" y="638"/>
                  </a:moveTo>
                  <a:cubicBezTo>
                    <a:pt x="2126" y="639"/>
                    <a:pt x="2120" y="643"/>
                    <a:pt x="2119" y="649"/>
                  </a:cubicBezTo>
                  <a:cubicBezTo>
                    <a:pt x="2118" y="654"/>
                    <a:pt x="2124" y="659"/>
                    <a:pt x="2131" y="659"/>
                  </a:cubicBezTo>
                  <a:cubicBezTo>
                    <a:pt x="2138" y="659"/>
                    <a:pt x="2145" y="654"/>
                    <a:pt x="2145" y="649"/>
                  </a:cubicBezTo>
                  <a:cubicBezTo>
                    <a:pt x="2146" y="643"/>
                    <a:pt x="2141" y="638"/>
                    <a:pt x="2134" y="638"/>
                  </a:cubicBezTo>
                  <a:cubicBezTo>
                    <a:pt x="2134" y="638"/>
                    <a:pt x="2134" y="638"/>
                    <a:pt x="2133" y="638"/>
                  </a:cubicBezTo>
                  <a:moveTo>
                    <a:pt x="2171" y="638"/>
                  </a:moveTo>
                  <a:cubicBezTo>
                    <a:pt x="2164" y="638"/>
                    <a:pt x="2157" y="643"/>
                    <a:pt x="2157" y="649"/>
                  </a:cubicBezTo>
                  <a:cubicBezTo>
                    <a:pt x="2156" y="654"/>
                    <a:pt x="2161" y="659"/>
                    <a:pt x="2169" y="659"/>
                  </a:cubicBezTo>
                  <a:cubicBezTo>
                    <a:pt x="2176" y="659"/>
                    <a:pt x="2182" y="654"/>
                    <a:pt x="2183" y="648"/>
                  </a:cubicBezTo>
                  <a:cubicBezTo>
                    <a:pt x="2183" y="643"/>
                    <a:pt x="2178" y="638"/>
                    <a:pt x="2171" y="638"/>
                  </a:cubicBezTo>
                  <a:cubicBezTo>
                    <a:pt x="2171" y="638"/>
                    <a:pt x="2171" y="638"/>
                    <a:pt x="2171" y="638"/>
                  </a:cubicBezTo>
                  <a:moveTo>
                    <a:pt x="2805" y="636"/>
                  </a:moveTo>
                  <a:cubicBezTo>
                    <a:pt x="2798" y="636"/>
                    <a:pt x="2793" y="641"/>
                    <a:pt x="2793" y="647"/>
                  </a:cubicBezTo>
                  <a:cubicBezTo>
                    <a:pt x="2794" y="652"/>
                    <a:pt x="2800" y="657"/>
                    <a:pt x="2808" y="657"/>
                  </a:cubicBezTo>
                  <a:cubicBezTo>
                    <a:pt x="2815" y="657"/>
                    <a:pt x="2820" y="652"/>
                    <a:pt x="2820" y="646"/>
                  </a:cubicBezTo>
                  <a:cubicBezTo>
                    <a:pt x="2819" y="641"/>
                    <a:pt x="2813" y="636"/>
                    <a:pt x="2806" y="636"/>
                  </a:cubicBezTo>
                  <a:cubicBezTo>
                    <a:pt x="2805" y="636"/>
                    <a:pt x="2805" y="636"/>
                    <a:pt x="2805" y="636"/>
                  </a:cubicBezTo>
                  <a:moveTo>
                    <a:pt x="2841" y="636"/>
                  </a:moveTo>
                  <a:cubicBezTo>
                    <a:pt x="2833" y="636"/>
                    <a:pt x="2828" y="641"/>
                    <a:pt x="2829" y="646"/>
                  </a:cubicBezTo>
                  <a:cubicBezTo>
                    <a:pt x="2829" y="652"/>
                    <a:pt x="2836" y="657"/>
                    <a:pt x="2843" y="657"/>
                  </a:cubicBezTo>
                  <a:cubicBezTo>
                    <a:pt x="2850" y="657"/>
                    <a:pt x="2856" y="652"/>
                    <a:pt x="2855" y="646"/>
                  </a:cubicBezTo>
                  <a:cubicBezTo>
                    <a:pt x="2854" y="641"/>
                    <a:pt x="2848" y="636"/>
                    <a:pt x="2841" y="636"/>
                  </a:cubicBezTo>
                  <a:cubicBezTo>
                    <a:pt x="2841" y="636"/>
                    <a:pt x="2841" y="636"/>
                    <a:pt x="2841" y="636"/>
                  </a:cubicBezTo>
                  <a:moveTo>
                    <a:pt x="2878" y="636"/>
                  </a:moveTo>
                  <a:cubicBezTo>
                    <a:pt x="2870" y="636"/>
                    <a:pt x="2865" y="641"/>
                    <a:pt x="2866" y="646"/>
                  </a:cubicBezTo>
                  <a:cubicBezTo>
                    <a:pt x="2867" y="652"/>
                    <a:pt x="2873" y="656"/>
                    <a:pt x="2880" y="656"/>
                  </a:cubicBezTo>
                  <a:cubicBezTo>
                    <a:pt x="2888" y="656"/>
                    <a:pt x="2893" y="652"/>
                    <a:pt x="2892" y="646"/>
                  </a:cubicBezTo>
                  <a:cubicBezTo>
                    <a:pt x="2891" y="640"/>
                    <a:pt x="2885" y="636"/>
                    <a:pt x="2878" y="636"/>
                  </a:cubicBezTo>
                  <a:cubicBezTo>
                    <a:pt x="2878" y="636"/>
                    <a:pt x="2878" y="636"/>
                    <a:pt x="2878" y="636"/>
                  </a:cubicBezTo>
                  <a:moveTo>
                    <a:pt x="2915" y="636"/>
                  </a:moveTo>
                  <a:cubicBezTo>
                    <a:pt x="2908" y="636"/>
                    <a:pt x="2903" y="640"/>
                    <a:pt x="2903" y="646"/>
                  </a:cubicBezTo>
                  <a:cubicBezTo>
                    <a:pt x="2904" y="652"/>
                    <a:pt x="2911" y="656"/>
                    <a:pt x="2918" y="656"/>
                  </a:cubicBezTo>
                  <a:cubicBezTo>
                    <a:pt x="2925" y="656"/>
                    <a:pt x="2930" y="652"/>
                    <a:pt x="2930" y="646"/>
                  </a:cubicBezTo>
                  <a:cubicBezTo>
                    <a:pt x="2929" y="640"/>
                    <a:pt x="2922" y="636"/>
                    <a:pt x="2915" y="636"/>
                  </a:cubicBezTo>
                  <a:cubicBezTo>
                    <a:pt x="2915" y="636"/>
                    <a:pt x="2915" y="636"/>
                    <a:pt x="2915" y="636"/>
                  </a:cubicBezTo>
                  <a:moveTo>
                    <a:pt x="2953" y="635"/>
                  </a:moveTo>
                  <a:cubicBezTo>
                    <a:pt x="2945" y="635"/>
                    <a:pt x="2940" y="640"/>
                    <a:pt x="2941" y="646"/>
                  </a:cubicBezTo>
                  <a:cubicBezTo>
                    <a:pt x="2942" y="651"/>
                    <a:pt x="2949" y="656"/>
                    <a:pt x="2956" y="656"/>
                  </a:cubicBezTo>
                  <a:cubicBezTo>
                    <a:pt x="2963" y="656"/>
                    <a:pt x="2968" y="651"/>
                    <a:pt x="2967" y="646"/>
                  </a:cubicBezTo>
                  <a:cubicBezTo>
                    <a:pt x="2966" y="640"/>
                    <a:pt x="2960" y="635"/>
                    <a:pt x="2953" y="635"/>
                  </a:cubicBezTo>
                  <a:cubicBezTo>
                    <a:pt x="2953" y="635"/>
                    <a:pt x="2953" y="635"/>
                    <a:pt x="2953" y="635"/>
                  </a:cubicBezTo>
                  <a:moveTo>
                    <a:pt x="2990" y="635"/>
                  </a:moveTo>
                  <a:cubicBezTo>
                    <a:pt x="2982" y="635"/>
                    <a:pt x="2977" y="640"/>
                    <a:pt x="2978" y="646"/>
                  </a:cubicBezTo>
                  <a:cubicBezTo>
                    <a:pt x="2979" y="651"/>
                    <a:pt x="2986" y="656"/>
                    <a:pt x="2993" y="656"/>
                  </a:cubicBezTo>
                  <a:cubicBezTo>
                    <a:pt x="3001" y="656"/>
                    <a:pt x="3006" y="651"/>
                    <a:pt x="3005" y="645"/>
                  </a:cubicBezTo>
                  <a:cubicBezTo>
                    <a:pt x="3004" y="640"/>
                    <a:pt x="2997" y="635"/>
                    <a:pt x="2990" y="635"/>
                  </a:cubicBezTo>
                  <a:cubicBezTo>
                    <a:pt x="2990" y="635"/>
                    <a:pt x="2990" y="635"/>
                    <a:pt x="2990" y="635"/>
                  </a:cubicBezTo>
                  <a:moveTo>
                    <a:pt x="3027" y="635"/>
                  </a:moveTo>
                  <a:cubicBezTo>
                    <a:pt x="3020" y="635"/>
                    <a:pt x="3015" y="640"/>
                    <a:pt x="3016" y="645"/>
                  </a:cubicBezTo>
                  <a:cubicBezTo>
                    <a:pt x="3017" y="651"/>
                    <a:pt x="3024" y="656"/>
                    <a:pt x="3031" y="656"/>
                  </a:cubicBezTo>
                  <a:cubicBezTo>
                    <a:pt x="3038" y="655"/>
                    <a:pt x="3043" y="651"/>
                    <a:pt x="3042" y="645"/>
                  </a:cubicBezTo>
                  <a:cubicBezTo>
                    <a:pt x="3041" y="640"/>
                    <a:pt x="3034" y="635"/>
                    <a:pt x="3027" y="635"/>
                  </a:cubicBezTo>
                  <a:cubicBezTo>
                    <a:pt x="3027" y="635"/>
                    <a:pt x="3027" y="635"/>
                    <a:pt x="3027" y="635"/>
                  </a:cubicBezTo>
                  <a:moveTo>
                    <a:pt x="3064" y="635"/>
                  </a:moveTo>
                  <a:cubicBezTo>
                    <a:pt x="3057" y="635"/>
                    <a:pt x="3052" y="640"/>
                    <a:pt x="3053" y="645"/>
                  </a:cubicBezTo>
                  <a:cubicBezTo>
                    <a:pt x="3054" y="651"/>
                    <a:pt x="3061" y="655"/>
                    <a:pt x="3068" y="655"/>
                  </a:cubicBezTo>
                  <a:cubicBezTo>
                    <a:pt x="3075" y="655"/>
                    <a:pt x="3080" y="651"/>
                    <a:pt x="3079" y="645"/>
                  </a:cubicBezTo>
                  <a:cubicBezTo>
                    <a:pt x="3078" y="639"/>
                    <a:pt x="3071" y="635"/>
                    <a:pt x="3064" y="635"/>
                  </a:cubicBezTo>
                  <a:cubicBezTo>
                    <a:pt x="3064" y="635"/>
                    <a:pt x="3064" y="635"/>
                    <a:pt x="3064" y="635"/>
                  </a:cubicBezTo>
                  <a:moveTo>
                    <a:pt x="3101" y="635"/>
                  </a:moveTo>
                  <a:cubicBezTo>
                    <a:pt x="3094" y="635"/>
                    <a:pt x="3089" y="639"/>
                    <a:pt x="3090" y="645"/>
                  </a:cubicBezTo>
                  <a:cubicBezTo>
                    <a:pt x="3092" y="651"/>
                    <a:pt x="3098" y="655"/>
                    <a:pt x="3106" y="655"/>
                  </a:cubicBezTo>
                  <a:cubicBezTo>
                    <a:pt x="3113" y="655"/>
                    <a:pt x="3118" y="650"/>
                    <a:pt x="3117" y="645"/>
                  </a:cubicBezTo>
                  <a:cubicBezTo>
                    <a:pt x="3115" y="639"/>
                    <a:pt x="3109" y="635"/>
                    <a:pt x="3101" y="635"/>
                  </a:cubicBezTo>
                  <a:cubicBezTo>
                    <a:pt x="3101" y="635"/>
                    <a:pt x="3101" y="635"/>
                    <a:pt x="3101" y="635"/>
                  </a:cubicBezTo>
                  <a:moveTo>
                    <a:pt x="3140" y="634"/>
                  </a:moveTo>
                  <a:cubicBezTo>
                    <a:pt x="3133" y="634"/>
                    <a:pt x="3128" y="639"/>
                    <a:pt x="3129" y="645"/>
                  </a:cubicBezTo>
                  <a:cubicBezTo>
                    <a:pt x="3130" y="650"/>
                    <a:pt x="3137" y="655"/>
                    <a:pt x="3144" y="655"/>
                  </a:cubicBezTo>
                  <a:cubicBezTo>
                    <a:pt x="3152" y="655"/>
                    <a:pt x="3157" y="650"/>
                    <a:pt x="3155" y="645"/>
                  </a:cubicBezTo>
                  <a:cubicBezTo>
                    <a:pt x="3154" y="639"/>
                    <a:pt x="3147" y="634"/>
                    <a:pt x="3140" y="634"/>
                  </a:cubicBezTo>
                  <a:cubicBezTo>
                    <a:pt x="3140" y="634"/>
                    <a:pt x="3140" y="634"/>
                    <a:pt x="3140" y="634"/>
                  </a:cubicBezTo>
                  <a:moveTo>
                    <a:pt x="2768" y="634"/>
                  </a:moveTo>
                  <a:cubicBezTo>
                    <a:pt x="2761" y="634"/>
                    <a:pt x="2755" y="639"/>
                    <a:pt x="2756" y="645"/>
                  </a:cubicBezTo>
                  <a:cubicBezTo>
                    <a:pt x="2756" y="650"/>
                    <a:pt x="2763" y="655"/>
                    <a:pt x="2770" y="655"/>
                  </a:cubicBezTo>
                  <a:cubicBezTo>
                    <a:pt x="2777" y="655"/>
                    <a:pt x="2783" y="650"/>
                    <a:pt x="2782" y="644"/>
                  </a:cubicBezTo>
                  <a:cubicBezTo>
                    <a:pt x="2781" y="639"/>
                    <a:pt x="2775" y="634"/>
                    <a:pt x="2768" y="634"/>
                  </a:cubicBezTo>
                  <a:cubicBezTo>
                    <a:pt x="2768" y="634"/>
                    <a:pt x="2768" y="634"/>
                    <a:pt x="2768" y="634"/>
                  </a:cubicBezTo>
                  <a:moveTo>
                    <a:pt x="3177" y="634"/>
                  </a:moveTo>
                  <a:cubicBezTo>
                    <a:pt x="3170" y="634"/>
                    <a:pt x="3165" y="639"/>
                    <a:pt x="3166" y="645"/>
                  </a:cubicBezTo>
                  <a:cubicBezTo>
                    <a:pt x="3168" y="650"/>
                    <a:pt x="3175" y="655"/>
                    <a:pt x="3182" y="655"/>
                  </a:cubicBezTo>
                  <a:cubicBezTo>
                    <a:pt x="3189" y="655"/>
                    <a:pt x="3194" y="650"/>
                    <a:pt x="3192" y="644"/>
                  </a:cubicBezTo>
                  <a:cubicBezTo>
                    <a:pt x="3191" y="639"/>
                    <a:pt x="3184" y="634"/>
                    <a:pt x="3177" y="634"/>
                  </a:cubicBezTo>
                  <a:cubicBezTo>
                    <a:pt x="3177" y="634"/>
                    <a:pt x="3177" y="634"/>
                    <a:pt x="3177" y="634"/>
                  </a:cubicBezTo>
                  <a:moveTo>
                    <a:pt x="2657" y="634"/>
                  </a:moveTo>
                  <a:cubicBezTo>
                    <a:pt x="2650" y="634"/>
                    <a:pt x="2644" y="639"/>
                    <a:pt x="2644" y="644"/>
                  </a:cubicBezTo>
                  <a:cubicBezTo>
                    <a:pt x="2645" y="650"/>
                    <a:pt x="2651" y="654"/>
                    <a:pt x="2658" y="654"/>
                  </a:cubicBezTo>
                  <a:cubicBezTo>
                    <a:pt x="2665" y="654"/>
                    <a:pt x="2671" y="650"/>
                    <a:pt x="2670" y="644"/>
                  </a:cubicBezTo>
                  <a:cubicBezTo>
                    <a:pt x="2670" y="639"/>
                    <a:pt x="2664" y="634"/>
                    <a:pt x="2657" y="634"/>
                  </a:cubicBezTo>
                  <a:cubicBezTo>
                    <a:pt x="2657" y="634"/>
                    <a:pt x="2657" y="634"/>
                    <a:pt x="2657" y="634"/>
                  </a:cubicBezTo>
                  <a:moveTo>
                    <a:pt x="3214" y="634"/>
                  </a:moveTo>
                  <a:cubicBezTo>
                    <a:pt x="3207" y="634"/>
                    <a:pt x="3202" y="639"/>
                    <a:pt x="3204" y="644"/>
                  </a:cubicBezTo>
                  <a:cubicBezTo>
                    <a:pt x="3205" y="650"/>
                    <a:pt x="3212" y="655"/>
                    <a:pt x="3219" y="654"/>
                  </a:cubicBezTo>
                  <a:cubicBezTo>
                    <a:pt x="3227" y="654"/>
                    <a:pt x="3231" y="650"/>
                    <a:pt x="3230" y="644"/>
                  </a:cubicBezTo>
                  <a:cubicBezTo>
                    <a:pt x="3228" y="639"/>
                    <a:pt x="3221" y="634"/>
                    <a:pt x="3214" y="634"/>
                  </a:cubicBezTo>
                  <a:cubicBezTo>
                    <a:pt x="3214" y="634"/>
                    <a:pt x="3214" y="634"/>
                    <a:pt x="3214" y="634"/>
                  </a:cubicBezTo>
                  <a:moveTo>
                    <a:pt x="2693" y="634"/>
                  </a:moveTo>
                  <a:cubicBezTo>
                    <a:pt x="2686" y="634"/>
                    <a:pt x="2681" y="638"/>
                    <a:pt x="2681" y="644"/>
                  </a:cubicBezTo>
                  <a:cubicBezTo>
                    <a:pt x="2682" y="650"/>
                    <a:pt x="2688" y="654"/>
                    <a:pt x="2695" y="654"/>
                  </a:cubicBezTo>
                  <a:cubicBezTo>
                    <a:pt x="2702" y="654"/>
                    <a:pt x="2708" y="650"/>
                    <a:pt x="2707" y="644"/>
                  </a:cubicBezTo>
                  <a:cubicBezTo>
                    <a:pt x="2707" y="638"/>
                    <a:pt x="2701" y="634"/>
                    <a:pt x="2694" y="634"/>
                  </a:cubicBezTo>
                  <a:cubicBezTo>
                    <a:pt x="2694" y="634"/>
                    <a:pt x="2694" y="634"/>
                    <a:pt x="2693" y="634"/>
                  </a:cubicBezTo>
                  <a:moveTo>
                    <a:pt x="3252" y="634"/>
                  </a:moveTo>
                  <a:cubicBezTo>
                    <a:pt x="3245" y="634"/>
                    <a:pt x="3240" y="638"/>
                    <a:pt x="3242" y="644"/>
                  </a:cubicBezTo>
                  <a:cubicBezTo>
                    <a:pt x="3243" y="650"/>
                    <a:pt x="3250" y="654"/>
                    <a:pt x="3257" y="654"/>
                  </a:cubicBezTo>
                  <a:cubicBezTo>
                    <a:pt x="3265" y="654"/>
                    <a:pt x="3269" y="650"/>
                    <a:pt x="3268" y="644"/>
                  </a:cubicBezTo>
                  <a:cubicBezTo>
                    <a:pt x="3266" y="638"/>
                    <a:pt x="3259" y="634"/>
                    <a:pt x="3252" y="634"/>
                  </a:cubicBezTo>
                  <a:cubicBezTo>
                    <a:pt x="3252" y="634"/>
                    <a:pt x="3252" y="634"/>
                    <a:pt x="3252" y="634"/>
                  </a:cubicBezTo>
                  <a:moveTo>
                    <a:pt x="2620" y="634"/>
                  </a:moveTo>
                  <a:cubicBezTo>
                    <a:pt x="2612" y="634"/>
                    <a:pt x="2607" y="638"/>
                    <a:pt x="2607" y="644"/>
                  </a:cubicBezTo>
                  <a:cubicBezTo>
                    <a:pt x="2607" y="650"/>
                    <a:pt x="2613" y="654"/>
                    <a:pt x="2621" y="654"/>
                  </a:cubicBezTo>
                  <a:cubicBezTo>
                    <a:pt x="2628" y="654"/>
                    <a:pt x="2634" y="650"/>
                    <a:pt x="2633" y="644"/>
                  </a:cubicBezTo>
                  <a:cubicBezTo>
                    <a:pt x="2633" y="638"/>
                    <a:pt x="2627" y="634"/>
                    <a:pt x="2620" y="634"/>
                  </a:cubicBezTo>
                  <a:cubicBezTo>
                    <a:pt x="2620" y="634"/>
                    <a:pt x="2620" y="634"/>
                    <a:pt x="2620" y="634"/>
                  </a:cubicBezTo>
                  <a:moveTo>
                    <a:pt x="2731" y="634"/>
                  </a:moveTo>
                  <a:cubicBezTo>
                    <a:pt x="2723" y="634"/>
                    <a:pt x="2718" y="638"/>
                    <a:pt x="2718" y="644"/>
                  </a:cubicBezTo>
                  <a:cubicBezTo>
                    <a:pt x="2719" y="650"/>
                    <a:pt x="2725" y="654"/>
                    <a:pt x="2732" y="654"/>
                  </a:cubicBezTo>
                  <a:cubicBezTo>
                    <a:pt x="2739" y="654"/>
                    <a:pt x="2745" y="649"/>
                    <a:pt x="2744" y="644"/>
                  </a:cubicBezTo>
                  <a:cubicBezTo>
                    <a:pt x="2744" y="638"/>
                    <a:pt x="2738" y="634"/>
                    <a:pt x="2731" y="634"/>
                  </a:cubicBezTo>
                  <a:cubicBezTo>
                    <a:pt x="2731" y="634"/>
                    <a:pt x="2731" y="634"/>
                    <a:pt x="2731" y="634"/>
                  </a:cubicBezTo>
                  <a:moveTo>
                    <a:pt x="3289" y="634"/>
                  </a:moveTo>
                  <a:cubicBezTo>
                    <a:pt x="3282" y="634"/>
                    <a:pt x="3277" y="638"/>
                    <a:pt x="3279" y="644"/>
                  </a:cubicBezTo>
                  <a:cubicBezTo>
                    <a:pt x="3280" y="650"/>
                    <a:pt x="3287" y="654"/>
                    <a:pt x="3295" y="654"/>
                  </a:cubicBezTo>
                  <a:cubicBezTo>
                    <a:pt x="3302" y="654"/>
                    <a:pt x="3306" y="649"/>
                    <a:pt x="3305" y="644"/>
                  </a:cubicBezTo>
                  <a:cubicBezTo>
                    <a:pt x="3303" y="638"/>
                    <a:pt x="3296" y="634"/>
                    <a:pt x="3289" y="634"/>
                  </a:cubicBezTo>
                  <a:cubicBezTo>
                    <a:pt x="3289" y="634"/>
                    <a:pt x="3289" y="634"/>
                    <a:pt x="3289" y="634"/>
                  </a:cubicBezTo>
                  <a:moveTo>
                    <a:pt x="3326" y="633"/>
                  </a:moveTo>
                  <a:cubicBezTo>
                    <a:pt x="3319" y="633"/>
                    <a:pt x="3314" y="638"/>
                    <a:pt x="3316" y="644"/>
                  </a:cubicBezTo>
                  <a:cubicBezTo>
                    <a:pt x="3318" y="649"/>
                    <a:pt x="3325" y="654"/>
                    <a:pt x="3332" y="654"/>
                  </a:cubicBezTo>
                  <a:cubicBezTo>
                    <a:pt x="3339" y="654"/>
                    <a:pt x="3344" y="649"/>
                    <a:pt x="3342" y="644"/>
                  </a:cubicBezTo>
                  <a:cubicBezTo>
                    <a:pt x="3341" y="638"/>
                    <a:pt x="3333" y="633"/>
                    <a:pt x="3326" y="633"/>
                  </a:cubicBezTo>
                  <a:cubicBezTo>
                    <a:pt x="3326" y="633"/>
                    <a:pt x="3326" y="633"/>
                    <a:pt x="3326" y="633"/>
                  </a:cubicBezTo>
                  <a:moveTo>
                    <a:pt x="3363" y="633"/>
                  </a:moveTo>
                  <a:cubicBezTo>
                    <a:pt x="3356" y="633"/>
                    <a:pt x="3351" y="638"/>
                    <a:pt x="3353" y="643"/>
                  </a:cubicBezTo>
                  <a:cubicBezTo>
                    <a:pt x="3355" y="649"/>
                    <a:pt x="3362" y="654"/>
                    <a:pt x="3369" y="654"/>
                  </a:cubicBezTo>
                  <a:cubicBezTo>
                    <a:pt x="3377" y="654"/>
                    <a:pt x="3381" y="649"/>
                    <a:pt x="3379" y="643"/>
                  </a:cubicBezTo>
                  <a:cubicBezTo>
                    <a:pt x="3378" y="638"/>
                    <a:pt x="3370" y="633"/>
                    <a:pt x="3363" y="633"/>
                  </a:cubicBezTo>
                  <a:cubicBezTo>
                    <a:pt x="3363" y="633"/>
                    <a:pt x="3363" y="633"/>
                    <a:pt x="3363" y="633"/>
                  </a:cubicBezTo>
                  <a:moveTo>
                    <a:pt x="3400" y="633"/>
                  </a:moveTo>
                  <a:cubicBezTo>
                    <a:pt x="3393" y="633"/>
                    <a:pt x="3389" y="638"/>
                    <a:pt x="3391" y="643"/>
                  </a:cubicBezTo>
                  <a:cubicBezTo>
                    <a:pt x="3392" y="649"/>
                    <a:pt x="3400" y="653"/>
                    <a:pt x="3407" y="653"/>
                  </a:cubicBezTo>
                  <a:cubicBezTo>
                    <a:pt x="3414" y="653"/>
                    <a:pt x="3419" y="649"/>
                    <a:pt x="3417" y="643"/>
                  </a:cubicBezTo>
                  <a:cubicBezTo>
                    <a:pt x="3415" y="637"/>
                    <a:pt x="3408" y="633"/>
                    <a:pt x="3401" y="633"/>
                  </a:cubicBezTo>
                  <a:cubicBezTo>
                    <a:pt x="3401" y="633"/>
                    <a:pt x="3401" y="633"/>
                    <a:pt x="3400" y="633"/>
                  </a:cubicBezTo>
                  <a:moveTo>
                    <a:pt x="3438" y="633"/>
                  </a:moveTo>
                  <a:cubicBezTo>
                    <a:pt x="3431" y="633"/>
                    <a:pt x="3427" y="637"/>
                    <a:pt x="3428" y="643"/>
                  </a:cubicBezTo>
                  <a:cubicBezTo>
                    <a:pt x="3430" y="649"/>
                    <a:pt x="3438" y="653"/>
                    <a:pt x="3445" y="653"/>
                  </a:cubicBezTo>
                  <a:cubicBezTo>
                    <a:pt x="3452" y="653"/>
                    <a:pt x="3457" y="649"/>
                    <a:pt x="3455" y="643"/>
                  </a:cubicBezTo>
                  <a:cubicBezTo>
                    <a:pt x="3453" y="637"/>
                    <a:pt x="3445" y="633"/>
                    <a:pt x="3438" y="633"/>
                  </a:cubicBezTo>
                  <a:cubicBezTo>
                    <a:pt x="3438" y="633"/>
                    <a:pt x="3438" y="633"/>
                    <a:pt x="3438" y="633"/>
                  </a:cubicBezTo>
                  <a:moveTo>
                    <a:pt x="3475" y="632"/>
                  </a:moveTo>
                  <a:cubicBezTo>
                    <a:pt x="3468" y="633"/>
                    <a:pt x="3464" y="637"/>
                    <a:pt x="3466" y="643"/>
                  </a:cubicBezTo>
                  <a:cubicBezTo>
                    <a:pt x="3468" y="649"/>
                    <a:pt x="3475" y="653"/>
                    <a:pt x="3482" y="653"/>
                  </a:cubicBezTo>
                  <a:cubicBezTo>
                    <a:pt x="3490" y="653"/>
                    <a:pt x="3494" y="648"/>
                    <a:pt x="3492" y="643"/>
                  </a:cubicBezTo>
                  <a:cubicBezTo>
                    <a:pt x="3490" y="637"/>
                    <a:pt x="3482" y="632"/>
                    <a:pt x="3475" y="632"/>
                  </a:cubicBezTo>
                  <a:cubicBezTo>
                    <a:pt x="3475" y="632"/>
                    <a:pt x="3475" y="632"/>
                    <a:pt x="3475" y="632"/>
                  </a:cubicBezTo>
                  <a:moveTo>
                    <a:pt x="3512" y="632"/>
                  </a:moveTo>
                  <a:cubicBezTo>
                    <a:pt x="3505" y="632"/>
                    <a:pt x="3501" y="637"/>
                    <a:pt x="3503" y="643"/>
                  </a:cubicBezTo>
                  <a:cubicBezTo>
                    <a:pt x="3505" y="648"/>
                    <a:pt x="3513" y="653"/>
                    <a:pt x="3520" y="653"/>
                  </a:cubicBezTo>
                  <a:cubicBezTo>
                    <a:pt x="3527" y="653"/>
                    <a:pt x="3531" y="648"/>
                    <a:pt x="3529" y="642"/>
                  </a:cubicBezTo>
                  <a:cubicBezTo>
                    <a:pt x="3527" y="637"/>
                    <a:pt x="3520" y="632"/>
                    <a:pt x="3512" y="632"/>
                  </a:cubicBezTo>
                  <a:cubicBezTo>
                    <a:pt x="3512" y="632"/>
                    <a:pt x="3512" y="632"/>
                    <a:pt x="3512" y="632"/>
                  </a:cubicBezTo>
                  <a:moveTo>
                    <a:pt x="3549" y="632"/>
                  </a:moveTo>
                  <a:cubicBezTo>
                    <a:pt x="3542" y="632"/>
                    <a:pt x="3538" y="637"/>
                    <a:pt x="3540" y="642"/>
                  </a:cubicBezTo>
                  <a:cubicBezTo>
                    <a:pt x="3542" y="648"/>
                    <a:pt x="3550" y="653"/>
                    <a:pt x="3557" y="653"/>
                  </a:cubicBezTo>
                  <a:cubicBezTo>
                    <a:pt x="3564" y="653"/>
                    <a:pt x="3568" y="648"/>
                    <a:pt x="3566" y="642"/>
                  </a:cubicBezTo>
                  <a:cubicBezTo>
                    <a:pt x="3564" y="637"/>
                    <a:pt x="3557" y="632"/>
                    <a:pt x="3549" y="632"/>
                  </a:cubicBezTo>
                  <a:cubicBezTo>
                    <a:pt x="3549" y="632"/>
                    <a:pt x="3549" y="632"/>
                    <a:pt x="3549" y="632"/>
                  </a:cubicBezTo>
                  <a:moveTo>
                    <a:pt x="3587" y="632"/>
                  </a:moveTo>
                  <a:cubicBezTo>
                    <a:pt x="3580" y="632"/>
                    <a:pt x="3575" y="637"/>
                    <a:pt x="3578" y="642"/>
                  </a:cubicBezTo>
                  <a:cubicBezTo>
                    <a:pt x="3580" y="648"/>
                    <a:pt x="3587" y="652"/>
                    <a:pt x="3595" y="652"/>
                  </a:cubicBezTo>
                  <a:cubicBezTo>
                    <a:pt x="3602" y="652"/>
                    <a:pt x="3606" y="648"/>
                    <a:pt x="3604" y="642"/>
                  </a:cubicBezTo>
                  <a:cubicBezTo>
                    <a:pt x="3602" y="636"/>
                    <a:pt x="3594" y="632"/>
                    <a:pt x="3587" y="632"/>
                  </a:cubicBezTo>
                  <a:cubicBezTo>
                    <a:pt x="3587" y="632"/>
                    <a:pt x="3587" y="632"/>
                    <a:pt x="3587" y="632"/>
                  </a:cubicBezTo>
                  <a:moveTo>
                    <a:pt x="3624" y="632"/>
                  </a:moveTo>
                  <a:cubicBezTo>
                    <a:pt x="3617" y="632"/>
                    <a:pt x="3613" y="636"/>
                    <a:pt x="3615" y="642"/>
                  </a:cubicBezTo>
                  <a:cubicBezTo>
                    <a:pt x="3618" y="648"/>
                    <a:pt x="3625" y="652"/>
                    <a:pt x="3633" y="652"/>
                  </a:cubicBezTo>
                  <a:cubicBezTo>
                    <a:pt x="3640" y="652"/>
                    <a:pt x="3644" y="648"/>
                    <a:pt x="3642" y="642"/>
                  </a:cubicBezTo>
                  <a:cubicBezTo>
                    <a:pt x="3639" y="636"/>
                    <a:pt x="3632" y="632"/>
                    <a:pt x="3624" y="632"/>
                  </a:cubicBezTo>
                  <a:cubicBezTo>
                    <a:pt x="3624" y="632"/>
                    <a:pt x="3624" y="632"/>
                    <a:pt x="3624" y="632"/>
                  </a:cubicBezTo>
                  <a:moveTo>
                    <a:pt x="3661" y="631"/>
                  </a:moveTo>
                  <a:cubicBezTo>
                    <a:pt x="3654" y="631"/>
                    <a:pt x="3650" y="636"/>
                    <a:pt x="3653" y="641"/>
                  </a:cubicBezTo>
                  <a:cubicBezTo>
                    <a:pt x="3655" y="647"/>
                    <a:pt x="3663" y="652"/>
                    <a:pt x="3670" y="652"/>
                  </a:cubicBezTo>
                  <a:cubicBezTo>
                    <a:pt x="3677" y="652"/>
                    <a:pt x="3681" y="647"/>
                    <a:pt x="3679" y="641"/>
                  </a:cubicBezTo>
                  <a:cubicBezTo>
                    <a:pt x="3676" y="636"/>
                    <a:pt x="3669" y="631"/>
                    <a:pt x="3662" y="631"/>
                  </a:cubicBezTo>
                  <a:cubicBezTo>
                    <a:pt x="3661" y="631"/>
                    <a:pt x="3661" y="631"/>
                    <a:pt x="3661" y="631"/>
                  </a:cubicBezTo>
                  <a:moveTo>
                    <a:pt x="3698" y="631"/>
                  </a:moveTo>
                  <a:cubicBezTo>
                    <a:pt x="3691" y="631"/>
                    <a:pt x="3687" y="636"/>
                    <a:pt x="3690" y="641"/>
                  </a:cubicBezTo>
                  <a:cubicBezTo>
                    <a:pt x="3692" y="647"/>
                    <a:pt x="3700" y="651"/>
                    <a:pt x="3707" y="651"/>
                  </a:cubicBezTo>
                  <a:cubicBezTo>
                    <a:pt x="3714" y="651"/>
                    <a:pt x="3718" y="647"/>
                    <a:pt x="3716" y="641"/>
                  </a:cubicBezTo>
                  <a:cubicBezTo>
                    <a:pt x="3713" y="635"/>
                    <a:pt x="3706" y="631"/>
                    <a:pt x="3698" y="631"/>
                  </a:cubicBezTo>
                  <a:cubicBezTo>
                    <a:pt x="3698" y="631"/>
                    <a:pt x="3698" y="631"/>
                    <a:pt x="3698" y="631"/>
                  </a:cubicBezTo>
                  <a:moveTo>
                    <a:pt x="3736" y="631"/>
                  </a:moveTo>
                  <a:cubicBezTo>
                    <a:pt x="3729" y="631"/>
                    <a:pt x="3725" y="635"/>
                    <a:pt x="3727" y="641"/>
                  </a:cubicBezTo>
                  <a:cubicBezTo>
                    <a:pt x="3730" y="647"/>
                    <a:pt x="3737" y="651"/>
                    <a:pt x="3745" y="651"/>
                  </a:cubicBezTo>
                  <a:cubicBezTo>
                    <a:pt x="3752" y="651"/>
                    <a:pt x="3756" y="647"/>
                    <a:pt x="3753" y="641"/>
                  </a:cubicBezTo>
                  <a:cubicBezTo>
                    <a:pt x="3751" y="635"/>
                    <a:pt x="3743" y="631"/>
                    <a:pt x="3736" y="631"/>
                  </a:cubicBezTo>
                  <a:cubicBezTo>
                    <a:pt x="3736" y="631"/>
                    <a:pt x="3736" y="631"/>
                    <a:pt x="3736" y="631"/>
                  </a:cubicBezTo>
                  <a:moveTo>
                    <a:pt x="3775" y="630"/>
                  </a:moveTo>
                  <a:cubicBezTo>
                    <a:pt x="3768" y="630"/>
                    <a:pt x="3764" y="635"/>
                    <a:pt x="3767" y="641"/>
                  </a:cubicBezTo>
                  <a:cubicBezTo>
                    <a:pt x="3769" y="646"/>
                    <a:pt x="3777" y="651"/>
                    <a:pt x="3785" y="651"/>
                  </a:cubicBezTo>
                  <a:cubicBezTo>
                    <a:pt x="3792" y="651"/>
                    <a:pt x="3796" y="646"/>
                    <a:pt x="3793" y="641"/>
                  </a:cubicBezTo>
                  <a:cubicBezTo>
                    <a:pt x="3790" y="635"/>
                    <a:pt x="3782" y="630"/>
                    <a:pt x="3775" y="630"/>
                  </a:cubicBezTo>
                  <a:cubicBezTo>
                    <a:pt x="3775" y="630"/>
                    <a:pt x="3775" y="630"/>
                    <a:pt x="3775" y="630"/>
                  </a:cubicBezTo>
                  <a:moveTo>
                    <a:pt x="3812" y="630"/>
                  </a:moveTo>
                  <a:cubicBezTo>
                    <a:pt x="3805" y="630"/>
                    <a:pt x="3801" y="635"/>
                    <a:pt x="3804" y="641"/>
                  </a:cubicBezTo>
                  <a:cubicBezTo>
                    <a:pt x="3806" y="646"/>
                    <a:pt x="3814" y="651"/>
                    <a:pt x="3821" y="651"/>
                  </a:cubicBezTo>
                  <a:cubicBezTo>
                    <a:pt x="3829" y="651"/>
                    <a:pt x="3832" y="646"/>
                    <a:pt x="3830" y="640"/>
                  </a:cubicBezTo>
                  <a:cubicBezTo>
                    <a:pt x="3827" y="635"/>
                    <a:pt x="3819" y="630"/>
                    <a:pt x="3812" y="630"/>
                  </a:cubicBezTo>
                  <a:cubicBezTo>
                    <a:pt x="3812" y="630"/>
                    <a:pt x="3812" y="630"/>
                    <a:pt x="3812" y="630"/>
                  </a:cubicBezTo>
                  <a:moveTo>
                    <a:pt x="3849" y="630"/>
                  </a:moveTo>
                  <a:cubicBezTo>
                    <a:pt x="3842" y="630"/>
                    <a:pt x="3838" y="635"/>
                    <a:pt x="3841" y="640"/>
                  </a:cubicBezTo>
                  <a:cubicBezTo>
                    <a:pt x="3843" y="646"/>
                    <a:pt x="3852" y="651"/>
                    <a:pt x="3859" y="651"/>
                  </a:cubicBezTo>
                  <a:cubicBezTo>
                    <a:pt x="3866" y="651"/>
                    <a:pt x="3870" y="646"/>
                    <a:pt x="3867" y="640"/>
                  </a:cubicBezTo>
                  <a:cubicBezTo>
                    <a:pt x="3864" y="635"/>
                    <a:pt x="3856" y="630"/>
                    <a:pt x="3849" y="630"/>
                  </a:cubicBezTo>
                  <a:cubicBezTo>
                    <a:pt x="3849" y="630"/>
                    <a:pt x="3849" y="630"/>
                    <a:pt x="3849" y="630"/>
                  </a:cubicBezTo>
                  <a:moveTo>
                    <a:pt x="3886" y="630"/>
                  </a:moveTo>
                  <a:cubicBezTo>
                    <a:pt x="3879" y="630"/>
                    <a:pt x="3875" y="634"/>
                    <a:pt x="3878" y="640"/>
                  </a:cubicBezTo>
                  <a:cubicBezTo>
                    <a:pt x="3881" y="646"/>
                    <a:pt x="3889" y="650"/>
                    <a:pt x="3896" y="650"/>
                  </a:cubicBezTo>
                  <a:cubicBezTo>
                    <a:pt x="3904" y="650"/>
                    <a:pt x="3907" y="646"/>
                    <a:pt x="3904" y="640"/>
                  </a:cubicBezTo>
                  <a:cubicBezTo>
                    <a:pt x="3902" y="634"/>
                    <a:pt x="3893" y="630"/>
                    <a:pt x="3886" y="630"/>
                  </a:cubicBezTo>
                  <a:cubicBezTo>
                    <a:pt x="3886" y="630"/>
                    <a:pt x="3886" y="630"/>
                    <a:pt x="3886" y="630"/>
                  </a:cubicBezTo>
                  <a:moveTo>
                    <a:pt x="3924" y="630"/>
                  </a:moveTo>
                  <a:cubicBezTo>
                    <a:pt x="3917" y="630"/>
                    <a:pt x="3913" y="634"/>
                    <a:pt x="3916" y="640"/>
                  </a:cubicBezTo>
                  <a:cubicBezTo>
                    <a:pt x="3919" y="646"/>
                    <a:pt x="3927" y="650"/>
                    <a:pt x="3934" y="650"/>
                  </a:cubicBezTo>
                  <a:cubicBezTo>
                    <a:pt x="3941" y="650"/>
                    <a:pt x="3945" y="646"/>
                    <a:pt x="3942" y="640"/>
                  </a:cubicBezTo>
                  <a:cubicBezTo>
                    <a:pt x="3939" y="634"/>
                    <a:pt x="3931" y="630"/>
                    <a:pt x="3924" y="630"/>
                  </a:cubicBezTo>
                  <a:cubicBezTo>
                    <a:pt x="3924" y="630"/>
                    <a:pt x="3924" y="630"/>
                    <a:pt x="3924" y="630"/>
                  </a:cubicBezTo>
                  <a:moveTo>
                    <a:pt x="3961" y="629"/>
                  </a:moveTo>
                  <a:cubicBezTo>
                    <a:pt x="3954" y="629"/>
                    <a:pt x="3950" y="634"/>
                    <a:pt x="3953" y="640"/>
                  </a:cubicBezTo>
                  <a:cubicBezTo>
                    <a:pt x="3956" y="645"/>
                    <a:pt x="3964" y="650"/>
                    <a:pt x="3971" y="650"/>
                  </a:cubicBezTo>
                  <a:cubicBezTo>
                    <a:pt x="3979" y="650"/>
                    <a:pt x="3982" y="645"/>
                    <a:pt x="3979" y="640"/>
                  </a:cubicBezTo>
                  <a:cubicBezTo>
                    <a:pt x="3976" y="634"/>
                    <a:pt x="3968" y="629"/>
                    <a:pt x="3961" y="629"/>
                  </a:cubicBezTo>
                  <a:cubicBezTo>
                    <a:pt x="3961" y="629"/>
                    <a:pt x="3961" y="629"/>
                    <a:pt x="3961" y="629"/>
                  </a:cubicBezTo>
                  <a:moveTo>
                    <a:pt x="99" y="624"/>
                  </a:moveTo>
                  <a:cubicBezTo>
                    <a:pt x="91" y="624"/>
                    <a:pt x="82" y="629"/>
                    <a:pt x="77" y="634"/>
                  </a:cubicBezTo>
                  <a:cubicBezTo>
                    <a:pt x="72" y="640"/>
                    <a:pt x="74" y="644"/>
                    <a:pt x="81" y="644"/>
                  </a:cubicBezTo>
                  <a:cubicBezTo>
                    <a:pt x="89" y="644"/>
                    <a:pt x="98" y="640"/>
                    <a:pt x="103" y="634"/>
                  </a:cubicBezTo>
                  <a:cubicBezTo>
                    <a:pt x="108" y="628"/>
                    <a:pt x="106" y="624"/>
                    <a:pt x="99" y="624"/>
                  </a:cubicBezTo>
                  <a:cubicBezTo>
                    <a:pt x="99" y="624"/>
                    <a:pt x="99" y="624"/>
                    <a:pt x="99" y="624"/>
                  </a:cubicBezTo>
                  <a:moveTo>
                    <a:pt x="136" y="624"/>
                  </a:moveTo>
                  <a:cubicBezTo>
                    <a:pt x="128" y="624"/>
                    <a:pt x="119" y="628"/>
                    <a:pt x="114" y="634"/>
                  </a:cubicBezTo>
                  <a:cubicBezTo>
                    <a:pt x="109" y="640"/>
                    <a:pt x="111" y="644"/>
                    <a:pt x="119" y="644"/>
                  </a:cubicBezTo>
                  <a:cubicBezTo>
                    <a:pt x="126" y="644"/>
                    <a:pt x="135" y="639"/>
                    <a:pt x="140" y="634"/>
                  </a:cubicBezTo>
                  <a:cubicBezTo>
                    <a:pt x="145" y="628"/>
                    <a:pt x="143" y="624"/>
                    <a:pt x="136" y="624"/>
                  </a:cubicBezTo>
                  <a:cubicBezTo>
                    <a:pt x="136" y="624"/>
                    <a:pt x="136" y="624"/>
                    <a:pt x="136" y="624"/>
                  </a:cubicBezTo>
                  <a:moveTo>
                    <a:pt x="174" y="624"/>
                  </a:moveTo>
                  <a:cubicBezTo>
                    <a:pt x="167" y="624"/>
                    <a:pt x="157" y="628"/>
                    <a:pt x="153" y="634"/>
                  </a:cubicBezTo>
                  <a:cubicBezTo>
                    <a:pt x="148" y="639"/>
                    <a:pt x="150" y="644"/>
                    <a:pt x="158" y="644"/>
                  </a:cubicBezTo>
                  <a:cubicBezTo>
                    <a:pt x="165" y="644"/>
                    <a:pt x="174" y="639"/>
                    <a:pt x="179" y="634"/>
                  </a:cubicBezTo>
                  <a:cubicBezTo>
                    <a:pt x="183" y="628"/>
                    <a:pt x="181" y="624"/>
                    <a:pt x="174" y="624"/>
                  </a:cubicBezTo>
                  <a:cubicBezTo>
                    <a:pt x="174" y="624"/>
                    <a:pt x="174" y="624"/>
                    <a:pt x="174" y="624"/>
                  </a:cubicBezTo>
                  <a:moveTo>
                    <a:pt x="211" y="623"/>
                  </a:moveTo>
                  <a:cubicBezTo>
                    <a:pt x="204" y="623"/>
                    <a:pt x="194" y="628"/>
                    <a:pt x="190" y="633"/>
                  </a:cubicBezTo>
                  <a:cubicBezTo>
                    <a:pt x="185" y="639"/>
                    <a:pt x="187" y="644"/>
                    <a:pt x="195" y="644"/>
                  </a:cubicBezTo>
                  <a:cubicBezTo>
                    <a:pt x="202" y="643"/>
                    <a:pt x="211" y="639"/>
                    <a:pt x="216" y="633"/>
                  </a:cubicBezTo>
                  <a:cubicBezTo>
                    <a:pt x="220" y="628"/>
                    <a:pt x="218" y="623"/>
                    <a:pt x="211" y="623"/>
                  </a:cubicBezTo>
                  <a:cubicBezTo>
                    <a:pt x="211" y="623"/>
                    <a:pt x="211" y="623"/>
                    <a:pt x="211" y="623"/>
                  </a:cubicBezTo>
                  <a:moveTo>
                    <a:pt x="248" y="623"/>
                  </a:moveTo>
                  <a:cubicBezTo>
                    <a:pt x="241" y="623"/>
                    <a:pt x="232" y="628"/>
                    <a:pt x="227" y="633"/>
                  </a:cubicBezTo>
                  <a:cubicBezTo>
                    <a:pt x="223" y="639"/>
                    <a:pt x="225" y="643"/>
                    <a:pt x="232" y="643"/>
                  </a:cubicBezTo>
                  <a:cubicBezTo>
                    <a:pt x="239" y="643"/>
                    <a:pt x="249" y="639"/>
                    <a:pt x="253" y="633"/>
                  </a:cubicBezTo>
                  <a:cubicBezTo>
                    <a:pt x="258" y="628"/>
                    <a:pt x="255" y="623"/>
                    <a:pt x="248" y="623"/>
                  </a:cubicBezTo>
                  <a:cubicBezTo>
                    <a:pt x="248" y="623"/>
                    <a:pt x="248" y="623"/>
                    <a:pt x="248" y="623"/>
                  </a:cubicBezTo>
                  <a:moveTo>
                    <a:pt x="285" y="623"/>
                  </a:moveTo>
                  <a:cubicBezTo>
                    <a:pt x="278" y="623"/>
                    <a:pt x="269" y="627"/>
                    <a:pt x="264" y="633"/>
                  </a:cubicBezTo>
                  <a:cubicBezTo>
                    <a:pt x="260" y="639"/>
                    <a:pt x="262" y="643"/>
                    <a:pt x="269" y="643"/>
                  </a:cubicBezTo>
                  <a:cubicBezTo>
                    <a:pt x="276" y="643"/>
                    <a:pt x="286" y="639"/>
                    <a:pt x="290" y="633"/>
                  </a:cubicBezTo>
                  <a:cubicBezTo>
                    <a:pt x="295" y="627"/>
                    <a:pt x="292" y="623"/>
                    <a:pt x="285" y="623"/>
                  </a:cubicBezTo>
                  <a:cubicBezTo>
                    <a:pt x="285" y="623"/>
                    <a:pt x="285" y="623"/>
                    <a:pt x="285" y="623"/>
                  </a:cubicBezTo>
                  <a:moveTo>
                    <a:pt x="322" y="623"/>
                  </a:moveTo>
                  <a:cubicBezTo>
                    <a:pt x="315" y="623"/>
                    <a:pt x="306" y="627"/>
                    <a:pt x="301" y="633"/>
                  </a:cubicBezTo>
                  <a:cubicBezTo>
                    <a:pt x="297" y="638"/>
                    <a:pt x="299" y="643"/>
                    <a:pt x="307" y="643"/>
                  </a:cubicBezTo>
                  <a:cubicBezTo>
                    <a:pt x="314" y="643"/>
                    <a:pt x="323" y="638"/>
                    <a:pt x="328" y="633"/>
                  </a:cubicBezTo>
                  <a:cubicBezTo>
                    <a:pt x="332" y="627"/>
                    <a:pt x="329" y="623"/>
                    <a:pt x="322" y="623"/>
                  </a:cubicBezTo>
                  <a:cubicBezTo>
                    <a:pt x="322" y="623"/>
                    <a:pt x="322" y="623"/>
                    <a:pt x="322" y="623"/>
                  </a:cubicBezTo>
                  <a:moveTo>
                    <a:pt x="361" y="622"/>
                  </a:moveTo>
                  <a:cubicBezTo>
                    <a:pt x="353" y="622"/>
                    <a:pt x="344" y="627"/>
                    <a:pt x="340" y="633"/>
                  </a:cubicBezTo>
                  <a:cubicBezTo>
                    <a:pt x="336" y="638"/>
                    <a:pt x="338" y="643"/>
                    <a:pt x="345" y="643"/>
                  </a:cubicBezTo>
                  <a:cubicBezTo>
                    <a:pt x="352" y="643"/>
                    <a:pt x="362" y="638"/>
                    <a:pt x="366" y="632"/>
                  </a:cubicBezTo>
                  <a:cubicBezTo>
                    <a:pt x="370" y="627"/>
                    <a:pt x="368" y="622"/>
                    <a:pt x="361" y="622"/>
                  </a:cubicBezTo>
                  <a:cubicBezTo>
                    <a:pt x="361" y="622"/>
                    <a:pt x="361" y="622"/>
                    <a:pt x="361" y="622"/>
                  </a:cubicBezTo>
                  <a:moveTo>
                    <a:pt x="397" y="622"/>
                  </a:moveTo>
                  <a:cubicBezTo>
                    <a:pt x="390" y="622"/>
                    <a:pt x="381" y="627"/>
                    <a:pt x="377" y="632"/>
                  </a:cubicBezTo>
                  <a:cubicBezTo>
                    <a:pt x="373" y="638"/>
                    <a:pt x="375" y="643"/>
                    <a:pt x="382" y="642"/>
                  </a:cubicBezTo>
                  <a:cubicBezTo>
                    <a:pt x="390" y="642"/>
                    <a:pt x="399" y="638"/>
                    <a:pt x="403" y="632"/>
                  </a:cubicBezTo>
                  <a:cubicBezTo>
                    <a:pt x="407" y="627"/>
                    <a:pt x="405" y="622"/>
                    <a:pt x="398" y="622"/>
                  </a:cubicBezTo>
                  <a:cubicBezTo>
                    <a:pt x="398" y="622"/>
                    <a:pt x="397" y="622"/>
                    <a:pt x="397" y="622"/>
                  </a:cubicBezTo>
                  <a:moveTo>
                    <a:pt x="435" y="622"/>
                  </a:moveTo>
                  <a:cubicBezTo>
                    <a:pt x="427" y="622"/>
                    <a:pt x="418" y="627"/>
                    <a:pt x="414" y="632"/>
                  </a:cubicBezTo>
                  <a:cubicBezTo>
                    <a:pt x="410" y="638"/>
                    <a:pt x="413" y="642"/>
                    <a:pt x="420" y="642"/>
                  </a:cubicBezTo>
                  <a:cubicBezTo>
                    <a:pt x="427" y="642"/>
                    <a:pt x="436" y="638"/>
                    <a:pt x="440" y="632"/>
                  </a:cubicBezTo>
                  <a:cubicBezTo>
                    <a:pt x="444" y="626"/>
                    <a:pt x="442" y="622"/>
                    <a:pt x="435" y="622"/>
                  </a:cubicBezTo>
                  <a:cubicBezTo>
                    <a:pt x="435" y="622"/>
                    <a:pt x="435" y="622"/>
                    <a:pt x="435" y="622"/>
                  </a:cubicBezTo>
                  <a:moveTo>
                    <a:pt x="472" y="622"/>
                  </a:moveTo>
                  <a:cubicBezTo>
                    <a:pt x="465" y="622"/>
                    <a:pt x="456" y="626"/>
                    <a:pt x="452" y="632"/>
                  </a:cubicBezTo>
                  <a:cubicBezTo>
                    <a:pt x="448" y="638"/>
                    <a:pt x="450" y="642"/>
                    <a:pt x="458" y="642"/>
                  </a:cubicBezTo>
                  <a:cubicBezTo>
                    <a:pt x="465" y="642"/>
                    <a:pt x="474" y="637"/>
                    <a:pt x="478" y="632"/>
                  </a:cubicBezTo>
                  <a:cubicBezTo>
                    <a:pt x="482" y="626"/>
                    <a:pt x="479" y="622"/>
                    <a:pt x="472" y="622"/>
                  </a:cubicBezTo>
                  <a:cubicBezTo>
                    <a:pt x="472" y="622"/>
                    <a:pt x="472" y="622"/>
                    <a:pt x="472" y="622"/>
                  </a:cubicBezTo>
                  <a:moveTo>
                    <a:pt x="509" y="622"/>
                  </a:moveTo>
                  <a:cubicBezTo>
                    <a:pt x="502" y="622"/>
                    <a:pt x="493" y="626"/>
                    <a:pt x="489" y="632"/>
                  </a:cubicBezTo>
                  <a:cubicBezTo>
                    <a:pt x="485" y="637"/>
                    <a:pt x="488" y="642"/>
                    <a:pt x="495" y="642"/>
                  </a:cubicBezTo>
                  <a:cubicBezTo>
                    <a:pt x="502" y="642"/>
                    <a:pt x="511" y="637"/>
                    <a:pt x="515" y="632"/>
                  </a:cubicBezTo>
                  <a:cubicBezTo>
                    <a:pt x="519" y="626"/>
                    <a:pt x="516" y="622"/>
                    <a:pt x="509" y="622"/>
                  </a:cubicBezTo>
                  <a:cubicBezTo>
                    <a:pt x="509" y="622"/>
                    <a:pt x="509" y="622"/>
                    <a:pt x="509" y="622"/>
                  </a:cubicBezTo>
                  <a:moveTo>
                    <a:pt x="546" y="621"/>
                  </a:moveTo>
                  <a:cubicBezTo>
                    <a:pt x="539" y="621"/>
                    <a:pt x="530" y="626"/>
                    <a:pt x="526" y="632"/>
                  </a:cubicBezTo>
                  <a:cubicBezTo>
                    <a:pt x="522" y="637"/>
                    <a:pt x="525" y="642"/>
                    <a:pt x="532" y="642"/>
                  </a:cubicBezTo>
                  <a:cubicBezTo>
                    <a:pt x="539" y="642"/>
                    <a:pt x="548" y="637"/>
                    <a:pt x="552" y="631"/>
                  </a:cubicBezTo>
                  <a:cubicBezTo>
                    <a:pt x="556" y="626"/>
                    <a:pt x="553" y="621"/>
                    <a:pt x="546" y="621"/>
                  </a:cubicBezTo>
                  <a:cubicBezTo>
                    <a:pt x="546" y="621"/>
                    <a:pt x="546" y="621"/>
                    <a:pt x="546" y="621"/>
                  </a:cubicBezTo>
                  <a:moveTo>
                    <a:pt x="583" y="621"/>
                  </a:moveTo>
                  <a:cubicBezTo>
                    <a:pt x="576" y="621"/>
                    <a:pt x="567" y="626"/>
                    <a:pt x="563" y="631"/>
                  </a:cubicBezTo>
                  <a:cubicBezTo>
                    <a:pt x="559" y="637"/>
                    <a:pt x="562" y="641"/>
                    <a:pt x="569" y="641"/>
                  </a:cubicBezTo>
                  <a:cubicBezTo>
                    <a:pt x="576" y="641"/>
                    <a:pt x="585" y="637"/>
                    <a:pt x="589" y="631"/>
                  </a:cubicBezTo>
                  <a:cubicBezTo>
                    <a:pt x="593" y="626"/>
                    <a:pt x="590" y="621"/>
                    <a:pt x="583" y="621"/>
                  </a:cubicBezTo>
                  <a:cubicBezTo>
                    <a:pt x="583" y="621"/>
                    <a:pt x="583" y="621"/>
                    <a:pt x="583" y="621"/>
                  </a:cubicBezTo>
                  <a:moveTo>
                    <a:pt x="620" y="621"/>
                  </a:moveTo>
                  <a:cubicBezTo>
                    <a:pt x="613" y="621"/>
                    <a:pt x="604" y="626"/>
                    <a:pt x="600" y="631"/>
                  </a:cubicBezTo>
                  <a:cubicBezTo>
                    <a:pt x="597" y="637"/>
                    <a:pt x="599" y="641"/>
                    <a:pt x="607" y="641"/>
                  </a:cubicBezTo>
                  <a:cubicBezTo>
                    <a:pt x="614" y="641"/>
                    <a:pt x="623" y="637"/>
                    <a:pt x="626" y="631"/>
                  </a:cubicBezTo>
                  <a:cubicBezTo>
                    <a:pt x="630" y="625"/>
                    <a:pt x="627" y="621"/>
                    <a:pt x="620" y="621"/>
                  </a:cubicBezTo>
                  <a:cubicBezTo>
                    <a:pt x="620" y="621"/>
                    <a:pt x="620" y="621"/>
                    <a:pt x="620" y="621"/>
                  </a:cubicBezTo>
                  <a:moveTo>
                    <a:pt x="658" y="621"/>
                  </a:moveTo>
                  <a:cubicBezTo>
                    <a:pt x="650" y="621"/>
                    <a:pt x="642" y="625"/>
                    <a:pt x="638" y="631"/>
                  </a:cubicBezTo>
                  <a:cubicBezTo>
                    <a:pt x="634" y="637"/>
                    <a:pt x="637" y="641"/>
                    <a:pt x="644" y="641"/>
                  </a:cubicBezTo>
                  <a:cubicBezTo>
                    <a:pt x="652" y="641"/>
                    <a:pt x="660" y="636"/>
                    <a:pt x="664" y="631"/>
                  </a:cubicBezTo>
                  <a:cubicBezTo>
                    <a:pt x="668" y="625"/>
                    <a:pt x="665" y="621"/>
                    <a:pt x="658" y="621"/>
                  </a:cubicBezTo>
                  <a:cubicBezTo>
                    <a:pt x="658" y="621"/>
                    <a:pt x="658" y="621"/>
                    <a:pt x="658" y="621"/>
                  </a:cubicBezTo>
                  <a:moveTo>
                    <a:pt x="694" y="620"/>
                  </a:moveTo>
                  <a:cubicBezTo>
                    <a:pt x="687" y="621"/>
                    <a:pt x="679" y="625"/>
                    <a:pt x="675" y="631"/>
                  </a:cubicBezTo>
                  <a:cubicBezTo>
                    <a:pt x="671" y="636"/>
                    <a:pt x="674" y="641"/>
                    <a:pt x="682" y="641"/>
                  </a:cubicBezTo>
                  <a:cubicBezTo>
                    <a:pt x="689" y="641"/>
                    <a:pt x="697" y="636"/>
                    <a:pt x="701" y="631"/>
                  </a:cubicBezTo>
                  <a:cubicBezTo>
                    <a:pt x="705" y="625"/>
                    <a:pt x="702" y="620"/>
                    <a:pt x="695" y="620"/>
                  </a:cubicBezTo>
                  <a:cubicBezTo>
                    <a:pt x="695" y="620"/>
                    <a:pt x="694" y="620"/>
                    <a:pt x="694" y="620"/>
                  </a:cubicBezTo>
                  <a:moveTo>
                    <a:pt x="732" y="620"/>
                  </a:moveTo>
                  <a:cubicBezTo>
                    <a:pt x="724" y="620"/>
                    <a:pt x="716" y="625"/>
                    <a:pt x="712" y="630"/>
                  </a:cubicBezTo>
                  <a:cubicBezTo>
                    <a:pt x="709" y="636"/>
                    <a:pt x="712" y="641"/>
                    <a:pt x="719" y="641"/>
                  </a:cubicBezTo>
                  <a:cubicBezTo>
                    <a:pt x="726" y="641"/>
                    <a:pt x="735" y="636"/>
                    <a:pt x="738" y="630"/>
                  </a:cubicBezTo>
                  <a:cubicBezTo>
                    <a:pt x="742" y="625"/>
                    <a:pt x="739" y="620"/>
                    <a:pt x="732" y="620"/>
                  </a:cubicBezTo>
                  <a:cubicBezTo>
                    <a:pt x="732" y="620"/>
                    <a:pt x="732" y="620"/>
                    <a:pt x="732" y="620"/>
                  </a:cubicBezTo>
                  <a:moveTo>
                    <a:pt x="767" y="620"/>
                  </a:moveTo>
                  <a:cubicBezTo>
                    <a:pt x="760" y="620"/>
                    <a:pt x="752" y="625"/>
                    <a:pt x="748" y="630"/>
                  </a:cubicBezTo>
                  <a:cubicBezTo>
                    <a:pt x="745" y="636"/>
                    <a:pt x="748" y="640"/>
                    <a:pt x="755" y="640"/>
                  </a:cubicBezTo>
                  <a:cubicBezTo>
                    <a:pt x="762" y="640"/>
                    <a:pt x="771" y="636"/>
                    <a:pt x="774" y="630"/>
                  </a:cubicBezTo>
                  <a:cubicBezTo>
                    <a:pt x="778" y="625"/>
                    <a:pt x="775" y="620"/>
                    <a:pt x="767" y="620"/>
                  </a:cubicBezTo>
                  <a:cubicBezTo>
                    <a:pt x="767" y="620"/>
                    <a:pt x="767" y="620"/>
                    <a:pt x="767" y="620"/>
                  </a:cubicBezTo>
                  <a:moveTo>
                    <a:pt x="2025" y="611"/>
                  </a:moveTo>
                  <a:cubicBezTo>
                    <a:pt x="2018" y="611"/>
                    <a:pt x="2011" y="616"/>
                    <a:pt x="2010" y="621"/>
                  </a:cubicBezTo>
                  <a:cubicBezTo>
                    <a:pt x="2009" y="627"/>
                    <a:pt x="2015" y="631"/>
                    <a:pt x="2022" y="631"/>
                  </a:cubicBezTo>
                  <a:cubicBezTo>
                    <a:pt x="2029" y="631"/>
                    <a:pt x="2035" y="627"/>
                    <a:pt x="2036" y="621"/>
                  </a:cubicBezTo>
                  <a:cubicBezTo>
                    <a:pt x="2037" y="616"/>
                    <a:pt x="2032" y="611"/>
                    <a:pt x="2025" y="611"/>
                  </a:cubicBezTo>
                  <a:cubicBezTo>
                    <a:pt x="2025" y="611"/>
                    <a:pt x="2025" y="611"/>
                    <a:pt x="2025" y="611"/>
                  </a:cubicBezTo>
                  <a:moveTo>
                    <a:pt x="2062" y="611"/>
                  </a:moveTo>
                  <a:cubicBezTo>
                    <a:pt x="2055" y="611"/>
                    <a:pt x="2048" y="615"/>
                    <a:pt x="2048" y="621"/>
                  </a:cubicBezTo>
                  <a:cubicBezTo>
                    <a:pt x="2047" y="627"/>
                    <a:pt x="2052" y="631"/>
                    <a:pt x="2059" y="631"/>
                  </a:cubicBezTo>
                  <a:cubicBezTo>
                    <a:pt x="2066" y="631"/>
                    <a:pt x="2073" y="627"/>
                    <a:pt x="2074" y="621"/>
                  </a:cubicBezTo>
                  <a:cubicBezTo>
                    <a:pt x="2074" y="615"/>
                    <a:pt x="2069" y="611"/>
                    <a:pt x="2062" y="611"/>
                  </a:cubicBezTo>
                  <a:cubicBezTo>
                    <a:pt x="2062" y="611"/>
                    <a:pt x="2062" y="611"/>
                    <a:pt x="2062" y="611"/>
                  </a:cubicBezTo>
                  <a:moveTo>
                    <a:pt x="2100" y="611"/>
                  </a:moveTo>
                  <a:cubicBezTo>
                    <a:pt x="2093" y="611"/>
                    <a:pt x="2087" y="615"/>
                    <a:pt x="2086" y="621"/>
                  </a:cubicBezTo>
                  <a:cubicBezTo>
                    <a:pt x="2085" y="627"/>
                    <a:pt x="2090" y="631"/>
                    <a:pt x="2097" y="631"/>
                  </a:cubicBezTo>
                  <a:cubicBezTo>
                    <a:pt x="2105" y="631"/>
                    <a:pt x="2111" y="626"/>
                    <a:pt x="2112" y="621"/>
                  </a:cubicBezTo>
                  <a:cubicBezTo>
                    <a:pt x="2113" y="615"/>
                    <a:pt x="2107" y="611"/>
                    <a:pt x="2100" y="611"/>
                  </a:cubicBezTo>
                  <a:cubicBezTo>
                    <a:pt x="2100" y="611"/>
                    <a:pt x="2100" y="611"/>
                    <a:pt x="2100" y="611"/>
                  </a:cubicBezTo>
                  <a:moveTo>
                    <a:pt x="2137" y="610"/>
                  </a:moveTo>
                  <a:cubicBezTo>
                    <a:pt x="2130" y="610"/>
                    <a:pt x="2123" y="615"/>
                    <a:pt x="2123" y="621"/>
                  </a:cubicBezTo>
                  <a:cubicBezTo>
                    <a:pt x="2122" y="626"/>
                    <a:pt x="2127" y="631"/>
                    <a:pt x="2134" y="631"/>
                  </a:cubicBezTo>
                  <a:cubicBezTo>
                    <a:pt x="2142" y="631"/>
                    <a:pt x="2148" y="626"/>
                    <a:pt x="2149" y="621"/>
                  </a:cubicBezTo>
                  <a:cubicBezTo>
                    <a:pt x="2149" y="615"/>
                    <a:pt x="2144" y="610"/>
                    <a:pt x="2137" y="610"/>
                  </a:cubicBezTo>
                  <a:cubicBezTo>
                    <a:pt x="2137" y="610"/>
                    <a:pt x="2137" y="610"/>
                    <a:pt x="2137" y="610"/>
                  </a:cubicBezTo>
                  <a:moveTo>
                    <a:pt x="2174" y="610"/>
                  </a:moveTo>
                  <a:cubicBezTo>
                    <a:pt x="2167" y="610"/>
                    <a:pt x="2161" y="615"/>
                    <a:pt x="2160" y="620"/>
                  </a:cubicBezTo>
                  <a:cubicBezTo>
                    <a:pt x="2159" y="626"/>
                    <a:pt x="2165" y="631"/>
                    <a:pt x="2172" y="631"/>
                  </a:cubicBezTo>
                  <a:cubicBezTo>
                    <a:pt x="2179" y="631"/>
                    <a:pt x="2185" y="626"/>
                    <a:pt x="2186" y="620"/>
                  </a:cubicBezTo>
                  <a:cubicBezTo>
                    <a:pt x="2186" y="615"/>
                    <a:pt x="2181" y="610"/>
                    <a:pt x="2174" y="610"/>
                  </a:cubicBezTo>
                  <a:cubicBezTo>
                    <a:pt x="2174" y="610"/>
                    <a:pt x="2174" y="610"/>
                    <a:pt x="2174" y="610"/>
                  </a:cubicBezTo>
                  <a:moveTo>
                    <a:pt x="2433" y="608"/>
                  </a:moveTo>
                  <a:cubicBezTo>
                    <a:pt x="2426" y="608"/>
                    <a:pt x="2420" y="613"/>
                    <a:pt x="2420" y="618"/>
                  </a:cubicBezTo>
                  <a:cubicBezTo>
                    <a:pt x="2419" y="624"/>
                    <a:pt x="2425" y="628"/>
                    <a:pt x="2432" y="628"/>
                  </a:cubicBezTo>
                  <a:cubicBezTo>
                    <a:pt x="2440" y="628"/>
                    <a:pt x="2445" y="624"/>
                    <a:pt x="2446" y="618"/>
                  </a:cubicBezTo>
                  <a:cubicBezTo>
                    <a:pt x="2446" y="612"/>
                    <a:pt x="2440" y="608"/>
                    <a:pt x="2433" y="608"/>
                  </a:cubicBezTo>
                  <a:cubicBezTo>
                    <a:pt x="2433" y="608"/>
                    <a:pt x="2433" y="608"/>
                    <a:pt x="2433" y="608"/>
                  </a:cubicBezTo>
                  <a:moveTo>
                    <a:pt x="2802" y="607"/>
                  </a:moveTo>
                  <a:cubicBezTo>
                    <a:pt x="2795" y="607"/>
                    <a:pt x="2790" y="611"/>
                    <a:pt x="2790" y="617"/>
                  </a:cubicBezTo>
                  <a:cubicBezTo>
                    <a:pt x="2791" y="623"/>
                    <a:pt x="2797" y="627"/>
                    <a:pt x="2804" y="627"/>
                  </a:cubicBezTo>
                  <a:cubicBezTo>
                    <a:pt x="2812" y="627"/>
                    <a:pt x="2817" y="623"/>
                    <a:pt x="2816" y="617"/>
                  </a:cubicBezTo>
                  <a:cubicBezTo>
                    <a:pt x="2816" y="611"/>
                    <a:pt x="2809" y="607"/>
                    <a:pt x="2802" y="607"/>
                  </a:cubicBezTo>
                  <a:cubicBezTo>
                    <a:pt x="2802" y="607"/>
                    <a:pt x="2802" y="607"/>
                    <a:pt x="2802" y="607"/>
                  </a:cubicBezTo>
                  <a:moveTo>
                    <a:pt x="2837" y="607"/>
                  </a:moveTo>
                  <a:cubicBezTo>
                    <a:pt x="2830" y="607"/>
                    <a:pt x="2825" y="611"/>
                    <a:pt x="2825" y="617"/>
                  </a:cubicBezTo>
                  <a:cubicBezTo>
                    <a:pt x="2826" y="622"/>
                    <a:pt x="2832" y="627"/>
                    <a:pt x="2839" y="627"/>
                  </a:cubicBezTo>
                  <a:cubicBezTo>
                    <a:pt x="2847" y="627"/>
                    <a:pt x="2852" y="622"/>
                    <a:pt x="2851" y="617"/>
                  </a:cubicBezTo>
                  <a:cubicBezTo>
                    <a:pt x="2850" y="611"/>
                    <a:pt x="2844" y="607"/>
                    <a:pt x="2837" y="607"/>
                  </a:cubicBezTo>
                  <a:cubicBezTo>
                    <a:pt x="2837" y="607"/>
                    <a:pt x="2837" y="607"/>
                    <a:pt x="2837" y="607"/>
                  </a:cubicBezTo>
                  <a:moveTo>
                    <a:pt x="2874" y="606"/>
                  </a:moveTo>
                  <a:cubicBezTo>
                    <a:pt x="2866" y="606"/>
                    <a:pt x="2861" y="611"/>
                    <a:pt x="2862" y="617"/>
                  </a:cubicBezTo>
                  <a:cubicBezTo>
                    <a:pt x="2863" y="622"/>
                    <a:pt x="2869" y="627"/>
                    <a:pt x="2876" y="627"/>
                  </a:cubicBezTo>
                  <a:cubicBezTo>
                    <a:pt x="2883" y="627"/>
                    <a:pt x="2889" y="622"/>
                    <a:pt x="2888" y="616"/>
                  </a:cubicBezTo>
                  <a:cubicBezTo>
                    <a:pt x="2887" y="611"/>
                    <a:pt x="2881" y="606"/>
                    <a:pt x="2874" y="606"/>
                  </a:cubicBezTo>
                  <a:cubicBezTo>
                    <a:pt x="2874" y="606"/>
                    <a:pt x="2874" y="606"/>
                    <a:pt x="2874" y="606"/>
                  </a:cubicBezTo>
                  <a:moveTo>
                    <a:pt x="2655" y="606"/>
                  </a:moveTo>
                  <a:cubicBezTo>
                    <a:pt x="2648" y="606"/>
                    <a:pt x="2642" y="611"/>
                    <a:pt x="2643" y="616"/>
                  </a:cubicBezTo>
                  <a:cubicBezTo>
                    <a:pt x="2643" y="622"/>
                    <a:pt x="2649" y="627"/>
                    <a:pt x="2656" y="627"/>
                  </a:cubicBezTo>
                  <a:cubicBezTo>
                    <a:pt x="2663" y="627"/>
                    <a:pt x="2669" y="622"/>
                    <a:pt x="2669" y="616"/>
                  </a:cubicBezTo>
                  <a:cubicBezTo>
                    <a:pt x="2668" y="611"/>
                    <a:pt x="2662" y="606"/>
                    <a:pt x="2655" y="606"/>
                  </a:cubicBezTo>
                  <a:cubicBezTo>
                    <a:pt x="2655" y="606"/>
                    <a:pt x="2655" y="606"/>
                    <a:pt x="2655" y="606"/>
                  </a:cubicBezTo>
                  <a:moveTo>
                    <a:pt x="2911" y="606"/>
                  </a:moveTo>
                  <a:cubicBezTo>
                    <a:pt x="2903" y="606"/>
                    <a:pt x="2898" y="611"/>
                    <a:pt x="2899" y="616"/>
                  </a:cubicBezTo>
                  <a:cubicBezTo>
                    <a:pt x="2900" y="622"/>
                    <a:pt x="2906" y="627"/>
                    <a:pt x="2914" y="627"/>
                  </a:cubicBezTo>
                  <a:cubicBezTo>
                    <a:pt x="2921" y="627"/>
                    <a:pt x="2926" y="622"/>
                    <a:pt x="2925" y="616"/>
                  </a:cubicBezTo>
                  <a:cubicBezTo>
                    <a:pt x="2924" y="611"/>
                    <a:pt x="2918" y="606"/>
                    <a:pt x="2911" y="606"/>
                  </a:cubicBezTo>
                  <a:cubicBezTo>
                    <a:pt x="2911" y="606"/>
                    <a:pt x="2911" y="606"/>
                    <a:pt x="2911" y="606"/>
                  </a:cubicBezTo>
                  <a:moveTo>
                    <a:pt x="2691" y="606"/>
                  </a:moveTo>
                  <a:cubicBezTo>
                    <a:pt x="2684" y="606"/>
                    <a:pt x="2679" y="611"/>
                    <a:pt x="2679" y="616"/>
                  </a:cubicBezTo>
                  <a:cubicBezTo>
                    <a:pt x="2680" y="622"/>
                    <a:pt x="2686" y="626"/>
                    <a:pt x="2693" y="626"/>
                  </a:cubicBezTo>
                  <a:cubicBezTo>
                    <a:pt x="2700" y="626"/>
                    <a:pt x="2706" y="622"/>
                    <a:pt x="2705" y="616"/>
                  </a:cubicBezTo>
                  <a:cubicBezTo>
                    <a:pt x="2705" y="610"/>
                    <a:pt x="2699" y="606"/>
                    <a:pt x="2692" y="606"/>
                  </a:cubicBezTo>
                  <a:cubicBezTo>
                    <a:pt x="2692" y="606"/>
                    <a:pt x="2692" y="606"/>
                    <a:pt x="2691" y="606"/>
                  </a:cubicBezTo>
                  <a:moveTo>
                    <a:pt x="2765" y="606"/>
                  </a:moveTo>
                  <a:cubicBezTo>
                    <a:pt x="2758" y="606"/>
                    <a:pt x="2753" y="611"/>
                    <a:pt x="2753" y="616"/>
                  </a:cubicBezTo>
                  <a:cubicBezTo>
                    <a:pt x="2754" y="622"/>
                    <a:pt x="2760" y="626"/>
                    <a:pt x="2767" y="626"/>
                  </a:cubicBezTo>
                  <a:cubicBezTo>
                    <a:pt x="2774" y="626"/>
                    <a:pt x="2780" y="622"/>
                    <a:pt x="2779" y="616"/>
                  </a:cubicBezTo>
                  <a:cubicBezTo>
                    <a:pt x="2779" y="610"/>
                    <a:pt x="2772" y="606"/>
                    <a:pt x="2765" y="606"/>
                  </a:cubicBezTo>
                  <a:cubicBezTo>
                    <a:pt x="2765" y="606"/>
                    <a:pt x="2765" y="606"/>
                    <a:pt x="2765" y="606"/>
                  </a:cubicBezTo>
                  <a:moveTo>
                    <a:pt x="2948" y="606"/>
                  </a:moveTo>
                  <a:cubicBezTo>
                    <a:pt x="2941" y="606"/>
                    <a:pt x="2936" y="611"/>
                    <a:pt x="2937" y="616"/>
                  </a:cubicBezTo>
                  <a:cubicBezTo>
                    <a:pt x="2937" y="622"/>
                    <a:pt x="2944" y="626"/>
                    <a:pt x="2951" y="626"/>
                  </a:cubicBezTo>
                  <a:cubicBezTo>
                    <a:pt x="2958" y="626"/>
                    <a:pt x="2963" y="622"/>
                    <a:pt x="2962" y="616"/>
                  </a:cubicBezTo>
                  <a:cubicBezTo>
                    <a:pt x="2962" y="610"/>
                    <a:pt x="2955" y="606"/>
                    <a:pt x="2948" y="606"/>
                  </a:cubicBezTo>
                  <a:cubicBezTo>
                    <a:pt x="2948" y="606"/>
                    <a:pt x="2948" y="606"/>
                    <a:pt x="2948" y="606"/>
                  </a:cubicBezTo>
                  <a:moveTo>
                    <a:pt x="2728" y="606"/>
                  </a:moveTo>
                  <a:cubicBezTo>
                    <a:pt x="2721" y="606"/>
                    <a:pt x="2716" y="610"/>
                    <a:pt x="2716" y="616"/>
                  </a:cubicBezTo>
                  <a:cubicBezTo>
                    <a:pt x="2717" y="622"/>
                    <a:pt x="2723" y="626"/>
                    <a:pt x="2730" y="626"/>
                  </a:cubicBezTo>
                  <a:cubicBezTo>
                    <a:pt x="2737" y="626"/>
                    <a:pt x="2742" y="622"/>
                    <a:pt x="2742" y="616"/>
                  </a:cubicBezTo>
                  <a:cubicBezTo>
                    <a:pt x="2741" y="610"/>
                    <a:pt x="2735" y="606"/>
                    <a:pt x="2728" y="606"/>
                  </a:cubicBezTo>
                  <a:cubicBezTo>
                    <a:pt x="2728" y="606"/>
                    <a:pt x="2728" y="606"/>
                    <a:pt x="2728" y="606"/>
                  </a:cubicBezTo>
                  <a:moveTo>
                    <a:pt x="2984" y="606"/>
                  </a:moveTo>
                  <a:cubicBezTo>
                    <a:pt x="2977" y="606"/>
                    <a:pt x="2972" y="610"/>
                    <a:pt x="2973" y="616"/>
                  </a:cubicBezTo>
                  <a:cubicBezTo>
                    <a:pt x="2974" y="622"/>
                    <a:pt x="2981" y="626"/>
                    <a:pt x="2988" y="626"/>
                  </a:cubicBezTo>
                  <a:cubicBezTo>
                    <a:pt x="2995" y="626"/>
                    <a:pt x="3000" y="621"/>
                    <a:pt x="2999" y="616"/>
                  </a:cubicBezTo>
                  <a:cubicBezTo>
                    <a:pt x="2998" y="610"/>
                    <a:pt x="2992" y="606"/>
                    <a:pt x="2985" y="606"/>
                  </a:cubicBezTo>
                  <a:cubicBezTo>
                    <a:pt x="2985" y="606"/>
                    <a:pt x="2985" y="606"/>
                    <a:pt x="2984" y="606"/>
                  </a:cubicBezTo>
                  <a:moveTo>
                    <a:pt x="2618" y="605"/>
                  </a:moveTo>
                  <a:cubicBezTo>
                    <a:pt x="2611" y="606"/>
                    <a:pt x="2606" y="610"/>
                    <a:pt x="2606" y="616"/>
                  </a:cubicBezTo>
                  <a:cubicBezTo>
                    <a:pt x="2606" y="621"/>
                    <a:pt x="2612" y="626"/>
                    <a:pt x="2619" y="626"/>
                  </a:cubicBezTo>
                  <a:cubicBezTo>
                    <a:pt x="2626" y="626"/>
                    <a:pt x="2632" y="621"/>
                    <a:pt x="2632" y="616"/>
                  </a:cubicBezTo>
                  <a:cubicBezTo>
                    <a:pt x="2632" y="610"/>
                    <a:pt x="2626" y="605"/>
                    <a:pt x="2618" y="605"/>
                  </a:cubicBezTo>
                  <a:cubicBezTo>
                    <a:pt x="2618" y="605"/>
                    <a:pt x="2618" y="605"/>
                    <a:pt x="2618" y="605"/>
                  </a:cubicBezTo>
                  <a:moveTo>
                    <a:pt x="3021" y="605"/>
                  </a:moveTo>
                  <a:cubicBezTo>
                    <a:pt x="3014" y="605"/>
                    <a:pt x="3009" y="610"/>
                    <a:pt x="3010" y="616"/>
                  </a:cubicBezTo>
                  <a:cubicBezTo>
                    <a:pt x="3011" y="621"/>
                    <a:pt x="3018" y="626"/>
                    <a:pt x="3025" y="626"/>
                  </a:cubicBezTo>
                  <a:cubicBezTo>
                    <a:pt x="3032" y="626"/>
                    <a:pt x="3037" y="621"/>
                    <a:pt x="3036" y="616"/>
                  </a:cubicBezTo>
                  <a:cubicBezTo>
                    <a:pt x="3035" y="610"/>
                    <a:pt x="3029" y="605"/>
                    <a:pt x="3021" y="605"/>
                  </a:cubicBezTo>
                  <a:cubicBezTo>
                    <a:pt x="3021" y="605"/>
                    <a:pt x="3021" y="605"/>
                    <a:pt x="3021" y="605"/>
                  </a:cubicBezTo>
                  <a:moveTo>
                    <a:pt x="3058" y="605"/>
                  </a:moveTo>
                  <a:cubicBezTo>
                    <a:pt x="3051" y="605"/>
                    <a:pt x="3046" y="610"/>
                    <a:pt x="3047" y="616"/>
                  </a:cubicBezTo>
                  <a:cubicBezTo>
                    <a:pt x="3048" y="621"/>
                    <a:pt x="3055" y="626"/>
                    <a:pt x="3062" y="626"/>
                  </a:cubicBezTo>
                  <a:cubicBezTo>
                    <a:pt x="3069" y="626"/>
                    <a:pt x="3074" y="621"/>
                    <a:pt x="3073" y="615"/>
                  </a:cubicBezTo>
                  <a:cubicBezTo>
                    <a:pt x="3072" y="610"/>
                    <a:pt x="3065" y="605"/>
                    <a:pt x="3058" y="605"/>
                  </a:cubicBezTo>
                  <a:cubicBezTo>
                    <a:pt x="3058" y="605"/>
                    <a:pt x="3058" y="605"/>
                    <a:pt x="3058" y="605"/>
                  </a:cubicBezTo>
                  <a:moveTo>
                    <a:pt x="3095" y="605"/>
                  </a:moveTo>
                  <a:cubicBezTo>
                    <a:pt x="3088" y="605"/>
                    <a:pt x="3083" y="610"/>
                    <a:pt x="3084" y="615"/>
                  </a:cubicBezTo>
                  <a:cubicBezTo>
                    <a:pt x="3085" y="621"/>
                    <a:pt x="3092" y="626"/>
                    <a:pt x="3099" y="626"/>
                  </a:cubicBezTo>
                  <a:cubicBezTo>
                    <a:pt x="3107" y="625"/>
                    <a:pt x="3111" y="621"/>
                    <a:pt x="3110" y="615"/>
                  </a:cubicBezTo>
                  <a:cubicBezTo>
                    <a:pt x="3109" y="610"/>
                    <a:pt x="3102" y="605"/>
                    <a:pt x="3095" y="605"/>
                  </a:cubicBezTo>
                  <a:cubicBezTo>
                    <a:pt x="3095" y="605"/>
                    <a:pt x="3095" y="605"/>
                    <a:pt x="3095" y="605"/>
                  </a:cubicBezTo>
                  <a:moveTo>
                    <a:pt x="3133" y="605"/>
                  </a:moveTo>
                  <a:cubicBezTo>
                    <a:pt x="3126" y="605"/>
                    <a:pt x="3121" y="609"/>
                    <a:pt x="3122" y="615"/>
                  </a:cubicBezTo>
                  <a:cubicBezTo>
                    <a:pt x="3124" y="621"/>
                    <a:pt x="3131" y="625"/>
                    <a:pt x="3138" y="625"/>
                  </a:cubicBezTo>
                  <a:cubicBezTo>
                    <a:pt x="3145" y="625"/>
                    <a:pt x="3150" y="621"/>
                    <a:pt x="3148" y="615"/>
                  </a:cubicBezTo>
                  <a:cubicBezTo>
                    <a:pt x="3147" y="609"/>
                    <a:pt x="3140" y="605"/>
                    <a:pt x="3133" y="605"/>
                  </a:cubicBezTo>
                  <a:cubicBezTo>
                    <a:pt x="3133" y="605"/>
                    <a:pt x="3133" y="605"/>
                    <a:pt x="3133" y="605"/>
                  </a:cubicBezTo>
                  <a:moveTo>
                    <a:pt x="3170" y="605"/>
                  </a:moveTo>
                  <a:cubicBezTo>
                    <a:pt x="3163" y="605"/>
                    <a:pt x="3158" y="609"/>
                    <a:pt x="3159" y="615"/>
                  </a:cubicBezTo>
                  <a:cubicBezTo>
                    <a:pt x="3161" y="621"/>
                    <a:pt x="3167" y="625"/>
                    <a:pt x="3175" y="625"/>
                  </a:cubicBezTo>
                  <a:cubicBezTo>
                    <a:pt x="3182" y="625"/>
                    <a:pt x="3187" y="620"/>
                    <a:pt x="3185" y="615"/>
                  </a:cubicBezTo>
                  <a:cubicBezTo>
                    <a:pt x="3184" y="609"/>
                    <a:pt x="3177" y="605"/>
                    <a:pt x="3170" y="605"/>
                  </a:cubicBezTo>
                  <a:cubicBezTo>
                    <a:pt x="3170" y="605"/>
                    <a:pt x="3170" y="605"/>
                    <a:pt x="3170" y="605"/>
                  </a:cubicBezTo>
                  <a:moveTo>
                    <a:pt x="3207" y="604"/>
                  </a:moveTo>
                  <a:cubicBezTo>
                    <a:pt x="3200" y="604"/>
                    <a:pt x="3195" y="609"/>
                    <a:pt x="3196" y="615"/>
                  </a:cubicBezTo>
                  <a:cubicBezTo>
                    <a:pt x="3198" y="620"/>
                    <a:pt x="3205" y="625"/>
                    <a:pt x="3212" y="625"/>
                  </a:cubicBezTo>
                  <a:cubicBezTo>
                    <a:pt x="3219" y="625"/>
                    <a:pt x="3224" y="620"/>
                    <a:pt x="3222" y="615"/>
                  </a:cubicBezTo>
                  <a:cubicBezTo>
                    <a:pt x="3221" y="609"/>
                    <a:pt x="3214" y="604"/>
                    <a:pt x="3207" y="604"/>
                  </a:cubicBezTo>
                  <a:cubicBezTo>
                    <a:pt x="3207" y="604"/>
                    <a:pt x="3207" y="604"/>
                    <a:pt x="3207" y="604"/>
                  </a:cubicBezTo>
                  <a:moveTo>
                    <a:pt x="3244" y="604"/>
                  </a:moveTo>
                  <a:cubicBezTo>
                    <a:pt x="3237" y="604"/>
                    <a:pt x="3232" y="609"/>
                    <a:pt x="3234" y="614"/>
                  </a:cubicBezTo>
                  <a:cubicBezTo>
                    <a:pt x="3235" y="620"/>
                    <a:pt x="3242" y="625"/>
                    <a:pt x="3249" y="625"/>
                  </a:cubicBezTo>
                  <a:cubicBezTo>
                    <a:pt x="3257" y="625"/>
                    <a:pt x="3261" y="620"/>
                    <a:pt x="3260" y="614"/>
                  </a:cubicBezTo>
                  <a:cubicBezTo>
                    <a:pt x="3258" y="609"/>
                    <a:pt x="3251" y="604"/>
                    <a:pt x="3244" y="604"/>
                  </a:cubicBezTo>
                  <a:cubicBezTo>
                    <a:pt x="3244" y="604"/>
                    <a:pt x="3244" y="604"/>
                    <a:pt x="3244" y="604"/>
                  </a:cubicBezTo>
                  <a:moveTo>
                    <a:pt x="3281" y="604"/>
                  </a:moveTo>
                  <a:cubicBezTo>
                    <a:pt x="3273" y="604"/>
                    <a:pt x="3269" y="609"/>
                    <a:pt x="3271" y="614"/>
                  </a:cubicBezTo>
                  <a:cubicBezTo>
                    <a:pt x="3272" y="620"/>
                    <a:pt x="3279" y="624"/>
                    <a:pt x="3286" y="624"/>
                  </a:cubicBezTo>
                  <a:cubicBezTo>
                    <a:pt x="3293" y="624"/>
                    <a:pt x="3298" y="620"/>
                    <a:pt x="3296" y="614"/>
                  </a:cubicBezTo>
                  <a:cubicBezTo>
                    <a:pt x="3295" y="608"/>
                    <a:pt x="3288" y="604"/>
                    <a:pt x="3281" y="604"/>
                  </a:cubicBezTo>
                  <a:cubicBezTo>
                    <a:pt x="3281" y="604"/>
                    <a:pt x="3281" y="604"/>
                    <a:pt x="3281" y="604"/>
                  </a:cubicBezTo>
                  <a:moveTo>
                    <a:pt x="3317" y="604"/>
                  </a:moveTo>
                  <a:cubicBezTo>
                    <a:pt x="3310" y="604"/>
                    <a:pt x="3306" y="608"/>
                    <a:pt x="3307" y="614"/>
                  </a:cubicBezTo>
                  <a:cubicBezTo>
                    <a:pt x="3309" y="620"/>
                    <a:pt x="3316" y="624"/>
                    <a:pt x="3323" y="624"/>
                  </a:cubicBezTo>
                  <a:cubicBezTo>
                    <a:pt x="3331" y="624"/>
                    <a:pt x="3335" y="620"/>
                    <a:pt x="3333" y="614"/>
                  </a:cubicBezTo>
                  <a:cubicBezTo>
                    <a:pt x="3332" y="608"/>
                    <a:pt x="3325" y="604"/>
                    <a:pt x="3318" y="604"/>
                  </a:cubicBezTo>
                  <a:cubicBezTo>
                    <a:pt x="3318" y="604"/>
                    <a:pt x="3317" y="604"/>
                    <a:pt x="3317" y="604"/>
                  </a:cubicBezTo>
                  <a:moveTo>
                    <a:pt x="3354" y="604"/>
                  </a:moveTo>
                  <a:cubicBezTo>
                    <a:pt x="3347" y="604"/>
                    <a:pt x="3343" y="608"/>
                    <a:pt x="3344" y="614"/>
                  </a:cubicBezTo>
                  <a:cubicBezTo>
                    <a:pt x="3346" y="620"/>
                    <a:pt x="3353" y="624"/>
                    <a:pt x="3360" y="624"/>
                  </a:cubicBezTo>
                  <a:cubicBezTo>
                    <a:pt x="3368" y="624"/>
                    <a:pt x="3372" y="619"/>
                    <a:pt x="3370" y="614"/>
                  </a:cubicBezTo>
                  <a:cubicBezTo>
                    <a:pt x="3368" y="608"/>
                    <a:pt x="3361" y="604"/>
                    <a:pt x="3354" y="604"/>
                  </a:cubicBezTo>
                  <a:cubicBezTo>
                    <a:pt x="3354" y="604"/>
                    <a:pt x="3354" y="604"/>
                    <a:pt x="3354" y="604"/>
                  </a:cubicBezTo>
                  <a:moveTo>
                    <a:pt x="3391" y="603"/>
                  </a:moveTo>
                  <a:cubicBezTo>
                    <a:pt x="3384" y="603"/>
                    <a:pt x="3380" y="608"/>
                    <a:pt x="3381" y="614"/>
                  </a:cubicBezTo>
                  <a:cubicBezTo>
                    <a:pt x="3383" y="619"/>
                    <a:pt x="3390" y="624"/>
                    <a:pt x="3398" y="624"/>
                  </a:cubicBezTo>
                  <a:cubicBezTo>
                    <a:pt x="3405" y="624"/>
                    <a:pt x="3409" y="619"/>
                    <a:pt x="3407" y="613"/>
                  </a:cubicBezTo>
                  <a:cubicBezTo>
                    <a:pt x="3405" y="608"/>
                    <a:pt x="3398" y="603"/>
                    <a:pt x="3391" y="603"/>
                  </a:cubicBezTo>
                  <a:cubicBezTo>
                    <a:pt x="3391" y="603"/>
                    <a:pt x="3391" y="603"/>
                    <a:pt x="3391" y="603"/>
                  </a:cubicBezTo>
                  <a:moveTo>
                    <a:pt x="3428" y="603"/>
                  </a:moveTo>
                  <a:cubicBezTo>
                    <a:pt x="3421" y="603"/>
                    <a:pt x="3417" y="608"/>
                    <a:pt x="3419" y="613"/>
                  </a:cubicBezTo>
                  <a:cubicBezTo>
                    <a:pt x="3421" y="619"/>
                    <a:pt x="3428" y="624"/>
                    <a:pt x="3435" y="624"/>
                  </a:cubicBezTo>
                  <a:cubicBezTo>
                    <a:pt x="3442" y="624"/>
                    <a:pt x="3447" y="619"/>
                    <a:pt x="3445" y="613"/>
                  </a:cubicBezTo>
                  <a:cubicBezTo>
                    <a:pt x="3443" y="608"/>
                    <a:pt x="3435" y="603"/>
                    <a:pt x="3428" y="603"/>
                  </a:cubicBezTo>
                  <a:cubicBezTo>
                    <a:pt x="3428" y="603"/>
                    <a:pt x="3428" y="603"/>
                    <a:pt x="3428" y="603"/>
                  </a:cubicBezTo>
                  <a:moveTo>
                    <a:pt x="3465" y="603"/>
                  </a:moveTo>
                  <a:cubicBezTo>
                    <a:pt x="3458" y="603"/>
                    <a:pt x="3454" y="608"/>
                    <a:pt x="3456" y="613"/>
                  </a:cubicBezTo>
                  <a:cubicBezTo>
                    <a:pt x="3457" y="619"/>
                    <a:pt x="3465" y="623"/>
                    <a:pt x="3472" y="623"/>
                  </a:cubicBezTo>
                  <a:cubicBezTo>
                    <a:pt x="3479" y="623"/>
                    <a:pt x="3483" y="619"/>
                    <a:pt x="3481" y="613"/>
                  </a:cubicBezTo>
                  <a:cubicBezTo>
                    <a:pt x="3479" y="607"/>
                    <a:pt x="3472" y="603"/>
                    <a:pt x="3465" y="603"/>
                  </a:cubicBezTo>
                  <a:cubicBezTo>
                    <a:pt x="3465" y="603"/>
                    <a:pt x="3465" y="603"/>
                    <a:pt x="3465" y="603"/>
                  </a:cubicBezTo>
                  <a:moveTo>
                    <a:pt x="3502" y="603"/>
                  </a:moveTo>
                  <a:cubicBezTo>
                    <a:pt x="3495" y="603"/>
                    <a:pt x="3490" y="607"/>
                    <a:pt x="3492" y="613"/>
                  </a:cubicBezTo>
                  <a:cubicBezTo>
                    <a:pt x="3494" y="619"/>
                    <a:pt x="3502" y="623"/>
                    <a:pt x="3509" y="623"/>
                  </a:cubicBezTo>
                  <a:cubicBezTo>
                    <a:pt x="3516" y="623"/>
                    <a:pt x="3520" y="619"/>
                    <a:pt x="3518" y="613"/>
                  </a:cubicBezTo>
                  <a:cubicBezTo>
                    <a:pt x="3516" y="607"/>
                    <a:pt x="3509" y="603"/>
                    <a:pt x="3502" y="603"/>
                  </a:cubicBezTo>
                  <a:cubicBezTo>
                    <a:pt x="3502" y="603"/>
                    <a:pt x="3502" y="603"/>
                    <a:pt x="3502" y="603"/>
                  </a:cubicBezTo>
                  <a:moveTo>
                    <a:pt x="3538" y="602"/>
                  </a:moveTo>
                  <a:cubicBezTo>
                    <a:pt x="3531" y="602"/>
                    <a:pt x="3527" y="607"/>
                    <a:pt x="3529" y="613"/>
                  </a:cubicBezTo>
                  <a:cubicBezTo>
                    <a:pt x="3531" y="618"/>
                    <a:pt x="3539" y="623"/>
                    <a:pt x="3546" y="623"/>
                  </a:cubicBezTo>
                  <a:cubicBezTo>
                    <a:pt x="3553" y="623"/>
                    <a:pt x="3557" y="618"/>
                    <a:pt x="3555" y="613"/>
                  </a:cubicBezTo>
                  <a:cubicBezTo>
                    <a:pt x="3553" y="607"/>
                    <a:pt x="3546" y="602"/>
                    <a:pt x="3538" y="602"/>
                  </a:cubicBezTo>
                  <a:cubicBezTo>
                    <a:pt x="3538" y="602"/>
                    <a:pt x="3538" y="602"/>
                    <a:pt x="3538" y="602"/>
                  </a:cubicBezTo>
                  <a:moveTo>
                    <a:pt x="3575" y="602"/>
                  </a:moveTo>
                  <a:cubicBezTo>
                    <a:pt x="3568" y="602"/>
                    <a:pt x="3564" y="607"/>
                    <a:pt x="3566" y="613"/>
                  </a:cubicBezTo>
                  <a:cubicBezTo>
                    <a:pt x="3568" y="618"/>
                    <a:pt x="3576" y="623"/>
                    <a:pt x="3583" y="623"/>
                  </a:cubicBezTo>
                  <a:cubicBezTo>
                    <a:pt x="3590" y="623"/>
                    <a:pt x="3594" y="618"/>
                    <a:pt x="3592" y="612"/>
                  </a:cubicBezTo>
                  <a:cubicBezTo>
                    <a:pt x="3590" y="607"/>
                    <a:pt x="3583" y="602"/>
                    <a:pt x="3575" y="602"/>
                  </a:cubicBezTo>
                  <a:cubicBezTo>
                    <a:pt x="3575" y="602"/>
                    <a:pt x="3575" y="602"/>
                    <a:pt x="3575" y="602"/>
                  </a:cubicBezTo>
                  <a:moveTo>
                    <a:pt x="3613" y="602"/>
                  </a:moveTo>
                  <a:cubicBezTo>
                    <a:pt x="3605" y="602"/>
                    <a:pt x="3601" y="607"/>
                    <a:pt x="3604" y="612"/>
                  </a:cubicBezTo>
                  <a:cubicBezTo>
                    <a:pt x="3606" y="618"/>
                    <a:pt x="3614" y="623"/>
                    <a:pt x="3621" y="623"/>
                  </a:cubicBezTo>
                  <a:cubicBezTo>
                    <a:pt x="3628" y="622"/>
                    <a:pt x="3632" y="618"/>
                    <a:pt x="3630" y="612"/>
                  </a:cubicBezTo>
                  <a:cubicBezTo>
                    <a:pt x="3627" y="607"/>
                    <a:pt x="3620" y="602"/>
                    <a:pt x="3613" y="602"/>
                  </a:cubicBezTo>
                  <a:cubicBezTo>
                    <a:pt x="3613" y="602"/>
                    <a:pt x="3613" y="602"/>
                    <a:pt x="3613" y="602"/>
                  </a:cubicBezTo>
                  <a:moveTo>
                    <a:pt x="3649" y="601"/>
                  </a:moveTo>
                  <a:cubicBezTo>
                    <a:pt x="3642" y="601"/>
                    <a:pt x="3638" y="606"/>
                    <a:pt x="3641" y="612"/>
                  </a:cubicBezTo>
                  <a:cubicBezTo>
                    <a:pt x="3643" y="617"/>
                    <a:pt x="3651" y="622"/>
                    <a:pt x="3658" y="622"/>
                  </a:cubicBezTo>
                  <a:cubicBezTo>
                    <a:pt x="3665" y="622"/>
                    <a:pt x="3669" y="617"/>
                    <a:pt x="3666" y="612"/>
                  </a:cubicBezTo>
                  <a:cubicBezTo>
                    <a:pt x="3664" y="606"/>
                    <a:pt x="3656" y="601"/>
                    <a:pt x="3649" y="601"/>
                  </a:cubicBezTo>
                  <a:cubicBezTo>
                    <a:pt x="3649" y="601"/>
                    <a:pt x="3649" y="601"/>
                    <a:pt x="3649" y="601"/>
                  </a:cubicBezTo>
                  <a:moveTo>
                    <a:pt x="3686" y="601"/>
                  </a:moveTo>
                  <a:cubicBezTo>
                    <a:pt x="3679" y="601"/>
                    <a:pt x="3675" y="606"/>
                    <a:pt x="3677" y="612"/>
                  </a:cubicBezTo>
                  <a:cubicBezTo>
                    <a:pt x="3680" y="617"/>
                    <a:pt x="3687" y="622"/>
                    <a:pt x="3695" y="622"/>
                  </a:cubicBezTo>
                  <a:cubicBezTo>
                    <a:pt x="3702" y="622"/>
                    <a:pt x="3706" y="617"/>
                    <a:pt x="3703" y="611"/>
                  </a:cubicBezTo>
                  <a:cubicBezTo>
                    <a:pt x="3701" y="606"/>
                    <a:pt x="3693" y="601"/>
                    <a:pt x="3686" y="601"/>
                  </a:cubicBezTo>
                  <a:cubicBezTo>
                    <a:pt x="3686" y="601"/>
                    <a:pt x="3686" y="601"/>
                    <a:pt x="3686" y="601"/>
                  </a:cubicBezTo>
                  <a:moveTo>
                    <a:pt x="3723" y="601"/>
                  </a:moveTo>
                  <a:cubicBezTo>
                    <a:pt x="3716" y="601"/>
                    <a:pt x="3712" y="606"/>
                    <a:pt x="3714" y="611"/>
                  </a:cubicBezTo>
                  <a:cubicBezTo>
                    <a:pt x="3717" y="617"/>
                    <a:pt x="3725" y="622"/>
                    <a:pt x="3732" y="622"/>
                  </a:cubicBezTo>
                  <a:cubicBezTo>
                    <a:pt x="3739" y="622"/>
                    <a:pt x="3743" y="617"/>
                    <a:pt x="3740" y="611"/>
                  </a:cubicBezTo>
                  <a:cubicBezTo>
                    <a:pt x="3738" y="606"/>
                    <a:pt x="3730" y="601"/>
                    <a:pt x="3723" y="601"/>
                  </a:cubicBezTo>
                  <a:cubicBezTo>
                    <a:pt x="3723" y="601"/>
                    <a:pt x="3723" y="601"/>
                    <a:pt x="3723" y="601"/>
                  </a:cubicBezTo>
                  <a:moveTo>
                    <a:pt x="3762" y="601"/>
                  </a:moveTo>
                  <a:cubicBezTo>
                    <a:pt x="3755" y="601"/>
                    <a:pt x="3751" y="605"/>
                    <a:pt x="3754" y="611"/>
                  </a:cubicBezTo>
                  <a:cubicBezTo>
                    <a:pt x="3756" y="617"/>
                    <a:pt x="3764" y="621"/>
                    <a:pt x="3771" y="621"/>
                  </a:cubicBezTo>
                  <a:cubicBezTo>
                    <a:pt x="3778" y="621"/>
                    <a:pt x="3782" y="617"/>
                    <a:pt x="3779" y="611"/>
                  </a:cubicBezTo>
                  <a:cubicBezTo>
                    <a:pt x="3777" y="605"/>
                    <a:pt x="3769" y="601"/>
                    <a:pt x="3762" y="601"/>
                  </a:cubicBezTo>
                  <a:cubicBezTo>
                    <a:pt x="3762" y="601"/>
                    <a:pt x="3762" y="601"/>
                    <a:pt x="3762" y="601"/>
                  </a:cubicBezTo>
                  <a:moveTo>
                    <a:pt x="3798" y="601"/>
                  </a:moveTo>
                  <a:cubicBezTo>
                    <a:pt x="3791" y="601"/>
                    <a:pt x="3787" y="605"/>
                    <a:pt x="3790" y="611"/>
                  </a:cubicBezTo>
                  <a:cubicBezTo>
                    <a:pt x="3793" y="617"/>
                    <a:pt x="3801" y="621"/>
                    <a:pt x="3808" y="621"/>
                  </a:cubicBezTo>
                  <a:cubicBezTo>
                    <a:pt x="3815" y="621"/>
                    <a:pt x="3819" y="616"/>
                    <a:pt x="3816" y="611"/>
                  </a:cubicBezTo>
                  <a:cubicBezTo>
                    <a:pt x="3813" y="605"/>
                    <a:pt x="3805" y="601"/>
                    <a:pt x="3798" y="601"/>
                  </a:cubicBezTo>
                  <a:cubicBezTo>
                    <a:pt x="3798" y="601"/>
                    <a:pt x="3798" y="601"/>
                    <a:pt x="3798" y="601"/>
                  </a:cubicBezTo>
                  <a:moveTo>
                    <a:pt x="3835" y="600"/>
                  </a:moveTo>
                  <a:cubicBezTo>
                    <a:pt x="3828" y="600"/>
                    <a:pt x="3824" y="605"/>
                    <a:pt x="3827" y="611"/>
                  </a:cubicBezTo>
                  <a:cubicBezTo>
                    <a:pt x="3829" y="616"/>
                    <a:pt x="3837" y="621"/>
                    <a:pt x="3845" y="621"/>
                  </a:cubicBezTo>
                  <a:cubicBezTo>
                    <a:pt x="3852" y="621"/>
                    <a:pt x="3855" y="616"/>
                    <a:pt x="3853" y="611"/>
                  </a:cubicBezTo>
                  <a:cubicBezTo>
                    <a:pt x="3850" y="605"/>
                    <a:pt x="3842" y="600"/>
                    <a:pt x="3835" y="600"/>
                  </a:cubicBezTo>
                  <a:cubicBezTo>
                    <a:pt x="3835" y="600"/>
                    <a:pt x="3835" y="600"/>
                    <a:pt x="3835" y="600"/>
                  </a:cubicBezTo>
                  <a:moveTo>
                    <a:pt x="3872" y="600"/>
                  </a:moveTo>
                  <a:cubicBezTo>
                    <a:pt x="3865" y="600"/>
                    <a:pt x="3861" y="605"/>
                    <a:pt x="3864" y="611"/>
                  </a:cubicBezTo>
                  <a:cubicBezTo>
                    <a:pt x="3867" y="616"/>
                    <a:pt x="3875" y="621"/>
                    <a:pt x="3882" y="621"/>
                  </a:cubicBezTo>
                  <a:cubicBezTo>
                    <a:pt x="3889" y="621"/>
                    <a:pt x="3892" y="616"/>
                    <a:pt x="3890" y="610"/>
                  </a:cubicBezTo>
                  <a:cubicBezTo>
                    <a:pt x="3887" y="605"/>
                    <a:pt x="3879" y="600"/>
                    <a:pt x="3872" y="600"/>
                  </a:cubicBezTo>
                  <a:cubicBezTo>
                    <a:pt x="3872" y="600"/>
                    <a:pt x="3872" y="600"/>
                    <a:pt x="3872" y="600"/>
                  </a:cubicBezTo>
                  <a:moveTo>
                    <a:pt x="3909" y="600"/>
                  </a:moveTo>
                  <a:cubicBezTo>
                    <a:pt x="3902" y="600"/>
                    <a:pt x="3898" y="605"/>
                    <a:pt x="3901" y="610"/>
                  </a:cubicBezTo>
                  <a:cubicBezTo>
                    <a:pt x="3904" y="616"/>
                    <a:pt x="3912" y="621"/>
                    <a:pt x="3919" y="621"/>
                  </a:cubicBezTo>
                  <a:cubicBezTo>
                    <a:pt x="3926" y="620"/>
                    <a:pt x="3930" y="616"/>
                    <a:pt x="3927" y="610"/>
                  </a:cubicBezTo>
                  <a:cubicBezTo>
                    <a:pt x="3924" y="604"/>
                    <a:pt x="3916" y="600"/>
                    <a:pt x="3909" y="600"/>
                  </a:cubicBezTo>
                  <a:cubicBezTo>
                    <a:pt x="3909" y="600"/>
                    <a:pt x="3909" y="600"/>
                    <a:pt x="3909" y="600"/>
                  </a:cubicBezTo>
                  <a:moveTo>
                    <a:pt x="3946" y="600"/>
                  </a:moveTo>
                  <a:cubicBezTo>
                    <a:pt x="3938" y="600"/>
                    <a:pt x="3935" y="604"/>
                    <a:pt x="3938" y="610"/>
                  </a:cubicBezTo>
                  <a:cubicBezTo>
                    <a:pt x="3941" y="616"/>
                    <a:pt x="3949" y="620"/>
                    <a:pt x="3956" y="620"/>
                  </a:cubicBezTo>
                  <a:cubicBezTo>
                    <a:pt x="3963" y="620"/>
                    <a:pt x="3967" y="616"/>
                    <a:pt x="3964" y="610"/>
                  </a:cubicBezTo>
                  <a:cubicBezTo>
                    <a:pt x="3961" y="604"/>
                    <a:pt x="3953" y="600"/>
                    <a:pt x="3946" y="600"/>
                  </a:cubicBezTo>
                  <a:cubicBezTo>
                    <a:pt x="3946" y="600"/>
                    <a:pt x="3946" y="600"/>
                    <a:pt x="3946" y="600"/>
                  </a:cubicBezTo>
                  <a:moveTo>
                    <a:pt x="4055" y="599"/>
                  </a:moveTo>
                  <a:cubicBezTo>
                    <a:pt x="4048" y="599"/>
                    <a:pt x="4045" y="604"/>
                    <a:pt x="4048" y="610"/>
                  </a:cubicBezTo>
                  <a:cubicBezTo>
                    <a:pt x="4051" y="615"/>
                    <a:pt x="4059" y="620"/>
                    <a:pt x="4066" y="620"/>
                  </a:cubicBezTo>
                  <a:cubicBezTo>
                    <a:pt x="4073" y="620"/>
                    <a:pt x="4077" y="615"/>
                    <a:pt x="4073" y="610"/>
                  </a:cubicBezTo>
                  <a:cubicBezTo>
                    <a:pt x="4070" y="604"/>
                    <a:pt x="4062" y="599"/>
                    <a:pt x="4055" y="599"/>
                  </a:cubicBezTo>
                  <a:cubicBezTo>
                    <a:pt x="4055" y="599"/>
                    <a:pt x="4055" y="599"/>
                    <a:pt x="4055" y="599"/>
                  </a:cubicBezTo>
                  <a:moveTo>
                    <a:pt x="4092" y="599"/>
                  </a:moveTo>
                  <a:cubicBezTo>
                    <a:pt x="4085" y="599"/>
                    <a:pt x="4081" y="604"/>
                    <a:pt x="4085" y="610"/>
                  </a:cubicBezTo>
                  <a:cubicBezTo>
                    <a:pt x="4088" y="615"/>
                    <a:pt x="4096" y="620"/>
                    <a:pt x="4103" y="620"/>
                  </a:cubicBezTo>
                  <a:cubicBezTo>
                    <a:pt x="4111" y="620"/>
                    <a:pt x="4114" y="615"/>
                    <a:pt x="4111" y="609"/>
                  </a:cubicBezTo>
                  <a:cubicBezTo>
                    <a:pt x="4107" y="604"/>
                    <a:pt x="4099" y="599"/>
                    <a:pt x="4092" y="599"/>
                  </a:cubicBezTo>
                  <a:cubicBezTo>
                    <a:pt x="4092" y="599"/>
                    <a:pt x="4092" y="599"/>
                    <a:pt x="4092" y="599"/>
                  </a:cubicBezTo>
                  <a:moveTo>
                    <a:pt x="4166" y="599"/>
                  </a:moveTo>
                  <a:cubicBezTo>
                    <a:pt x="4159" y="599"/>
                    <a:pt x="4156" y="603"/>
                    <a:pt x="4159" y="609"/>
                  </a:cubicBezTo>
                  <a:cubicBezTo>
                    <a:pt x="4163" y="615"/>
                    <a:pt x="4171" y="619"/>
                    <a:pt x="4178" y="619"/>
                  </a:cubicBezTo>
                  <a:cubicBezTo>
                    <a:pt x="4185" y="619"/>
                    <a:pt x="4188" y="615"/>
                    <a:pt x="4185" y="609"/>
                  </a:cubicBezTo>
                  <a:cubicBezTo>
                    <a:pt x="4182" y="603"/>
                    <a:pt x="4173" y="599"/>
                    <a:pt x="4166" y="599"/>
                  </a:cubicBezTo>
                  <a:cubicBezTo>
                    <a:pt x="4166" y="599"/>
                    <a:pt x="4166" y="599"/>
                    <a:pt x="4166" y="599"/>
                  </a:cubicBezTo>
                  <a:moveTo>
                    <a:pt x="4206" y="599"/>
                  </a:moveTo>
                  <a:cubicBezTo>
                    <a:pt x="4199" y="599"/>
                    <a:pt x="4196" y="603"/>
                    <a:pt x="4200" y="609"/>
                  </a:cubicBezTo>
                  <a:cubicBezTo>
                    <a:pt x="4203" y="615"/>
                    <a:pt x="4212" y="619"/>
                    <a:pt x="4219" y="619"/>
                  </a:cubicBezTo>
                  <a:cubicBezTo>
                    <a:pt x="4226" y="619"/>
                    <a:pt x="4229" y="614"/>
                    <a:pt x="4225" y="609"/>
                  </a:cubicBezTo>
                  <a:cubicBezTo>
                    <a:pt x="4222" y="603"/>
                    <a:pt x="4213" y="599"/>
                    <a:pt x="4206" y="599"/>
                  </a:cubicBezTo>
                  <a:cubicBezTo>
                    <a:pt x="4206" y="599"/>
                    <a:pt x="4206" y="599"/>
                    <a:pt x="4206" y="599"/>
                  </a:cubicBezTo>
                  <a:moveTo>
                    <a:pt x="4239" y="598"/>
                  </a:moveTo>
                  <a:cubicBezTo>
                    <a:pt x="4232" y="598"/>
                    <a:pt x="4229" y="603"/>
                    <a:pt x="4233" y="609"/>
                  </a:cubicBezTo>
                  <a:cubicBezTo>
                    <a:pt x="4236" y="614"/>
                    <a:pt x="4245" y="619"/>
                    <a:pt x="4252" y="619"/>
                  </a:cubicBezTo>
                  <a:cubicBezTo>
                    <a:pt x="4259" y="619"/>
                    <a:pt x="4262" y="614"/>
                    <a:pt x="4259" y="609"/>
                  </a:cubicBezTo>
                  <a:cubicBezTo>
                    <a:pt x="4255" y="603"/>
                    <a:pt x="4246" y="598"/>
                    <a:pt x="4239" y="598"/>
                  </a:cubicBezTo>
                  <a:cubicBezTo>
                    <a:pt x="4239" y="598"/>
                    <a:pt x="4239" y="598"/>
                    <a:pt x="4239" y="598"/>
                  </a:cubicBezTo>
                  <a:moveTo>
                    <a:pt x="123" y="595"/>
                  </a:moveTo>
                  <a:cubicBezTo>
                    <a:pt x="116" y="595"/>
                    <a:pt x="107" y="599"/>
                    <a:pt x="102" y="605"/>
                  </a:cubicBezTo>
                  <a:cubicBezTo>
                    <a:pt x="97" y="611"/>
                    <a:pt x="99" y="615"/>
                    <a:pt x="106" y="615"/>
                  </a:cubicBezTo>
                  <a:cubicBezTo>
                    <a:pt x="113" y="615"/>
                    <a:pt x="123" y="610"/>
                    <a:pt x="128" y="605"/>
                  </a:cubicBezTo>
                  <a:cubicBezTo>
                    <a:pt x="132" y="599"/>
                    <a:pt x="130" y="595"/>
                    <a:pt x="123" y="595"/>
                  </a:cubicBezTo>
                  <a:cubicBezTo>
                    <a:pt x="123" y="595"/>
                    <a:pt x="123" y="595"/>
                    <a:pt x="123" y="595"/>
                  </a:cubicBezTo>
                  <a:moveTo>
                    <a:pt x="160" y="595"/>
                  </a:moveTo>
                  <a:cubicBezTo>
                    <a:pt x="153" y="595"/>
                    <a:pt x="143" y="599"/>
                    <a:pt x="139" y="605"/>
                  </a:cubicBezTo>
                  <a:cubicBezTo>
                    <a:pt x="134" y="610"/>
                    <a:pt x="136" y="615"/>
                    <a:pt x="143" y="615"/>
                  </a:cubicBezTo>
                  <a:cubicBezTo>
                    <a:pt x="150" y="615"/>
                    <a:pt x="160" y="610"/>
                    <a:pt x="164" y="605"/>
                  </a:cubicBezTo>
                  <a:cubicBezTo>
                    <a:pt x="169" y="599"/>
                    <a:pt x="167" y="595"/>
                    <a:pt x="160" y="595"/>
                  </a:cubicBezTo>
                  <a:cubicBezTo>
                    <a:pt x="160" y="595"/>
                    <a:pt x="160" y="595"/>
                    <a:pt x="160" y="595"/>
                  </a:cubicBezTo>
                  <a:moveTo>
                    <a:pt x="198" y="594"/>
                  </a:moveTo>
                  <a:cubicBezTo>
                    <a:pt x="191" y="594"/>
                    <a:pt x="182" y="599"/>
                    <a:pt x="177" y="604"/>
                  </a:cubicBezTo>
                  <a:cubicBezTo>
                    <a:pt x="172" y="610"/>
                    <a:pt x="174" y="615"/>
                    <a:pt x="182" y="615"/>
                  </a:cubicBezTo>
                  <a:cubicBezTo>
                    <a:pt x="189" y="614"/>
                    <a:pt x="198" y="610"/>
                    <a:pt x="203" y="604"/>
                  </a:cubicBezTo>
                  <a:cubicBezTo>
                    <a:pt x="207" y="599"/>
                    <a:pt x="205" y="594"/>
                    <a:pt x="198" y="594"/>
                  </a:cubicBezTo>
                  <a:cubicBezTo>
                    <a:pt x="198" y="594"/>
                    <a:pt x="198" y="594"/>
                    <a:pt x="198" y="594"/>
                  </a:cubicBezTo>
                  <a:moveTo>
                    <a:pt x="235" y="594"/>
                  </a:moveTo>
                  <a:cubicBezTo>
                    <a:pt x="228" y="594"/>
                    <a:pt x="218" y="599"/>
                    <a:pt x="214" y="604"/>
                  </a:cubicBezTo>
                  <a:cubicBezTo>
                    <a:pt x="209" y="610"/>
                    <a:pt x="211" y="614"/>
                    <a:pt x="218" y="614"/>
                  </a:cubicBezTo>
                  <a:cubicBezTo>
                    <a:pt x="226" y="614"/>
                    <a:pt x="235" y="610"/>
                    <a:pt x="239" y="604"/>
                  </a:cubicBezTo>
                  <a:cubicBezTo>
                    <a:pt x="244" y="599"/>
                    <a:pt x="242" y="594"/>
                    <a:pt x="235" y="594"/>
                  </a:cubicBezTo>
                  <a:cubicBezTo>
                    <a:pt x="235" y="594"/>
                    <a:pt x="235" y="594"/>
                    <a:pt x="235" y="594"/>
                  </a:cubicBezTo>
                  <a:moveTo>
                    <a:pt x="271" y="594"/>
                  </a:moveTo>
                  <a:cubicBezTo>
                    <a:pt x="264" y="594"/>
                    <a:pt x="255" y="598"/>
                    <a:pt x="250" y="604"/>
                  </a:cubicBezTo>
                  <a:cubicBezTo>
                    <a:pt x="246" y="610"/>
                    <a:pt x="248" y="614"/>
                    <a:pt x="255" y="614"/>
                  </a:cubicBezTo>
                  <a:cubicBezTo>
                    <a:pt x="262" y="614"/>
                    <a:pt x="272" y="609"/>
                    <a:pt x="276" y="604"/>
                  </a:cubicBezTo>
                  <a:cubicBezTo>
                    <a:pt x="281" y="598"/>
                    <a:pt x="278" y="594"/>
                    <a:pt x="271" y="594"/>
                  </a:cubicBezTo>
                  <a:cubicBezTo>
                    <a:pt x="271" y="594"/>
                    <a:pt x="271" y="594"/>
                    <a:pt x="271" y="594"/>
                  </a:cubicBezTo>
                  <a:moveTo>
                    <a:pt x="308" y="594"/>
                  </a:moveTo>
                  <a:cubicBezTo>
                    <a:pt x="301" y="594"/>
                    <a:pt x="291" y="598"/>
                    <a:pt x="287" y="604"/>
                  </a:cubicBezTo>
                  <a:cubicBezTo>
                    <a:pt x="283" y="609"/>
                    <a:pt x="285" y="614"/>
                    <a:pt x="292" y="614"/>
                  </a:cubicBezTo>
                  <a:cubicBezTo>
                    <a:pt x="299" y="614"/>
                    <a:pt x="309" y="609"/>
                    <a:pt x="313" y="604"/>
                  </a:cubicBezTo>
                  <a:cubicBezTo>
                    <a:pt x="317" y="598"/>
                    <a:pt x="315" y="594"/>
                    <a:pt x="308" y="594"/>
                  </a:cubicBezTo>
                  <a:cubicBezTo>
                    <a:pt x="308" y="594"/>
                    <a:pt x="308" y="594"/>
                    <a:pt x="308" y="594"/>
                  </a:cubicBezTo>
                  <a:moveTo>
                    <a:pt x="345" y="593"/>
                  </a:moveTo>
                  <a:cubicBezTo>
                    <a:pt x="338" y="593"/>
                    <a:pt x="328" y="598"/>
                    <a:pt x="324" y="604"/>
                  </a:cubicBezTo>
                  <a:cubicBezTo>
                    <a:pt x="320" y="609"/>
                    <a:pt x="322" y="614"/>
                    <a:pt x="329" y="614"/>
                  </a:cubicBezTo>
                  <a:cubicBezTo>
                    <a:pt x="336" y="614"/>
                    <a:pt x="346" y="609"/>
                    <a:pt x="350" y="603"/>
                  </a:cubicBezTo>
                  <a:cubicBezTo>
                    <a:pt x="354" y="598"/>
                    <a:pt x="352" y="593"/>
                    <a:pt x="345" y="593"/>
                  </a:cubicBezTo>
                  <a:cubicBezTo>
                    <a:pt x="345" y="593"/>
                    <a:pt x="345" y="593"/>
                    <a:pt x="345" y="593"/>
                  </a:cubicBezTo>
                  <a:moveTo>
                    <a:pt x="383" y="593"/>
                  </a:moveTo>
                  <a:cubicBezTo>
                    <a:pt x="375" y="593"/>
                    <a:pt x="366" y="598"/>
                    <a:pt x="362" y="603"/>
                  </a:cubicBezTo>
                  <a:cubicBezTo>
                    <a:pt x="358" y="609"/>
                    <a:pt x="360" y="613"/>
                    <a:pt x="367" y="613"/>
                  </a:cubicBezTo>
                  <a:cubicBezTo>
                    <a:pt x="374" y="613"/>
                    <a:pt x="384" y="609"/>
                    <a:pt x="388" y="603"/>
                  </a:cubicBezTo>
                  <a:cubicBezTo>
                    <a:pt x="392" y="598"/>
                    <a:pt x="390" y="593"/>
                    <a:pt x="383" y="593"/>
                  </a:cubicBezTo>
                  <a:cubicBezTo>
                    <a:pt x="383" y="593"/>
                    <a:pt x="383" y="593"/>
                    <a:pt x="383" y="593"/>
                  </a:cubicBezTo>
                  <a:moveTo>
                    <a:pt x="419" y="593"/>
                  </a:moveTo>
                  <a:cubicBezTo>
                    <a:pt x="412" y="593"/>
                    <a:pt x="403" y="598"/>
                    <a:pt x="399" y="603"/>
                  </a:cubicBezTo>
                  <a:cubicBezTo>
                    <a:pt x="395" y="609"/>
                    <a:pt x="397" y="613"/>
                    <a:pt x="404" y="613"/>
                  </a:cubicBezTo>
                  <a:cubicBezTo>
                    <a:pt x="411" y="613"/>
                    <a:pt x="420" y="609"/>
                    <a:pt x="425" y="603"/>
                  </a:cubicBezTo>
                  <a:cubicBezTo>
                    <a:pt x="429" y="597"/>
                    <a:pt x="426" y="593"/>
                    <a:pt x="419" y="593"/>
                  </a:cubicBezTo>
                  <a:cubicBezTo>
                    <a:pt x="419" y="593"/>
                    <a:pt x="419" y="593"/>
                    <a:pt x="419" y="593"/>
                  </a:cubicBezTo>
                  <a:moveTo>
                    <a:pt x="456" y="593"/>
                  </a:moveTo>
                  <a:cubicBezTo>
                    <a:pt x="449" y="593"/>
                    <a:pt x="440" y="597"/>
                    <a:pt x="436" y="603"/>
                  </a:cubicBezTo>
                  <a:cubicBezTo>
                    <a:pt x="432" y="609"/>
                    <a:pt x="434" y="613"/>
                    <a:pt x="441" y="613"/>
                  </a:cubicBezTo>
                  <a:cubicBezTo>
                    <a:pt x="448" y="613"/>
                    <a:pt x="457" y="608"/>
                    <a:pt x="461" y="603"/>
                  </a:cubicBezTo>
                  <a:cubicBezTo>
                    <a:pt x="465" y="597"/>
                    <a:pt x="463" y="593"/>
                    <a:pt x="456" y="593"/>
                  </a:cubicBezTo>
                  <a:cubicBezTo>
                    <a:pt x="456" y="593"/>
                    <a:pt x="456" y="593"/>
                    <a:pt x="456" y="593"/>
                  </a:cubicBezTo>
                  <a:moveTo>
                    <a:pt x="493" y="593"/>
                  </a:moveTo>
                  <a:cubicBezTo>
                    <a:pt x="486" y="593"/>
                    <a:pt x="477" y="597"/>
                    <a:pt x="473" y="603"/>
                  </a:cubicBezTo>
                  <a:cubicBezTo>
                    <a:pt x="469" y="608"/>
                    <a:pt x="471" y="613"/>
                    <a:pt x="479" y="613"/>
                  </a:cubicBezTo>
                  <a:cubicBezTo>
                    <a:pt x="486" y="613"/>
                    <a:pt x="495" y="608"/>
                    <a:pt x="499" y="603"/>
                  </a:cubicBezTo>
                  <a:cubicBezTo>
                    <a:pt x="503" y="597"/>
                    <a:pt x="500" y="593"/>
                    <a:pt x="493" y="593"/>
                  </a:cubicBezTo>
                  <a:cubicBezTo>
                    <a:pt x="493" y="593"/>
                    <a:pt x="493" y="593"/>
                    <a:pt x="493" y="593"/>
                  </a:cubicBezTo>
                  <a:moveTo>
                    <a:pt x="529" y="592"/>
                  </a:moveTo>
                  <a:cubicBezTo>
                    <a:pt x="522" y="592"/>
                    <a:pt x="513" y="597"/>
                    <a:pt x="510" y="602"/>
                  </a:cubicBezTo>
                  <a:cubicBezTo>
                    <a:pt x="506" y="608"/>
                    <a:pt x="508" y="613"/>
                    <a:pt x="515" y="613"/>
                  </a:cubicBezTo>
                  <a:cubicBezTo>
                    <a:pt x="522" y="613"/>
                    <a:pt x="531" y="608"/>
                    <a:pt x="535" y="602"/>
                  </a:cubicBezTo>
                  <a:cubicBezTo>
                    <a:pt x="539" y="597"/>
                    <a:pt x="537" y="592"/>
                    <a:pt x="530" y="592"/>
                  </a:cubicBezTo>
                  <a:cubicBezTo>
                    <a:pt x="530" y="592"/>
                    <a:pt x="530" y="592"/>
                    <a:pt x="529" y="592"/>
                  </a:cubicBezTo>
                  <a:moveTo>
                    <a:pt x="566" y="592"/>
                  </a:moveTo>
                  <a:cubicBezTo>
                    <a:pt x="559" y="592"/>
                    <a:pt x="550" y="597"/>
                    <a:pt x="546" y="602"/>
                  </a:cubicBezTo>
                  <a:cubicBezTo>
                    <a:pt x="542" y="608"/>
                    <a:pt x="545" y="612"/>
                    <a:pt x="552" y="612"/>
                  </a:cubicBezTo>
                  <a:cubicBezTo>
                    <a:pt x="559" y="612"/>
                    <a:pt x="568" y="608"/>
                    <a:pt x="572" y="602"/>
                  </a:cubicBezTo>
                  <a:cubicBezTo>
                    <a:pt x="576" y="597"/>
                    <a:pt x="573" y="592"/>
                    <a:pt x="566" y="592"/>
                  </a:cubicBezTo>
                  <a:cubicBezTo>
                    <a:pt x="566" y="592"/>
                    <a:pt x="566" y="592"/>
                    <a:pt x="566" y="592"/>
                  </a:cubicBezTo>
                  <a:moveTo>
                    <a:pt x="603" y="592"/>
                  </a:moveTo>
                  <a:cubicBezTo>
                    <a:pt x="596" y="592"/>
                    <a:pt x="587" y="596"/>
                    <a:pt x="583" y="602"/>
                  </a:cubicBezTo>
                  <a:cubicBezTo>
                    <a:pt x="579" y="608"/>
                    <a:pt x="582" y="612"/>
                    <a:pt x="589" y="612"/>
                  </a:cubicBezTo>
                  <a:cubicBezTo>
                    <a:pt x="596" y="612"/>
                    <a:pt x="605" y="608"/>
                    <a:pt x="609" y="602"/>
                  </a:cubicBezTo>
                  <a:cubicBezTo>
                    <a:pt x="612" y="596"/>
                    <a:pt x="610" y="592"/>
                    <a:pt x="603" y="592"/>
                  </a:cubicBezTo>
                  <a:cubicBezTo>
                    <a:pt x="603" y="592"/>
                    <a:pt x="603" y="592"/>
                    <a:pt x="603" y="592"/>
                  </a:cubicBezTo>
                  <a:moveTo>
                    <a:pt x="639" y="592"/>
                  </a:moveTo>
                  <a:cubicBezTo>
                    <a:pt x="632" y="592"/>
                    <a:pt x="624" y="596"/>
                    <a:pt x="620" y="602"/>
                  </a:cubicBezTo>
                  <a:cubicBezTo>
                    <a:pt x="616" y="607"/>
                    <a:pt x="619" y="612"/>
                    <a:pt x="626" y="612"/>
                  </a:cubicBezTo>
                  <a:cubicBezTo>
                    <a:pt x="633" y="612"/>
                    <a:pt x="642" y="607"/>
                    <a:pt x="646" y="602"/>
                  </a:cubicBezTo>
                  <a:cubicBezTo>
                    <a:pt x="649" y="596"/>
                    <a:pt x="647" y="592"/>
                    <a:pt x="640" y="592"/>
                  </a:cubicBezTo>
                  <a:cubicBezTo>
                    <a:pt x="640" y="592"/>
                    <a:pt x="639" y="592"/>
                    <a:pt x="639" y="592"/>
                  </a:cubicBezTo>
                  <a:moveTo>
                    <a:pt x="677" y="591"/>
                  </a:moveTo>
                  <a:cubicBezTo>
                    <a:pt x="669" y="591"/>
                    <a:pt x="661" y="596"/>
                    <a:pt x="657" y="602"/>
                  </a:cubicBezTo>
                  <a:cubicBezTo>
                    <a:pt x="653" y="607"/>
                    <a:pt x="656" y="612"/>
                    <a:pt x="663" y="612"/>
                  </a:cubicBezTo>
                  <a:cubicBezTo>
                    <a:pt x="671" y="612"/>
                    <a:pt x="679" y="607"/>
                    <a:pt x="683" y="601"/>
                  </a:cubicBezTo>
                  <a:cubicBezTo>
                    <a:pt x="686" y="596"/>
                    <a:pt x="684" y="591"/>
                    <a:pt x="677" y="591"/>
                  </a:cubicBezTo>
                  <a:cubicBezTo>
                    <a:pt x="677" y="591"/>
                    <a:pt x="677" y="591"/>
                    <a:pt x="677" y="591"/>
                  </a:cubicBezTo>
                  <a:moveTo>
                    <a:pt x="713" y="591"/>
                  </a:moveTo>
                  <a:cubicBezTo>
                    <a:pt x="706" y="591"/>
                    <a:pt x="697" y="596"/>
                    <a:pt x="694" y="601"/>
                  </a:cubicBezTo>
                  <a:cubicBezTo>
                    <a:pt x="690" y="607"/>
                    <a:pt x="693" y="612"/>
                    <a:pt x="700" y="611"/>
                  </a:cubicBezTo>
                  <a:cubicBezTo>
                    <a:pt x="707" y="611"/>
                    <a:pt x="716" y="607"/>
                    <a:pt x="720" y="601"/>
                  </a:cubicBezTo>
                  <a:cubicBezTo>
                    <a:pt x="723" y="596"/>
                    <a:pt x="720" y="591"/>
                    <a:pt x="713" y="591"/>
                  </a:cubicBezTo>
                  <a:cubicBezTo>
                    <a:pt x="713" y="591"/>
                    <a:pt x="713" y="591"/>
                    <a:pt x="713" y="591"/>
                  </a:cubicBezTo>
                  <a:moveTo>
                    <a:pt x="750" y="591"/>
                  </a:moveTo>
                  <a:cubicBezTo>
                    <a:pt x="743" y="591"/>
                    <a:pt x="734" y="596"/>
                    <a:pt x="731" y="601"/>
                  </a:cubicBezTo>
                  <a:cubicBezTo>
                    <a:pt x="727" y="607"/>
                    <a:pt x="730" y="611"/>
                    <a:pt x="737" y="611"/>
                  </a:cubicBezTo>
                  <a:cubicBezTo>
                    <a:pt x="744" y="611"/>
                    <a:pt x="753" y="607"/>
                    <a:pt x="756" y="601"/>
                  </a:cubicBezTo>
                  <a:cubicBezTo>
                    <a:pt x="760" y="595"/>
                    <a:pt x="757" y="591"/>
                    <a:pt x="750" y="591"/>
                  </a:cubicBezTo>
                  <a:cubicBezTo>
                    <a:pt x="750" y="591"/>
                    <a:pt x="750" y="591"/>
                    <a:pt x="750" y="591"/>
                  </a:cubicBezTo>
                  <a:moveTo>
                    <a:pt x="785" y="591"/>
                  </a:moveTo>
                  <a:cubicBezTo>
                    <a:pt x="778" y="591"/>
                    <a:pt x="770" y="595"/>
                    <a:pt x="766" y="601"/>
                  </a:cubicBezTo>
                  <a:cubicBezTo>
                    <a:pt x="763" y="607"/>
                    <a:pt x="766" y="611"/>
                    <a:pt x="773" y="611"/>
                  </a:cubicBezTo>
                  <a:cubicBezTo>
                    <a:pt x="780" y="611"/>
                    <a:pt x="789" y="606"/>
                    <a:pt x="792" y="601"/>
                  </a:cubicBezTo>
                  <a:cubicBezTo>
                    <a:pt x="795" y="595"/>
                    <a:pt x="792" y="591"/>
                    <a:pt x="785" y="591"/>
                  </a:cubicBezTo>
                  <a:cubicBezTo>
                    <a:pt x="785" y="591"/>
                    <a:pt x="785" y="591"/>
                    <a:pt x="785" y="591"/>
                  </a:cubicBezTo>
                  <a:moveTo>
                    <a:pt x="2248" y="582"/>
                  </a:moveTo>
                  <a:cubicBezTo>
                    <a:pt x="2241" y="582"/>
                    <a:pt x="2234" y="586"/>
                    <a:pt x="2234" y="592"/>
                  </a:cubicBezTo>
                  <a:cubicBezTo>
                    <a:pt x="2233" y="598"/>
                    <a:pt x="2239" y="602"/>
                    <a:pt x="2246" y="602"/>
                  </a:cubicBezTo>
                  <a:cubicBezTo>
                    <a:pt x="2253" y="602"/>
                    <a:pt x="2259" y="597"/>
                    <a:pt x="2260" y="592"/>
                  </a:cubicBezTo>
                  <a:cubicBezTo>
                    <a:pt x="2260" y="586"/>
                    <a:pt x="2255" y="582"/>
                    <a:pt x="2248" y="582"/>
                  </a:cubicBezTo>
                  <a:cubicBezTo>
                    <a:pt x="2248" y="582"/>
                    <a:pt x="2248" y="582"/>
                    <a:pt x="2248" y="582"/>
                  </a:cubicBezTo>
                  <a:moveTo>
                    <a:pt x="1921" y="581"/>
                  </a:moveTo>
                  <a:cubicBezTo>
                    <a:pt x="1914" y="581"/>
                    <a:pt x="1907" y="586"/>
                    <a:pt x="1906" y="591"/>
                  </a:cubicBezTo>
                  <a:cubicBezTo>
                    <a:pt x="1905" y="597"/>
                    <a:pt x="1910" y="601"/>
                    <a:pt x="1917" y="601"/>
                  </a:cubicBezTo>
                  <a:cubicBezTo>
                    <a:pt x="1924" y="601"/>
                    <a:pt x="1931" y="597"/>
                    <a:pt x="1932" y="591"/>
                  </a:cubicBezTo>
                  <a:cubicBezTo>
                    <a:pt x="1933" y="585"/>
                    <a:pt x="1928" y="581"/>
                    <a:pt x="1921" y="581"/>
                  </a:cubicBezTo>
                  <a:cubicBezTo>
                    <a:pt x="1921" y="581"/>
                    <a:pt x="1921" y="581"/>
                    <a:pt x="1921" y="581"/>
                  </a:cubicBezTo>
                  <a:moveTo>
                    <a:pt x="1957" y="581"/>
                  </a:moveTo>
                  <a:cubicBezTo>
                    <a:pt x="1950" y="581"/>
                    <a:pt x="1944" y="585"/>
                    <a:pt x="1942" y="591"/>
                  </a:cubicBezTo>
                  <a:cubicBezTo>
                    <a:pt x="1941" y="597"/>
                    <a:pt x="1946" y="601"/>
                    <a:pt x="1953" y="601"/>
                  </a:cubicBezTo>
                  <a:cubicBezTo>
                    <a:pt x="1960" y="601"/>
                    <a:pt x="1967" y="596"/>
                    <a:pt x="1968" y="591"/>
                  </a:cubicBezTo>
                  <a:cubicBezTo>
                    <a:pt x="1969" y="585"/>
                    <a:pt x="1964" y="581"/>
                    <a:pt x="1957" y="581"/>
                  </a:cubicBezTo>
                  <a:cubicBezTo>
                    <a:pt x="1957" y="581"/>
                    <a:pt x="1957" y="581"/>
                    <a:pt x="1957" y="581"/>
                  </a:cubicBezTo>
                  <a:moveTo>
                    <a:pt x="1994" y="580"/>
                  </a:moveTo>
                  <a:cubicBezTo>
                    <a:pt x="1987" y="581"/>
                    <a:pt x="1980" y="585"/>
                    <a:pt x="1979" y="591"/>
                  </a:cubicBezTo>
                  <a:cubicBezTo>
                    <a:pt x="1978" y="596"/>
                    <a:pt x="1983" y="601"/>
                    <a:pt x="1990" y="601"/>
                  </a:cubicBezTo>
                  <a:cubicBezTo>
                    <a:pt x="1997" y="601"/>
                    <a:pt x="2004" y="596"/>
                    <a:pt x="2005" y="591"/>
                  </a:cubicBezTo>
                  <a:cubicBezTo>
                    <a:pt x="2006" y="585"/>
                    <a:pt x="2001" y="580"/>
                    <a:pt x="1994" y="580"/>
                  </a:cubicBezTo>
                  <a:cubicBezTo>
                    <a:pt x="1994" y="580"/>
                    <a:pt x="1994" y="580"/>
                    <a:pt x="1994" y="580"/>
                  </a:cubicBezTo>
                  <a:moveTo>
                    <a:pt x="2397" y="579"/>
                  </a:moveTo>
                  <a:cubicBezTo>
                    <a:pt x="2390" y="579"/>
                    <a:pt x="2384" y="583"/>
                    <a:pt x="2384" y="589"/>
                  </a:cubicBezTo>
                  <a:cubicBezTo>
                    <a:pt x="2384" y="595"/>
                    <a:pt x="2389" y="599"/>
                    <a:pt x="2396" y="599"/>
                  </a:cubicBezTo>
                  <a:cubicBezTo>
                    <a:pt x="2404" y="599"/>
                    <a:pt x="2409" y="594"/>
                    <a:pt x="2410" y="589"/>
                  </a:cubicBezTo>
                  <a:cubicBezTo>
                    <a:pt x="2410" y="583"/>
                    <a:pt x="2404" y="579"/>
                    <a:pt x="2397" y="579"/>
                  </a:cubicBezTo>
                  <a:cubicBezTo>
                    <a:pt x="2397" y="579"/>
                    <a:pt x="2397" y="579"/>
                    <a:pt x="2397" y="579"/>
                  </a:cubicBezTo>
                  <a:moveTo>
                    <a:pt x="2470" y="578"/>
                  </a:moveTo>
                  <a:cubicBezTo>
                    <a:pt x="2463" y="578"/>
                    <a:pt x="2457" y="583"/>
                    <a:pt x="2457" y="588"/>
                  </a:cubicBezTo>
                  <a:cubicBezTo>
                    <a:pt x="2457" y="594"/>
                    <a:pt x="2463" y="599"/>
                    <a:pt x="2470" y="599"/>
                  </a:cubicBezTo>
                  <a:cubicBezTo>
                    <a:pt x="2477" y="599"/>
                    <a:pt x="2483" y="594"/>
                    <a:pt x="2483" y="588"/>
                  </a:cubicBezTo>
                  <a:cubicBezTo>
                    <a:pt x="2483" y="583"/>
                    <a:pt x="2477" y="578"/>
                    <a:pt x="2470" y="578"/>
                  </a:cubicBezTo>
                  <a:cubicBezTo>
                    <a:pt x="2470" y="578"/>
                    <a:pt x="2470" y="578"/>
                    <a:pt x="2470" y="578"/>
                  </a:cubicBezTo>
                  <a:moveTo>
                    <a:pt x="2506" y="578"/>
                  </a:moveTo>
                  <a:cubicBezTo>
                    <a:pt x="2499" y="578"/>
                    <a:pt x="2493" y="583"/>
                    <a:pt x="2493" y="588"/>
                  </a:cubicBezTo>
                  <a:cubicBezTo>
                    <a:pt x="2493" y="594"/>
                    <a:pt x="2499" y="598"/>
                    <a:pt x="2506" y="598"/>
                  </a:cubicBezTo>
                  <a:cubicBezTo>
                    <a:pt x="2513" y="598"/>
                    <a:pt x="2519" y="594"/>
                    <a:pt x="2519" y="588"/>
                  </a:cubicBezTo>
                  <a:cubicBezTo>
                    <a:pt x="2519" y="582"/>
                    <a:pt x="2513" y="578"/>
                    <a:pt x="2506" y="578"/>
                  </a:cubicBezTo>
                  <a:cubicBezTo>
                    <a:pt x="2506" y="578"/>
                    <a:pt x="2506" y="578"/>
                    <a:pt x="2506" y="578"/>
                  </a:cubicBezTo>
                  <a:moveTo>
                    <a:pt x="2543" y="578"/>
                  </a:moveTo>
                  <a:cubicBezTo>
                    <a:pt x="2536" y="578"/>
                    <a:pt x="2530" y="582"/>
                    <a:pt x="2530" y="588"/>
                  </a:cubicBezTo>
                  <a:cubicBezTo>
                    <a:pt x="2530" y="594"/>
                    <a:pt x="2536" y="598"/>
                    <a:pt x="2543" y="598"/>
                  </a:cubicBezTo>
                  <a:cubicBezTo>
                    <a:pt x="2550" y="598"/>
                    <a:pt x="2556" y="594"/>
                    <a:pt x="2556" y="588"/>
                  </a:cubicBezTo>
                  <a:cubicBezTo>
                    <a:pt x="2556" y="582"/>
                    <a:pt x="2550" y="578"/>
                    <a:pt x="2543" y="578"/>
                  </a:cubicBezTo>
                  <a:cubicBezTo>
                    <a:pt x="2543" y="578"/>
                    <a:pt x="2543" y="578"/>
                    <a:pt x="2543" y="578"/>
                  </a:cubicBezTo>
                  <a:moveTo>
                    <a:pt x="2617" y="578"/>
                  </a:moveTo>
                  <a:cubicBezTo>
                    <a:pt x="2610" y="578"/>
                    <a:pt x="2605" y="582"/>
                    <a:pt x="2605" y="588"/>
                  </a:cubicBezTo>
                  <a:cubicBezTo>
                    <a:pt x="2605" y="594"/>
                    <a:pt x="2611" y="598"/>
                    <a:pt x="2618" y="598"/>
                  </a:cubicBezTo>
                  <a:cubicBezTo>
                    <a:pt x="2625" y="598"/>
                    <a:pt x="2631" y="593"/>
                    <a:pt x="2630" y="588"/>
                  </a:cubicBezTo>
                  <a:cubicBezTo>
                    <a:pt x="2630" y="582"/>
                    <a:pt x="2624" y="578"/>
                    <a:pt x="2617" y="578"/>
                  </a:cubicBezTo>
                  <a:cubicBezTo>
                    <a:pt x="2617" y="578"/>
                    <a:pt x="2617" y="578"/>
                    <a:pt x="2617" y="578"/>
                  </a:cubicBezTo>
                  <a:moveTo>
                    <a:pt x="2580" y="578"/>
                  </a:moveTo>
                  <a:cubicBezTo>
                    <a:pt x="2573" y="578"/>
                    <a:pt x="2567" y="582"/>
                    <a:pt x="2567" y="588"/>
                  </a:cubicBezTo>
                  <a:cubicBezTo>
                    <a:pt x="2567" y="593"/>
                    <a:pt x="2573" y="598"/>
                    <a:pt x="2580" y="598"/>
                  </a:cubicBezTo>
                  <a:cubicBezTo>
                    <a:pt x="2588" y="598"/>
                    <a:pt x="2593" y="593"/>
                    <a:pt x="2593" y="588"/>
                  </a:cubicBezTo>
                  <a:cubicBezTo>
                    <a:pt x="2593" y="582"/>
                    <a:pt x="2587" y="578"/>
                    <a:pt x="2580" y="578"/>
                  </a:cubicBezTo>
                  <a:cubicBezTo>
                    <a:pt x="2580" y="578"/>
                    <a:pt x="2580" y="578"/>
                    <a:pt x="2580" y="578"/>
                  </a:cubicBezTo>
                  <a:moveTo>
                    <a:pt x="2762" y="577"/>
                  </a:moveTo>
                  <a:cubicBezTo>
                    <a:pt x="2755" y="577"/>
                    <a:pt x="2750" y="582"/>
                    <a:pt x="2750" y="588"/>
                  </a:cubicBezTo>
                  <a:cubicBezTo>
                    <a:pt x="2751" y="593"/>
                    <a:pt x="2757" y="598"/>
                    <a:pt x="2764" y="598"/>
                  </a:cubicBezTo>
                  <a:cubicBezTo>
                    <a:pt x="2771" y="598"/>
                    <a:pt x="2776" y="593"/>
                    <a:pt x="2776" y="588"/>
                  </a:cubicBezTo>
                  <a:cubicBezTo>
                    <a:pt x="2775" y="582"/>
                    <a:pt x="2769" y="577"/>
                    <a:pt x="2762" y="577"/>
                  </a:cubicBezTo>
                  <a:cubicBezTo>
                    <a:pt x="2762" y="577"/>
                    <a:pt x="2762" y="577"/>
                    <a:pt x="2762" y="577"/>
                  </a:cubicBezTo>
                  <a:moveTo>
                    <a:pt x="2799" y="577"/>
                  </a:moveTo>
                  <a:cubicBezTo>
                    <a:pt x="2792" y="577"/>
                    <a:pt x="2787" y="582"/>
                    <a:pt x="2787" y="587"/>
                  </a:cubicBezTo>
                  <a:cubicBezTo>
                    <a:pt x="2788" y="593"/>
                    <a:pt x="2794" y="598"/>
                    <a:pt x="2801" y="598"/>
                  </a:cubicBezTo>
                  <a:cubicBezTo>
                    <a:pt x="2808" y="598"/>
                    <a:pt x="2813" y="593"/>
                    <a:pt x="2813" y="587"/>
                  </a:cubicBezTo>
                  <a:cubicBezTo>
                    <a:pt x="2812" y="582"/>
                    <a:pt x="2806" y="577"/>
                    <a:pt x="2799" y="577"/>
                  </a:cubicBezTo>
                  <a:cubicBezTo>
                    <a:pt x="2799" y="577"/>
                    <a:pt x="2799" y="577"/>
                    <a:pt x="2799" y="577"/>
                  </a:cubicBezTo>
                  <a:moveTo>
                    <a:pt x="2833" y="577"/>
                  </a:moveTo>
                  <a:cubicBezTo>
                    <a:pt x="2826" y="577"/>
                    <a:pt x="2821" y="582"/>
                    <a:pt x="2822" y="587"/>
                  </a:cubicBezTo>
                  <a:cubicBezTo>
                    <a:pt x="2822" y="593"/>
                    <a:pt x="2829" y="597"/>
                    <a:pt x="2836" y="597"/>
                  </a:cubicBezTo>
                  <a:cubicBezTo>
                    <a:pt x="2843" y="597"/>
                    <a:pt x="2848" y="593"/>
                    <a:pt x="2847" y="587"/>
                  </a:cubicBezTo>
                  <a:cubicBezTo>
                    <a:pt x="2847" y="581"/>
                    <a:pt x="2840" y="577"/>
                    <a:pt x="2833" y="577"/>
                  </a:cubicBezTo>
                  <a:cubicBezTo>
                    <a:pt x="2833" y="577"/>
                    <a:pt x="2833" y="577"/>
                    <a:pt x="2833" y="577"/>
                  </a:cubicBezTo>
                  <a:moveTo>
                    <a:pt x="2870" y="577"/>
                  </a:moveTo>
                  <a:cubicBezTo>
                    <a:pt x="2862" y="577"/>
                    <a:pt x="2857" y="581"/>
                    <a:pt x="2858" y="587"/>
                  </a:cubicBezTo>
                  <a:cubicBezTo>
                    <a:pt x="2859" y="593"/>
                    <a:pt x="2865" y="597"/>
                    <a:pt x="2872" y="597"/>
                  </a:cubicBezTo>
                  <a:cubicBezTo>
                    <a:pt x="2879" y="597"/>
                    <a:pt x="2885" y="593"/>
                    <a:pt x="2884" y="587"/>
                  </a:cubicBezTo>
                  <a:cubicBezTo>
                    <a:pt x="2883" y="581"/>
                    <a:pt x="2877" y="577"/>
                    <a:pt x="2870" y="577"/>
                  </a:cubicBezTo>
                  <a:cubicBezTo>
                    <a:pt x="2870" y="577"/>
                    <a:pt x="2870" y="577"/>
                    <a:pt x="2870" y="577"/>
                  </a:cubicBezTo>
                  <a:moveTo>
                    <a:pt x="2653" y="577"/>
                  </a:moveTo>
                  <a:cubicBezTo>
                    <a:pt x="2646" y="577"/>
                    <a:pt x="2641" y="581"/>
                    <a:pt x="2641" y="587"/>
                  </a:cubicBezTo>
                  <a:cubicBezTo>
                    <a:pt x="2641" y="593"/>
                    <a:pt x="2647" y="597"/>
                    <a:pt x="2655" y="597"/>
                  </a:cubicBezTo>
                  <a:cubicBezTo>
                    <a:pt x="2662" y="597"/>
                    <a:pt x="2667" y="592"/>
                    <a:pt x="2667" y="587"/>
                  </a:cubicBezTo>
                  <a:cubicBezTo>
                    <a:pt x="2666" y="581"/>
                    <a:pt x="2661" y="577"/>
                    <a:pt x="2653" y="577"/>
                  </a:cubicBezTo>
                  <a:cubicBezTo>
                    <a:pt x="2653" y="577"/>
                    <a:pt x="2653" y="577"/>
                    <a:pt x="2653" y="577"/>
                  </a:cubicBezTo>
                  <a:moveTo>
                    <a:pt x="2906" y="577"/>
                  </a:moveTo>
                  <a:cubicBezTo>
                    <a:pt x="2899" y="577"/>
                    <a:pt x="2894" y="581"/>
                    <a:pt x="2895" y="587"/>
                  </a:cubicBezTo>
                  <a:cubicBezTo>
                    <a:pt x="2896" y="592"/>
                    <a:pt x="2902" y="597"/>
                    <a:pt x="2909" y="597"/>
                  </a:cubicBezTo>
                  <a:cubicBezTo>
                    <a:pt x="2916" y="597"/>
                    <a:pt x="2921" y="592"/>
                    <a:pt x="2921" y="587"/>
                  </a:cubicBezTo>
                  <a:cubicBezTo>
                    <a:pt x="2920" y="581"/>
                    <a:pt x="2913" y="577"/>
                    <a:pt x="2906" y="577"/>
                  </a:cubicBezTo>
                  <a:cubicBezTo>
                    <a:pt x="2906" y="577"/>
                    <a:pt x="2906" y="577"/>
                    <a:pt x="2906" y="577"/>
                  </a:cubicBezTo>
                  <a:moveTo>
                    <a:pt x="2689" y="576"/>
                  </a:moveTo>
                  <a:cubicBezTo>
                    <a:pt x="2682" y="576"/>
                    <a:pt x="2677" y="581"/>
                    <a:pt x="2677" y="587"/>
                  </a:cubicBezTo>
                  <a:cubicBezTo>
                    <a:pt x="2678" y="592"/>
                    <a:pt x="2684" y="597"/>
                    <a:pt x="2691" y="597"/>
                  </a:cubicBezTo>
                  <a:cubicBezTo>
                    <a:pt x="2698" y="597"/>
                    <a:pt x="2703" y="592"/>
                    <a:pt x="2703" y="587"/>
                  </a:cubicBezTo>
                  <a:cubicBezTo>
                    <a:pt x="2703" y="581"/>
                    <a:pt x="2697" y="576"/>
                    <a:pt x="2689" y="576"/>
                  </a:cubicBezTo>
                  <a:cubicBezTo>
                    <a:pt x="2689" y="576"/>
                    <a:pt x="2689" y="576"/>
                    <a:pt x="2689" y="576"/>
                  </a:cubicBezTo>
                  <a:moveTo>
                    <a:pt x="2943" y="576"/>
                  </a:moveTo>
                  <a:cubicBezTo>
                    <a:pt x="2936" y="576"/>
                    <a:pt x="2931" y="581"/>
                    <a:pt x="2932" y="587"/>
                  </a:cubicBezTo>
                  <a:cubicBezTo>
                    <a:pt x="2933" y="592"/>
                    <a:pt x="2939" y="597"/>
                    <a:pt x="2946" y="597"/>
                  </a:cubicBezTo>
                  <a:cubicBezTo>
                    <a:pt x="2953" y="597"/>
                    <a:pt x="2958" y="592"/>
                    <a:pt x="2958" y="586"/>
                  </a:cubicBezTo>
                  <a:cubicBezTo>
                    <a:pt x="2957" y="581"/>
                    <a:pt x="2950" y="576"/>
                    <a:pt x="2943" y="576"/>
                  </a:cubicBezTo>
                  <a:cubicBezTo>
                    <a:pt x="2943" y="576"/>
                    <a:pt x="2943" y="576"/>
                    <a:pt x="2943" y="576"/>
                  </a:cubicBezTo>
                  <a:moveTo>
                    <a:pt x="2726" y="576"/>
                  </a:moveTo>
                  <a:cubicBezTo>
                    <a:pt x="2719" y="576"/>
                    <a:pt x="2713" y="581"/>
                    <a:pt x="2714" y="587"/>
                  </a:cubicBezTo>
                  <a:cubicBezTo>
                    <a:pt x="2714" y="592"/>
                    <a:pt x="2720" y="597"/>
                    <a:pt x="2727" y="597"/>
                  </a:cubicBezTo>
                  <a:cubicBezTo>
                    <a:pt x="2734" y="597"/>
                    <a:pt x="2740" y="592"/>
                    <a:pt x="2739" y="586"/>
                  </a:cubicBezTo>
                  <a:cubicBezTo>
                    <a:pt x="2739" y="581"/>
                    <a:pt x="2733" y="576"/>
                    <a:pt x="2726" y="576"/>
                  </a:cubicBezTo>
                  <a:cubicBezTo>
                    <a:pt x="2726" y="576"/>
                    <a:pt x="2726" y="576"/>
                    <a:pt x="2726" y="576"/>
                  </a:cubicBezTo>
                  <a:moveTo>
                    <a:pt x="2979" y="576"/>
                  </a:moveTo>
                  <a:cubicBezTo>
                    <a:pt x="2972" y="576"/>
                    <a:pt x="2967" y="581"/>
                    <a:pt x="2968" y="586"/>
                  </a:cubicBezTo>
                  <a:cubicBezTo>
                    <a:pt x="2969" y="592"/>
                    <a:pt x="2976" y="597"/>
                    <a:pt x="2983" y="597"/>
                  </a:cubicBezTo>
                  <a:cubicBezTo>
                    <a:pt x="2990" y="597"/>
                    <a:pt x="2995" y="592"/>
                    <a:pt x="2994" y="586"/>
                  </a:cubicBezTo>
                  <a:cubicBezTo>
                    <a:pt x="2993" y="581"/>
                    <a:pt x="2986" y="576"/>
                    <a:pt x="2979" y="576"/>
                  </a:cubicBezTo>
                  <a:cubicBezTo>
                    <a:pt x="2979" y="576"/>
                    <a:pt x="2979" y="576"/>
                    <a:pt x="2979" y="576"/>
                  </a:cubicBezTo>
                  <a:moveTo>
                    <a:pt x="3016" y="576"/>
                  </a:moveTo>
                  <a:cubicBezTo>
                    <a:pt x="3009" y="576"/>
                    <a:pt x="3004" y="581"/>
                    <a:pt x="3005" y="586"/>
                  </a:cubicBezTo>
                  <a:cubicBezTo>
                    <a:pt x="3006" y="592"/>
                    <a:pt x="3013" y="596"/>
                    <a:pt x="3020" y="596"/>
                  </a:cubicBezTo>
                  <a:cubicBezTo>
                    <a:pt x="3027" y="596"/>
                    <a:pt x="3032" y="592"/>
                    <a:pt x="3031" y="586"/>
                  </a:cubicBezTo>
                  <a:cubicBezTo>
                    <a:pt x="3030" y="580"/>
                    <a:pt x="3023" y="576"/>
                    <a:pt x="3016" y="576"/>
                  </a:cubicBezTo>
                  <a:cubicBezTo>
                    <a:pt x="3016" y="576"/>
                    <a:pt x="3016" y="576"/>
                    <a:pt x="3016" y="576"/>
                  </a:cubicBezTo>
                  <a:moveTo>
                    <a:pt x="3052" y="576"/>
                  </a:moveTo>
                  <a:cubicBezTo>
                    <a:pt x="3045" y="576"/>
                    <a:pt x="3040" y="580"/>
                    <a:pt x="3041" y="586"/>
                  </a:cubicBezTo>
                  <a:cubicBezTo>
                    <a:pt x="3042" y="592"/>
                    <a:pt x="3049" y="596"/>
                    <a:pt x="3056" y="596"/>
                  </a:cubicBezTo>
                  <a:cubicBezTo>
                    <a:pt x="3063" y="596"/>
                    <a:pt x="3068" y="591"/>
                    <a:pt x="3067" y="586"/>
                  </a:cubicBezTo>
                  <a:cubicBezTo>
                    <a:pt x="3066" y="580"/>
                    <a:pt x="3059" y="576"/>
                    <a:pt x="3052" y="576"/>
                  </a:cubicBezTo>
                  <a:cubicBezTo>
                    <a:pt x="3052" y="576"/>
                    <a:pt x="3052" y="576"/>
                    <a:pt x="3052" y="576"/>
                  </a:cubicBezTo>
                  <a:moveTo>
                    <a:pt x="3089" y="575"/>
                  </a:moveTo>
                  <a:cubicBezTo>
                    <a:pt x="3082" y="575"/>
                    <a:pt x="3077" y="580"/>
                    <a:pt x="3078" y="586"/>
                  </a:cubicBezTo>
                  <a:cubicBezTo>
                    <a:pt x="3079" y="591"/>
                    <a:pt x="3086" y="596"/>
                    <a:pt x="3093" y="596"/>
                  </a:cubicBezTo>
                  <a:cubicBezTo>
                    <a:pt x="3100" y="596"/>
                    <a:pt x="3105" y="591"/>
                    <a:pt x="3104" y="586"/>
                  </a:cubicBezTo>
                  <a:cubicBezTo>
                    <a:pt x="3102" y="580"/>
                    <a:pt x="3096" y="575"/>
                    <a:pt x="3089" y="575"/>
                  </a:cubicBezTo>
                  <a:cubicBezTo>
                    <a:pt x="3089" y="575"/>
                    <a:pt x="3089" y="575"/>
                    <a:pt x="3089" y="575"/>
                  </a:cubicBezTo>
                  <a:moveTo>
                    <a:pt x="3126" y="575"/>
                  </a:moveTo>
                  <a:cubicBezTo>
                    <a:pt x="3119" y="575"/>
                    <a:pt x="3115" y="580"/>
                    <a:pt x="3116" y="586"/>
                  </a:cubicBezTo>
                  <a:cubicBezTo>
                    <a:pt x="3117" y="591"/>
                    <a:pt x="3124" y="596"/>
                    <a:pt x="3131" y="596"/>
                  </a:cubicBezTo>
                  <a:cubicBezTo>
                    <a:pt x="3138" y="596"/>
                    <a:pt x="3143" y="591"/>
                    <a:pt x="3141" y="585"/>
                  </a:cubicBezTo>
                  <a:cubicBezTo>
                    <a:pt x="3140" y="580"/>
                    <a:pt x="3133" y="575"/>
                    <a:pt x="3126" y="575"/>
                  </a:cubicBezTo>
                  <a:cubicBezTo>
                    <a:pt x="3126" y="575"/>
                    <a:pt x="3126" y="575"/>
                    <a:pt x="3126" y="575"/>
                  </a:cubicBezTo>
                  <a:moveTo>
                    <a:pt x="3163" y="575"/>
                  </a:moveTo>
                  <a:cubicBezTo>
                    <a:pt x="3156" y="575"/>
                    <a:pt x="3151" y="580"/>
                    <a:pt x="3152" y="585"/>
                  </a:cubicBezTo>
                  <a:cubicBezTo>
                    <a:pt x="3154" y="591"/>
                    <a:pt x="3160" y="596"/>
                    <a:pt x="3168" y="595"/>
                  </a:cubicBezTo>
                  <a:cubicBezTo>
                    <a:pt x="3175" y="595"/>
                    <a:pt x="3179" y="591"/>
                    <a:pt x="3178" y="585"/>
                  </a:cubicBezTo>
                  <a:cubicBezTo>
                    <a:pt x="3177" y="579"/>
                    <a:pt x="3170" y="575"/>
                    <a:pt x="3163" y="575"/>
                  </a:cubicBezTo>
                  <a:cubicBezTo>
                    <a:pt x="3163" y="575"/>
                    <a:pt x="3163" y="575"/>
                    <a:pt x="3163" y="575"/>
                  </a:cubicBezTo>
                  <a:moveTo>
                    <a:pt x="3199" y="575"/>
                  </a:moveTo>
                  <a:cubicBezTo>
                    <a:pt x="3192" y="575"/>
                    <a:pt x="3188" y="579"/>
                    <a:pt x="3189" y="585"/>
                  </a:cubicBezTo>
                  <a:cubicBezTo>
                    <a:pt x="3190" y="591"/>
                    <a:pt x="3197" y="595"/>
                    <a:pt x="3204" y="595"/>
                  </a:cubicBezTo>
                  <a:cubicBezTo>
                    <a:pt x="3211" y="595"/>
                    <a:pt x="3216" y="591"/>
                    <a:pt x="3215" y="585"/>
                  </a:cubicBezTo>
                  <a:cubicBezTo>
                    <a:pt x="3213" y="579"/>
                    <a:pt x="3206" y="575"/>
                    <a:pt x="3199" y="575"/>
                  </a:cubicBezTo>
                  <a:cubicBezTo>
                    <a:pt x="3199" y="575"/>
                    <a:pt x="3199" y="575"/>
                    <a:pt x="3199" y="575"/>
                  </a:cubicBezTo>
                  <a:moveTo>
                    <a:pt x="3236" y="575"/>
                  </a:moveTo>
                  <a:cubicBezTo>
                    <a:pt x="3229" y="575"/>
                    <a:pt x="3225" y="579"/>
                    <a:pt x="3226" y="585"/>
                  </a:cubicBezTo>
                  <a:cubicBezTo>
                    <a:pt x="3227" y="591"/>
                    <a:pt x="3234" y="595"/>
                    <a:pt x="3242" y="595"/>
                  </a:cubicBezTo>
                  <a:cubicBezTo>
                    <a:pt x="3249" y="595"/>
                    <a:pt x="3253" y="590"/>
                    <a:pt x="3252" y="585"/>
                  </a:cubicBezTo>
                  <a:cubicBezTo>
                    <a:pt x="3250" y="579"/>
                    <a:pt x="3243" y="575"/>
                    <a:pt x="3236" y="575"/>
                  </a:cubicBezTo>
                  <a:cubicBezTo>
                    <a:pt x="3236" y="575"/>
                    <a:pt x="3236" y="575"/>
                    <a:pt x="3236" y="575"/>
                  </a:cubicBezTo>
                  <a:moveTo>
                    <a:pt x="3272" y="574"/>
                  </a:moveTo>
                  <a:cubicBezTo>
                    <a:pt x="3265" y="574"/>
                    <a:pt x="3261" y="579"/>
                    <a:pt x="3262" y="585"/>
                  </a:cubicBezTo>
                  <a:cubicBezTo>
                    <a:pt x="3264" y="590"/>
                    <a:pt x="3271" y="595"/>
                    <a:pt x="3278" y="595"/>
                  </a:cubicBezTo>
                  <a:cubicBezTo>
                    <a:pt x="3285" y="595"/>
                    <a:pt x="3290" y="590"/>
                    <a:pt x="3288" y="584"/>
                  </a:cubicBezTo>
                  <a:cubicBezTo>
                    <a:pt x="3286" y="579"/>
                    <a:pt x="3279" y="574"/>
                    <a:pt x="3272" y="574"/>
                  </a:cubicBezTo>
                  <a:cubicBezTo>
                    <a:pt x="3272" y="574"/>
                    <a:pt x="3272" y="574"/>
                    <a:pt x="3272" y="574"/>
                  </a:cubicBezTo>
                  <a:moveTo>
                    <a:pt x="3309" y="574"/>
                  </a:moveTo>
                  <a:cubicBezTo>
                    <a:pt x="3302" y="574"/>
                    <a:pt x="3297" y="579"/>
                    <a:pt x="3299" y="584"/>
                  </a:cubicBezTo>
                  <a:cubicBezTo>
                    <a:pt x="3301" y="590"/>
                    <a:pt x="3308" y="595"/>
                    <a:pt x="3315" y="595"/>
                  </a:cubicBezTo>
                  <a:cubicBezTo>
                    <a:pt x="3322" y="595"/>
                    <a:pt x="3326" y="590"/>
                    <a:pt x="3325" y="584"/>
                  </a:cubicBezTo>
                  <a:cubicBezTo>
                    <a:pt x="3323" y="579"/>
                    <a:pt x="3316" y="574"/>
                    <a:pt x="3309" y="574"/>
                  </a:cubicBezTo>
                  <a:cubicBezTo>
                    <a:pt x="3309" y="574"/>
                    <a:pt x="3309" y="574"/>
                    <a:pt x="3309" y="574"/>
                  </a:cubicBezTo>
                  <a:moveTo>
                    <a:pt x="3345" y="574"/>
                  </a:moveTo>
                  <a:cubicBezTo>
                    <a:pt x="3338" y="574"/>
                    <a:pt x="3334" y="579"/>
                    <a:pt x="3335" y="584"/>
                  </a:cubicBezTo>
                  <a:cubicBezTo>
                    <a:pt x="3337" y="590"/>
                    <a:pt x="3344" y="594"/>
                    <a:pt x="3351" y="594"/>
                  </a:cubicBezTo>
                  <a:cubicBezTo>
                    <a:pt x="3358" y="594"/>
                    <a:pt x="3363" y="590"/>
                    <a:pt x="3361" y="584"/>
                  </a:cubicBezTo>
                  <a:cubicBezTo>
                    <a:pt x="3359" y="578"/>
                    <a:pt x="3352" y="574"/>
                    <a:pt x="3345" y="574"/>
                  </a:cubicBezTo>
                  <a:cubicBezTo>
                    <a:pt x="3345" y="574"/>
                    <a:pt x="3345" y="574"/>
                    <a:pt x="3345" y="574"/>
                  </a:cubicBezTo>
                  <a:moveTo>
                    <a:pt x="3382" y="574"/>
                  </a:moveTo>
                  <a:cubicBezTo>
                    <a:pt x="3375" y="574"/>
                    <a:pt x="3370" y="578"/>
                    <a:pt x="3372" y="584"/>
                  </a:cubicBezTo>
                  <a:cubicBezTo>
                    <a:pt x="3374" y="590"/>
                    <a:pt x="3381" y="594"/>
                    <a:pt x="3388" y="594"/>
                  </a:cubicBezTo>
                  <a:cubicBezTo>
                    <a:pt x="3395" y="594"/>
                    <a:pt x="3400" y="589"/>
                    <a:pt x="3398" y="584"/>
                  </a:cubicBezTo>
                  <a:cubicBezTo>
                    <a:pt x="3396" y="578"/>
                    <a:pt x="3389" y="574"/>
                    <a:pt x="3382" y="574"/>
                  </a:cubicBezTo>
                  <a:cubicBezTo>
                    <a:pt x="3382" y="574"/>
                    <a:pt x="3382" y="574"/>
                    <a:pt x="3382" y="574"/>
                  </a:cubicBezTo>
                  <a:moveTo>
                    <a:pt x="3419" y="573"/>
                  </a:moveTo>
                  <a:cubicBezTo>
                    <a:pt x="3411" y="573"/>
                    <a:pt x="3407" y="578"/>
                    <a:pt x="3409" y="584"/>
                  </a:cubicBezTo>
                  <a:cubicBezTo>
                    <a:pt x="3411" y="589"/>
                    <a:pt x="3418" y="594"/>
                    <a:pt x="3425" y="594"/>
                  </a:cubicBezTo>
                  <a:cubicBezTo>
                    <a:pt x="3432" y="594"/>
                    <a:pt x="3437" y="589"/>
                    <a:pt x="3435" y="584"/>
                  </a:cubicBezTo>
                  <a:cubicBezTo>
                    <a:pt x="3433" y="578"/>
                    <a:pt x="3426" y="573"/>
                    <a:pt x="3419" y="573"/>
                  </a:cubicBezTo>
                  <a:cubicBezTo>
                    <a:pt x="3419" y="573"/>
                    <a:pt x="3419" y="573"/>
                    <a:pt x="3419" y="573"/>
                  </a:cubicBezTo>
                  <a:moveTo>
                    <a:pt x="3638" y="573"/>
                  </a:moveTo>
                  <a:cubicBezTo>
                    <a:pt x="3631" y="573"/>
                    <a:pt x="3627" y="578"/>
                    <a:pt x="3629" y="584"/>
                  </a:cubicBezTo>
                  <a:cubicBezTo>
                    <a:pt x="3631" y="589"/>
                    <a:pt x="3639" y="594"/>
                    <a:pt x="3646" y="594"/>
                  </a:cubicBezTo>
                  <a:cubicBezTo>
                    <a:pt x="3653" y="594"/>
                    <a:pt x="3657" y="589"/>
                    <a:pt x="3655" y="583"/>
                  </a:cubicBezTo>
                  <a:cubicBezTo>
                    <a:pt x="3652" y="578"/>
                    <a:pt x="3645" y="573"/>
                    <a:pt x="3638" y="573"/>
                  </a:cubicBezTo>
                  <a:cubicBezTo>
                    <a:pt x="3638" y="573"/>
                    <a:pt x="3638" y="573"/>
                    <a:pt x="3638" y="573"/>
                  </a:cubicBezTo>
                  <a:moveTo>
                    <a:pt x="3455" y="573"/>
                  </a:moveTo>
                  <a:cubicBezTo>
                    <a:pt x="3448" y="573"/>
                    <a:pt x="3444" y="578"/>
                    <a:pt x="3445" y="584"/>
                  </a:cubicBezTo>
                  <a:cubicBezTo>
                    <a:pt x="3447" y="589"/>
                    <a:pt x="3455" y="594"/>
                    <a:pt x="3462" y="594"/>
                  </a:cubicBezTo>
                  <a:cubicBezTo>
                    <a:pt x="3469" y="594"/>
                    <a:pt x="3473" y="589"/>
                    <a:pt x="3471" y="583"/>
                  </a:cubicBezTo>
                  <a:cubicBezTo>
                    <a:pt x="3469" y="578"/>
                    <a:pt x="3462" y="573"/>
                    <a:pt x="3455" y="573"/>
                  </a:cubicBezTo>
                  <a:cubicBezTo>
                    <a:pt x="3455" y="573"/>
                    <a:pt x="3455" y="573"/>
                    <a:pt x="3455" y="573"/>
                  </a:cubicBezTo>
                  <a:moveTo>
                    <a:pt x="3674" y="573"/>
                  </a:moveTo>
                  <a:cubicBezTo>
                    <a:pt x="3667" y="573"/>
                    <a:pt x="3663" y="578"/>
                    <a:pt x="3666" y="583"/>
                  </a:cubicBezTo>
                  <a:cubicBezTo>
                    <a:pt x="3668" y="589"/>
                    <a:pt x="3676" y="594"/>
                    <a:pt x="3683" y="594"/>
                  </a:cubicBezTo>
                  <a:cubicBezTo>
                    <a:pt x="3690" y="594"/>
                    <a:pt x="3694" y="589"/>
                    <a:pt x="3691" y="583"/>
                  </a:cubicBezTo>
                  <a:cubicBezTo>
                    <a:pt x="3689" y="578"/>
                    <a:pt x="3681" y="573"/>
                    <a:pt x="3674" y="573"/>
                  </a:cubicBezTo>
                  <a:cubicBezTo>
                    <a:pt x="3674" y="573"/>
                    <a:pt x="3674" y="573"/>
                    <a:pt x="3674" y="573"/>
                  </a:cubicBezTo>
                  <a:moveTo>
                    <a:pt x="3491" y="573"/>
                  </a:moveTo>
                  <a:cubicBezTo>
                    <a:pt x="3484" y="573"/>
                    <a:pt x="3480" y="578"/>
                    <a:pt x="3482" y="583"/>
                  </a:cubicBezTo>
                  <a:cubicBezTo>
                    <a:pt x="3484" y="589"/>
                    <a:pt x="3491" y="594"/>
                    <a:pt x="3499" y="594"/>
                  </a:cubicBezTo>
                  <a:cubicBezTo>
                    <a:pt x="3506" y="593"/>
                    <a:pt x="3510" y="589"/>
                    <a:pt x="3508" y="583"/>
                  </a:cubicBezTo>
                  <a:cubicBezTo>
                    <a:pt x="3506" y="578"/>
                    <a:pt x="3498" y="573"/>
                    <a:pt x="3491" y="573"/>
                  </a:cubicBezTo>
                  <a:cubicBezTo>
                    <a:pt x="3491" y="573"/>
                    <a:pt x="3491" y="573"/>
                    <a:pt x="3491" y="573"/>
                  </a:cubicBezTo>
                  <a:moveTo>
                    <a:pt x="3711" y="573"/>
                  </a:moveTo>
                  <a:cubicBezTo>
                    <a:pt x="3704" y="573"/>
                    <a:pt x="3700" y="577"/>
                    <a:pt x="3702" y="583"/>
                  </a:cubicBezTo>
                  <a:cubicBezTo>
                    <a:pt x="3705" y="589"/>
                    <a:pt x="3712" y="593"/>
                    <a:pt x="3719" y="593"/>
                  </a:cubicBezTo>
                  <a:cubicBezTo>
                    <a:pt x="3727" y="593"/>
                    <a:pt x="3730" y="589"/>
                    <a:pt x="3728" y="583"/>
                  </a:cubicBezTo>
                  <a:cubicBezTo>
                    <a:pt x="3725" y="577"/>
                    <a:pt x="3718" y="573"/>
                    <a:pt x="3711" y="573"/>
                  </a:cubicBezTo>
                  <a:cubicBezTo>
                    <a:pt x="3711" y="573"/>
                    <a:pt x="3711" y="573"/>
                    <a:pt x="3711" y="573"/>
                  </a:cubicBezTo>
                  <a:moveTo>
                    <a:pt x="3527" y="573"/>
                  </a:moveTo>
                  <a:cubicBezTo>
                    <a:pt x="3520" y="573"/>
                    <a:pt x="3516" y="577"/>
                    <a:pt x="3518" y="583"/>
                  </a:cubicBezTo>
                  <a:cubicBezTo>
                    <a:pt x="3521" y="589"/>
                    <a:pt x="3528" y="593"/>
                    <a:pt x="3535" y="593"/>
                  </a:cubicBezTo>
                  <a:cubicBezTo>
                    <a:pt x="3542" y="593"/>
                    <a:pt x="3546" y="589"/>
                    <a:pt x="3544" y="583"/>
                  </a:cubicBezTo>
                  <a:cubicBezTo>
                    <a:pt x="3542" y="577"/>
                    <a:pt x="3535" y="573"/>
                    <a:pt x="3528" y="573"/>
                  </a:cubicBezTo>
                  <a:cubicBezTo>
                    <a:pt x="3528" y="573"/>
                    <a:pt x="3527" y="573"/>
                    <a:pt x="3527" y="573"/>
                  </a:cubicBezTo>
                  <a:moveTo>
                    <a:pt x="3749" y="573"/>
                  </a:moveTo>
                  <a:cubicBezTo>
                    <a:pt x="3742" y="573"/>
                    <a:pt x="3739" y="577"/>
                    <a:pt x="3741" y="583"/>
                  </a:cubicBezTo>
                  <a:cubicBezTo>
                    <a:pt x="3744" y="589"/>
                    <a:pt x="3751" y="593"/>
                    <a:pt x="3758" y="593"/>
                  </a:cubicBezTo>
                  <a:cubicBezTo>
                    <a:pt x="3766" y="593"/>
                    <a:pt x="3769" y="588"/>
                    <a:pt x="3767" y="583"/>
                  </a:cubicBezTo>
                  <a:cubicBezTo>
                    <a:pt x="3764" y="577"/>
                    <a:pt x="3756" y="573"/>
                    <a:pt x="3749" y="573"/>
                  </a:cubicBezTo>
                  <a:cubicBezTo>
                    <a:pt x="3749" y="573"/>
                    <a:pt x="3749" y="573"/>
                    <a:pt x="3749" y="573"/>
                  </a:cubicBezTo>
                  <a:moveTo>
                    <a:pt x="3564" y="573"/>
                  </a:moveTo>
                  <a:cubicBezTo>
                    <a:pt x="3557" y="573"/>
                    <a:pt x="3553" y="577"/>
                    <a:pt x="3555" y="583"/>
                  </a:cubicBezTo>
                  <a:cubicBezTo>
                    <a:pt x="3557" y="589"/>
                    <a:pt x="3565" y="593"/>
                    <a:pt x="3572" y="593"/>
                  </a:cubicBezTo>
                  <a:cubicBezTo>
                    <a:pt x="3579" y="593"/>
                    <a:pt x="3583" y="588"/>
                    <a:pt x="3581" y="583"/>
                  </a:cubicBezTo>
                  <a:cubicBezTo>
                    <a:pt x="3579" y="577"/>
                    <a:pt x="3571" y="573"/>
                    <a:pt x="3564" y="573"/>
                  </a:cubicBezTo>
                  <a:cubicBezTo>
                    <a:pt x="3564" y="573"/>
                    <a:pt x="3564" y="573"/>
                    <a:pt x="3564" y="573"/>
                  </a:cubicBezTo>
                  <a:moveTo>
                    <a:pt x="3785" y="572"/>
                  </a:moveTo>
                  <a:cubicBezTo>
                    <a:pt x="3778" y="572"/>
                    <a:pt x="3775" y="577"/>
                    <a:pt x="3777" y="583"/>
                  </a:cubicBezTo>
                  <a:cubicBezTo>
                    <a:pt x="3780" y="588"/>
                    <a:pt x="3788" y="593"/>
                    <a:pt x="3795" y="593"/>
                  </a:cubicBezTo>
                  <a:cubicBezTo>
                    <a:pt x="3802" y="593"/>
                    <a:pt x="3805" y="588"/>
                    <a:pt x="3803" y="583"/>
                  </a:cubicBezTo>
                  <a:cubicBezTo>
                    <a:pt x="3800" y="577"/>
                    <a:pt x="3792" y="572"/>
                    <a:pt x="3785" y="572"/>
                  </a:cubicBezTo>
                  <a:cubicBezTo>
                    <a:pt x="3785" y="572"/>
                    <a:pt x="3785" y="572"/>
                    <a:pt x="3785" y="572"/>
                  </a:cubicBezTo>
                  <a:moveTo>
                    <a:pt x="3601" y="572"/>
                  </a:moveTo>
                  <a:cubicBezTo>
                    <a:pt x="3594" y="572"/>
                    <a:pt x="3590" y="577"/>
                    <a:pt x="3592" y="583"/>
                  </a:cubicBezTo>
                  <a:cubicBezTo>
                    <a:pt x="3594" y="588"/>
                    <a:pt x="3602" y="593"/>
                    <a:pt x="3609" y="593"/>
                  </a:cubicBezTo>
                  <a:cubicBezTo>
                    <a:pt x="3616" y="593"/>
                    <a:pt x="3620" y="588"/>
                    <a:pt x="3618" y="583"/>
                  </a:cubicBezTo>
                  <a:cubicBezTo>
                    <a:pt x="3615" y="577"/>
                    <a:pt x="3608" y="572"/>
                    <a:pt x="3601" y="572"/>
                  </a:cubicBezTo>
                  <a:cubicBezTo>
                    <a:pt x="3601" y="572"/>
                    <a:pt x="3601" y="572"/>
                    <a:pt x="3601" y="572"/>
                  </a:cubicBezTo>
                  <a:moveTo>
                    <a:pt x="3821" y="572"/>
                  </a:moveTo>
                  <a:cubicBezTo>
                    <a:pt x="3814" y="572"/>
                    <a:pt x="3811" y="577"/>
                    <a:pt x="3814" y="582"/>
                  </a:cubicBezTo>
                  <a:cubicBezTo>
                    <a:pt x="3816" y="588"/>
                    <a:pt x="3824" y="593"/>
                    <a:pt x="3831" y="593"/>
                  </a:cubicBezTo>
                  <a:cubicBezTo>
                    <a:pt x="3838" y="593"/>
                    <a:pt x="3842" y="588"/>
                    <a:pt x="3839" y="582"/>
                  </a:cubicBezTo>
                  <a:cubicBezTo>
                    <a:pt x="3836" y="577"/>
                    <a:pt x="3829" y="572"/>
                    <a:pt x="3822" y="572"/>
                  </a:cubicBezTo>
                  <a:cubicBezTo>
                    <a:pt x="3822" y="572"/>
                    <a:pt x="3822" y="572"/>
                    <a:pt x="3821" y="572"/>
                  </a:cubicBezTo>
                  <a:moveTo>
                    <a:pt x="3858" y="572"/>
                  </a:moveTo>
                  <a:cubicBezTo>
                    <a:pt x="3851" y="572"/>
                    <a:pt x="3847" y="577"/>
                    <a:pt x="3850" y="582"/>
                  </a:cubicBezTo>
                  <a:cubicBezTo>
                    <a:pt x="3853" y="588"/>
                    <a:pt x="3861" y="593"/>
                    <a:pt x="3868" y="592"/>
                  </a:cubicBezTo>
                  <a:cubicBezTo>
                    <a:pt x="3875" y="592"/>
                    <a:pt x="3879" y="588"/>
                    <a:pt x="3876" y="582"/>
                  </a:cubicBezTo>
                  <a:cubicBezTo>
                    <a:pt x="3873" y="576"/>
                    <a:pt x="3865" y="572"/>
                    <a:pt x="3858" y="572"/>
                  </a:cubicBezTo>
                  <a:cubicBezTo>
                    <a:pt x="3858" y="572"/>
                    <a:pt x="3858" y="572"/>
                    <a:pt x="3858" y="572"/>
                  </a:cubicBezTo>
                  <a:moveTo>
                    <a:pt x="3895" y="572"/>
                  </a:moveTo>
                  <a:cubicBezTo>
                    <a:pt x="3888" y="572"/>
                    <a:pt x="3884" y="576"/>
                    <a:pt x="3887" y="582"/>
                  </a:cubicBezTo>
                  <a:cubicBezTo>
                    <a:pt x="3890" y="588"/>
                    <a:pt x="3898" y="592"/>
                    <a:pt x="3905" y="592"/>
                  </a:cubicBezTo>
                  <a:cubicBezTo>
                    <a:pt x="3912" y="592"/>
                    <a:pt x="3916" y="588"/>
                    <a:pt x="3913" y="582"/>
                  </a:cubicBezTo>
                  <a:cubicBezTo>
                    <a:pt x="3910" y="576"/>
                    <a:pt x="3902" y="572"/>
                    <a:pt x="3895" y="572"/>
                  </a:cubicBezTo>
                  <a:cubicBezTo>
                    <a:pt x="3895" y="572"/>
                    <a:pt x="3895" y="572"/>
                    <a:pt x="3895" y="572"/>
                  </a:cubicBezTo>
                  <a:moveTo>
                    <a:pt x="3931" y="571"/>
                  </a:moveTo>
                  <a:cubicBezTo>
                    <a:pt x="3924" y="571"/>
                    <a:pt x="3921" y="576"/>
                    <a:pt x="3924" y="582"/>
                  </a:cubicBezTo>
                  <a:cubicBezTo>
                    <a:pt x="3926" y="588"/>
                    <a:pt x="3935" y="592"/>
                    <a:pt x="3942" y="592"/>
                  </a:cubicBezTo>
                  <a:cubicBezTo>
                    <a:pt x="3949" y="592"/>
                    <a:pt x="3952" y="587"/>
                    <a:pt x="3949" y="582"/>
                  </a:cubicBezTo>
                  <a:cubicBezTo>
                    <a:pt x="3946" y="576"/>
                    <a:pt x="3938" y="571"/>
                    <a:pt x="3931" y="571"/>
                  </a:cubicBezTo>
                  <a:cubicBezTo>
                    <a:pt x="3931" y="571"/>
                    <a:pt x="3931" y="571"/>
                    <a:pt x="3931" y="571"/>
                  </a:cubicBezTo>
                  <a:moveTo>
                    <a:pt x="4004" y="571"/>
                  </a:moveTo>
                  <a:cubicBezTo>
                    <a:pt x="3997" y="571"/>
                    <a:pt x="3993" y="576"/>
                    <a:pt x="3996" y="581"/>
                  </a:cubicBezTo>
                  <a:cubicBezTo>
                    <a:pt x="4000" y="587"/>
                    <a:pt x="4008" y="592"/>
                    <a:pt x="4015" y="592"/>
                  </a:cubicBezTo>
                  <a:cubicBezTo>
                    <a:pt x="4022" y="592"/>
                    <a:pt x="4025" y="587"/>
                    <a:pt x="4022" y="581"/>
                  </a:cubicBezTo>
                  <a:cubicBezTo>
                    <a:pt x="4019" y="576"/>
                    <a:pt x="4011" y="571"/>
                    <a:pt x="4004" y="571"/>
                  </a:cubicBezTo>
                  <a:cubicBezTo>
                    <a:pt x="4004" y="571"/>
                    <a:pt x="4004" y="571"/>
                    <a:pt x="4004" y="571"/>
                  </a:cubicBezTo>
                  <a:moveTo>
                    <a:pt x="4040" y="571"/>
                  </a:moveTo>
                  <a:cubicBezTo>
                    <a:pt x="4033" y="571"/>
                    <a:pt x="4030" y="575"/>
                    <a:pt x="4033" y="581"/>
                  </a:cubicBezTo>
                  <a:cubicBezTo>
                    <a:pt x="4036" y="587"/>
                    <a:pt x="4045" y="591"/>
                    <a:pt x="4052" y="591"/>
                  </a:cubicBezTo>
                  <a:cubicBezTo>
                    <a:pt x="4059" y="591"/>
                    <a:pt x="4062" y="587"/>
                    <a:pt x="4059" y="581"/>
                  </a:cubicBezTo>
                  <a:cubicBezTo>
                    <a:pt x="4056" y="575"/>
                    <a:pt x="4047" y="571"/>
                    <a:pt x="4040" y="571"/>
                  </a:cubicBezTo>
                  <a:cubicBezTo>
                    <a:pt x="4040" y="571"/>
                    <a:pt x="4040" y="571"/>
                    <a:pt x="4040" y="571"/>
                  </a:cubicBezTo>
                  <a:moveTo>
                    <a:pt x="4223" y="570"/>
                  </a:moveTo>
                  <a:cubicBezTo>
                    <a:pt x="4216" y="570"/>
                    <a:pt x="4213" y="574"/>
                    <a:pt x="4216" y="580"/>
                  </a:cubicBezTo>
                  <a:cubicBezTo>
                    <a:pt x="4220" y="586"/>
                    <a:pt x="4228" y="590"/>
                    <a:pt x="4235" y="590"/>
                  </a:cubicBezTo>
                  <a:cubicBezTo>
                    <a:pt x="4243" y="590"/>
                    <a:pt x="4245" y="586"/>
                    <a:pt x="4242" y="580"/>
                  </a:cubicBezTo>
                  <a:cubicBezTo>
                    <a:pt x="4238" y="574"/>
                    <a:pt x="4230" y="570"/>
                    <a:pt x="4223" y="570"/>
                  </a:cubicBezTo>
                  <a:cubicBezTo>
                    <a:pt x="4223" y="570"/>
                    <a:pt x="4223" y="570"/>
                    <a:pt x="4223" y="570"/>
                  </a:cubicBezTo>
                  <a:moveTo>
                    <a:pt x="114" y="564"/>
                  </a:moveTo>
                  <a:cubicBezTo>
                    <a:pt x="107" y="565"/>
                    <a:pt x="98" y="569"/>
                    <a:pt x="93" y="575"/>
                  </a:cubicBezTo>
                  <a:cubicBezTo>
                    <a:pt x="88" y="580"/>
                    <a:pt x="90" y="585"/>
                    <a:pt x="97" y="585"/>
                  </a:cubicBezTo>
                  <a:cubicBezTo>
                    <a:pt x="104" y="585"/>
                    <a:pt x="114" y="580"/>
                    <a:pt x="119" y="575"/>
                  </a:cubicBezTo>
                  <a:cubicBezTo>
                    <a:pt x="123" y="569"/>
                    <a:pt x="122" y="564"/>
                    <a:pt x="115" y="564"/>
                  </a:cubicBezTo>
                  <a:cubicBezTo>
                    <a:pt x="115" y="564"/>
                    <a:pt x="115" y="564"/>
                    <a:pt x="114" y="564"/>
                  </a:cubicBezTo>
                  <a:moveTo>
                    <a:pt x="149" y="564"/>
                  </a:moveTo>
                  <a:cubicBezTo>
                    <a:pt x="142" y="564"/>
                    <a:pt x="132" y="569"/>
                    <a:pt x="128" y="574"/>
                  </a:cubicBezTo>
                  <a:cubicBezTo>
                    <a:pt x="123" y="580"/>
                    <a:pt x="125" y="585"/>
                    <a:pt x="132" y="585"/>
                  </a:cubicBezTo>
                  <a:cubicBezTo>
                    <a:pt x="139" y="584"/>
                    <a:pt x="149" y="580"/>
                    <a:pt x="153" y="574"/>
                  </a:cubicBezTo>
                  <a:cubicBezTo>
                    <a:pt x="158" y="569"/>
                    <a:pt x="156" y="564"/>
                    <a:pt x="149" y="564"/>
                  </a:cubicBezTo>
                  <a:cubicBezTo>
                    <a:pt x="149" y="564"/>
                    <a:pt x="149" y="564"/>
                    <a:pt x="149" y="564"/>
                  </a:cubicBezTo>
                  <a:moveTo>
                    <a:pt x="185" y="564"/>
                  </a:moveTo>
                  <a:cubicBezTo>
                    <a:pt x="178" y="564"/>
                    <a:pt x="169" y="569"/>
                    <a:pt x="164" y="574"/>
                  </a:cubicBezTo>
                  <a:cubicBezTo>
                    <a:pt x="159" y="580"/>
                    <a:pt x="161" y="584"/>
                    <a:pt x="168" y="584"/>
                  </a:cubicBezTo>
                  <a:cubicBezTo>
                    <a:pt x="175" y="584"/>
                    <a:pt x="185" y="580"/>
                    <a:pt x="190" y="574"/>
                  </a:cubicBezTo>
                  <a:cubicBezTo>
                    <a:pt x="194" y="569"/>
                    <a:pt x="192" y="564"/>
                    <a:pt x="185" y="564"/>
                  </a:cubicBezTo>
                  <a:cubicBezTo>
                    <a:pt x="185" y="564"/>
                    <a:pt x="185" y="564"/>
                    <a:pt x="185" y="564"/>
                  </a:cubicBezTo>
                  <a:moveTo>
                    <a:pt x="223" y="564"/>
                  </a:moveTo>
                  <a:cubicBezTo>
                    <a:pt x="216" y="564"/>
                    <a:pt x="207" y="568"/>
                    <a:pt x="202" y="574"/>
                  </a:cubicBezTo>
                  <a:cubicBezTo>
                    <a:pt x="197" y="580"/>
                    <a:pt x="199" y="584"/>
                    <a:pt x="207" y="584"/>
                  </a:cubicBezTo>
                  <a:cubicBezTo>
                    <a:pt x="214" y="584"/>
                    <a:pt x="223" y="579"/>
                    <a:pt x="228" y="574"/>
                  </a:cubicBezTo>
                  <a:cubicBezTo>
                    <a:pt x="232" y="568"/>
                    <a:pt x="230" y="564"/>
                    <a:pt x="223" y="564"/>
                  </a:cubicBezTo>
                  <a:cubicBezTo>
                    <a:pt x="223" y="564"/>
                    <a:pt x="223" y="564"/>
                    <a:pt x="223" y="564"/>
                  </a:cubicBezTo>
                  <a:moveTo>
                    <a:pt x="259" y="564"/>
                  </a:moveTo>
                  <a:cubicBezTo>
                    <a:pt x="252" y="564"/>
                    <a:pt x="243" y="568"/>
                    <a:pt x="238" y="574"/>
                  </a:cubicBezTo>
                  <a:cubicBezTo>
                    <a:pt x="234" y="579"/>
                    <a:pt x="236" y="584"/>
                    <a:pt x="243" y="584"/>
                  </a:cubicBezTo>
                  <a:cubicBezTo>
                    <a:pt x="250" y="584"/>
                    <a:pt x="259" y="579"/>
                    <a:pt x="264" y="574"/>
                  </a:cubicBezTo>
                  <a:cubicBezTo>
                    <a:pt x="268" y="568"/>
                    <a:pt x="266" y="564"/>
                    <a:pt x="259" y="564"/>
                  </a:cubicBezTo>
                  <a:cubicBezTo>
                    <a:pt x="259" y="564"/>
                    <a:pt x="259" y="564"/>
                    <a:pt x="259" y="564"/>
                  </a:cubicBezTo>
                  <a:moveTo>
                    <a:pt x="295" y="563"/>
                  </a:moveTo>
                  <a:cubicBezTo>
                    <a:pt x="288" y="563"/>
                    <a:pt x="279" y="568"/>
                    <a:pt x="275" y="574"/>
                  </a:cubicBezTo>
                  <a:cubicBezTo>
                    <a:pt x="270" y="579"/>
                    <a:pt x="272" y="584"/>
                    <a:pt x="279" y="584"/>
                  </a:cubicBezTo>
                  <a:cubicBezTo>
                    <a:pt x="287" y="584"/>
                    <a:pt x="296" y="579"/>
                    <a:pt x="300" y="573"/>
                  </a:cubicBezTo>
                  <a:cubicBezTo>
                    <a:pt x="305" y="568"/>
                    <a:pt x="302" y="563"/>
                    <a:pt x="296" y="563"/>
                  </a:cubicBezTo>
                  <a:cubicBezTo>
                    <a:pt x="295" y="563"/>
                    <a:pt x="295" y="563"/>
                    <a:pt x="295" y="563"/>
                  </a:cubicBezTo>
                  <a:moveTo>
                    <a:pt x="332" y="563"/>
                  </a:moveTo>
                  <a:cubicBezTo>
                    <a:pt x="325" y="563"/>
                    <a:pt x="315" y="568"/>
                    <a:pt x="311" y="573"/>
                  </a:cubicBezTo>
                  <a:cubicBezTo>
                    <a:pt x="307" y="579"/>
                    <a:pt x="309" y="583"/>
                    <a:pt x="316" y="583"/>
                  </a:cubicBezTo>
                  <a:cubicBezTo>
                    <a:pt x="323" y="583"/>
                    <a:pt x="332" y="579"/>
                    <a:pt x="336" y="573"/>
                  </a:cubicBezTo>
                  <a:cubicBezTo>
                    <a:pt x="341" y="568"/>
                    <a:pt x="339" y="563"/>
                    <a:pt x="332" y="563"/>
                  </a:cubicBezTo>
                  <a:cubicBezTo>
                    <a:pt x="332" y="563"/>
                    <a:pt x="332" y="563"/>
                    <a:pt x="332" y="563"/>
                  </a:cubicBezTo>
                  <a:moveTo>
                    <a:pt x="368" y="563"/>
                  </a:moveTo>
                  <a:cubicBezTo>
                    <a:pt x="361" y="563"/>
                    <a:pt x="352" y="568"/>
                    <a:pt x="347" y="573"/>
                  </a:cubicBezTo>
                  <a:cubicBezTo>
                    <a:pt x="343" y="579"/>
                    <a:pt x="345" y="583"/>
                    <a:pt x="353" y="583"/>
                  </a:cubicBezTo>
                  <a:cubicBezTo>
                    <a:pt x="360" y="583"/>
                    <a:pt x="369" y="579"/>
                    <a:pt x="373" y="573"/>
                  </a:cubicBezTo>
                  <a:cubicBezTo>
                    <a:pt x="377" y="567"/>
                    <a:pt x="375" y="563"/>
                    <a:pt x="368" y="563"/>
                  </a:cubicBezTo>
                  <a:cubicBezTo>
                    <a:pt x="368" y="563"/>
                    <a:pt x="368" y="563"/>
                    <a:pt x="368" y="563"/>
                  </a:cubicBezTo>
                  <a:moveTo>
                    <a:pt x="405" y="563"/>
                  </a:moveTo>
                  <a:cubicBezTo>
                    <a:pt x="398" y="563"/>
                    <a:pt x="389" y="567"/>
                    <a:pt x="385" y="573"/>
                  </a:cubicBezTo>
                  <a:cubicBezTo>
                    <a:pt x="381" y="578"/>
                    <a:pt x="383" y="583"/>
                    <a:pt x="390" y="583"/>
                  </a:cubicBezTo>
                  <a:cubicBezTo>
                    <a:pt x="397" y="583"/>
                    <a:pt x="406" y="578"/>
                    <a:pt x="411" y="573"/>
                  </a:cubicBezTo>
                  <a:cubicBezTo>
                    <a:pt x="415" y="567"/>
                    <a:pt x="412" y="563"/>
                    <a:pt x="406" y="563"/>
                  </a:cubicBezTo>
                  <a:cubicBezTo>
                    <a:pt x="406" y="563"/>
                    <a:pt x="405" y="563"/>
                    <a:pt x="405" y="563"/>
                  </a:cubicBezTo>
                  <a:moveTo>
                    <a:pt x="442" y="562"/>
                  </a:moveTo>
                  <a:cubicBezTo>
                    <a:pt x="435" y="563"/>
                    <a:pt x="425" y="567"/>
                    <a:pt x="421" y="573"/>
                  </a:cubicBezTo>
                  <a:cubicBezTo>
                    <a:pt x="417" y="578"/>
                    <a:pt x="420" y="583"/>
                    <a:pt x="427" y="583"/>
                  </a:cubicBezTo>
                  <a:cubicBezTo>
                    <a:pt x="434" y="583"/>
                    <a:pt x="443" y="578"/>
                    <a:pt x="447" y="573"/>
                  </a:cubicBezTo>
                  <a:cubicBezTo>
                    <a:pt x="451" y="567"/>
                    <a:pt x="449" y="562"/>
                    <a:pt x="442" y="562"/>
                  </a:cubicBezTo>
                  <a:cubicBezTo>
                    <a:pt x="442" y="562"/>
                    <a:pt x="442" y="562"/>
                    <a:pt x="442" y="562"/>
                  </a:cubicBezTo>
                  <a:moveTo>
                    <a:pt x="478" y="562"/>
                  </a:moveTo>
                  <a:cubicBezTo>
                    <a:pt x="471" y="562"/>
                    <a:pt x="462" y="567"/>
                    <a:pt x="458" y="572"/>
                  </a:cubicBezTo>
                  <a:cubicBezTo>
                    <a:pt x="454" y="578"/>
                    <a:pt x="456" y="583"/>
                    <a:pt x="463" y="582"/>
                  </a:cubicBezTo>
                  <a:cubicBezTo>
                    <a:pt x="470" y="582"/>
                    <a:pt x="479" y="578"/>
                    <a:pt x="483" y="572"/>
                  </a:cubicBezTo>
                  <a:cubicBezTo>
                    <a:pt x="487" y="567"/>
                    <a:pt x="485" y="562"/>
                    <a:pt x="478" y="562"/>
                  </a:cubicBezTo>
                  <a:cubicBezTo>
                    <a:pt x="478" y="562"/>
                    <a:pt x="478" y="562"/>
                    <a:pt x="478" y="562"/>
                  </a:cubicBezTo>
                  <a:moveTo>
                    <a:pt x="515" y="562"/>
                  </a:moveTo>
                  <a:cubicBezTo>
                    <a:pt x="508" y="562"/>
                    <a:pt x="499" y="567"/>
                    <a:pt x="495" y="572"/>
                  </a:cubicBezTo>
                  <a:cubicBezTo>
                    <a:pt x="491" y="578"/>
                    <a:pt x="493" y="582"/>
                    <a:pt x="500" y="582"/>
                  </a:cubicBezTo>
                  <a:cubicBezTo>
                    <a:pt x="507" y="582"/>
                    <a:pt x="516" y="578"/>
                    <a:pt x="520" y="572"/>
                  </a:cubicBezTo>
                  <a:cubicBezTo>
                    <a:pt x="524" y="566"/>
                    <a:pt x="522" y="562"/>
                    <a:pt x="515" y="562"/>
                  </a:cubicBezTo>
                  <a:cubicBezTo>
                    <a:pt x="515" y="562"/>
                    <a:pt x="515" y="562"/>
                    <a:pt x="515" y="562"/>
                  </a:cubicBezTo>
                  <a:moveTo>
                    <a:pt x="551" y="562"/>
                  </a:moveTo>
                  <a:cubicBezTo>
                    <a:pt x="544" y="562"/>
                    <a:pt x="535" y="566"/>
                    <a:pt x="531" y="572"/>
                  </a:cubicBezTo>
                  <a:cubicBezTo>
                    <a:pt x="527" y="578"/>
                    <a:pt x="530" y="582"/>
                    <a:pt x="537" y="582"/>
                  </a:cubicBezTo>
                  <a:cubicBezTo>
                    <a:pt x="544" y="582"/>
                    <a:pt x="553" y="577"/>
                    <a:pt x="556" y="572"/>
                  </a:cubicBezTo>
                  <a:cubicBezTo>
                    <a:pt x="560" y="566"/>
                    <a:pt x="558" y="562"/>
                    <a:pt x="551" y="562"/>
                  </a:cubicBezTo>
                  <a:cubicBezTo>
                    <a:pt x="551" y="562"/>
                    <a:pt x="551" y="562"/>
                    <a:pt x="551" y="562"/>
                  </a:cubicBezTo>
                  <a:moveTo>
                    <a:pt x="587" y="562"/>
                  </a:moveTo>
                  <a:cubicBezTo>
                    <a:pt x="580" y="562"/>
                    <a:pt x="571" y="566"/>
                    <a:pt x="567" y="572"/>
                  </a:cubicBezTo>
                  <a:cubicBezTo>
                    <a:pt x="564" y="577"/>
                    <a:pt x="566" y="582"/>
                    <a:pt x="573" y="582"/>
                  </a:cubicBezTo>
                  <a:cubicBezTo>
                    <a:pt x="580" y="582"/>
                    <a:pt x="589" y="577"/>
                    <a:pt x="593" y="572"/>
                  </a:cubicBezTo>
                  <a:cubicBezTo>
                    <a:pt x="597" y="566"/>
                    <a:pt x="594" y="562"/>
                    <a:pt x="587" y="562"/>
                  </a:cubicBezTo>
                  <a:cubicBezTo>
                    <a:pt x="587" y="562"/>
                    <a:pt x="587" y="562"/>
                    <a:pt x="587" y="562"/>
                  </a:cubicBezTo>
                  <a:moveTo>
                    <a:pt x="623" y="561"/>
                  </a:moveTo>
                  <a:cubicBezTo>
                    <a:pt x="616" y="561"/>
                    <a:pt x="607" y="566"/>
                    <a:pt x="604" y="572"/>
                  </a:cubicBezTo>
                  <a:cubicBezTo>
                    <a:pt x="600" y="577"/>
                    <a:pt x="602" y="582"/>
                    <a:pt x="610" y="582"/>
                  </a:cubicBezTo>
                  <a:cubicBezTo>
                    <a:pt x="617" y="582"/>
                    <a:pt x="625" y="577"/>
                    <a:pt x="629" y="571"/>
                  </a:cubicBezTo>
                  <a:cubicBezTo>
                    <a:pt x="633" y="566"/>
                    <a:pt x="630" y="561"/>
                    <a:pt x="623" y="561"/>
                  </a:cubicBezTo>
                  <a:cubicBezTo>
                    <a:pt x="623" y="561"/>
                    <a:pt x="623" y="561"/>
                    <a:pt x="623" y="561"/>
                  </a:cubicBezTo>
                  <a:moveTo>
                    <a:pt x="660" y="561"/>
                  </a:moveTo>
                  <a:cubicBezTo>
                    <a:pt x="653" y="561"/>
                    <a:pt x="644" y="566"/>
                    <a:pt x="640" y="571"/>
                  </a:cubicBezTo>
                  <a:cubicBezTo>
                    <a:pt x="636" y="577"/>
                    <a:pt x="639" y="581"/>
                    <a:pt x="646" y="581"/>
                  </a:cubicBezTo>
                  <a:cubicBezTo>
                    <a:pt x="653" y="581"/>
                    <a:pt x="662" y="577"/>
                    <a:pt x="666" y="571"/>
                  </a:cubicBezTo>
                  <a:cubicBezTo>
                    <a:pt x="669" y="566"/>
                    <a:pt x="667" y="561"/>
                    <a:pt x="660" y="561"/>
                  </a:cubicBezTo>
                  <a:cubicBezTo>
                    <a:pt x="660" y="561"/>
                    <a:pt x="660" y="561"/>
                    <a:pt x="660" y="561"/>
                  </a:cubicBezTo>
                  <a:moveTo>
                    <a:pt x="696" y="561"/>
                  </a:moveTo>
                  <a:cubicBezTo>
                    <a:pt x="689" y="561"/>
                    <a:pt x="681" y="565"/>
                    <a:pt x="677" y="571"/>
                  </a:cubicBezTo>
                  <a:cubicBezTo>
                    <a:pt x="673" y="577"/>
                    <a:pt x="676" y="581"/>
                    <a:pt x="683" y="581"/>
                  </a:cubicBezTo>
                  <a:cubicBezTo>
                    <a:pt x="690" y="581"/>
                    <a:pt x="699" y="577"/>
                    <a:pt x="702" y="571"/>
                  </a:cubicBezTo>
                  <a:cubicBezTo>
                    <a:pt x="706" y="565"/>
                    <a:pt x="703" y="561"/>
                    <a:pt x="696" y="561"/>
                  </a:cubicBezTo>
                  <a:cubicBezTo>
                    <a:pt x="696" y="561"/>
                    <a:pt x="696" y="561"/>
                    <a:pt x="696" y="561"/>
                  </a:cubicBezTo>
                  <a:moveTo>
                    <a:pt x="732" y="561"/>
                  </a:moveTo>
                  <a:cubicBezTo>
                    <a:pt x="725" y="561"/>
                    <a:pt x="717" y="565"/>
                    <a:pt x="713" y="571"/>
                  </a:cubicBezTo>
                  <a:cubicBezTo>
                    <a:pt x="710" y="576"/>
                    <a:pt x="712" y="581"/>
                    <a:pt x="720" y="581"/>
                  </a:cubicBezTo>
                  <a:cubicBezTo>
                    <a:pt x="727" y="581"/>
                    <a:pt x="735" y="576"/>
                    <a:pt x="739" y="571"/>
                  </a:cubicBezTo>
                  <a:cubicBezTo>
                    <a:pt x="742" y="565"/>
                    <a:pt x="739" y="561"/>
                    <a:pt x="732" y="561"/>
                  </a:cubicBezTo>
                  <a:cubicBezTo>
                    <a:pt x="732" y="561"/>
                    <a:pt x="732" y="561"/>
                    <a:pt x="732" y="561"/>
                  </a:cubicBezTo>
                  <a:moveTo>
                    <a:pt x="769" y="560"/>
                  </a:moveTo>
                  <a:cubicBezTo>
                    <a:pt x="762" y="560"/>
                    <a:pt x="753" y="565"/>
                    <a:pt x="750" y="571"/>
                  </a:cubicBezTo>
                  <a:cubicBezTo>
                    <a:pt x="746" y="576"/>
                    <a:pt x="749" y="581"/>
                    <a:pt x="756" y="581"/>
                  </a:cubicBezTo>
                  <a:cubicBezTo>
                    <a:pt x="763" y="581"/>
                    <a:pt x="772" y="576"/>
                    <a:pt x="775" y="571"/>
                  </a:cubicBezTo>
                  <a:cubicBezTo>
                    <a:pt x="779" y="565"/>
                    <a:pt x="776" y="560"/>
                    <a:pt x="769" y="560"/>
                  </a:cubicBezTo>
                  <a:cubicBezTo>
                    <a:pt x="769" y="560"/>
                    <a:pt x="769" y="560"/>
                    <a:pt x="769" y="560"/>
                  </a:cubicBezTo>
                  <a:moveTo>
                    <a:pt x="803" y="560"/>
                  </a:moveTo>
                  <a:cubicBezTo>
                    <a:pt x="796" y="560"/>
                    <a:pt x="788" y="565"/>
                    <a:pt x="784" y="571"/>
                  </a:cubicBezTo>
                  <a:cubicBezTo>
                    <a:pt x="781" y="576"/>
                    <a:pt x="784" y="581"/>
                    <a:pt x="791" y="581"/>
                  </a:cubicBezTo>
                  <a:cubicBezTo>
                    <a:pt x="798" y="581"/>
                    <a:pt x="807" y="576"/>
                    <a:pt x="810" y="570"/>
                  </a:cubicBezTo>
                  <a:cubicBezTo>
                    <a:pt x="813" y="565"/>
                    <a:pt x="810" y="560"/>
                    <a:pt x="803" y="560"/>
                  </a:cubicBezTo>
                  <a:cubicBezTo>
                    <a:pt x="803" y="560"/>
                    <a:pt x="803" y="560"/>
                    <a:pt x="803" y="560"/>
                  </a:cubicBezTo>
                  <a:moveTo>
                    <a:pt x="839" y="560"/>
                  </a:moveTo>
                  <a:cubicBezTo>
                    <a:pt x="832" y="560"/>
                    <a:pt x="824" y="565"/>
                    <a:pt x="821" y="570"/>
                  </a:cubicBezTo>
                  <a:cubicBezTo>
                    <a:pt x="817" y="576"/>
                    <a:pt x="820" y="581"/>
                    <a:pt x="827" y="580"/>
                  </a:cubicBezTo>
                  <a:cubicBezTo>
                    <a:pt x="834" y="580"/>
                    <a:pt x="843" y="576"/>
                    <a:pt x="846" y="570"/>
                  </a:cubicBezTo>
                  <a:cubicBezTo>
                    <a:pt x="849" y="565"/>
                    <a:pt x="846" y="560"/>
                    <a:pt x="839" y="560"/>
                  </a:cubicBezTo>
                  <a:cubicBezTo>
                    <a:pt x="839" y="560"/>
                    <a:pt x="839" y="560"/>
                    <a:pt x="839" y="560"/>
                  </a:cubicBezTo>
                  <a:moveTo>
                    <a:pt x="876" y="560"/>
                  </a:moveTo>
                  <a:cubicBezTo>
                    <a:pt x="869" y="560"/>
                    <a:pt x="860" y="565"/>
                    <a:pt x="857" y="570"/>
                  </a:cubicBezTo>
                  <a:cubicBezTo>
                    <a:pt x="854" y="576"/>
                    <a:pt x="857" y="580"/>
                    <a:pt x="864" y="580"/>
                  </a:cubicBezTo>
                  <a:cubicBezTo>
                    <a:pt x="871" y="580"/>
                    <a:pt x="879" y="576"/>
                    <a:pt x="883" y="570"/>
                  </a:cubicBezTo>
                  <a:cubicBezTo>
                    <a:pt x="886" y="564"/>
                    <a:pt x="883" y="560"/>
                    <a:pt x="876" y="560"/>
                  </a:cubicBezTo>
                  <a:cubicBezTo>
                    <a:pt x="876" y="560"/>
                    <a:pt x="876" y="560"/>
                    <a:pt x="876" y="560"/>
                  </a:cubicBezTo>
                  <a:moveTo>
                    <a:pt x="1893" y="554"/>
                  </a:moveTo>
                  <a:cubicBezTo>
                    <a:pt x="1886" y="554"/>
                    <a:pt x="1879" y="559"/>
                    <a:pt x="1878" y="565"/>
                  </a:cubicBezTo>
                  <a:cubicBezTo>
                    <a:pt x="1877" y="570"/>
                    <a:pt x="1882" y="575"/>
                    <a:pt x="1889" y="575"/>
                  </a:cubicBezTo>
                  <a:cubicBezTo>
                    <a:pt x="1896" y="575"/>
                    <a:pt x="1902" y="570"/>
                    <a:pt x="1904" y="565"/>
                  </a:cubicBezTo>
                  <a:cubicBezTo>
                    <a:pt x="1905" y="559"/>
                    <a:pt x="1900" y="554"/>
                    <a:pt x="1893" y="554"/>
                  </a:cubicBezTo>
                  <a:cubicBezTo>
                    <a:pt x="1893" y="554"/>
                    <a:pt x="1893" y="554"/>
                    <a:pt x="1893" y="554"/>
                  </a:cubicBezTo>
                  <a:moveTo>
                    <a:pt x="1926" y="554"/>
                  </a:moveTo>
                  <a:cubicBezTo>
                    <a:pt x="1919" y="554"/>
                    <a:pt x="1913" y="559"/>
                    <a:pt x="1912" y="564"/>
                  </a:cubicBezTo>
                  <a:cubicBezTo>
                    <a:pt x="1910" y="570"/>
                    <a:pt x="1915" y="575"/>
                    <a:pt x="1922" y="575"/>
                  </a:cubicBezTo>
                  <a:cubicBezTo>
                    <a:pt x="1929" y="575"/>
                    <a:pt x="1936" y="570"/>
                    <a:pt x="1937" y="564"/>
                  </a:cubicBezTo>
                  <a:cubicBezTo>
                    <a:pt x="1938" y="559"/>
                    <a:pt x="1933" y="554"/>
                    <a:pt x="1926" y="554"/>
                  </a:cubicBezTo>
                  <a:cubicBezTo>
                    <a:pt x="1926" y="554"/>
                    <a:pt x="1926" y="554"/>
                    <a:pt x="1926" y="554"/>
                  </a:cubicBezTo>
                  <a:moveTo>
                    <a:pt x="1962" y="554"/>
                  </a:moveTo>
                  <a:cubicBezTo>
                    <a:pt x="1955" y="554"/>
                    <a:pt x="1949" y="559"/>
                    <a:pt x="1948" y="564"/>
                  </a:cubicBezTo>
                  <a:cubicBezTo>
                    <a:pt x="1947" y="570"/>
                    <a:pt x="1951" y="574"/>
                    <a:pt x="1958" y="574"/>
                  </a:cubicBezTo>
                  <a:cubicBezTo>
                    <a:pt x="1966" y="574"/>
                    <a:pt x="1972" y="570"/>
                    <a:pt x="1973" y="564"/>
                  </a:cubicBezTo>
                  <a:cubicBezTo>
                    <a:pt x="1974" y="558"/>
                    <a:pt x="1969" y="554"/>
                    <a:pt x="1962" y="554"/>
                  </a:cubicBezTo>
                  <a:cubicBezTo>
                    <a:pt x="1962" y="554"/>
                    <a:pt x="1962" y="554"/>
                    <a:pt x="1962" y="554"/>
                  </a:cubicBezTo>
                  <a:moveTo>
                    <a:pt x="1999" y="554"/>
                  </a:moveTo>
                  <a:cubicBezTo>
                    <a:pt x="1992" y="554"/>
                    <a:pt x="1985" y="558"/>
                    <a:pt x="1984" y="564"/>
                  </a:cubicBezTo>
                  <a:cubicBezTo>
                    <a:pt x="1983" y="570"/>
                    <a:pt x="1988" y="574"/>
                    <a:pt x="1995" y="574"/>
                  </a:cubicBezTo>
                  <a:cubicBezTo>
                    <a:pt x="2002" y="574"/>
                    <a:pt x="2008" y="569"/>
                    <a:pt x="2009" y="564"/>
                  </a:cubicBezTo>
                  <a:cubicBezTo>
                    <a:pt x="2010" y="558"/>
                    <a:pt x="2006" y="554"/>
                    <a:pt x="1999" y="554"/>
                  </a:cubicBezTo>
                  <a:cubicBezTo>
                    <a:pt x="1999" y="554"/>
                    <a:pt x="1999" y="554"/>
                    <a:pt x="1999" y="554"/>
                  </a:cubicBezTo>
                  <a:moveTo>
                    <a:pt x="2035" y="552"/>
                  </a:moveTo>
                  <a:cubicBezTo>
                    <a:pt x="2028" y="552"/>
                    <a:pt x="2021" y="557"/>
                    <a:pt x="2020" y="562"/>
                  </a:cubicBezTo>
                  <a:cubicBezTo>
                    <a:pt x="2019" y="568"/>
                    <a:pt x="2024" y="573"/>
                    <a:pt x="2031" y="573"/>
                  </a:cubicBezTo>
                  <a:cubicBezTo>
                    <a:pt x="2038" y="573"/>
                    <a:pt x="2045" y="568"/>
                    <a:pt x="2046" y="562"/>
                  </a:cubicBezTo>
                  <a:cubicBezTo>
                    <a:pt x="2047" y="557"/>
                    <a:pt x="2042" y="552"/>
                    <a:pt x="2035" y="552"/>
                  </a:cubicBezTo>
                  <a:cubicBezTo>
                    <a:pt x="2035" y="552"/>
                    <a:pt x="2035" y="552"/>
                    <a:pt x="2035" y="552"/>
                  </a:cubicBezTo>
                  <a:moveTo>
                    <a:pt x="2179" y="551"/>
                  </a:moveTo>
                  <a:cubicBezTo>
                    <a:pt x="2172" y="551"/>
                    <a:pt x="2166" y="556"/>
                    <a:pt x="2165" y="562"/>
                  </a:cubicBezTo>
                  <a:cubicBezTo>
                    <a:pt x="2164" y="567"/>
                    <a:pt x="2170" y="572"/>
                    <a:pt x="2177" y="572"/>
                  </a:cubicBezTo>
                  <a:cubicBezTo>
                    <a:pt x="2184" y="572"/>
                    <a:pt x="2190" y="567"/>
                    <a:pt x="2190" y="561"/>
                  </a:cubicBezTo>
                  <a:cubicBezTo>
                    <a:pt x="2191" y="556"/>
                    <a:pt x="2186" y="551"/>
                    <a:pt x="2179" y="551"/>
                  </a:cubicBezTo>
                  <a:cubicBezTo>
                    <a:pt x="2179" y="551"/>
                    <a:pt x="2179" y="551"/>
                    <a:pt x="2179" y="551"/>
                  </a:cubicBezTo>
                  <a:moveTo>
                    <a:pt x="2289" y="550"/>
                  </a:moveTo>
                  <a:cubicBezTo>
                    <a:pt x="2282" y="550"/>
                    <a:pt x="2276" y="554"/>
                    <a:pt x="2276" y="560"/>
                  </a:cubicBezTo>
                  <a:cubicBezTo>
                    <a:pt x="2275" y="566"/>
                    <a:pt x="2281" y="570"/>
                    <a:pt x="2288" y="570"/>
                  </a:cubicBezTo>
                  <a:cubicBezTo>
                    <a:pt x="2295" y="570"/>
                    <a:pt x="2301" y="566"/>
                    <a:pt x="2301" y="560"/>
                  </a:cubicBezTo>
                  <a:cubicBezTo>
                    <a:pt x="2302" y="554"/>
                    <a:pt x="2296" y="550"/>
                    <a:pt x="2289" y="550"/>
                  </a:cubicBezTo>
                  <a:cubicBezTo>
                    <a:pt x="2289" y="550"/>
                    <a:pt x="2289" y="550"/>
                    <a:pt x="2289" y="550"/>
                  </a:cubicBezTo>
                  <a:moveTo>
                    <a:pt x="2362" y="549"/>
                  </a:moveTo>
                  <a:cubicBezTo>
                    <a:pt x="2355" y="549"/>
                    <a:pt x="2349" y="554"/>
                    <a:pt x="2348" y="560"/>
                  </a:cubicBezTo>
                  <a:cubicBezTo>
                    <a:pt x="2348" y="565"/>
                    <a:pt x="2354" y="570"/>
                    <a:pt x="2361" y="570"/>
                  </a:cubicBezTo>
                  <a:cubicBezTo>
                    <a:pt x="2368" y="570"/>
                    <a:pt x="2374" y="565"/>
                    <a:pt x="2374" y="559"/>
                  </a:cubicBezTo>
                  <a:cubicBezTo>
                    <a:pt x="2374" y="554"/>
                    <a:pt x="2369" y="549"/>
                    <a:pt x="2362" y="549"/>
                  </a:cubicBezTo>
                  <a:cubicBezTo>
                    <a:pt x="2362" y="549"/>
                    <a:pt x="2362" y="549"/>
                    <a:pt x="2362" y="549"/>
                  </a:cubicBezTo>
                  <a:moveTo>
                    <a:pt x="2760" y="549"/>
                  </a:moveTo>
                  <a:cubicBezTo>
                    <a:pt x="2753" y="549"/>
                    <a:pt x="2747" y="554"/>
                    <a:pt x="2748" y="559"/>
                  </a:cubicBezTo>
                  <a:cubicBezTo>
                    <a:pt x="2748" y="565"/>
                    <a:pt x="2755" y="570"/>
                    <a:pt x="2762" y="569"/>
                  </a:cubicBezTo>
                  <a:cubicBezTo>
                    <a:pt x="2769" y="569"/>
                    <a:pt x="2774" y="565"/>
                    <a:pt x="2773" y="559"/>
                  </a:cubicBezTo>
                  <a:cubicBezTo>
                    <a:pt x="2773" y="554"/>
                    <a:pt x="2767" y="549"/>
                    <a:pt x="2760" y="549"/>
                  </a:cubicBezTo>
                  <a:cubicBezTo>
                    <a:pt x="2760" y="549"/>
                    <a:pt x="2760" y="549"/>
                    <a:pt x="2760" y="549"/>
                  </a:cubicBezTo>
                  <a:moveTo>
                    <a:pt x="2470" y="549"/>
                  </a:moveTo>
                  <a:cubicBezTo>
                    <a:pt x="2463" y="549"/>
                    <a:pt x="2457" y="553"/>
                    <a:pt x="2457" y="559"/>
                  </a:cubicBezTo>
                  <a:cubicBezTo>
                    <a:pt x="2457" y="565"/>
                    <a:pt x="2463" y="569"/>
                    <a:pt x="2470" y="569"/>
                  </a:cubicBezTo>
                  <a:cubicBezTo>
                    <a:pt x="2477" y="569"/>
                    <a:pt x="2483" y="564"/>
                    <a:pt x="2483" y="559"/>
                  </a:cubicBezTo>
                  <a:cubicBezTo>
                    <a:pt x="2483" y="553"/>
                    <a:pt x="2477" y="549"/>
                    <a:pt x="2470" y="549"/>
                  </a:cubicBezTo>
                  <a:cubicBezTo>
                    <a:pt x="2470" y="549"/>
                    <a:pt x="2470" y="549"/>
                    <a:pt x="2470" y="549"/>
                  </a:cubicBezTo>
                  <a:moveTo>
                    <a:pt x="2506" y="548"/>
                  </a:moveTo>
                  <a:cubicBezTo>
                    <a:pt x="2499" y="548"/>
                    <a:pt x="2493" y="553"/>
                    <a:pt x="2493" y="559"/>
                  </a:cubicBezTo>
                  <a:cubicBezTo>
                    <a:pt x="2493" y="564"/>
                    <a:pt x="2499" y="569"/>
                    <a:pt x="2506" y="569"/>
                  </a:cubicBezTo>
                  <a:cubicBezTo>
                    <a:pt x="2513" y="569"/>
                    <a:pt x="2519" y="564"/>
                    <a:pt x="2519" y="559"/>
                  </a:cubicBezTo>
                  <a:cubicBezTo>
                    <a:pt x="2519" y="553"/>
                    <a:pt x="2513" y="548"/>
                    <a:pt x="2506" y="548"/>
                  </a:cubicBezTo>
                  <a:cubicBezTo>
                    <a:pt x="2506" y="548"/>
                    <a:pt x="2506" y="548"/>
                    <a:pt x="2506" y="548"/>
                  </a:cubicBezTo>
                  <a:moveTo>
                    <a:pt x="2652" y="548"/>
                  </a:moveTo>
                  <a:cubicBezTo>
                    <a:pt x="2645" y="548"/>
                    <a:pt x="2639" y="553"/>
                    <a:pt x="2640" y="559"/>
                  </a:cubicBezTo>
                  <a:cubicBezTo>
                    <a:pt x="2640" y="564"/>
                    <a:pt x="2646" y="569"/>
                    <a:pt x="2653" y="569"/>
                  </a:cubicBezTo>
                  <a:cubicBezTo>
                    <a:pt x="2660" y="569"/>
                    <a:pt x="2665" y="564"/>
                    <a:pt x="2665" y="559"/>
                  </a:cubicBezTo>
                  <a:cubicBezTo>
                    <a:pt x="2665" y="553"/>
                    <a:pt x="2659" y="548"/>
                    <a:pt x="2652" y="548"/>
                  </a:cubicBezTo>
                  <a:cubicBezTo>
                    <a:pt x="2652" y="548"/>
                    <a:pt x="2652" y="548"/>
                    <a:pt x="2652" y="548"/>
                  </a:cubicBezTo>
                  <a:moveTo>
                    <a:pt x="2542" y="548"/>
                  </a:moveTo>
                  <a:cubicBezTo>
                    <a:pt x="2535" y="548"/>
                    <a:pt x="2530" y="553"/>
                    <a:pt x="2530" y="558"/>
                  </a:cubicBezTo>
                  <a:cubicBezTo>
                    <a:pt x="2530" y="564"/>
                    <a:pt x="2536" y="569"/>
                    <a:pt x="2543" y="569"/>
                  </a:cubicBezTo>
                  <a:cubicBezTo>
                    <a:pt x="2550" y="569"/>
                    <a:pt x="2555" y="564"/>
                    <a:pt x="2555" y="558"/>
                  </a:cubicBezTo>
                  <a:cubicBezTo>
                    <a:pt x="2555" y="553"/>
                    <a:pt x="2549" y="548"/>
                    <a:pt x="2542" y="548"/>
                  </a:cubicBezTo>
                  <a:cubicBezTo>
                    <a:pt x="2542" y="548"/>
                    <a:pt x="2542" y="548"/>
                    <a:pt x="2542" y="548"/>
                  </a:cubicBezTo>
                  <a:moveTo>
                    <a:pt x="2687" y="548"/>
                  </a:moveTo>
                  <a:cubicBezTo>
                    <a:pt x="2680" y="548"/>
                    <a:pt x="2675" y="553"/>
                    <a:pt x="2675" y="558"/>
                  </a:cubicBezTo>
                  <a:cubicBezTo>
                    <a:pt x="2676" y="564"/>
                    <a:pt x="2682" y="569"/>
                    <a:pt x="2689" y="569"/>
                  </a:cubicBezTo>
                  <a:cubicBezTo>
                    <a:pt x="2696" y="569"/>
                    <a:pt x="2701" y="564"/>
                    <a:pt x="2701" y="558"/>
                  </a:cubicBezTo>
                  <a:cubicBezTo>
                    <a:pt x="2700" y="553"/>
                    <a:pt x="2694" y="548"/>
                    <a:pt x="2688" y="548"/>
                  </a:cubicBezTo>
                  <a:cubicBezTo>
                    <a:pt x="2688" y="548"/>
                    <a:pt x="2687" y="548"/>
                    <a:pt x="2687" y="548"/>
                  </a:cubicBezTo>
                  <a:moveTo>
                    <a:pt x="2616" y="548"/>
                  </a:moveTo>
                  <a:cubicBezTo>
                    <a:pt x="2609" y="548"/>
                    <a:pt x="2603" y="553"/>
                    <a:pt x="2604" y="558"/>
                  </a:cubicBezTo>
                  <a:cubicBezTo>
                    <a:pt x="2604" y="564"/>
                    <a:pt x="2610" y="569"/>
                    <a:pt x="2617" y="569"/>
                  </a:cubicBezTo>
                  <a:cubicBezTo>
                    <a:pt x="2624" y="569"/>
                    <a:pt x="2629" y="564"/>
                    <a:pt x="2629" y="558"/>
                  </a:cubicBezTo>
                  <a:cubicBezTo>
                    <a:pt x="2629" y="553"/>
                    <a:pt x="2623" y="548"/>
                    <a:pt x="2616" y="548"/>
                  </a:cubicBezTo>
                  <a:cubicBezTo>
                    <a:pt x="2616" y="548"/>
                    <a:pt x="2616" y="548"/>
                    <a:pt x="2616" y="548"/>
                  </a:cubicBezTo>
                  <a:moveTo>
                    <a:pt x="2579" y="548"/>
                  </a:moveTo>
                  <a:cubicBezTo>
                    <a:pt x="2572" y="548"/>
                    <a:pt x="2566" y="553"/>
                    <a:pt x="2566" y="558"/>
                  </a:cubicBezTo>
                  <a:cubicBezTo>
                    <a:pt x="2567" y="564"/>
                    <a:pt x="2572" y="568"/>
                    <a:pt x="2579" y="568"/>
                  </a:cubicBezTo>
                  <a:cubicBezTo>
                    <a:pt x="2587" y="568"/>
                    <a:pt x="2592" y="564"/>
                    <a:pt x="2592" y="558"/>
                  </a:cubicBezTo>
                  <a:cubicBezTo>
                    <a:pt x="2592" y="552"/>
                    <a:pt x="2586" y="548"/>
                    <a:pt x="2579" y="548"/>
                  </a:cubicBezTo>
                  <a:cubicBezTo>
                    <a:pt x="2579" y="548"/>
                    <a:pt x="2579" y="548"/>
                    <a:pt x="2579" y="548"/>
                  </a:cubicBezTo>
                  <a:moveTo>
                    <a:pt x="2723" y="548"/>
                  </a:moveTo>
                  <a:cubicBezTo>
                    <a:pt x="2716" y="548"/>
                    <a:pt x="2711" y="553"/>
                    <a:pt x="2712" y="558"/>
                  </a:cubicBezTo>
                  <a:cubicBezTo>
                    <a:pt x="2712" y="564"/>
                    <a:pt x="2718" y="568"/>
                    <a:pt x="2725" y="568"/>
                  </a:cubicBezTo>
                  <a:cubicBezTo>
                    <a:pt x="2732" y="568"/>
                    <a:pt x="2737" y="564"/>
                    <a:pt x="2737" y="558"/>
                  </a:cubicBezTo>
                  <a:cubicBezTo>
                    <a:pt x="2736" y="552"/>
                    <a:pt x="2730" y="548"/>
                    <a:pt x="2723" y="548"/>
                  </a:cubicBezTo>
                  <a:cubicBezTo>
                    <a:pt x="2723" y="548"/>
                    <a:pt x="2723" y="548"/>
                    <a:pt x="2723" y="548"/>
                  </a:cubicBezTo>
                  <a:moveTo>
                    <a:pt x="2796" y="548"/>
                  </a:moveTo>
                  <a:cubicBezTo>
                    <a:pt x="2789" y="548"/>
                    <a:pt x="2784" y="552"/>
                    <a:pt x="2784" y="558"/>
                  </a:cubicBezTo>
                  <a:cubicBezTo>
                    <a:pt x="2785" y="564"/>
                    <a:pt x="2791" y="568"/>
                    <a:pt x="2798" y="568"/>
                  </a:cubicBezTo>
                  <a:cubicBezTo>
                    <a:pt x="2805" y="568"/>
                    <a:pt x="2810" y="563"/>
                    <a:pt x="2809" y="558"/>
                  </a:cubicBezTo>
                  <a:cubicBezTo>
                    <a:pt x="2809" y="552"/>
                    <a:pt x="2803" y="548"/>
                    <a:pt x="2796" y="548"/>
                  </a:cubicBezTo>
                  <a:cubicBezTo>
                    <a:pt x="2796" y="548"/>
                    <a:pt x="2796" y="548"/>
                    <a:pt x="2796" y="548"/>
                  </a:cubicBezTo>
                  <a:moveTo>
                    <a:pt x="2830" y="547"/>
                  </a:moveTo>
                  <a:cubicBezTo>
                    <a:pt x="2823" y="547"/>
                    <a:pt x="2818" y="552"/>
                    <a:pt x="2818" y="558"/>
                  </a:cubicBezTo>
                  <a:cubicBezTo>
                    <a:pt x="2819" y="563"/>
                    <a:pt x="2825" y="568"/>
                    <a:pt x="2832" y="568"/>
                  </a:cubicBezTo>
                  <a:cubicBezTo>
                    <a:pt x="2839" y="568"/>
                    <a:pt x="2844" y="563"/>
                    <a:pt x="2844" y="558"/>
                  </a:cubicBezTo>
                  <a:cubicBezTo>
                    <a:pt x="2843" y="552"/>
                    <a:pt x="2837" y="547"/>
                    <a:pt x="2830" y="547"/>
                  </a:cubicBezTo>
                  <a:cubicBezTo>
                    <a:pt x="2830" y="547"/>
                    <a:pt x="2830" y="547"/>
                    <a:pt x="2830" y="547"/>
                  </a:cubicBezTo>
                  <a:moveTo>
                    <a:pt x="2866" y="547"/>
                  </a:moveTo>
                  <a:cubicBezTo>
                    <a:pt x="2859" y="547"/>
                    <a:pt x="2854" y="552"/>
                    <a:pt x="2854" y="557"/>
                  </a:cubicBezTo>
                  <a:cubicBezTo>
                    <a:pt x="2855" y="563"/>
                    <a:pt x="2861" y="568"/>
                    <a:pt x="2868" y="568"/>
                  </a:cubicBezTo>
                  <a:cubicBezTo>
                    <a:pt x="2875" y="568"/>
                    <a:pt x="2880" y="563"/>
                    <a:pt x="2880" y="557"/>
                  </a:cubicBezTo>
                  <a:cubicBezTo>
                    <a:pt x="2879" y="552"/>
                    <a:pt x="2873" y="547"/>
                    <a:pt x="2866" y="547"/>
                  </a:cubicBezTo>
                  <a:cubicBezTo>
                    <a:pt x="2866" y="547"/>
                    <a:pt x="2866" y="547"/>
                    <a:pt x="2866" y="547"/>
                  </a:cubicBezTo>
                  <a:moveTo>
                    <a:pt x="2902" y="547"/>
                  </a:moveTo>
                  <a:cubicBezTo>
                    <a:pt x="2895" y="547"/>
                    <a:pt x="2890" y="552"/>
                    <a:pt x="2891" y="557"/>
                  </a:cubicBezTo>
                  <a:cubicBezTo>
                    <a:pt x="2891" y="563"/>
                    <a:pt x="2898" y="567"/>
                    <a:pt x="2905" y="567"/>
                  </a:cubicBezTo>
                  <a:cubicBezTo>
                    <a:pt x="2912" y="567"/>
                    <a:pt x="2917" y="563"/>
                    <a:pt x="2916" y="557"/>
                  </a:cubicBezTo>
                  <a:cubicBezTo>
                    <a:pt x="2915" y="551"/>
                    <a:pt x="2909" y="547"/>
                    <a:pt x="2902" y="547"/>
                  </a:cubicBezTo>
                  <a:cubicBezTo>
                    <a:pt x="2902" y="547"/>
                    <a:pt x="2902" y="547"/>
                    <a:pt x="2902" y="547"/>
                  </a:cubicBezTo>
                  <a:moveTo>
                    <a:pt x="2938" y="547"/>
                  </a:moveTo>
                  <a:cubicBezTo>
                    <a:pt x="2931" y="547"/>
                    <a:pt x="2926" y="551"/>
                    <a:pt x="2927" y="557"/>
                  </a:cubicBezTo>
                  <a:cubicBezTo>
                    <a:pt x="2928" y="563"/>
                    <a:pt x="2935" y="567"/>
                    <a:pt x="2942" y="567"/>
                  </a:cubicBezTo>
                  <a:cubicBezTo>
                    <a:pt x="2949" y="567"/>
                    <a:pt x="2954" y="563"/>
                    <a:pt x="2953" y="557"/>
                  </a:cubicBezTo>
                  <a:cubicBezTo>
                    <a:pt x="2952" y="551"/>
                    <a:pt x="2945" y="547"/>
                    <a:pt x="2938" y="547"/>
                  </a:cubicBezTo>
                  <a:cubicBezTo>
                    <a:pt x="2938" y="547"/>
                    <a:pt x="2938" y="547"/>
                    <a:pt x="2938" y="547"/>
                  </a:cubicBezTo>
                  <a:moveTo>
                    <a:pt x="2974" y="546"/>
                  </a:moveTo>
                  <a:cubicBezTo>
                    <a:pt x="2967" y="547"/>
                    <a:pt x="2962" y="551"/>
                    <a:pt x="2963" y="557"/>
                  </a:cubicBezTo>
                  <a:cubicBezTo>
                    <a:pt x="2964" y="562"/>
                    <a:pt x="2971" y="567"/>
                    <a:pt x="2978" y="567"/>
                  </a:cubicBezTo>
                  <a:cubicBezTo>
                    <a:pt x="2985" y="567"/>
                    <a:pt x="2990" y="562"/>
                    <a:pt x="2989" y="557"/>
                  </a:cubicBezTo>
                  <a:cubicBezTo>
                    <a:pt x="2988" y="551"/>
                    <a:pt x="2981" y="546"/>
                    <a:pt x="2974" y="546"/>
                  </a:cubicBezTo>
                  <a:cubicBezTo>
                    <a:pt x="2974" y="546"/>
                    <a:pt x="2974" y="546"/>
                    <a:pt x="2974" y="546"/>
                  </a:cubicBezTo>
                  <a:moveTo>
                    <a:pt x="3010" y="546"/>
                  </a:moveTo>
                  <a:cubicBezTo>
                    <a:pt x="3003" y="546"/>
                    <a:pt x="2999" y="551"/>
                    <a:pt x="3000" y="557"/>
                  </a:cubicBezTo>
                  <a:cubicBezTo>
                    <a:pt x="3001" y="562"/>
                    <a:pt x="3007" y="567"/>
                    <a:pt x="3014" y="567"/>
                  </a:cubicBezTo>
                  <a:cubicBezTo>
                    <a:pt x="3021" y="567"/>
                    <a:pt x="3026" y="562"/>
                    <a:pt x="3025" y="556"/>
                  </a:cubicBezTo>
                  <a:cubicBezTo>
                    <a:pt x="3024" y="551"/>
                    <a:pt x="3017" y="546"/>
                    <a:pt x="3010" y="546"/>
                  </a:cubicBezTo>
                  <a:cubicBezTo>
                    <a:pt x="3010" y="546"/>
                    <a:pt x="3010" y="546"/>
                    <a:pt x="3010" y="546"/>
                  </a:cubicBezTo>
                  <a:moveTo>
                    <a:pt x="3046" y="546"/>
                  </a:moveTo>
                  <a:cubicBezTo>
                    <a:pt x="3039" y="546"/>
                    <a:pt x="3035" y="551"/>
                    <a:pt x="3036" y="556"/>
                  </a:cubicBezTo>
                  <a:cubicBezTo>
                    <a:pt x="3037" y="562"/>
                    <a:pt x="3043" y="567"/>
                    <a:pt x="3050" y="567"/>
                  </a:cubicBezTo>
                  <a:cubicBezTo>
                    <a:pt x="3057" y="566"/>
                    <a:pt x="3062" y="562"/>
                    <a:pt x="3061" y="556"/>
                  </a:cubicBezTo>
                  <a:cubicBezTo>
                    <a:pt x="3060" y="551"/>
                    <a:pt x="3053" y="546"/>
                    <a:pt x="3046" y="546"/>
                  </a:cubicBezTo>
                  <a:cubicBezTo>
                    <a:pt x="3046" y="546"/>
                    <a:pt x="3046" y="546"/>
                    <a:pt x="3046" y="546"/>
                  </a:cubicBezTo>
                  <a:moveTo>
                    <a:pt x="3082" y="546"/>
                  </a:moveTo>
                  <a:cubicBezTo>
                    <a:pt x="3075" y="546"/>
                    <a:pt x="3071" y="550"/>
                    <a:pt x="3072" y="556"/>
                  </a:cubicBezTo>
                  <a:cubicBezTo>
                    <a:pt x="3073" y="562"/>
                    <a:pt x="3080" y="566"/>
                    <a:pt x="3087" y="566"/>
                  </a:cubicBezTo>
                  <a:cubicBezTo>
                    <a:pt x="3094" y="566"/>
                    <a:pt x="3099" y="562"/>
                    <a:pt x="3097" y="556"/>
                  </a:cubicBezTo>
                  <a:cubicBezTo>
                    <a:pt x="3096" y="550"/>
                    <a:pt x="3090" y="546"/>
                    <a:pt x="3083" y="546"/>
                  </a:cubicBezTo>
                  <a:cubicBezTo>
                    <a:pt x="3083" y="546"/>
                    <a:pt x="3083" y="546"/>
                    <a:pt x="3082" y="546"/>
                  </a:cubicBezTo>
                  <a:moveTo>
                    <a:pt x="3120" y="546"/>
                  </a:moveTo>
                  <a:cubicBezTo>
                    <a:pt x="3113" y="546"/>
                    <a:pt x="3108" y="550"/>
                    <a:pt x="3109" y="556"/>
                  </a:cubicBezTo>
                  <a:cubicBezTo>
                    <a:pt x="3111" y="562"/>
                    <a:pt x="3117" y="566"/>
                    <a:pt x="3124" y="566"/>
                  </a:cubicBezTo>
                  <a:cubicBezTo>
                    <a:pt x="3131" y="566"/>
                    <a:pt x="3136" y="561"/>
                    <a:pt x="3135" y="556"/>
                  </a:cubicBezTo>
                  <a:cubicBezTo>
                    <a:pt x="3133" y="550"/>
                    <a:pt x="3127" y="546"/>
                    <a:pt x="3120" y="546"/>
                  </a:cubicBezTo>
                  <a:cubicBezTo>
                    <a:pt x="3120" y="546"/>
                    <a:pt x="3120" y="546"/>
                    <a:pt x="3120" y="546"/>
                  </a:cubicBezTo>
                  <a:moveTo>
                    <a:pt x="3156" y="545"/>
                  </a:moveTo>
                  <a:cubicBezTo>
                    <a:pt x="3149" y="545"/>
                    <a:pt x="3144" y="550"/>
                    <a:pt x="3145" y="556"/>
                  </a:cubicBezTo>
                  <a:cubicBezTo>
                    <a:pt x="3147" y="561"/>
                    <a:pt x="3153" y="566"/>
                    <a:pt x="3160" y="566"/>
                  </a:cubicBezTo>
                  <a:cubicBezTo>
                    <a:pt x="3167" y="566"/>
                    <a:pt x="3172" y="561"/>
                    <a:pt x="3171" y="556"/>
                  </a:cubicBezTo>
                  <a:cubicBezTo>
                    <a:pt x="3169" y="550"/>
                    <a:pt x="3163" y="545"/>
                    <a:pt x="3156" y="545"/>
                  </a:cubicBezTo>
                  <a:cubicBezTo>
                    <a:pt x="3156" y="545"/>
                    <a:pt x="3156" y="545"/>
                    <a:pt x="3156" y="545"/>
                  </a:cubicBezTo>
                  <a:moveTo>
                    <a:pt x="3192" y="545"/>
                  </a:moveTo>
                  <a:cubicBezTo>
                    <a:pt x="3185" y="545"/>
                    <a:pt x="3180" y="550"/>
                    <a:pt x="3182" y="555"/>
                  </a:cubicBezTo>
                  <a:cubicBezTo>
                    <a:pt x="3183" y="561"/>
                    <a:pt x="3190" y="566"/>
                    <a:pt x="3197" y="566"/>
                  </a:cubicBezTo>
                  <a:cubicBezTo>
                    <a:pt x="3204" y="566"/>
                    <a:pt x="3208" y="561"/>
                    <a:pt x="3207" y="555"/>
                  </a:cubicBezTo>
                  <a:cubicBezTo>
                    <a:pt x="3206" y="550"/>
                    <a:pt x="3199" y="545"/>
                    <a:pt x="3192" y="545"/>
                  </a:cubicBezTo>
                  <a:cubicBezTo>
                    <a:pt x="3192" y="545"/>
                    <a:pt x="3192" y="545"/>
                    <a:pt x="3192" y="545"/>
                  </a:cubicBezTo>
                  <a:moveTo>
                    <a:pt x="3228" y="545"/>
                  </a:moveTo>
                  <a:cubicBezTo>
                    <a:pt x="3221" y="545"/>
                    <a:pt x="3217" y="550"/>
                    <a:pt x="3218" y="555"/>
                  </a:cubicBezTo>
                  <a:cubicBezTo>
                    <a:pt x="3220" y="561"/>
                    <a:pt x="3227" y="565"/>
                    <a:pt x="3234" y="565"/>
                  </a:cubicBezTo>
                  <a:cubicBezTo>
                    <a:pt x="3241" y="565"/>
                    <a:pt x="3245" y="561"/>
                    <a:pt x="3244" y="555"/>
                  </a:cubicBezTo>
                  <a:cubicBezTo>
                    <a:pt x="3242" y="549"/>
                    <a:pt x="3235" y="545"/>
                    <a:pt x="3228" y="545"/>
                  </a:cubicBezTo>
                  <a:cubicBezTo>
                    <a:pt x="3228" y="545"/>
                    <a:pt x="3228" y="545"/>
                    <a:pt x="3228" y="545"/>
                  </a:cubicBezTo>
                  <a:moveTo>
                    <a:pt x="3264" y="545"/>
                  </a:moveTo>
                  <a:cubicBezTo>
                    <a:pt x="3257" y="545"/>
                    <a:pt x="3253" y="549"/>
                    <a:pt x="3254" y="555"/>
                  </a:cubicBezTo>
                  <a:cubicBezTo>
                    <a:pt x="3256" y="561"/>
                    <a:pt x="3263" y="565"/>
                    <a:pt x="3270" y="565"/>
                  </a:cubicBezTo>
                  <a:cubicBezTo>
                    <a:pt x="3277" y="565"/>
                    <a:pt x="3281" y="561"/>
                    <a:pt x="3280" y="555"/>
                  </a:cubicBezTo>
                  <a:cubicBezTo>
                    <a:pt x="3278" y="549"/>
                    <a:pt x="3271" y="545"/>
                    <a:pt x="3264" y="545"/>
                  </a:cubicBezTo>
                  <a:cubicBezTo>
                    <a:pt x="3264" y="545"/>
                    <a:pt x="3264" y="545"/>
                    <a:pt x="3264" y="545"/>
                  </a:cubicBezTo>
                  <a:moveTo>
                    <a:pt x="3300" y="544"/>
                  </a:moveTo>
                  <a:cubicBezTo>
                    <a:pt x="3293" y="544"/>
                    <a:pt x="3289" y="549"/>
                    <a:pt x="3291" y="555"/>
                  </a:cubicBezTo>
                  <a:cubicBezTo>
                    <a:pt x="3292" y="560"/>
                    <a:pt x="3299" y="565"/>
                    <a:pt x="3306" y="565"/>
                  </a:cubicBezTo>
                  <a:cubicBezTo>
                    <a:pt x="3313" y="565"/>
                    <a:pt x="3318" y="560"/>
                    <a:pt x="3316" y="555"/>
                  </a:cubicBezTo>
                  <a:cubicBezTo>
                    <a:pt x="3314" y="549"/>
                    <a:pt x="3307" y="544"/>
                    <a:pt x="3300" y="544"/>
                  </a:cubicBezTo>
                  <a:cubicBezTo>
                    <a:pt x="3300" y="544"/>
                    <a:pt x="3300" y="544"/>
                    <a:pt x="3300" y="544"/>
                  </a:cubicBezTo>
                  <a:moveTo>
                    <a:pt x="3336" y="544"/>
                  </a:moveTo>
                  <a:cubicBezTo>
                    <a:pt x="3329" y="544"/>
                    <a:pt x="3325" y="549"/>
                    <a:pt x="3327" y="555"/>
                  </a:cubicBezTo>
                  <a:cubicBezTo>
                    <a:pt x="3328" y="560"/>
                    <a:pt x="3335" y="565"/>
                    <a:pt x="3342" y="565"/>
                  </a:cubicBezTo>
                  <a:cubicBezTo>
                    <a:pt x="3349" y="565"/>
                    <a:pt x="3354" y="560"/>
                    <a:pt x="3352" y="554"/>
                  </a:cubicBezTo>
                  <a:cubicBezTo>
                    <a:pt x="3350" y="549"/>
                    <a:pt x="3343" y="544"/>
                    <a:pt x="3336" y="544"/>
                  </a:cubicBezTo>
                  <a:cubicBezTo>
                    <a:pt x="3336" y="544"/>
                    <a:pt x="3336" y="544"/>
                    <a:pt x="3336" y="544"/>
                  </a:cubicBezTo>
                  <a:moveTo>
                    <a:pt x="3372" y="544"/>
                  </a:moveTo>
                  <a:cubicBezTo>
                    <a:pt x="3365" y="544"/>
                    <a:pt x="3361" y="549"/>
                    <a:pt x="3363" y="554"/>
                  </a:cubicBezTo>
                  <a:cubicBezTo>
                    <a:pt x="3365" y="560"/>
                    <a:pt x="3372" y="565"/>
                    <a:pt x="3379" y="565"/>
                  </a:cubicBezTo>
                  <a:cubicBezTo>
                    <a:pt x="3386" y="564"/>
                    <a:pt x="3390" y="560"/>
                    <a:pt x="3388" y="554"/>
                  </a:cubicBezTo>
                  <a:cubicBezTo>
                    <a:pt x="3386" y="549"/>
                    <a:pt x="3379" y="544"/>
                    <a:pt x="3372" y="544"/>
                  </a:cubicBezTo>
                  <a:cubicBezTo>
                    <a:pt x="3372" y="544"/>
                    <a:pt x="3372" y="544"/>
                    <a:pt x="3372" y="544"/>
                  </a:cubicBezTo>
                  <a:moveTo>
                    <a:pt x="3409" y="544"/>
                  </a:moveTo>
                  <a:cubicBezTo>
                    <a:pt x="3402" y="544"/>
                    <a:pt x="3398" y="548"/>
                    <a:pt x="3399" y="554"/>
                  </a:cubicBezTo>
                  <a:cubicBezTo>
                    <a:pt x="3401" y="560"/>
                    <a:pt x="3408" y="564"/>
                    <a:pt x="3416" y="564"/>
                  </a:cubicBezTo>
                  <a:cubicBezTo>
                    <a:pt x="3423" y="564"/>
                    <a:pt x="3427" y="560"/>
                    <a:pt x="3425" y="554"/>
                  </a:cubicBezTo>
                  <a:cubicBezTo>
                    <a:pt x="3423" y="548"/>
                    <a:pt x="3416" y="544"/>
                    <a:pt x="3409" y="544"/>
                  </a:cubicBezTo>
                  <a:cubicBezTo>
                    <a:pt x="3409" y="544"/>
                    <a:pt x="3409" y="544"/>
                    <a:pt x="3409" y="544"/>
                  </a:cubicBezTo>
                  <a:moveTo>
                    <a:pt x="3626" y="544"/>
                  </a:moveTo>
                  <a:cubicBezTo>
                    <a:pt x="3619" y="544"/>
                    <a:pt x="3615" y="548"/>
                    <a:pt x="3617" y="554"/>
                  </a:cubicBezTo>
                  <a:cubicBezTo>
                    <a:pt x="3620" y="560"/>
                    <a:pt x="3627" y="564"/>
                    <a:pt x="3634" y="564"/>
                  </a:cubicBezTo>
                  <a:cubicBezTo>
                    <a:pt x="3641" y="564"/>
                    <a:pt x="3645" y="559"/>
                    <a:pt x="3643" y="554"/>
                  </a:cubicBezTo>
                  <a:cubicBezTo>
                    <a:pt x="3640" y="548"/>
                    <a:pt x="3633" y="544"/>
                    <a:pt x="3626" y="544"/>
                  </a:cubicBezTo>
                  <a:cubicBezTo>
                    <a:pt x="3626" y="544"/>
                    <a:pt x="3626" y="544"/>
                    <a:pt x="3626" y="544"/>
                  </a:cubicBezTo>
                  <a:moveTo>
                    <a:pt x="3445" y="544"/>
                  </a:moveTo>
                  <a:cubicBezTo>
                    <a:pt x="3438" y="544"/>
                    <a:pt x="3434" y="548"/>
                    <a:pt x="3435" y="554"/>
                  </a:cubicBezTo>
                  <a:cubicBezTo>
                    <a:pt x="3437" y="560"/>
                    <a:pt x="3445" y="564"/>
                    <a:pt x="3452" y="564"/>
                  </a:cubicBezTo>
                  <a:cubicBezTo>
                    <a:pt x="3459" y="564"/>
                    <a:pt x="3463" y="559"/>
                    <a:pt x="3461" y="554"/>
                  </a:cubicBezTo>
                  <a:cubicBezTo>
                    <a:pt x="3459" y="548"/>
                    <a:pt x="3452" y="544"/>
                    <a:pt x="3445" y="544"/>
                  </a:cubicBezTo>
                  <a:cubicBezTo>
                    <a:pt x="3445" y="544"/>
                    <a:pt x="3445" y="544"/>
                    <a:pt x="3445" y="544"/>
                  </a:cubicBezTo>
                  <a:moveTo>
                    <a:pt x="3662" y="543"/>
                  </a:moveTo>
                  <a:cubicBezTo>
                    <a:pt x="3655" y="543"/>
                    <a:pt x="3651" y="548"/>
                    <a:pt x="3653" y="554"/>
                  </a:cubicBezTo>
                  <a:cubicBezTo>
                    <a:pt x="3656" y="559"/>
                    <a:pt x="3663" y="564"/>
                    <a:pt x="3670" y="564"/>
                  </a:cubicBezTo>
                  <a:cubicBezTo>
                    <a:pt x="3677" y="564"/>
                    <a:pt x="3681" y="559"/>
                    <a:pt x="3679" y="554"/>
                  </a:cubicBezTo>
                  <a:cubicBezTo>
                    <a:pt x="3676" y="548"/>
                    <a:pt x="3669" y="543"/>
                    <a:pt x="3662" y="543"/>
                  </a:cubicBezTo>
                  <a:cubicBezTo>
                    <a:pt x="3662" y="543"/>
                    <a:pt x="3662" y="543"/>
                    <a:pt x="3662" y="543"/>
                  </a:cubicBezTo>
                  <a:moveTo>
                    <a:pt x="3481" y="543"/>
                  </a:moveTo>
                  <a:cubicBezTo>
                    <a:pt x="3474" y="543"/>
                    <a:pt x="3470" y="548"/>
                    <a:pt x="3472" y="554"/>
                  </a:cubicBezTo>
                  <a:cubicBezTo>
                    <a:pt x="3474" y="559"/>
                    <a:pt x="3481" y="564"/>
                    <a:pt x="3488" y="564"/>
                  </a:cubicBezTo>
                  <a:cubicBezTo>
                    <a:pt x="3495" y="564"/>
                    <a:pt x="3499" y="559"/>
                    <a:pt x="3497" y="553"/>
                  </a:cubicBezTo>
                  <a:cubicBezTo>
                    <a:pt x="3495" y="548"/>
                    <a:pt x="3488" y="543"/>
                    <a:pt x="3481" y="543"/>
                  </a:cubicBezTo>
                  <a:cubicBezTo>
                    <a:pt x="3481" y="543"/>
                    <a:pt x="3481" y="543"/>
                    <a:pt x="3481" y="543"/>
                  </a:cubicBezTo>
                  <a:moveTo>
                    <a:pt x="3698" y="543"/>
                  </a:moveTo>
                  <a:cubicBezTo>
                    <a:pt x="3691" y="543"/>
                    <a:pt x="3687" y="548"/>
                    <a:pt x="3690" y="554"/>
                  </a:cubicBezTo>
                  <a:cubicBezTo>
                    <a:pt x="3692" y="559"/>
                    <a:pt x="3700" y="564"/>
                    <a:pt x="3707" y="564"/>
                  </a:cubicBezTo>
                  <a:cubicBezTo>
                    <a:pt x="3714" y="564"/>
                    <a:pt x="3717" y="559"/>
                    <a:pt x="3715" y="553"/>
                  </a:cubicBezTo>
                  <a:cubicBezTo>
                    <a:pt x="3712" y="548"/>
                    <a:pt x="3705" y="543"/>
                    <a:pt x="3698" y="543"/>
                  </a:cubicBezTo>
                  <a:cubicBezTo>
                    <a:pt x="3698" y="543"/>
                    <a:pt x="3698" y="543"/>
                    <a:pt x="3698" y="543"/>
                  </a:cubicBezTo>
                  <a:moveTo>
                    <a:pt x="3517" y="543"/>
                  </a:moveTo>
                  <a:cubicBezTo>
                    <a:pt x="3510" y="543"/>
                    <a:pt x="3506" y="548"/>
                    <a:pt x="3508" y="553"/>
                  </a:cubicBezTo>
                  <a:cubicBezTo>
                    <a:pt x="3510" y="559"/>
                    <a:pt x="3517" y="564"/>
                    <a:pt x="3524" y="564"/>
                  </a:cubicBezTo>
                  <a:cubicBezTo>
                    <a:pt x="3531" y="564"/>
                    <a:pt x="3535" y="559"/>
                    <a:pt x="3533" y="553"/>
                  </a:cubicBezTo>
                  <a:cubicBezTo>
                    <a:pt x="3531" y="548"/>
                    <a:pt x="3524" y="543"/>
                    <a:pt x="3517" y="543"/>
                  </a:cubicBezTo>
                  <a:cubicBezTo>
                    <a:pt x="3517" y="543"/>
                    <a:pt x="3517" y="543"/>
                    <a:pt x="3517" y="543"/>
                  </a:cubicBezTo>
                  <a:moveTo>
                    <a:pt x="3736" y="543"/>
                  </a:moveTo>
                  <a:cubicBezTo>
                    <a:pt x="3729" y="543"/>
                    <a:pt x="3726" y="548"/>
                    <a:pt x="3728" y="553"/>
                  </a:cubicBezTo>
                  <a:cubicBezTo>
                    <a:pt x="3731" y="559"/>
                    <a:pt x="3738" y="564"/>
                    <a:pt x="3745" y="563"/>
                  </a:cubicBezTo>
                  <a:cubicBezTo>
                    <a:pt x="3752" y="563"/>
                    <a:pt x="3756" y="559"/>
                    <a:pt x="3753" y="553"/>
                  </a:cubicBezTo>
                  <a:cubicBezTo>
                    <a:pt x="3751" y="547"/>
                    <a:pt x="3743" y="543"/>
                    <a:pt x="3736" y="543"/>
                  </a:cubicBezTo>
                  <a:cubicBezTo>
                    <a:pt x="3736" y="543"/>
                    <a:pt x="3736" y="543"/>
                    <a:pt x="3736" y="543"/>
                  </a:cubicBezTo>
                  <a:moveTo>
                    <a:pt x="3553" y="543"/>
                  </a:moveTo>
                  <a:cubicBezTo>
                    <a:pt x="3546" y="543"/>
                    <a:pt x="3542" y="548"/>
                    <a:pt x="3544" y="553"/>
                  </a:cubicBezTo>
                  <a:cubicBezTo>
                    <a:pt x="3546" y="559"/>
                    <a:pt x="3554" y="563"/>
                    <a:pt x="3561" y="563"/>
                  </a:cubicBezTo>
                  <a:cubicBezTo>
                    <a:pt x="3568" y="563"/>
                    <a:pt x="3572" y="559"/>
                    <a:pt x="3569" y="553"/>
                  </a:cubicBezTo>
                  <a:cubicBezTo>
                    <a:pt x="3567" y="547"/>
                    <a:pt x="3560" y="543"/>
                    <a:pt x="3553" y="543"/>
                  </a:cubicBezTo>
                  <a:cubicBezTo>
                    <a:pt x="3553" y="543"/>
                    <a:pt x="3553" y="543"/>
                    <a:pt x="3553" y="543"/>
                  </a:cubicBezTo>
                  <a:moveTo>
                    <a:pt x="3772" y="543"/>
                  </a:moveTo>
                  <a:cubicBezTo>
                    <a:pt x="3765" y="543"/>
                    <a:pt x="3761" y="547"/>
                    <a:pt x="3764" y="553"/>
                  </a:cubicBezTo>
                  <a:cubicBezTo>
                    <a:pt x="3766" y="559"/>
                    <a:pt x="3774" y="563"/>
                    <a:pt x="3781" y="563"/>
                  </a:cubicBezTo>
                  <a:cubicBezTo>
                    <a:pt x="3788" y="563"/>
                    <a:pt x="3792" y="559"/>
                    <a:pt x="3789" y="553"/>
                  </a:cubicBezTo>
                  <a:cubicBezTo>
                    <a:pt x="3786" y="547"/>
                    <a:pt x="3779" y="543"/>
                    <a:pt x="3772" y="543"/>
                  </a:cubicBezTo>
                  <a:cubicBezTo>
                    <a:pt x="3772" y="543"/>
                    <a:pt x="3772" y="543"/>
                    <a:pt x="3772" y="543"/>
                  </a:cubicBezTo>
                  <a:moveTo>
                    <a:pt x="3589" y="543"/>
                  </a:moveTo>
                  <a:cubicBezTo>
                    <a:pt x="3582" y="543"/>
                    <a:pt x="3578" y="547"/>
                    <a:pt x="3581" y="553"/>
                  </a:cubicBezTo>
                  <a:cubicBezTo>
                    <a:pt x="3583" y="559"/>
                    <a:pt x="3590" y="563"/>
                    <a:pt x="3597" y="563"/>
                  </a:cubicBezTo>
                  <a:cubicBezTo>
                    <a:pt x="3604" y="563"/>
                    <a:pt x="3608" y="558"/>
                    <a:pt x="3606" y="553"/>
                  </a:cubicBezTo>
                  <a:cubicBezTo>
                    <a:pt x="3604" y="547"/>
                    <a:pt x="3596" y="543"/>
                    <a:pt x="3589" y="543"/>
                  </a:cubicBezTo>
                  <a:cubicBezTo>
                    <a:pt x="3589" y="543"/>
                    <a:pt x="3589" y="543"/>
                    <a:pt x="3589" y="543"/>
                  </a:cubicBezTo>
                  <a:moveTo>
                    <a:pt x="3808" y="542"/>
                  </a:moveTo>
                  <a:cubicBezTo>
                    <a:pt x="3801" y="543"/>
                    <a:pt x="3797" y="547"/>
                    <a:pt x="3800" y="553"/>
                  </a:cubicBezTo>
                  <a:cubicBezTo>
                    <a:pt x="3802" y="559"/>
                    <a:pt x="3810" y="563"/>
                    <a:pt x="3817" y="563"/>
                  </a:cubicBezTo>
                  <a:cubicBezTo>
                    <a:pt x="3824" y="563"/>
                    <a:pt x="3828" y="558"/>
                    <a:pt x="3825" y="553"/>
                  </a:cubicBezTo>
                  <a:cubicBezTo>
                    <a:pt x="3822" y="547"/>
                    <a:pt x="3815" y="542"/>
                    <a:pt x="3808" y="542"/>
                  </a:cubicBezTo>
                  <a:cubicBezTo>
                    <a:pt x="3808" y="542"/>
                    <a:pt x="3808" y="542"/>
                    <a:pt x="3808" y="542"/>
                  </a:cubicBezTo>
                  <a:moveTo>
                    <a:pt x="3844" y="542"/>
                  </a:moveTo>
                  <a:cubicBezTo>
                    <a:pt x="3837" y="542"/>
                    <a:pt x="3833" y="547"/>
                    <a:pt x="3836" y="553"/>
                  </a:cubicBezTo>
                  <a:cubicBezTo>
                    <a:pt x="3839" y="558"/>
                    <a:pt x="3847" y="563"/>
                    <a:pt x="3854" y="563"/>
                  </a:cubicBezTo>
                  <a:cubicBezTo>
                    <a:pt x="3861" y="563"/>
                    <a:pt x="3864" y="558"/>
                    <a:pt x="3861" y="552"/>
                  </a:cubicBezTo>
                  <a:cubicBezTo>
                    <a:pt x="3859" y="547"/>
                    <a:pt x="3851" y="542"/>
                    <a:pt x="3844" y="542"/>
                  </a:cubicBezTo>
                  <a:cubicBezTo>
                    <a:pt x="3844" y="542"/>
                    <a:pt x="3844" y="542"/>
                    <a:pt x="3844" y="542"/>
                  </a:cubicBezTo>
                  <a:moveTo>
                    <a:pt x="3880" y="542"/>
                  </a:moveTo>
                  <a:cubicBezTo>
                    <a:pt x="3873" y="542"/>
                    <a:pt x="3870" y="547"/>
                    <a:pt x="3873" y="552"/>
                  </a:cubicBezTo>
                  <a:cubicBezTo>
                    <a:pt x="3875" y="558"/>
                    <a:pt x="3883" y="563"/>
                    <a:pt x="3890" y="563"/>
                  </a:cubicBezTo>
                  <a:cubicBezTo>
                    <a:pt x="3897" y="563"/>
                    <a:pt x="3901" y="558"/>
                    <a:pt x="3898" y="552"/>
                  </a:cubicBezTo>
                  <a:cubicBezTo>
                    <a:pt x="3895" y="547"/>
                    <a:pt x="3887" y="542"/>
                    <a:pt x="3880" y="542"/>
                  </a:cubicBezTo>
                  <a:cubicBezTo>
                    <a:pt x="3880" y="542"/>
                    <a:pt x="3880" y="542"/>
                    <a:pt x="3880" y="542"/>
                  </a:cubicBezTo>
                  <a:moveTo>
                    <a:pt x="3916" y="542"/>
                  </a:moveTo>
                  <a:cubicBezTo>
                    <a:pt x="3909" y="542"/>
                    <a:pt x="3906" y="546"/>
                    <a:pt x="3909" y="552"/>
                  </a:cubicBezTo>
                  <a:cubicBezTo>
                    <a:pt x="3911" y="558"/>
                    <a:pt x="3919" y="562"/>
                    <a:pt x="3926" y="562"/>
                  </a:cubicBezTo>
                  <a:cubicBezTo>
                    <a:pt x="3933" y="562"/>
                    <a:pt x="3937" y="558"/>
                    <a:pt x="3934" y="552"/>
                  </a:cubicBezTo>
                  <a:cubicBezTo>
                    <a:pt x="3931" y="546"/>
                    <a:pt x="3923" y="542"/>
                    <a:pt x="3916" y="542"/>
                  </a:cubicBezTo>
                  <a:cubicBezTo>
                    <a:pt x="3916" y="542"/>
                    <a:pt x="3916" y="542"/>
                    <a:pt x="3916" y="542"/>
                  </a:cubicBezTo>
                  <a:moveTo>
                    <a:pt x="3988" y="541"/>
                  </a:moveTo>
                  <a:cubicBezTo>
                    <a:pt x="3981" y="541"/>
                    <a:pt x="3978" y="546"/>
                    <a:pt x="3981" y="552"/>
                  </a:cubicBezTo>
                  <a:cubicBezTo>
                    <a:pt x="3984" y="557"/>
                    <a:pt x="3992" y="562"/>
                    <a:pt x="3999" y="562"/>
                  </a:cubicBezTo>
                  <a:cubicBezTo>
                    <a:pt x="4006" y="562"/>
                    <a:pt x="4009" y="557"/>
                    <a:pt x="4006" y="552"/>
                  </a:cubicBezTo>
                  <a:cubicBezTo>
                    <a:pt x="4003" y="546"/>
                    <a:pt x="3995" y="541"/>
                    <a:pt x="3988" y="541"/>
                  </a:cubicBezTo>
                  <a:cubicBezTo>
                    <a:pt x="3988" y="541"/>
                    <a:pt x="3988" y="541"/>
                    <a:pt x="3988" y="541"/>
                  </a:cubicBezTo>
                  <a:moveTo>
                    <a:pt x="4203" y="537"/>
                  </a:moveTo>
                  <a:cubicBezTo>
                    <a:pt x="4196" y="537"/>
                    <a:pt x="4193" y="541"/>
                    <a:pt x="4196" y="547"/>
                  </a:cubicBezTo>
                  <a:cubicBezTo>
                    <a:pt x="4200" y="553"/>
                    <a:pt x="4208" y="557"/>
                    <a:pt x="4215" y="557"/>
                  </a:cubicBezTo>
                  <a:cubicBezTo>
                    <a:pt x="4222" y="557"/>
                    <a:pt x="4225" y="553"/>
                    <a:pt x="4222" y="547"/>
                  </a:cubicBezTo>
                  <a:cubicBezTo>
                    <a:pt x="4218" y="541"/>
                    <a:pt x="4210" y="537"/>
                    <a:pt x="4203" y="537"/>
                  </a:cubicBezTo>
                  <a:cubicBezTo>
                    <a:pt x="4203" y="537"/>
                    <a:pt x="4203" y="537"/>
                    <a:pt x="4203" y="537"/>
                  </a:cubicBezTo>
                  <a:moveTo>
                    <a:pt x="174" y="535"/>
                  </a:moveTo>
                  <a:cubicBezTo>
                    <a:pt x="167" y="535"/>
                    <a:pt x="157" y="540"/>
                    <a:pt x="152" y="545"/>
                  </a:cubicBezTo>
                  <a:cubicBezTo>
                    <a:pt x="148" y="551"/>
                    <a:pt x="150" y="555"/>
                    <a:pt x="157" y="555"/>
                  </a:cubicBezTo>
                  <a:cubicBezTo>
                    <a:pt x="164" y="555"/>
                    <a:pt x="173" y="551"/>
                    <a:pt x="178" y="545"/>
                  </a:cubicBezTo>
                  <a:cubicBezTo>
                    <a:pt x="182" y="540"/>
                    <a:pt x="180" y="535"/>
                    <a:pt x="174" y="535"/>
                  </a:cubicBezTo>
                  <a:cubicBezTo>
                    <a:pt x="174" y="535"/>
                    <a:pt x="174" y="535"/>
                    <a:pt x="174" y="535"/>
                  </a:cubicBezTo>
                  <a:moveTo>
                    <a:pt x="209" y="535"/>
                  </a:moveTo>
                  <a:cubicBezTo>
                    <a:pt x="202" y="535"/>
                    <a:pt x="193" y="539"/>
                    <a:pt x="188" y="545"/>
                  </a:cubicBezTo>
                  <a:cubicBezTo>
                    <a:pt x="184" y="551"/>
                    <a:pt x="186" y="555"/>
                    <a:pt x="193" y="555"/>
                  </a:cubicBezTo>
                  <a:cubicBezTo>
                    <a:pt x="200" y="555"/>
                    <a:pt x="209" y="550"/>
                    <a:pt x="214" y="545"/>
                  </a:cubicBezTo>
                  <a:cubicBezTo>
                    <a:pt x="218" y="539"/>
                    <a:pt x="216" y="535"/>
                    <a:pt x="209" y="535"/>
                  </a:cubicBezTo>
                  <a:cubicBezTo>
                    <a:pt x="209" y="535"/>
                    <a:pt x="209" y="535"/>
                    <a:pt x="209" y="535"/>
                  </a:cubicBezTo>
                  <a:moveTo>
                    <a:pt x="247" y="535"/>
                  </a:moveTo>
                  <a:cubicBezTo>
                    <a:pt x="240" y="535"/>
                    <a:pt x="230" y="539"/>
                    <a:pt x="226" y="545"/>
                  </a:cubicBezTo>
                  <a:cubicBezTo>
                    <a:pt x="221" y="550"/>
                    <a:pt x="223" y="555"/>
                    <a:pt x="230" y="555"/>
                  </a:cubicBezTo>
                  <a:cubicBezTo>
                    <a:pt x="237" y="555"/>
                    <a:pt x="247" y="550"/>
                    <a:pt x="251" y="545"/>
                  </a:cubicBezTo>
                  <a:cubicBezTo>
                    <a:pt x="256" y="539"/>
                    <a:pt x="254" y="535"/>
                    <a:pt x="247" y="535"/>
                  </a:cubicBezTo>
                  <a:cubicBezTo>
                    <a:pt x="247" y="535"/>
                    <a:pt x="247" y="535"/>
                    <a:pt x="247" y="535"/>
                  </a:cubicBezTo>
                  <a:moveTo>
                    <a:pt x="282" y="534"/>
                  </a:moveTo>
                  <a:cubicBezTo>
                    <a:pt x="276" y="534"/>
                    <a:pt x="266" y="539"/>
                    <a:pt x="262" y="545"/>
                  </a:cubicBezTo>
                  <a:cubicBezTo>
                    <a:pt x="257" y="550"/>
                    <a:pt x="259" y="555"/>
                    <a:pt x="266" y="555"/>
                  </a:cubicBezTo>
                  <a:cubicBezTo>
                    <a:pt x="273" y="555"/>
                    <a:pt x="283" y="550"/>
                    <a:pt x="287" y="544"/>
                  </a:cubicBezTo>
                  <a:cubicBezTo>
                    <a:pt x="291" y="539"/>
                    <a:pt x="289" y="534"/>
                    <a:pt x="283" y="534"/>
                  </a:cubicBezTo>
                  <a:cubicBezTo>
                    <a:pt x="283" y="534"/>
                    <a:pt x="282" y="534"/>
                    <a:pt x="282" y="534"/>
                  </a:cubicBezTo>
                  <a:moveTo>
                    <a:pt x="318" y="534"/>
                  </a:moveTo>
                  <a:cubicBezTo>
                    <a:pt x="311" y="534"/>
                    <a:pt x="302" y="539"/>
                    <a:pt x="298" y="544"/>
                  </a:cubicBezTo>
                  <a:cubicBezTo>
                    <a:pt x="293" y="550"/>
                    <a:pt x="296" y="554"/>
                    <a:pt x="303" y="554"/>
                  </a:cubicBezTo>
                  <a:cubicBezTo>
                    <a:pt x="310" y="554"/>
                    <a:pt x="319" y="550"/>
                    <a:pt x="323" y="544"/>
                  </a:cubicBezTo>
                  <a:cubicBezTo>
                    <a:pt x="327" y="539"/>
                    <a:pt x="325" y="534"/>
                    <a:pt x="319" y="534"/>
                  </a:cubicBezTo>
                  <a:cubicBezTo>
                    <a:pt x="318" y="534"/>
                    <a:pt x="318" y="534"/>
                    <a:pt x="318" y="534"/>
                  </a:cubicBezTo>
                  <a:moveTo>
                    <a:pt x="354" y="534"/>
                  </a:moveTo>
                  <a:cubicBezTo>
                    <a:pt x="347" y="534"/>
                    <a:pt x="338" y="538"/>
                    <a:pt x="334" y="544"/>
                  </a:cubicBezTo>
                  <a:cubicBezTo>
                    <a:pt x="329" y="550"/>
                    <a:pt x="332" y="554"/>
                    <a:pt x="339" y="554"/>
                  </a:cubicBezTo>
                  <a:cubicBezTo>
                    <a:pt x="346" y="554"/>
                    <a:pt x="355" y="550"/>
                    <a:pt x="359" y="544"/>
                  </a:cubicBezTo>
                  <a:cubicBezTo>
                    <a:pt x="363" y="538"/>
                    <a:pt x="361" y="534"/>
                    <a:pt x="354" y="534"/>
                  </a:cubicBezTo>
                  <a:cubicBezTo>
                    <a:pt x="354" y="534"/>
                    <a:pt x="354" y="534"/>
                    <a:pt x="354" y="534"/>
                  </a:cubicBezTo>
                  <a:moveTo>
                    <a:pt x="390" y="534"/>
                  </a:moveTo>
                  <a:cubicBezTo>
                    <a:pt x="383" y="534"/>
                    <a:pt x="374" y="538"/>
                    <a:pt x="370" y="544"/>
                  </a:cubicBezTo>
                  <a:cubicBezTo>
                    <a:pt x="366" y="549"/>
                    <a:pt x="368" y="554"/>
                    <a:pt x="375" y="554"/>
                  </a:cubicBezTo>
                  <a:cubicBezTo>
                    <a:pt x="382" y="554"/>
                    <a:pt x="391" y="549"/>
                    <a:pt x="395" y="544"/>
                  </a:cubicBezTo>
                  <a:cubicBezTo>
                    <a:pt x="399" y="538"/>
                    <a:pt x="397" y="534"/>
                    <a:pt x="390" y="534"/>
                  </a:cubicBezTo>
                  <a:cubicBezTo>
                    <a:pt x="390" y="534"/>
                    <a:pt x="390" y="534"/>
                    <a:pt x="390" y="534"/>
                  </a:cubicBezTo>
                  <a:moveTo>
                    <a:pt x="427" y="533"/>
                  </a:moveTo>
                  <a:cubicBezTo>
                    <a:pt x="420" y="533"/>
                    <a:pt x="411" y="538"/>
                    <a:pt x="407" y="544"/>
                  </a:cubicBezTo>
                  <a:cubicBezTo>
                    <a:pt x="403" y="549"/>
                    <a:pt x="405" y="554"/>
                    <a:pt x="412" y="554"/>
                  </a:cubicBezTo>
                  <a:cubicBezTo>
                    <a:pt x="419" y="554"/>
                    <a:pt x="428" y="549"/>
                    <a:pt x="432" y="543"/>
                  </a:cubicBezTo>
                  <a:cubicBezTo>
                    <a:pt x="436" y="538"/>
                    <a:pt x="434" y="533"/>
                    <a:pt x="427" y="533"/>
                  </a:cubicBezTo>
                  <a:cubicBezTo>
                    <a:pt x="427" y="533"/>
                    <a:pt x="427" y="533"/>
                    <a:pt x="427" y="533"/>
                  </a:cubicBezTo>
                  <a:moveTo>
                    <a:pt x="463" y="533"/>
                  </a:moveTo>
                  <a:cubicBezTo>
                    <a:pt x="456" y="533"/>
                    <a:pt x="447" y="538"/>
                    <a:pt x="443" y="543"/>
                  </a:cubicBezTo>
                  <a:cubicBezTo>
                    <a:pt x="439" y="549"/>
                    <a:pt x="441" y="553"/>
                    <a:pt x="448" y="553"/>
                  </a:cubicBezTo>
                  <a:cubicBezTo>
                    <a:pt x="455" y="553"/>
                    <a:pt x="464" y="549"/>
                    <a:pt x="468" y="543"/>
                  </a:cubicBezTo>
                  <a:cubicBezTo>
                    <a:pt x="472" y="538"/>
                    <a:pt x="470" y="533"/>
                    <a:pt x="463" y="533"/>
                  </a:cubicBezTo>
                  <a:cubicBezTo>
                    <a:pt x="463" y="533"/>
                    <a:pt x="463" y="533"/>
                    <a:pt x="463" y="533"/>
                  </a:cubicBezTo>
                  <a:moveTo>
                    <a:pt x="499" y="533"/>
                  </a:moveTo>
                  <a:cubicBezTo>
                    <a:pt x="492" y="533"/>
                    <a:pt x="483" y="538"/>
                    <a:pt x="479" y="543"/>
                  </a:cubicBezTo>
                  <a:cubicBezTo>
                    <a:pt x="475" y="549"/>
                    <a:pt x="477" y="553"/>
                    <a:pt x="484" y="553"/>
                  </a:cubicBezTo>
                  <a:cubicBezTo>
                    <a:pt x="491" y="553"/>
                    <a:pt x="500" y="549"/>
                    <a:pt x="504" y="543"/>
                  </a:cubicBezTo>
                  <a:cubicBezTo>
                    <a:pt x="508" y="537"/>
                    <a:pt x="506" y="533"/>
                    <a:pt x="499" y="533"/>
                  </a:cubicBezTo>
                  <a:cubicBezTo>
                    <a:pt x="499" y="533"/>
                    <a:pt x="499" y="533"/>
                    <a:pt x="499" y="533"/>
                  </a:cubicBezTo>
                  <a:moveTo>
                    <a:pt x="535" y="533"/>
                  </a:moveTo>
                  <a:cubicBezTo>
                    <a:pt x="528" y="533"/>
                    <a:pt x="520" y="537"/>
                    <a:pt x="516" y="543"/>
                  </a:cubicBezTo>
                  <a:cubicBezTo>
                    <a:pt x="512" y="549"/>
                    <a:pt x="514" y="553"/>
                    <a:pt x="521" y="553"/>
                  </a:cubicBezTo>
                  <a:cubicBezTo>
                    <a:pt x="528" y="553"/>
                    <a:pt x="537" y="548"/>
                    <a:pt x="541" y="543"/>
                  </a:cubicBezTo>
                  <a:cubicBezTo>
                    <a:pt x="545" y="537"/>
                    <a:pt x="542" y="533"/>
                    <a:pt x="535" y="533"/>
                  </a:cubicBezTo>
                  <a:cubicBezTo>
                    <a:pt x="535" y="533"/>
                    <a:pt x="535" y="533"/>
                    <a:pt x="535" y="533"/>
                  </a:cubicBezTo>
                  <a:moveTo>
                    <a:pt x="571" y="532"/>
                  </a:moveTo>
                  <a:cubicBezTo>
                    <a:pt x="564" y="533"/>
                    <a:pt x="555" y="537"/>
                    <a:pt x="551" y="543"/>
                  </a:cubicBezTo>
                  <a:cubicBezTo>
                    <a:pt x="548" y="548"/>
                    <a:pt x="550" y="553"/>
                    <a:pt x="557" y="553"/>
                  </a:cubicBezTo>
                  <a:cubicBezTo>
                    <a:pt x="564" y="553"/>
                    <a:pt x="573" y="548"/>
                    <a:pt x="577" y="543"/>
                  </a:cubicBezTo>
                  <a:cubicBezTo>
                    <a:pt x="581" y="537"/>
                    <a:pt x="578" y="532"/>
                    <a:pt x="571" y="532"/>
                  </a:cubicBezTo>
                  <a:cubicBezTo>
                    <a:pt x="571" y="532"/>
                    <a:pt x="571" y="532"/>
                    <a:pt x="571" y="532"/>
                  </a:cubicBezTo>
                  <a:moveTo>
                    <a:pt x="607" y="532"/>
                  </a:moveTo>
                  <a:cubicBezTo>
                    <a:pt x="600" y="532"/>
                    <a:pt x="591" y="537"/>
                    <a:pt x="588" y="542"/>
                  </a:cubicBezTo>
                  <a:cubicBezTo>
                    <a:pt x="584" y="548"/>
                    <a:pt x="586" y="553"/>
                    <a:pt x="593" y="553"/>
                  </a:cubicBezTo>
                  <a:cubicBezTo>
                    <a:pt x="600" y="552"/>
                    <a:pt x="609" y="548"/>
                    <a:pt x="613" y="542"/>
                  </a:cubicBezTo>
                  <a:cubicBezTo>
                    <a:pt x="616" y="537"/>
                    <a:pt x="614" y="532"/>
                    <a:pt x="607" y="532"/>
                  </a:cubicBezTo>
                  <a:cubicBezTo>
                    <a:pt x="607" y="532"/>
                    <a:pt x="607" y="532"/>
                    <a:pt x="607" y="532"/>
                  </a:cubicBezTo>
                  <a:moveTo>
                    <a:pt x="643" y="532"/>
                  </a:moveTo>
                  <a:cubicBezTo>
                    <a:pt x="636" y="532"/>
                    <a:pt x="627" y="537"/>
                    <a:pt x="623" y="542"/>
                  </a:cubicBezTo>
                  <a:cubicBezTo>
                    <a:pt x="620" y="548"/>
                    <a:pt x="622" y="552"/>
                    <a:pt x="629" y="552"/>
                  </a:cubicBezTo>
                  <a:cubicBezTo>
                    <a:pt x="636" y="552"/>
                    <a:pt x="645" y="548"/>
                    <a:pt x="649" y="542"/>
                  </a:cubicBezTo>
                  <a:cubicBezTo>
                    <a:pt x="652" y="537"/>
                    <a:pt x="650" y="532"/>
                    <a:pt x="643" y="532"/>
                  </a:cubicBezTo>
                  <a:cubicBezTo>
                    <a:pt x="643" y="532"/>
                    <a:pt x="643" y="532"/>
                    <a:pt x="643" y="532"/>
                  </a:cubicBezTo>
                  <a:moveTo>
                    <a:pt x="679" y="532"/>
                  </a:moveTo>
                  <a:cubicBezTo>
                    <a:pt x="672" y="532"/>
                    <a:pt x="663" y="536"/>
                    <a:pt x="659" y="542"/>
                  </a:cubicBezTo>
                  <a:cubicBezTo>
                    <a:pt x="656" y="548"/>
                    <a:pt x="658" y="552"/>
                    <a:pt x="665" y="552"/>
                  </a:cubicBezTo>
                  <a:cubicBezTo>
                    <a:pt x="672" y="552"/>
                    <a:pt x="681" y="547"/>
                    <a:pt x="685" y="542"/>
                  </a:cubicBezTo>
                  <a:cubicBezTo>
                    <a:pt x="688" y="536"/>
                    <a:pt x="686" y="532"/>
                    <a:pt x="679" y="532"/>
                  </a:cubicBezTo>
                  <a:cubicBezTo>
                    <a:pt x="679" y="532"/>
                    <a:pt x="679" y="532"/>
                    <a:pt x="679" y="532"/>
                  </a:cubicBezTo>
                  <a:moveTo>
                    <a:pt x="715" y="532"/>
                  </a:moveTo>
                  <a:cubicBezTo>
                    <a:pt x="708" y="532"/>
                    <a:pt x="700" y="536"/>
                    <a:pt x="696" y="542"/>
                  </a:cubicBezTo>
                  <a:cubicBezTo>
                    <a:pt x="692" y="547"/>
                    <a:pt x="695" y="552"/>
                    <a:pt x="702" y="552"/>
                  </a:cubicBezTo>
                  <a:cubicBezTo>
                    <a:pt x="709" y="552"/>
                    <a:pt x="718" y="547"/>
                    <a:pt x="721" y="542"/>
                  </a:cubicBezTo>
                  <a:cubicBezTo>
                    <a:pt x="725" y="536"/>
                    <a:pt x="722" y="532"/>
                    <a:pt x="715" y="532"/>
                  </a:cubicBezTo>
                  <a:cubicBezTo>
                    <a:pt x="715" y="532"/>
                    <a:pt x="715" y="532"/>
                    <a:pt x="715" y="532"/>
                  </a:cubicBezTo>
                  <a:moveTo>
                    <a:pt x="751" y="531"/>
                  </a:moveTo>
                  <a:cubicBezTo>
                    <a:pt x="744" y="531"/>
                    <a:pt x="735" y="536"/>
                    <a:pt x="732" y="542"/>
                  </a:cubicBezTo>
                  <a:cubicBezTo>
                    <a:pt x="728" y="547"/>
                    <a:pt x="731" y="552"/>
                    <a:pt x="738" y="552"/>
                  </a:cubicBezTo>
                  <a:cubicBezTo>
                    <a:pt x="745" y="552"/>
                    <a:pt x="754" y="547"/>
                    <a:pt x="757" y="541"/>
                  </a:cubicBezTo>
                  <a:cubicBezTo>
                    <a:pt x="760" y="536"/>
                    <a:pt x="758" y="531"/>
                    <a:pt x="751" y="531"/>
                  </a:cubicBezTo>
                  <a:cubicBezTo>
                    <a:pt x="751" y="531"/>
                    <a:pt x="751" y="531"/>
                    <a:pt x="751" y="531"/>
                  </a:cubicBezTo>
                  <a:moveTo>
                    <a:pt x="785" y="531"/>
                  </a:moveTo>
                  <a:cubicBezTo>
                    <a:pt x="778" y="531"/>
                    <a:pt x="769" y="536"/>
                    <a:pt x="766" y="541"/>
                  </a:cubicBezTo>
                  <a:cubicBezTo>
                    <a:pt x="762" y="547"/>
                    <a:pt x="765" y="551"/>
                    <a:pt x="772" y="551"/>
                  </a:cubicBezTo>
                  <a:cubicBezTo>
                    <a:pt x="779" y="551"/>
                    <a:pt x="788" y="547"/>
                    <a:pt x="791" y="541"/>
                  </a:cubicBezTo>
                  <a:cubicBezTo>
                    <a:pt x="795" y="536"/>
                    <a:pt x="792" y="531"/>
                    <a:pt x="785" y="531"/>
                  </a:cubicBezTo>
                  <a:cubicBezTo>
                    <a:pt x="785" y="531"/>
                    <a:pt x="785" y="531"/>
                    <a:pt x="785" y="531"/>
                  </a:cubicBezTo>
                  <a:moveTo>
                    <a:pt x="821" y="531"/>
                  </a:moveTo>
                  <a:cubicBezTo>
                    <a:pt x="814" y="531"/>
                    <a:pt x="806" y="536"/>
                    <a:pt x="802" y="541"/>
                  </a:cubicBezTo>
                  <a:cubicBezTo>
                    <a:pt x="799" y="547"/>
                    <a:pt x="802" y="551"/>
                    <a:pt x="809" y="551"/>
                  </a:cubicBezTo>
                  <a:cubicBezTo>
                    <a:pt x="816" y="551"/>
                    <a:pt x="824" y="547"/>
                    <a:pt x="828" y="541"/>
                  </a:cubicBezTo>
                  <a:cubicBezTo>
                    <a:pt x="831" y="535"/>
                    <a:pt x="828" y="531"/>
                    <a:pt x="821" y="531"/>
                  </a:cubicBezTo>
                  <a:cubicBezTo>
                    <a:pt x="821" y="531"/>
                    <a:pt x="821" y="531"/>
                    <a:pt x="821" y="531"/>
                  </a:cubicBezTo>
                  <a:moveTo>
                    <a:pt x="857" y="531"/>
                  </a:moveTo>
                  <a:cubicBezTo>
                    <a:pt x="850" y="531"/>
                    <a:pt x="842" y="535"/>
                    <a:pt x="838" y="541"/>
                  </a:cubicBezTo>
                  <a:cubicBezTo>
                    <a:pt x="835" y="547"/>
                    <a:pt x="838" y="551"/>
                    <a:pt x="845" y="551"/>
                  </a:cubicBezTo>
                  <a:cubicBezTo>
                    <a:pt x="852" y="551"/>
                    <a:pt x="860" y="546"/>
                    <a:pt x="863" y="541"/>
                  </a:cubicBezTo>
                  <a:cubicBezTo>
                    <a:pt x="867" y="535"/>
                    <a:pt x="864" y="531"/>
                    <a:pt x="857" y="531"/>
                  </a:cubicBezTo>
                  <a:cubicBezTo>
                    <a:pt x="857" y="531"/>
                    <a:pt x="857" y="531"/>
                    <a:pt x="857" y="531"/>
                  </a:cubicBezTo>
                  <a:moveTo>
                    <a:pt x="893" y="530"/>
                  </a:moveTo>
                  <a:cubicBezTo>
                    <a:pt x="886" y="530"/>
                    <a:pt x="877" y="535"/>
                    <a:pt x="874" y="541"/>
                  </a:cubicBezTo>
                  <a:cubicBezTo>
                    <a:pt x="871" y="546"/>
                    <a:pt x="874" y="551"/>
                    <a:pt x="881" y="551"/>
                  </a:cubicBezTo>
                  <a:cubicBezTo>
                    <a:pt x="888" y="551"/>
                    <a:pt x="896" y="546"/>
                    <a:pt x="899" y="541"/>
                  </a:cubicBezTo>
                  <a:cubicBezTo>
                    <a:pt x="903" y="535"/>
                    <a:pt x="900" y="530"/>
                    <a:pt x="893" y="530"/>
                  </a:cubicBezTo>
                  <a:cubicBezTo>
                    <a:pt x="893" y="530"/>
                    <a:pt x="893" y="530"/>
                    <a:pt x="893" y="530"/>
                  </a:cubicBezTo>
                  <a:moveTo>
                    <a:pt x="928" y="530"/>
                  </a:moveTo>
                  <a:cubicBezTo>
                    <a:pt x="921" y="530"/>
                    <a:pt x="913" y="535"/>
                    <a:pt x="910" y="540"/>
                  </a:cubicBezTo>
                  <a:cubicBezTo>
                    <a:pt x="907" y="546"/>
                    <a:pt x="910" y="551"/>
                    <a:pt x="917" y="551"/>
                  </a:cubicBezTo>
                  <a:cubicBezTo>
                    <a:pt x="924" y="550"/>
                    <a:pt x="932" y="546"/>
                    <a:pt x="935" y="540"/>
                  </a:cubicBezTo>
                  <a:cubicBezTo>
                    <a:pt x="938" y="535"/>
                    <a:pt x="935" y="530"/>
                    <a:pt x="928" y="530"/>
                  </a:cubicBezTo>
                  <a:cubicBezTo>
                    <a:pt x="928" y="530"/>
                    <a:pt x="928" y="530"/>
                    <a:pt x="928" y="530"/>
                  </a:cubicBezTo>
                  <a:moveTo>
                    <a:pt x="1933" y="523"/>
                  </a:moveTo>
                  <a:cubicBezTo>
                    <a:pt x="1926" y="523"/>
                    <a:pt x="1919" y="528"/>
                    <a:pt x="1918" y="534"/>
                  </a:cubicBezTo>
                  <a:cubicBezTo>
                    <a:pt x="1917" y="539"/>
                    <a:pt x="1921" y="544"/>
                    <a:pt x="1928" y="544"/>
                  </a:cubicBezTo>
                  <a:cubicBezTo>
                    <a:pt x="1935" y="544"/>
                    <a:pt x="1942" y="539"/>
                    <a:pt x="1943" y="534"/>
                  </a:cubicBezTo>
                  <a:cubicBezTo>
                    <a:pt x="1944" y="528"/>
                    <a:pt x="1940" y="523"/>
                    <a:pt x="1933" y="523"/>
                  </a:cubicBezTo>
                  <a:cubicBezTo>
                    <a:pt x="1933" y="523"/>
                    <a:pt x="1933" y="523"/>
                    <a:pt x="1933" y="523"/>
                  </a:cubicBezTo>
                  <a:moveTo>
                    <a:pt x="1968" y="523"/>
                  </a:moveTo>
                  <a:cubicBezTo>
                    <a:pt x="1961" y="523"/>
                    <a:pt x="1955" y="528"/>
                    <a:pt x="1954" y="533"/>
                  </a:cubicBezTo>
                  <a:cubicBezTo>
                    <a:pt x="1953" y="539"/>
                    <a:pt x="1957" y="544"/>
                    <a:pt x="1964" y="544"/>
                  </a:cubicBezTo>
                  <a:cubicBezTo>
                    <a:pt x="1971" y="544"/>
                    <a:pt x="1978" y="539"/>
                    <a:pt x="1979" y="533"/>
                  </a:cubicBezTo>
                  <a:cubicBezTo>
                    <a:pt x="1980" y="528"/>
                    <a:pt x="1975" y="523"/>
                    <a:pt x="1968" y="523"/>
                  </a:cubicBezTo>
                  <a:cubicBezTo>
                    <a:pt x="1968" y="523"/>
                    <a:pt x="1968" y="523"/>
                    <a:pt x="1968" y="523"/>
                  </a:cubicBezTo>
                  <a:moveTo>
                    <a:pt x="2004" y="523"/>
                  </a:moveTo>
                  <a:cubicBezTo>
                    <a:pt x="1997" y="523"/>
                    <a:pt x="1991" y="528"/>
                    <a:pt x="1990" y="533"/>
                  </a:cubicBezTo>
                  <a:cubicBezTo>
                    <a:pt x="1989" y="539"/>
                    <a:pt x="1993" y="543"/>
                    <a:pt x="2000" y="543"/>
                  </a:cubicBezTo>
                  <a:cubicBezTo>
                    <a:pt x="2007" y="543"/>
                    <a:pt x="2014" y="539"/>
                    <a:pt x="2015" y="533"/>
                  </a:cubicBezTo>
                  <a:cubicBezTo>
                    <a:pt x="2016" y="527"/>
                    <a:pt x="2011" y="523"/>
                    <a:pt x="2004" y="523"/>
                  </a:cubicBezTo>
                  <a:cubicBezTo>
                    <a:pt x="2004" y="523"/>
                    <a:pt x="2004" y="523"/>
                    <a:pt x="2004" y="523"/>
                  </a:cubicBezTo>
                  <a:moveTo>
                    <a:pt x="2256" y="523"/>
                  </a:moveTo>
                  <a:cubicBezTo>
                    <a:pt x="2249" y="523"/>
                    <a:pt x="2243" y="527"/>
                    <a:pt x="2243" y="533"/>
                  </a:cubicBezTo>
                  <a:cubicBezTo>
                    <a:pt x="2242" y="539"/>
                    <a:pt x="2247" y="543"/>
                    <a:pt x="2254" y="543"/>
                  </a:cubicBezTo>
                  <a:cubicBezTo>
                    <a:pt x="2261" y="543"/>
                    <a:pt x="2267" y="538"/>
                    <a:pt x="2268" y="533"/>
                  </a:cubicBezTo>
                  <a:cubicBezTo>
                    <a:pt x="2268" y="527"/>
                    <a:pt x="2263" y="523"/>
                    <a:pt x="2256" y="523"/>
                  </a:cubicBezTo>
                  <a:cubicBezTo>
                    <a:pt x="2256" y="523"/>
                    <a:pt x="2256" y="523"/>
                    <a:pt x="2256" y="523"/>
                  </a:cubicBezTo>
                  <a:moveTo>
                    <a:pt x="2040" y="521"/>
                  </a:moveTo>
                  <a:cubicBezTo>
                    <a:pt x="2033" y="521"/>
                    <a:pt x="2026" y="526"/>
                    <a:pt x="2026" y="532"/>
                  </a:cubicBezTo>
                  <a:cubicBezTo>
                    <a:pt x="2025" y="537"/>
                    <a:pt x="2029" y="542"/>
                    <a:pt x="2036" y="542"/>
                  </a:cubicBezTo>
                  <a:cubicBezTo>
                    <a:pt x="2043" y="542"/>
                    <a:pt x="2050" y="537"/>
                    <a:pt x="2051" y="532"/>
                  </a:cubicBezTo>
                  <a:cubicBezTo>
                    <a:pt x="2052" y="526"/>
                    <a:pt x="2047" y="521"/>
                    <a:pt x="2040" y="521"/>
                  </a:cubicBezTo>
                  <a:cubicBezTo>
                    <a:pt x="2040" y="521"/>
                    <a:pt x="2040" y="521"/>
                    <a:pt x="2040" y="521"/>
                  </a:cubicBezTo>
                  <a:moveTo>
                    <a:pt x="2076" y="521"/>
                  </a:moveTo>
                  <a:cubicBezTo>
                    <a:pt x="2069" y="521"/>
                    <a:pt x="2063" y="526"/>
                    <a:pt x="2062" y="531"/>
                  </a:cubicBezTo>
                  <a:cubicBezTo>
                    <a:pt x="2061" y="537"/>
                    <a:pt x="2066" y="542"/>
                    <a:pt x="2073" y="542"/>
                  </a:cubicBezTo>
                  <a:cubicBezTo>
                    <a:pt x="2080" y="542"/>
                    <a:pt x="2086" y="537"/>
                    <a:pt x="2087" y="531"/>
                  </a:cubicBezTo>
                  <a:cubicBezTo>
                    <a:pt x="2088" y="526"/>
                    <a:pt x="2083" y="521"/>
                    <a:pt x="2076" y="521"/>
                  </a:cubicBezTo>
                  <a:cubicBezTo>
                    <a:pt x="2076" y="521"/>
                    <a:pt x="2076" y="521"/>
                    <a:pt x="2076" y="521"/>
                  </a:cubicBezTo>
                  <a:moveTo>
                    <a:pt x="2363" y="520"/>
                  </a:moveTo>
                  <a:cubicBezTo>
                    <a:pt x="2356" y="520"/>
                    <a:pt x="2350" y="524"/>
                    <a:pt x="2350" y="530"/>
                  </a:cubicBezTo>
                  <a:cubicBezTo>
                    <a:pt x="2350" y="536"/>
                    <a:pt x="2355" y="540"/>
                    <a:pt x="2362" y="540"/>
                  </a:cubicBezTo>
                  <a:cubicBezTo>
                    <a:pt x="2369" y="540"/>
                    <a:pt x="2375" y="536"/>
                    <a:pt x="2375" y="530"/>
                  </a:cubicBezTo>
                  <a:cubicBezTo>
                    <a:pt x="2375" y="524"/>
                    <a:pt x="2370" y="520"/>
                    <a:pt x="2363" y="520"/>
                  </a:cubicBezTo>
                  <a:cubicBezTo>
                    <a:pt x="2363" y="520"/>
                    <a:pt x="2363" y="520"/>
                    <a:pt x="2363" y="520"/>
                  </a:cubicBezTo>
                  <a:moveTo>
                    <a:pt x="2399" y="520"/>
                  </a:moveTo>
                  <a:cubicBezTo>
                    <a:pt x="2392" y="520"/>
                    <a:pt x="2386" y="524"/>
                    <a:pt x="2386" y="530"/>
                  </a:cubicBezTo>
                  <a:cubicBezTo>
                    <a:pt x="2386" y="535"/>
                    <a:pt x="2391" y="540"/>
                    <a:pt x="2398" y="540"/>
                  </a:cubicBezTo>
                  <a:cubicBezTo>
                    <a:pt x="2405" y="540"/>
                    <a:pt x="2411" y="535"/>
                    <a:pt x="2411" y="530"/>
                  </a:cubicBezTo>
                  <a:cubicBezTo>
                    <a:pt x="2411" y="524"/>
                    <a:pt x="2406" y="520"/>
                    <a:pt x="2399" y="520"/>
                  </a:cubicBezTo>
                  <a:cubicBezTo>
                    <a:pt x="2399" y="520"/>
                    <a:pt x="2399" y="520"/>
                    <a:pt x="2399" y="520"/>
                  </a:cubicBezTo>
                  <a:moveTo>
                    <a:pt x="2793" y="519"/>
                  </a:moveTo>
                  <a:cubicBezTo>
                    <a:pt x="2786" y="519"/>
                    <a:pt x="2781" y="524"/>
                    <a:pt x="2781" y="530"/>
                  </a:cubicBezTo>
                  <a:cubicBezTo>
                    <a:pt x="2782" y="535"/>
                    <a:pt x="2788" y="540"/>
                    <a:pt x="2795" y="540"/>
                  </a:cubicBezTo>
                  <a:cubicBezTo>
                    <a:pt x="2802" y="540"/>
                    <a:pt x="2807" y="535"/>
                    <a:pt x="2806" y="530"/>
                  </a:cubicBezTo>
                  <a:cubicBezTo>
                    <a:pt x="2806" y="524"/>
                    <a:pt x="2800" y="519"/>
                    <a:pt x="2793" y="519"/>
                  </a:cubicBezTo>
                  <a:cubicBezTo>
                    <a:pt x="2793" y="519"/>
                    <a:pt x="2793" y="519"/>
                    <a:pt x="2793" y="519"/>
                  </a:cubicBezTo>
                  <a:moveTo>
                    <a:pt x="2435" y="519"/>
                  </a:moveTo>
                  <a:cubicBezTo>
                    <a:pt x="2428" y="519"/>
                    <a:pt x="2422" y="524"/>
                    <a:pt x="2422" y="530"/>
                  </a:cubicBezTo>
                  <a:cubicBezTo>
                    <a:pt x="2422" y="535"/>
                    <a:pt x="2427" y="540"/>
                    <a:pt x="2434" y="540"/>
                  </a:cubicBezTo>
                  <a:cubicBezTo>
                    <a:pt x="2441" y="540"/>
                    <a:pt x="2447" y="535"/>
                    <a:pt x="2447" y="529"/>
                  </a:cubicBezTo>
                  <a:cubicBezTo>
                    <a:pt x="2447" y="524"/>
                    <a:pt x="2442" y="519"/>
                    <a:pt x="2435" y="519"/>
                  </a:cubicBezTo>
                  <a:cubicBezTo>
                    <a:pt x="2435" y="519"/>
                    <a:pt x="2435" y="519"/>
                    <a:pt x="2435" y="519"/>
                  </a:cubicBezTo>
                  <a:moveTo>
                    <a:pt x="2826" y="519"/>
                  </a:moveTo>
                  <a:cubicBezTo>
                    <a:pt x="2819" y="519"/>
                    <a:pt x="2814" y="524"/>
                    <a:pt x="2815" y="530"/>
                  </a:cubicBezTo>
                  <a:cubicBezTo>
                    <a:pt x="2816" y="535"/>
                    <a:pt x="2822" y="540"/>
                    <a:pt x="2829" y="540"/>
                  </a:cubicBezTo>
                  <a:cubicBezTo>
                    <a:pt x="2836" y="540"/>
                    <a:pt x="2841" y="535"/>
                    <a:pt x="2840" y="529"/>
                  </a:cubicBezTo>
                  <a:cubicBezTo>
                    <a:pt x="2839" y="524"/>
                    <a:pt x="2833" y="519"/>
                    <a:pt x="2826" y="519"/>
                  </a:cubicBezTo>
                  <a:cubicBezTo>
                    <a:pt x="2826" y="519"/>
                    <a:pt x="2826" y="519"/>
                    <a:pt x="2826" y="519"/>
                  </a:cubicBezTo>
                  <a:moveTo>
                    <a:pt x="2685" y="519"/>
                  </a:moveTo>
                  <a:cubicBezTo>
                    <a:pt x="2679" y="519"/>
                    <a:pt x="2673" y="524"/>
                    <a:pt x="2674" y="529"/>
                  </a:cubicBezTo>
                  <a:cubicBezTo>
                    <a:pt x="2674" y="535"/>
                    <a:pt x="2680" y="540"/>
                    <a:pt x="2687" y="540"/>
                  </a:cubicBezTo>
                  <a:cubicBezTo>
                    <a:pt x="2694" y="540"/>
                    <a:pt x="2699" y="535"/>
                    <a:pt x="2699" y="529"/>
                  </a:cubicBezTo>
                  <a:cubicBezTo>
                    <a:pt x="2698" y="524"/>
                    <a:pt x="2692" y="519"/>
                    <a:pt x="2686" y="519"/>
                  </a:cubicBezTo>
                  <a:cubicBezTo>
                    <a:pt x="2685" y="519"/>
                    <a:pt x="2685" y="519"/>
                    <a:pt x="2685" y="519"/>
                  </a:cubicBezTo>
                  <a:moveTo>
                    <a:pt x="2470" y="519"/>
                  </a:moveTo>
                  <a:cubicBezTo>
                    <a:pt x="2463" y="519"/>
                    <a:pt x="2458" y="524"/>
                    <a:pt x="2458" y="529"/>
                  </a:cubicBezTo>
                  <a:cubicBezTo>
                    <a:pt x="2458" y="535"/>
                    <a:pt x="2463" y="540"/>
                    <a:pt x="2470" y="540"/>
                  </a:cubicBezTo>
                  <a:cubicBezTo>
                    <a:pt x="2477" y="540"/>
                    <a:pt x="2483" y="535"/>
                    <a:pt x="2483" y="529"/>
                  </a:cubicBezTo>
                  <a:cubicBezTo>
                    <a:pt x="2483" y="524"/>
                    <a:pt x="2477" y="519"/>
                    <a:pt x="2471" y="519"/>
                  </a:cubicBezTo>
                  <a:cubicBezTo>
                    <a:pt x="2470" y="519"/>
                    <a:pt x="2470" y="519"/>
                    <a:pt x="2470" y="519"/>
                  </a:cubicBezTo>
                  <a:moveTo>
                    <a:pt x="2862" y="519"/>
                  </a:moveTo>
                  <a:cubicBezTo>
                    <a:pt x="2855" y="519"/>
                    <a:pt x="2850" y="524"/>
                    <a:pt x="2851" y="529"/>
                  </a:cubicBezTo>
                  <a:cubicBezTo>
                    <a:pt x="2851" y="535"/>
                    <a:pt x="2858" y="540"/>
                    <a:pt x="2865" y="539"/>
                  </a:cubicBezTo>
                  <a:cubicBezTo>
                    <a:pt x="2872" y="539"/>
                    <a:pt x="2877" y="535"/>
                    <a:pt x="2876" y="529"/>
                  </a:cubicBezTo>
                  <a:cubicBezTo>
                    <a:pt x="2875" y="524"/>
                    <a:pt x="2869" y="519"/>
                    <a:pt x="2862" y="519"/>
                  </a:cubicBezTo>
                  <a:cubicBezTo>
                    <a:pt x="2862" y="519"/>
                    <a:pt x="2862" y="519"/>
                    <a:pt x="2862" y="519"/>
                  </a:cubicBezTo>
                  <a:moveTo>
                    <a:pt x="2721" y="519"/>
                  </a:moveTo>
                  <a:cubicBezTo>
                    <a:pt x="2714" y="519"/>
                    <a:pt x="2709" y="524"/>
                    <a:pt x="2709" y="529"/>
                  </a:cubicBezTo>
                  <a:cubicBezTo>
                    <a:pt x="2710" y="535"/>
                    <a:pt x="2716" y="539"/>
                    <a:pt x="2723" y="539"/>
                  </a:cubicBezTo>
                  <a:cubicBezTo>
                    <a:pt x="2730" y="539"/>
                    <a:pt x="2735" y="535"/>
                    <a:pt x="2734" y="529"/>
                  </a:cubicBezTo>
                  <a:cubicBezTo>
                    <a:pt x="2734" y="523"/>
                    <a:pt x="2728" y="519"/>
                    <a:pt x="2721" y="519"/>
                  </a:cubicBezTo>
                  <a:cubicBezTo>
                    <a:pt x="2721" y="519"/>
                    <a:pt x="2721" y="519"/>
                    <a:pt x="2721" y="519"/>
                  </a:cubicBezTo>
                  <a:moveTo>
                    <a:pt x="2898" y="519"/>
                  </a:moveTo>
                  <a:cubicBezTo>
                    <a:pt x="2891" y="519"/>
                    <a:pt x="2886" y="523"/>
                    <a:pt x="2887" y="529"/>
                  </a:cubicBezTo>
                  <a:cubicBezTo>
                    <a:pt x="2887" y="535"/>
                    <a:pt x="2894" y="539"/>
                    <a:pt x="2901" y="539"/>
                  </a:cubicBezTo>
                  <a:cubicBezTo>
                    <a:pt x="2908" y="539"/>
                    <a:pt x="2913" y="535"/>
                    <a:pt x="2912" y="529"/>
                  </a:cubicBezTo>
                  <a:cubicBezTo>
                    <a:pt x="2911" y="523"/>
                    <a:pt x="2905" y="519"/>
                    <a:pt x="2898" y="519"/>
                  </a:cubicBezTo>
                  <a:cubicBezTo>
                    <a:pt x="2898" y="519"/>
                    <a:pt x="2898" y="519"/>
                    <a:pt x="2898" y="519"/>
                  </a:cubicBezTo>
                  <a:moveTo>
                    <a:pt x="2757" y="519"/>
                  </a:moveTo>
                  <a:cubicBezTo>
                    <a:pt x="2750" y="519"/>
                    <a:pt x="2745" y="523"/>
                    <a:pt x="2745" y="529"/>
                  </a:cubicBezTo>
                  <a:cubicBezTo>
                    <a:pt x="2746" y="535"/>
                    <a:pt x="2752" y="539"/>
                    <a:pt x="2759" y="539"/>
                  </a:cubicBezTo>
                  <a:cubicBezTo>
                    <a:pt x="2766" y="539"/>
                    <a:pt x="2771" y="534"/>
                    <a:pt x="2770" y="529"/>
                  </a:cubicBezTo>
                  <a:cubicBezTo>
                    <a:pt x="2770" y="523"/>
                    <a:pt x="2764" y="519"/>
                    <a:pt x="2757" y="519"/>
                  </a:cubicBezTo>
                  <a:cubicBezTo>
                    <a:pt x="2757" y="519"/>
                    <a:pt x="2757" y="519"/>
                    <a:pt x="2757" y="519"/>
                  </a:cubicBezTo>
                  <a:moveTo>
                    <a:pt x="2542" y="519"/>
                  </a:moveTo>
                  <a:cubicBezTo>
                    <a:pt x="2535" y="519"/>
                    <a:pt x="2529" y="523"/>
                    <a:pt x="2529" y="529"/>
                  </a:cubicBezTo>
                  <a:cubicBezTo>
                    <a:pt x="2529" y="535"/>
                    <a:pt x="2535" y="539"/>
                    <a:pt x="2542" y="539"/>
                  </a:cubicBezTo>
                  <a:cubicBezTo>
                    <a:pt x="2549" y="539"/>
                    <a:pt x="2555" y="534"/>
                    <a:pt x="2555" y="529"/>
                  </a:cubicBezTo>
                  <a:cubicBezTo>
                    <a:pt x="2554" y="523"/>
                    <a:pt x="2549" y="519"/>
                    <a:pt x="2542" y="519"/>
                  </a:cubicBezTo>
                  <a:cubicBezTo>
                    <a:pt x="2542" y="519"/>
                    <a:pt x="2542" y="519"/>
                    <a:pt x="2542" y="519"/>
                  </a:cubicBezTo>
                  <a:moveTo>
                    <a:pt x="2934" y="519"/>
                  </a:moveTo>
                  <a:cubicBezTo>
                    <a:pt x="2927" y="519"/>
                    <a:pt x="2922" y="523"/>
                    <a:pt x="2923" y="529"/>
                  </a:cubicBezTo>
                  <a:cubicBezTo>
                    <a:pt x="2924" y="535"/>
                    <a:pt x="2930" y="539"/>
                    <a:pt x="2937" y="539"/>
                  </a:cubicBezTo>
                  <a:cubicBezTo>
                    <a:pt x="2944" y="539"/>
                    <a:pt x="2949" y="534"/>
                    <a:pt x="2948" y="529"/>
                  </a:cubicBezTo>
                  <a:cubicBezTo>
                    <a:pt x="2947" y="523"/>
                    <a:pt x="2941" y="519"/>
                    <a:pt x="2934" y="519"/>
                  </a:cubicBezTo>
                  <a:cubicBezTo>
                    <a:pt x="2934" y="519"/>
                    <a:pt x="2934" y="519"/>
                    <a:pt x="2934" y="519"/>
                  </a:cubicBezTo>
                  <a:moveTo>
                    <a:pt x="2578" y="518"/>
                  </a:moveTo>
                  <a:cubicBezTo>
                    <a:pt x="2571" y="518"/>
                    <a:pt x="2566" y="523"/>
                    <a:pt x="2566" y="529"/>
                  </a:cubicBezTo>
                  <a:cubicBezTo>
                    <a:pt x="2566" y="534"/>
                    <a:pt x="2572" y="539"/>
                    <a:pt x="2579" y="539"/>
                  </a:cubicBezTo>
                  <a:cubicBezTo>
                    <a:pt x="2586" y="539"/>
                    <a:pt x="2591" y="534"/>
                    <a:pt x="2591" y="529"/>
                  </a:cubicBezTo>
                  <a:cubicBezTo>
                    <a:pt x="2591" y="523"/>
                    <a:pt x="2585" y="518"/>
                    <a:pt x="2578" y="518"/>
                  </a:cubicBezTo>
                  <a:cubicBezTo>
                    <a:pt x="2578" y="518"/>
                    <a:pt x="2578" y="518"/>
                    <a:pt x="2578" y="518"/>
                  </a:cubicBezTo>
                  <a:moveTo>
                    <a:pt x="2969" y="518"/>
                  </a:moveTo>
                  <a:cubicBezTo>
                    <a:pt x="2963" y="518"/>
                    <a:pt x="2958" y="523"/>
                    <a:pt x="2959" y="529"/>
                  </a:cubicBezTo>
                  <a:cubicBezTo>
                    <a:pt x="2960" y="534"/>
                    <a:pt x="2966" y="539"/>
                    <a:pt x="2973" y="539"/>
                  </a:cubicBezTo>
                  <a:cubicBezTo>
                    <a:pt x="2980" y="539"/>
                    <a:pt x="2985" y="534"/>
                    <a:pt x="2984" y="528"/>
                  </a:cubicBezTo>
                  <a:cubicBezTo>
                    <a:pt x="2983" y="523"/>
                    <a:pt x="2976" y="518"/>
                    <a:pt x="2970" y="518"/>
                  </a:cubicBezTo>
                  <a:cubicBezTo>
                    <a:pt x="2969" y="518"/>
                    <a:pt x="2969" y="518"/>
                    <a:pt x="2969" y="518"/>
                  </a:cubicBezTo>
                  <a:moveTo>
                    <a:pt x="3005" y="518"/>
                  </a:moveTo>
                  <a:cubicBezTo>
                    <a:pt x="2998" y="518"/>
                    <a:pt x="2993" y="523"/>
                    <a:pt x="2995" y="528"/>
                  </a:cubicBezTo>
                  <a:cubicBezTo>
                    <a:pt x="2996" y="534"/>
                    <a:pt x="3002" y="539"/>
                    <a:pt x="3009" y="539"/>
                  </a:cubicBezTo>
                  <a:cubicBezTo>
                    <a:pt x="3016" y="539"/>
                    <a:pt x="3021" y="534"/>
                    <a:pt x="3020" y="528"/>
                  </a:cubicBezTo>
                  <a:cubicBezTo>
                    <a:pt x="3019" y="523"/>
                    <a:pt x="3012" y="518"/>
                    <a:pt x="3005" y="518"/>
                  </a:cubicBezTo>
                  <a:cubicBezTo>
                    <a:pt x="3005" y="518"/>
                    <a:pt x="3005" y="518"/>
                    <a:pt x="3005" y="518"/>
                  </a:cubicBezTo>
                  <a:moveTo>
                    <a:pt x="3041" y="518"/>
                  </a:moveTo>
                  <a:cubicBezTo>
                    <a:pt x="3034" y="518"/>
                    <a:pt x="3029" y="523"/>
                    <a:pt x="3030" y="528"/>
                  </a:cubicBezTo>
                  <a:cubicBezTo>
                    <a:pt x="3031" y="534"/>
                    <a:pt x="3038" y="538"/>
                    <a:pt x="3045" y="538"/>
                  </a:cubicBezTo>
                  <a:cubicBezTo>
                    <a:pt x="3052" y="538"/>
                    <a:pt x="3056" y="534"/>
                    <a:pt x="3055" y="528"/>
                  </a:cubicBezTo>
                  <a:cubicBezTo>
                    <a:pt x="3054" y="522"/>
                    <a:pt x="3048" y="518"/>
                    <a:pt x="3041" y="518"/>
                  </a:cubicBezTo>
                  <a:cubicBezTo>
                    <a:pt x="3041" y="518"/>
                    <a:pt x="3041" y="518"/>
                    <a:pt x="3041" y="518"/>
                  </a:cubicBezTo>
                  <a:moveTo>
                    <a:pt x="3077" y="518"/>
                  </a:moveTo>
                  <a:cubicBezTo>
                    <a:pt x="3070" y="518"/>
                    <a:pt x="3065" y="522"/>
                    <a:pt x="3066" y="528"/>
                  </a:cubicBezTo>
                  <a:cubicBezTo>
                    <a:pt x="3067" y="534"/>
                    <a:pt x="3074" y="538"/>
                    <a:pt x="3081" y="538"/>
                  </a:cubicBezTo>
                  <a:cubicBezTo>
                    <a:pt x="3088" y="538"/>
                    <a:pt x="3092" y="533"/>
                    <a:pt x="3091" y="528"/>
                  </a:cubicBezTo>
                  <a:cubicBezTo>
                    <a:pt x="3090" y="522"/>
                    <a:pt x="3084" y="518"/>
                    <a:pt x="3077" y="518"/>
                  </a:cubicBezTo>
                  <a:cubicBezTo>
                    <a:pt x="3077" y="518"/>
                    <a:pt x="3077" y="518"/>
                    <a:pt x="3077" y="518"/>
                  </a:cubicBezTo>
                  <a:moveTo>
                    <a:pt x="3113" y="517"/>
                  </a:moveTo>
                  <a:cubicBezTo>
                    <a:pt x="3107" y="517"/>
                    <a:pt x="3102" y="522"/>
                    <a:pt x="3103" y="528"/>
                  </a:cubicBezTo>
                  <a:cubicBezTo>
                    <a:pt x="3104" y="533"/>
                    <a:pt x="3111" y="538"/>
                    <a:pt x="3118" y="538"/>
                  </a:cubicBezTo>
                  <a:cubicBezTo>
                    <a:pt x="3125" y="538"/>
                    <a:pt x="3130" y="533"/>
                    <a:pt x="3128" y="528"/>
                  </a:cubicBezTo>
                  <a:cubicBezTo>
                    <a:pt x="3127" y="522"/>
                    <a:pt x="3120" y="517"/>
                    <a:pt x="3114" y="517"/>
                  </a:cubicBezTo>
                  <a:cubicBezTo>
                    <a:pt x="3114" y="517"/>
                    <a:pt x="3113" y="517"/>
                    <a:pt x="3113" y="517"/>
                  </a:cubicBezTo>
                  <a:moveTo>
                    <a:pt x="3149" y="517"/>
                  </a:moveTo>
                  <a:cubicBezTo>
                    <a:pt x="3142" y="517"/>
                    <a:pt x="3138" y="522"/>
                    <a:pt x="3139" y="528"/>
                  </a:cubicBezTo>
                  <a:cubicBezTo>
                    <a:pt x="3140" y="533"/>
                    <a:pt x="3147" y="538"/>
                    <a:pt x="3154" y="538"/>
                  </a:cubicBezTo>
                  <a:cubicBezTo>
                    <a:pt x="3161" y="538"/>
                    <a:pt x="3165" y="533"/>
                    <a:pt x="3164" y="527"/>
                  </a:cubicBezTo>
                  <a:cubicBezTo>
                    <a:pt x="3163" y="522"/>
                    <a:pt x="3156" y="517"/>
                    <a:pt x="3149" y="517"/>
                  </a:cubicBezTo>
                  <a:cubicBezTo>
                    <a:pt x="3149" y="517"/>
                    <a:pt x="3149" y="517"/>
                    <a:pt x="3149" y="517"/>
                  </a:cubicBezTo>
                  <a:moveTo>
                    <a:pt x="3185" y="517"/>
                  </a:moveTo>
                  <a:cubicBezTo>
                    <a:pt x="3178" y="517"/>
                    <a:pt x="3173" y="522"/>
                    <a:pt x="3175" y="527"/>
                  </a:cubicBezTo>
                  <a:cubicBezTo>
                    <a:pt x="3176" y="533"/>
                    <a:pt x="3183" y="537"/>
                    <a:pt x="3190" y="537"/>
                  </a:cubicBezTo>
                  <a:cubicBezTo>
                    <a:pt x="3197" y="537"/>
                    <a:pt x="3201" y="533"/>
                    <a:pt x="3200" y="527"/>
                  </a:cubicBezTo>
                  <a:cubicBezTo>
                    <a:pt x="3198" y="521"/>
                    <a:pt x="3192" y="517"/>
                    <a:pt x="3185" y="517"/>
                  </a:cubicBezTo>
                  <a:cubicBezTo>
                    <a:pt x="3185" y="517"/>
                    <a:pt x="3185" y="517"/>
                    <a:pt x="3185" y="517"/>
                  </a:cubicBezTo>
                  <a:moveTo>
                    <a:pt x="3221" y="517"/>
                  </a:moveTo>
                  <a:cubicBezTo>
                    <a:pt x="3214" y="517"/>
                    <a:pt x="3210" y="521"/>
                    <a:pt x="3211" y="527"/>
                  </a:cubicBezTo>
                  <a:cubicBezTo>
                    <a:pt x="3213" y="533"/>
                    <a:pt x="3219" y="537"/>
                    <a:pt x="3226" y="537"/>
                  </a:cubicBezTo>
                  <a:cubicBezTo>
                    <a:pt x="3233" y="537"/>
                    <a:pt x="3238" y="533"/>
                    <a:pt x="3236" y="527"/>
                  </a:cubicBezTo>
                  <a:cubicBezTo>
                    <a:pt x="3235" y="521"/>
                    <a:pt x="3228" y="517"/>
                    <a:pt x="3221" y="517"/>
                  </a:cubicBezTo>
                  <a:cubicBezTo>
                    <a:pt x="3221" y="517"/>
                    <a:pt x="3221" y="517"/>
                    <a:pt x="3221" y="517"/>
                  </a:cubicBezTo>
                  <a:moveTo>
                    <a:pt x="3256" y="516"/>
                  </a:moveTo>
                  <a:cubicBezTo>
                    <a:pt x="3250" y="516"/>
                    <a:pt x="3245" y="521"/>
                    <a:pt x="3247" y="527"/>
                  </a:cubicBezTo>
                  <a:cubicBezTo>
                    <a:pt x="3248" y="532"/>
                    <a:pt x="3255" y="537"/>
                    <a:pt x="3262" y="537"/>
                  </a:cubicBezTo>
                  <a:cubicBezTo>
                    <a:pt x="3269" y="537"/>
                    <a:pt x="3273" y="532"/>
                    <a:pt x="3272" y="527"/>
                  </a:cubicBezTo>
                  <a:cubicBezTo>
                    <a:pt x="3270" y="521"/>
                    <a:pt x="3263" y="516"/>
                    <a:pt x="3257" y="516"/>
                  </a:cubicBezTo>
                  <a:cubicBezTo>
                    <a:pt x="3257" y="516"/>
                    <a:pt x="3256" y="516"/>
                    <a:pt x="3256" y="516"/>
                  </a:cubicBezTo>
                  <a:moveTo>
                    <a:pt x="3292" y="516"/>
                  </a:moveTo>
                  <a:cubicBezTo>
                    <a:pt x="3285" y="516"/>
                    <a:pt x="3281" y="521"/>
                    <a:pt x="3283" y="527"/>
                  </a:cubicBezTo>
                  <a:cubicBezTo>
                    <a:pt x="3284" y="532"/>
                    <a:pt x="3291" y="537"/>
                    <a:pt x="3298" y="537"/>
                  </a:cubicBezTo>
                  <a:cubicBezTo>
                    <a:pt x="3305" y="537"/>
                    <a:pt x="3309" y="532"/>
                    <a:pt x="3308" y="526"/>
                  </a:cubicBezTo>
                  <a:cubicBezTo>
                    <a:pt x="3306" y="521"/>
                    <a:pt x="3299" y="516"/>
                    <a:pt x="3292" y="516"/>
                  </a:cubicBezTo>
                  <a:cubicBezTo>
                    <a:pt x="3292" y="516"/>
                    <a:pt x="3292" y="516"/>
                    <a:pt x="3292" y="516"/>
                  </a:cubicBezTo>
                  <a:moveTo>
                    <a:pt x="3328" y="516"/>
                  </a:moveTo>
                  <a:cubicBezTo>
                    <a:pt x="3321" y="516"/>
                    <a:pt x="3317" y="521"/>
                    <a:pt x="3318" y="526"/>
                  </a:cubicBezTo>
                  <a:cubicBezTo>
                    <a:pt x="3320" y="532"/>
                    <a:pt x="3327" y="537"/>
                    <a:pt x="3334" y="537"/>
                  </a:cubicBezTo>
                  <a:cubicBezTo>
                    <a:pt x="3341" y="536"/>
                    <a:pt x="3345" y="532"/>
                    <a:pt x="3343" y="526"/>
                  </a:cubicBezTo>
                  <a:cubicBezTo>
                    <a:pt x="3342" y="521"/>
                    <a:pt x="3335" y="516"/>
                    <a:pt x="3328" y="516"/>
                  </a:cubicBezTo>
                  <a:cubicBezTo>
                    <a:pt x="3328" y="516"/>
                    <a:pt x="3328" y="516"/>
                    <a:pt x="3328" y="516"/>
                  </a:cubicBezTo>
                  <a:moveTo>
                    <a:pt x="3364" y="516"/>
                  </a:moveTo>
                  <a:cubicBezTo>
                    <a:pt x="3357" y="516"/>
                    <a:pt x="3352" y="520"/>
                    <a:pt x="3354" y="526"/>
                  </a:cubicBezTo>
                  <a:cubicBezTo>
                    <a:pt x="3356" y="532"/>
                    <a:pt x="3363" y="536"/>
                    <a:pt x="3370" y="536"/>
                  </a:cubicBezTo>
                  <a:cubicBezTo>
                    <a:pt x="3377" y="536"/>
                    <a:pt x="3381" y="532"/>
                    <a:pt x="3379" y="526"/>
                  </a:cubicBezTo>
                  <a:cubicBezTo>
                    <a:pt x="3377" y="520"/>
                    <a:pt x="3370" y="516"/>
                    <a:pt x="3364" y="516"/>
                  </a:cubicBezTo>
                  <a:cubicBezTo>
                    <a:pt x="3364" y="516"/>
                    <a:pt x="3364" y="516"/>
                    <a:pt x="3364" y="516"/>
                  </a:cubicBezTo>
                  <a:moveTo>
                    <a:pt x="3400" y="516"/>
                  </a:moveTo>
                  <a:cubicBezTo>
                    <a:pt x="3393" y="516"/>
                    <a:pt x="3389" y="520"/>
                    <a:pt x="3390" y="526"/>
                  </a:cubicBezTo>
                  <a:cubicBezTo>
                    <a:pt x="3392" y="532"/>
                    <a:pt x="3399" y="536"/>
                    <a:pt x="3406" y="536"/>
                  </a:cubicBezTo>
                  <a:cubicBezTo>
                    <a:pt x="3413" y="536"/>
                    <a:pt x="3417" y="531"/>
                    <a:pt x="3416" y="526"/>
                  </a:cubicBezTo>
                  <a:cubicBezTo>
                    <a:pt x="3414" y="520"/>
                    <a:pt x="3407" y="516"/>
                    <a:pt x="3400" y="516"/>
                  </a:cubicBezTo>
                  <a:cubicBezTo>
                    <a:pt x="3400" y="516"/>
                    <a:pt x="3400" y="516"/>
                    <a:pt x="3400" y="516"/>
                  </a:cubicBezTo>
                  <a:moveTo>
                    <a:pt x="3435" y="515"/>
                  </a:moveTo>
                  <a:cubicBezTo>
                    <a:pt x="3428" y="515"/>
                    <a:pt x="3424" y="520"/>
                    <a:pt x="3426" y="526"/>
                  </a:cubicBezTo>
                  <a:cubicBezTo>
                    <a:pt x="3428" y="531"/>
                    <a:pt x="3435" y="536"/>
                    <a:pt x="3442" y="536"/>
                  </a:cubicBezTo>
                  <a:cubicBezTo>
                    <a:pt x="3449" y="536"/>
                    <a:pt x="3453" y="531"/>
                    <a:pt x="3451" y="526"/>
                  </a:cubicBezTo>
                  <a:cubicBezTo>
                    <a:pt x="3449" y="520"/>
                    <a:pt x="3442" y="515"/>
                    <a:pt x="3435" y="515"/>
                  </a:cubicBezTo>
                  <a:cubicBezTo>
                    <a:pt x="3435" y="515"/>
                    <a:pt x="3435" y="515"/>
                    <a:pt x="3435" y="515"/>
                  </a:cubicBezTo>
                  <a:moveTo>
                    <a:pt x="3471" y="515"/>
                  </a:moveTo>
                  <a:cubicBezTo>
                    <a:pt x="3464" y="515"/>
                    <a:pt x="3460" y="520"/>
                    <a:pt x="3462" y="525"/>
                  </a:cubicBezTo>
                  <a:cubicBezTo>
                    <a:pt x="3464" y="531"/>
                    <a:pt x="3471" y="536"/>
                    <a:pt x="3478" y="536"/>
                  </a:cubicBezTo>
                  <a:cubicBezTo>
                    <a:pt x="3485" y="536"/>
                    <a:pt x="3489" y="531"/>
                    <a:pt x="3487" y="525"/>
                  </a:cubicBezTo>
                  <a:cubicBezTo>
                    <a:pt x="3485" y="520"/>
                    <a:pt x="3478" y="515"/>
                    <a:pt x="3471" y="515"/>
                  </a:cubicBezTo>
                  <a:cubicBezTo>
                    <a:pt x="3471" y="515"/>
                    <a:pt x="3471" y="515"/>
                    <a:pt x="3471" y="515"/>
                  </a:cubicBezTo>
                  <a:moveTo>
                    <a:pt x="3506" y="515"/>
                  </a:moveTo>
                  <a:cubicBezTo>
                    <a:pt x="3499" y="515"/>
                    <a:pt x="3495" y="520"/>
                    <a:pt x="3498" y="525"/>
                  </a:cubicBezTo>
                  <a:cubicBezTo>
                    <a:pt x="3500" y="531"/>
                    <a:pt x="3507" y="535"/>
                    <a:pt x="3514" y="535"/>
                  </a:cubicBezTo>
                  <a:cubicBezTo>
                    <a:pt x="3521" y="535"/>
                    <a:pt x="3525" y="531"/>
                    <a:pt x="3523" y="525"/>
                  </a:cubicBezTo>
                  <a:cubicBezTo>
                    <a:pt x="3521" y="519"/>
                    <a:pt x="3513" y="515"/>
                    <a:pt x="3506" y="515"/>
                  </a:cubicBezTo>
                  <a:cubicBezTo>
                    <a:pt x="3506" y="515"/>
                    <a:pt x="3506" y="515"/>
                    <a:pt x="3506" y="515"/>
                  </a:cubicBezTo>
                  <a:moveTo>
                    <a:pt x="3542" y="515"/>
                  </a:moveTo>
                  <a:cubicBezTo>
                    <a:pt x="3535" y="515"/>
                    <a:pt x="3531" y="519"/>
                    <a:pt x="3533" y="525"/>
                  </a:cubicBezTo>
                  <a:cubicBezTo>
                    <a:pt x="3536" y="531"/>
                    <a:pt x="3543" y="535"/>
                    <a:pt x="3550" y="535"/>
                  </a:cubicBezTo>
                  <a:cubicBezTo>
                    <a:pt x="3557" y="535"/>
                    <a:pt x="3561" y="530"/>
                    <a:pt x="3559" y="525"/>
                  </a:cubicBezTo>
                  <a:cubicBezTo>
                    <a:pt x="3556" y="519"/>
                    <a:pt x="3549" y="515"/>
                    <a:pt x="3542" y="515"/>
                  </a:cubicBezTo>
                  <a:cubicBezTo>
                    <a:pt x="3542" y="515"/>
                    <a:pt x="3542" y="515"/>
                    <a:pt x="3542" y="515"/>
                  </a:cubicBezTo>
                  <a:moveTo>
                    <a:pt x="3578" y="514"/>
                  </a:moveTo>
                  <a:cubicBezTo>
                    <a:pt x="3571" y="514"/>
                    <a:pt x="3568" y="519"/>
                    <a:pt x="3570" y="525"/>
                  </a:cubicBezTo>
                  <a:cubicBezTo>
                    <a:pt x="3572" y="530"/>
                    <a:pt x="3579" y="535"/>
                    <a:pt x="3586" y="535"/>
                  </a:cubicBezTo>
                  <a:cubicBezTo>
                    <a:pt x="3593" y="535"/>
                    <a:pt x="3597" y="530"/>
                    <a:pt x="3595" y="525"/>
                  </a:cubicBezTo>
                  <a:cubicBezTo>
                    <a:pt x="3593" y="519"/>
                    <a:pt x="3585" y="514"/>
                    <a:pt x="3578" y="514"/>
                  </a:cubicBezTo>
                  <a:cubicBezTo>
                    <a:pt x="3578" y="514"/>
                    <a:pt x="3578" y="514"/>
                    <a:pt x="3578" y="514"/>
                  </a:cubicBezTo>
                  <a:moveTo>
                    <a:pt x="3614" y="514"/>
                  </a:moveTo>
                  <a:cubicBezTo>
                    <a:pt x="3607" y="514"/>
                    <a:pt x="3603" y="519"/>
                    <a:pt x="3605" y="524"/>
                  </a:cubicBezTo>
                  <a:cubicBezTo>
                    <a:pt x="3608" y="530"/>
                    <a:pt x="3615" y="535"/>
                    <a:pt x="3622" y="535"/>
                  </a:cubicBezTo>
                  <a:cubicBezTo>
                    <a:pt x="3629" y="534"/>
                    <a:pt x="3633" y="530"/>
                    <a:pt x="3631" y="524"/>
                  </a:cubicBezTo>
                  <a:cubicBezTo>
                    <a:pt x="3628" y="519"/>
                    <a:pt x="3621" y="514"/>
                    <a:pt x="3614" y="514"/>
                  </a:cubicBezTo>
                  <a:cubicBezTo>
                    <a:pt x="3614" y="514"/>
                    <a:pt x="3614" y="514"/>
                    <a:pt x="3614" y="514"/>
                  </a:cubicBezTo>
                  <a:moveTo>
                    <a:pt x="3649" y="514"/>
                  </a:moveTo>
                  <a:cubicBezTo>
                    <a:pt x="3642" y="514"/>
                    <a:pt x="3639" y="518"/>
                    <a:pt x="3641" y="524"/>
                  </a:cubicBezTo>
                  <a:cubicBezTo>
                    <a:pt x="3643" y="530"/>
                    <a:pt x="3651" y="534"/>
                    <a:pt x="3658" y="534"/>
                  </a:cubicBezTo>
                  <a:cubicBezTo>
                    <a:pt x="3665" y="534"/>
                    <a:pt x="3669" y="530"/>
                    <a:pt x="3666" y="524"/>
                  </a:cubicBezTo>
                  <a:cubicBezTo>
                    <a:pt x="3664" y="518"/>
                    <a:pt x="3656" y="514"/>
                    <a:pt x="3649" y="514"/>
                  </a:cubicBezTo>
                  <a:cubicBezTo>
                    <a:pt x="3649" y="514"/>
                    <a:pt x="3649" y="514"/>
                    <a:pt x="3649" y="514"/>
                  </a:cubicBezTo>
                  <a:moveTo>
                    <a:pt x="3685" y="514"/>
                  </a:moveTo>
                  <a:cubicBezTo>
                    <a:pt x="3678" y="514"/>
                    <a:pt x="3675" y="518"/>
                    <a:pt x="3677" y="524"/>
                  </a:cubicBezTo>
                  <a:cubicBezTo>
                    <a:pt x="3679" y="530"/>
                    <a:pt x="3687" y="534"/>
                    <a:pt x="3694" y="534"/>
                  </a:cubicBezTo>
                  <a:cubicBezTo>
                    <a:pt x="3701" y="534"/>
                    <a:pt x="3705" y="529"/>
                    <a:pt x="3702" y="524"/>
                  </a:cubicBezTo>
                  <a:cubicBezTo>
                    <a:pt x="3700" y="518"/>
                    <a:pt x="3692" y="514"/>
                    <a:pt x="3685" y="514"/>
                  </a:cubicBezTo>
                  <a:cubicBezTo>
                    <a:pt x="3685" y="514"/>
                    <a:pt x="3685" y="514"/>
                    <a:pt x="3685" y="514"/>
                  </a:cubicBezTo>
                  <a:moveTo>
                    <a:pt x="3723" y="513"/>
                  </a:moveTo>
                  <a:cubicBezTo>
                    <a:pt x="3716" y="513"/>
                    <a:pt x="3713" y="518"/>
                    <a:pt x="3715" y="524"/>
                  </a:cubicBezTo>
                  <a:cubicBezTo>
                    <a:pt x="3718" y="529"/>
                    <a:pt x="3725" y="534"/>
                    <a:pt x="3732" y="534"/>
                  </a:cubicBezTo>
                  <a:cubicBezTo>
                    <a:pt x="3739" y="534"/>
                    <a:pt x="3743" y="529"/>
                    <a:pt x="3740" y="523"/>
                  </a:cubicBezTo>
                  <a:cubicBezTo>
                    <a:pt x="3738" y="518"/>
                    <a:pt x="3730" y="513"/>
                    <a:pt x="3723" y="513"/>
                  </a:cubicBezTo>
                  <a:cubicBezTo>
                    <a:pt x="3723" y="513"/>
                    <a:pt x="3723" y="513"/>
                    <a:pt x="3723" y="513"/>
                  </a:cubicBezTo>
                  <a:moveTo>
                    <a:pt x="3758" y="513"/>
                  </a:moveTo>
                  <a:cubicBezTo>
                    <a:pt x="3751" y="513"/>
                    <a:pt x="3748" y="518"/>
                    <a:pt x="3750" y="523"/>
                  </a:cubicBezTo>
                  <a:cubicBezTo>
                    <a:pt x="3753" y="529"/>
                    <a:pt x="3761" y="534"/>
                    <a:pt x="3768" y="534"/>
                  </a:cubicBezTo>
                  <a:cubicBezTo>
                    <a:pt x="3775" y="534"/>
                    <a:pt x="3778" y="529"/>
                    <a:pt x="3775" y="523"/>
                  </a:cubicBezTo>
                  <a:cubicBezTo>
                    <a:pt x="3773" y="518"/>
                    <a:pt x="3765" y="513"/>
                    <a:pt x="3758" y="513"/>
                  </a:cubicBezTo>
                  <a:cubicBezTo>
                    <a:pt x="3758" y="513"/>
                    <a:pt x="3758" y="513"/>
                    <a:pt x="3758" y="513"/>
                  </a:cubicBezTo>
                  <a:moveTo>
                    <a:pt x="3794" y="513"/>
                  </a:moveTo>
                  <a:cubicBezTo>
                    <a:pt x="3787" y="513"/>
                    <a:pt x="3783" y="518"/>
                    <a:pt x="3786" y="523"/>
                  </a:cubicBezTo>
                  <a:cubicBezTo>
                    <a:pt x="3789" y="529"/>
                    <a:pt x="3796" y="533"/>
                    <a:pt x="3803" y="533"/>
                  </a:cubicBezTo>
                  <a:cubicBezTo>
                    <a:pt x="3810" y="533"/>
                    <a:pt x="3814" y="529"/>
                    <a:pt x="3811" y="523"/>
                  </a:cubicBezTo>
                  <a:cubicBezTo>
                    <a:pt x="3808" y="517"/>
                    <a:pt x="3801" y="513"/>
                    <a:pt x="3794" y="513"/>
                  </a:cubicBezTo>
                  <a:cubicBezTo>
                    <a:pt x="3794" y="513"/>
                    <a:pt x="3794" y="513"/>
                    <a:pt x="3794" y="513"/>
                  </a:cubicBezTo>
                  <a:moveTo>
                    <a:pt x="3830" y="513"/>
                  </a:moveTo>
                  <a:cubicBezTo>
                    <a:pt x="3823" y="513"/>
                    <a:pt x="3819" y="517"/>
                    <a:pt x="3822" y="523"/>
                  </a:cubicBezTo>
                  <a:cubicBezTo>
                    <a:pt x="3825" y="529"/>
                    <a:pt x="3832" y="533"/>
                    <a:pt x="3839" y="533"/>
                  </a:cubicBezTo>
                  <a:cubicBezTo>
                    <a:pt x="3846" y="533"/>
                    <a:pt x="3850" y="528"/>
                    <a:pt x="3847" y="523"/>
                  </a:cubicBezTo>
                  <a:cubicBezTo>
                    <a:pt x="3844" y="517"/>
                    <a:pt x="3836" y="513"/>
                    <a:pt x="3830" y="513"/>
                  </a:cubicBezTo>
                  <a:cubicBezTo>
                    <a:pt x="3830" y="513"/>
                    <a:pt x="3830" y="513"/>
                    <a:pt x="3830" y="513"/>
                  </a:cubicBezTo>
                  <a:moveTo>
                    <a:pt x="3866" y="512"/>
                  </a:moveTo>
                  <a:cubicBezTo>
                    <a:pt x="3859" y="512"/>
                    <a:pt x="3855" y="517"/>
                    <a:pt x="3858" y="523"/>
                  </a:cubicBezTo>
                  <a:cubicBezTo>
                    <a:pt x="3861" y="528"/>
                    <a:pt x="3869" y="533"/>
                    <a:pt x="3876" y="533"/>
                  </a:cubicBezTo>
                  <a:cubicBezTo>
                    <a:pt x="3883" y="533"/>
                    <a:pt x="3886" y="528"/>
                    <a:pt x="3883" y="523"/>
                  </a:cubicBezTo>
                  <a:cubicBezTo>
                    <a:pt x="3880" y="517"/>
                    <a:pt x="3873" y="512"/>
                    <a:pt x="3866" y="512"/>
                  </a:cubicBezTo>
                  <a:cubicBezTo>
                    <a:pt x="3866" y="512"/>
                    <a:pt x="3866" y="512"/>
                    <a:pt x="3866" y="512"/>
                  </a:cubicBezTo>
                  <a:moveTo>
                    <a:pt x="3901" y="512"/>
                  </a:moveTo>
                  <a:cubicBezTo>
                    <a:pt x="3894" y="512"/>
                    <a:pt x="3891" y="517"/>
                    <a:pt x="3894" y="522"/>
                  </a:cubicBezTo>
                  <a:cubicBezTo>
                    <a:pt x="3897" y="528"/>
                    <a:pt x="3904" y="533"/>
                    <a:pt x="3911" y="533"/>
                  </a:cubicBezTo>
                  <a:cubicBezTo>
                    <a:pt x="3918" y="533"/>
                    <a:pt x="3922" y="528"/>
                    <a:pt x="3919" y="522"/>
                  </a:cubicBezTo>
                  <a:cubicBezTo>
                    <a:pt x="3916" y="517"/>
                    <a:pt x="3908" y="512"/>
                    <a:pt x="3901" y="512"/>
                  </a:cubicBezTo>
                  <a:cubicBezTo>
                    <a:pt x="3901" y="512"/>
                    <a:pt x="3901" y="512"/>
                    <a:pt x="3901" y="512"/>
                  </a:cubicBezTo>
                  <a:moveTo>
                    <a:pt x="3937" y="512"/>
                  </a:moveTo>
                  <a:cubicBezTo>
                    <a:pt x="3930" y="512"/>
                    <a:pt x="3927" y="517"/>
                    <a:pt x="3930" y="522"/>
                  </a:cubicBezTo>
                  <a:cubicBezTo>
                    <a:pt x="3932" y="528"/>
                    <a:pt x="3940" y="533"/>
                    <a:pt x="3947" y="532"/>
                  </a:cubicBezTo>
                  <a:cubicBezTo>
                    <a:pt x="3954" y="532"/>
                    <a:pt x="3958" y="528"/>
                    <a:pt x="3955" y="522"/>
                  </a:cubicBezTo>
                  <a:cubicBezTo>
                    <a:pt x="3952" y="516"/>
                    <a:pt x="3944" y="512"/>
                    <a:pt x="3937" y="512"/>
                  </a:cubicBezTo>
                  <a:cubicBezTo>
                    <a:pt x="3937" y="512"/>
                    <a:pt x="3937" y="512"/>
                    <a:pt x="3937" y="512"/>
                  </a:cubicBezTo>
                  <a:moveTo>
                    <a:pt x="3972" y="512"/>
                  </a:moveTo>
                  <a:cubicBezTo>
                    <a:pt x="3965" y="512"/>
                    <a:pt x="3962" y="516"/>
                    <a:pt x="3965" y="522"/>
                  </a:cubicBezTo>
                  <a:cubicBezTo>
                    <a:pt x="3968" y="528"/>
                    <a:pt x="3976" y="532"/>
                    <a:pt x="3983" y="532"/>
                  </a:cubicBezTo>
                  <a:cubicBezTo>
                    <a:pt x="3990" y="532"/>
                    <a:pt x="3993" y="528"/>
                    <a:pt x="3990" y="522"/>
                  </a:cubicBezTo>
                  <a:cubicBezTo>
                    <a:pt x="3987" y="516"/>
                    <a:pt x="3979" y="512"/>
                    <a:pt x="3972" y="512"/>
                  </a:cubicBezTo>
                  <a:cubicBezTo>
                    <a:pt x="3972" y="512"/>
                    <a:pt x="3972" y="512"/>
                    <a:pt x="3972" y="512"/>
                  </a:cubicBezTo>
                  <a:moveTo>
                    <a:pt x="4008" y="511"/>
                  </a:moveTo>
                  <a:cubicBezTo>
                    <a:pt x="4001" y="511"/>
                    <a:pt x="3998" y="516"/>
                    <a:pt x="4001" y="522"/>
                  </a:cubicBezTo>
                  <a:cubicBezTo>
                    <a:pt x="4004" y="527"/>
                    <a:pt x="4012" y="532"/>
                    <a:pt x="4019" y="532"/>
                  </a:cubicBezTo>
                  <a:cubicBezTo>
                    <a:pt x="4026" y="532"/>
                    <a:pt x="4029" y="527"/>
                    <a:pt x="4026" y="522"/>
                  </a:cubicBezTo>
                  <a:cubicBezTo>
                    <a:pt x="4023" y="516"/>
                    <a:pt x="4015" y="511"/>
                    <a:pt x="4008" y="511"/>
                  </a:cubicBezTo>
                  <a:cubicBezTo>
                    <a:pt x="4008" y="511"/>
                    <a:pt x="4008" y="511"/>
                    <a:pt x="4008" y="511"/>
                  </a:cubicBezTo>
                  <a:moveTo>
                    <a:pt x="199" y="506"/>
                  </a:moveTo>
                  <a:cubicBezTo>
                    <a:pt x="192" y="506"/>
                    <a:pt x="183" y="511"/>
                    <a:pt x="178" y="516"/>
                  </a:cubicBezTo>
                  <a:cubicBezTo>
                    <a:pt x="174" y="522"/>
                    <a:pt x="175" y="527"/>
                    <a:pt x="182" y="526"/>
                  </a:cubicBezTo>
                  <a:cubicBezTo>
                    <a:pt x="189" y="526"/>
                    <a:pt x="199" y="522"/>
                    <a:pt x="203" y="516"/>
                  </a:cubicBezTo>
                  <a:cubicBezTo>
                    <a:pt x="208" y="511"/>
                    <a:pt x="206" y="506"/>
                    <a:pt x="199" y="506"/>
                  </a:cubicBezTo>
                  <a:cubicBezTo>
                    <a:pt x="199" y="506"/>
                    <a:pt x="199" y="506"/>
                    <a:pt x="199" y="506"/>
                  </a:cubicBezTo>
                  <a:moveTo>
                    <a:pt x="235" y="506"/>
                  </a:moveTo>
                  <a:cubicBezTo>
                    <a:pt x="228" y="506"/>
                    <a:pt x="218" y="511"/>
                    <a:pt x="214" y="516"/>
                  </a:cubicBezTo>
                  <a:cubicBezTo>
                    <a:pt x="209" y="522"/>
                    <a:pt x="211" y="526"/>
                    <a:pt x="218" y="526"/>
                  </a:cubicBezTo>
                  <a:cubicBezTo>
                    <a:pt x="225" y="526"/>
                    <a:pt x="234" y="522"/>
                    <a:pt x="239" y="516"/>
                  </a:cubicBezTo>
                  <a:cubicBezTo>
                    <a:pt x="243" y="510"/>
                    <a:pt x="241" y="506"/>
                    <a:pt x="235" y="506"/>
                  </a:cubicBezTo>
                  <a:cubicBezTo>
                    <a:pt x="235" y="506"/>
                    <a:pt x="235" y="506"/>
                    <a:pt x="235" y="506"/>
                  </a:cubicBezTo>
                  <a:moveTo>
                    <a:pt x="270" y="506"/>
                  </a:moveTo>
                  <a:cubicBezTo>
                    <a:pt x="263" y="506"/>
                    <a:pt x="254" y="510"/>
                    <a:pt x="249" y="516"/>
                  </a:cubicBezTo>
                  <a:cubicBezTo>
                    <a:pt x="245" y="522"/>
                    <a:pt x="247" y="526"/>
                    <a:pt x="254" y="526"/>
                  </a:cubicBezTo>
                  <a:cubicBezTo>
                    <a:pt x="261" y="526"/>
                    <a:pt x="270" y="521"/>
                    <a:pt x="274" y="516"/>
                  </a:cubicBezTo>
                  <a:cubicBezTo>
                    <a:pt x="279" y="510"/>
                    <a:pt x="277" y="506"/>
                    <a:pt x="270" y="506"/>
                  </a:cubicBezTo>
                  <a:cubicBezTo>
                    <a:pt x="270" y="506"/>
                    <a:pt x="270" y="506"/>
                    <a:pt x="270" y="506"/>
                  </a:cubicBezTo>
                  <a:moveTo>
                    <a:pt x="305" y="506"/>
                  </a:moveTo>
                  <a:cubicBezTo>
                    <a:pt x="298" y="506"/>
                    <a:pt x="289" y="510"/>
                    <a:pt x="285" y="516"/>
                  </a:cubicBezTo>
                  <a:cubicBezTo>
                    <a:pt x="280" y="521"/>
                    <a:pt x="282" y="526"/>
                    <a:pt x="289" y="526"/>
                  </a:cubicBezTo>
                  <a:cubicBezTo>
                    <a:pt x="296" y="526"/>
                    <a:pt x="305" y="521"/>
                    <a:pt x="310" y="516"/>
                  </a:cubicBezTo>
                  <a:cubicBezTo>
                    <a:pt x="314" y="510"/>
                    <a:pt x="312" y="506"/>
                    <a:pt x="305" y="506"/>
                  </a:cubicBezTo>
                  <a:cubicBezTo>
                    <a:pt x="305" y="506"/>
                    <a:pt x="305" y="506"/>
                    <a:pt x="305" y="506"/>
                  </a:cubicBezTo>
                  <a:moveTo>
                    <a:pt x="341" y="505"/>
                  </a:moveTo>
                  <a:cubicBezTo>
                    <a:pt x="334" y="505"/>
                    <a:pt x="325" y="510"/>
                    <a:pt x="321" y="515"/>
                  </a:cubicBezTo>
                  <a:cubicBezTo>
                    <a:pt x="316" y="521"/>
                    <a:pt x="318" y="526"/>
                    <a:pt x="325" y="526"/>
                  </a:cubicBezTo>
                  <a:cubicBezTo>
                    <a:pt x="332" y="526"/>
                    <a:pt x="341" y="521"/>
                    <a:pt x="346" y="515"/>
                  </a:cubicBezTo>
                  <a:cubicBezTo>
                    <a:pt x="350" y="510"/>
                    <a:pt x="348" y="505"/>
                    <a:pt x="341" y="505"/>
                  </a:cubicBezTo>
                  <a:cubicBezTo>
                    <a:pt x="341" y="505"/>
                    <a:pt x="341" y="505"/>
                    <a:pt x="341" y="505"/>
                  </a:cubicBezTo>
                  <a:moveTo>
                    <a:pt x="376" y="505"/>
                  </a:moveTo>
                  <a:cubicBezTo>
                    <a:pt x="369" y="505"/>
                    <a:pt x="360" y="510"/>
                    <a:pt x="356" y="515"/>
                  </a:cubicBezTo>
                  <a:cubicBezTo>
                    <a:pt x="352" y="521"/>
                    <a:pt x="354" y="525"/>
                    <a:pt x="361" y="525"/>
                  </a:cubicBezTo>
                  <a:cubicBezTo>
                    <a:pt x="368" y="525"/>
                    <a:pt x="377" y="521"/>
                    <a:pt x="381" y="515"/>
                  </a:cubicBezTo>
                  <a:cubicBezTo>
                    <a:pt x="385" y="510"/>
                    <a:pt x="383" y="505"/>
                    <a:pt x="376" y="505"/>
                  </a:cubicBezTo>
                  <a:cubicBezTo>
                    <a:pt x="376" y="505"/>
                    <a:pt x="376" y="505"/>
                    <a:pt x="376" y="505"/>
                  </a:cubicBezTo>
                  <a:moveTo>
                    <a:pt x="412" y="505"/>
                  </a:moveTo>
                  <a:cubicBezTo>
                    <a:pt x="405" y="505"/>
                    <a:pt x="396" y="509"/>
                    <a:pt x="392" y="515"/>
                  </a:cubicBezTo>
                  <a:cubicBezTo>
                    <a:pt x="388" y="521"/>
                    <a:pt x="390" y="525"/>
                    <a:pt x="397" y="525"/>
                  </a:cubicBezTo>
                  <a:cubicBezTo>
                    <a:pt x="404" y="525"/>
                    <a:pt x="413" y="520"/>
                    <a:pt x="417" y="515"/>
                  </a:cubicBezTo>
                  <a:cubicBezTo>
                    <a:pt x="421" y="509"/>
                    <a:pt x="419" y="505"/>
                    <a:pt x="412" y="505"/>
                  </a:cubicBezTo>
                  <a:cubicBezTo>
                    <a:pt x="412" y="505"/>
                    <a:pt x="412" y="505"/>
                    <a:pt x="412" y="505"/>
                  </a:cubicBezTo>
                  <a:moveTo>
                    <a:pt x="449" y="505"/>
                  </a:moveTo>
                  <a:cubicBezTo>
                    <a:pt x="442" y="505"/>
                    <a:pt x="433" y="509"/>
                    <a:pt x="429" y="515"/>
                  </a:cubicBezTo>
                  <a:cubicBezTo>
                    <a:pt x="424" y="520"/>
                    <a:pt x="427" y="525"/>
                    <a:pt x="434" y="525"/>
                  </a:cubicBezTo>
                  <a:cubicBezTo>
                    <a:pt x="441" y="525"/>
                    <a:pt x="450" y="520"/>
                    <a:pt x="454" y="515"/>
                  </a:cubicBezTo>
                  <a:cubicBezTo>
                    <a:pt x="458" y="509"/>
                    <a:pt x="456" y="505"/>
                    <a:pt x="449" y="505"/>
                  </a:cubicBezTo>
                  <a:cubicBezTo>
                    <a:pt x="449" y="505"/>
                    <a:pt x="449" y="505"/>
                    <a:pt x="449" y="505"/>
                  </a:cubicBezTo>
                  <a:moveTo>
                    <a:pt x="484" y="504"/>
                  </a:moveTo>
                  <a:cubicBezTo>
                    <a:pt x="477" y="504"/>
                    <a:pt x="468" y="509"/>
                    <a:pt x="464" y="515"/>
                  </a:cubicBezTo>
                  <a:cubicBezTo>
                    <a:pt x="460" y="520"/>
                    <a:pt x="462" y="525"/>
                    <a:pt x="469" y="525"/>
                  </a:cubicBezTo>
                  <a:cubicBezTo>
                    <a:pt x="476" y="525"/>
                    <a:pt x="485" y="520"/>
                    <a:pt x="489" y="514"/>
                  </a:cubicBezTo>
                  <a:cubicBezTo>
                    <a:pt x="493" y="509"/>
                    <a:pt x="491" y="504"/>
                    <a:pt x="484" y="504"/>
                  </a:cubicBezTo>
                  <a:cubicBezTo>
                    <a:pt x="484" y="504"/>
                    <a:pt x="484" y="504"/>
                    <a:pt x="484" y="504"/>
                  </a:cubicBezTo>
                  <a:moveTo>
                    <a:pt x="520" y="504"/>
                  </a:moveTo>
                  <a:cubicBezTo>
                    <a:pt x="513" y="504"/>
                    <a:pt x="504" y="509"/>
                    <a:pt x="500" y="514"/>
                  </a:cubicBezTo>
                  <a:cubicBezTo>
                    <a:pt x="496" y="520"/>
                    <a:pt x="498" y="524"/>
                    <a:pt x="505" y="524"/>
                  </a:cubicBezTo>
                  <a:cubicBezTo>
                    <a:pt x="512" y="524"/>
                    <a:pt x="521" y="520"/>
                    <a:pt x="525" y="514"/>
                  </a:cubicBezTo>
                  <a:cubicBezTo>
                    <a:pt x="529" y="509"/>
                    <a:pt x="527" y="504"/>
                    <a:pt x="520" y="504"/>
                  </a:cubicBezTo>
                  <a:cubicBezTo>
                    <a:pt x="520" y="504"/>
                    <a:pt x="520" y="504"/>
                    <a:pt x="520" y="504"/>
                  </a:cubicBezTo>
                  <a:moveTo>
                    <a:pt x="556" y="504"/>
                  </a:moveTo>
                  <a:cubicBezTo>
                    <a:pt x="549" y="504"/>
                    <a:pt x="540" y="509"/>
                    <a:pt x="536" y="514"/>
                  </a:cubicBezTo>
                  <a:cubicBezTo>
                    <a:pt x="532" y="520"/>
                    <a:pt x="534" y="524"/>
                    <a:pt x="541" y="524"/>
                  </a:cubicBezTo>
                  <a:cubicBezTo>
                    <a:pt x="548" y="524"/>
                    <a:pt x="557" y="520"/>
                    <a:pt x="561" y="514"/>
                  </a:cubicBezTo>
                  <a:cubicBezTo>
                    <a:pt x="565" y="508"/>
                    <a:pt x="563" y="504"/>
                    <a:pt x="556" y="504"/>
                  </a:cubicBezTo>
                  <a:cubicBezTo>
                    <a:pt x="556" y="504"/>
                    <a:pt x="556" y="504"/>
                    <a:pt x="556" y="504"/>
                  </a:cubicBezTo>
                  <a:moveTo>
                    <a:pt x="591" y="504"/>
                  </a:moveTo>
                  <a:cubicBezTo>
                    <a:pt x="584" y="504"/>
                    <a:pt x="575" y="508"/>
                    <a:pt x="572" y="514"/>
                  </a:cubicBezTo>
                  <a:cubicBezTo>
                    <a:pt x="568" y="519"/>
                    <a:pt x="570" y="524"/>
                    <a:pt x="577" y="524"/>
                  </a:cubicBezTo>
                  <a:cubicBezTo>
                    <a:pt x="584" y="524"/>
                    <a:pt x="593" y="519"/>
                    <a:pt x="597" y="514"/>
                  </a:cubicBezTo>
                  <a:cubicBezTo>
                    <a:pt x="600" y="508"/>
                    <a:pt x="598" y="504"/>
                    <a:pt x="591" y="504"/>
                  </a:cubicBezTo>
                  <a:cubicBezTo>
                    <a:pt x="591" y="504"/>
                    <a:pt x="591" y="504"/>
                    <a:pt x="591" y="504"/>
                  </a:cubicBezTo>
                  <a:moveTo>
                    <a:pt x="627" y="503"/>
                  </a:moveTo>
                  <a:cubicBezTo>
                    <a:pt x="620" y="503"/>
                    <a:pt x="611" y="508"/>
                    <a:pt x="607" y="514"/>
                  </a:cubicBezTo>
                  <a:cubicBezTo>
                    <a:pt x="603" y="519"/>
                    <a:pt x="606" y="524"/>
                    <a:pt x="613" y="524"/>
                  </a:cubicBezTo>
                  <a:cubicBezTo>
                    <a:pt x="620" y="524"/>
                    <a:pt x="628" y="519"/>
                    <a:pt x="632" y="513"/>
                  </a:cubicBezTo>
                  <a:cubicBezTo>
                    <a:pt x="636" y="508"/>
                    <a:pt x="633" y="503"/>
                    <a:pt x="627" y="503"/>
                  </a:cubicBezTo>
                  <a:cubicBezTo>
                    <a:pt x="627" y="503"/>
                    <a:pt x="627" y="503"/>
                    <a:pt x="627" y="503"/>
                  </a:cubicBezTo>
                  <a:moveTo>
                    <a:pt x="662" y="503"/>
                  </a:moveTo>
                  <a:cubicBezTo>
                    <a:pt x="655" y="503"/>
                    <a:pt x="646" y="508"/>
                    <a:pt x="643" y="513"/>
                  </a:cubicBezTo>
                  <a:cubicBezTo>
                    <a:pt x="639" y="519"/>
                    <a:pt x="641" y="524"/>
                    <a:pt x="648" y="523"/>
                  </a:cubicBezTo>
                  <a:cubicBezTo>
                    <a:pt x="655" y="523"/>
                    <a:pt x="664" y="519"/>
                    <a:pt x="668" y="513"/>
                  </a:cubicBezTo>
                  <a:cubicBezTo>
                    <a:pt x="671" y="508"/>
                    <a:pt x="669" y="503"/>
                    <a:pt x="662" y="503"/>
                  </a:cubicBezTo>
                  <a:cubicBezTo>
                    <a:pt x="662" y="503"/>
                    <a:pt x="662" y="503"/>
                    <a:pt x="662" y="503"/>
                  </a:cubicBezTo>
                  <a:moveTo>
                    <a:pt x="698" y="503"/>
                  </a:moveTo>
                  <a:cubicBezTo>
                    <a:pt x="691" y="503"/>
                    <a:pt x="682" y="508"/>
                    <a:pt x="678" y="513"/>
                  </a:cubicBezTo>
                  <a:cubicBezTo>
                    <a:pt x="675" y="519"/>
                    <a:pt x="677" y="523"/>
                    <a:pt x="684" y="523"/>
                  </a:cubicBezTo>
                  <a:cubicBezTo>
                    <a:pt x="691" y="523"/>
                    <a:pt x="700" y="519"/>
                    <a:pt x="703" y="513"/>
                  </a:cubicBezTo>
                  <a:cubicBezTo>
                    <a:pt x="707" y="507"/>
                    <a:pt x="704" y="503"/>
                    <a:pt x="698" y="503"/>
                  </a:cubicBezTo>
                  <a:cubicBezTo>
                    <a:pt x="698" y="503"/>
                    <a:pt x="698" y="503"/>
                    <a:pt x="698" y="503"/>
                  </a:cubicBezTo>
                  <a:moveTo>
                    <a:pt x="733" y="503"/>
                  </a:moveTo>
                  <a:cubicBezTo>
                    <a:pt x="727" y="503"/>
                    <a:pt x="718" y="507"/>
                    <a:pt x="715" y="513"/>
                  </a:cubicBezTo>
                  <a:cubicBezTo>
                    <a:pt x="711" y="519"/>
                    <a:pt x="714" y="523"/>
                    <a:pt x="721" y="523"/>
                  </a:cubicBezTo>
                  <a:cubicBezTo>
                    <a:pt x="727" y="523"/>
                    <a:pt x="736" y="518"/>
                    <a:pt x="740" y="513"/>
                  </a:cubicBezTo>
                  <a:cubicBezTo>
                    <a:pt x="743" y="507"/>
                    <a:pt x="740" y="503"/>
                    <a:pt x="734" y="503"/>
                  </a:cubicBezTo>
                  <a:cubicBezTo>
                    <a:pt x="734" y="503"/>
                    <a:pt x="734" y="503"/>
                    <a:pt x="733" y="503"/>
                  </a:cubicBezTo>
                  <a:moveTo>
                    <a:pt x="769" y="502"/>
                  </a:moveTo>
                  <a:cubicBezTo>
                    <a:pt x="762" y="503"/>
                    <a:pt x="754" y="507"/>
                    <a:pt x="750" y="513"/>
                  </a:cubicBezTo>
                  <a:cubicBezTo>
                    <a:pt x="746" y="518"/>
                    <a:pt x="749" y="523"/>
                    <a:pt x="756" y="523"/>
                  </a:cubicBezTo>
                  <a:cubicBezTo>
                    <a:pt x="763" y="523"/>
                    <a:pt x="771" y="518"/>
                    <a:pt x="775" y="513"/>
                  </a:cubicBezTo>
                  <a:cubicBezTo>
                    <a:pt x="778" y="507"/>
                    <a:pt x="776" y="502"/>
                    <a:pt x="769" y="502"/>
                  </a:cubicBezTo>
                  <a:cubicBezTo>
                    <a:pt x="769" y="502"/>
                    <a:pt x="769" y="502"/>
                    <a:pt x="769" y="502"/>
                  </a:cubicBezTo>
                  <a:moveTo>
                    <a:pt x="802" y="502"/>
                  </a:moveTo>
                  <a:cubicBezTo>
                    <a:pt x="796" y="502"/>
                    <a:pt x="787" y="507"/>
                    <a:pt x="784" y="512"/>
                  </a:cubicBezTo>
                  <a:cubicBezTo>
                    <a:pt x="780" y="518"/>
                    <a:pt x="783" y="523"/>
                    <a:pt x="790" y="523"/>
                  </a:cubicBezTo>
                  <a:cubicBezTo>
                    <a:pt x="797" y="523"/>
                    <a:pt x="805" y="518"/>
                    <a:pt x="809" y="512"/>
                  </a:cubicBezTo>
                  <a:cubicBezTo>
                    <a:pt x="812" y="507"/>
                    <a:pt x="809" y="502"/>
                    <a:pt x="803" y="502"/>
                  </a:cubicBezTo>
                  <a:cubicBezTo>
                    <a:pt x="803" y="502"/>
                    <a:pt x="803" y="502"/>
                    <a:pt x="802" y="502"/>
                  </a:cubicBezTo>
                  <a:moveTo>
                    <a:pt x="838" y="502"/>
                  </a:moveTo>
                  <a:cubicBezTo>
                    <a:pt x="832" y="502"/>
                    <a:pt x="823" y="507"/>
                    <a:pt x="820" y="512"/>
                  </a:cubicBezTo>
                  <a:cubicBezTo>
                    <a:pt x="816" y="518"/>
                    <a:pt x="819" y="522"/>
                    <a:pt x="826" y="522"/>
                  </a:cubicBezTo>
                  <a:cubicBezTo>
                    <a:pt x="833" y="522"/>
                    <a:pt x="841" y="518"/>
                    <a:pt x="845" y="512"/>
                  </a:cubicBezTo>
                  <a:cubicBezTo>
                    <a:pt x="848" y="507"/>
                    <a:pt x="845" y="502"/>
                    <a:pt x="839" y="502"/>
                  </a:cubicBezTo>
                  <a:cubicBezTo>
                    <a:pt x="839" y="502"/>
                    <a:pt x="838" y="502"/>
                    <a:pt x="838" y="502"/>
                  </a:cubicBezTo>
                  <a:moveTo>
                    <a:pt x="874" y="502"/>
                  </a:moveTo>
                  <a:cubicBezTo>
                    <a:pt x="867" y="502"/>
                    <a:pt x="859" y="506"/>
                    <a:pt x="855" y="512"/>
                  </a:cubicBezTo>
                  <a:cubicBezTo>
                    <a:pt x="852" y="518"/>
                    <a:pt x="855" y="522"/>
                    <a:pt x="862" y="522"/>
                  </a:cubicBezTo>
                  <a:cubicBezTo>
                    <a:pt x="869" y="522"/>
                    <a:pt x="877" y="517"/>
                    <a:pt x="880" y="512"/>
                  </a:cubicBezTo>
                  <a:cubicBezTo>
                    <a:pt x="884" y="506"/>
                    <a:pt x="881" y="502"/>
                    <a:pt x="874" y="502"/>
                  </a:cubicBezTo>
                  <a:cubicBezTo>
                    <a:pt x="874" y="502"/>
                    <a:pt x="874" y="502"/>
                    <a:pt x="874" y="502"/>
                  </a:cubicBezTo>
                  <a:moveTo>
                    <a:pt x="909" y="502"/>
                  </a:moveTo>
                  <a:cubicBezTo>
                    <a:pt x="902" y="502"/>
                    <a:pt x="894" y="506"/>
                    <a:pt x="891" y="512"/>
                  </a:cubicBezTo>
                  <a:cubicBezTo>
                    <a:pt x="888" y="517"/>
                    <a:pt x="891" y="522"/>
                    <a:pt x="898" y="522"/>
                  </a:cubicBezTo>
                  <a:cubicBezTo>
                    <a:pt x="905" y="522"/>
                    <a:pt x="913" y="517"/>
                    <a:pt x="916" y="512"/>
                  </a:cubicBezTo>
                  <a:cubicBezTo>
                    <a:pt x="919" y="506"/>
                    <a:pt x="916" y="502"/>
                    <a:pt x="909" y="502"/>
                  </a:cubicBezTo>
                  <a:cubicBezTo>
                    <a:pt x="909" y="502"/>
                    <a:pt x="909" y="502"/>
                    <a:pt x="909" y="502"/>
                  </a:cubicBezTo>
                  <a:moveTo>
                    <a:pt x="945" y="501"/>
                  </a:moveTo>
                  <a:cubicBezTo>
                    <a:pt x="938" y="501"/>
                    <a:pt x="930" y="506"/>
                    <a:pt x="926" y="512"/>
                  </a:cubicBezTo>
                  <a:cubicBezTo>
                    <a:pt x="923" y="517"/>
                    <a:pt x="926" y="522"/>
                    <a:pt x="933" y="522"/>
                  </a:cubicBezTo>
                  <a:cubicBezTo>
                    <a:pt x="940" y="522"/>
                    <a:pt x="948" y="517"/>
                    <a:pt x="951" y="511"/>
                  </a:cubicBezTo>
                  <a:cubicBezTo>
                    <a:pt x="954" y="506"/>
                    <a:pt x="952" y="501"/>
                    <a:pt x="945" y="501"/>
                  </a:cubicBezTo>
                  <a:cubicBezTo>
                    <a:pt x="945" y="501"/>
                    <a:pt x="945" y="501"/>
                    <a:pt x="945" y="501"/>
                  </a:cubicBezTo>
                  <a:moveTo>
                    <a:pt x="980" y="501"/>
                  </a:moveTo>
                  <a:cubicBezTo>
                    <a:pt x="973" y="501"/>
                    <a:pt x="965" y="506"/>
                    <a:pt x="962" y="511"/>
                  </a:cubicBezTo>
                  <a:cubicBezTo>
                    <a:pt x="959" y="517"/>
                    <a:pt x="962" y="521"/>
                    <a:pt x="969" y="521"/>
                  </a:cubicBezTo>
                  <a:cubicBezTo>
                    <a:pt x="976" y="521"/>
                    <a:pt x="984" y="517"/>
                    <a:pt x="987" y="511"/>
                  </a:cubicBezTo>
                  <a:cubicBezTo>
                    <a:pt x="990" y="506"/>
                    <a:pt x="987" y="501"/>
                    <a:pt x="980" y="501"/>
                  </a:cubicBezTo>
                  <a:cubicBezTo>
                    <a:pt x="980" y="501"/>
                    <a:pt x="980" y="501"/>
                    <a:pt x="980" y="501"/>
                  </a:cubicBezTo>
                  <a:moveTo>
                    <a:pt x="1938" y="498"/>
                  </a:moveTo>
                  <a:cubicBezTo>
                    <a:pt x="1931" y="498"/>
                    <a:pt x="1924" y="503"/>
                    <a:pt x="1923" y="508"/>
                  </a:cubicBezTo>
                  <a:cubicBezTo>
                    <a:pt x="1922" y="514"/>
                    <a:pt x="1927" y="518"/>
                    <a:pt x="1934" y="518"/>
                  </a:cubicBezTo>
                  <a:cubicBezTo>
                    <a:pt x="1940" y="518"/>
                    <a:pt x="1947" y="514"/>
                    <a:pt x="1948" y="508"/>
                  </a:cubicBezTo>
                  <a:cubicBezTo>
                    <a:pt x="1949" y="503"/>
                    <a:pt x="1945" y="498"/>
                    <a:pt x="1938" y="498"/>
                  </a:cubicBezTo>
                  <a:cubicBezTo>
                    <a:pt x="1938" y="498"/>
                    <a:pt x="1938" y="498"/>
                    <a:pt x="1938" y="498"/>
                  </a:cubicBezTo>
                  <a:moveTo>
                    <a:pt x="1973" y="498"/>
                  </a:moveTo>
                  <a:cubicBezTo>
                    <a:pt x="1966" y="498"/>
                    <a:pt x="1960" y="502"/>
                    <a:pt x="1959" y="508"/>
                  </a:cubicBezTo>
                  <a:cubicBezTo>
                    <a:pt x="1957" y="514"/>
                    <a:pt x="1962" y="518"/>
                    <a:pt x="1969" y="518"/>
                  </a:cubicBezTo>
                  <a:cubicBezTo>
                    <a:pt x="1976" y="518"/>
                    <a:pt x="1982" y="514"/>
                    <a:pt x="1983" y="508"/>
                  </a:cubicBezTo>
                  <a:cubicBezTo>
                    <a:pt x="1985" y="502"/>
                    <a:pt x="1980" y="498"/>
                    <a:pt x="1973" y="498"/>
                  </a:cubicBezTo>
                  <a:cubicBezTo>
                    <a:pt x="1973" y="498"/>
                    <a:pt x="1973" y="498"/>
                    <a:pt x="1973" y="498"/>
                  </a:cubicBezTo>
                  <a:moveTo>
                    <a:pt x="2044" y="493"/>
                  </a:moveTo>
                  <a:cubicBezTo>
                    <a:pt x="2037" y="493"/>
                    <a:pt x="2031" y="498"/>
                    <a:pt x="2030" y="504"/>
                  </a:cubicBezTo>
                  <a:cubicBezTo>
                    <a:pt x="2029" y="509"/>
                    <a:pt x="2034" y="514"/>
                    <a:pt x="2041" y="514"/>
                  </a:cubicBezTo>
                  <a:cubicBezTo>
                    <a:pt x="2048" y="514"/>
                    <a:pt x="2054" y="509"/>
                    <a:pt x="2055" y="503"/>
                  </a:cubicBezTo>
                  <a:cubicBezTo>
                    <a:pt x="2056" y="498"/>
                    <a:pt x="2051" y="493"/>
                    <a:pt x="2044" y="493"/>
                  </a:cubicBezTo>
                  <a:cubicBezTo>
                    <a:pt x="2044" y="493"/>
                    <a:pt x="2044" y="493"/>
                    <a:pt x="2044" y="493"/>
                  </a:cubicBezTo>
                  <a:moveTo>
                    <a:pt x="2080" y="493"/>
                  </a:moveTo>
                  <a:cubicBezTo>
                    <a:pt x="2073" y="493"/>
                    <a:pt x="2067" y="498"/>
                    <a:pt x="2066" y="503"/>
                  </a:cubicBezTo>
                  <a:cubicBezTo>
                    <a:pt x="2065" y="509"/>
                    <a:pt x="2070" y="514"/>
                    <a:pt x="2077" y="514"/>
                  </a:cubicBezTo>
                  <a:cubicBezTo>
                    <a:pt x="2084" y="513"/>
                    <a:pt x="2090" y="509"/>
                    <a:pt x="2091" y="503"/>
                  </a:cubicBezTo>
                  <a:cubicBezTo>
                    <a:pt x="2092" y="498"/>
                    <a:pt x="2087" y="493"/>
                    <a:pt x="2080" y="493"/>
                  </a:cubicBezTo>
                  <a:cubicBezTo>
                    <a:pt x="2080" y="493"/>
                    <a:pt x="2080" y="493"/>
                    <a:pt x="2080" y="493"/>
                  </a:cubicBezTo>
                  <a:moveTo>
                    <a:pt x="2114" y="493"/>
                  </a:moveTo>
                  <a:cubicBezTo>
                    <a:pt x="2107" y="493"/>
                    <a:pt x="2101" y="498"/>
                    <a:pt x="2100" y="503"/>
                  </a:cubicBezTo>
                  <a:cubicBezTo>
                    <a:pt x="2099" y="509"/>
                    <a:pt x="2104" y="513"/>
                    <a:pt x="2111" y="513"/>
                  </a:cubicBezTo>
                  <a:cubicBezTo>
                    <a:pt x="2118" y="513"/>
                    <a:pt x="2124" y="509"/>
                    <a:pt x="2125" y="503"/>
                  </a:cubicBezTo>
                  <a:cubicBezTo>
                    <a:pt x="2126" y="497"/>
                    <a:pt x="2121" y="493"/>
                    <a:pt x="2114" y="493"/>
                  </a:cubicBezTo>
                  <a:cubicBezTo>
                    <a:pt x="2114" y="493"/>
                    <a:pt x="2114" y="493"/>
                    <a:pt x="2114" y="493"/>
                  </a:cubicBezTo>
                  <a:moveTo>
                    <a:pt x="2223" y="493"/>
                  </a:moveTo>
                  <a:cubicBezTo>
                    <a:pt x="2217" y="493"/>
                    <a:pt x="2211" y="497"/>
                    <a:pt x="2210" y="503"/>
                  </a:cubicBezTo>
                  <a:cubicBezTo>
                    <a:pt x="2209" y="509"/>
                    <a:pt x="2214" y="513"/>
                    <a:pt x="2221" y="513"/>
                  </a:cubicBezTo>
                  <a:cubicBezTo>
                    <a:pt x="2228" y="513"/>
                    <a:pt x="2234" y="508"/>
                    <a:pt x="2235" y="503"/>
                  </a:cubicBezTo>
                  <a:cubicBezTo>
                    <a:pt x="2235" y="497"/>
                    <a:pt x="2230" y="493"/>
                    <a:pt x="2223" y="493"/>
                  </a:cubicBezTo>
                  <a:cubicBezTo>
                    <a:pt x="2223" y="493"/>
                    <a:pt x="2223" y="493"/>
                    <a:pt x="2223" y="493"/>
                  </a:cubicBezTo>
                  <a:moveTo>
                    <a:pt x="2150" y="493"/>
                  </a:moveTo>
                  <a:cubicBezTo>
                    <a:pt x="2143" y="493"/>
                    <a:pt x="2137" y="497"/>
                    <a:pt x="2136" y="503"/>
                  </a:cubicBezTo>
                  <a:cubicBezTo>
                    <a:pt x="2135" y="509"/>
                    <a:pt x="2140" y="513"/>
                    <a:pt x="2147" y="513"/>
                  </a:cubicBezTo>
                  <a:cubicBezTo>
                    <a:pt x="2154" y="513"/>
                    <a:pt x="2160" y="508"/>
                    <a:pt x="2161" y="503"/>
                  </a:cubicBezTo>
                  <a:cubicBezTo>
                    <a:pt x="2162" y="497"/>
                    <a:pt x="2157" y="493"/>
                    <a:pt x="2150" y="493"/>
                  </a:cubicBezTo>
                  <a:cubicBezTo>
                    <a:pt x="2150" y="493"/>
                    <a:pt x="2150" y="493"/>
                    <a:pt x="2150" y="493"/>
                  </a:cubicBezTo>
                  <a:moveTo>
                    <a:pt x="2294" y="492"/>
                  </a:moveTo>
                  <a:cubicBezTo>
                    <a:pt x="2287" y="492"/>
                    <a:pt x="2281" y="497"/>
                    <a:pt x="2280" y="502"/>
                  </a:cubicBezTo>
                  <a:cubicBezTo>
                    <a:pt x="2280" y="508"/>
                    <a:pt x="2285" y="513"/>
                    <a:pt x="2292" y="513"/>
                  </a:cubicBezTo>
                  <a:cubicBezTo>
                    <a:pt x="2299" y="513"/>
                    <a:pt x="2305" y="508"/>
                    <a:pt x="2305" y="502"/>
                  </a:cubicBezTo>
                  <a:cubicBezTo>
                    <a:pt x="2306" y="497"/>
                    <a:pt x="2300" y="492"/>
                    <a:pt x="2294" y="492"/>
                  </a:cubicBezTo>
                  <a:cubicBezTo>
                    <a:pt x="2294" y="492"/>
                    <a:pt x="2294" y="492"/>
                    <a:pt x="2294" y="492"/>
                  </a:cubicBezTo>
                  <a:moveTo>
                    <a:pt x="2329" y="492"/>
                  </a:moveTo>
                  <a:cubicBezTo>
                    <a:pt x="2322" y="492"/>
                    <a:pt x="2316" y="497"/>
                    <a:pt x="2316" y="502"/>
                  </a:cubicBezTo>
                  <a:cubicBezTo>
                    <a:pt x="2315" y="508"/>
                    <a:pt x="2321" y="512"/>
                    <a:pt x="2328" y="512"/>
                  </a:cubicBezTo>
                  <a:cubicBezTo>
                    <a:pt x="2334" y="512"/>
                    <a:pt x="2340" y="508"/>
                    <a:pt x="2341" y="502"/>
                  </a:cubicBezTo>
                  <a:cubicBezTo>
                    <a:pt x="2341" y="496"/>
                    <a:pt x="2336" y="492"/>
                    <a:pt x="2329" y="492"/>
                  </a:cubicBezTo>
                  <a:cubicBezTo>
                    <a:pt x="2329" y="492"/>
                    <a:pt x="2329" y="492"/>
                    <a:pt x="2329" y="492"/>
                  </a:cubicBezTo>
                  <a:moveTo>
                    <a:pt x="2364" y="492"/>
                  </a:moveTo>
                  <a:cubicBezTo>
                    <a:pt x="2357" y="492"/>
                    <a:pt x="2352" y="496"/>
                    <a:pt x="2351" y="502"/>
                  </a:cubicBezTo>
                  <a:cubicBezTo>
                    <a:pt x="2351" y="508"/>
                    <a:pt x="2356" y="512"/>
                    <a:pt x="2363" y="512"/>
                  </a:cubicBezTo>
                  <a:cubicBezTo>
                    <a:pt x="2370" y="512"/>
                    <a:pt x="2376" y="507"/>
                    <a:pt x="2376" y="502"/>
                  </a:cubicBezTo>
                  <a:cubicBezTo>
                    <a:pt x="2376" y="496"/>
                    <a:pt x="2371" y="492"/>
                    <a:pt x="2364" y="492"/>
                  </a:cubicBezTo>
                  <a:cubicBezTo>
                    <a:pt x="2364" y="492"/>
                    <a:pt x="2364" y="492"/>
                    <a:pt x="2364" y="492"/>
                  </a:cubicBezTo>
                  <a:moveTo>
                    <a:pt x="2649" y="492"/>
                  </a:moveTo>
                  <a:cubicBezTo>
                    <a:pt x="2642" y="492"/>
                    <a:pt x="2636" y="496"/>
                    <a:pt x="2637" y="502"/>
                  </a:cubicBezTo>
                  <a:cubicBezTo>
                    <a:pt x="2637" y="507"/>
                    <a:pt x="2643" y="512"/>
                    <a:pt x="2650" y="512"/>
                  </a:cubicBezTo>
                  <a:cubicBezTo>
                    <a:pt x="2657" y="512"/>
                    <a:pt x="2662" y="507"/>
                    <a:pt x="2662" y="502"/>
                  </a:cubicBezTo>
                  <a:cubicBezTo>
                    <a:pt x="2661" y="496"/>
                    <a:pt x="2656" y="492"/>
                    <a:pt x="2649" y="492"/>
                  </a:cubicBezTo>
                  <a:cubicBezTo>
                    <a:pt x="2649" y="492"/>
                    <a:pt x="2649" y="492"/>
                    <a:pt x="2649" y="492"/>
                  </a:cubicBezTo>
                  <a:moveTo>
                    <a:pt x="2400" y="491"/>
                  </a:moveTo>
                  <a:cubicBezTo>
                    <a:pt x="2393" y="492"/>
                    <a:pt x="2387" y="496"/>
                    <a:pt x="2387" y="502"/>
                  </a:cubicBezTo>
                  <a:cubicBezTo>
                    <a:pt x="2387" y="507"/>
                    <a:pt x="2392" y="512"/>
                    <a:pt x="2399" y="512"/>
                  </a:cubicBezTo>
                  <a:cubicBezTo>
                    <a:pt x="2406" y="512"/>
                    <a:pt x="2412" y="507"/>
                    <a:pt x="2412" y="502"/>
                  </a:cubicBezTo>
                  <a:cubicBezTo>
                    <a:pt x="2412" y="496"/>
                    <a:pt x="2407" y="491"/>
                    <a:pt x="2400" y="491"/>
                  </a:cubicBezTo>
                  <a:cubicBezTo>
                    <a:pt x="2400" y="491"/>
                    <a:pt x="2400" y="491"/>
                    <a:pt x="2400" y="491"/>
                  </a:cubicBezTo>
                  <a:moveTo>
                    <a:pt x="2684" y="491"/>
                  </a:moveTo>
                  <a:cubicBezTo>
                    <a:pt x="2677" y="491"/>
                    <a:pt x="2671" y="496"/>
                    <a:pt x="2672" y="502"/>
                  </a:cubicBezTo>
                  <a:cubicBezTo>
                    <a:pt x="2672" y="507"/>
                    <a:pt x="2678" y="512"/>
                    <a:pt x="2685" y="512"/>
                  </a:cubicBezTo>
                  <a:cubicBezTo>
                    <a:pt x="2692" y="512"/>
                    <a:pt x="2697" y="507"/>
                    <a:pt x="2697" y="501"/>
                  </a:cubicBezTo>
                  <a:cubicBezTo>
                    <a:pt x="2696" y="496"/>
                    <a:pt x="2690" y="491"/>
                    <a:pt x="2684" y="491"/>
                  </a:cubicBezTo>
                  <a:cubicBezTo>
                    <a:pt x="2684" y="491"/>
                    <a:pt x="2684" y="491"/>
                    <a:pt x="2684" y="491"/>
                  </a:cubicBezTo>
                  <a:moveTo>
                    <a:pt x="2435" y="491"/>
                  </a:moveTo>
                  <a:cubicBezTo>
                    <a:pt x="2428" y="491"/>
                    <a:pt x="2423" y="496"/>
                    <a:pt x="2423" y="502"/>
                  </a:cubicBezTo>
                  <a:cubicBezTo>
                    <a:pt x="2422" y="507"/>
                    <a:pt x="2428" y="512"/>
                    <a:pt x="2435" y="512"/>
                  </a:cubicBezTo>
                  <a:cubicBezTo>
                    <a:pt x="2442" y="512"/>
                    <a:pt x="2447" y="507"/>
                    <a:pt x="2447" y="501"/>
                  </a:cubicBezTo>
                  <a:cubicBezTo>
                    <a:pt x="2448" y="496"/>
                    <a:pt x="2442" y="491"/>
                    <a:pt x="2435" y="491"/>
                  </a:cubicBezTo>
                  <a:cubicBezTo>
                    <a:pt x="2435" y="491"/>
                    <a:pt x="2435" y="491"/>
                    <a:pt x="2435" y="491"/>
                  </a:cubicBezTo>
                  <a:moveTo>
                    <a:pt x="2719" y="491"/>
                  </a:moveTo>
                  <a:cubicBezTo>
                    <a:pt x="2712" y="491"/>
                    <a:pt x="2707" y="496"/>
                    <a:pt x="2707" y="501"/>
                  </a:cubicBezTo>
                  <a:cubicBezTo>
                    <a:pt x="2708" y="507"/>
                    <a:pt x="2713" y="512"/>
                    <a:pt x="2720" y="512"/>
                  </a:cubicBezTo>
                  <a:cubicBezTo>
                    <a:pt x="2727" y="511"/>
                    <a:pt x="2732" y="507"/>
                    <a:pt x="2732" y="501"/>
                  </a:cubicBezTo>
                  <a:cubicBezTo>
                    <a:pt x="2732" y="496"/>
                    <a:pt x="2726" y="491"/>
                    <a:pt x="2719" y="491"/>
                  </a:cubicBezTo>
                  <a:cubicBezTo>
                    <a:pt x="2719" y="491"/>
                    <a:pt x="2719" y="491"/>
                    <a:pt x="2719" y="491"/>
                  </a:cubicBezTo>
                  <a:moveTo>
                    <a:pt x="2471" y="491"/>
                  </a:moveTo>
                  <a:cubicBezTo>
                    <a:pt x="2464" y="491"/>
                    <a:pt x="2458" y="496"/>
                    <a:pt x="2458" y="501"/>
                  </a:cubicBezTo>
                  <a:cubicBezTo>
                    <a:pt x="2458" y="507"/>
                    <a:pt x="2464" y="512"/>
                    <a:pt x="2470" y="511"/>
                  </a:cubicBezTo>
                  <a:cubicBezTo>
                    <a:pt x="2477" y="511"/>
                    <a:pt x="2483" y="507"/>
                    <a:pt x="2483" y="501"/>
                  </a:cubicBezTo>
                  <a:cubicBezTo>
                    <a:pt x="2483" y="496"/>
                    <a:pt x="2478" y="491"/>
                    <a:pt x="2471" y="491"/>
                  </a:cubicBezTo>
                  <a:cubicBezTo>
                    <a:pt x="2471" y="491"/>
                    <a:pt x="2471" y="491"/>
                    <a:pt x="2471" y="491"/>
                  </a:cubicBezTo>
                  <a:moveTo>
                    <a:pt x="2754" y="491"/>
                  </a:moveTo>
                  <a:cubicBezTo>
                    <a:pt x="2747" y="491"/>
                    <a:pt x="2742" y="496"/>
                    <a:pt x="2743" y="501"/>
                  </a:cubicBezTo>
                  <a:cubicBezTo>
                    <a:pt x="2743" y="507"/>
                    <a:pt x="2749" y="511"/>
                    <a:pt x="2756" y="511"/>
                  </a:cubicBezTo>
                  <a:cubicBezTo>
                    <a:pt x="2763" y="511"/>
                    <a:pt x="2768" y="507"/>
                    <a:pt x="2768" y="501"/>
                  </a:cubicBezTo>
                  <a:cubicBezTo>
                    <a:pt x="2767" y="495"/>
                    <a:pt x="2761" y="491"/>
                    <a:pt x="2754" y="491"/>
                  </a:cubicBezTo>
                  <a:cubicBezTo>
                    <a:pt x="2754" y="491"/>
                    <a:pt x="2754" y="491"/>
                    <a:pt x="2754" y="491"/>
                  </a:cubicBezTo>
                  <a:moveTo>
                    <a:pt x="2790" y="490"/>
                  </a:moveTo>
                  <a:cubicBezTo>
                    <a:pt x="2783" y="490"/>
                    <a:pt x="2778" y="495"/>
                    <a:pt x="2778" y="500"/>
                  </a:cubicBezTo>
                  <a:cubicBezTo>
                    <a:pt x="2779" y="506"/>
                    <a:pt x="2785" y="510"/>
                    <a:pt x="2792" y="510"/>
                  </a:cubicBezTo>
                  <a:cubicBezTo>
                    <a:pt x="2799" y="510"/>
                    <a:pt x="2804" y="506"/>
                    <a:pt x="2803" y="500"/>
                  </a:cubicBezTo>
                  <a:cubicBezTo>
                    <a:pt x="2802" y="494"/>
                    <a:pt x="2796" y="490"/>
                    <a:pt x="2790" y="490"/>
                  </a:cubicBezTo>
                  <a:cubicBezTo>
                    <a:pt x="2790" y="490"/>
                    <a:pt x="2790" y="490"/>
                    <a:pt x="2790" y="490"/>
                  </a:cubicBezTo>
                  <a:moveTo>
                    <a:pt x="2823" y="490"/>
                  </a:moveTo>
                  <a:cubicBezTo>
                    <a:pt x="2816" y="490"/>
                    <a:pt x="2811" y="494"/>
                    <a:pt x="2812" y="500"/>
                  </a:cubicBezTo>
                  <a:cubicBezTo>
                    <a:pt x="2812" y="506"/>
                    <a:pt x="2818" y="510"/>
                    <a:pt x="2825" y="510"/>
                  </a:cubicBezTo>
                  <a:cubicBezTo>
                    <a:pt x="2832" y="510"/>
                    <a:pt x="2837" y="505"/>
                    <a:pt x="2836" y="500"/>
                  </a:cubicBezTo>
                  <a:cubicBezTo>
                    <a:pt x="2836" y="494"/>
                    <a:pt x="2830" y="490"/>
                    <a:pt x="2823" y="490"/>
                  </a:cubicBezTo>
                  <a:cubicBezTo>
                    <a:pt x="2823" y="490"/>
                    <a:pt x="2823" y="490"/>
                    <a:pt x="2823" y="490"/>
                  </a:cubicBezTo>
                  <a:moveTo>
                    <a:pt x="2858" y="489"/>
                  </a:moveTo>
                  <a:cubicBezTo>
                    <a:pt x="2851" y="489"/>
                    <a:pt x="2846" y="494"/>
                    <a:pt x="2847" y="500"/>
                  </a:cubicBezTo>
                  <a:cubicBezTo>
                    <a:pt x="2848" y="505"/>
                    <a:pt x="2854" y="510"/>
                    <a:pt x="2861" y="510"/>
                  </a:cubicBezTo>
                  <a:cubicBezTo>
                    <a:pt x="2868" y="510"/>
                    <a:pt x="2873" y="505"/>
                    <a:pt x="2872" y="500"/>
                  </a:cubicBezTo>
                  <a:cubicBezTo>
                    <a:pt x="2871" y="494"/>
                    <a:pt x="2865" y="489"/>
                    <a:pt x="2858" y="489"/>
                  </a:cubicBezTo>
                  <a:cubicBezTo>
                    <a:pt x="2858" y="489"/>
                    <a:pt x="2858" y="489"/>
                    <a:pt x="2858" y="489"/>
                  </a:cubicBezTo>
                  <a:moveTo>
                    <a:pt x="2893" y="489"/>
                  </a:moveTo>
                  <a:cubicBezTo>
                    <a:pt x="2887" y="489"/>
                    <a:pt x="2882" y="494"/>
                    <a:pt x="2883" y="500"/>
                  </a:cubicBezTo>
                  <a:cubicBezTo>
                    <a:pt x="2883" y="505"/>
                    <a:pt x="2890" y="510"/>
                    <a:pt x="2896" y="510"/>
                  </a:cubicBezTo>
                  <a:cubicBezTo>
                    <a:pt x="2903" y="510"/>
                    <a:pt x="2908" y="505"/>
                    <a:pt x="2907" y="499"/>
                  </a:cubicBezTo>
                  <a:cubicBezTo>
                    <a:pt x="2907" y="494"/>
                    <a:pt x="2900" y="489"/>
                    <a:pt x="2894" y="489"/>
                  </a:cubicBezTo>
                  <a:cubicBezTo>
                    <a:pt x="2894" y="489"/>
                    <a:pt x="2894" y="489"/>
                    <a:pt x="2893" y="489"/>
                  </a:cubicBezTo>
                  <a:moveTo>
                    <a:pt x="2929" y="489"/>
                  </a:moveTo>
                  <a:cubicBezTo>
                    <a:pt x="2922" y="489"/>
                    <a:pt x="2918" y="494"/>
                    <a:pt x="2918" y="499"/>
                  </a:cubicBezTo>
                  <a:cubicBezTo>
                    <a:pt x="2919" y="505"/>
                    <a:pt x="2926" y="509"/>
                    <a:pt x="2932" y="509"/>
                  </a:cubicBezTo>
                  <a:cubicBezTo>
                    <a:pt x="2939" y="509"/>
                    <a:pt x="2944" y="505"/>
                    <a:pt x="2943" y="499"/>
                  </a:cubicBezTo>
                  <a:cubicBezTo>
                    <a:pt x="2942" y="493"/>
                    <a:pt x="2936" y="489"/>
                    <a:pt x="2929" y="489"/>
                  </a:cubicBezTo>
                  <a:cubicBezTo>
                    <a:pt x="2929" y="489"/>
                    <a:pt x="2929" y="489"/>
                    <a:pt x="2929" y="489"/>
                  </a:cubicBezTo>
                  <a:moveTo>
                    <a:pt x="2964" y="489"/>
                  </a:moveTo>
                  <a:cubicBezTo>
                    <a:pt x="2958" y="489"/>
                    <a:pt x="2953" y="493"/>
                    <a:pt x="2954" y="499"/>
                  </a:cubicBezTo>
                  <a:cubicBezTo>
                    <a:pt x="2955" y="505"/>
                    <a:pt x="2961" y="509"/>
                    <a:pt x="2968" y="509"/>
                  </a:cubicBezTo>
                  <a:cubicBezTo>
                    <a:pt x="2975" y="509"/>
                    <a:pt x="2980" y="505"/>
                    <a:pt x="2979" y="499"/>
                  </a:cubicBezTo>
                  <a:cubicBezTo>
                    <a:pt x="2978" y="493"/>
                    <a:pt x="2971" y="489"/>
                    <a:pt x="2965" y="489"/>
                  </a:cubicBezTo>
                  <a:cubicBezTo>
                    <a:pt x="2964" y="489"/>
                    <a:pt x="2964" y="489"/>
                    <a:pt x="2964" y="489"/>
                  </a:cubicBezTo>
                  <a:moveTo>
                    <a:pt x="3000" y="488"/>
                  </a:moveTo>
                  <a:cubicBezTo>
                    <a:pt x="2993" y="489"/>
                    <a:pt x="2988" y="493"/>
                    <a:pt x="2989" y="499"/>
                  </a:cubicBezTo>
                  <a:cubicBezTo>
                    <a:pt x="2990" y="504"/>
                    <a:pt x="2997" y="509"/>
                    <a:pt x="3004" y="509"/>
                  </a:cubicBezTo>
                  <a:cubicBezTo>
                    <a:pt x="3010" y="509"/>
                    <a:pt x="3015" y="504"/>
                    <a:pt x="3014" y="499"/>
                  </a:cubicBezTo>
                  <a:cubicBezTo>
                    <a:pt x="3013" y="493"/>
                    <a:pt x="3007" y="488"/>
                    <a:pt x="3000" y="488"/>
                  </a:cubicBezTo>
                  <a:cubicBezTo>
                    <a:pt x="3000" y="488"/>
                    <a:pt x="3000" y="488"/>
                    <a:pt x="3000" y="488"/>
                  </a:cubicBezTo>
                  <a:moveTo>
                    <a:pt x="3035" y="488"/>
                  </a:moveTo>
                  <a:cubicBezTo>
                    <a:pt x="3028" y="488"/>
                    <a:pt x="3023" y="493"/>
                    <a:pt x="3025" y="499"/>
                  </a:cubicBezTo>
                  <a:cubicBezTo>
                    <a:pt x="3026" y="504"/>
                    <a:pt x="3032" y="509"/>
                    <a:pt x="3039" y="509"/>
                  </a:cubicBezTo>
                  <a:cubicBezTo>
                    <a:pt x="3046" y="509"/>
                    <a:pt x="3050" y="504"/>
                    <a:pt x="3049" y="498"/>
                  </a:cubicBezTo>
                  <a:cubicBezTo>
                    <a:pt x="3048" y="493"/>
                    <a:pt x="3042" y="488"/>
                    <a:pt x="3035" y="488"/>
                  </a:cubicBezTo>
                  <a:cubicBezTo>
                    <a:pt x="3035" y="488"/>
                    <a:pt x="3035" y="488"/>
                    <a:pt x="3035" y="488"/>
                  </a:cubicBezTo>
                  <a:moveTo>
                    <a:pt x="3070" y="488"/>
                  </a:moveTo>
                  <a:cubicBezTo>
                    <a:pt x="3064" y="488"/>
                    <a:pt x="3059" y="493"/>
                    <a:pt x="3060" y="498"/>
                  </a:cubicBezTo>
                  <a:cubicBezTo>
                    <a:pt x="3061" y="504"/>
                    <a:pt x="3068" y="509"/>
                    <a:pt x="3075" y="509"/>
                  </a:cubicBezTo>
                  <a:cubicBezTo>
                    <a:pt x="3082" y="508"/>
                    <a:pt x="3086" y="504"/>
                    <a:pt x="3085" y="498"/>
                  </a:cubicBezTo>
                  <a:cubicBezTo>
                    <a:pt x="3084" y="493"/>
                    <a:pt x="3077" y="488"/>
                    <a:pt x="3071" y="488"/>
                  </a:cubicBezTo>
                  <a:cubicBezTo>
                    <a:pt x="3070" y="488"/>
                    <a:pt x="3070" y="488"/>
                    <a:pt x="3070" y="488"/>
                  </a:cubicBezTo>
                  <a:moveTo>
                    <a:pt x="3107" y="488"/>
                  </a:moveTo>
                  <a:cubicBezTo>
                    <a:pt x="3100" y="488"/>
                    <a:pt x="3096" y="492"/>
                    <a:pt x="3097" y="498"/>
                  </a:cubicBezTo>
                  <a:cubicBezTo>
                    <a:pt x="3098" y="504"/>
                    <a:pt x="3105" y="508"/>
                    <a:pt x="3111" y="508"/>
                  </a:cubicBezTo>
                  <a:cubicBezTo>
                    <a:pt x="3118" y="508"/>
                    <a:pt x="3123" y="504"/>
                    <a:pt x="3122" y="498"/>
                  </a:cubicBezTo>
                  <a:cubicBezTo>
                    <a:pt x="3120" y="492"/>
                    <a:pt x="3114" y="488"/>
                    <a:pt x="3107" y="488"/>
                  </a:cubicBezTo>
                  <a:cubicBezTo>
                    <a:pt x="3107" y="488"/>
                    <a:pt x="3107" y="488"/>
                    <a:pt x="3107" y="488"/>
                  </a:cubicBezTo>
                  <a:moveTo>
                    <a:pt x="3142" y="488"/>
                  </a:moveTo>
                  <a:cubicBezTo>
                    <a:pt x="3135" y="488"/>
                    <a:pt x="3131" y="492"/>
                    <a:pt x="3132" y="498"/>
                  </a:cubicBezTo>
                  <a:cubicBezTo>
                    <a:pt x="3133" y="504"/>
                    <a:pt x="3140" y="508"/>
                    <a:pt x="3147" y="508"/>
                  </a:cubicBezTo>
                  <a:cubicBezTo>
                    <a:pt x="3154" y="508"/>
                    <a:pt x="3158" y="503"/>
                    <a:pt x="3157" y="498"/>
                  </a:cubicBezTo>
                  <a:cubicBezTo>
                    <a:pt x="3156" y="492"/>
                    <a:pt x="3149" y="488"/>
                    <a:pt x="3142" y="488"/>
                  </a:cubicBezTo>
                  <a:cubicBezTo>
                    <a:pt x="3142" y="488"/>
                    <a:pt x="3142" y="488"/>
                    <a:pt x="3142" y="488"/>
                  </a:cubicBezTo>
                  <a:moveTo>
                    <a:pt x="3177" y="487"/>
                  </a:moveTo>
                  <a:cubicBezTo>
                    <a:pt x="3171" y="487"/>
                    <a:pt x="3166" y="492"/>
                    <a:pt x="3168" y="498"/>
                  </a:cubicBezTo>
                  <a:cubicBezTo>
                    <a:pt x="3169" y="503"/>
                    <a:pt x="3176" y="508"/>
                    <a:pt x="3183" y="508"/>
                  </a:cubicBezTo>
                  <a:cubicBezTo>
                    <a:pt x="3189" y="508"/>
                    <a:pt x="3194" y="503"/>
                    <a:pt x="3192" y="497"/>
                  </a:cubicBezTo>
                  <a:cubicBezTo>
                    <a:pt x="3191" y="492"/>
                    <a:pt x="3184" y="487"/>
                    <a:pt x="3178" y="487"/>
                  </a:cubicBezTo>
                  <a:cubicBezTo>
                    <a:pt x="3178" y="487"/>
                    <a:pt x="3178" y="487"/>
                    <a:pt x="3177" y="487"/>
                  </a:cubicBezTo>
                  <a:moveTo>
                    <a:pt x="3213" y="487"/>
                  </a:moveTo>
                  <a:cubicBezTo>
                    <a:pt x="3206" y="487"/>
                    <a:pt x="3202" y="492"/>
                    <a:pt x="3203" y="497"/>
                  </a:cubicBezTo>
                  <a:cubicBezTo>
                    <a:pt x="3205" y="503"/>
                    <a:pt x="3212" y="508"/>
                    <a:pt x="3219" y="508"/>
                  </a:cubicBezTo>
                  <a:cubicBezTo>
                    <a:pt x="3225" y="508"/>
                    <a:pt x="3230" y="503"/>
                    <a:pt x="3228" y="497"/>
                  </a:cubicBezTo>
                  <a:cubicBezTo>
                    <a:pt x="3227" y="492"/>
                    <a:pt x="3220" y="487"/>
                    <a:pt x="3213" y="487"/>
                  </a:cubicBezTo>
                  <a:cubicBezTo>
                    <a:pt x="3213" y="487"/>
                    <a:pt x="3213" y="487"/>
                    <a:pt x="3213" y="487"/>
                  </a:cubicBezTo>
                  <a:moveTo>
                    <a:pt x="3248" y="487"/>
                  </a:moveTo>
                  <a:cubicBezTo>
                    <a:pt x="3242" y="487"/>
                    <a:pt x="3237" y="492"/>
                    <a:pt x="3239" y="497"/>
                  </a:cubicBezTo>
                  <a:cubicBezTo>
                    <a:pt x="3240" y="503"/>
                    <a:pt x="3247" y="507"/>
                    <a:pt x="3254" y="507"/>
                  </a:cubicBezTo>
                  <a:cubicBezTo>
                    <a:pt x="3261" y="507"/>
                    <a:pt x="3265" y="503"/>
                    <a:pt x="3264" y="497"/>
                  </a:cubicBezTo>
                  <a:cubicBezTo>
                    <a:pt x="3262" y="491"/>
                    <a:pt x="3255" y="487"/>
                    <a:pt x="3248" y="487"/>
                  </a:cubicBezTo>
                  <a:cubicBezTo>
                    <a:pt x="3248" y="487"/>
                    <a:pt x="3248" y="487"/>
                    <a:pt x="3248" y="487"/>
                  </a:cubicBezTo>
                  <a:moveTo>
                    <a:pt x="3284" y="487"/>
                  </a:moveTo>
                  <a:cubicBezTo>
                    <a:pt x="3277" y="487"/>
                    <a:pt x="3273" y="491"/>
                    <a:pt x="3274" y="497"/>
                  </a:cubicBezTo>
                  <a:cubicBezTo>
                    <a:pt x="3276" y="503"/>
                    <a:pt x="3283" y="507"/>
                    <a:pt x="3290" y="507"/>
                  </a:cubicBezTo>
                  <a:cubicBezTo>
                    <a:pt x="3296" y="507"/>
                    <a:pt x="3301" y="502"/>
                    <a:pt x="3299" y="497"/>
                  </a:cubicBezTo>
                  <a:cubicBezTo>
                    <a:pt x="3297" y="491"/>
                    <a:pt x="3291" y="487"/>
                    <a:pt x="3284" y="487"/>
                  </a:cubicBezTo>
                  <a:cubicBezTo>
                    <a:pt x="3284" y="487"/>
                    <a:pt x="3284" y="487"/>
                    <a:pt x="3284" y="487"/>
                  </a:cubicBezTo>
                  <a:moveTo>
                    <a:pt x="3319" y="486"/>
                  </a:moveTo>
                  <a:cubicBezTo>
                    <a:pt x="3312" y="486"/>
                    <a:pt x="3308" y="491"/>
                    <a:pt x="3310" y="497"/>
                  </a:cubicBezTo>
                  <a:cubicBezTo>
                    <a:pt x="3311" y="502"/>
                    <a:pt x="3318" y="507"/>
                    <a:pt x="3325" y="507"/>
                  </a:cubicBezTo>
                  <a:cubicBezTo>
                    <a:pt x="3332" y="507"/>
                    <a:pt x="3336" y="502"/>
                    <a:pt x="3334" y="497"/>
                  </a:cubicBezTo>
                  <a:cubicBezTo>
                    <a:pt x="3333" y="491"/>
                    <a:pt x="3326" y="486"/>
                    <a:pt x="3319" y="486"/>
                  </a:cubicBezTo>
                  <a:cubicBezTo>
                    <a:pt x="3319" y="486"/>
                    <a:pt x="3319" y="486"/>
                    <a:pt x="3319" y="486"/>
                  </a:cubicBezTo>
                  <a:moveTo>
                    <a:pt x="3354" y="486"/>
                  </a:moveTo>
                  <a:cubicBezTo>
                    <a:pt x="3347" y="486"/>
                    <a:pt x="3343" y="491"/>
                    <a:pt x="3345" y="496"/>
                  </a:cubicBezTo>
                  <a:cubicBezTo>
                    <a:pt x="3347" y="502"/>
                    <a:pt x="3354" y="507"/>
                    <a:pt x="3361" y="507"/>
                  </a:cubicBezTo>
                  <a:cubicBezTo>
                    <a:pt x="3368" y="507"/>
                    <a:pt x="3372" y="502"/>
                    <a:pt x="3370" y="496"/>
                  </a:cubicBezTo>
                  <a:cubicBezTo>
                    <a:pt x="3368" y="491"/>
                    <a:pt x="3361" y="486"/>
                    <a:pt x="3354" y="486"/>
                  </a:cubicBezTo>
                  <a:cubicBezTo>
                    <a:pt x="3354" y="486"/>
                    <a:pt x="3354" y="486"/>
                    <a:pt x="3354" y="486"/>
                  </a:cubicBezTo>
                  <a:moveTo>
                    <a:pt x="3390" y="486"/>
                  </a:moveTo>
                  <a:cubicBezTo>
                    <a:pt x="3383" y="486"/>
                    <a:pt x="3379" y="491"/>
                    <a:pt x="3381" y="496"/>
                  </a:cubicBezTo>
                  <a:cubicBezTo>
                    <a:pt x="3383" y="502"/>
                    <a:pt x="3390" y="506"/>
                    <a:pt x="3397" y="506"/>
                  </a:cubicBezTo>
                  <a:cubicBezTo>
                    <a:pt x="3404" y="506"/>
                    <a:pt x="3408" y="502"/>
                    <a:pt x="3406" y="496"/>
                  </a:cubicBezTo>
                  <a:cubicBezTo>
                    <a:pt x="3404" y="490"/>
                    <a:pt x="3397" y="486"/>
                    <a:pt x="3390" y="486"/>
                  </a:cubicBezTo>
                  <a:cubicBezTo>
                    <a:pt x="3390" y="486"/>
                    <a:pt x="3390" y="486"/>
                    <a:pt x="3390" y="486"/>
                  </a:cubicBezTo>
                  <a:moveTo>
                    <a:pt x="3425" y="486"/>
                  </a:moveTo>
                  <a:cubicBezTo>
                    <a:pt x="3418" y="486"/>
                    <a:pt x="3414" y="490"/>
                    <a:pt x="3416" y="496"/>
                  </a:cubicBezTo>
                  <a:cubicBezTo>
                    <a:pt x="3418" y="502"/>
                    <a:pt x="3425" y="506"/>
                    <a:pt x="3432" y="506"/>
                  </a:cubicBezTo>
                  <a:cubicBezTo>
                    <a:pt x="3439" y="506"/>
                    <a:pt x="3443" y="502"/>
                    <a:pt x="3441" y="496"/>
                  </a:cubicBezTo>
                  <a:cubicBezTo>
                    <a:pt x="3439" y="490"/>
                    <a:pt x="3432" y="486"/>
                    <a:pt x="3425" y="486"/>
                  </a:cubicBezTo>
                  <a:cubicBezTo>
                    <a:pt x="3425" y="486"/>
                    <a:pt x="3425" y="486"/>
                    <a:pt x="3425" y="486"/>
                  </a:cubicBezTo>
                  <a:moveTo>
                    <a:pt x="3461" y="485"/>
                  </a:moveTo>
                  <a:cubicBezTo>
                    <a:pt x="3454" y="485"/>
                    <a:pt x="3450" y="490"/>
                    <a:pt x="3452" y="496"/>
                  </a:cubicBezTo>
                  <a:cubicBezTo>
                    <a:pt x="3454" y="501"/>
                    <a:pt x="3461" y="506"/>
                    <a:pt x="3468" y="506"/>
                  </a:cubicBezTo>
                  <a:cubicBezTo>
                    <a:pt x="3475" y="506"/>
                    <a:pt x="3478" y="501"/>
                    <a:pt x="3476" y="496"/>
                  </a:cubicBezTo>
                  <a:cubicBezTo>
                    <a:pt x="3474" y="490"/>
                    <a:pt x="3467" y="485"/>
                    <a:pt x="3461" y="485"/>
                  </a:cubicBezTo>
                  <a:cubicBezTo>
                    <a:pt x="3461" y="485"/>
                    <a:pt x="3461" y="485"/>
                    <a:pt x="3461" y="485"/>
                  </a:cubicBezTo>
                  <a:moveTo>
                    <a:pt x="3496" y="485"/>
                  </a:moveTo>
                  <a:cubicBezTo>
                    <a:pt x="3489" y="485"/>
                    <a:pt x="3485" y="490"/>
                    <a:pt x="3487" y="496"/>
                  </a:cubicBezTo>
                  <a:cubicBezTo>
                    <a:pt x="3489" y="501"/>
                    <a:pt x="3496" y="506"/>
                    <a:pt x="3503" y="506"/>
                  </a:cubicBezTo>
                  <a:cubicBezTo>
                    <a:pt x="3510" y="506"/>
                    <a:pt x="3514" y="501"/>
                    <a:pt x="3512" y="495"/>
                  </a:cubicBezTo>
                  <a:cubicBezTo>
                    <a:pt x="3510" y="490"/>
                    <a:pt x="3503" y="485"/>
                    <a:pt x="3496" y="485"/>
                  </a:cubicBezTo>
                  <a:cubicBezTo>
                    <a:pt x="3496" y="485"/>
                    <a:pt x="3496" y="485"/>
                    <a:pt x="3496" y="485"/>
                  </a:cubicBezTo>
                  <a:moveTo>
                    <a:pt x="3531" y="485"/>
                  </a:moveTo>
                  <a:cubicBezTo>
                    <a:pt x="3524" y="485"/>
                    <a:pt x="3520" y="490"/>
                    <a:pt x="3522" y="495"/>
                  </a:cubicBezTo>
                  <a:cubicBezTo>
                    <a:pt x="3525" y="501"/>
                    <a:pt x="3532" y="506"/>
                    <a:pt x="3539" y="505"/>
                  </a:cubicBezTo>
                  <a:cubicBezTo>
                    <a:pt x="3546" y="505"/>
                    <a:pt x="3549" y="501"/>
                    <a:pt x="3547" y="495"/>
                  </a:cubicBezTo>
                  <a:cubicBezTo>
                    <a:pt x="3545" y="490"/>
                    <a:pt x="3538" y="485"/>
                    <a:pt x="3531" y="485"/>
                  </a:cubicBezTo>
                  <a:cubicBezTo>
                    <a:pt x="3531" y="485"/>
                    <a:pt x="3531" y="485"/>
                    <a:pt x="3531" y="485"/>
                  </a:cubicBezTo>
                  <a:moveTo>
                    <a:pt x="3567" y="485"/>
                  </a:moveTo>
                  <a:cubicBezTo>
                    <a:pt x="3560" y="485"/>
                    <a:pt x="3556" y="489"/>
                    <a:pt x="3558" y="495"/>
                  </a:cubicBezTo>
                  <a:cubicBezTo>
                    <a:pt x="3560" y="501"/>
                    <a:pt x="3568" y="505"/>
                    <a:pt x="3575" y="505"/>
                  </a:cubicBezTo>
                  <a:cubicBezTo>
                    <a:pt x="3582" y="505"/>
                    <a:pt x="3585" y="501"/>
                    <a:pt x="3583" y="495"/>
                  </a:cubicBezTo>
                  <a:cubicBezTo>
                    <a:pt x="3581" y="489"/>
                    <a:pt x="3574" y="485"/>
                    <a:pt x="3567" y="485"/>
                  </a:cubicBezTo>
                  <a:cubicBezTo>
                    <a:pt x="3567" y="485"/>
                    <a:pt x="3567" y="485"/>
                    <a:pt x="3567" y="485"/>
                  </a:cubicBezTo>
                  <a:moveTo>
                    <a:pt x="3602" y="484"/>
                  </a:moveTo>
                  <a:cubicBezTo>
                    <a:pt x="3595" y="484"/>
                    <a:pt x="3591" y="489"/>
                    <a:pt x="3594" y="495"/>
                  </a:cubicBezTo>
                  <a:cubicBezTo>
                    <a:pt x="3596" y="500"/>
                    <a:pt x="3603" y="505"/>
                    <a:pt x="3610" y="505"/>
                  </a:cubicBezTo>
                  <a:cubicBezTo>
                    <a:pt x="3617" y="505"/>
                    <a:pt x="3621" y="500"/>
                    <a:pt x="3619" y="495"/>
                  </a:cubicBezTo>
                  <a:cubicBezTo>
                    <a:pt x="3616" y="489"/>
                    <a:pt x="3609" y="484"/>
                    <a:pt x="3602" y="484"/>
                  </a:cubicBezTo>
                  <a:cubicBezTo>
                    <a:pt x="3602" y="484"/>
                    <a:pt x="3602" y="484"/>
                    <a:pt x="3602" y="484"/>
                  </a:cubicBezTo>
                  <a:moveTo>
                    <a:pt x="3637" y="484"/>
                  </a:moveTo>
                  <a:cubicBezTo>
                    <a:pt x="3630" y="484"/>
                    <a:pt x="3627" y="489"/>
                    <a:pt x="3629" y="494"/>
                  </a:cubicBezTo>
                  <a:cubicBezTo>
                    <a:pt x="3631" y="500"/>
                    <a:pt x="3639" y="505"/>
                    <a:pt x="3646" y="505"/>
                  </a:cubicBezTo>
                  <a:cubicBezTo>
                    <a:pt x="3652" y="505"/>
                    <a:pt x="3656" y="500"/>
                    <a:pt x="3654" y="494"/>
                  </a:cubicBezTo>
                  <a:cubicBezTo>
                    <a:pt x="3651" y="489"/>
                    <a:pt x="3644" y="484"/>
                    <a:pt x="3637" y="484"/>
                  </a:cubicBezTo>
                  <a:cubicBezTo>
                    <a:pt x="3637" y="484"/>
                    <a:pt x="3637" y="484"/>
                    <a:pt x="3637" y="484"/>
                  </a:cubicBezTo>
                  <a:moveTo>
                    <a:pt x="3673" y="484"/>
                  </a:moveTo>
                  <a:cubicBezTo>
                    <a:pt x="3666" y="484"/>
                    <a:pt x="3662" y="489"/>
                    <a:pt x="3664" y="494"/>
                  </a:cubicBezTo>
                  <a:cubicBezTo>
                    <a:pt x="3667" y="500"/>
                    <a:pt x="3674" y="504"/>
                    <a:pt x="3681" y="504"/>
                  </a:cubicBezTo>
                  <a:cubicBezTo>
                    <a:pt x="3688" y="504"/>
                    <a:pt x="3692" y="500"/>
                    <a:pt x="3689" y="494"/>
                  </a:cubicBezTo>
                  <a:cubicBezTo>
                    <a:pt x="3687" y="488"/>
                    <a:pt x="3679" y="484"/>
                    <a:pt x="3673" y="484"/>
                  </a:cubicBezTo>
                  <a:cubicBezTo>
                    <a:pt x="3673" y="484"/>
                    <a:pt x="3673" y="484"/>
                    <a:pt x="3673" y="484"/>
                  </a:cubicBezTo>
                  <a:moveTo>
                    <a:pt x="3710" y="484"/>
                  </a:moveTo>
                  <a:cubicBezTo>
                    <a:pt x="3703" y="484"/>
                    <a:pt x="3700" y="488"/>
                    <a:pt x="3702" y="494"/>
                  </a:cubicBezTo>
                  <a:cubicBezTo>
                    <a:pt x="3705" y="500"/>
                    <a:pt x="3712" y="504"/>
                    <a:pt x="3719" y="504"/>
                  </a:cubicBezTo>
                  <a:cubicBezTo>
                    <a:pt x="3726" y="504"/>
                    <a:pt x="3729" y="500"/>
                    <a:pt x="3727" y="494"/>
                  </a:cubicBezTo>
                  <a:cubicBezTo>
                    <a:pt x="3724" y="488"/>
                    <a:pt x="3717" y="484"/>
                    <a:pt x="3710" y="484"/>
                  </a:cubicBezTo>
                  <a:cubicBezTo>
                    <a:pt x="3710" y="484"/>
                    <a:pt x="3710" y="484"/>
                    <a:pt x="3710" y="484"/>
                  </a:cubicBezTo>
                  <a:moveTo>
                    <a:pt x="3745" y="483"/>
                  </a:moveTo>
                  <a:cubicBezTo>
                    <a:pt x="3738" y="483"/>
                    <a:pt x="3735" y="488"/>
                    <a:pt x="3737" y="494"/>
                  </a:cubicBezTo>
                  <a:cubicBezTo>
                    <a:pt x="3740" y="499"/>
                    <a:pt x="3747" y="504"/>
                    <a:pt x="3754" y="504"/>
                  </a:cubicBezTo>
                  <a:cubicBezTo>
                    <a:pt x="3761" y="504"/>
                    <a:pt x="3765" y="499"/>
                    <a:pt x="3762" y="494"/>
                  </a:cubicBezTo>
                  <a:cubicBezTo>
                    <a:pt x="3759" y="488"/>
                    <a:pt x="3752" y="483"/>
                    <a:pt x="3745" y="483"/>
                  </a:cubicBezTo>
                  <a:cubicBezTo>
                    <a:pt x="3745" y="483"/>
                    <a:pt x="3745" y="483"/>
                    <a:pt x="3745" y="483"/>
                  </a:cubicBezTo>
                  <a:moveTo>
                    <a:pt x="3780" y="483"/>
                  </a:moveTo>
                  <a:cubicBezTo>
                    <a:pt x="3773" y="483"/>
                    <a:pt x="3770" y="488"/>
                    <a:pt x="3772" y="494"/>
                  </a:cubicBezTo>
                  <a:cubicBezTo>
                    <a:pt x="3775" y="499"/>
                    <a:pt x="3783" y="504"/>
                    <a:pt x="3789" y="504"/>
                  </a:cubicBezTo>
                  <a:cubicBezTo>
                    <a:pt x="3796" y="504"/>
                    <a:pt x="3800" y="499"/>
                    <a:pt x="3797" y="493"/>
                  </a:cubicBezTo>
                  <a:cubicBezTo>
                    <a:pt x="3795" y="488"/>
                    <a:pt x="3787" y="483"/>
                    <a:pt x="3780" y="483"/>
                  </a:cubicBezTo>
                  <a:cubicBezTo>
                    <a:pt x="3780" y="483"/>
                    <a:pt x="3780" y="483"/>
                    <a:pt x="3780" y="483"/>
                  </a:cubicBezTo>
                  <a:moveTo>
                    <a:pt x="3815" y="483"/>
                  </a:moveTo>
                  <a:cubicBezTo>
                    <a:pt x="3809" y="483"/>
                    <a:pt x="3805" y="488"/>
                    <a:pt x="3808" y="493"/>
                  </a:cubicBezTo>
                  <a:cubicBezTo>
                    <a:pt x="3811" y="499"/>
                    <a:pt x="3818" y="504"/>
                    <a:pt x="3825" y="503"/>
                  </a:cubicBezTo>
                  <a:cubicBezTo>
                    <a:pt x="3832" y="503"/>
                    <a:pt x="3835" y="499"/>
                    <a:pt x="3833" y="493"/>
                  </a:cubicBezTo>
                  <a:cubicBezTo>
                    <a:pt x="3830" y="487"/>
                    <a:pt x="3822" y="483"/>
                    <a:pt x="3815" y="483"/>
                  </a:cubicBezTo>
                  <a:cubicBezTo>
                    <a:pt x="3815" y="483"/>
                    <a:pt x="3815" y="483"/>
                    <a:pt x="3815" y="483"/>
                  </a:cubicBezTo>
                  <a:moveTo>
                    <a:pt x="3851" y="483"/>
                  </a:moveTo>
                  <a:cubicBezTo>
                    <a:pt x="3844" y="483"/>
                    <a:pt x="3841" y="487"/>
                    <a:pt x="3844" y="493"/>
                  </a:cubicBezTo>
                  <a:cubicBezTo>
                    <a:pt x="3846" y="499"/>
                    <a:pt x="3854" y="503"/>
                    <a:pt x="3861" y="503"/>
                  </a:cubicBezTo>
                  <a:cubicBezTo>
                    <a:pt x="3868" y="503"/>
                    <a:pt x="3871" y="499"/>
                    <a:pt x="3869" y="493"/>
                  </a:cubicBezTo>
                  <a:cubicBezTo>
                    <a:pt x="3866" y="487"/>
                    <a:pt x="3858" y="483"/>
                    <a:pt x="3851" y="483"/>
                  </a:cubicBezTo>
                  <a:cubicBezTo>
                    <a:pt x="3851" y="483"/>
                    <a:pt x="3851" y="483"/>
                    <a:pt x="3851" y="483"/>
                  </a:cubicBezTo>
                  <a:moveTo>
                    <a:pt x="3886" y="482"/>
                  </a:moveTo>
                  <a:cubicBezTo>
                    <a:pt x="3879" y="482"/>
                    <a:pt x="3876" y="487"/>
                    <a:pt x="3879" y="493"/>
                  </a:cubicBezTo>
                  <a:cubicBezTo>
                    <a:pt x="3882" y="499"/>
                    <a:pt x="3890" y="503"/>
                    <a:pt x="3896" y="503"/>
                  </a:cubicBezTo>
                  <a:cubicBezTo>
                    <a:pt x="3903" y="503"/>
                    <a:pt x="3907" y="498"/>
                    <a:pt x="3904" y="493"/>
                  </a:cubicBezTo>
                  <a:cubicBezTo>
                    <a:pt x="3901" y="487"/>
                    <a:pt x="3893" y="482"/>
                    <a:pt x="3886" y="482"/>
                  </a:cubicBezTo>
                  <a:cubicBezTo>
                    <a:pt x="3886" y="482"/>
                    <a:pt x="3886" y="482"/>
                    <a:pt x="3886" y="482"/>
                  </a:cubicBezTo>
                  <a:moveTo>
                    <a:pt x="3921" y="482"/>
                  </a:moveTo>
                  <a:cubicBezTo>
                    <a:pt x="3915" y="482"/>
                    <a:pt x="3911" y="487"/>
                    <a:pt x="3914" y="493"/>
                  </a:cubicBezTo>
                  <a:cubicBezTo>
                    <a:pt x="3917" y="498"/>
                    <a:pt x="3925" y="503"/>
                    <a:pt x="3932" y="503"/>
                  </a:cubicBezTo>
                  <a:cubicBezTo>
                    <a:pt x="3939" y="503"/>
                    <a:pt x="3942" y="498"/>
                    <a:pt x="3939" y="492"/>
                  </a:cubicBezTo>
                  <a:cubicBezTo>
                    <a:pt x="3936" y="487"/>
                    <a:pt x="3928" y="482"/>
                    <a:pt x="3922" y="482"/>
                  </a:cubicBezTo>
                  <a:cubicBezTo>
                    <a:pt x="3922" y="482"/>
                    <a:pt x="3921" y="482"/>
                    <a:pt x="3921" y="482"/>
                  </a:cubicBezTo>
                  <a:moveTo>
                    <a:pt x="3957" y="482"/>
                  </a:moveTo>
                  <a:cubicBezTo>
                    <a:pt x="3950" y="482"/>
                    <a:pt x="3947" y="487"/>
                    <a:pt x="3950" y="492"/>
                  </a:cubicBezTo>
                  <a:cubicBezTo>
                    <a:pt x="3953" y="498"/>
                    <a:pt x="3960" y="503"/>
                    <a:pt x="3967" y="503"/>
                  </a:cubicBezTo>
                  <a:cubicBezTo>
                    <a:pt x="3974" y="503"/>
                    <a:pt x="3977" y="498"/>
                    <a:pt x="3974" y="492"/>
                  </a:cubicBezTo>
                  <a:cubicBezTo>
                    <a:pt x="3971" y="487"/>
                    <a:pt x="3963" y="482"/>
                    <a:pt x="3957" y="482"/>
                  </a:cubicBezTo>
                  <a:cubicBezTo>
                    <a:pt x="3957" y="482"/>
                    <a:pt x="3957" y="482"/>
                    <a:pt x="3957" y="482"/>
                  </a:cubicBezTo>
                  <a:moveTo>
                    <a:pt x="3992" y="482"/>
                  </a:moveTo>
                  <a:cubicBezTo>
                    <a:pt x="3985" y="482"/>
                    <a:pt x="3982" y="486"/>
                    <a:pt x="3985" y="492"/>
                  </a:cubicBezTo>
                  <a:cubicBezTo>
                    <a:pt x="3988" y="498"/>
                    <a:pt x="3996" y="502"/>
                    <a:pt x="4003" y="502"/>
                  </a:cubicBezTo>
                  <a:cubicBezTo>
                    <a:pt x="4010" y="502"/>
                    <a:pt x="4013" y="498"/>
                    <a:pt x="4010" y="492"/>
                  </a:cubicBezTo>
                  <a:cubicBezTo>
                    <a:pt x="4007" y="486"/>
                    <a:pt x="3999" y="482"/>
                    <a:pt x="3992" y="482"/>
                  </a:cubicBezTo>
                  <a:cubicBezTo>
                    <a:pt x="3992" y="482"/>
                    <a:pt x="3992" y="482"/>
                    <a:pt x="3992" y="482"/>
                  </a:cubicBezTo>
                  <a:moveTo>
                    <a:pt x="4026" y="482"/>
                  </a:moveTo>
                  <a:cubicBezTo>
                    <a:pt x="4019" y="482"/>
                    <a:pt x="4016" y="486"/>
                    <a:pt x="4019" y="492"/>
                  </a:cubicBezTo>
                  <a:cubicBezTo>
                    <a:pt x="4023" y="498"/>
                    <a:pt x="4031" y="502"/>
                    <a:pt x="4038" y="502"/>
                  </a:cubicBezTo>
                  <a:cubicBezTo>
                    <a:pt x="4044" y="502"/>
                    <a:pt x="4047" y="497"/>
                    <a:pt x="4044" y="492"/>
                  </a:cubicBezTo>
                  <a:cubicBezTo>
                    <a:pt x="4041" y="486"/>
                    <a:pt x="4033" y="482"/>
                    <a:pt x="4026" y="482"/>
                  </a:cubicBezTo>
                  <a:cubicBezTo>
                    <a:pt x="4026" y="482"/>
                    <a:pt x="4026" y="482"/>
                    <a:pt x="4026" y="482"/>
                  </a:cubicBezTo>
                  <a:moveTo>
                    <a:pt x="4134" y="481"/>
                  </a:moveTo>
                  <a:cubicBezTo>
                    <a:pt x="4128" y="481"/>
                    <a:pt x="4125" y="486"/>
                    <a:pt x="4128" y="491"/>
                  </a:cubicBezTo>
                  <a:cubicBezTo>
                    <a:pt x="4131" y="497"/>
                    <a:pt x="4140" y="501"/>
                    <a:pt x="4147" y="501"/>
                  </a:cubicBezTo>
                  <a:cubicBezTo>
                    <a:pt x="4153" y="501"/>
                    <a:pt x="4156" y="497"/>
                    <a:pt x="4153" y="491"/>
                  </a:cubicBezTo>
                  <a:cubicBezTo>
                    <a:pt x="4149" y="485"/>
                    <a:pt x="4141" y="481"/>
                    <a:pt x="4134" y="481"/>
                  </a:cubicBezTo>
                  <a:cubicBezTo>
                    <a:pt x="4134" y="481"/>
                    <a:pt x="4134" y="481"/>
                    <a:pt x="4134" y="481"/>
                  </a:cubicBezTo>
                  <a:moveTo>
                    <a:pt x="4169" y="481"/>
                  </a:moveTo>
                  <a:cubicBezTo>
                    <a:pt x="4162" y="481"/>
                    <a:pt x="4159" y="485"/>
                    <a:pt x="4162" y="491"/>
                  </a:cubicBezTo>
                  <a:cubicBezTo>
                    <a:pt x="4166" y="497"/>
                    <a:pt x="4174" y="501"/>
                    <a:pt x="4181" y="501"/>
                  </a:cubicBezTo>
                  <a:cubicBezTo>
                    <a:pt x="4188" y="501"/>
                    <a:pt x="4191" y="496"/>
                    <a:pt x="4187" y="491"/>
                  </a:cubicBezTo>
                  <a:cubicBezTo>
                    <a:pt x="4184" y="485"/>
                    <a:pt x="4176" y="481"/>
                    <a:pt x="4169" y="481"/>
                  </a:cubicBezTo>
                  <a:cubicBezTo>
                    <a:pt x="4169" y="481"/>
                    <a:pt x="4169" y="481"/>
                    <a:pt x="4169" y="481"/>
                  </a:cubicBezTo>
                  <a:moveTo>
                    <a:pt x="258" y="477"/>
                  </a:moveTo>
                  <a:cubicBezTo>
                    <a:pt x="252" y="477"/>
                    <a:pt x="242" y="481"/>
                    <a:pt x="238" y="487"/>
                  </a:cubicBezTo>
                  <a:cubicBezTo>
                    <a:pt x="233" y="493"/>
                    <a:pt x="235" y="497"/>
                    <a:pt x="242" y="497"/>
                  </a:cubicBezTo>
                  <a:cubicBezTo>
                    <a:pt x="249" y="497"/>
                    <a:pt x="258" y="492"/>
                    <a:pt x="263" y="487"/>
                  </a:cubicBezTo>
                  <a:cubicBezTo>
                    <a:pt x="267" y="481"/>
                    <a:pt x="265" y="477"/>
                    <a:pt x="258" y="477"/>
                  </a:cubicBezTo>
                  <a:cubicBezTo>
                    <a:pt x="258" y="477"/>
                    <a:pt x="258" y="477"/>
                    <a:pt x="258" y="477"/>
                  </a:cubicBezTo>
                  <a:moveTo>
                    <a:pt x="294" y="477"/>
                  </a:moveTo>
                  <a:cubicBezTo>
                    <a:pt x="287" y="477"/>
                    <a:pt x="278" y="481"/>
                    <a:pt x="273" y="487"/>
                  </a:cubicBezTo>
                  <a:cubicBezTo>
                    <a:pt x="269" y="492"/>
                    <a:pt x="270" y="497"/>
                    <a:pt x="277" y="497"/>
                  </a:cubicBezTo>
                  <a:cubicBezTo>
                    <a:pt x="284" y="497"/>
                    <a:pt x="293" y="492"/>
                    <a:pt x="298" y="487"/>
                  </a:cubicBezTo>
                  <a:cubicBezTo>
                    <a:pt x="302" y="481"/>
                    <a:pt x="300" y="477"/>
                    <a:pt x="294" y="477"/>
                  </a:cubicBezTo>
                  <a:cubicBezTo>
                    <a:pt x="294" y="477"/>
                    <a:pt x="294" y="477"/>
                    <a:pt x="294" y="477"/>
                  </a:cubicBezTo>
                  <a:moveTo>
                    <a:pt x="328" y="476"/>
                  </a:moveTo>
                  <a:cubicBezTo>
                    <a:pt x="322" y="476"/>
                    <a:pt x="313" y="481"/>
                    <a:pt x="308" y="486"/>
                  </a:cubicBezTo>
                  <a:cubicBezTo>
                    <a:pt x="304" y="492"/>
                    <a:pt x="306" y="497"/>
                    <a:pt x="312" y="497"/>
                  </a:cubicBezTo>
                  <a:cubicBezTo>
                    <a:pt x="319" y="496"/>
                    <a:pt x="328" y="492"/>
                    <a:pt x="333" y="486"/>
                  </a:cubicBezTo>
                  <a:cubicBezTo>
                    <a:pt x="337" y="481"/>
                    <a:pt x="335" y="476"/>
                    <a:pt x="329" y="476"/>
                  </a:cubicBezTo>
                  <a:cubicBezTo>
                    <a:pt x="329" y="476"/>
                    <a:pt x="329" y="476"/>
                    <a:pt x="328" y="476"/>
                  </a:cubicBezTo>
                  <a:moveTo>
                    <a:pt x="364" y="476"/>
                  </a:moveTo>
                  <a:cubicBezTo>
                    <a:pt x="357" y="476"/>
                    <a:pt x="348" y="481"/>
                    <a:pt x="343" y="486"/>
                  </a:cubicBezTo>
                  <a:cubicBezTo>
                    <a:pt x="339" y="492"/>
                    <a:pt x="341" y="496"/>
                    <a:pt x="348" y="496"/>
                  </a:cubicBezTo>
                  <a:cubicBezTo>
                    <a:pt x="355" y="496"/>
                    <a:pt x="364" y="492"/>
                    <a:pt x="368" y="486"/>
                  </a:cubicBezTo>
                  <a:cubicBezTo>
                    <a:pt x="372" y="481"/>
                    <a:pt x="371" y="476"/>
                    <a:pt x="364" y="476"/>
                  </a:cubicBezTo>
                  <a:cubicBezTo>
                    <a:pt x="364" y="476"/>
                    <a:pt x="364" y="476"/>
                    <a:pt x="364" y="476"/>
                  </a:cubicBezTo>
                  <a:moveTo>
                    <a:pt x="399" y="476"/>
                  </a:moveTo>
                  <a:cubicBezTo>
                    <a:pt x="392" y="476"/>
                    <a:pt x="383" y="480"/>
                    <a:pt x="379" y="486"/>
                  </a:cubicBezTo>
                  <a:cubicBezTo>
                    <a:pt x="374" y="492"/>
                    <a:pt x="376" y="496"/>
                    <a:pt x="383" y="496"/>
                  </a:cubicBezTo>
                  <a:cubicBezTo>
                    <a:pt x="390" y="496"/>
                    <a:pt x="399" y="491"/>
                    <a:pt x="403" y="486"/>
                  </a:cubicBezTo>
                  <a:cubicBezTo>
                    <a:pt x="408" y="480"/>
                    <a:pt x="406" y="476"/>
                    <a:pt x="399" y="476"/>
                  </a:cubicBezTo>
                  <a:cubicBezTo>
                    <a:pt x="399" y="476"/>
                    <a:pt x="399" y="476"/>
                    <a:pt x="399" y="476"/>
                  </a:cubicBezTo>
                  <a:moveTo>
                    <a:pt x="434" y="476"/>
                  </a:moveTo>
                  <a:cubicBezTo>
                    <a:pt x="427" y="476"/>
                    <a:pt x="418" y="480"/>
                    <a:pt x="414" y="486"/>
                  </a:cubicBezTo>
                  <a:cubicBezTo>
                    <a:pt x="410" y="491"/>
                    <a:pt x="412" y="496"/>
                    <a:pt x="419" y="496"/>
                  </a:cubicBezTo>
                  <a:cubicBezTo>
                    <a:pt x="426" y="496"/>
                    <a:pt x="435" y="491"/>
                    <a:pt x="439" y="486"/>
                  </a:cubicBezTo>
                  <a:cubicBezTo>
                    <a:pt x="443" y="480"/>
                    <a:pt x="441" y="476"/>
                    <a:pt x="434" y="476"/>
                  </a:cubicBezTo>
                  <a:cubicBezTo>
                    <a:pt x="434" y="476"/>
                    <a:pt x="434" y="476"/>
                    <a:pt x="434" y="476"/>
                  </a:cubicBezTo>
                  <a:moveTo>
                    <a:pt x="470" y="475"/>
                  </a:moveTo>
                  <a:cubicBezTo>
                    <a:pt x="463" y="475"/>
                    <a:pt x="455" y="480"/>
                    <a:pt x="450" y="486"/>
                  </a:cubicBezTo>
                  <a:cubicBezTo>
                    <a:pt x="446" y="491"/>
                    <a:pt x="448" y="496"/>
                    <a:pt x="455" y="496"/>
                  </a:cubicBezTo>
                  <a:cubicBezTo>
                    <a:pt x="462" y="496"/>
                    <a:pt x="471" y="491"/>
                    <a:pt x="475" y="485"/>
                  </a:cubicBezTo>
                  <a:cubicBezTo>
                    <a:pt x="479" y="480"/>
                    <a:pt x="477" y="475"/>
                    <a:pt x="470" y="475"/>
                  </a:cubicBezTo>
                  <a:cubicBezTo>
                    <a:pt x="470" y="475"/>
                    <a:pt x="470" y="475"/>
                    <a:pt x="470" y="475"/>
                  </a:cubicBezTo>
                  <a:moveTo>
                    <a:pt x="505" y="475"/>
                  </a:moveTo>
                  <a:cubicBezTo>
                    <a:pt x="498" y="475"/>
                    <a:pt x="490" y="480"/>
                    <a:pt x="486" y="485"/>
                  </a:cubicBezTo>
                  <a:cubicBezTo>
                    <a:pt x="482" y="491"/>
                    <a:pt x="484" y="495"/>
                    <a:pt x="491" y="495"/>
                  </a:cubicBezTo>
                  <a:cubicBezTo>
                    <a:pt x="497" y="495"/>
                    <a:pt x="506" y="491"/>
                    <a:pt x="510" y="485"/>
                  </a:cubicBezTo>
                  <a:cubicBezTo>
                    <a:pt x="514" y="480"/>
                    <a:pt x="512" y="475"/>
                    <a:pt x="505" y="475"/>
                  </a:cubicBezTo>
                  <a:cubicBezTo>
                    <a:pt x="505" y="475"/>
                    <a:pt x="505" y="475"/>
                    <a:pt x="505" y="475"/>
                  </a:cubicBezTo>
                  <a:moveTo>
                    <a:pt x="541" y="475"/>
                  </a:moveTo>
                  <a:cubicBezTo>
                    <a:pt x="534" y="475"/>
                    <a:pt x="525" y="479"/>
                    <a:pt x="521" y="485"/>
                  </a:cubicBezTo>
                  <a:cubicBezTo>
                    <a:pt x="517" y="491"/>
                    <a:pt x="519" y="495"/>
                    <a:pt x="526" y="495"/>
                  </a:cubicBezTo>
                  <a:cubicBezTo>
                    <a:pt x="533" y="495"/>
                    <a:pt x="542" y="490"/>
                    <a:pt x="546" y="485"/>
                  </a:cubicBezTo>
                  <a:cubicBezTo>
                    <a:pt x="550" y="479"/>
                    <a:pt x="547" y="475"/>
                    <a:pt x="541" y="475"/>
                  </a:cubicBezTo>
                  <a:cubicBezTo>
                    <a:pt x="541" y="475"/>
                    <a:pt x="541" y="475"/>
                    <a:pt x="541" y="475"/>
                  </a:cubicBezTo>
                  <a:moveTo>
                    <a:pt x="576" y="475"/>
                  </a:moveTo>
                  <a:cubicBezTo>
                    <a:pt x="569" y="475"/>
                    <a:pt x="561" y="479"/>
                    <a:pt x="557" y="485"/>
                  </a:cubicBezTo>
                  <a:cubicBezTo>
                    <a:pt x="553" y="490"/>
                    <a:pt x="555" y="495"/>
                    <a:pt x="562" y="495"/>
                  </a:cubicBezTo>
                  <a:cubicBezTo>
                    <a:pt x="569" y="495"/>
                    <a:pt x="578" y="490"/>
                    <a:pt x="581" y="485"/>
                  </a:cubicBezTo>
                  <a:cubicBezTo>
                    <a:pt x="585" y="479"/>
                    <a:pt x="583" y="475"/>
                    <a:pt x="576" y="475"/>
                  </a:cubicBezTo>
                  <a:cubicBezTo>
                    <a:pt x="576" y="475"/>
                    <a:pt x="576" y="475"/>
                    <a:pt x="576" y="475"/>
                  </a:cubicBezTo>
                  <a:moveTo>
                    <a:pt x="611" y="474"/>
                  </a:moveTo>
                  <a:cubicBezTo>
                    <a:pt x="604" y="474"/>
                    <a:pt x="596" y="479"/>
                    <a:pt x="592" y="485"/>
                  </a:cubicBezTo>
                  <a:cubicBezTo>
                    <a:pt x="588" y="490"/>
                    <a:pt x="590" y="495"/>
                    <a:pt x="597" y="495"/>
                  </a:cubicBezTo>
                  <a:cubicBezTo>
                    <a:pt x="604" y="495"/>
                    <a:pt x="613" y="490"/>
                    <a:pt x="617" y="484"/>
                  </a:cubicBezTo>
                  <a:cubicBezTo>
                    <a:pt x="620" y="479"/>
                    <a:pt x="618" y="474"/>
                    <a:pt x="611" y="474"/>
                  </a:cubicBezTo>
                  <a:cubicBezTo>
                    <a:pt x="611" y="474"/>
                    <a:pt x="611" y="474"/>
                    <a:pt x="611" y="474"/>
                  </a:cubicBezTo>
                  <a:moveTo>
                    <a:pt x="646" y="474"/>
                  </a:moveTo>
                  <a:cubicBezTo>
                    <a:pt x="640" y="474"/>
                    <a:pt x="631" y="479"/>
                    <a:pt x="627" y="484"/>
                  </a:cubicBezTo>
                  <a:cubicBezTo>
                    <a:pt x="623" y="490"/>
                    <a:pt x="626" y="494"/>
                    <a:pt x="633" y="494"/>
                  </a:cubicBezTo>
                  <a:cubicBezTo>
                    <a:pt x="640" y="494"/>
                    <a:pt x="648" y="490"/>
                    <a:pt x="652" y="484"/>
                  </a:cubicBezTo>
                  <a:cubicBezTo>
                    <a:pt x="656" y="479"/>
                    <a:pt x="653" y="474"/>
                    <a:pt x="646" y="474"/>
                  </a:cubicBezTo>
                  <a:cubicBezTo>
                    <a:pt x="646" y="474"/>
                    <a:pt x="646" y="474"/>
                    <a:pt x="646" y="474"/>
                  </a:cubicBezTo>
                  <a:moveTo>
                    <a:pt x="681" y="474"/>
                  </a:moveTo>
                  <a:cubicBezTo>
                    <a:pt x="674" y="474"/>
                    <a:pt x="666" y="479"/>
                    <a:pt x="662" y="484"/>
                  </a:cubicBezTo>
                  <a:cubicBezTo>
                    <a:pt x="659" y="490"/>
                    <a:pt x="661" y="494"/>
                    <a:pt x="668" y="494"/>
                  </a:cubicBezTo>
                  <a:cubicBezTo>
                    <a:pt x="675" y="494"/>
                    <a:pt x="683" y="490"/>
                    <a:pt x="687" y="484"/>
                  </a:cubicBezTo>
                  <a:cubicBezTo>
                    <a:pt x="691" y="478"/>
                    <a:pt x="688" y="474"/>
                    <a:pt x="681" y="474"/>
                  </a:cubicBezTo>
                  <a:cubicBezTo>
                    <a:pt x="681" y="474"/>
                    <a:pt x="681" y="474"/>
                    <a:pt x="681" y="474"/>
                  </a:cubicBezTo>
                  <a:moveTo>
                    <a:pt x="717" y="474"/>
                  </a:moveTo>
                  <a:cubicBezTo>
                    <a:pt x="710" y="474"/>
                    <a:pt x="701" y="478"/>
                    <a:pt x="698" y="484"/>
                  </a:cubicBezTo>
                  <a:cubicBezTo>
                    <a:pt x="694" y="489"/>
                    <a:pt x="697" y="494"/>
                    <a:pt x="703" y="494"/>
                  </a:cubicBezTo>
                  <a:cubicBezTo>
                    <a:pt x="710" y="494"/>
                    <a:pt x="719" y="489"/>
                    <a:pt x="722" y="484"/>
                  </a:cubicBezTo>
                  <a:cubicBezTo>
                    <a:pt x="726" y="478"/>
                    <a:pt x="723" y="474"/>
                    <a:pt x="717" y="474"/>
                  </a:cubicBezTo>
                  <a:cubicBezTo>
                    <a:pt x="717" y="474"/>
                    <a:pt x="717" y="474"/>
                    <a:pt x="717" y="474"/>
                  </a:cubicBezTo>
                  <a:moveTo>
                    <a:pt x="752" y="473"/>
                  </a:moveTo>
                  <a:cubicBezTo>
                    <a:pt x="745" y="473"/>
                    <a:pt x="737" y="478"/>
                    <a:pt x="733" y="484"/>
                  </a:cubicBezTo>
                  <a:cubicBezTo>
                    <a:pt x="730" y="489"/>
                    <a:pt x="732" y="494"/>
                    <a:pt x="739" y="494"/>
                  </a:cubicBezTo>
                  <a:cubicBezTo>
                    <a:pt x="746" y="494"/>
                    <a:pt x="755" y="489"/>
                    <a:pt x="758" y="483"/>
                  </a:cubicBezTo>
                  <a:cubicBezTo>
                    <a:pt x="762" y="478"/>
                    <a:pt x="759" y="473"/>
                    <a:pt x="752" y="473"/>
                  </a:cubicBezTo>
                  <a:cubicBezTo>
                    <a:pt x="752" y="473"/>
                    <a:pt x="752" y="473"/>
                    <a:pt x="752" y="473"/>
                  </a:cubicBezTo>
                  <a:moveTo>
                    <a:pt x="787" y="473"/>
                  </a:moveTo>
                  <a:cubicBezTo>
                    <a:pt x="780" y="473"/>
                    <a:pt x="772" y="478"/>
                    <a:pt x="768" y="483"/>
                  </a:cubicBezTo>
                  <a:cubicBezTo>
                    <a:pt x="765" y="489"/>
                    <a:pt x="768" y="493"/>
                    <a:pt x="774" y="493"/>
                  </a:cubicBezTo>
                  <a:cubicBezTo>
                    <a:pt x="781" y="493"/>
                    <a:pt x="790" y="489"/>
                    <a:pt x="793" y="483"/>
                  </a:cubicBezTo>
                  <a:cubicBezTo>
                    <a:pt x="797" y="478"/>
                    <a:pt x="794" y="473"/>
                    <a:pt x="787" y="473"/>
                  </a:cubicBezTo>
                  <a:cubicBezTo>
                    <a:pt x="787" y="473"/>
                    <a:pt x="787" y="473"/>
                    <a:pt x="787" y="473"/>
                  </a:cubicBezTo>
                  <a:moveTo>
                    <a:pt x="820" y="473"/>
                  </a:moveTo>
                  <a:cubicBezTo>
                    <a:pt x="814" y="473"/>
                    <a:pt x="805" y="478"/>
                    <a:pt x="802" y="483"/>
                  </a:cubicBezTo>
                  <a:cubicBezTo>
                    <a:pt x="798" y="489"/>
                    <a:pt x="801" y="493"/>
                    <a:pt x="808" y="493"/>
                  </a:cubicBezTo>
                  <a:cubicBezTo>
                    <a:pt x="815" y="493"/>
                    <a:pt x="823" y="489"/>
                    <a:pt x="827" y="483"/>
                  </a:cubicBezTo>
                  <a:cubicBezTo>
                    <a:pt x="830" y="477"/>
                    <a:pt x="827" y="473"/>
                    <a:pt x="820" y="473"/>
                  </a:cubicBezTo>
                  <a:cubicBezTo>
                    <a:pt x="820" y="473"/>
                    <a:pt x="820" y="473"/>
                    <a:pt x="820" y="473"/>
                  </a:cubicBezTo>
                  <a:moveTo>
                    <a:pt x="856" y="473"/>
                  </a:moveTo>
                  <a:cubicBezTo>
                    <a:pt x="849" y="473"/>
                    <a:pt x="841" y="477"/>
                    <a:pt x="838" y="483"/>
                  </a:cubicBezTo>
                  <a:cubicBezTo>
                    <a:pt x="834" y="489"/>
                    <a:pt x="837" y="493"/>
                    <a:pt x="844" y="493"/>
                  </a:cubicBezTo>
                  <a:cubicBezTo>
                    <a:pt x="851" y="493"/>
                    <a:pt x="859" y="488"/>
                    <a:pt x="862" y="483"/>
                  </a:cubicBezTo>
                  <a:cubicBezTo>
                    <a:pt x="866" y="477"/>
                    <a:pt x="863" y="473"/>
                    <a:pt x="856" y="473"/>
                  </a:cubicBezTo>
                  <a:cubicBezTo>
                    <a:pt x="856" y="473"/>
                    <a:pt x="856" y="473"/>
                    <a:pt x="856" y="473"/>
                  </a:cubicBezTo>
                  <a:moveTo>
                    <a:pt x="891" y="472"/>
                  </a:moveTo>
                  <a:cubicBezTo>
                    <a:pt x="884" y="473"/>
                    <a:pt x="876" y="477"/>
                    <a:pt x="873" y="483"/>
                  </a:cubicBezTo>
                  <a:cubicBezTo>
                    <a:pt x="869" y="488"/>
                    <a:pt x="872" y="493"/>
                    <a:pt x="879" y="493"/>
                  </a:cubicBezTo>
                  <a:cubicBezTo>
                    <a:pt x="886" y="493"/>
                    <a:pt x="894" y="488"/>
                    <a:pt x="897" y="483"/>
                  </a:cubicBezTo>
                  <a:cubicBezTo>
                    <a:pt x="901" y="477"/>
                    <a:pt x="898" y="472"/>
                    <a:pt x="891" y="472"/>
                  </a:cubicBezTo>
                  <a:cubicBezTo>
                    <a:pt x="891" y="472"/>
                    <a:pt x="891" y="472"/>
                    <a:pt x="891" y="472"/>
                  </a:cubicBezTo>
                  <a:moveTo>
                    <a:pt x="926" y="472"/>
                  </a:moveTo>
                  <a:cubicBezTo>
                    <a:pt x="919" y="472"/>
                    <a:pt x="911" y="477"/>
                    <a:pt x="908" y="482"/>
                  </a:cubicBezTo>
                  <a:cubicBezTo>
                    <a:pt x="905" y="488"/>
                    <a:pt x="908" y="493"/>
                    <a:pt x="914" y="493"/>
                  </a:cubicBezTo>
                  <a:cubicBezTo>
                    <a:pt x="921" y="492"/>
                    <a:pt x="929" y="488"/>
                    <a:pt x="933" y="482"/>
                  </a:cubicBezTo>
                  <a:cubicBezTo>
                    <a:pt x="936" y="477"/>
                    <a:pt x="933" y="472"/>
                    <a:pt x="926" y="472"/>
                  </a:cubicBezTo>
                  <a:cubicBezTo>
                    <a:pt x="926" y="472"/>
                    <a:pt x="926" y="472"/>
                    <a:pt x="926" y="472"/>
                  </a:cubicBezTo>
                  <a:moveTo>
                    <a:pt x="961" y="472"/>
                  </a:moveTo>
                  <a:cubicBezTo>
                    <a:pt x="954" y="472"/>
                    <a:pt x="946" y="477"/>
                    <a:pt x="943" y="482"/>
                  </a:cubicBezTo>
                  <a:cubicBezTo>
                    <a:pt x="940" y="488"/>
                    <a:pt x="943" y="492"/>
                    <a:pt x="950" y="492"/>
                  </a:cubicBezTo>
                  <a:cubicBezTo>
                    <a:pt x="957" y="492"/>
                    <a:pt x="965" y="488"/>
                    <a:pt x="968" y="482"/>
                  </a:cubicBezTo>
                  <a:cubicBezTo>
                    <a:pt x="971" y="476"/>
                    <a:pt x="968" y="472"/>
                    <a:pt x="961" y="472"/>
                  </a:cubicBezTo>
                  <a:cubicBezTo>
                    <a:pt x="961" y="472"/>
                    <a:pt x="961" y="472"/>
                    <a:pt x="961" y="472"/>
                  </a:cubicBezTo>
                  <a:moveTo>
                    <a:pt x="996" y="472"/>
                  </a:moveTo>
                  <a:cubicBezTo>
                    <a:pt x="989" y="472"/>
                    <a:pt x="981" y="476"/>
                    <a:pt x="978" y="482"/>
                  </a:cubicBezTo>
                  <a:cubicBezTo>
                    <a:pt x="975" y="488"/>
                    <a:pt x="978" y="492"/>
                    <a:pt x="985" y="492"/>
                  </a:cubicBezTo>
                  <a:cubicBezTo>
                    <a:pt x="992" y="492"/>
                    <a:pt x="1000" y="487"/>
                    <a:pt x="1003" y="482"/>
                  </a:cubicBezTo>
                  <a:cubicBezTo>
                    <a:pt x="1006" y="476"/>
                    <a:pt x="1003" y="472"/>
                    <a:pt x="996" y="472"/>
                  </a:cubicBezTo>
                  <a:cubicBezTo>
                    <a:pt x="996" y="472"/>
                    <a:pt x="996" y="472"/>
                    <a:pt x="996" y="472"/>
                  </a:cubicBezTo>
                  <a:moveTo>
                    <a:pt x="1032" y="471"/>
                  </a:moveTo>
                  <a:cubicBezTo>
                    <a:pt x="1025" y="472"/>
                    <a:pt x="1017" y="476"/>
                    <a:pt x="1014" y="482"/>
                  </a:cubicBezTo>
                  <a:cubicBezTo>
                    <a:pt x="1011" y="487"/>
                    <a:pt x="1014" y="492"/>
                    <a:pt x="1021" y="492"/>
                  </a:cubicBezTo>
                  <a:cubicBezTo>
                    <a:pt x="1028" y="492"/>
                    <a:pt x="1036" y="487"/>
                    <a:pt x="1039" y="482"/>
                  </a:cubicBezTo>
                  <a:cubicBezTo>
                    <a:pt x="1042" y="476"/>
                    <a:pt x="1039" y="471"/>
                    <a:pt x="1032" y="471"/>
                  </a:cubicBezTo>
                  <a:cubicBezTo>
                    <a:pt x="1032" y="471"/>
                    <a:pt x="1032" y="471"/>
                    <a:pt x="1032" y="471"/>
                  </a:cubicBezTo>
                  <a:moveTo>
                    <a:pt x="1067" y="471"/>
                  </a:moveTo>
                  <a:cubicBezTo>
                    <a:pt x="1060" y="471"/>
                    <a:pt x="1052" y="476"/>
                    <a:pt x="1049" y="482"/>
                  </a:cubicBezTo>
                  <a:cubicBezTo>
                    <a:pt x="1046" y="487"/>
                    <a:pt x="1049" y="492"/>
                    <a:pt x="1056" y="492"/>
                  </a:cubicBezTo>
                  <a:cubicBezTo>
                    <a:pt x="1063" y="492"/>
                    <a:pt x="1071" y="487"/>
                    <a:pt x="1074" y="481"/>
                  </a:cubicBezTo>
                  <a:cubicBezTo>
                    <a:pt x="1077" y="476"/>
                    <a:pt x="1074" y="471"/>
                    <a:pt x="1067" y="471"/>
                  </a:cubicBezTo>
                  <a:cubicBezTo>
                    <a:pt x="1067" y="471"/>
                    <a:pt x="1067" y="471"/>
                    <a:pt x="1067" y="471"/>
                  </a:cubicBezTo>
                  <a:moveTo>
                    <a:pt x="1101" y="471"/>
                  </a:moveTo>
                  <a:cubicBezTo>
                    <a:pt x="1094" y="471"/>
                    <a:pt x="1087" y="476"/>
                    <a:pt x="1084" y="481"/>
                  </a:cubicBezTo>
                  <a:cubicBezTo>
                    <a:pt x="1081" y="487"/>
                    <a:pt x="1084" y="491"/>
                    <a:pt x="1091" y="491"/>
                  </a:cubicBezTo>
                  <a:cubicBezTo>
                    <a:pt x="1098" y="491"/>
                    <a:pt x="1106" y="487"/>
                    <a:pt x="1108" y="481"/>
                  </a:cubicBezTo>
                  <a:cubicBezTo>
                    <a:pt x="1111" y="476"/>
                    <a:pt x="1108" y="471"/>
                    <a:pt x="1101" y="471"/>
                  </a:cubicBezTo>
                  <a:cubicBezTo>
                    <a:pt x="1101" y="471"/>
                    <a:pt x="1101" y="471"/>
                    <a:pt x="1101" y="471"/>
                  </a:cubicBezTo>
                  <a:moveTo>
                    <a:pt x="1137" y="471"/>
                  </a:moveTo>
                  <a:cubicBezTo>
                    <a:pt x="1130" y="471"/>
                    <a:pt x="1122" y="475"/>
                    <a:pt x="1119" y="481"/>
                  </a:cubicBezTo>
                  <a:cubicBezTo>
                    <a:pt x="1117" y="487"/>
                    <a:pt x="1120" y="491"/>
                    <a:pt x="1127" y="491"/>
                  </a:cubicBezTo>
                  <a:cubicBezTo>
                    <a:pt x="1134" y="491"/>
                    <a:pt x="1141" y="486"/>
                    <a:pt x="1144" y="481"/>
                  </a:cubicBezTo>
                  <a:cubicBezTo>
                    <a:pt x="1147" y="475"/>
                    <a:pt x="1144" y="471"/>
                    <a:pt x="1137" y="471"/>
                  </a:cubicBezTo>
                  <a:cubicBezTo>
                    <a:pt x="1137" y="471"/>
                    <a:pt x="1137" y="471"/>
                    <a:pt x="1137" y="471"/>
                  </a:cubicBezTo>
                  <a:moveTo>
                    <a:pt x="2049" y="465"/>
                  </a:moveTo>
                  <a:cubicBezTo>
                    <a:pt x="2042" y="465"/>
                    <a:pt x="2036" y="470"/>
                    <a:pt x="2035" y="476"/>
                  </a:cubicBezTo>
                  <a:cubicBezTo>
                    <a:pt x="2034" y="481"/>
                    <a:pt x="2039" y="486"/>
                    <a:pt x="2046" y="486"/>
                  </a:cubicBezTo>
                  <a:cubicBezTo>
                    <a:pt x="2052" y="486"/>
                    <a:pt x="2059" y="481"/>
                    <a:pt x="2060" y="475"/>
                  </a:cubicBezTo>
                  <a:cubicBezTo>
                    <a:pt x="2060" y="470"/>
                    <a:pt x="2056" y="465"/>
                    <a:pt x="2049" y="465"/>
                  </a:cubicBezTo>
                  <a:cubicBezTo>
                    <a:pt x="2049" y="465"/>
                    <a:pt x="2049" y="465"/>
                    <a:pt x="2049" y="465"/>
                  </a:cubicBezTo>
                  <a:moveTo>
                    <a:pt x="2084" y="465"/>
                  </a:moveTo>
                  <a:cubicBezTo>
                    <a:pt x="2078" y="465"/>
                    <a:pt x="2071" y="470"/>
                    <a:pt x="2070" y="475"/>
                  </a:cubicBezTo>
                  <a:cubicBezTo>
                    <a:pt x="2070" y="481"/>
                    <a:pt x="2074" y="485"/>
                    <a:pt x="2081" y="485"/>
                  </a:cubicBezTo>
                  <a:cubicBezTo>
                    <a:pt x="2088" y="485"/>
                    <a:pt x="2094" y="481"/>
                    <a:pt x="2095" y="475"/>
                  </a:cubicBezTo>
                  <a:cubicBezTo>
                    <a:pt x="2096" y="470"/>
                    <a:pt x="2091" y="465"/>
                    <a:pt x="2084" y="465"/>
                  </a:cubicBezTo>
                  <a:cubicBezTo>
                    <a:pt x="2084" y="465"/>
                    <a:pt x="2084" y="465"/>
                    <a:pt x="2084" y="465"/>
                  </a:cubicBezTo>
                  <a:moveTo>
                    <a:pt x="2118" y="465"/>
                  </a:moveTo>
                  <a:cubicBezTo>
                    <a:pt x="2111" y="465"/>
                    <a:pt x="2105" y="469"/>
                    <a:pt x="2104" y="475"/>
                  </a:cubicBezTo>
                  <a:cubicBezTo>
                    <a:pt x="2103" y="481"/>
                    <a:pt x="2108" y="485"/>
                    <a:pt x="2115" y="485"/>
                  </a:cubicBezTo>
                  <a:cubicBezTo>
                    <a:pt x="2122" y="485"/>
                    <a:pt x="2128" y="481"/>
                    <a:pt x="2129" y="475"/>
                  </a:cubicBezTo>
                  <a:cubicBezTo>
                    <a:pt x="2129" y="469"/>
                    <a:pt x="2125" y="465"/>
                    <a:pt x="2118" y="465"/>
                  </a:cubicBezTo>
                  <a:cubicBezTo>
                    <a:pt x="2118" y="465"/>
                    <a:pt x="2118" y="465"/>
                    <a:pt x="2118" y="465"/>
                  </a:cubicBezTo>
                  <a:moveTo>
                    <a:pt x="2153" y="465"/>
                  </a:moveTo>
                  <a:cubicBezTo>
                    <a:pt x="2146" y="465"/>
                    <a:pt x="2140" y="469"/>
                    <a:pt x="2140" y="475"/>
                  </a:cubicBezTo>
                  <a:cubicBezTo>
                    <a:pt x="2139" y="480"/>
                    <a:pt x="2144" y="485"/>
                    <a:pt x="2151" y="485"/>
                  </a:cubicBezTo>
                  <a:cubicBezTo>
                    <a:pt x="2158" y="485"/>
                    <a:pt x="2164" y="480"/>
                    <a:pt x="2164" y="475"/>
                  </a:cubicBezTo>
                  <a:cubicBezTo>
                    <a:pt x="2165" y="469"/>
                    <a:pt x="2160" y="465"/>
                    <a:pt x="2153" y="465"/>
                  </a:cubicBezTo>
                  <a:cubicBezTo>
                    <a:pt x="2153" y="465"/>
                    <a:pt x="2153" y="465"/>
                    <a:pt x="2153" y="465"/>
                  </a:cubicBezTo>
                  <a:moveTo>
                    <a:pt x="2190" y="463"/>
                  </a:moveTo>
                  <a:cubicBezTo>
                    <a:pt x="2184" y="463"/>
                    <a:pt x="2178" y="468"/>
                    <a:pt x="2177" y="474"/>
                  </a:cubicBezTo>
                  <a:cubicBezTo>
                    <a:pt x="2176" y="479"/>
                    <a:pt x="2181" y="484"/>
                    <a:pt x="2188" y="484"/>
                  </a:cubicBezTo>
                  <a:cubicBezTo>
                    <a:pt x="2195" y="484"/>
                    <a:pt x="2201" y="479"/>
                    <a:pt x="2202" y="474"/>
                  </a:cubicBezTo>
                  <a:cubicBezTo>
                    <a:pt x="2202" y="468"/>
                    <a:pt x="2197" y="463"/>
                    <a:pt x="2190" y="463"/>
                  </a:cubicBezTo>
                  <a:cubicBezTo>
                    <a:pt x="2190" y="463"/>
                    <a:pt x="2190" y="463"/>
                    <a:pt x="2190" y="463"/>
                  </a:cubicBezTo>
                  <a:moveTo>
                    <a:pt x="2226" y="463"/>
                  </a:moveTo>
                  <a:cubicBezTo>
                    <a:pt x="2219" y="463"/>
                    <a:pt x="2214" y="468"/>
                    <a:pt x="2213" y="473"/>
                  </a:cubicBezTo>
                  <a:cubicBezTo>
                    <a:pt x="2212" y="479"/>
                    <a:pt x="2217" y="484"/>
                    <a:pt x="2224" y="484"/>
                  </a:cubicBezTo>
                  <a:cubicBezTo>
                    <a:pt x="2231" y="484"/>
                    <a:pt x="2237" y="479"/>
                    <a:pt x="2238" y="473"/>
                  </a:cubicBezTo>
                  <a:cubicBezTo>
                    <a:pt x="2238" y="468"/>
                    <a:pt x="2233" y="463"/>
                    <a:pt x="2226" y="463"/>
                  </a:cubicBezTo>
                  <a:cubicBezTo>
                    <a:pt x="2226" y="463"/>
                    <a:pt x="2226" y="463"/>
                    <a:pt x="2226" y="463"/>
                  </a:cubicBezTo>
                  <a:moveTo>
                    <a:pt x="2261" y="463"/>
                  </a:moveTo>
                  <a:cubicBezTo>
                    <a:pt x="2254" y="463"/>
                    <a:pt x="2248" y="468"/>
                    <a:pt x="2248" y="473"/>
                  </a:cubicBezTo>
                  <a:cubicBezTo>
                    <a:pt x="2247" y="479"/>
                    <a:pt x="2253" y="483"/>
                    <a:pt x="2259" y="483"/>
                  </a:cubicBezTo>
                  <a:cubicBezTo>
                    <a:pt x="2266" y="483"/>
                    <a:pt x="2272" y="479"/>
                    <a:pt x="2273" y="473"/>
                  </a:cubicBezTo>
                  <a:cubicBezTo>
                    <a:pt x="2273" y="467"/>
                    <a:pt x="2268" y="463"/>
                    <a:pt x="2261" y="463"/>
                  </a:cubicBezTo>
                  <a:cubicBezTo>
                    <a:pt x="2261" y="463"/>
                    <a:pt x="2261" y="463"/>
                    <a:pt x="2261" y="463"/>
                  </a:cubicBezTo>
                  <a:moveTo>
                    <a:pt x="2296" y="463"/>
                  </a:moveTo>
                  <a:cubicBezTo>
                    <a:pt x="2289" y="463"/>
                    <a:pt x="2283" y="467"/>
                    <a:pt x="2283" y="473"/>
                  </a:cubicBezTo>
                  <a:cubicBezTo>
                    <a:pt x="2282" y="479"/>
                    <a:pt x="2287" y="483"/>
                    <a:pt x="2294" y="483"/>
                  </a:cubicBezTo>
                  <a:cubicBezTo>
                    <a:pt x="2301" y="483"/>
                    <a:pt x="2307" y="478"/>
                    <a:pt x="2307" y="473"/>
                  </a:cubicBezTo>
                  <a:cubicBezTo>
                    <a:pt x="2308" y="467"/>
                    <a:pt x="2303" y="463"/>
                    <a:pt x="2296" y="463"/>
                  </a:cubicBezTo>
                  <a:cubicBezTo>
                    <a:pt x="2296" y="463"/>
                    <a:pt x="2296" y="463"/>
                    <a:pt x="2296" y="463"/>
                  </a:cubicBezTo>
                  <a:moveTo>
                    <a:pt x="2331" y="462"/>
                  </a:moveTo>
                  <a:cubicBezTo>
                    <a:pt x="2324" y="462"/>
                    <a:pt x="2318" y="467"/>
                    <a:pt x="2318" y="473"/>
                  </a:cubicBezTo>
                  <a:cubicBezTo>
                    <a:pt x="2317" y="478"/>
                    <a:pt x="2322" y="483"/>
                    <a:pt x="2329" y="483"/>
                  </a:cubicBezTo>
                  <a:cubicBezTo>
                    <a:pt x="2336" y="483"/>
                    <a:pt x="2342" y="478"/>
                    <a:pt x="2342" y="473"/>
                  </a:cubicBezTo>
                  <a:cubicBezTo>
                    <a:pt x="2343" y="467"/>
                    <a:pt x="2337" y="462"/>
                    <a:pt x="2331" y="462"/>
                  </a:cubicBezTo>
                  <a:cubicBezTo>
                    <a:pt x="2331" y="462"/>
                    <a:pt x="2331" y="462"/>
                    <a:pt x="2331" y="462"/>
                  </a:cubicBezTo>
                  <a:moveTo>
                    <a:pt x="2366" y="462"/>
                  </a:moveTo>
                  <a:cubicBezTo>
                    <a:pt x="2359" y="462"/>
                    <a:pt x="2353" y="467"/>
                    <a:pt x="2353" y="472"/>
                  </a:cubicBezTo>
                  <a:cubicBezTo>
                    <a:pt x="2353" y="478"/>
                    <a:pt x="2358" y="483"/>
                    <a:pt x="2365" y="483"/>
                  </a:cubicBezTo>
                  <a:cubicBezTo>
                    <a:pt x="2371" y="483"/>
                    <a:pt x="2377" y="478"/>
                    <a:pt x="2377" y="472"/>
                  </a:cubicBezTo>
                  <a:cubicBezTo>
                    <a:pt x="2378" y="467"/>
                    <a:pt x="2372" y="462"/>
                    <a:pt x="2366" y="462"/>
                  </a:cubicBezTo>
                  <a:cubicBezTo>
                    <a:pt x="2366" y="462"/>
                    <a:pt x="2366" y="462"/>
                    <a:pt x="2366" y="462"/>
                  </a:cubicBezTo>
                  <a:moveTo>
                    <a:pt x="2401" y="462"/>
                  </a:moveTo>
                  <a:cubicBezTo>
                    <a:pt x="2394" y="462"/>
                    <a:pt x="2389" y="467"/>
                    <a:pt x="2388" y="472"/>
                  </a:cubicBezTo>
                  <a:cubicBezTo>
                    <a:pt x="2388" y="478"/>
                    <a:pt x="2394" y="482"/>
                    <a:pt x="2400" y="482"/>
                  </a:cubicBezTo>
                  <a:cubicBezTo>
                    <a:pt x="2407" y="482"/>
                    <a:pt x="2413" y="478"/>
                    <a:pt x="2413" y="472"/>
                  </a:cubicBezTo>
                  <a:cubicBezTo>
                    <a:pt x="2413" y="466"/>
                    <a:pt x="2408" y="462"/>
                    <a:pt x="2401" y="462"/>
                  </a:cubicBezTo>
                  <a:cubicBezTo>
                    <a:pt x="2401" y="462"/>
                    <a:pt x="2401" y="462"/>
                    <a:pt x="2401" y="462"/>
                  </a:cubicBezTo>
                  <a:moveTo>
                    <a:pt x="2436" y="462"/>
                  </a:moveTo>
                  <a:cubicBezTo>
                    <a:pt x="2429" y="462"/>
                    <a:pt x="2424" y="466"/>
                    <a:pt x="2423" y="472"/>
                  </a:cubicBezTo>
                  <a:cubicBezTo>
                    <a:pt x="2423" y="478"/>
                    <a:pt x="2429" y="482"/>
                    <a:pt x="2435" y="482"/>
                  </a:cubicBezTo>
                  <a:cubicBezTo>
                    <a:pt x="2442" y="482"/>
                    <a:pt x="2448" y="477"/>
                    <a:pt x="2448" y="472"/>
                  </a:cubicBezTo>
                  <a:cubicBezTo>
                    <a:pt x="2448" y="466"/>
                    <a:pt x="2443" y="462"/>
                    <a:pt x="2436" y="462"/>
                  </a:cubicBezTo>
                  <a:cubicBezTo>
                    <a:pt x="2436" y="462"/>
                    <a:pt x="2436" y="462"/>
                    <a:pt x="2436" y="462"/>
                  </a:cubicBezTo>
                  <a:moveTo>
                    <a:pt x="2471" y="461"/>
                  </a:moveTo>
                  <a:cubicBezTo>
                    <a:pt x="2464" y="462"/>
                    <a:pt x="2459" y="466"/>
                    <a:pt x="2459" y="472"/>
                  </a:cubicBezTo>
                  <a:cubicBezTo>
                    <a:pt x="2458" y="477"/>
                    <a:pt x="2464" y="482"/>
                    <a:pt x="2471" y="482"/>
                  </a:cubicBezTo>
                  <a:cubicBezTo>
                    <a:pt x="2478" y="482"/>
                    <a:pt x="2483" y="477"/>
                    <a:pt x="2483" y="472"/>
                  </a:cubicBezTo>
                  <a:cubicBezTo>
                    <a:pt x="2483" y="466"/>
                    <a:pt x="2478" y="461"/>
                    <a:pt x="2471" y="461"/>
                  </a:cubicBezTo>
                  <a:cubicBezTo>
                    <a:pt x="2471" y="461"/>
                    <a:pt x="2471" y="461"/>
                    <a:pt x="2471" y="461"/>
                  </a:cubicBezTo>
                  <a:moveTo>
                    <a:pt x="2541" y="461"/>
                  </a:moveTo>
                  <a:cubicBezTo>
                    <a:pt x="2534" y="461"/>
                    <a:pt x="2529" y="466"/>
                    <a:pt x="2529" y="471"/>
                  </a:cubicBezTo>
                  <a:cubicBezTo>
                    <a:pt x="2529" y="477"/>
                    <a:pt x="2534" y="481"/>
                    <a:pt x="2541" y="481"/>
                  </a:cubicBezTo>
                  <a:cubicBezTo>
                    <a:pt x="2548" y="481"/>
                    <a:pt x="2553" y="477"/>
                    <a:pt x="2553" y="471"/>
                  </a:cubicBezTo>
                  <a:cubicBezTo>
                    <a:pt x="2553" y="466"/>
                    <a:pt x="2548" y="461"/>
                    <a:pt x="2541" y="461"/>
                  </a:cubicBezTo>
                  <a:cubicBezTo>
                    <a:pt x="2541" y="461"/>
                    <a:pt x="2541" y="461"/>
                    <a:pt x="2541" y="461"/>
                  </a:cubicBezTo>
                  <a:moveTo>
                    <a:pt x="2612" y="461"/>
                  </a:moveTo>
                  <a:cubicBezTo>
                    <a:pt x="2605" y="461"/>
                    <a:pt x="2600" y="466"/>
                    <a:pt x="2600" y="471"/>
                  </a:cubicBezTo>
                  <a:cubicBezTo>
                    <a:pt x="2600" y="477"/>
                    <a:pt x="2606" y="482"/>
                    <a:pt x="2613" y="481"/>
                  </a:cubicBezTo>
                  <a:cubicBezTo>
                    <a:pt x="2620" y="481"/>
                    <a:pt x="2625" y="477"/>
                    <a:pt x="2625" y="471"/>
                  </a:cubicBezTo>
                  <a:cubicBezTo>
                    <a:pt x="2625" y="466"/>
                    <a:pt x="2619" y="461"/>
                    <a:pt x="2612" y="461"/>
                  </a:cubicBezTo>
                  <a:cubicBezTo>
                    <a:pt x="2612" y="461"/>
                    <a:pt x="2612" y="461"/>
                    <a:pt x="2612" y="461"/>
                  </a:cubicBezTo>
                  <a:moveTo>
                    <a:pt x="2647" y="461"/>
                  </a:moveTo>
                  <a:cubicBezTo>
                    <a:pt x="2640" y="461"/>
                    <a:pt x="2635" y="465"/>
                    <a:pt x="2635" y="471"/>
                  </a:cubicBezTo>
                  <a:cubicBezTo>
                    <a:pt x="2635" y="477"/>
                    <a:pt x="2641" y="481"/>
                    <a:pt x="2648" y="481"/>
                  </a:cubicBezTo>
                  <a:cubicBezTo>
                    <a:pt x="2655" y="481"/>
                    <a:pt x="2660" y="477"/>
                    <a:pt x="2660" y="471"/>
                  </a:cubicBezTo>
                  <a:cubicBezTo>
                    <a:pt x="2659" y="465"/>
                    <a:pt x="2654" y="461"/>
                    <a:pt x="2647" y="461"/>
                  </a:cubicBezTo>
                  <a:cubicBezTo>
                    <a:pt x="2647" y="461"/>
                    <a:pt x="2647" y="461"/>
                    <a:pt x="2647" y="461"/>
                  </a:cubicBezTo>
                  <a:moveTo>
                    <a:pt x="2681" y="461"/>
                  </a:moveTo>
                  <a:cubicBezTo>
                    <a:pt x="2675" y="461"/>
                    <a:pt x="2669" y="465"/>
                    <a:pt x="2670" y="471"/>
                  </a:cubicBezTo>
                  <a:cubicBezTo>
                    <a:pt x="2670" y="476"/>
                    <a:pt x="2676" y="481"/>
                    <a:pt x="2683" y="481"/>
                  </a:cubicBezTo>
                  <a:cubicBezTo>
                    <a:pt x="2690" y="481"/>
                    <a:pt x="2695" y="476"/>
                    <a:pt x="2694" y="471"/>
                  </a:cubicBezTo>
                  <a:cubicBezTo>
                    <a:pt x="2694" y="465"/>
                    <a:pt x="2688" y="461"/>
                    <a:pt x="2682" y="461"/>
                  </a:cubicBezTo>
                  <a:cubicBezTo>
                    <a:pt x="2681" y="461"/>
                    <a:pt x="2681" y="461"/>
                    <a:pt x="2681" y="461"/>
                  </a:cubicBezTo>
                  <a:moveTo>
                    <a:pt x="2716" y="460"/>
                  </a:moveTo>
                  <a:cubicBezTo>
                    <a:pt x="2709" y="460"/>
                    <a:pt x="2704" y="465"/>
                    <a:pt x="2705" y="471"/>
                  </a:cubicBezTo>
                  <a:cubicBezTo>
                    <a:pt x="2705" y="476"/>
                    <a:pt x="2711" y="481"/>
                    <a:pt x="2718" y="481"/>
                  </a:cubicBezTo>
                  <a:cubicBezTo>
                    <a:pt x="2725" y="481"/>
                    <a:pt x="2730" y="476"/>
                    <a:pt x="2729" y="470"/>
                  </a:cubicBezTo>
                  <a:cubicBezTo>
                    <a:pt x="2729" y="465"/>
                    <a:pt x="2723" y="460"/>
                    <a:pt x="2716" y="460"/>
                  </a:cubicBezTo>
                  <a:cubicBezTo>
                    <a:pt x="2716" y="460"/>
                    <a:pt x="2716" y="460"/>
                    <a:pt x="2716" y="460"/>
                  </a:cubicBezTo>
                  <a:moveTo>
                    <a:pt x="2751" y="460"/>
                  </a:moveTo>
                  <a:cubicBezTo>
                    <a:pt x="2745" y="460"/>
                    <a:pt x="2740" y="465"/>
                    <a:pt x="2740" y="470"/>
                  </a:cubicBezTo>
                  <a:cubicBezTo>
                    <a:pt x="2740" y="476"/>
                    <a:pt x="2746" y="481"/>
                    <a:pt x="2753" y="481"/>
                  </a:cubicBezTo>
                  <a:cubicBezTo>
                    <a:pt x="2760" y="480"/>
                    <a:pt x="2765" y="476"/>
                    <a:pt x="2765" y="470"/>
                  </a:cubicBezTo>
                  <a:cubicBezTo>
                    <a:pt x="2764" y="465"/>
                    <a:pt x="2758" y="460"/>
                    <a:pt x="2751" y="460"/>
                  </a:cubicBezTo>
                  <a:cubicBezTo>
                    <a:pt x="2751" y="460"/>
                    <a:pt x="2751" y="460"/>
                    <a:pt x="2751" y="460"/>
                  </a:cubicBezTo>
                  <a:moveTo>
                    <a:pt x="2786" y="459"/>
                  </a:moveTo>
                  <a:cubicBezTo>
                    <a:pt x="2779" y="459"/>
                    <a:pt x="2774" y="464"/>
                    <a:pt x="2775" y="469"/>
                  </a:cubicBezTo>
                  <a:cubicBezTo>
                    <a:pt x="2776" y="475"/>
                    <a:pt x="2782" y="480"/>
                    <a:pt x="2788" y="480"/>
                  </a:cubicBezTo>
                  <a:cubicBezTo>
                    <a:pt x="2795" y="479"/>
                    <a:pt x="2800" y="475"/>
                    <a:pt x="2800" y="469"/>
                  </a:cubicBezTo>
                  <a:cubicBezTo>
                    <a:pt x="2799" y="464"/>
                    <a:pt x="2793" y="459"/>
                    <a:pt x="2786" y="459"/>
                  </a:cubicBezTo>
                  <a:cubicBezTo>
                    <a:pt x="2786" y="459"/>
                    <a:pt x="2786" y="459"/>
                    <a:pt x="2786" y="459"/>
                  </a:cubicBezTo>
                  <a:moveTo>
                    <a:pt x="2819" y="459"/>
                  </a:moveTo>
                  <a:cubicBezTo>
                    <a:pt x="2812" y="459"/>
                    <a:pt x="2807" y="463"/>
                    <a:pt x="2808" y="469"/>
                  </a:cubicBezTo>
                  <a:cubicBezTo>
                    <a:pt x="2809" y="475"/>
                    <a:pt x="2815" y="479"/>
                    <a:pt x="2822" y="479"/>
                  </a:cubicBezTo>
                  <a:cubicBezTo>
                    <a:pt x="2828" y="479"/>
                    <a:pt x="2833" y="475"/>
                    <a:pt x="2833" y="469"/>
                  </a:cubicBezTo>
                  <a:cubicBezTo>
                    <a:pt x="2832" y="463"/>
                    <a:pt x="2826" y="459"/>
                    <a:pt x="2819" y="459"/>
                  </a:cubicBezTo>
                  <a:cubicBezTo>
                    <a:pt x="2819" y="459"/>
                    <a:pt x="2819" y="459"/>
                    <a:pt x="2819" y="459"/>
                  </a:cubicBezTo>
                  <a:moveTo>
                    <a:pt x="2854" y="459"/>
                  </a:moveTo>
                  <a:cubicBezTo>
                    <a:pt x="2847" y="459"/>
                    <a:pt x="2842" y="463"/>
                    <a:pt x="2843" y="469"/>
                  </a:cubicBezTo>
                  <a:cubicBezTo>
                    <a:pt x="2844" y="475"/>
                    <a:pt x="2850" y="479"/>
                    <a:pt x="2857" y="479"/>
                  </a:cubicBezTo>
                  <a:cubicBezTo>
                    <a:pt x="2863" y="479"/>
                    <a:pt x="2868" y="474"/>
                    <a:pt x="2868" y="469"/>
                  </a:cubicBezTo>
                  <a:cubicBezTo>
                    <a:pt x="2867" y="463"/>
                    <a:pt x="2861" y="459"/>
                    <a:pt x="2854" y="459"/>
                  </a:cubicBezTo>
                  <a:cubicBezTo>
                    <a:pt x="2854" y="459"/>
                    <a:pt x="2854" y="459"/>
                    <a:pt x="2854" y="459"/>
                  </a:cubicBezTo>
                  <a:moveTo>
                    <a:pt x="2889" y="458"/>
                  </a:moveTo>
                  <a:cubicBezTo>
                    <a:pt x="2882" y="458"/>
                    <a:pt x="2877" y="463"/>
                    <a:pt x="2878" y="469"/>
                  </a:cubicBezTo>
                  <a:cubicBezTo>
                    <a:pt x="2879" y="474"/>
                    <a:pt x="2885" y="479"/>
                    <a:pt x="2892" y="479"/>
                  </a:cubicBezTo>
                  <a:cubicBezTo>
                    <a:pt x="2899" y="479"/>
                    <a:pt x="2904" y="474"/>
                    <a:pt x="2903" y="469"/>
                  </a:cubicBezTo>
                  <a:cubicBezTo>
                    <a:pt x="2902" y="463"/>
                    <a:pt x="2896" y="458"/>
                    <a:pt x="2889" y="458"/>
                  </a:cubicBezTo>
                  <a:cubicBezTo>
                    <a:pt x="2889" y="458"/>
                    <a:pt x="2889" y="458"/>
                    <a:pt x="2889" y="458"/>
                  </a:cubicBezTo>
                  <a:moveTo>
                    <a:pt x="2924" y="458"/>
                  </a:moveTo>
                  <a:cubicBezTo>
                    <a:pt x="2918" y="458"/>
                    <a:pt x="2913" y="463"/>
                    <a:pt x="2914" y="468"/>
                  </a:cubicBezTo>
                  <a:cubicBezTo>
                    <a:pt x="2915" y="474"/>
                    <a:pt x="2921" y="479"/>
                    <a:pt x="2928" y="479"/>
                  </a:cubicBezTo>
                  <a:cubicBezTo>
                    <a:pt x="2934" y="479"/>
                    <a:pt x="2939" y="474"/>
                    <a:pt x="2938" y="468"/>
                  </a:cubicBezTo>
                  <a:cubicBezTo>
                    <a:pt x="2937" y="463"/>
                    <a:pt x="2931" y="458"/>
                    <a:pt x="2925" y="458"/>
                  </a:cubicBezTo>
                  <a:cubicBezTo>
                    <a:pt x="2925" y="458"/>
                    <a:pt x="2924" y="458"/>
                    <a:pt x="2924" y="458"/>
                  </a:cubicBezTo>
                  <a:moveTo>
                    <a:pt x="2959" y="458"/>
                  </a:moveTo>
                  <a:cubicBezTo>
                    <a:pt x="2952" y="458"/>
                    <a:pt x="2948" y="463"/>
                    <a:pt x="2949" y="468"/>
                  </a:cubicBezTo>
                  <a:cubicBezTo>
                    <a:pt x="2950" y="474"/>
                    <a:pt x="2956" y="478"/>
                    <a:pt x="2963" y="478"/>
                  </a:cubicBezTo>
                  <a:cubicBezTo>
                    <a:pt x="2969" y="478"/>
                    <a:pt x="2974" y="474"/>
                    <a:pt x="2973" y="468"/>
                  </a:cubicBezTo>
                  <a:cubicBezTo>
                    <a:pt x="2972" y="462"/>
                    <a:pt x="2966" y="458"/>
                    <a:pt x="2959" y="458"/>
                  </a:cubicBezTo>
                  <a:cubicBezTo>
                    <a:pt x="2959" y="458"/>
                    <a:pt x="2959" y="458"/>
                    <a:pt x="2959" y="458"/>
                  </a:cubicBezTo>
                  <a:moveTo>
                    <a:pt x="2994" y="458"/>
                  </a:moveTo>
                  <a:cubicBezTo>
                    <a:pt x="2987" y="458"/>
                    <a:pt x="2983" y="462"/>
                    <a:pt x="2984" y="468"/>
                  </a:cubicBezTo>
                  <a:cubicBezTo>
                    <a:pt x="2985" y="474"/>
                    <a:pt x="2991" y="478"/>
                    <a:pt x="2998" y="478"/>
                  </a:cubicBezTo>
                  <a:cubicBezTo>
                    <a:pt x="3005" y="478"/>
                    <a:pt x="3009" y="473"/>
                    <a:pt x="3008" y="468"/>
                  </a:cubicBezTo>
                  <a:cubicBezTo>
                    <a:pt x="3007" y="462"/>
                    <a:pt x="3001" y="458"/>
                    <a:pt x="2994" y="458"/>
                  </a:cubicBezTo>
                  <a:cubicBezTo>
                    <a:pt x="2994" y="458"/>
                    <a:pt x="2994" y="458"/>
                    <a:pt x="2994" y="458"/>
                  </a:cubicBezTo>
                  <a:moveTo>
                    <a:pt x="3029" y="457"/>
                  </a:moveTo>
                  <a:cubicBezTo>
                    <a:pt x="3022" y="457"/>
                    <a:pt x="3018" y="462"/>
                    <a:pt x="3019" y="468"/>
                  </a:cubicBezTo>
                  <a:cubicBezTo>
                    <a:pt x="3020" y="473"/>
                    <a:pt x="3026" y="478"/>
                    <a:pt x="3033" y="478"/>
                  </a:cubicBezTo>
                  <a:cubicBezTo>
                    <a:pt x="3040" y="478"/>
                    <a:pt x="3044" y="473"/>
                    <a:pt x="3043" y="468"/>
                  </a:cubicBezTo>
                  <a:cubicBezTo>
                    <a:pt x="3042" y="462"/>
                    <a:pt x="3036" y="457"/>
                    <a:pt x="3029" y="457"/>
                  </a:cubicBezTo>
                  <a:cubicBezTo>
                    <a:pt x="3029" y="457"/>
                    <a:pt x="3029" y="457"/>
                    <a:pt x="3029" y="457"/>
                  </a:cubicBezTo>
                  <a:moveTo>
                    <a:pt x="3064" y="457"/>
                  </a:moveTo>
                  <a:cubicBezTo>
                    <a:pt x="3057" y="457"/>
                    <a:pt x="3053" y="462"/>
                    <a:pt x="3054" y="467"/>
                  </a:cubicBezTo>
                  <a:cubicBezTo>
                    <a:pt x="3055" y="473"/>
                    <a:pt x="3061" y="478"/>
                    <a:pt x="3068" y="478"/>
                  </a:cubicBezTo>
                  <a:cubicBezTo>
                    <a:pt x="3075" y="478"/>
                    <a:pt x="3080" y="473"/>
                    <a:pt x="3078" y="467"/>
                  </a:cubicBezTo>
                  <a:cubicBezTo>
                    <a:pt x="3077" y="462"/>
                    <a:pt x="3071" y="457"/>
                    <a:pt x="3064" y="457"/>
                  </a:cubicBezTo>
                  <a:cubicBezTo>
                    <a:pt x="3064" y="457"/>
                    <a:pt x="3064" y="457"/>
                    <a:pt x="3064" y="457"/>
                  </a:cubicBezTo>
                  <a:moveTo>
                    <a:pt x="3100" y="457"/>
                  </a:moveTo>
                  <a:cubicBezTo>
                    <a:pt x="3093" y="457"/>
                    <a:pt x="3089" y="462"/>
                    <a:pt x="3090" y="467"/>
                  </a:cubicBezTo>
                  <a:cubicBezTo>
                    <a:pt x="3091" y="473"/>
                    <a:pt x="3098" y="477"/>
                    <a:pt x="3105" y="477"/>
                  </a:cubicBezTo>
                  <a:cubicBezTo>
                    <a:pt x="3111" y="477"/>
                    <a:pt x="3116" y="473"/>
                    <a:pt x="3115" y="467"/>
                  </a:cubicBezTo>
                  <a:cubicBezTo>
                    <a:pt x="3113" y="461"/>
                    <a:pt x="3107" y="457"/>
                    <a:pt x="3100" y="457"/>
                  </a:cubicBezTo>
                  <a:cubicBezTo>
                    <a:pt x="3100" y="457"/>
                    <a:pt x="3100" y="457"/>
                    <a:pt x="3100" y="457"/>
                  </a:cubicBezTo>
                  <a:moveTo>
                    <a:pt x="3135" y="457"/>
                  </a:moveTo>
                  <a:cubicBezTo>
                    <a:pt x="3128" y="457"/>
                    <a:pt x="3124" y="461"/>
                    <a:pt x="3125" y="467"/>
                  </a:cubicBezTo>
                  <a:cubicBezTo>
                    <a:pt x="3126" y="473"/>
                    <a:pt x="3133" y="477"/>
                    <a:pt x="3140" y="477"/>
                  </a:cubicBezTo>
                  <a:cubicBezTo>
                    <a:pt x="3146" y="477"/>
                    <a:pt x="3151" y="472"/>
                    <a:pt x="3150" y="467"/>
                  </a:cubicBezTo>
                  <a:cubicBezTo>
                    <a:pt x="3148" y="461"/>
                    <a:pt x="3142" y="457"/>
                    <a:pt x="3135" y="457"/>
                  </a:cubicBezTo>
                  <a:cubicBezTo>
                    <a:pt x="3135" y="457"/>
                    <a:pt x="3135" y="457"/>
                    <a:pt x="3135" y="457"/>
                  </a:cubicBezTo>
                  <a:moveTo>
                    <a:pt x="3170" y="456"/>
                  </a:moveTo>
                  <a:cubicBezTo>
                    <a:pt x="3163" y="456"/>
                    <a:pt x="3159" y="461"/>
                    <a:pt x="3160" y="467"/>
                  </a:cubicBezTo>
                  <a:cubicBezTo>
                    <a:pt x="3162" y="472"/>
                    <a:pt x="3168" y="477"/>
                    <a:pt x="3175" y="477"/>
                  </a:cubicBezTo>
                  <a:cubicBezTo>
                    <a:pt x="3182" y="477"/>
                    <a:pt x="3186" y="472"/>
                    <a:pt x="3185" y="467"/>
                  </a:cubicBezTo>
                  <a:cubicBezTo>
                    <a:pt x="3183" y="461"/>
                    <a:pt x="3177" y="456"/>
                    <a:pt x="3170" y="456"/>
                  </a:cubicBezTo>
                  <a:cubicBezTo>
                    <a:pt x="3170" y="456"/>
                    <a:pt x="3170" y="456"/>
                    <a:pt x="3170" y="456"/>
                  </a:cubicBezTo>
                  <a:moveTo>
                    <a:pt x="3205" y="456"/>
                  </a:moveTo>
                  <a:cubicBezTo>
                    <a:pt x="3199" y="456"/>
                    <a:pt x="3194" y="461"/>
                    <a:pt x="3196" y="467"/>
                  </a:cubicBezTo>
                  <a:cubicBezTo>
                    <a:pt x="3197" y="472"/>
                    <a:pt x="3204" y="477"/>
                    <a:pt x="3211" y="477"/>
                  </a:cubicBezTo>
                  <a:cubicBezTo>
                    <a:pt x="3217" y="477"/>
                    <a:pt x="3222" y="472"/>
                    <a:pt x="3220" y="466"/>
                  </a:cubicBezTo>
                  <a:cubicBezTo>
                    <a:pt x="3219" y="461"/>
                    <a:pt x="3212" y="456"/>
                    <a:pt x="3205" y="456"/>
                  </a:cubicBezTo>
                  <a:cubicBezTo>
                    <a:pt x="3205" y="456"/>
                    <a:pt x="3205" y="456"/>
                    <a:pt x="3205" y="456"/>
                  </a:cubicBezTo>
                  <a:moveTo>
                    <a:pt x="3240" y="456"/>
                  </a:moveTo>
                  <a:cubicBezTo>
                    <a:pt x="3233" y="456"/>
                    <a:pt x="3229" y="461"/>
                    <a:pt x="3231" y="466"/>
                  </a:cubicBezTo>
                  <a:cubicBezTo>
                    <a:pt x="3232" y="472"/>
                    <a:pt x="3239" y="477"/>
                    <a:pt x="3246" y="476"/>
                  </a:cubicBezTo>
                  <a:cubicBezTo>
                    <a:pt x="3252" y="476"/>
                    <a:pt x="3257" y="472"/>
                    <a:pt x="3255" y="466"/>
                  </a:cubicBezTo>
                  <a:cubicBezTo>
                    <a:pt x="3254" y="460"/>
                    <a:pt x="3247" y="456"/>
                    <a:pt x="3240" y="456"/>
                  </a:cubicBezTo>
                  <a:cubicBezTo>
                    <a:pt x="3240" y="456"/>
                    <a:pt x="3240" y="456"/>
                    <a:pt x="3240" y="456"/>
                  </a:cubicBezTo>
                  <a:moveTo>
                    <a:pt x="3275" y="456"/>
                  </a:moveTo>
                  <a:cubicBezTo>
                    <a:pt x="3268" y="456"/>
                    <a:pt x="3264" y="460"/>
                    <a:pt x="3266" y="466"/>
                  </a:cubicBezTo>
                  <a:cubicBezTo>
                    <a:pt x="3267" y="472"/>
                    <a:pt x="3274" y="476"/>
                    <a:pt x="3281" y="476"/>
                  </a:cubicBezTo>
                  <a:cubicBezTo>
                    <a:pt x="3288" y="476"/>
                    <a:pt x="3292" y="472"/>
                    <a:pt x="3290" y="466"/>
                  </a:cubicBezTo>
                  <a:cubicBezTo>
                    <a:pt x="3289" y="460"/>
                    <a:pt x="3282" y="456"/>
                    <a:pt x="3275" y="456"/>
                  </a:cubicBezTo>
                  <a:cubicBezTo>
                    <a:pt x="3275" y="456"/>
                    <a:pt x="3275" y="456"/>
                    <a:pt x="3275" y="456"/>
                  </a:cubicBezTo>
                  <a:moveTo>
                    <a:pt x="3310" y="455"/>
                  </a:moveTo>
                  <a:cubicBezTo>
                    <a:pt x="3303" y="456"/>
                    <a:pt x="3299" y="460"/>
                    <a:pt x="3300" y="466"/>
                  </a:cubicBezTo>
                  <a:cubicBezTo>
                    <a:pt x="3302" y="471"/>
                    <a:pt x="3309" y="476"/>
                    <a:pt x="3316" y="476"/>
                  </a:cubicBezTo>
                  <a:cubicBezTo>
                    <a:pt x="3323" y="476"/>
                    <a:pt x="3327" y="471"/>
                    <a:pt x="3325" y="466"/>
                  </a:cubicBezTo>
                  <a:cubicBezTo>
                    <a:pt x="3323" y="460"/>
                    <a:pt x="3317" y="455"/>
                    <a:pt x="3310" y="455"/>
                  </a:cubicBezTo>
                  <a:cubicBezTo>
                    <a:pt x="3310" y="455"/>
                    <a:pt x="3310" y="455"/>
                    <a:pt x="3310" y="455"/>
                  </a:cubicBezTo>
                  <a:moveTo>
                    <a:pt x="3345" y="455"/>
                  </a:moveTo>
                  <a:cubicBezTo>
                    <a:pt x="3338" y="455"/>
                    <a:pt x="3334" y="460"/>
                    <a:pt x="3336" y="466"/>
                  </a:cubicBezTo>
                  <a:cubicBezTo>
                    <a:pt x="3337" y="471"/>
                    <a:pt x="3344" y="476"/>
                    <a:pt x="3351" y="476"/>
                  </a:cubicBezTo>
                  <a:cubicBezTo>
                    <a:pt x="3358" y="476"/>
                    <a:pt x="3362" y="471"/>
                    <a:pt x="3360" y="465"/>
                  </a:cubicBezTo>
                  <a:cubicBezTo>
                    <a:pt x="3358" y="460"/>
                    <a:pt x="3352" y="455"/>
                    <a:pt x="3345" y="455"/>
                  </a:cubicBezTo>
                  <a:cubicBezTo>
                    <a:pt x="3345" y="455"/>
                    <a:pt x="3345" y="455"/>
                    <a:pt x="3345" y="455"/>
                  </a:cubicBezTo>
                  <a:moveTo>
                    <a:pt x="3380" y="455"/>
                  </a:moveTo>
                  <a:cubicBezTo>
                    <a:pt x="3373" y="455"/>
                    <a:pt x="3369" y="460"/>
                    <a:pt x="3371" y="465"/>
                  </a:cubicBezTo>
                  <a:cubicBezTo>
                    <a:pt x="3373" y="471"/>
                    <a:pt x="3380" y="476"/>
                    <a:pt x="3387" y="476"/>
                  </a:cubicBezTo>
                  <a:cubicBezTo>
                    <a:pt x="3394" y="475"/>
                    <a:pt x="3398" y="471"/>
                    <a:pt x="3396" y="465"/>
                  </a:cubicBezTo>
                  <a:cubicBezTo>
                    <a:pt x="3394" y="460"/>
                    <a:pt x="3387" y="455"/>
                    <a:pt x="3380" y="455"/>
                  </a:cubicBezTo>
                  <a:cubicBezTo>
                    <a:pt x="3380" y="455"/>
                    <a:pt x="3380" y="455"/>
                    <a:pt x="3380" y="455"/>
                  </a:cubicBezTo>
                  <a:moveTo>
                    <a:pt x="3415" y="455"/>
                  </a:moveTo>
                  <a:cubicBezTo>
                    <a:pt x="3408" y="455"/>
                    <a:pt x="3404" y="459"/>
                    <a:pt x="3406" y="465"/>
                  </a:cubicBezTo>
                  <a:cubicBezTo>
                    <a:pt x="3408" y="471"/>
                    <a:pt x="3415" y="475"/>
                    <a:pt x="3422" y="475"/>
                  </a:cubicBezTo>
                  <a:cubicBezTo>
                    <a:pt x="3429" y="475"/>
                    <a:pt x="3432" y="471"/>
                    <a:pt x="3431" y="465"/>
                  </a:cubicBezTo>
                  <a:cubicBezTo>
                    <a:pt x="3429" y="459"/>
                    <a:pt x="3422" y="455"/>
                    <a:pt x="3415" y="455"/>
                  </a:cubicBezTo>
                  <a:cubicBezTo>
                    <a:pt x="3415" y="455"/>
                    <a:pt x="3415" y="455"/>
                    <a:pt x="3415" y="455"/>
                  </a:cubicBezTo>
                  <a:moveTo>
                    <a:pt x="3450" y="455"/>
                  </a:moveTo>
                  <a:cubicBezTo>
                    <a:pt x="3443" y="455"/>
                    <a:pt x="3439" y="459"/>
                    <a:pt x="3441" y="465"/>
                  </a:cubicBezTo>
                  <a:cubicBezTo>
                    <a:pt x="3443" y="471"/>
                    <a:pt x="3450" y="475"/>
                    <a:pt x="3457" y="475"/>
                  </a:cubicBezTo>
                  <a:cubicBezTo>
                    <a:pt x="3464" y="475"/>
                    <a:pt x="3468" y="470"/>
                    <a:pt x="3466" y="465"/>
                  </a:cubicBezTo>
                  <a:cubicBezTo>
                    <a:pt x="3464" y="459"/>
                    <a:pt x="3457" y="455"/>
                    <a:pt x="3450" y="455"/>
                  </a:cubicBezTo>
                  <a:cubicBezTo>
                    <a:pt x="3450" y="455"/>
                    <a:pt x="3450" y="455"/>
                    <a:pt x="3450" y="455"/>
                  </a:cubicBezTo>
                  <a:moveTo>
                    <a:pt x="3485" y="454"/>
                  </a:moveTo>
                  <a:cubicBezTo>
                    <a:pt x="3478" y="454"/>
                    <a:pt x="3474" y="459"/>
                    <a:pt x="3476" y="465"/>
                  </a:cubicBezTo>
                  <a:cubicBezTo>
                    <a:pt x="3478" y="470"/>
                    <a:pt x="3485" y="475"/>
                    <a:pt x="3492" y="475"/>
                  </a:cubicBezTo>
                  <a:cubicBezTo>
                    <a:pt x="3499" y="475"/>
                    <a:pt x="3503" y="470"/>
                    <a:pt x="3500" y="464"/>
                  </a:cubicBezTo>
                  <a:cubicBezTo>
                    <a:pt x="3498" y="459"/>
                    <a:pt x="3491" y="454"/>
                    <a:pt x="3485" y="454"/>
                  </a:cubicBezTo>
                  <a:cubicBezTo>
                    <a:pt x="3485" y="454"/>
                    <a:pt x="3485" y="454"/>
                    <a:pt x="3485" y="454"/>
                  </a:cubicBezTo>
                  <a:moveTo>
                    <a:pt x="3520" y="454"/>
                  </a:moveTo>
                  <a:cubicBezTo>
                    <a:pt x="3513" y="454"/>
                    <a:pt x="3509" y="459"/>
                    <a:pt x="3511" y="464"/>
                  </a:cubicBezTo>
                  <a:cubicBezTo>
                    <a:pt x="3513" y="470"/>
                    <a:pt x="3520" y="475"/>
                    <a:pt x="3527" y="475"/>
                  </a:cubicBezTo>
                  <a:cubicBezTo>
                    <a:pt x="3534" y="475"/>
                    <a:pt x="3538" y="470"/>
                    <a:pt x="3536" y="464"/>
                  </a:cubicBezTo>
                  <a:cubicBezTo>
                    <a:pt x="3534" y="459"/>
                    <a:pt x="3526" y="454"/>
                    <a:pt x="3520" y="454"/>
                  </a:cubicBezTo>
                  <a:cubicBezTo>
                    <a:pt x="3520" y="454"/>
                    <a:pt x="3520" y="454"/>
                    <a:pt x="3520" y="454"/>
                  </a:cubicBezTo>
                  <a:moveTo>
                    <a:pt x="3555" y="454"/>
                  </a:moveTo>
                  <a:cubicBezTo>
                    <a:pt x="3548" y="454"/>
                    <a:pt x="3544" y="458"/>
                    <a:pt x="3547" y="464"/>
                  </a:cubicBezTo>
                  <a:cubicBezTo>
                    <a:pt x="3549" y="470"/>
                    <a:pt x="3556" y="474"/>
                    <a:pt x="3563" y="474"/>
                  </a:cubicBezTo>
                  <a:cubicBezTo>
                    <a:pt x="3570" y="474"/>
                    <a:pt x="3573" y="470"/>
                    <a:pt x="3571" y="464"/>
                  </a:cubicBezTo>
                  <a:cubicBezTo>
                    <a:pt x="3569" y="458"/>
                    <a:pt x="3562" y="454"/>
                    <a:pt x="3555" y="454"/>
                  </a:cubicBezTo>
                  <a:cubicBezTo>
                    <a:pt x="3555" y="454"/>
                    <a:pt x="3555" y="454"/>
                    <a:pt x="3555" y="454"/>
                  </a:cubicBezTo>
                  <a:moveTo>
                    <a:pt x="3590" y="453"/>
                  </a:moveTo>
                  <a:cubicBezTo>
                    <a:pt x="3583" y="453"/>
                    <a:pt x="3579" y="458"/>
                    <a:pt x="3581" y="464"/>
                  </a:cubicBezTo>
                  <a:cubicBezTo>
                    <a:pt x="3584" y="469"/>
                    <a:pt x="3591" y="474"/>
                    <a:pt x="3598" y="474"/>
                  </a:cubicBezTo>
                  <a:cubicBezTo>
                    <a:pt x="3605" y="474"/>
                    <a:pt x="3608" y="469"/>
                    <a:pt x="3606" y="463"/>
                  </a:cubicBezTo>
                  <a:cubicBezTo>
                    <a:pt x="3604" y="458"/>
                    <a:pt x="3597" y="453"/>
                    <a:pt x="3590" y="453"/>
                  </a:cubicBezTo>
                  <a:cubicBezTo>
                    <a:pt x="3590" y="453"/>
                    <a:pt x="3590" y="453"/>
                    <a:pt x="3590" y="453"/>
                  </a:cubicBezTo>
                  <a:moveTo>
                    <a:pt x="3624" y="453"/>
                  </a:moveTo>
                  <a:cubicBezTo>
                    <a:pt x="3618" y="453"/>
                    <a:pt x="3614" y="458"/>
                    <a:pt x="3616" y="463"/>
                  </a:cubicBezTo>
                  <a:cubicBezTo>
                    <a:pt x="3619" y="469"/>
                    <a:pt x="3626" y="474"/>
                    <a:pt x="3633" y="474"/>
                  </a:cubicBezTo>
                  <a:cubicBezTo>
                    <a:pt x="3640" y="474"/>
                    <a:pt x="3643" y="469"/>
                    <a:pt x="3641" y="463"/>
                  </a:cubicBezTo>
                  <a:cubicBezTo>
                    <a:pt x="3639" y="458"/>
                    <a:pt x="3631" y="453"/>
                    <a:pt x="3625" y="453"/>
                  </a:cubicBezTo>
                  <a:cubicBezTo>
                    <a:pt x="3624" y="453"/>
                    <a:pt x="3624" y="453"/>
                    <a:pt x="3624" y="453"/>
                  </a:cubicBezTo>
                  <a:moveTo>
                    <a:pt x="3659" y="453"/>
                  </a:moveTo>
                  <a:cubicBezTo>
                    <a:pt x="3653" y="453"/>
                    <a:pt x="3649" y="458"/>
                    <a:pt x="3651" y="463"/>
                  </a:cubicBezTo>
                  <a:cubicBezTo>
                    <a:pt x="3654" y="469"/>
                    <a:pt x="3661" y="473"/>
                    <a:pt x="3668" y="473"/>
                  </a:cubicBezTo>
                  <a:cubicBezTo>
                    <a:pt x="3675" y="473"/>
                    <a:pt x="3678" y="469"/>
                    <a:pt x="3676" y="463"/>
                  </a:cubicBezTo>
                  <a:cubicBezTo>
                    <a:pt x="3674" y="457"/>
                    <a:pt x="3666" y="453"/>
                    <a:pt x="3660" y="453"/>
                  </a:cubicBezTo>
                  <a:cubicBezTo>
                    <a:pt x="3659" y="453"/>
                    <a:pt x="3659" y="453"/>
                    <a:pt x="3659" y="453"/>
                  </a:cubicBezTo>
                  <a:moveTo>
                    <a:pt x="3697" y="453"/>
                  </a:moveTo>
                  <a:cubicBezTo>
                    <a:pt x="3690" y="453"/>
                    <a:pt x="3686" y="457"/>
                    <a:pt x="3689" y="463"/>
                  </a:cubicBezTo>
                  <a:cubicBezTo>
                    <a:pt x="3691" y="469"/>
                    <a:pt x="3699" y="473"/>
                    <a:pt x="3705" y="473"/>
                  </a:cubicBezTo>
                  <a:cubicBezTo>
                    <a:pt x="3712" y="473"/>
                    <a:pt x="3716" y="468"/>
                    <a:pt x="3713" y="463"/>
                  </a:cubicBezTo>
                  <a:cubicBezTo>
                    <a:pt x="3711" y="457"/>
                    <a:pt x="3703" y="453"/>
                    <a:pt x="3697" y="453"/>
                  </a:cubicBezTo>
                  <a:cubicBezTo>
                    <a:pt x="3697" y="453"/>
                    <a:pt x="3697" y="453"/>
                    <a:pt x="3697" y="453"/>
                  </a:cubicBezTo>
                  <a:moveTo>
                    <a:pt x="3731" y="452"/>
                  </a:moveTo>
                  <a:cubicBezTo>
                    <a:pt x="3724" y="452"/>
                    <a:pt x="3721" y="457"/>
                    <a:pt x="3723" y="463"/>
                  </a:cubicBezTo>
                  <a:cubicBezTo>
                    <a:pt x="3726" y="468"/>
                    <a:pt x="3733" y="473"/>
                    <a:pt x="3740" y="473"/>
                  </a:cubicBezTo>
                  <a:cubicBezTo>
                    <a:pt x="3747" y="473"/>
                    <a:pt x="3750" y="468"/>
                    <a:pt x="3748" y="463"/>
                  </a:cubicBezTo>
                  <a:cubicBezTo>
                    <a:pt x="3745" y="457"/>
                    <a:pt x="3738" y="452"/>
                    <a:pt x="3731" y="452"/>
                  </a:cubicBezTo>
                  <a:cubicBezTo>
                    <a:pt x="3731" y="452"/>
                    <a:pt x="3731" y="452"/>
                    <a:pt x="3731" y="452"/>
                  </a:cubicBezTo>
                  <a:moveTo>
                    <a:pt x="3766" y="452"/>
                  </a:moveTo>
                  <a:cubicBezTo>
                    <a:pt x="3759" y="452"/>
                    <a:pt x="3756" y="457"/>
                    <a:pt x="3758" y="462"/>
                  </a:cubicBezTo>
                  <a:cubicBezTo>
                    <a:pt x="3761" y="468"/>
                    <a:pt x="3768" y="473"/>
                    <a:pt x="3775" y="473"/>
                  </a:cubicBezTo>
                  <a:cubicBezTo>
                    <a:pt x="3782" y="473"/>
                    <a:pt x="3785" y="468"/>
                    <a:pt x="3783" y="462"/>
                  </a:cubicBezTo>
                  <a:cubicBezTo>
                    <a:pt x="3780" y="457"/>
                    <a:pt x="3772" y="452"/>
                    <a:pt x="3766" y="452"/>
                  </a:cubicBezTo>
                  <a:cubicBezTo>
                    <a:pt x="3766" y="452"/>
                    <a:pt x="3766" y="452"/>
                    <a:pt x="3766" y="452"/>
                  </a:cubicBezTo>
                  <a:moveTo>
                    <a:pt x="3801" y="452"/>
                  </a:moveTo>
                  <a:cubicBezTo>
                    <a:pt x="3794" y="452"/>
                    <a:pt x="3791" y="457"/>
                    <a:pt x="3793" y="462"/>
                  </a:cubicBezTo>
                  <a:cubicBezTo>
                    <a:pt x="3796" y="468"/>
                    <a:pt x="3804" y="472"/>
                    <a:pt x="3810" y="472"/>
                  </a:cubicBezTo>
                  <a:cubicBezTo>
                    <a:pt x="3817" y="472"/>
                    <a:pt x="3820" y="468"/>
                    <a:pt x="3818" y="462"/>
                  </a:cubicBezTo>
                  <a:cubicBezTo>
                    <a:pt x="3815" y="456"/>
                    <a:pt x="3807" y="452"/>
                    <a:pt x="3801" y="452"/>
                  </a:cubicBezTo>
                  <a:cubicBezTo>
                    <a:pt x="3801" y="452"/>
                    <a:pt x="3801" y="452"/>
                    <a:pt x="3801" y="452"/>
                  </a:cubicBezTo>
                  <a:moveTo>
                    <a:pt x="3836" y="452"/>
                  </a:moveTo>
                  <a:cubicBezTo>
                    <a:pt x="3829" y="452"/>
                    <a:pt x="3826" y="456"/>
                    <a:pt x="3829" y="462"/>
                  </a:cubicBezTo>
                  <a:cubicBezTo>
                    <a:pt x="3831" y="468"/>
                    <a:pt x="3839" y="472"/>
                    <a:pt x="3846" y="472"/>
                  </a:cubicBezTo>
                  <a:cubicBezTo>
                    <a:pt x="3853" y="472"/>
                    <a:pt x="3856" y="467"/>
                    <a:pt x="3853" y="462"/>
                  </a:cubicBezTo>
                  <a:cubicBezTo>
                    <a:pt x="3850" y="456"/>
                    <a:pt x="3843" y="452"/>
                    <a:pt x="3836" y="452"/>
                  </a:cubicBezTo>
                  <a:cubicBezTo>
                    <a:pt x="3836" y="452"/>
                    <a:pt x="3836" y="452"/>
                    <a:pt x="3836" y="452"/>
                  </a:cubicBezTo>
                  <a:moveTo>
                    <a:pt x="3871" y="451"/>
                  </a:moveTo>
                  <a:cubicBezTo>
                    <a:pt x="3864" y="451"/>
                    <a:pt x="3861" y="456"/>
                    <a:pt x="3863" y="462"/>
                  </a:cubicBezTo>
                  <a:cubicBezTo>
                    <a:pt x="3866" y="467"/>
                    <a:pt x="3874" y="472"/>
                    <a:pt x="3881" y="472"/>
                  </a:cubicBezTo>
                  <a:cubicBezTo>
                    <a:pt x="3888" y="472"/>
                    <a:pt x="3891" y="467"/>
                    <a:pt x="3888" y="462"/>
                  </a:cubicBezTo>
                  <a:cubicBezTo>
                    <a:pt x="3885" y="456"/>
                    <a:pt x="3877" y="451"/>
                    <a:pt x="3871" y="451"/>
                  </a:cubicBezTo>
                  <a:cubicBezTo>
                    <a:pt x="3871" y="451"/>
                    <a:pt x="3871" y="451"/>
                    <a:pt x="3871" y="451"/>
                  </a:cubicBezTo>
                  <a:moveTo>
                    <a:pt x="3906" y="451"/>
                  </a:moveTo>
                  <a:cubicBezTo>
                    <a:pt x="3899" y="451"/>
                    <a:pt x="3896" y="456"/>
                    <a:pt x="3899" y="462"/>
                  </a:cubicBezTo>
                  <a:cubicBezTo>
                    <a:pt x="3901" y="467"/>
                    <a:pt x="3909" y="472"/>
                    <a:pt x="3916" y="472"/>
                  </a:cubicBezTo>
                  <a:cubicBezTo>
                    <a:pt x="3923" y="472"/>
                    <a:pt x="3926" y="467"/>
                    <a:pt x="3923" y="461"/>
                  </a:cubicBezTo>
                  <a:cubicBezTo>
                    <a:pt x="3920" y="456"/>
                    <a:pt x="3912" y="451"/>
                    <a:pt x="3906" y="451"/>
                  </a:cubicBezTo>
                  <a:cubicBezTo>
                    <a:pt x="3906" y="451"/>
                    <a:pt x="3906" y="451"/>
                    <a:pt x="3906" y="451"/>
                  </a:cubicBezTo>
                  <a:moveTo>
                    <a:pt x="3940" y="451"/>
                  </a:moveTo>
                  <a:cubicBezTo>
                    <a:pt x="3933" y="451"/>
                    <a:pt x="3930" y="456"/>
                    <a:pt x="3933" y="461"/>
                  </a:cubicBezTo>
                  <a:cubicBezTo>
                    <a:pt x="3936" y="467"/>
                    <a:pt x="3944" y="472"/>
                    <a:pt x="3951" y="471"/>
                  </a:cubicBezTo>
                  <a:cubicBezTo>
                    <a:pt x="3958" y="471"/>
                    <a:pt x="3961" y="467"/>
                    <a:pt x="3958" y="461"/>
                  </a:cubicBezTo>
                  <a:cubicBezTo>
                    <a:pt x="3955" y="455"/>
                    <a:pt x="3947" y="451"/>
                    <a:pt x="3940" y="451"/>
                  </a:cubicBezTo>
                  <a:cubicBezTo>
                    <a:pt x="3940" y="451"/>
                    <a:pt x="3940" y="451"/>
                    <a:pt x="3940" y="451"/>
                  </a:cubicBezTo>
                  <a:moveTo>
                    <a:pt x="3975" y="451"/>
                  </a:moveTo>
                  <a:cubicBezTo>
                    <a:pt x="3968" y="451"/>
                    <a:pt x="3965" y="455"/>
                    <a:pt x="3968" y="461"/>
                  </a:cubicBezTo>
                  <a:cubicBezTo>
                    <a:pt x="3971" y="467"/>
                    <a:pt x="3979" y="471"/>
                    <a:pt x="3986" y="471"/>
                  </a:cubicBezTo>
                  <a:cubicBezTo>
                    <a:pt x="3993" y="471"/>
                    <a:pt x="3996" y="467"/>
                    <a:pt x="3993" y="461"/>
                  </a:cubicBezTo>
                  <a:cubicBezTo>
                    <a:pt x="3990" y="455"/>
                    <a:pt x="3982" y="451"/>
                    <a:pt x="3975" y="451"/>
                  </a:cubicBezTo>
                  <a:cubicBezTo>
                    <a:pt x="3975" y="451"/>
                    <a:pt x="3975" y="451"/>
                    <a:pt x="3975" y="451"/>
                  </a:cubicBezTo>
                  <a:moveTo>
                    <a:pt x="4009" y="450"/>
                  </a:moveTo>
                  <a:cubicBezTo>
                    <a:pt x="4002" y="450"/>
                    <a:pt x="3999" y="455"/>
                    <a:pt x="4003" y="461"/>
                  </a:cubicBezTo>
                  <a:cubicBezTo>
                    <a:pt x="4006" y="466"/>
                    <a:pt x="4014" y="471"/>
                    <a:pt x="4020" y="471"/>
                  </a:cubicBezTo>
                  <a:cubicBezTo>
                    <a:pt x="4027" y="471"/>
                    <a:pt x="4030" y="466"/>
                    <a:pt x="4027" y="461"/>
                  </a:cubicBezTo>
                  <a:cubicBezTo>
                    <a:pt x="4024" y="455"/>
                    <a:pt x="4016" y="450"/>
                    <a:pt x="4009" y="450"/>
                  </a:cubicBezTo>
                  <a:cubicBezTo>
                    <a:pt x="4009" y="450"/>
                    <a:pt x="4009" y="450"/>
                    <a:pt x="4009" y="450"/>
                  </a:cubicBezTo>
                  <a:moveTo>
                    <a:pt x="316" y="449"/>
                  </a:moveTo>
                  <a:cubicBezTo>
                    <a:pt x="309" y="449"/>
                    <a:pt x="300" y="453"/>
                    <a:pt x="295" y="459"/>
                  </a:cubicBezTo>
                  <a:cubicBezTo>
                    <a:pt x="291" y="465"/>
                    <a:pt x="293" y="469"/>
                    <a:pt x="300" y="469"/>
                  </a:cubicBezTo>
                  <a:cubicBezTo>
                    <a:pt x="306" y="469"/>
                    <a:pt x="315" y="464"/>
                    <a:pt x="320" y="459"/>
                  </a:cubicBezTo>
                  <a:cubicBezTo>
                    <a:pt x="324" y="453"/>
                    <a:pt x="322" y="449"/>
                    <a:pt x="316" y="449"/>
                  </a:cubicBezTo>
                  <a:cubicBezTo>
                    <a:pt x="316" y="449"/>
                    <a:pt x="316" y="449"/>
                    <a:pt x="316" y="449"/>
                  </a:cubicBezTo>
                  <a:moveTo>
                    <a:pt x="350" y="448"/>
                  </a:moveTo>
                  <a:cubicBezTo>
                    <a:pt x="344" y="449"/>
                    <a:pt x="335" y="453"/>
                    <a:pt x="330" y="459"/>
                  </a:cubicBezTo>
                  <a:cubicBezTo>
                    <a:pt x="326" y="464"/>
                    <a:pt x="328" y="469"/>
                    <a:pt x="334" y="469"/>
                  </a:cubicBezTo>
                  <a:cubicBezTo>
                    <a:pt x="341" y="469"/>
                    <a:pt x="350" y="464"/>
                    <a:pt x="355" y="459"/>
                  </a:cubicBezTo>
                  <a:cubicBezTo>
                    <a:pt x="359" y="453"/>
                    <a:pt x="357" y="448"/>
                    <a:pt x="350" y="448"/>
                  </a:cubicBezTo>
                  <a:cubicBezTo>
                    <a:pt x="350" y="448"/>
                    <a:pt x="350" y="448"/>
                    <a:pt x="350" y="448"/>
                  </a:cubicBezTo>
                  <a:moveTo>
                    <a:pt x="385" y="448"/>
                  </a:moveTo>
                  <a:cubicBezTo>
                    <a:pt x="378" y="448"/>
                    <a:pt x="370" y="453"/>
                    <a:pt x="365" y="458"/>
                  </a:cubicBezTo>
                  <a:cubicBezTo>
                    <a:pt x="361" y="464"/>
                    <a:pt x="363" y="469"/>
                    <a:pt x="370" y="468"/>
                  </a:cubicBezTo>
                  <a:cubicBezTo>
                    <a:pt x="376" y="468"/>
                    <a:pt x="385" y="464"/>
                    <a:pt x="390" y="458"/>
                  </a:cubicBezTo>
                  <a:cubicBezTo>
                    <a:pt x="394" y="453"/>
                    <a:pt x="392" y="448"/>
                    <a:pt x="385" y="448"/>
                  </a:cubicBezTo>
                  <a:cubicBezTo>
                    <a:pt x="385" y="448"/>
                    <a:pt x="385" y="448"/>
                    <a:pt x="385" y="448"/>
                  </a:cubicBezTo>
                  <a:moveTo>
                    <a:pt x="420" y="448"/>
                  </a:moveTo>
                  <a:cubicBezTo>
                    <a:pt x="413" y="448"/>
                    <a:pt x="404" y="453"/>
                    <a:pt x="400" y="458"/>
                  </a:cubicBezTo>
                  <a:cubicBezTo>
                    <a:pt x="396" y="464"/>
                    <a:pt x="398" y="468"/>
                    <a:pt x="404" y="468"/>
                  </a:cubicBezTo>
                  <a:cubicBezTo>
                    <a:pt x="411" y="468"/>
                    <a:pt x="420" y="464"/>
                    <a:pt x="424" y="458"/>
                  </a:cubicBezTo>
                  <a:cubicBezTo>
                    <a:pt x="429" y="452"/>
                    <a:pt x="427" y="448"/>
                    <a:pt x="420" y="448"/>
                  </a:cubicBezTo>
                  <a:cubicBezTo>
                    <a:pt x="420" y="448"/>
                    <a:pt x="420" y="448"/>
                    <a:pt x="420" y="448"/>
                  </a:cubicBezTo>
                  <a:moveTo>
                    <a:pt x="455" y="448"/>
                  </a:moveTo>
                  <a:cubicBezTo>
                    <a:pt x="448" y="448"/>
                    <a:pt x="439" y="452"/>
                    <a:pt x="435" y="458"/>
                  </a:cubicBezTo>
                  <a:cubicBezTo>
                    <a:pt x="431" y="464"/>
                    <a:pt x="433" y="468"/>
                    <a:pt x="440" y="468"/>
                  </a:cubicBezTo>
                  <a:cubicBezTo>
                    <a:pt x="446" y="468"/>
                    <a:pt x="455" y="463"/>
                    <a:pt x="459" y="458"/>
                  </a:cubicBezTo>
                  <a:cubicBezTo>
                    <a:pt x="464" y="452"/>
                    <a:pt x="462" y="448"/>
                    <a:pt x="455" y="448"/>
                  </a:cubicBezTo>
                  <a:cubicBezTo>
                    <a:pt x="455" y="448"/>
                    <a:pt x="455" y="448"/>
                    <a:pt x="455" y="448"/>
                  </a:cubicBezTo>
                  <a:moveTo>
                    <a:pt x="491" y="447"/>
                  </a:moveTo>
                  <a:cubicBezTo>
                    <a:pt x="484" y="448"/>
                    <a:pt x="475" y="452"/>
                    <a:pt x="471" y="458"/>
                  </a:cubicBezTo>
                  <a:cubicBezTo>
                    <a:pt x="467" y="463"/>
                    <a:pt x="469" y="468"/>
                    <a:pt x="476" y="468"/>
                  </a:cubicBezTo>
                  <a:cubicBezTo>
                    <a:pt x="483" y="468"/>
                    <a:pt x="491" y="463"/>
                    <a:pt x="496" y="458"/>
                  </a:cubicBezTo>
                  <a:cubicBezTo>
                    <a:pt x="500" y="452"/>
                    <a:pt x="498" y="447"/>
                    <a:pt x="491" y="447"/>
                  </a:cubicBezTo>
                  <a:cubicBezTo>
                    <a:pt x="491" y="447"/>
                    <a:pt x="491" y="447"/>
                    <a:pt x="491" y="447"/>
                  </a:cubicBezTo>
                  <a:moveTo>
                    <a:pt x="525" y="447"/>
                  </a:moveTo>
                  <a:cubicBezTo>
                    <a:pt x="519" y="447"/>
                    <a:pt x="510" y="452"/>
                    <a:pt x="506" y="457"/>
                  </a:cubicBezTo>
                  <a:cubicBezTo>
                    <a:pt x="502" y="463"/>
                    <a:pt x="504" y="468"/>
                    <a:pt x="511" y="468"/>
                  </a:cubicBezTo>
                  <a:cubicBezTo>
                    <a:pt x="518" y="467"/>
                    <a:pt x="526" y="463"/>
                    <a:pt x="530" y="457"/>
                  </a:cubicBezTo>
                  <a:cubicBezTo>
                    <a:pt x="534" y="452"/>
                    <a:pt x="532" y="447"/>
                    <a:pt x="526" y="447"/>
                  </a:cubicBezTo>
                  <a:cubicBezTo>
                    <a:pt x="525" y="447"/>
                    <a:pt x="525" y="447"/>
                    <a:pt x="525" y="447"/>
                  </a:cubicBezTo>
                  <a:moveTo>
                    <a:pt x="560" y="447"/>
                  </a:moveTo>
                  <a:cubicBezTo>
                    <a:pt x="554" y="447"/>
                    <a:pt x="545" y="452"/>
                    <a:pt x="541" y="457"/>
                  </a:cubicBezTo>
                  <a:cubicBezTo>
                    <a:pt x="537" y="463"/>
                    <a:pt x="539" y="467"/>
                    <a:pt x="546" y="467"/>
                  </a:cubicBezTo>
                  <a:cubicBezTo>
                    <a:pt x="553" y="467"/>
                    <a:pt x="561" y="463"/>
                    <a:pt x="565" y="457"/>
                  </a:cubicBezTo>
                  <a:cubicBezTo>
                    <a:pt x="569" y="451"/>
                    <a:pt x="567" y="447"/>
                    <a:pt x="560" y="447"/>
                  </a:cubicBezTo>
                  <a:cubicBezTo>
                    <a:pt x="560" y="447"/>
                    <a:pt x="560" y="447"/>
                    <a:pt x="560" y="447"/>
                  </a:cubicBezTo>
                  <a:moveTo>
                    <a:pt x="596" y="447"/>
                  </a:moveTo>
                  <a:cubicBezTo>
                    <a:pt x="589" y="447"/>
                    <a:pt x="580" y="451"/>
                    <a:pt x="576" y="457"/>
                  </a:cubicBezTo>
                  <a:cubicBezTo>
                    <a:pt x="572" y="463"/>
                    <a:pt x="575" y="467"/>
                    <a:pt x="581" y="467"/>
                  </a:cubicBezTo>
                  <a:cubicBezTo>
                    <a:pt x="588" y="467"/>
                    <a:pt x="597" y="462"/>
                    <a:pt x="601" y="457"/>
                  </a:cubicBezTo>
                  <a:cubicBezTo>
                    <a:pt x="605" y="451"/>
                    <a:pt x="602" y="447"/>
                    <a:pt x="596" y="447"/>
                  </a:cubicBezTo>
                  <a:cubicBezTo>
                    <a:pt x="596" y="447"/>
                    <a:pt x="596" y="447"/>
                    <a:pt x="596" y="447"/>
                  </a:cubicBezTo>
                  <a:moveTo>
                    <a:pt x="630" y="447"/>
                  </a:moveTo>
                  <a:cubicBezTo>
                    <a:pt x="623" y="447"/>
                    <a:pt x="615" y="451"/>
                    <a:pt x="611" y="457"/>
                  </a:cubicBezTo>
                  <a:cubicBezTo>
                    <a:pt x="607" y="462"/>
                    <a:pt x="610" y="467"/>
                    <a:pt x="616" y="467"/>
                  </a:cubicBezTo>
                  <a:cubicBezTo>
                    <a:pt x="623" y="467"/>
                    <a:pt x="632" y="462"/>
                    <a:pt x="635" y="457"/>
                  </a:cubicBezTo>
                  <a:cubicBezTo>
                    <a:pt x="639" y="451"/>
                    <a:pt x="637" y="447"/>
                    <a:pt x="630" y="447"/>
                  </a:cubicBezTo>
                  <a:cubicBezTo>
                    <a:pt x="630" y="447"/>
                    <a:pt x="630" y="447"/>
                    <a:pt x="630" y="447"/>
                  </a:cubicBezTo>
                  <a:moveTo>
                    <a:pt x="665" y="446"/>
                  </a:moveTo>
                  <a:cubicBezTo>
                    <a:pt x="658" y="446"/>
                    <a:pt x="650" y="451"/>
                    <a:pt x="646" y="456"/>
                  </a:cubicBezTo>
                  <a:cubicBezTo>
                    <a:pt x="642" y="462"/>
                    <a:pt x="645" y="467"/>
                    <a:pt x="651" y="467"/>
                  </a:cubicBezTo>
                  <a:cubicBezTo>
                    <a:pt x="658" y="466"/>
                    <a:pt x="667" y="462"/>
                    <a:pt x="670" y="456"/>
                  </a:cubicBezTo>
                  <a:cubicBezTo>
                    <a:pt x="674" y="451"/>
                    <a:pt x="672" y="446"/>
                    <a:pt x="665" y="446"/>
                  </a:cubicBezTo>
                  <a:cubicBezTo>
                    <a:pt x="665" y="446"/>
                    <a:pt x="665" y="446"/>
                    <a:pt x="665" y="446"/>
                  </a:cubicBezTo>
                  <a:moveTo>
                    <a:pt x="700" y="446"/>
                  </a:moveTo>
                  <a:cubicBezTo>
                    <a:pt x="693" y="446"/>
                    <a:pt x="684" y="451"/>
                    <a:pt x="681" y="456"/>
                  </a:cubicBezTo>
                  <a:cubicBezTo>
                    <a:pt x="677" y="462"/>
                    <a:pt x="679" y="466"/>
                    <a:pt x="686" y="466"/>
                  </a:cubicBezTo>
                  <a:cubicBezTo>
                    <a:pt x="693" y="466"/>
                    <a:pt x="702" y="462"/>
                    <a:pt x="705" y="456"/>
                  </a:cubicBezTo>
                  <a:cubicBezTo>
                    <a:pt x="709" y="451"/>
                    <a:pt x="706" y="446"/>
                    <a:pt x="700" y="446"/>
                  </a:cubicBezTo>
                  <a:cubicBezTo>
                    <a:pt x="700" y="446"/>
                    <a:pt x="700" y="446"/>
                    <a:pt x="700" y="446"/>
                  </a:cubicBezTo>
                  <a:moveTo>
                    <a:pt x="735" y="446"/>
                  </a:moveTo>
                  <a:cubicBezTo>
                    <a:pt x="728" y="446"/>
                    <a:pt x="719" y="450"/>
                    <a:pt x="716" y="456"/>
                  </a:cubicBezTo>
                  <a:cubicBezTo>
                    <a:pt x="712" y="462"/>
                    <a:pt x="715" y="466"/>
                    <a:pt x="721" y="466"/>
                  </a:cubicBezTo>
                  <a:cubicBezTo>
                    <a:pt x="728" y="466"/>
                    <a:pt x="737" y="461"/>
                    <a:pt x="740" y="456"/>
                  </a:cubicBezTo>
                  <a:cubicBezTo>
                    <a:pt x="744" y="450"/>
                    <a:pt x="741" y="446"/>
                    <a:pt x="735" y="446"/>
                  </a:cubicBezTo>
                  <a:cubicBezTo>
                    <a:pt x="735" y="446"/>
                    <a:pt x="735" y="446"/>
                    <a:pt x="735" y="446"/>
                  </a:cubicBezTo>
                  <a:moveTo>
                    <a:pt x="770" y="446"/>
                  </a:moveTo>
                  <a:cubicBezTo>
                    <a:pt x="763" y="446"/>
                    <a:pt x="755" y="450"/>
                    <a:pt x="751" y="456"/>
                  </a:cubicBezTo>
                  <a:cubicBezTo>
                    <a:pt x="748" y="461"/>
                    <a:pt x="750" y="466"/>
                    <a:pt x="757" y="466"/>
                  </a:cubicBezTo>
                  <a:cubicBezTo>
                    <a:pt x="764" y="466"/>
                    <a:pt x="772" y="461"/>
                    <a:pt x="776" y="456"/>
                  </a:cubicBezTo>
                  <a:cubicBezTo>
                    <a:pt x="779" y="450"/>
                    <a:pt x="777" y="446"/>
                    <a:pt x="770" y="446"/>
                  </a:cubicBezTo>
                  <a:cubicBezTo>
                    <a:pt x="770" y="446"/>
                    <a:pt x="770" y="446"/>
                    <a:pt x="770" y="446"/>
                  </a:cubicBezTo>
                  <a:moveTo>
                    <a:pt x="804" y="445"/>
                  </a:moveTo>
                  <a:cubicBezTo>
                    <a:pt x="798" y="445"/>
                    <a:pt x="789" y="450"/>
                    <a:pt x="786" y="456"/>
                  </a:cubicBezTo>
                  <a:cubicBezTo>
                    <a:pt x="782" y="461"/>
                    <a:pt x="785" y="466"/>
                    <a:pt x="792" y="466"/>
                  </a:cubicBezTo>
                  <a:cubicBezTo>
                    <a:pt x="799" y="466"/>
                    <a:pt x="807" y="461"/>
                    <a:pt x="810" y="455"/>
                  </a:cubicBezTo>
                  <a:cubicBezTo>
                    <a:pt x="814" y="450"/>
                    <a:pt x="811" y="445"/>
                    <a:pt x="804" y="445"/>
                  </a:cubicBezTo>
                  <a:cubicBezTo>
                    <a:pt x="804" y="445"/>
                    <a:pt x="804" y="445"/>
                    <a:pt x="804" y="445"/>
                  </a:cubicBezTo>
                  <a:moveTo>
                    <a:pt x="837" y="445"/>
                  </a:moveTo>
                  <a:cubicBezTo>
                    <a:pt x="831" y="445"/>
                    <a:pt x="822" y="450"/>
                    <a:pt x="819" y="455"/>
                  </a:cubicBezTo>
                  <a:cubicBezTo>
                    <a:pt x="816" y="461"/>
                    <a:pt x="818" y="465"/>
                    <a:pt x="825" y="465"/>
                  </a:cubicBezTo>
                  <a:cubicBezTo>
                    <a:pt x="832" y="465"/>
                    <a:pt x="840" y="461"/>
                    <a:pt x="843" y="455"/>
                  </a:cubicBezTo>
                  <a:cubicBezTo>
                    <a:pt x="847" y="450"/>
                    <a:pt x="844" y="445"/>
                    <a:pt x="837" y="445"/>
                  </a:cubicBezTo>
                  <a:cubicBezTo>
                    <a:pt x="837" y="445"/>
                    <a:pt x="837" y="445"/>
                    <a:pt x="837" y="445"/>
                  </a:cubicBezTo>
                  <a:moveTo>
                    <a:pt x="873" y="445"/>
                  </a:moveTo>
                  <a:cubicBezTo>
                    <a:pt x="866" y="445"/>
                    <a:pt x="858" y="449"/>
                    <a:pt x="854" y="455"/>
                  </a:cubicBezTo>
                  <a:cubicBezTo>
                    <a:pt x="851" y="461"/>
                    <a:pt x="854" y="465"/>
                    <a:pt x="860" y="465"/>
                  </a:cubicBezTo>
                  <a:cubicBezTo>
                    <a:pt x="867" y="465"/>
                    <a:pt x="875" y="460"/>
                    <a:pt x="879" y="455"/>
                  </a:cubicBezTo>
                  <a:cubicBezTo>
                    <a:pt x="882" y="449"/>
                    <a:pt x="879" y="445"/>
                    <a:pt x="873" y="445"/>
                  </a:cubicBezTo>
                  <a:cubicBezTo>
                    <a:pt x="873" y="445"/>
                    <a:pt x="873" y="445"/>
                    <a:pt x="873" y="445"/>
                  </a:cubicBezTo>
                  <a:moveTo>
                    <a:pt x="907" y="445"/>
                  </a:moveTo>
                  <a:cubicBezTo>
                    <a:pt x="900" y="445"/>
                    <a:pt x="892" y="449"/>
                    <a:pt x="889" y="455"/>
                  </a:cubicBezTo>
                  <a:cubicBezTo>
                    <a:pt x="886" y="460"/>
                    <a:pt x="889" y="465"/>
                    <a:pt x="895" y="465"/>
                  </a:cubicBezTo>
                  <a:cubicBezTo>
                    <a:pt x="902" y="465"/>
                    <a:pt x="910" y="460"/>
                    <a:pt x="913" y="455"/>
                  </a:cubicBezTo>
                  <a:cubicBezTo>
                    <a:pt x="917" y="449"/>
                    <a:pt x="914" y="445"/>
                    <a:pt x="907" y="445"/>
                  </a:cubicBezTo>
                  <a:cubicBezTo>
                    <a:pt x="907" y="445"/>
                    <a:pt x="907" y="445"/>
                    <a:pt x="907" y="445"/>
                  </a:cubicBezTo>
                  <a:moveTo>
                    <a:pt x="942" y="444"/>
                  </a:moveTo>
                  <a:cubicBezTo>
                    <a:pt x="935" y="444"/>
                    <a:pt x="927" y="449"/>
                    <a:pt x="924" y="455"/>
                  </a:cubicBezTo>
                  <a:cubicBezTo>
                    <a:pt x="921" y="460"/>
                    <a:pt x="924" y="465"/>
                    <a:pt x="930" y="465"/>
                  </a:cubicBezTo>
                  <a:cubicBezTo>
                    <a:pt x="937" y="465"/>
                    <a:pt x="945" y="460"/>
                    <a:pt x="948" y="454"/>
                  </a:cubicBezTo>
                  <a:cubicBezTo>
                    <a:pt x="952" y="449"/>
                    <a:pt x="949" y="444"/>
                    <a:pt x="942" y="444"/>
                  </a:cubicBezTo>
                  <a:cubicBezTo>
                    <a:pt x="942" y="444"/>
                    <a:pt x="942" y="444"/>
                    <a:pt x="942" y="444"/>
                  </a:cubicBezTo>
                  <a:moveTo>
                    <a:pt x="977" y="444"/>
                  </a:moveTo>
                  <a:cubicBezTo>
                    <a:pt x="970" y="444"/>
                    <a:pt x="962" y="449"/>
                    <a:pt x="959" y="454"/>
                  </a:cubicBezTo>
                  <a:cubicBezTo>
                    <a:pt x="956" y="460"/>
                    <a:pt x="958" y="464"/>
                    <a:pt x="965" y="464"/>
                  </a:cubicBezTo>
                  <a:cubicBezTo>
                    <a:pt x="972" y="464"/>
                    <a:pt x="980" y="460"/>
                    <a:pt x="983" y="454"/>
                  </a:cubicBezTo>
                  <a:cubicBezTo>
                    <a:pt x="986" y="449"/>
                    <a:pt x="983" y="444"/>
                    <a:pt x="977" y="444"/>
                  </a:cubicBezTo>
                  <a:cubicBezTo>
                    <a:pt x="977" y="444"/>
                    <a:pt x="977" y="444"/>
                    <a:pt x="977" y="444"/>
                  </a:cubicBezTo>
                  <a:moveTo>
                    <a:pt x="1011" y="444"/>
                  </a:moveTo>
                  <a:cubicBezTo>
                    <a:pt x="1005" y="444"/>
                    <a:pt x="997" y="448"/>
                    <a:pt x="994" y="454"/>
                  </a:cubicBezTo>
                  <a:cubicBezTo>
                    <a:pt x="991" y="460"/>
                    <a:pt x="994" y="464"/>
                    <a:pt x="1000" y="464"/>
                  </a:cubicBezTo>
                  <a:cubicBezTo>
                    <a:pt x="1007" y="464"/>
                    <a:pt x="1015" y="460"/>
                    <a:pt x="1018" y="454"/>
                  </a:cubicBezTo>
                  <a:cubicBezTo>
                    <a:pt x="1021" y="448"/>
                    <a:pt x="1018" y="444"/>
                    <a:pt x="1012" y="444"/>
                  </a:cubicBezTo>
                  <a:cubicBezTo>
                    <a:pt x="1012" y="444"/>
                    <a:pt x="1011" y="444"/>
                    <a:pt x="1011" y="444"/>
                  </a:cubicBezTo>
                  <a:moveTo>
                    <a:pt x="1047" y="444"/>
                  </a:moveTo>
                  <a:cubicBezTo>
                    <a:pt x="1040" y="444"/>
                    <a:pt x="1032" y="448"/>
                    <a:pt x="1029" y="454"/>
                  </a:cubicBezTo>
                  <a:cubicBezTo>
                    <a:pt x="1026" y="459"/>
                    <a:pt x="1029" y="464"/>
                    <a:pt x="1036" y="464"/>
                  </a:cubicBezTo>
                  <a:cubicBezTo>
                    <a:pt x="1043" y="464"/>
                    <a:pt x="1051" y="459"/>
                    <a:pt x="1053" y="454"/>
                  </a:cubicBezTo>
                  <a:cubicBezTo>
                    <a:pt x="1056" y="448"/>
                    <a:pt x="1053" y="444"/>
                    <a:pt x="1047" y="444"/>
                  </a:cubicBezTo>
                  <a:cubicBezTo>
                    <a:pt x="1047" y="444"/>
                    <a:pt x="1047" y="444"/>
                    <a:pt x="1047" y="444"/>
                  </a:cubicBezTo>
                  <a:moveTo>
                    <a:pt x="1081" y="443"/>
                  </a:moveTo>
                  <a:cubicBezTo>
                    <a:pt x="1074" y="443"/>
                    <a:pt x="1067" y="448"/>
                    <a:pt x="1064" y="454"/>
                  </a:cubicBezTo>
                  <a:cubicBezTo>
                    <a:pt x="1061" y="459"/>
                    <a:pt x="1064" y="464"/>
                    <a:pt x="1071" y="464"/>
                  </a:cubicBezTo>
                  <a:cubicBezTo>
                    <a:pt x="1077" y="464"/>
                    <a:pt x="1085" y="459"/>
                    <a:pt x="1088" y="453"/>
                  </a:cubicBezTo>
                  <a:cubicBezTo>
                    <a:pt x="1091" y="448"/>
                    <a:pt x="1088" y="443"/>
                    <a:pt x="1081" y="443"/>
                  </a:cubicBezTo>
                  <a:cubicBezTo>
                    <a:pt x="1081" y="443"/>
                    <a:pt x="1081" y="443"/>
                    <a:pt x="1081" y="443"/>
                  </a:cubicBezTo>
                  <a:moveTo>
                    <a:pt x="1115" y="443"/>
                  </a:moveTo>
                  <a:cubicBezTo>
                    <a:pt x="1109" y="443"/>
                    <a:pt x="1101" y="448"/>
                    <a:pt x="1098" y="453"/>
                  </a:cubicBezTo>
                  <a:cubicBezTo>
                    <a:pt x="1095" y="459"/>
                    <a:pt x="1098" y="463"/>
                    <a:pt x="1105" y="463"/>
                  </a:cubicBezTo>
                  <a:cubicBezTo>
                    <a:pt x="1112" y="463"/>
                    <a:pt x="1120" y="459"/>
                    <a:pt x="1122" y="453"/>
                  </a:cubicBezTo>
                  <a:cubicBezTo>
                    <a:pt x="1125" y="448"/>
                    <a:pt x="1122" y="443"/>
                    <a:pt x="1115" y="443"/>
                  </a:cubicBezTo>
                  <a:cubicBezTo>
                    <a:pt x="1115" y="443"/>
                    <a:pt x="1115" y="443"/>
                    <a:pt x="1115" y="443"/>
                  </a:cubicBezTo>
                  <a:moveTo>
                    <a:pt x="1256" y="442"/>
                  </a:moveTo>
                  <a:cubicBezTo>
                    <a:pt x="1249" y="442"/>
                    <a:pt x="1242" y="447"/>
                    <a:pt x="1239" y="452"/>
                  </a:cubicBezTo>
                  <a:cubicBezTo>
                    <a:pt x="1237" y="458"/>
                    <a:pt x="1240" y="463"/>
                    <a:pt x="1247" y="462"/>
                  </a:cubicBezTo>
                  <a:cubicBezTo>
                    <a:pt x="1253" y="462"/>
                    <a:pt x="1261" y="458"/>
                    <a:pt x="1264" y="452"/>
                  </a:cubicBezTo>
                  <a:cubicBezTo>
                    <a:pt x="1266" y="447"/>
                    <a:pt x="1263" y="442"/>
                    <a:pt x="1256" y="442"/>
                  </a:cubicBezTo>
                  <a:cubicBezTo>
                    <a:pt x="1256" y="442"/>
                    <a:pt x="1256" y="442"/>
                    <a:pt x="1256" y="442"/>
                  </a:cubicBezTo>
                  <a:moveTo>
                    <a:pt x="1291" y="442"/>
                  </a:moveTo>
                  <a:cubicBezTo>
                    <a:pt x="1284" y="442"/>
                    <a:pt x="1276" y="447"/>
                    <a:pt x="1274" y="452"/>
                  </a:cubicBezTo>
                  <a:cubicBezTo>
                    <a:pt x="1271" y="458"/>
                    <a:pt x="1275" y="462"/>
                    <a:pt x="1282" y="462"/>
                  </a:cubicBezTo>
                  <a:cubicBezTo>
                    <a:pt x="1288" y="462"/>
                    <a:pt x="1296" y="458"/>
                    <a:pt x="1298" y="452"/>
                  </a:cubicBezTo>
                  <a:cubicBezTo>
                    <a:pt x="1301" y="446"/>
                    <a:pt x="1297" y="442"/>
                    <a:pt x="1291" y="442"/>
                  </a:cubicBezTo>
                  <a:cubicBezTo>
                    <a:pt x="1291" y="442"/>
                    <a:pt x="1291" y="442"/>
                    <a:pt x="1291" y="442"/>
                  </a:cubicBezTo>
                  <a:moveTo>
                    <a:pt x="2018" y="437"/>
                  </a:moveTo>
                  <a:cubicBezTo>
                    <a:pt x="2012" y="437"/>
                    <a:pt x="2005" y="442"/>
                    <a:pt x="2004" y="448"/>
                  </a:cubicBezTo>
                  <a:cubicBezTo>
                    <a:pt x="2003" y="453"/>
                    <a:pt x="2008" y="458"/>
                    <a:pt x="2015" y="458"/>
                  </a:cubicBezTo>
                  <a:cubicBezTo>
                    <a:pt x="2022" y="458"/>
                    <a:pt x="2028" y="453"/>
                    <a:pt x="2029" y="448"/>
                  </a:cubicBezTo>
                  <a:cubicBezTo>
                    <a:pt x="2030" y="442"/>
                    <a:pt x="2025" y="437"/>
                    <a:pt x="2018" y="437"/>
                  </a:cubicBezTo>
                  <a:cubicBezTo>
                    <a:pt x="2018" y="437"/>
                    <a:pt x="2018" y="437"/>
                    <a:pt x="2018" y="437"/>
                  </a:cubicBezTo>
                  <a:moveTo>
                    <a:pt x="2053" y="437"/>
                  </a:moveTo>
                  <a:cubicBezTo>
                    <a:pt x="2047" y="437"/>
                    <a:pt x="2041" y="442"/>
                    <a:pt x="2040" y="447"/>
                  </a:cubicBezTo>
                  <a:cubicBezTo>
                    <a:pt x="2039" y="453"/>
                    <a:pt x="2043" y="458"/>
                    <a:pt x="2050" y="458"/>
                  </a:cubicBezTo>
                  <a:cubicBezTo>
                    <a:pt x="2057" y="458"/>
                    <a:pt x="2063" y="453"/>
                    <a:pt x="2064" y="447"/>
                  </a:cubicBezTo>
                  <a:cubicBezTo>
                    <a:pt x="2065" y="442"/>
                    <a:pt x="2060" y="437"/>
                    <a:pt x="2054" y="437"/>
                  </a:cubicBezTo>
                  <a:cubicBezTo>
                    <a:pt x="2054" y="437"/>
                    <a:pt x="2053" y="437"/>
                    <a:pt x="2053" y="437"/>
                  </a:cubicBezTo>
                  <a:moveTo>
                    <a:pt x="2088" y="437"/>
                  </a:moveTo>
                  <a:cubicBezTo>
                    <a:pt x="2082" y="437"/>
                    <a:pt x="2076" y="442"/>
                    <a:pt x="2075" y="447"/>
                  </a:cubicBezTo>
                  <a:cubicBezTo>
                    <a:pt x="2074" y="453"/>
                    <a:pt x="2079" y="457"/>
                    <a:pt x="2085" y="457"/>
                  </a:cubicBezTo>
                  <a:cubicBezTo>
                    <a:pt x="2092" y="457"/>
                    <a:pt x="2098" y="453"/>
                    <a:pt x="2099" y="447"/>
                  </a:cubicBezTo>
                  <a:cubicBezTo>
                    <a:pt x="2100" y="441"/>
                    <a:pt x="2095" y="437"/>
                    <a:pt x="2089" y="437"/>
                  </a:cubicBezTo>
                  <a:cubicBezTo>
                    <a:pt x="2089" y="437"/>
                    <a:pt x="2089" y="437"/>
                    <a:pt x="2088" y="437"/>
                  </a:cubicBezTo>
                  <a:moveTo>
                    <a:pt x="2122" y="437"/>
                  </a:moveTo>
                  <a:cubicBezTo>
                    <a:pt x="2115" y="437"/>
                    <a:pt x="2109" y="441"/>
                    <a:pt x="2108" y="447"/>
                  </a:cubicBezTo>
                  <a:cubicBezTo>
                    <a:pt x="2107" y="453"/>
                    <a:pt x="2112" y="457"/>
                    <a:pt x="2119" y="457"/>
                  </a:cubicBezTo>
                  <a:cubicBezTo>
                    <a:pt x="2126" y="457"/>
                    <a:pt x="2132" y="452"/>
                    <a:pt x="2132" y="447"/>
                  </a:cubicBezTo>
                  <a:cubicBezTo>
                    <a:pt x="2133" y="441"/>
                    <a:pt x="2128" y="437"/>
                    <a:pt x="2122" y="437"/>
                  </a:cubicBezTo>
                  <a:cubicBezTo>
                    <a:pt x="2122" y="437"/>
                    <a:pt x="2122" y="437"/>
                    <a:pt x="2122" y="437"/>
                  </a:cubicBezTo>
                  <a:moveTo>
                    <a:pt x="2157" y="436"/>
                  </a:moveTo>
                  <a:cubicBezTo>
                    <a:pt x="2150" y="436"/>
                    <a:pt x="2144" y="441"/>
                    <a:pt x="2143" y="447"/>
                  </a:cubicBezTo>
                  <a:cubicBezTo>
                    <a:pt x="2143" y="452"/>
                    <a:pt x="2147" y="457"/>
                    <a:pt x="2154" y="457"/>
                  </a:cubicBezTo>
                  <a:cubicBezTo>
                    <a:pt x="2161" y="457"/>
                    <a:pt x="2167" y="452"/>
                    <a:pt x="2168" y="447"/>
                  </a:cubicBezTo>
                  <a:cubicBezTo>
                    <a:pt x="2168" y="441"/>
                    <a:pt x="2163" y="436"/>
                    <a:pt x="2157" y="436"/>
                  </a:cubicBezTo>
                  <a:cubicBezTo>
                    <a:pt x="2157" y="436"/>
                    <a:pt x="2157" y="436"/>
                    <a:pt x="2157" y="436"/>
                  </a:cubicBezTo>
                  <a:moveTo>
                    <a:pt x="2576" y="433"/>
                  </a:moveTo>
                  <a:cubicBezTo>
                    <a:pt x="2569" y="433"/>
                    <a:pt x="2564" y="438"/>
                    <a:pt x="2564" y="444"/>
                  </a:cubicBezTo>
                  <a:cubicBezTo>
                    <a:pt x="2564" y="449"/>
                    <a:pt x="2569" y="454"/>
                    <a:pt x="2576" y="454"/>
                  </a:cubicBezTo>
                  <a:cubicBezTo>
                    <a:pt x="2583" y="454"/>
                    <a:pt x="2588" y="449"/>
                    <a:pt x="2588" y="444"/>
                  </a:cubicBezTo>
                  <a:cubicBezTo>
                    <a:pt x="2588" y="438"/>
                    <a:pt x="2582" y="433"/>
                    <a:pt x="2576" y="433"/>
                  </a:cubicBezTo>
                  <a:cubicBezTo>
                    <a:pt x="2576" y="433"/>
                    <a:pt x="2576" y="433"/>
                    <a:pt x="2576" y="433"/>
                  </a:cubicBezTo>
                  <a:moveTo>
                    <a:pt x="2611" y="433"/>
                  </a:moveTo>
                  <a:cubicBezTo>
                    <a:pt x="2604" y="433"/>
                    <a:pt x="2599" y="438"/>
                    <a:pt x="2599" y="443"/>
                  </a:cubicBezTo>
                  <a:cubicBezTo>
                    <a:pt x="2599" y="449"/>
                    <a:pt x="2605" y="454"/>
                    <a:pt x="2612" y="454"/>
                  </a:cubicBezTo>
                  <a:cubicBezTo>
                    <a:pt x="2619" y="454"/>
                    <a:pt x="2624" y="449"/>
                    <a:pt x="2624" y="443"/>
                  </a:cubicBezTo>
                  <a:cubicBezTo>
                    <a:pt x="2623" y="438"/>
                    <a:pt x="2618" y="433"/>
                    <a:pt x="2611" y="433"/>
                  </a:cubicBezTo>
                  <a:cubicBezTo>
                    <a:pt x="2611" y="433"/>
                    <a:pt x="2611" y="433"/>
                    <a:pt x="2611" y="433"/>
                  </a:cubicBezTo>
                  <a:moveTo>
                    <a:pt x="2645" y="433"/>
                  </a:moveTo>
                  <a:cubicBezTo>
                    <a:pt x="2639" y="433"/>
                    <a:pt x="2633" y="438"/>
                    <a:pt x="2634" y="443"/>
                  </a:cubicBezTo>
                  <a:cubicBezTo>
                    <a:pt x="2634" y="449"/>
                    <a:pt x="2640" y="453"/>
                    <a:pt x="2646" y="453"/>
                  </a:cubicBezTo>
                  <a:cubicBezTo>
                    <a:pt x="2653" y="453"/>
                    <a:pt x="2658" y="449"/>
                    <a:pt x="2658" y="443"/>
                  </a:cubicBezTo>
                  <a:cubicBezTo>
                    <a:pt x="2658" y="437"/>
                    <a:pt x="2652" y="433"/>
                    <a:pt x="2645" y="433"/>
                  </a:cubicBezTo>
                  <a:cubicBezTo>
                    <a:pt x="2645" y="433"/>
                    <a:pt x="2645" y="433"/>
                    <a:pt x="2645" y="433"/>
                  </a:cubicBezTo>
                  <a:moveTo>
                    <a:pt x="2680" y="433"/>
                  </a:moveTo>
                  <a:cubicBezTo>
                    <a:pt x="2673" y="433"/>
                    <a:pt x="2668" y="437"/>
                    <a:pt x="2668" y="443"/>
                  </a:cubicBezTo>
                  <a:cubicBezTo>
                    <a:pt x="2668" y="449"/>
                    <a:pt x="2674" y="453"/>
                    <a:pt x="2681" y="453"/>
                  </a:cubicBezTo>
                  <a:cubicBezTo>
                    <a:pt x="2688" y="453"/>
                    <a:pt x="2693" y="448"/>
                    <a:pt x="2692" y="443"/>
                  </a:cubicBezTo>
                  <a:cubicBezTo>
                    <a:pt x="2692" y="437"/>
                    <a:pt x="2686" y="433"/>
                    <a:pt x="2680" y="433"/>
                  </a:cubicBezTo>
                  <a:cubicBezTo>
                    <a:pt x="2680" y="433"/>
                    <a:pt x="2680" y="433"/>
                    <a:pt x="2680" y="433"/>
                  </a:cubicBezTo>
                  <a:moveTo>
                    <a:pt x="2194" y="433"/>
                  </a:moveTo>
                  <a:cubicBezTo>
                    <a:pt x="2187" y="433"/>
                    <a:pt x="2181" y="437"/>
                    <a:pt x="2180" y="443"/>
                  </a:cubicBezTo>
                  <a:cubicBezTo>
                    <a:pt x="2180" y="449"/>
                    <a:pt x="2185" y="453"/>
                    <a:pt x="2191" y="453"/>
                  </a:cubicBezTo>
                  <a:cubicBezTo>
                    <a:pt x="2198" y="453"/>
                    <a:pt x="2204" y="448"/>
                    <a:pt x="2205" y="443"/>
                  </a:cubicBezTo>
                  <a:cubicBezTo>
                    <a:pt x="2205" y="437"/>
                    <a:pt x="2200" y="433"/>
                    <a:pt x="2194" y="433"/>
                  </a:cubicBezTo>
                  <a:cubicBezTo>
                    <a:pt x="2194" y="433"/>
                    <a:pt x="2194" y="433"/>
                    <a:pt x="2194" y="433"/>
                  </a:cubicBezTo>
                  <a:moveTo>
                    <a:pt x="2714" y="432"/>
                  </a:moveTo>
                  <a:cubicBezTo>
                    <a:pt x="2707" y="433"/>
                    <a:pt x="2702" y="437"/>
                    <a:pt x="2703" y="443"/>
                  </a:cubicBezTo>
                  <a:cubicBezTo>
                    <a:pt x="2703" y="448"/>
                    <a:pt x="2709" y="453"/>
                    <a:pt x="2716" y="453"/>
                  </a:cubicBezTo>
                  <a:cubicBezTo>
                    <a:pt x="2722" y="453"/>
                    <a:pt x="2727" y="448"/>
                    <a:pt x="2727" y="443"/>
                  </a:cubicBezTo>
                  <a:cubicBezTo>
                    <a:pt x="2727" y="437"/>
                    <a:pt x="2721" y="432"/>
                    <a:pt x="2714" y="432"/>
                  </a:cubicBezTo>
                  <a:cubicBezTo>
                    <a:pt x="2714" y="432"/>
                    <a:pt x="2714" y="432"/>
                    <a:pt x="2714" y="432"/>
                  </a:cubicBezTo>
                  <a:moveTo>
                    <a:pt x="2229" y="432"/>
                  </a:moveTo>
                  <a:cubicBezTo>
                    <a:pt x="2223" y="432"/>
                    <a:pt x="2217" y="437"/>
                    <a:pt x="2216" y="443"/>
                  </a:cubicBezTo>
                  <a:cubicBezTo>
                    <a:pt x="2216" y="448"/>
                    <a:pt x="2221" y="453"/>
                    <a:pt x="2227" y="453"/>
                  </a:cubicBezTo>
                  <a:cubicBezTo>
                    <a:pt x="2234" y="453"/>
                    <a:pt x="2240" y="448"/>
                    <a:pt x="2240" y="443"/>
                  </a:cubicBezTo>
                  <a:cubicBezTo>
                    <a:pt x="2241" y="437"/>
                    <a:pt x="2236" y="432"/>
                    <a:pt x="2229" y="432"/>
                  </a:cubicBezTo>
                  <a:cubicBezTo>
                    <a:pt x="2229" y="432"/>
                    <a:pt x="2229" y="432"/>
                    <a:pt x="2229" y="432"/>
                  </a:cubicBezTo>
                  <a:moveTo>
                    <a:pt x="2749" y="432"/>
                  </a:moveTo>
                  <a:cubicBezTo>
                    <a:pt x="2742" y="432"/>
                    <a:pt x="2737" y="437"/>
                    <a:pt x="2738" y="443"/>
                  </a:cubicBezTo>
                  <a:cubicBezTo>
                    <a:pt x="2738" y="448"/>
                    <a:pt x="2744" y="453"/>
                    <a:pt x="2751" y="453"/>
                  </a:cubicBezTo>
                  <a:cubicBezTo>
                    <a:pt x="2757" y="453"/>
                    <a:pt x="2762" y="448"/>
                    <a:pt x="2762" y="442"/>
                  </a:cubicBezTo>
                  <a:cubicBezTo>
                    <a:pt x="2761" y="437"/>
                    <a:pt x="2756" y="432"/>
                    <a:pt x="2749" y="432"/>
                  </a:cubicBezTo>
                  <a:cubicBezTo>
                    <a:pt x="2749" y="432"/>
                    <a:pt x="2749" y="432"/>
                    <a:pt x="2749" y="432"/>
                  </a:cubicBezTo>
                  <a:moveTo>
                    <a:pt x="2264" y="432"/>
                  </a:moveTo>
                  <a:cubicBezTo>
                    <a:pt x="2257" y="432"/>
                    <a:pt x="2251" y="437"/>
                    <a:pt x="2251" y="442"/>
                  </a:cubicBezTo>
                  <a:cubicBezTo>
                    <a:pt x="2250" y="448"/>
                    <a:pt x="2255" y="453"/>
                    <a:pt x="2262" y="453"/>
                  </a:cubicBezTo>
                  <a:cubicBezTo>
                    <a:pt x="2269" y="453"/>
                    <a:pt x="2275" y="448"/>
                    <a:pt x="2275" y="442"/>
                  </a:cubicBezTo>
                  <a:cubicBezTo>
                    <a:pt x="2275" y="437"/>
                    <a:pt x="2270" y="432"/>
                    <a:pt x="2264" y="432"/>
                  </a:cubicBezTo>
                  <a:cubicBezTo>
                    <a:pt x="2264" y="432"/>
                    <a:pt x="2264" y="432"/>
                    <a:pt x="2264" y="432"/>
                  </a:cubicBezTo>
                  <a:moveTo>
                    <a:pt x="2298" y="432"/>
                  </a:moveTo>
                  <a:cubicBezTo>
                    <a:pt x="2291" y="432"/>
                    <a:pt x="2285" y="437"/>
                    <a:pt x="2285" y="442"/>
                  </a:cubicBezTo>
                  <a:cubicBezTo>
                    <a:pt x="2285" y="448"/>
                    <a:pt x="2290" y="452"/>
                    <a:pt x="2296" y="452"/>
                  </a:cubicBezTo>
                  <a:cubicBezTo>
                    <a:pt x="2303" y="452"/>
                    <a:pt x="2309" y="448"/>
                    <a:pt x="2309" y="442"/>
                  </a:cubicBezTo>
                  <a:cubicBezTo>
                    <a:pt x="2310" y="436"/>
                    <a:pt x="2305" y="432"/>
                    <a:pt x="2298" y="432"/>
                  </a:cubicBezTo>
                  <a:cubicBezTo>
                    <a:pt x="2298" y="432"/>
                    <a:pt x="2298" y="432"/>
                    <a:pt x="2298" y="432"/>
                  </a:cubicBezTo>
                  <a:moveTo>
                    <a:pt x="2332" y="432"/>
                  </a:moveTo>
                  <a:cubicBezTo>
                    <a:pt x="2326" y="432"/>
                    <a:pt x="2320" y="436"/>
                    <a:pt x="2320" y="442"/>
                  </a:cubicBezTo>
                  <a:cubicBezTo>
                    <a:pt x="2319" y="448"/>
                    <a:pt x="2324" y="452"/>
                    <a:pt x="2331" y="452"/>
                  </a:cubicBezTo>
                  <a:cubicBezTo>
                    <a:pt x="2338" y="452"/>
                    <a:pt x="2344" y="447"/>
                    <a:pt x="2344" y="442"/>
                  </a:cubicBezTo>
                  <a:cubicBezTo>
                    <a:pt x="2344" y="436"/>
                    <a:pt x="2339" y="432"/>
                    <a:pt x="2332" y="432"/>
                  </a:cubicBezTo>
                  <a:cubicBezTo>
                    <a:pt x="2332" y="432"/>
                    <a:pt x="2332" y="432"/>
                    <a:pt x="2332" y="432"/>
                  </a:cubicBezTo>
                  <a:moveTo>
                    <a:pt x="2367" y="431"/>
                  </a:moveTo>
                  <a:cubicBezTo>
                    <a:pt x="2360" y="431"/>
                    <a:pt x="2355" y="436"/>
                    <a:pt x="2354" y="442"/>
                  </a:cubicBezTo>
                  <a:cubicBezTo>
                    <a:pt x="2354" y="447"/>
                    <a:pt x="2359" y="452"/>
                    <a:pt x="2366" y="452"/>
                  </a:cubicBezTo>
                  <a:cubicBezTo>
                    <a:pt x="2373" y="452"/>
                    <a:pt x="2379" y="447"/>
                    <a:pt x="2379" y="442"/>
                  </a:cubicBezTo>
                  <a:cubicBezTo>
                    <a:pt x="2379" y="436"/>
                    <a:pt x="2374" y="431"/>
                    <a:pt x="2367" y="431"/>
                  </a:cubicBezTo>
                  <a:cubicBezTo>
                    <a:pt x="2367" y="431"/>
                    <a:pt x="2367" y="431"/>
                    <a:pt x="2367" y="431"/>
                  </a:cubicBezTo>
                  <a:moveTo>
                    <a:pt x="2402" y="431"/>
                  </a:moveTo>
                  <a:cubicBezTo>
                    <a:pt x="2395" y="431"/>
                    <a:pt x="2390" y="436"/>
                    <a:pt x="2390" y="441"/>
                  </a:cubicBezTo>
                  <a:cubicBezTo>
                    <a:pt x="2389" y="447"/>
                    <a:pt x="2395" y="452"/>
                    <a:pt x="2401" y="452"/>
                  </a:cubicBezTo>
                  <a:cubicBezTo>
                    <a:pt x="2408" y="452"/>
                    <a:pt x="2414" y="447"/>
                    <a:pt x="2414" y="441"/>
                  </a:cubicBezTo>
                  <a:cubicBezTo>
                    <a:pt x="2414" y="436"/>
                    <a:pt x="2409" y="431"/>
                    <a:pt x="2402" y="431"/>
                  </a:cubicBezTo>
                  <a:cubicBezTo>
                    <a:pt x="2402" y="431"/>
                    <a:pt x="2402" y="431"/>
                    <a:pt x="2402" y="431"/>
                  </a:cubicBezTo>
                  <a:moveTo>
                    <a:pt x="2437" y="431"/>
                  </a:moveTo>
                  <a:cubicBezTo>
                    <a:pt x="2430" y="431"/>
                    <a:pt x="2424" y="436"/>
                    <a:pt x="2424" y="441"/>
                  </a:cubicBezTo>
                  <a:cubicBezTo>
                    <a:pt x="2424" y="447"/>
                    <a:pt x="2429" y="451"/>
                    <a:pt x="2436" y="451"/>
                  </a:cubicBezTo>
                  <a:cubicBezTo>
                    <a:pt x="2443" y="451"/>
                    <a:pt x="2448" y="447"/>
                    <a:pt x="2449" y="441"/>
                  </a:cubicBezTo>
                  <a:cubicBezTo>
                    <a:pt x="2449" y="435"/>
                    <a:pt x="2443" y="431"/>
                    <a:pt x="2437" y="431"/>
                  </a:cubicBezTo>
                  <a:cubicBezTo>
                    <a:pt x="2437" y="431"/>
                    <a:pt x="2437" y="431"/>
                    <a:pt x="2437" y="431"/>
                  </a:cubicBezTo>
                  <a:moveTo>
                    <a:pt x="2471" y="431"/>
                  </a:moveTo>
                  <a:cubicBezTo>
                    <a:pt x="2464" y="431"/>
                    <a:pt x="2459" y="435"/>
                    <a:pt x="2459" y="441"/>
                  </a:cubicBezTo>
                  <a:cubicBezTo>
                    <a:pt x="2459" y="447"/>
                    <a:pt x="2464" y="451"/>
                    <a:pt x="2471" y="451"/>
                  </a:cubicBezTo>
                  <a:cubicBezTo>
                    <a:pt x="2478" y="451"/>
                    <a:pt x="2483" y="446"/>
                    <a:pt x="2483" y="441"/>
                  </a:cubicBezTo>
                  <a:cubicBezTo>
                    <a:pt x="2483" y="435"/>
                    <a:pt x="2478" y="431"/>
                    <a:pt x="2471" y="431"/>
                  </a:cubicBezTo>
                  <a:cubicBezTo>
                    <a:pt x="2471" y="431"/>
                    <a:pt x="2471" y="431"/>
                    <a:pt x="2471" y="431"/>
                  </a:cubicBezTo>
                  <a:moveTo>
                    <a:pt x="2506" y="430"/>
                  </a:moveTo>
                  <a:cubicBezTo>
                    <a:pt x="2499" y="431"/>
                    <a:pt x="2494" y="435"/>
                    <a:pt x="2493" y="441"/>
                  </a:cubicBezTo>
                  <a:cubicBezTo>
                    <a:pt x="2493" y="446"/>
                    <a:pt x="2499" y="451"/>
                    <a:pt x="2506" y="451"/>
                  </a:cubicBezTo>
                  <a:cubicBezTo>
                    <a:pt x="2512" y="451"/>
                    <a:pt x="2518" y="446"/>
                    <a:pt x="2518" y="441"/>
                  </a:cubicBezTo>
                  <a:cubicBezTo>
                    <a:pt x="2518" y="435"/>
                    <a:pt x="2512" y="430"/>
                    <a:pt x="2506" y="430"/>
                  </a:cubicBezTo>
                  <a:cubicBezTo>
                    <a:pt x="2506" y="430"/>
                    <a:pt x="2506" y="430"/>
                    <a:pt x="2506" y="430"/>
                  </a:cubicBezTo>
                  <a:moveTo>
                    <a:pt x="2540" y="430"/>
                  </a:moveTo>
                  <a:cubicBezTo>
                    <a:pt x="2534" y="430"/>
                    <a:pt x="2528" y="435"/>
                    <a:pt x="2528" y="441"/>
                  </a:cubicBezTo>
                  <a:cubicBezTo>
                    <a:pt x="2528" y="446"/>
                    <a:pt x="2534" y="451"/>
                    <a:pt x="2541" y="451"/>
                  </a:cubicBezTo>
                  <a:cubicBezTo>
                    <a:pt x="2547" y="451"/>
                    <a:pt x="2553" y="446"/>
                    <a:pt x="2553" y="440"/>
                  </a:cubicBezTo>
                  <a:cubicBezTo>
                    <a:pt x="2553" y="435"/>
                    <a:pt x="2547" y="430"/>
                    <a:pt x="2540" y="430"/>
                  </a:cubicBezTo>
                  <a:cubicBezTo>
                    <a:pt x="2540" y="430"/>
                    <a:pt x="2540" y="430"/>
                    <a:pt x="2540" y="430"/>
                  </a:cubicBezTo>
                  <a:moveTo>
                    <a:pt x="2782" y="429"/>
                  </a:moveTo>
                  <a:cubicBezTo>
                    <a:pt x="2776" y="430"/>
                    <a:pt x="2771" y="434"/>
                    <a:pt x="2771" y="440"/>
                  </a:cubicBezTo>
                  <a:cubicBezTo>
                    <a:pt x="2772" y="445"/>
                    <a:pt x="2778" y="450"/>
                    <a:pt x="2784" y="450"/>
                  </a:cubicBezTo>
                  <a:cubicBezTo>
                    <a:pt x="2791" y="450"/>
                    <a:pt x="2796" y="445"/>
                    <a:pt x="2796" y="440"/>
                  </a:cubicBezTo>
                  <a:cubicBezTo>
                    <a:pt x="2795" y="434"/>
                    <a:pt x="2789" y="429"/>
                    <a:pt x="2782" y="429"/>
                  </a:cubicBezTo>
                  <a:cubicBezTo>
                    <a:pt x="2782" y="429"/>
                    <a:pt x="2782" y="429"/>
                    <a:pt x="2782" y="429"/>
                  </a:cubicBezTo>
                  <a:moveTo>
                    <a:pt x="2816" y="429"/>
                  </a:moveTo>
                  <a:cubicBezTo>
                    <a:pt x="2809" y="429"/>
                    <a:pt x="2804" y="434"/>
                    <a:pt x="2805" y="440"/>
                  </a:cubicBezTo>
                  <a:cubicBezTo>
                    <a:pt x="2805" y="445"/>
                    <a:pt x="2811" y="450"/>
                    <a:pt x="2818" y="450"/>
                  </a:cubicBezTo>
                  <a:cubicBezTo>
                    <a:pt x="2825" y="450"/>
                    <a:pt x="2830" y="445"/>
                    <a:pt x="2829" y="439"/>
                  </a:cubicBezTo>
                  <a:cubicBezTo>
                    <a:pt x="2828" y="434"/>
                    <a:pt x="2823" y="429"/>
                    <a:pt x="2816" y="429"/>
                  </a:cubicBezTo>
                  <a:cubicBezTo>
                    <a:pt x="2816" y="429"/>
                    <a:pt x="2816" y="429"/>
                    <a:pt x="2816" y="429"/>
                  </a:cubicBezTo>
                  <a:moveTo>
                    <a:pt x="2850" y="429"/>
                  </a:moveTo>
                  <a:cubicBezTo>
                    <a:pt x="2843" y="429"/>
                    <a:pt x="2839" y="434"/>
                    <a:pt x="2839" y="439"/>
                  </a:cubicBezTo>
                  <a:cubicBezTo>
                    <a:pt x="2840" y="445"/>
                    <a:pt x="2846" y="450"/>
                    <a:pt x="2853" y="449"/>
                  </a:cubicBezTo>
                  <a:cubicBezTo>
                    <a:pt x="2860" y="449"/>
                    <a:pt x="2864" y="445"/>
                    <a:pt x="2864" y="439"/>
                  </a:cubicBezTo>
                  <a:cubicBezTo>
                    <a:pt x="2863" y="434"/>
                    <a:pt x="2857" y="429"/>
                    <a:pt x="2850" y="429"/>
                  </a:cubicBezTo>
                  <a:cubicBezTo>
                    <a:pt x="2850" y="429"/>
                    <a:pt x="2850" y="429"/>
                    <a:pt x="2850" y="429"/>
                  </a:cubicBezTo>
                  <a:moveTo>
                    <a:pt x="2885" y="429"/>
                  </a:moveTo>
                  <a:cubicBezTo>
                    <a:pt x="2878" y="429"/>
                    <a:pt x="2873" y="433"/>
                    <a:pt x="2874" y="439"/>
                  </a:cubicBezTo>
                  <a:cubicBezTo>
                    <a:pt x="2875" y="445"/>
                    <a:pt x="2881" y="449"/>
                    <a:pt x="2888" y="449"/>
                  </a:cubicBezTo>
                  <a:cubicBezTo>
                    <a:pt x="2894" y="449"/>
                    <a:pt x="2899" y="445"/>
                    <a:pt x="2898" y="439"/>
                  </a:cubicBezTo>
                  <a:cubicBezTo>
                    <a:pt x="2898" y="433"/>
                    <a:pt x="2892" y="429"/>
                    <a:pt x="2885" y="429"/>
                  </a:cubicBezTo>
                  <a:cubicBezTo>
                    <a:pt x="2885" y="429"/>
                    <a:pt x="2885" y="429"/>
                    <a:pt x="2885" y="429"/>
                  </a:cubicBezTo>
                  <a:moveTo>
                    <a:pt x="2920" y="429"/>
                  </a:moveTo>
                  <a:cubicBezTo>
                    <a:pt x="2913" y="429"/>
                    <a:pt x="2908" y="433"/>
                    <a:pt x="2909" y="439"/>
                  </a:cubicBezTo>
                  <a:cubicBezTo>
                    <a:pt x="2910" y="444"/>
                    <a:pt x="2916" y="449"/>
                    <a:pt x="2923" y="449"/>
                  </a:cubicBezTo>
                  <a:cubicBezTo>
                    <a:pt x="2930" y="449"/>
                    <a:pt x="2935" y="444"/>
                    <a:pt x="2934" y="439"/>
                  </a:cubicBezTo>
                  <a:cubicBezTo>
                    <a:pt x="2933" y="433"/>
                    <a:pt x="2927" y="429"/>
                    <a:pt x="2920" y="429"/>
                  </a:cubicBezTo>
                  <a:cubicBezTo>
                    <a:pt x="2920" y="429"/>
                    <a:pt x="2920" y="429"/>
                    <a:pt x="2920" y="429"/>
                  </a:cubicBezTo>
                  <a:moveTo>
                    <a:pt x="2954" y="428"/>
                  </a:moveTo>
                  <a:cubicBezTo>
                    <a:pt x="2948" y="428"/>
                    <a:pt x="2943" y="433"/>
                    <a:pt x="2944" y="439"/>
                  </a:cubicBezTo>
                  <a:cubicBezTo>
                    <a:pt x="2945" y="444"/>
                    <a:pt x="2951" y="449"/>
                    <a:pt x="2958" y="449"/>
                  </a:cubicBezTo>
                  <a:cubicBezTo>
                    <a:pt x="2964" y="449"/>
                    <a:pt x="2969" y="444"/>
                    <a:pt x="2968" y="438"/>
                  </a:cubicBezTo>
                  <a:cubicBezTo>
                    <a:pt x="2967" y="433"/>
                    <a:pt x="2961" y="428"/>
                    <a:pt x="2954" y="428"/>
                  </a:cubicBezTo>
                  <a:cubicBezTo>
                    <a:pt x="2954" y="428"/>
                    <a:pt x="2954" y="428"/>
                    <a:pt x="2954" y="428"/>
                  </a:cubicBezTo>
                  <a:moveTo>
                    <a:pt x="2989" y="428"/>
                  </a:moveTo>
                  <a:cubicBezTo>
                    <a:pt x="2982" y="428"/>
                    <a:pt x="2978" y="433"/>
                    <a:pt x="2979" y="438"/>
                  </a:cubicBezTo>
                  <a:cubicBezTo>
                    <a:pt x="2980" y="444"/>
                    <a:pt x="2986" y="449"/>
                    <a:pt x="2993" y="449"/>
                  </a:cubicBezTo>
                  <a:cubicBezTo>
                    <a:pt x="2999" y="448"/>
                    <a:pt x="3004" y="444"/>
                    <a:pt x="3003" y="438"/>
                  </a:cubicBezTo>
                  <a:cubicBezTo>
                    <a:pt x="3002" y="433"/>
                    <a:pt x="2996" y="428"/>
                    <a:pt x="2989" y="428"/>
                  </a:cubicBezTo>
                  <a:cubicBezTo>
                    <a:pt x="2989" y="428"/>
                    <a:pt x="2989" y="428"/>
                    <a:pt x="2989" y="428"/>
                  </a:cubicBezTo>
                  <a:moveTo>
                    <a:pt x="3023" y="428"/>
                  </a:moveTo>
                  <a:cubicBezTo>
                    <a:pt x="3017" y="428"/>
                    <a:pt x="3012" y="432"/>
                    <a:pt x="3013" y="438"/>
                  </a:cubicBezTo>
                  <a:cubicBezTo>
                    <a:pt x="3014" y="444"/>
                    <a:pt x="3020" y="448"/>
                    <a:pt x="3027" y="448"/>
                  </a:cubicBezTo>
                  <a:cubicBezTo>
                    <a:pt x="3034" y="448"/>
                    <a:pt x="3038" y="444"/>
                    <a:pt x="3037" y="438"/>
                  </a:cubicBezTo>
                  <a:cubicBezTo>
                    <a:pt x="3036" y="432"/>
                    <a:pt x="3030" y="428"/>
                    <a:pt x="3023" y="428"/>
                  </a:cubicBezTo>
                  <a:cubicBezTo>
                    <a:pt x="3023" y="428"/>
                    <a:pt x="3023" y="428"/>
                    <a:pt x="3023" y="428"/>
                  </a:cubicBezTo>
                  <a:moveTo>
                    <a:pt x="3058" y="428"/>
                  </a:moveTo>
                  <a:cubicBezTo>
                    <a:pt x="3051" y="428"/>
                    <a:pt x="3047" y="432"/>
                    <a:pt x="3048" y="438"/>
                  </a:cubicBezTo>
                  <a:cubicBezTo>
                    <a:pt x="3049" y="444"/>
                    <a:pt x="3055" y="448"/>
                    <a:pt x="3062" y="448"/>
                  </a:cubicBezTo>
                  <a:cubicBezTo>
                    <a:pt x="3069" y="448"/>
                    <a:pt x="3073" y="443"/>
                    <a:pt x="3072" y="438"/>
                  </a:cubicBezTo>
                  <a:cubicBezTo>
                    <a:pt x="3071" y="432"/>
                    <a:pt x="3065" y="428"/>
                    <a:pt x="3058" y="428"/>
                  </a:cubicBezTo>
                  <a:cubicBezTo>
                    <a:pt x="3058" y="428"/>
                    <a:pt x="3058" y="428"/>
                    <a:pt x="3058" y="428"/>
                  </a:cubicBezTo>
                  <a:moveTo>
                    <a:pt x="3094" y="427"/>
                  </a:moveTo>
                  <a:cubicBezTo>
                    <a:pt x="3087" y="427"/>
                    <a:pt x="3083" y="432"/>
                    <a:pt x="3084" y="438"/>
                  </a:cubicBezTo>
                  <a:cubicBezTo>
                    <a:pt x="3085" y="443"/>
                    <a:pt x="3091" y="448"/>
                    <a:pt x="3098" y="448"/>
                  </a:cubicBezTo>
                  <a:cubicBezTo>
                    <a:pt x="3105" y="448"/>
                    <a:pt x="3109" y="443"/>
                    <a:pt x="3108" y="437"/>
                  </a:cubicBezTo>
                  <a:cubicBezTo>
                    <a:pt x="3107" y="432"/>
                    <a:pt x="3100" y="427"/>
                    <a:pt x="3094" y="427"/>
                  </a:cubicBezTo>
                  <a:cubicBezTo>
                    <a:pt x="3094" y="427"/>
                    <a:pt x="3094" y="427"/>
                    <a:pt x="3094" y="427"/>
                  </a:cubicBezTo>
                  <a:moveTo>
                    <a:pt x="3128" y="427"/>
                  </a:moveTo>
                  <a:cubicBezTo>
                    <a:pt x="3121" y="427"/>
                    <a:pt x="3117" y="432"/>
                    <a:pt x="3118" y="437"/>
                  </a:cubicBezTo>
                  <a:cubicBezTo>
                    <a:pt x="3120" y="443"/>
                    <a:pt x="3126" y="448"/>
                    <a:pt x="3133" y="448"/>
                  </a:cubicBezTo>
                  <a:cubicBezTo>
                    <a:pt x="3139" y="447"/>
                    <a:pt x="3144" y="443"/>
                    <a:pt x="3143" y="437"/>
                  </a:cubicBezTo>
                  <a:cubicBezTo>
                    <a:pt x="3141" y="432"/>
                    <a:pt x="3135" y="427"/>
                    <a:pt x="3128" y="427"/>
                  </a:cubicBezTo>
                  <a:cubicBezTo>
                    <a:pt x="3128" y="427"/>
                    <a:pt x="3128" y="427"/>
                    <a:pt x="3128" y="427"/>
                  </a:cubicBezTo>
                  <a:moveTo>
                    <a:pt x="3163" y="427"/>
                  </a:moveTo>
                  <a:cubicBezTo>
                    <a:pt x="3156" y="427"/>
                    <a:pt x="3152" y="431"/>
                    <a:pt x="3153" y="437"/>
                  </a:cubicBezTo>
                  <a:cubicBezTo>
                    <a:pt x="3154" y="443"/>
                    <a:pt x="3161" y="447"/>
                    <a:pt x="3168" y="447"/>
                  </a:cubicBezTo>
                  <a:cubicBezTo>
                    <a:pt x="3174" y="447"/>
                    <a:pt x="3179" y="443"/>
                    <a:pt x="3177" y="437"/>
                  </a:cubicBezTo>
                  <a:cubicBezTo>
                    <a:pt x="3176" y="431"/>
                    <a:pt x="3169" y="427"/>
                    <a:pt x="3163" y="427"/>
                  </a:cubicBezTo>
                  <a:cubicBezTo>
                    <a:pt x="3163" y="427"/>
                    <a:pt x="3163" y="427"/>
                    <a:pt x="3163" y="427"/>
                  </a:cubicBezTo>
                  <a:moveTo>
                    <a:pt x="3198" y="427"/>
                  </a:moveTo>
                  <a:cubicBezTo>
                    <a:pt x="3191" y="427"/>
                    <a:pt x="3187" y="431"/>
                    <a:pt x="3188" y="437"/>
                  </a:cubicBezTo>
                  <a:cubicBezTo>
                    <a:pt x="3190" y="443"/>
                    <a:pt x="3196" y="447"/>
                    <a:pt x="3203" y="447"/>
                  </a:cubicBezTo>
                  <a:cubicBezTo>
                    <a:pt x="3210" y="447"/>
                    <a:pt x="3214" y="442"/>
                    <a:pt x="3212" y="437"/>
                  </a:cubicBezTo>
                  <a:cubicBezTo>
                    <a:pt x="3211" y="431"/>
                    <a:pt x="3204" y="427"/>
                    <a:pt x="3198" y="427"/>
                  </a:cubicBezTo>
                  <a:cubicBezTo>
                    <a:pt x="3198" y="427"/>
                    <a:pt x="3198" y="427"/>
                    <a:pt x="3198" y="427"/>
                  </a:cubicBezTo>
                  <a:moveTo>
                    <a:pt x="3232" y="426"/>
                  </a:moveTo>
                  <a:cubicBezTo>
                    <a:pt x="3225" y="426"/>
                    <a:pt x="3221" y="431"/>
                    <a:pt x="3223" y="437"/>
                  </a:cubicBezTo>
                  <a:cubicBezTo>
                    <a:pt x="3224" y="442"/>
                    <a:pt x="3231" y="447"/>
                    <a:pt x="3238" y="447"/>
                  </a:cubicBezTo>
                  <a:cubicBezTo>
                    <a:pt x="3244" y="447"/>
                    <a:pt x="3249" y="442"/>
                    <a:pt x="3247" y="436"/>
                  </a:cubicBezTo>
                  <a:cubicBezTo>
                    <a:pt x="3245" y="431"/>
                    <a:pt x="3239" y="426"/>
                    <a:pt x="3232" y="426"/>
                  </a:cubicBezTo>
                  <a:cubicBezTo>
                    <a:pt x="3232" y="426"/>
                    <a:pt x="3232" y="426"/>
                    <a:pt x="3232" y="426"/>
                  </a:cubicBezTo>
                  <a:moveTo>
                    <a:pt x="3267" y="426"/>
                  </a:moveTo>
                  <a:cubicBezTo>
                    <a:pt x="3260" y="426"/>
                    <a:pt x="3256" y="431"/>
                    <a:pt x="3257" y="436"/>
                  </a:cubicBezTo>
                  <a:cubicBezTo>
                    <a:pt x="3259" y="442"/>
                    <a:pt x="3266" y="447"/>
                    <a:pt x="3272" y="447"/>
                  </a:cubicBezTo>
                  <a:cubicBezTo>
                    <a:pt x="3279" y="447"/>
                    <a:pt x="3283" y="442"/>
                    <a:pt x="3282" y="436"/>
                  </a:cubicBezTo>
                  <a:cubicBezTo>
                    <a:pt x="3280" y="431"/>
                    <a:pt x="3273" y="426"/>
                    <a:pt x="3267" y="426"/>
                  </a:cubicBezTo>
                  <a:cubicBezTo>
                    <a:pt x="3267" y="426"/>
                    <a:pt x="3267" y="426"/>
                    <a:pt x="3267" y="426"/>
                  </a:cubicBezTo>
                  <a:moveTo>
                    <a:pt x="3301" y="426"/>
                  </a:moveTo>
                  <a:cubicBezTo>
                    <a:pt x="3294" y="426"/>
                    <a:pt x="3290" y="430"/>
                    <a:pt x="3292" y="436"/>
                  </a:cubicBezTo>
                  <a:cubicBezTo>
                    <a:pt x="3294" y="442"/>
                    <a:pt x="3300" y="446"/>
                    <a:pt x="3307" y="446"/>
                  </a:cubicBezTo>
                  <a:cubicBezTo>
                    <a:pt x="3314" y="446"/>
                    <a:pt x="3318" y="442"/>
                    <a:pt x="3316" y="436"/>
                  </a:cubicBezTo>
                  <a:cubicBezTo>
                    <a:pt x="3315" y="430"/>
                    <a:pt x="3308" y="426"/>
                    <a:pt x="3301" y="426"/>
                  </a:cubicBezTo>
                  <a:cubicBezTo>
                    <a:pt x="3301" y="426"/>
                    <a:pt x="3301" y="426"/>
                    <a:pt x="3301" y="426"/>
                  </a:cubicBezTo>
                  <a:moveTo>
                    <a:pt x="3336" y="426"/>
                  </a:moveTo>
                  <a:cubicBezTo>
                    <a:pt x="3329" y="426"/>
                    <a:pt x="3325" y="430"/>
                    <a:pt x="3327" y="436"/>
                  </a:cubicBezTo>
                  <a:cubicBezTo>
                    <a:pt x="3328" y="442"/>
                    <a:pt x="3335" y="446"/>
                    <a:pt x="3342" y="446"/>
                  </a:cubicBezTo>
                  <a:cubicBezTo>
                    <a:pt x="3349" y="446"/>
                    <a:pt x="3353" y="441"/>
                    <a:pt x="3351" y="436"/>
                  </a:cubicBezTo>
                  <a:cubicBezTo>
                    <a:pt x="3349" y="430"/>
                    <a:pt x="3342" y="426"/>
                    <a:pt x="3336" y="426"/>
                  </a:cubicBezTo>
                  <a:cubicBezTo>
                    <a:pt x="3336" y="426"/>
                    <a:pt x="3336" y="426"/>
                    <a:pt x="3336" y="426"/>
                  </a:cubicBezTo>
                  <a:moveTo>
                    <a:pt x="3371" y="425"/>
                  </a:moveTo>
                  <a:cubicBezTo>
                    <a:pt x="3364" y="425"/>
                    <a:pt x="3360" y="430"/>
                    <a:pt x="3362" y="436"/>
                  </a:cubicBezTo>
                  <a:cubicBezTo>
                    <a:pt x="3364" y="441"/>
                    <a:pt x="3370" y="446"/>
                    <a:pt x="3377" y="446"/>
                  </a:cubicBezTo>
                  <a:cubicBezTo>
                    <a:pt x="3384" y="446"/>
                    <a:pt x="3388" y="441"/>
                    <a:pt x="3386" y="436"/>
                  </a:cubicBezTo>
                  <a:cubicBezTo>
                    <a:pt x="3384" y="430"/>
                    <a:pt x="3377" y="425"/>
                    <a:pt x="3371" y="425"/>
                  </a:cubicBezTo>
                  <a:cubicBezTo>
                    <a:pt x="3371" y="425"/>
                    <a:pt x="3371" y="425"/>
                    <a:pt x="3371" y="425"/>
                  </a:cubicBezTo>
                  <a:moveTo>
                    <a:pt x="3405" y="425"/>
                  </a:moveTo>
                  <a:cubicBezTo>
                    <a:pt x="3398" y="425"/>
                    <a:pt x="3394" y="430"/>
                    <a:pt x="3396" y="435"/>
                  </a:cubicBezTo>
                  <a:cubicBezTo>
                    <a:pt x="3398" y="441"/>
                    <a:pt x="3405" y="446"/>
                    <a:pt x="3412" y="446"/>
                  </a:cubicBezTo>
                  <a:cubicBezTo>
                    <a:pt x="3419" y="446"/>
                    <a:pt x="3422" y="441"/>
                    <a:pt x="3421" y="435"/>
                  </a:cubicBezTo>
                  <a:cubicBezTo>
                    <a:pt x="3419" y="430"/>
                    <a:pt x="3412" y="425"/>
                    <a:pt x="3405" y="425"/>
                  </a:cubicBezTo>
                  <a:cubicBezTo>
                    <a:pt x="3405" y="425"/>
                    <a:pt x="3405" y="425"/>
                    <a:pt x="3405" y="425"/>
                  </a:cubicBezTo>
                  <a:moveTo>
                    <a:pt x="3440" y="425"/>
                  </a:moveTo>
                  <a:cubicBezTo>
                    <a:pt x="3433" y="425"/>
                    <a:pt x="3429" y="430"/>
                    <a:pt x="3431" y="435"/>
                  </a:cubicBezTo>
                  <a:cubicBezTo>
                    <a:pt x="3433" y="441"/>
                    <a:pt x="3440" y="445"/>
                    <a:pt x="3447" y="445"/>
                  </a:cubicBezTo>
                  <a:cubicBezTo>
                    <a:pt x="3453" y="445"/>
                    <a:pt x="3457" y="441"/>
                    <a:pt x="3455" y="435"/>
                  </a:cubicBezTo>
                  <a:cubicBezTo>
                    <a:pt x="3453" y="429"/>
                    <a:pt x="3446" y="425"/>
                    <a:pt x="3440" y="425"/>
                  </a:cubicBezTo>
                  <a:cubicBezTo>
                    <a:pt x="3440" y="425"/>
                    <a:pt x="3440" y="425"/>
                    <a:pt x="3440" y="425"/>
                  </a:cubicBezTo>
                  <a:moveTo>
                    <a:pt x="3474" y="425"/>
                  </a:moveTo>
                  <a:cubicBezTo>
                    <a:pt x="3467" y="425"/>
                    <a:pt x="3463" y="429"/>
                    <a:pt x="3465" y="435"/>
                  </a:cubicBezTo>
                  <a:cubicBezTo>
                    <a:pt x="3467" y="441"/>
                    <a:pt x="3475" y="445"/>
                    <a:pt x="3481" y="445"/>
                  </a:cubicBezTo>
                  <a:cubicBezTo>
                    <a:pt x="3488" y="445"/>
                    <a:pt x="3492" y="440"/>
                    <a:pt x="3490" y="435"/>
                  </a:cubicBezTo>
                  <a:cubicBezTo>
                    <a:pt x="3488" y="429"/>
                    <a:pt x="3481" y="425"/>
                    <a:pt x="3474" y="425"/>
                  </a:cubicBezTo>
                  <a:cubicBezTo>
                    <a:pt x="3474" y="425"/>
                    <a:pt x="3474" y="425"/>
                    <a:pt x="3474" y="425"/>
                  </a:cubicBezTo>
                  <a:moveTo>
                    <a:pt x="3509" y="424"/>
                  </a:moveTo>
                  <a:cubicBezTo>
                    <a:pt x="3502" y="424"/>
                    <a:pt x="3498" y="429"/>
                    <a:pt x="3500" y="435"/>
                  </a:cubicBezTo>
                  <a:cubicBezTo>
                    <a:pt x="3502" y="440"/>
                    <a:pt x="3509" y="445"/>
                    <a:pt x="3516" y="445"/>
                  </a:cubicBezTo>
                  <a:cubicBezTo>
                    <a:pt x="3523" y="445"/>
                    <a:pt x="3527" y="440"/>
                    <a:pt x="3525" y="435"/>
                  </a:cubicBezTo>
                  <a:cubicBezTo>
                    <a:pt x="3522" y="429"/>
                    <a:pt x="3515" y="424"/>
                    <a:pt x="3509" y="424"/>
                  </a:cubicBezTo>
                  <a:cubicBezTo>
                    <a:pt x="3509" y="424"/>
                    <a:pt x="3509" y="424"/>
                    <a:pt x="3509" y="424"/>
                  </a:cubicBezTo>
                  <a:moveTo>
                    <a:pt x="3544" y="424"/>
                  </a:moveTo>
                  <a:cubicBezTo>
                    <a:pt x="3537" y="424"/>
                    <a:pt x="3533" y="429"/>
                    <a:pt x="3535" y="434"/>
                  </a:cubicBezTo>
                  <a:cubicBezTo>
                    <a:pt x="3537" y="440"/>
                    <a:pt x="3545" y="445"/>
                    <a:pt x="3551" y="445"/>
                  </a:cubicBezTo>
                  <a:cubicBezTo>
                    <a:pt x="3558" y="445"/>
                    <a:pt x="3562" y="440"/>
                    <a:pt x="3560" y="434"/>
                  </a:cubicBezTo>
                  <a:cubicBezTo>
                    <a:pt x="3557" y="429"/>
                    <a:pt x="3550" y="424"/>
                    <a:pt x="3544" y="424"/>
                  </a:cubicBezTo>
                  <a:cubicBezTo>
                    <a:pt x="3544" y="424"/>
                    <a:pt x="3544" y="424"/>
                    <a:pt x="3544" y="424"/>
                  </a:cubicBezTo>
                  <a:moveTo>
                    <a:pt x="3578" y="424"/>
                  </a:moveTo>
                  <a:cubicBezTo>
                    <a:pt x="3571" y="424"/>
                    <a:pt x="3568" y="428"/>
                    <a:pt x="3570" y="434"/>
                  </a:cubicBezTo>
                  <a:cubicBezTo>
                    <a:pt x="3572" y="440"/>
                    <a:pt x="3579" y="444"/>
                    <a:pt x="3586" y="444"/>
                  </a:cubicBezTo>
                  <a:cubicBezTo>
                    <a:pt x="3593" y="444"/>
                    <a:pt x="3596" y="440"/>
                    <a:pt x="3594" y="434"/>
                  </a:cubicBezTo>
                  <a:cubicBezTo>
                    <a:pt x="3592" y="428"/>
                    <a:pt x="3585" y="424"/>
                    <a:pt x="3578" y="424"/>
                  </a:cubicBezTo>
                  <a:cubicBezTo>
                    <a:pt x="3578" y="424"/>
                    <a:pt x="3578" y="424"/>
                    <a:pt x="3578" y="424"/>
                  </a:cubicBezTo>
                  <a:moveTo>
                    <a:pt x="3612" y="423"/>
                  </a:moveTo>
                  <a:cubicBezTo>
                    <a:pt x="3606" y="423"/>
                    <a:pt x="3602" y="428"/>
                    <a:pt x="3604" y="434"/>
                  </a:cubicBezTo>
                  <a:cubicBezTo>
                    <a:pt x="3607" y="439"/>
                    <a:pt x="3614" y="444"/>
                    <a:pt x="3621" y="444"/>
                  </a:cubicBezTo>
                  <a:cubicBezTo>
                    <a:pt x="3627" y="444"/>
                    <a:pt x="3631" y="439"/>
                    <a:pt x="3629" y="434"/>
                  </a:cubicBezTo>
                  <a:cubicBezTo>
                    <a:pt x="3626" y="428"/>
                    <a:pt x="3619" y="423"/>
                    <a:pt x="3612" y="423"/>
                  </a:cubicBezTo>
                  <a:cubicBezTo>
                    <a:pt x="3612" y="423"/>
                    <a:pt x="3612" y="423"/>
                    <a:pt x="3612" y="423"/>
                  </a:cubicBezTo>
                  <a:moveTo>
                    <a:pt x="3647" y="423"/>
                  </a:moveTo>
                  <a:cubicBezTo>
                    <a:pt x="3640" y="423"/>
                    <a:pt x="3637" y="428"/>
                    <a:pt x="3639" y="434"/>
                  </a:cubicBezTo>
                  <a:cubicBezTo>
                    <a:pt x="3641" y="439"/>
                    <a:pt x="3649" y="444"/>
                    <a:pt x="3656" y="444"/>
                  </a:cubicBezTo>
                  <a:cubicBezTo>
                    <a:pt x="3662" y="444"/>
                    <a:pt x="3666" y="439"/>
                    <a:pt x="3663" y="433"/>
                  </a:cubicBezTo>
                  <a:cubicBezTo>
                    <a:pt x="3661" y="428"/>
                    <a:pt x="3654" y="423"/>
                    <a:pt x="3647" y="423"/>
                  </a:cubicBezTo>
                  <a:cubicBezTo>
                    <a:pt x="3647" y="423"/>
                    <a:pt x="3647" y="423"/>
                    <a:pt x="3647" y="423"/>
                  </a:cubicBezTo>
                  <a:moveTo>
                    <a:pt x="3684" y="423"/>
                  </a:moveTo>
                  <a:cubicBezTo>
                    <a:pt x="3677" y="423"/>
                    <a:pt x="3674" y="428"/>
                    <a:pt x="3676" y="433"/>
                  </a:cubicBezTo>
                  <a:cubicBezTo>
                    <a:pt x="3678" y="439"/>
                    <a:pt x="3686" y="444"/>
                    <a:pt x="3693" y="443"/>
                  </a:cubicBezTo>
                  <a:cubicBezTo>
                    <a:pt x="3699" y="443"/>
                    <a:pt x="3703" y="439"/>
                    <a:pt x="3700" y="433"/>
                  </a:cubicBezTo>
                  <a:cubicBezTo>
                    <a:pt x="3698" y="427"/>
                    <a:pt x="3690" y="423"/>
                    <a:pt x="3684" y="423"/>
                  </a:cubicBezTo>
                  <a:cubicBezTo>
                    <a:pt x="3684" y="423"/>
                    <a:pt x="3684" y="423"/>
                    <a:pt x="3684" y="423"/>
                  </a:cubicBezTo>
                  <a:moveTo>
                    <a:pt x="3718" y="423"/>
                  </a:moveTo>
                  <a:cubicBezTo>
                    <a:pt x="3711" y="423"/>
                    <a:pt x="3708" y="427"/>
                    <a:pt x="3710" y="433"/>
                  </a:cubicBezTo>
                  <a:cubicBezTo>
                    <a:pt x="3713" y="439"/>
                    <a:pt x="3720" y="443"/>
                    <a:pt x="3727" y="443"/>
                  </a:cubicBezTo>
                  <a:cubicBezTo>
                    <a:pt x="3734" y="443"/>
                    <a:pt x="3737" y="439"/>
                    <a:pt x="3734" y="433"/>
                  </a:cubicBezTo>
                  <a:cubicBezTo>
                    <a:pt x="3732" y="427"/>
                    <a:pt x="3725" y="423"/>
                    <a:pt x="3718" y="423"/>
                  </a:cubicBezTo>
                  <a:cubicBezTo>
                    <a:pt x="3718" y="423"/>
                    <a:pt x="3718" y="423"/>
                    <a:pt x="3718" y="423"/>
                  </a:cubicBezTo>
                  <a:moveTo>
                    <a:pt x="3752" y="422"/>
                  </a:moveTo>
                  <a:cubicBezTo>
                    <a:pt x="3745" y="422"/>
                    <a:pt x="3742" y="427"/>
                    <a:pt x="3745" y="433"/>
                  </a:cubicBezTo>
                  <a:cubicBezTo>
                    <a:pt x="3747" y="438"/>
                    <a:pt x="3755" y="443"/>
                    <a:pt x="3761" y="443"/>
                  </a:cubicBezTo>
                  <a:cubicBezTo>
                    <a:pt x="3768" y="443"/>
                    <a:pt x="3772" y="438"/>
                    <a:pt x="3769" y="433"/>
                  </a:cubicBezTo>
                  <a:cubicBezTo>
                    <a:pt x="3766" y="427"/>
                    <a:pt x="3759" y="422"/>
                    <a:pt x="3752" y="422"/>
                  </a:cubicBezTo>
                  <a:cubicBezTo>
                    <a:pt x="3752" y="422"/>
                    <a:pt x="3752" y="422"/>
                    <a:pt x="3752" y="422"/>
                  </a:cubicBezTo>
                  <a:moveTo>
                    <a:pt x="3787" y="422"/>
                  </a:moveTo>
                  <a:cubicBezTo>
                    <a:pt x="3780" y="422"/>
                    <a:pt x="3777" y="427"/>
                    <a:pt x="3779" y="433"/>
                  </a:cubicBezTo>
                  <a:cubicBezTo>
                    <a:pt x="3782" y="438"/>
                    <a:pt x="3790" y="443"/>
                    <a:pt x="3796" y="443"/>
                  </a:cubicBezTo>
                  <a:cubicBezTo>
                    <a:pt x="3803" y="443"/>
                    <a:pt x="3806" y="438"/>
                    <a:pt x="3804" y="432"/>
                  </a:cubicBezTo>
                  <a:cubicBezTo>
                    <a:pt x="3801" y="427"/>
                    <a:pt x="3793" y="422"/>
                    <a:pt x="3787" y="422"/>
                  </a:cubicBezTo>
                  <a:cubicBezTo>
                    <a:pt x="3787" y="422"/>
                    <a:pt x="3787" y="422"/>
                    <a:pt x="3787" y="422"/>
                  </a:cubicBezTo>
                  <a:moveTo>
                    <a:pt x="3822" y="422"/>
                  </a:moveTo>
                  <a:cubicBezTo>
                    <a:pt x="3815" y="422"/>
                    <a:pt x="3812" y="427"/>
                    <a:pt x="3814" y="432"/>
                  </a:cubicBezTo>
                  <a:cubicBezTo>
                    <a:pt x="3817" y="438"/>
                    <a:pt x="3825" y="443"/>
                    <a:pt x="3832" y="443"/>
                  </a:cubicBezTo>
                  <a:cubicBezTo>
                    <a:pt x="3838" y="442"/>
                    <a:pt x="3841" y="438"/>
                    <a:pt x="3839" y="432"/>
                  </a:cubicBezTo>
                  <a:cubicBezTo>
                    <a:pt x="3836" y="426"/>
                    <a:pt x="3828" y="422"/>
                    <a:pt x="3822" y="422"/>
                  </a:cubicBezTo>
                  <a:cubicBezTo>
                    <a:pt x="3822" y="422"/>
                    <a:pt x="3822" y="422"/>
                    <a:pt x="3822" y="422"/>
                  </a:cubicBezTo>
                  <a:moveTo>
                    <a:pt x="3856" y="422"/>
                  </a:moveTo>
                  <a:cubicBezTo>
                    <a:pt x="3849" y="422"/>
                    <a:pt x="3846" y="426"/>
                    <a:pt x="3849" y="432"/>
                  </a:cubicBezTo>
                  <a:cubicBezTo>
                    <a:pt x="3852" y="438"/>
                    <a:pt x="3859" y="442"/>
                    <a:pt x="3866" y="442"/>
                  </a:cubicBezTo>
                  <a:cubicBezTo>
                    <a:pt x="3873" y="442"/>
                    <a:pt x="3876" y="438"/>
                    <a:pt x="3873" y="432"/>
                  </a:cubicBezTo>
                  <a:cubicBezTo>
                    <a:pt x="3870" y="426"/>
                    <a:pt x="3863" y="422"/>
                    <a:pt x="3856" y="422"/>
                  </a:cubicBezTo>
                  <a:cubicBezTo>
                    <a:pt x="3856" y="422"/>
                    <a:pt x="3856" y="422"/>
                    <a:pt x="3856" y="422"/>
                  </a:cubicBezTo>
                  <a:moveTo>
                    <a:pt x="3890" y="421"/>
                  </a:moveTo>
                  <a:cubicBezTo>
                    <a:pt x="3884" y="422"/>
                    <a:pt x="3881" y="426"/>
                    <a:pt x="3884" y="432"/>
                  </a:cubicBezTo>
                  <a:cubicBezTo>
                    <a:pt x="3886" y="438"/>
                    <a:pt x="3894" y="442"/>
                    <a:pt x="3901" y="442"/>
                  </a:cubicBezTo>
                  <a:cubicBezTo>
                    <a:pt x="3908" y="442"/>
                    <a:pt x="3911" y="437"/>
                    <a:pt x="3908" y="432"/>
                  </a:cubicBezTo>
                  <a:cubicBezTo>
                    <a:pt x="3905" y="426"/>
                    <a:pt x="3897" y="421"/>
                    <a:pt x="3891" y="421"/>
                  </a:cubicBezTo>
                  <a:cubicBezTo>
                    <a:pt x="3891" y="421"/>
                    <a:pt x="3891" y="421"/>
                    <a:pt x="3890" y="421"/>
                  </a:cubicBezTo>
                  <a:moveTo>
                    <a:pt x="3925" y="421"/>
                  </a:moveTo>
                  <a:cubicBezTo>
                    <a:pt x="3918" y="421"/>
                    <a:pt x="3915" y="426"/>
                    <a:pt x="3918" y="432"/>
                  </a:cubicBezTo>
                  <a:cubicBezTo>
                    <a:pt x="3921" y="437"/>
                    <a:pt x="3929" y="442"/>
                    <a:pt x="3935" y="442"/>
                  </a:cubicBezTo>
                  <a:cubicBezTo>
                    <a:pt x="3942" y="442"/>
                    <a:pt x="3945" y="437"/>
                    <a:pt x="3942" y="431"/>
                  </a:cubicBezTo>
                  <a:cubicBezTo>
                    <a:pt x="3939" y="426"/>
                    <a:pt x="3932" y="421"/>
                    <a:pt x="3925" y="421"/>
                  </a:cubicBezTo>
                  <a:cubicBezTo>
                    <a:pt x="3925" y="421"/>
                    <a:pt x="3925" y="421"/>
                    <a:pt x="3925" y="421"/>
                  </a:cubicBezTo>
                  <a:moveTo>
                    <a:pt x="3959" y="421"/>
                  </a:moveTo>
                  <a:cubicBezTo>
                    <a:pt x="3953" y="421"/>
                    <a:pt x="3950" y="426"/>
                    <a:pt x="3953" y="431"/>
                  </a:cubicBezTo>
                  <a:cubicBezTo>
                    <a:pt x="3956" y="437"/>
                    <a:pt x="3964" y="442"/>
                    <a:pt x="3970" y="442"/>
                  </a:cubicBezTo>
                  <a:cubicBezTo>
                    <a:pt x="3977" y="442"/>
                    <a:pt x="3980" y="437"/>
                    <a:pt x="3977" y="431"/>
                  </a:cubicBezTo>
                  <a:cubicBezTo>
                    <a:pt x="3974" y="426"/>
                    <a:pt x="3966" y="421"/>
                    <a:pt x="3959" y="421"/>
                  </a:cubicBezTo>
                  <a:cubicBezTo>
                    <a:pt x="3959" y="421"/>
                    <a:pt x="3959" y="421"/>
                    <a:pt x="3959" y="421"/>
                  </a:cubicBezTo>
                  <a:moveTo>
                    <a:pt x="3993" y="421"/>
                  </a:moveTo>
                  <a:cubicBezTo>
                    <a:pt x="3986" y="421"/>
                    <a:pt x="3983" y="425"/>
                    <a:pt x="3986" y="431"/>
                  </a:cubicBezTo>
                  <a:cubicBezTo>
                    <a:pt x="3989" y="437"/>
                    <a:pt x="3997" y="441"/>
                    <a:pt x="4004" y="441"/>
                  </a:cubicBezTo>
                  <a:cubicBezTo>
                    <a:pt x="4011" y="441"/>
                    <a:pt x="4014" y="437"/>
                    <a:pt x="4011" y="431"/>
                  </a:cubicBezTo>
                  <a:cubicBezTo>
                    <a:pt x="4008" y="425"/>
                    <a:pt x="4000" y="421"/>
                    <a:pt x="3993" y="421"/>
                  </a:cubicBezTo>
                  <a:cubicBezTo>
                    <a:pt x="3993" y="421"/>
                    <a:pt x="3993" y="421"/>
                    <a:pt x="3993" y="421"/>
                  </a:cubicBezTo>
                  <a:moveTo>
                    <a:pt x="4028" y="420"/>
                  </a:moveTo>
                  <a:cubicBezTo>
                    <a:pt x="4021" y="421"/>
                    <a:pt x="4018" y="425"/>
                    <a:pt x="4021" y="431"/>
                  </a:cubicBezTo>
                  <a:cubicBezTo>
                    <a:pt x="4025" y="437"/>
                    <a:pt x="4033" y="441"/>
                    <a:pt x="4039" y="441"/>
                  </a:cubicBezTo>
                  <a:cubicBezTo>
                    <a:pt x="4046" y="441"/>
                    <a:pt x="4049" y="436"/>
                    <a:pt x="4046" y="431"/>
                  </a:cubicBezTo>
                  <a:cubicBezTo>
                    <a:pt x="4042" y="425"/>
                    <a:pt x="4035" y="420"/>
                    <a:pt x="4028" y="420"/>
                  </a:cubicBezTo>
                  <a:cubicBezTo>
                    <a:pt x="4028" y="420"/>
                    <a:pt x="4028" y="420"/>
                    <a:pt x="4028" y="420"/>
                  </a:cubicBezTo>
                  <a:moveTo>
                    <a:pt x="4063" y="420"/>
                  </a:moveTo>
                  <a:cubicBezTo>
                    <a:pt x="4056" y="420"/>
                    <a:pt x="4053" y="425"/>
                    <a:pt x="4056" y="431"/>
                  </a:cubicBezTo>
                  <a:cubicBezTo>
                    <a:pt x="4060" y="436"/>
                    <a:pt x="4068" y="441"/>
                    <a:pt x="4074" y="441"/>
                  </a:cubicBezTo>
                  <a:cubicBezTo>
                    <a:pt x="4081" y="441"/>
                    <a:pt x="4084" y="436"/>
                    <a:pt x="4081" y="430"/>
                  </a:cubicBezTo>
                  <a:cubicBezTo>
                    <a:pt x="4077" y="425"/>
                    <a:pt x="4069" y="420"/>
                    <a:pt x="4063" y="420"/>
                  </a:cubicBezTo>
                  <a:cubicBezTo>
                    <a:pt x="4063" y="420"/>
                    <a:pt x="4063" y="420"/>
                    <a:pt x="4063" y="420"/>
                  </a:cubicBezTo>
                  <a:moveTo>
                    <a:pt x="339" y="419"/>
                  </a:moveTo>
                  <a:cubicBezTo>
                    <a:pt x="332" y="420"/>
                    <a:pt x="323" y="424"/>
                    <a:pt x="319" y="430"/>
                  </a:cubicBezTo>
                  <a:cubicBezTo>
                    <a:pt x="314" y="435"/>
                    <a:pt x="316" y="440"/>
                    <a:pt x="323" y="440"/>
                  </a:cubicBezTo>
                  <a:cubicBezTo>
                    <a:pt x="330" y="440"/>
                    <a:pt x="339" y="435"/>
                    <a:pt x="343" y="430"/>
                  </a:cubicBezTo>
                  <a:cubicBezTo>
                    <a:pt x="347" y="424"/>
                    <a:pt x="346" y="419"/>
                    <a:pt x="339" y="419"/>
                  </a:cubicBezTo>
                  <a:cubicBezTo>
                    <a:pt x="339" y="419"/>
                    <a:pt x="339" y="419"/>
                    <a:pt x="339" y="419"/>
                  </a:cubicBezTo>
                  <a:moveTo>
                    <a:pt x="373" y="419"/>
                  </a:moveTo>
                  <a:cubicBezTo>
                    <a:pt x="367" y="419"/>
                    <a:pt x="358" y="424"/>
                    <a:pt x="353" y="429"/>
                  </a:cubicBezTo>
                  <a:cubicBezTo>
                    <a:pt x="349" y="435"/>
                    <a:pt x="351" y="440"/>
                    <a:pt x="357" y="439"/>
                  </a:cubicBezTo>
                  <a:cubicBezTo>
                    <a:pt x="364" y="439"/>
                    <a:pt x="373" y="435"/>
                    <a:pt x="377" y="429"/>
                  </a:cubicBezTo>
                  <a:cubicBezTo>
                    <a:pt x="382" y="424"/>
                    <a:pt x="380" y="419"/>
                    <a:pt x="373" y="419"/>
                  </a:cubicBezTo>
                  <a:cubicBezTo>
                    <a:pt x="373" y="419"/>
                    <a:pt x="373" y="419"/>
                    <a:pt x="373" y="419"/>
                  </a:cubicBezTo>
                  <a:moveTo>
                    <a:pt x="408" y="419"/>
                  </a:moveTo>
                  <a:cubicBezTo>
                    <a:pt x="401" y="419"/>
                    <a:pt x="392" y="424"/>
                    <a:pt x="388" y="429"/>
                  </a:cubicBezTo>
                  <a:cubicBezTo>
                    <a:pt x="384" y="435"/>
                    <a:pt x="385" y="439"/>
                    <a:pt x="392" y="439"/>
                  </a:cubicBezTo>
                  <a:cubicBezTo>
                    <a:pt x="399" y="439"/>
                    <a:pt x="408" y="435"/>
                    <a:pt x="412" y="429"/>
                  </a:cubicBezTo>
                  <a:cubicBezTo>
                    <a:pt x="416" y="423"/>
                    <a:pt x="414" y="419"/>
                    <a:pt x="408" y="419"/>
                  </a:cubicBezTo>
                  <a:cubicBezTo>
                    <a:pt x="408" y="419"/>
                    <a:pt x="408" y="419"/>
                    <a:pt x="408" y="419"/>
                  </a:cubicBezTo>
                  <a:moveTo>
                    <a:pt x="442" y="419"/>
                  </a:moveTo>
                  <a:cubicBezTo>
                    <a:pt x="435" y="419"/>
                    <a:pt x="427" y="423"/>
                    <a:pt x="422" y="429"/>
                  </a:cubicBezTo>
                  <a:cubicBezTo>
                    <a:pt x="418" y="435"/>
                    <a:pt x="420" y="439"/>
                    <a:pt x="427" y="439"/>
                  </a:cubicBezTo>
                  <a:cubicBezTo>
                    <a:pt x="433" y="439"/>
                    <a:pt x="442" y="434"/>
                    <a:pt x="447" y="429"/>
                  </a:cubicBezTo>
                  <a:cubicBezTo>
                    <a:pt x="451" y="423"/>
                    <a:pt x="449" y="419"/>
                    <a:pt x="442" y="419"/>
                  </a:cubicBezTo>
                  <a:cubicBezTo>
                    <a:pt x="442" y="419"/>
                    <a:pt x="442" y="419"/>
                    <a:pt x="442" y="419"/>
                  </a:cubicBezTo>
                  <a:moveTo>
                    <a:pt x="477" y="418"/>
                  </a:moveTo>
                  <a:cubicBezTo>
                    <a:pt x="470" y="419"/>
                    <a:pt x="461" y="423"/>
                    <a:pt x="457" y="429"/>
                  </a:cubicBezTo>
                  <a:cubicBezTo>
                    <a:pt x="453" y="434"/>
                    <a:pt x="455" y="439"/>
                    <a:pt x="462" y="439"/>
                  </a:cubicBezTo>
                  <a:cubicBezTo>
                    <a:pt x="468" y="439"/>
                    <a:pt x="477" y="434"/>
                    <a:pt x="481" y="429"/>
                  </a:cubicBezTo>
                  <a:cubicBezTo>
                    <a:pt x="485" y="423"/>
                    <a:pt x="483" y="418"/>
                    <a:pt x="477" y="418"/>
                  </a:cubicBezTo>
                  <a:cubicBezTo>
                    <a:pt x="477" y="418"/>
                    <a:pt x="477" y="418"/>
                    <a:pt x="477" y="418"/>
                  </a:cubicBezTo>
                  <a:moveTo>
                    <a:pt x="512" y="418"/>
                  </a:moveTo>
                  <a:cubicBezTo>
                    <a:pt x="506" y="418"/>
                    <a:pt x="497" y="423"/>
                    <a:pt x="493" y="428"/>
                  </a:cubicBezTo>
                  <a:cubicBezTo>
                    <a:pt x="489" y="434"/>
                    <a:pt x="491" y="439"/>
                    <a:pt x="497" y="438"/>
                  </a:cubicBezTo>
                  <a:cubicBezTo>
                    <a:pt x="504" y="438"/>
                    <a:pt x="513" y="434"/>
                    <a:pt x="517" y="428"/>
                  </a:cubicBezTo>
                  <a:cubicBezTo>
                    <a:pt x="521" y="423"/>
                    <a:pt x="519" y="418"/>
                    <a:pt x="512" y="418"/>
                  </a:cubicBezTo>
                  <a:cubicBezTo>
                    <a:pt x="512" y="418"/>
                    <a:pt x="512" y="418"/>
                    <a:pt x="512" y="418"/>
                  </a:cubicBezTo>
                  <a:moveTo>
                    <a:pt x="546" y="418"/>
                  </a:moveTo>
                  <a:cubicBezTo>
                    <a:pt x="540" y="418"/>
                    <a:pt x="531" y="423"/>
                    <a:pt x="527" y="428"/>
                  </a:cubicBezTo>
                  <a:cubicBezTo>
                    <a:pt x="523" y="434"/>
                    <a:pt x="525" y="438"/>
                    <a:pt x="532" y="438"/>
                  </a:cubicBezTo>
                  <a:cubicBezTo>
                    <a:pt x="539" y="438"/>
                    <a:pt x="547" y="434"/>
                    <a:pt x="551" y="428"/>
                  </a:cubicBezTo>
                  <a:cubicBezTo>
                    <a:pt x="555" y="422"/>
                    <a:pt x="553" y="418"/>
                    <a:pt x="547" y="418"/>
                  </a:cubicBezTo>
                  <a:cubicBezTo>
                    <a:pt x="547" y="418"/>
                    <a:pt x="547" y="418"/>
                    <a:pt x="546" y="418"/>
                  </a:cubicBezTo>
                  <a:moveTo>
                    <a:pt x="581" y="418"/>
                  </a:moveTo>
                  <a:cubicBezTo>
                    <a:pt x="574" y="418"/>
                    <a:pt x="566" y="422"/>
                    <a:pt x="562" y="428"/>
                  </a:cubicBezTo>
                  <a:cubicBezTo>
                    <a:pt x="558" y="434"/>
                    <a:pt x="560" y="438"/>
                    <a:pt x="567" y="438"/>
                  </a:cubicBezTo>
                  <a:cubicBezTo>
                    <a:pt x="573" y="438"/>
                    <a:pt x="582" y="433"/>
                    <a:pt x="586" y="428"/>
                  </a:cubicBezTo>
                  <a:cubicBezTo>
                    <a:pt x="590" y="422"/>
                    <a:pt x="588" y="418"/>
                    <a:pt x="581" y="418"/>
                  </a:cubicBezTo>
                  <a:cubicBezTo>
                    <a:pt x="581" y="418"/>
                    <a:pt x="581" y="418"/>
                    <a:pt x="581" y="418"/>
                  </a:cubicBezTo>
                  <a:moveTo>
                    <a:pt x="616" y="417"/>
                  </a:moveTo>
                  <a:cubicBezTo>
                    <a:pt x="609" y="418"/>
                    <a:pt x="601" y="422"/>
                    <a:pt x="597" y="428"/>
                  </a:cubicBezTo>
                  <a:cubicBezTo>
                    <a:pt x="593" y="433"/>
                    <a:pt x="595" y="438"/>
                    <a:pt x="602" y="438"/>
                  </a:cubicBezTo>
                  <a:cubicBezTo>
                    <a:pt x="609" y="438"/>
                    <a:pt x="617" y="433"/>
                    <a:pt x="621" y="428"/>
                  </a:cubicBezTo>
                  <a:cubicBezTo>
                    <a:pt x="625" y="422"/>
                    <a:pt x="623" y="417"/>
                    <a:pt x="616" y="417"/>
                  </a:cubicBezTo>
                  <a:cubicBezTo>
                    <a:pt x="616" y="417"/>
                    <a:pt x="616" y="417"/>
                    <a:pt x="616" y="417"/>
                  </a:cubicBezTo>
                  <a:moveTo>
                    <a:pt x="650" y="417"/>
                  </a:moveTo>
                  <a:cubicBezTo>
                    <a:pt x="643" y="417"/>
                    <a:pt x="635" y="422"/>
                    <a:pt x="631" y="427"/>
                  </a:cubicBezTo>
                  <a:cubicBezTo>
                    <a:pt x="627" y="433"/>
                    <a:pt x="630" y="438"/>
                    <a:pt x="636" y="437"/>
                  </a:cubicBezTo>
                  <a:cubicBezTo>
                    <a:pt x="643" y="437"/>
                    <a:pt x="652" y="433"/>
                    <a:pt x="655" y="427"/>
                  </a:cubicBezTo>
                  <a:cubicBezTo>
                    <a:pt x="659" y="422"/>
                    <a:pt x="657" y="417"/>
                    <a:pt x="650" y="417"/>
                  </a:cubicBezTo>
                  <a:cubicBezTo>
                    <a:pt x="650" y="417"/>
                    <a:pt x="650" y="417"/>
                    <a:pt x="650" y="417"/>
                  </a:cubicBezTo>
                  <a:moveTo>
                    <a:pt x="685" y="417"/>
                  </a:moveTo>
                  <a:cubicBezTo>
                    <a:pt x="678" y="417"/>
                    <a:pt x="669" y="422"/>
                    <a:pt x="666" y="427"/>
                  </a:cubicBezTo>
                  <a:cubicBezTo>
                    <a:pt x="662" y="433"/>
                    <a:pt x="664" y="437"/>
                    <a:pt x="671" y="437"/>
                  </a:cubicBezTo>
                  <a:cubicBezTo>
                    <a:pt x="678" y="437"/>
                    <a:pt x="686" y="433"/>
                    <a:pt x="690" y="427"/>
                  </a:cubicBezTo>
                  <a:cubicBezTo>
                    <a:pt x="694" y="421"/>
                    <a:pt x="691" y="417"/>
                    <a:pt x="685" y="417"/>
                  </a:cubicBezTo>
                  <a:cubicBezTo>
                    <a:pt x="685" y="417"/>
                    <a:pt x="685" y="417"/>
                    <a:pt x="685" y="417"/>
                  </a:cubicBezTo>
                  <a:moveTo>
                    <a:pt x="719" y="417"/>
                  </a:moveTo>
                  <a:cubicBezTo>
                    <a:pt x="712" y="417"/>
                    <a:pt x="704" y="421"/>
                    <a:pt x="700" y="427"/>
                  </a:cubicBezTo>
                  <a:cubicBezTo>
                    <a:pt x="696" y="433"/>
                    <a:pt x="699" y="437"/>
                    <a:pt x="706" y="437"/>
                  </a:cubicBezTo>
                  <a:cubicBezTo>
                    <a:pt x="712" y="437"/>
                    <a:pt x="721" y="432"/>
                    <a:pt x="724" y="427"/>
                  </a:cubicBezTo>
                  <a:cubicBezTo>
                    <a:pt x="728" y="421"/>
                    <a:pt x="726" y="417"/>
                    <a:pt x="719" y="417"/>
                  </a:cubicBezTo>
                  <a:cubicBezTo>
                    <a:pt x="719" y="417"/>
                    <a:pt x="719" y="417"/>
                    <a:pt x="719" y="417"/>
                  </a:cubicBezTo>
                  <a:moveTo>
                    <a:pt x="753" y="416"/>
                  </a:moveTo>
                  <a:cubicBezTo>
                    <a:pt x="747" y="417"/>
                    <a:pt x="738" y="421"/>
                    <a:pt x="735" y="427"/>
                  </a:cubicBezTo>
                  <a:cubicBezTo>
                    <a:pt x="731" y="432"/>
                    <a:pt x="734" y="437"/>
                    <a:pt x="740" y="437"/>
                  </a:cubicBezTo>
                  <a:cubicBezTo>
                    <a:pt x="747" y="437"/>
                    <a:pt x="755" y="432"/>
                    <a:pt x="759" y="427"/>
                  </a:cubicBezTo>
                  <a:cubicBezTo>
                    <a:pt x="763" y="421"/>
                    <a:pt x="760" y="416"/>
                    <a:pt x="753" y="416"/>
                  </a:cubicBezTo>
                  <a:cubicBezTo>
                    <a:pt x="753" y="416"/>
                    <a:pt x="753" y="416"/>
                    <a:pt x="753" y="416"/>
                  </a:cubicBezTo>
                  <a:moveTo>
                    <a:pt x="788" y="416"/>
                  </a:moveTo>
                  <a:cubicBezTo>
                    <a:pt x="782" y="416"/>
                    <a:pt x="773" y="421"/>
                    <a:pt x="770" y="426"/>
                  </a:cubicBezTo>
                  <a:cubicBezTo>
                    <a:pt x="766" y="432"/>
                    <a:pt x="769" y="437"/>
                    <a:pt x="775" y="437"/>
                  </a:cubicBezTo>
                  <a:cubicBezTo>
                    <a:pt x="782" y="436"/>
                    <a:pt x="790" y="432"/>
                    <a:pt x="794" y="426"/>
                  </a:cubicBezTo>
                  <a:cubicBezTo>
                    <a:pt x="797" y="421"/>
                    <a:pt x="795" y="416"/>
                    <a:pt x="788" y="416"/>
                  </a:cubicBezTo>
                  <a:cubicBezTo>
                    <a:pt x="788" y="416"/>
                    <a:pt x="788" y="416"/>
                    <a:pt x="788" y="416"/>
                  </a:cubicBezTo>
                  <a:moveTo>
                    <a:pt x="822" y="416"/>
                  </a:moveTo>
                  <a:cubicBezTo>
                    <a:pt x="816" y="416"/>
                    <a:pt x="808" y="421"/>
                    <a:pt x="804" y="426"/>
                  </a:cubicBezTo>
                  <a:cubicBezTo>
                    <a:pt x="801" y="432"/>
                    <a:pt x="803" y="436"/>
                    <a:pt x="810" y="436"/>
                  </a:cubicBezTo>
                  <a:cubicBezTo>
                    <a:pt x="817" y="436"/>
                    <a:pt x="825" y="432"/>
                    <a:pt x="828" y="426"/>
                  </a:cubicBezTo>
                  <a:cubicBezTo>
                    <a:pt x="832" y="420"/>
                    <a:pt x="829" y="416"/>
                    <a:pt x="823" y="416"/>
                  </a:cubicBezTo>
                  <a:cubicBezTo>
                    <a:pt x="823" y="416"/>
                    <a:pt x="822" y="416"/>
                    <a:pt x="822" y="416"/>
                  </a:cubicBezTo>
                  <a:moveTo>
                    <a:pt x="855" y="416"/>
                  </a:moveTo>
                  <a:cubicBezTo>
                    <a:pt x="848" y="416"/>
                    <a:pt x="840" y="420"/>
                    <a:pt x="837" y="426"/>
                  </a:cubicBezTo>
                  <a:cubicBezTo>
                    <a:pt x="833" y="432"/>
                    <a:pt x="836" y="436"/>
                    <a:pt x="843" y="436"/>
                  </a:cubicBezTo>
                  <a:cubicBezTo>
                    <a:pt x="850" y="436"/>
                    <a:pt x="858" y="431"/>
                    <a:pt x="861" y="426"/>
                  </a:cubicBezTo>
                  <a:cubicBezTo>
                    <a:pt x="864" y="420"/>
                    <a:pt x="862" y="416"/>
                    <a:pt x="855" y="416"/>
                  </a:cubicBezTo>
                  <a:cubicBezTo>
                    <a:pt x="855" y="416"/>
                    <a:pt x="855" y="416"/>
                    <a:pt x="855" y="416"/>
                  </a:cubicBezTo>
                  <a:moveTo>
                    <a:pt x="890" y="415"/>
                  </a:moveTo>
                  <a:cubicBezTo>
                    <a:pt x="883" y="416"/>
                    <a:pt x="875" y="420"/>
                    <a:pt x="872" y="426"/>
                  </a:cubicBezTo>
                  <a:cubicBezTo>
                    <a:pt x="868" y="431"/>
                    <a:pt x="871" y="436"/>
                    <a:pt x="878" y="436"/>
                  </a:cubicBezTo>
                  <a:cubicBezTo>
                    <a:pt x="885" y="436"/>
                    <a:pt x="893" y="431"/>
                    <a:pt x="896" y="426"/>
                  </a:cubicBezTo>
                  <a:cubicBezTo>
                    <a:pt x="899" y="420"/>
                    <a:pt x="897" y="415"/>
                    <a:pt x="890" y="415"/>
                  </a:cubicBezTo>
                  <a:cubicBezTo>
                    <a:pt x="890" y="415"/>
                    <a:pt x="890" y="415"/>
                    <a:pt x="890" y="415"/>
                  </a:cubicBezTo>
                  <a:moveTo>
                    <a:pt x="924" y="415"/>
                  </a:moveTo>
                  <a:cubicBezTo>
                    <a:pt x="917" y="415"/>
                    <a:pt x="909" y="420"/>
                    <a:pt x="906" y="425"/>
                  </a:cubicBezTo>
                  <a:cubicBezTo>
                    <a:pt x="903" y="431"/>
                    <a:pt x="906" y="436"/>
                    <a:pt x="912" y="436"/>
                  </a:cubicBezTo>
                  <a:cubicBezTo>
                    <a:pt x="919" y="435"/>
                    <a:pt x="927" y="431"/>
                    <a:pt x="930" y="425"/>
                  </a:cubicBezTo>
                  <a:cubicBezTo>
                    <a:pt x="934" y="420"/>
                    <a:pt x="931" y="415"/>
                    <a:pt x="924" y="415"/>
                  </a:cubicBezTo>
                  <a:cubicBezTo>
                    <a:pt x="924" y="415"/>
                    <a:pt x="924" y="415"/>
                    <a:pt x="924" y="415"/>
                  </a:cubicBezTo>
                  <a:moveTo>
                    <a:pt x="959" y="415"/>
                  </a:moveTo>
                  <a:cubicBezTo>
                    <a:pt x="952" y="415"/>
                    <a:pt x="944" y="420"/>
                    <a:pt x="941" y="425"/>
                  </a:cubicBezTo>
                  <a:cubicBezTo>
                    <a:pt x="938" y="431"/>
                    <a:pt x="940" y="435"/>
                    <a:pt x="947" y="435"/>
                  </a:cubicBezTo>
                  <a:cubicBezTo>
                    <a:pt x="954" y="435"/>
                    <a:pt x="962" y="431"/>
                    <a:pt x="965" y="425"/>
                  </a:cubicBezTo>
                  <a:cubicBezTo>
                    <a:pt x="968" y="419"/>
                    <a:pt x="965" y="415"/>
                    <a:pt x="959" y="415"/>
                  </a:cubicBezTo>
                  <a:cubicBezTo>
                    <a:pt x="959" y="415"/>
                    <a:pt x="959" y="415"/>
                    <a:pt x="959" y="415"/>
                  </a:cubicBezTo>
                  <a:moveTo>
                    <a:pt x="993" y="415"/>
                  </a:moveTo>
                  <a:cubicBezTo>
                    <a:pt x="986" y="415"/>
                    <a:pt x="978" y="419"/>
                    <a:pt x="975" y="425"/>
                  </a:cubicBezTo>
                  <a:cubicBezTo>
                    <a:pt x="972" y="431"/>
                    <a:pt x="975" y="435"/>
                    <a:pt x="982" y="435"/>
                  </a:cubicBezTo>
                  <a:cubicBezTo>
                    <a:pt x="988" y="435"/>
                    <a:pt x="996" y="430"/>
                    <a:pt x="999" y="425"/>
                  </a:cubicBezTo>
                  <a:cubicBezTo>
                    <a:pt x="1002" y="419"/>
                    <a:pt x="999" y="415"/>
                    <a:pt x="993" y="415"/>
                  </a:cubicBezTo>
                  <a:cubicBezTo>
                    <a:pt x="993" y="415"/>
                    <a:pt x="993" y="415"/>
                    <a:pt x="993" y="415"/>
                  </a:cubicBezTo>
                  <a:moveTo>
                    <a:pt x="1027" y="415"/>
                  </a:moveTo>
                  <a:cubicBezTo>
                    <a:pt x="1021" y="415"/>
                    <a:pt x="1013" y="419"/>
                    <a:pt x="1010" y="425"/>
                  </a:cubicBezTo>
                  <a:cubicBezTo>
                    <a:pt x="1007" y="430"/>
                    <a:pt x="1010" y="435"/>
                    <a:pt x="1016" y="435"/>
                  </a:cubicBezTo>
                  <a:cubicBezTo>
                    <a:pt x="1023" y="435"/>
                    <a:pt x="1031" y="430"/>
                    <a:pt x="1034" y="425"/>
                  </a:cubicBezTo>
                  <a:cubicBezTo>
                    <a:pt x="1037" y="419"/>
                    <a:pt x="1034" y="415"/>
                    <a:pt x="1027" y="415"/>
                  </a:cubicBezTo>
                  <a:cubicBezTo>
                    <a:pt x="1027" y="415"/>
                    <a:pt x="1027" y="415"/>
                    <a:pt x="1027" y="415"/>
                  </a:cubicBezTo>
                  <a:moveTo>
                    <a:pt x="1062" y="414"/>
                  </a:moveTo>
                  <a:cubicBezTo>
                    <a:pt x="1055" y="414"/>
                    <a:pt x="1048" y="419"/>
                    <a:pt x="1045" y="424"/>
                  </a:cubicBezTo>
                  <a:cubicBezTo>
                    <a:pt x="1042" y="430"/>
                    <a:pt x="1045" y="435"/>
                    <a:pt x="1051" y="435"/>
                  </a:cubicBezTo>
                  <a:cubicBezTo>
                    <a:pt x="1058" y="435"/>
                    <a:pt x="1066" y="430"/>
                    <a:pt x="1069" y="424"/>
                  </a:cubicBezTo>
                  <a:cubicBezTo>
                    <a:pt x="1072" y="419"/>
                    <a:pt x="1069" y="414"/>
                    <a:pt x="1062" y="414"/>
                  </a:cubicBezTo>
                  <a:cubicBezTo>
                    <a:pt x="1062" y="414"/>
                    <a:pt x="1062" y="414"/>
                    <a:pt x="1062" y="414"/>
                  </a:cubicBezTo>
                  <a:moveTo>
                    <a:pt x="1096" y="414"/>
                  </a:moveTo>
                  <a:cubicBezTo>
                    <a:pt x="1090" y="414"/>
                    <a:pt x="1082" y="419"/>
                    <a:pt x="1079" y="424"/>
                  </a:cubicBezTo>
                  <a:cubicBezTo>
                    <a:pt x="1076" y="430"/>
                    <a:pt x="1079" y="434"/>
                    <a:pt x="1086" y="434"/>
                  </a:cubicBezTo>
                  <a:cubicBezTo>
                    <a:pt x="1093" y="434"/>
                    <a:pt x="1100" y="430"/>
                    <a:pt x="1103" y="424"/>
                  </a:cubicBezTo>
                  <a:cubicBezTo>
                    <a:pt x="1106" y="419"/>
                    <a:pt x="1103" y="414"/>
                    <a:pt x="1096" y="414"/>
                  </a:cubicBezTo>
                  <a:cubicBezTo>
                    <a:pt x="1096" y="414"/>
                    <a:pt x="1096" y="414"/>
                    <a:pt x="1096" y="414"/>
                  </a:cubicBezTo>
                  <a:moveTo>
                    <a:pt x="1130" y="414"/>
                  </a:moveTo>
                  <a:cubicBezTo>
                    <a:pt x="1123" y="414"/>
                    <a:pt x="1116" y="418"/>
                    <a:pt x="1113" y="424"/>
                  </a:cubicBezTo>
                  <a:cubicBezTo>
                    <a:pt x="1110" y="430"/>
                    <a:pt x="1113" y="434"/>
                    <a:pt x="1120" y="434"/>
                  </a:cubicBezTo>
                  <a:cubicBezTo>
                    <a:pt x="1127" y="434"/>
                    <a:pt x="1134" y="429"/>
                    <a:pt x="1137" y="424"/>
                  </a:cubicBezTo>
                  <a:cubicBezTo>
                    <a:pt x="1140" y="418"/>
                    <a:pt x="1137" y="414"/>
                    <a:pt x="1130" y="414"/>
                  </a:cubicBezTo>
                  <a:cubicBezTo>
                    <a:pt x="1130" y="414"/>
                    <a:pt x="1130" y="414"/>
                    <a:pt x="1130" y="414"/>
                  </a:cubicBezTo>
                  <a:moveTo>
                    <a:pt x="1269" y="413"/>
                  </a:moveTo>
                  <a:cubicBezTo>
                    <a:pt x="1263" y="413"/>
                    <a:pt x="1255" y="417"/>
                    <a:pt x="1253" y="423"/>
                  </a:cubicBezTo>
                  <a:cubicBezTo>
                    <a:pt x="1250" y="429"/>
                    <a:pt x="1253" y="433"/>
                    <a:pt x="1260" y="433"/>
                  </a:cubicBezTo>
                  <a:cubicBezTo>
                    <a:pt x="1267" y="433"/>
                    <a:pt x="1274" y="428"/>
                    <a:pt x="1277" y="423"/>
                  </a:cubicBezTo>
                  <a:cubicBezTo>
                    <a:pt x="1279" y="417"/>
                    <a:pt x="1276" y="413"/>
                    <a:pt x="1269" y="413"/>
                  </a:cubicBezTo>
                  <a:cubicBezTo>
                    <a:pt x="1269" y="413"/>
                    <a:pt x="1269" y="413"/>
                    <a:pt x="1269" y="413"/>
                  </a:cubicBezTo>
                  <a:moveTo>
                    <a:pt x="2093" y="407"/>
                  </a:moveTo>
                  <a:cubicBezTo>
                    <a:pt x="2086" y="408"/>
                    <a:pt x="2080" y="412"/>
                    <a:pt x="2079" y="418"/>
                  </a:cubicBezTo>
                  <a:cubicBezTo>
                    <a:pt x="2078" y="423"/>
                    <a:pt x="2083" y="428"/>
                    <a:pt x="2090" y="428"/>
                  </a:cubicBezTo>
                  <a:cubicBezTo>
                    <a:pt x="2097" y="428"/>
                    <a:pt x="2103" y="423"/>
                    <a:pt x="2103" y="418"/>
                  </a:cubicBezTo>
                  <a:cubicBezTo>
                    <a:pt x="2104" y="412"/>
                    <a:pt x="2100" y="407"/>
                    <a:pt x="2093" y="407"/>
                  </a:cubicBezTo>
                  <a:cubicBezTo>
                    <a:pt x="2093" y="407"/>
                    <a:pt x="2093" y="407"/>
                    <a:pt x="2093" y="407"/>
                  </a:cubicBezTo>
                  <a:moveTo>
                    <a:pt x="2126" y="407"/>
                  </a:moveTo>
                  <a:cubicBezTo>
                    <a:pt x="2119" y="407"/>
                    <a:pt x="2113" y="412"/>
                    <a:pt x="2112" y="418"/>
                  </a:cubicBezTo>
                  <a:cubicBezTo>
                    <a:pt x="2111" y="423"/>
                    <a:pt x="2116" y="428"/>
                    <a:pt x="2123" y="428"/>
                  </a:cubicBezTo>
                  <a:cubicBezTo>
                    <a:pt x="2130" y="428"/>
                    <a:pt x="2136" y="423"/>
                    <a:pt x="2136" y="417"/>
                  </a:cubicBezTo>
                  <a:cubicBezTo>
                    <a:pt x="2137" y="412"/>
                    <a:pt x="2132" y="407"/>
                    <a:pt x="2126" y="407"/>
                  </a:cubicBezTo>
                  <a:cubicBezTo>
                    <a:pt x="2126" y="407"/>
                    <a:pt x="2126" y="407"/>
                    <a:pt x="2126" y="407"/>
                  </a:cubicBezTo>
                  <a:moveTo>
                    <a:pt x="2160" y="407"/>
                  </a:moveTo>
                  <a:cubicBezTo>
                    <a:pt x="2154" y="407"/>
                    <a:pt x="2148" y="412"/>
                    <a:pt x="2147" y="417"/>
                  </a:cubicBezTo>
                  <a:cubicBezTo>
                    <a:pt x="2146" y="423"/>
                    <a:pt x="2151" y="427"/>
                    <a:pt x="2158" y="427"/>
                  </a:cubicBezTo>
                  <a:cubicBezTo>
                    <a:pt x="2165" y="427"/>
                    <a:pt x="2171" y="423"/>
                    <a:pt x="2171" y="417"/>
                  </a:cubicBezTo>
                  <a:cubicBezTo>
                    <a:pt x="2172" y="412"/>
                    <a:pt x="2167" y="407"/>
                    <a:pt x="2160" y="407"/>
                  </a:cubicBezTo>
                  <a:cubicBezTo>
                    <a:pt x="2160" y="407"/>
                    <a:pt x="2160" y="407"/>
                    <a:pt x="2160" y="407"/>
                  </a:cubicBezTo>
                  <a:moveTo>
                    <a:pt x="2197" y="403"/>
                  </a:moveTo>
                  <a:cubicBezTo>
                    <a:pt x="2190" y="403"/>
                    <a:pt x="2184" y="408"/>
                    <a:pt x="2184" y="413"/>
                  </a:cubicBezTo>
                  <a:cubicBezTo>
                    <a:pt x="2183" y="419"/>
                    <a:pt x="2188" y="424"/>
                    <a:pt x="2195" y="424"/>
                  </a:cubicBezTo>
                  <a:cubicBezTo>
                    <a:pt x="2201" y="424"/>
                    <a:pt x="2207" y="419"/>
                    <a:pt x="2208" y="413"/>
                  </a:cubicBezTo>
                  <a:cubicBezTo>
                    <a:pt x="2209" y="408"/>
                    <a:pt x="2204" y="403"/>
                    <a:pt x="2197" y="403"/>
                  </a:cubicBezTo>
                  <a:cubicBezTo>
                    <a:pt x="2197" y="403"/>
                    <a:pt x="2197" y="403"/>
                    <a:pt x="2197" y="403"/>
                  </a:cubicBezTo>
                  <a:moveTo>
                    <a:pt x="2232" y="403"/>
                  </a:moveTo>
                  <a:cubicBezTo>
                    <a:pt x="2226" y="403"/>
                    <a:pt x="2220" y="408"/>
                    <a:pt x="2219" y="413"/>
                  </a:cubicBezTo>
                  <a:cubicBezTo>
                    <a:pt x="2219" y="419"/>
                    <a:pt x="2223" y="423"/>
                    <a:pt x="2230" y="423"/>
                  </a:cubicBezTo>
                  <a:cubicBezTo>
                    <a:pt x="2237" y="423"/>
                    <a:pt x="2243" y="419"/>
                    <a:pt x="2243" y="413"/>
                  </a:cubicBezTo>
                  <a:cubicBezTo>
                    <a:pt x="2244" y="407"/>
                    <a:pt x="2239" y="403"/>
                    <a:pt x="2232" y="403"/>
                  </a:cubicBezTo>
                  <a:cubicBezTo>
                    <a:pt x="2232" y="403"/>
                    <a:pt x="2232" y="403"/>
                    <a:pt x="2232" y="403"/>
                  </a:cubicBezTo>
                  <a:moveTo>
                    <a:pt x="2266" y="403"/>
                  </a:moveTo>
                  <a:cubicBezTo>
                    <a:pt x="2260" y="403"/>
                    <a:pt x="2254" y="407"/>
                    <a:pt x="2253" y="413"/>
                  </a:cubicBezTo>
                  <a:cubicBezTo>
                    <a:pt x="2253" y="419"/>
                    <a:pt x="2258" y="423"/>
                    <a:pt x="2264" y="423"/>
                  </a:cubicBezTo>
                  <a:cubicBezTo>
                    <a:pt x="2271" y="423"/>
                    <a:pt x="2277" y="418"/>
                    <a:pt x="2277" y="413"/>
                  </a:cubicBezTo>
                  <a:cubicBezTo>
                    <a:pt x="2278" y="407"/>
                    <a:pt x="2273" y="403"/>
                    <a:pt x="2266" y="403"/>
                  </a:cubicBezTo>
                  <a:cubicBezTo>
                    <a:pt x="2266" y="403"/>
                    <a:pt x="2266" y="403"/>
                    <a:pt x="2266" y="403"/>
                  </a:cubicBezTo>
                  <a:moveTo>
                    <a:pt x="2300" y="402"/>
                  </a:moveTo>
                  <a:cubicBezTo>
                    <a:pt x="2293" y="402"/>
                    <a:pt x="2288" y="407"/>
                    <a:pt x="2287" y="413"/>
                  </a:cubicBezTo>
                  <a:cubicBezTo>
                    <a:pt x="2287" y="418"/>
                    <a:pt x="2292" y="423"/>
                    <a:pt x="2299" y="423"/>
                  </a:cubicBezTo>
                  <a:cubicBezTo>
                    <a:pt x="2305" y="423"/>
                    <a:pt x="2311" y="418"/>
                    <a:pt x="2311" y="413"/>
                  </a:cubicBezTo>
                  <a:cubicBezTo>
                    <a:pt x="2312" y="407"/>
                    <a:pt x="2307" y="402"/>
                    <a:pt x="2300" y="402"/>
                  </a:cubicBezTo>
                  <a:cubicBezTo>
                    <a:pt x="2300" y="402"/>
                    <a:pt x="2300" y="402"/>
                    <a:pt x="2300" y="402"/>
                  </a:cubicBezTo>
                  <a:moveTo>
                    <a:pt x="2334" y="402"/>
                  </a:moveTo>
                  <a:cubicBezTo>
                    <a:pt x="2327" y="402"/>
                    <a:pt x="2322" y="407"/>
                    <a:pt x="2321" y="412"/>
                  </a:cubicBezTo>
                  <a:cubicBezTo>
                    <a:pt x="2321" y="418"/>
                    <a:pt x="2326" y="423"/>
                    <a:pt x="2333" y="423"/>
                  </a:cubicBezTo>
                  <a:cubicBezTo>
                    <a:pt x="2340" y="423"/>
                    <a:pt x="2345" y="418"/>
                    <a:pt x="2346" y="412"/>
                  </a:cubicBezTo>
                  <a:cubicBezTo>
                    <a:pt x="2346" y="407"/>
                    <a:pt x="2341" y="402"/>
                    <a:pt x="2334" y="402"/>
                  </a:cubicBezTo>
                  <a:cubicBezTo>
                    <a:pt x="2334" y="402"/>
                    <a:pt x="2334" y="402"/>
                    <a:pt x="2334" y="402"/>
                  </a:cubicBezTo>
                  <a:moveTo>
                    <a:pt x="2369" y="402"/>
                  </a:moveTo>
                  <a:cubicBezTo>
                    <a:pt x="2362" y="402"/>
                    <a:pt x="2356" y="407"/>
                    <a:pt x="2356" y="412"/>
                  </a:cubicBezTo>
                  <a:cubicBezTo>
                    <a:pt x="2356" y="418"/>
                    <a:pt x="2361" y="422"/>
                    <a:pt x="2368" y="422"/>
                  </a:cubicBezTo>
                  <a:cubicBezTo>
                    <a:pt x="2374" y="422"/>
                    <a:pt x="2380" y="418"/>
                    <a:pt x="2380" y="412"/>
                  </a:cubicBezTo>
                  <a:cubicBezTo>
                    <a:pt x="2380" y="406"/>
                    <a:pt x="2375" y="402"/>
                    <a:pt x="2369" y="402"/>
                  </a:cubicBezTo>
                  <a:cubicBezTo>
                    <a:pt x="2369" y="402"/>
                    <a:pt x="2369" y="402"/>
                    <a:pt x="2369" y="402"/>
                  </a:cubicBezTo>
                  <a:moveTo>
                    <a:pt x="2575" y="402"/>
                  </a:moveTo>
                  <a:cubicBezTo>
                    <a:pt x="2568" y="402"/>
                    <a:pt x="2563" y="406"/>
                    <a:pt x="2563" y="412"/>
                  </a:cubicBezTo>
                  <a:cubicBezTo>
                    <a:pt x="2563" y="418"/>
                    <a:pt x="2569" y="422"/>
                    <a:pt x="2575" y="422"/>
                  </a:cubicBezTo>
                  <a:cubicBezTo>
                    <a:pt x="2582" y="422"/>
                    <a:pt x="2587" y="418"/>
                    <a:pt x="2587" y="412"/>
                  </a:cubicBezTo>
                  <a:cubicBezTo>
                    <a:pt x="2587" y="406"/>
                    <a:pt x="2581" y="402"/>
                    <a:pt x="2575" y="402"/>
                  </a:cubicBezTo>
                  <a:cubicBezTo>
                    <a:pt x="2575" y="402"/>
                    <a:pt x="2575" y="402"/>
                    <a:pt x="2575" y="402"/>
                  </a:cubicBezTo>
                  <a:moveTo>
                    <a:pt x="2403" y="402"/>
                  </a:moveTo>
                  <a:cubicBezTo>
                    <a:pt x="2397" y="402"/>
                    <a:pt x="2391" y="406"/>
                    <a:pt x="2391" y="412"/>
                  </a:cubicBezTo>
                  <a:cubicBezTo>
                    <a:pt x="2391" y="418"/>
                    <a:pt x="2396" y="422"/>
                    <a:pt x="2402" y="422"/>
                  </a:cubicBezTo>
                  <a:cubicBezTo>
                    <a:pt x="2409" y="422"/>
                    <a:pt x="2415" y="417"/>
                    <a:pt x="2415" y="412"/>
                  </a:cubicBezTo>
                  <a:cubicBezTo>
                    <a:pt x="2415" y="406"/>
                    <a:pt x="2410" y="402"/>
                    <a:pt x="2403" y="402"/>
                  </a:cubicBezTo>
                  <a:cubicBezTo>
                    <a:pt x="2403" y="402"/>
                    <a:pt x="2403" y="402"/>
                    <a:pt x="2403" y="402"/>
                  </a:cubicBezTo>
                  <a:moveTo>
                    <a:pt x="2610" y="402"/>
                  </a:moveTo>
                  <a:cubicBezTo>
                    <a:pt x="2603" y="402"/>
                    <a:pt x="2598" y="406"/>
                    <a:pt x="2598" y="412"/>
                  </a:cubicBezTo>
                  <a:cubicBezTo>
                    <a:pt x="2598" y="417"/>
                    <a:pt x="2604" y="422"/>
                    <a:pt x="2610" y="422"/>
                  </a:cubicBezTo>
                  <a:cubicBezTo>
                    <a:pt x="2617" y="422"/>
                    <a:pt x="2622" y="417"/>
                    <a:pt x="2622" y="412"/>
                  </a:cubicBezTo>
                  <a:cubicBezTo>
                    <a:pt x="2622" y="406"/>
                    <a:pt x="2616" y="402"/>
                    <a:pt x="2610" y="402"/>
                  </a:cubicBezTo>
                  <a:cubicBezTo>
                    <a:pt x="2610" y="402"/>
                    <a:pt x="2610" y="402"/>
                    <a:pt x="2610" y="402"/>
                  </a:cubicBezTo>
                  <a:moveTo>
                    <a:pt x="2437" y="401"/>
                  </a:moveTo>
                  <a:cubicBezTo>
                    <a:pt x="2431" y="401"/>
                    <a:pt x="2425" y="406"/>
                    <a:pt x="2425" y="412"/>
                  </a:cubicBezTo>
                  <a:cubicBezTo>
                    <a:pt x="2425" y="417"/>
                    <a:pt x="2430" y="422"/>
                    <a:pt x="2437" y="422"/>
                  </a:cubicBezTo>
                  <a:cubicBezTo>
                    <a:pt x="2443" y="422"/>
                    <a:pt x="2449" y="417"/>
                    <a:pt x="2449" y="412"/>
                  </a:cubicBezTo>
                  <a:cubicBezTo>
                    <a:pt x="2449" y="406"/>
                    <a:pt x="2444" y="401"/>
                    <a:pt x="2437" y="401"/>
                  </a:cubicBezTo>
                  <a:cubicBezTo>
                    <a:pt x="2437" y="401"/>
                    <a:pt x="2437" y="401"/>
                    <a:pt x="2437" y="401"/>
                  </a:cubicBezTo>
                  <a:moveTo>
                    <a:pt x="2644" y="401"/>
                  </a:moveTo>
                  <a:cubicBezTo>
                    <a:pt x="2637" y="401"/>
                    <a:pt x="2632" y="406"/>
                    <a:pt x="2632" y="412"/>
                  </a:cubicBezTo>
                  <a:cubicBezTo>
                    <a:pt x="2632" y="417"/>
                    <a:pt x="2638" y="422"/>
                    <a:pt x="2645" y="422"/>
                  </a:cubicBezTo>
                  <a:cubicBezTo>
                    <a:pt x="2651" y="422"/>
                    <a:pt x="2657" y="417"/>
                    <a:pt x="2656" y="411"/>
                  </a:cubicBezTo>
                  <a:cubicBezTo>
                    <a:pt x="2656" y="406"/>
                    <a:pt x="2650" y="401"/>
                    <a:pt x="2644" y="401"/>
                  </a:cubicBezTo>
                  <a:cubicBezTo>
                    <a:pt x="2644" y="401"/>
                    <a:pt x="2644" y="401"/>
                    <a:pt x="2644" y="401"/>
                  </a:cubicBezTo>
                  <a:moveTo>
                    <a:pt x="2471" y="401"/>
                  </a:moveTo>
                  <a:cubicBezTo>
                    <a:pt x="2465" y="401"/>
                    <a:pt x="2459" y="406"/>
                    <a:pt x="2459" y="411"/>
                  </a:cubicBezTo>
                  <a:cubicBezTo>
                    <a:pt x="2459" y="417"/>
                    <a:pt x="2465" y="422"/>
                    <a:pt x="2471" y="422"/>
                  </a:cubicBezTo>
                  <a:cubicBezTo>
                    <a:pt x="2478" y="422"/>
                    <a:pt x="2483" y="417"/>
                    <a:pt x="2483" y="411"/>
                  </a:cubicBezTo>
                  <a:cubicBezTo>
                    <a:pt x="2483" y="406"/>
                    <a:pt x="2478" y="401"/>
                    <a:pt x="2472" y="401"/>
                  </a:cubicBezTo>
                  <a:cubicBezTo>
                    <a:pt x="2472" y="401"/>
                    <a:pt x="2472" y="401"/>
                    <a:pt x="2471" y="401"/>
                  </a:cubicBezTo>
                  <a:moveTo>
                    <a:pt x="2677" y="401"/>
                  </a:moveTo>
                  <a:cubicBezTo>
                    <a:pt x="2671" y="401"/>
                    <a:pt x="2666" y="406"/>
                    <a:pt x="2666" y="411"/>
                  </a:cubicBezTo>
                  <a:cubicBezTo>
                    <a:pt x="2666" y="417"/>
                    <a:pt x="2672" y="422"/>
                    <a:pt x="2679" y="421"/>
                  </a:cubicBezTo>
                  <a:cubicBezTo>
                    <a:pt x="2686" y="421"/>
                    <a:pt x="2691" y="417"/>
                    <a:pt x="2690" y="411"/>
                  </a:cubicBezTo>
                  <a:cubicBezTo>
                    <a:pt x="2690" y="406"/>
                    <a:pt x="2684" y="401"/>
                    <a:pt x="2678" y="401"/>
                  </a:cubicBezTo>
                  <a:cubicBezTo>
                    <a:pt x="2678" y="401"/>
                    <a:pt x="2678" y="401"/>
                    <a:pt x="2677" y="401"/>
                  </a:cubicBezTo>
                  <a:moveTo>
                    <a:pt x="2506" y="401"/>
                  </a:moveTo>
                  <a:cubicBezTo>
                    <a:pt x="2499" y="401"/>
                    <a:pt x="2494" y="406"/>
                    <a:pt x="2494" y="411"/>
                  </a:cubicBezTo>
                  <a:cubicBezTo>
                    <a:pt x="2494" y="417"/>
                    <a:pt x="2499" y="421"/>
                    <a:pt x="2506" y="421"/>
                  </a:cubicBezTo>
                  <a:cubicBezTo>
                    <a:pt x="2512" y="421"/>
                    <a:pt x="2518" y="417"/>
                    <a:pt x="2518" y="411"/>
                  </a:cubicBezTo>
                  <a:cubicBezTo>
                    <a:pt x="2518" y="405"/>
                    <a:pt x="2512" y="401"/>
                    <a:pt x="2506" y="401"/>
                  </a:cubicBezTo>
                  <a:cubicBezTo>
                    <a:pt x="2506" y="401"/>
                    <a:pt x="2506" y="401"/>
                    <a:pt x="2506" y="401"/>
                  </a:cubicBezTo>
                  <a:moveTo>
                    <a:pt x="2712" y="401"/>
                  </a:moveTo>
                  <a:cubicBezTo>
                    <a:pt x="2705" y="401"/>
                    <a:pt x="2700" y="405"/>
                    <a:pt x="2700" y="411"/>
                  </a:cubicBezTo>
                  <a:cubicBezTo>
                    <a:pt x="2701" y="417"/>
                    <a:pt x="2706" y="421"/>
                    <a:pt x="2713" y="421"/>
                  </a:cubicBezTo>
                  <a:cubicBezTo>
                    <a:pt x="2720" y="421"/>
                    <a:pt x="2725" y="417"/>
                    <a:pt x="2724" y="411"/>
                  </a:cubicBezTo>
                  <a:cubicBezTo>
                    <a:pt x="2724" y="405"/>
                    <a:pt x="2718" y="401"/>
                    <a:pt x="2712" y="401"/>
                  </a:cubicBezTo>
                  <a:cubicBezTo>
                    <a:pt x="2712" y="401"/>
                    <a:pt x="2712" y="401"/>
                    <a:pt x="2712" y="401"/>
                  </a:cubicBezTo>
                  <a:moveTo>
                    <a:pt x="2540" y="401"/>
                  </a:moveTo>
                  <a:cubicBezTo>
                    <a:pt x="2533" y="401"/>
                    <a:pt x="2528" y="405"/>
                    <a:pt x="2528" y="411"/>
                  </a:cubicBezTo>
                  <a:cubicBezTo>
                    <a:pt x="2528" y="417"/>
                    <a:pt x="2534" y="421"/>
                    <a:pt x="2540" y="421"/>
                  </a:cubicBezTo>
                  <a:cubicBezTo>
                    <a:pt x="2547" y="421"/>
                    <a:pt x="2552" y="416"/>
                    <a:pt x="2552" y="411"/>
                  </a:cubicBezTo>
                  <a:cubicBezTo>
                    <a:pt x="2552" y="405"/>
                    <a:pt x="2547" y="401"/>
                    <a:pt x="2540" y="401"/>
                  </a:cubicBezTo>
                  <a:cubicBezTo>
                    <a:pt x="2540" y="401"/>
                    <a:pt x="2540" y="401"/>
                    <a:pt x="2540" y="401"/>
                  </a:cubicBezTo>
                  <a:moveTo>
                    <a:pt x="2746" y="401"/>
                  </a:moveTo>
                  <a:cubicBezTo>
                    <a:pt x="2739" y="401"/>
                    <a:pt x="2734" y="405"/>
                    <a:pt x="2735" y="411"/>
                  </a:cubicBezTo>
                  <a:cubicBezTo>
                    <a:pt x="2735" y="416"/>
                    <a:pt x="2741" y="421"/>
                    <a:pt x="2748" y="421"/>
                  </a:cubicBezTo>
                  <a:cubicBezTo>
                    <a:pt x="2754" y="421"/>
                    <a:pt x="2759" y="416"/>
                    <a:pt x="2759" y="411"/>
                  </a:cubicBezTo>
                  <a:cubicBezTo>
                    <a:pt x="2758" y="405"/>
                    <a:pt x="2753" y="401"/>
                    <a:pt x="2746" y="401"/>
                  </a:cubicBezTo>
                  <a:cubicBezTo>
                    <a:pt x="2746" y="401"/>
                    <a:pt x="2746" y="401"/>
                    <a:pt x="2746" y="401"/>
                  </a:cubicBezTo>
                  <a:moveTo>
                    <a:pt x="2781" y="400"/>
                  </a:moveTo>
                  <a:cubicBezTo>
                    <a:pt x="2774" y="400"/>
                    <a:pt x="2769" y="405"/>
                    <a:pt x="2770" y="411"/>
                  </a:cubicBezTo>
                  <a:cubicBezTo>
                    <a:pt x="2770" y="416"/>
                    <a:pt x="2776" y="421"/>
                    <a:pt x="2783" y="421"/>
                  </a:cubicBezTo>
                  <a:cubicBezTo>
                    <a:pt x="2789" y="421"/>
                    <a:pt x="2794" y="416"/>
                    <a:pt x="2794" y="410"/>
                  </a:cubicBezTo>
                  <a:cubicBezTo>
                    <a:pt x="2793" y="405"/>
                    <a:pt x="2787" y="400"/>
                    <a:pt x="2781" y="400"/>
                  </a:cubicBezTo>
                  <a:cubicBezTo>
                    <a:pt x="2781" y="400"/>
                    <a:pt x="2781" y="400"/>
                    <a:pt x="2781" y="400"/>
                  </a:cubicBezTo>
                  <a:moveTo>
                    <a:pt x="2815" y="400"/>
                  </a:moveTo>
                  <a:cubicBezTo>
                    <a:pt x="2808" y="400"/>
                    <a:pt x="2803" y="405"/>
                    <a:pt x="2804" y="410"/>
                  </a:cubicBezTo>
                  <a:cubicBezTo>
                    <a:pt x="2804" y="416"/>
                    <a:pt x="2810" y="421"/>
                    <a:pt x="2817" y="421"/>
                  </a:cubicBezTo>
                  <a:cubicBezTo>
                    <a:pt x="2824" y="420"/>
                    <a:pt x="2828" y="416"/>
                    <a:pt x="2828" y="410"/>
                  </a:cubicBezTo>
                  <a:cubicBezTo>
                    <a:pt x="2827" y="405"/>
                    <a:pt x="2821" y="400"/>
                    <a:pt x="2815" y="400"/>
                  </a:cubicBezTo>
                  <a:cubicBezTo>
                    <a:pt x="2815" y="400"/>
                    <a:pt x="2815" y="400"/>
                    <a:pt x="2815" y="400"/>
                  </a:cubicBezTo>
                  <a:moveTo>
                    <a:pt x="2849" y="400"/>
                  </a:moveTo>
                  <a:cubicBezTo>
                    <a:pt x="2842" y="400"/>
                    <a:pt x="2837" y="404"/>
                    <a:pt x="2838" y="410"/>
                  </a:cubicBezTo>
                  <a:cubicBezTo>
                    <a:pt x="2839" y="416"/>
                    <a:pt x="2845" y="420"/>
                    <a:pt x="2851" y="420"/>
                  </a:cubicBezTo>
                  <a:cubicBezTo>
                    <a:pt x="2858" y="420"/>
                    <a:pt x="2863" y="416"/>
                    <a:pt x="2862" y="410"/>
                  </a:cubicBezTo>
                  <a:cubicBezTo>
                    <a:pt x="2861" y="404"/>
                    <a:pt x="2856" y="400"/>
                    <a:pt x="2849" y="400"/>
                  </a:cubicBezTo>
                  <a:cubicBezTo>
                    <a:pt x="2849" y="400"/>
                    <a:pt x="2849" y="400"/>
                    <a:pt x="2849" y="400"/>
                  </a:cubicBezTo>
                  <a:moveTo>
                    <a:pt x="2883" y="400"/>
                  </a:moveTo>
                  <a:cubicBezTo>
                    <a:pt x="2876" y="400"/>
                    <a:pt x="2872" y="404"/>
                    <a:pt x="2872" y="410"/>
                  </a:cubicBezTo>
                  <a:cubicBezTo>
                    <a:pt x="2873" y="416"/>
                    <a:pt x="2879" y="420"/>
                    <a:pt x="2886" y="420"/>
                  </a:cubicBezTo>
                  <a:cubicBezTo>
                    <a:pt x="2892" y="420"/>
                    <a:pt x="2897" y="415"/>
                    <a:pt x="2896" y="410"/>
                  </a:cubicBezTo>
                  <a:cubicBezTo>
                    <a:pt x="2896" y="404"/>
                    <a:pt x="2890" y="400"/>
                    <a:pt x="2883" y="400"/>
                  </a:cubicBezTo>
                  <a:cubicBezTo>
                    <a:pt x="2883" y="400"/>
                    <a:pt x="2883" y="400"/>
                    <a:pt x="2883" y="400"/>
                  </a:cubicBezTo>
                  <a:moveTo>
                    <a:pt x="2917" y="399"/>
                  </a:moveTo>
                  <a:cubicBezTo>
                    <a:pt x="2911" y="399"/>
                    <a:pt x="2906" y="404"/>
                    <a:pt x="2907" y="410"/>
                  </a:cubicBezTo>
                  <a:cubicBezTo>
                    <a:pt x="2908" y="415"/>
                    <a:pt x="2914" y="420"/>
                    <a:pt x="2920" y="420"/>
                  </a:cubicBezTo>
                  <a:cubicBezTo>
                    <a:pt x="2927" y="420"/>
                    <a:pt x="2932" y="415"/>
                    <a:pt x="2931" y="409"/>
                  </a:cubicBezTo>
                  <a:cubicBezTo>
                    <a:pt x="2930" y="404"/>
                    <a:pt x="2924" y="399"/>
                    <a:pt x="2917" y="399"/>
                  </a:cubicBezTo>
                  <a:cubicBezTo>
                    <a:pt x="2917" y="399"/>
                    <a:pt x="2917" y="399"/>
                    <a:pt x="2917" y="399"/>
                  </a:cubicBezTo>
                  <a:moveTo>
                    <a:pt x="2952" y="399"/>
                  </a:moveTo>
                  <a:cubicBezTo>
                    <a:pt x="2945" y="399"/>
                    <a:pt x="2941" y="404"/>
                    <a:pt x="2942" y="409"/>
                  </a:cubicBezTo>
                  <a:cubicBezTo>
                    <a:pt x="2942" y="415"/>
                    <a:pt x="2949" y="420"/>
                    <a:pt x="2955" y="420"/>
                  </a:cubicBezTo>
                  <a:cubicBezTo>
                    <a:pt x="2962" y="419"/>
                    <a:pt x="2967" y="415"/>
                    <a:pt x="2966" y="409"/>
                  </a:cubicBezTo>
                  <a:cubicBezTo>
                    <a:pt x="2965" y="404"/>
                    <a:pt x="2959" y="399"/>
                    <a:pt x="2952" y="399"/>
                  </a:cubicBezTo>
                  <a:cubicBezTo>
                    <a:pt x="2952" y="399"/>
                    <a:pt x="2952" y="399"/>
                    <a:pt x="2952" y="399"/>
                  </a:cubicBezTo>
                  <a:moveTo>
                    <a:pt x="2985" y="399"/>
                  </a:moveTo>
                  <a:cubicBezTo>
                    <a:pt x="2978" y="399"/>
                    <a:pt x="2974" y="403"/>
                    <a:pt x="2975" y="409"/>
                  </a:cubicBezTo>
                  <a:cubicBezTo>
                    <a:pt x="2976" y="415"/>
                    <a:pt x="2982" y="419"/>
                    <a:pt x="2989" y="419"/>
                  </a:cubicBezTo>
                  <a:cubicBezTo>
                    <a:pt x="2995" y="419"/>
                    <a:pt x="3000" y="415"/>
                    <a:pt x="2999" y="409"/>
                  </a:cubicBezTo>
                  <a:cubicBezTo>
                    <a:pt x="2998" y="403"/>
                    <a:pt x="2992" y="399"/>
                    <a:pt x="2985" y="399"/>
                  </a:cubicBezTo>
                  <a:cubicBezTo>
                    <a:pt x="2985" y="399"/>
                    <a:pt x="2985" y="399"/>
                    <a:pt x="2985" y="399"/>
                  </a:cubicBezTo>
                  <a:moveTo>
                    <a:pt x="3019" y="399"/>
                  </a:moveTo>
                  <a:cubicBezTo>
                    <a:pt x="3012" y="399"/>
                    <a:pt x="3008" y="403"/>
                    <a:pt x="3009" y="409"/>
                  </a:cubicBezTo>
                  <a:cubicBezTo>
                    <a:pt x="3010" y="415"/>
                    <a:pt x="3016" y="419"/>
                    <a:pt x="3023" y="419"/>
                  </a:cubicBezTo>
                  <a:cubicBezTo>
                    <a:pt x="3030" y="419"/>
                    <a:pt x="3034" y="414"/>
                    <a:pt x="3033" y="409"/>
                  </a:cubicBezTo>
                  <a:cubicBezTo>
                    <a:pt x="3032" y="403"/>
                    <a:pt x="3026" y="399"/>
                    <a:pt x="3019" y="399"/>
                  </a:cubicBezTo>
                  <a:cubicBezTo>
                    <a:pt x="3019" y="399"/>
                    <a:pt x="3019" y="399"/>
                    <a:pt x="3019" y="399"/>
                  </a:cubicBezTo>
                  <a:moveTo>
                    <a:pt x="3053" y="398"/>
                  </a:moveTo>
                  <a:cubicBezTo>
                    <a:pt x="3046" y="398"/>
                    <a:pt x="3042" y="403"/>
                    <a:pt x="3043" y="409"/>
                  </a:cubicBezTo>
                  <a:cubicBezTo>
                    <a:pt x="3044" y="414"/>
                    <a:pt x="3050" y="419"/>
                    <a:pt x="3057" y="419"/>
                  </a:cubicBezTo>
                  <a:cubicBezTo>
                    <a:pt x="3064" y="419"/>
                    <a:pt x="3068" y="414"/>
                    <a:pt x="3067" y="408"/>
                  </a:cubicBezTo>
                  <a:cubicBezTo>
                    <a:pt x="3066" y="403"/>
                    <a:pt x="3059" y="398"/>
                    <a:pt x="3053" y="398"/>
                  </a:cubicBezTo>
                  <a:cubicBezTo>
                    <a:pt x="3053" y="398"/>
                    <a:pt x="3053" y="398"/>
                    <a:pt x="3053" y="398"/>
                  </a:cubicBezTo>
                  <a:moveTo>
                    <a:pt x="3087" y="398"/>
                  </a:moveTo>
                  <a:cubicBezTo>
                    <a:pt x="3080" y="398"/>
                    <a:pt x="3076" y="403"/>
                    <a:pt x="3077" y="408"/>
                  </a:cubicBezTo>
                  <a:cubicBezTo>
                    <a:pt x="3078" y="414"/>
                    <a:pt x="3085" y="419"/>
                    <a:pt x="3091" y="419"/>
                  </a:cubicBezTo>
                  <a:cubicBezTo>
                    <a:pt x="3098" y="419"/>
                    <a:pt x="3102" y="414"/>
                    <a:pt x="3101" y="408"/>
                  </a:cubicBezTo>
                  <a:cubicBezTo>
                    <a:pt x="3100" y="403"/>
                    <a:pt x="3093" y="398"/>
                    <a:pt x="3087" y="398"/>
                  </a:cubicBezTo>
                  <a:cubicBezTo>
                    <a:pt x="3087" y="398"/>
                    <a:pt x="3087" y="398"/>
                    <a:pt x="3087" y="398"/>
                  </a:cubicBezTo>
                  <a:moveTo>
                    <a:pt x="3121" y="398"/>
                  </a:moveTo>
                  <a:cubicBezTo>
                    <a:pt x="3114" y="398"/>
                    <a:pt x="3110" y="402"/>
                    <a:pt x="3111" y="408"/>
                  </a:cubicBezTo>
                  <a:cubicBezTo>
                    <a:pt x="3113" y="414"/>
                    <a:pt x="3119" y="418"/>
                    <a:pt x="3126" y="418"/>
                  </a:cubicBezTo>
                  <a:cubicBezTo>
                    <a:pt x="3132" y="418"/>
                    <a:pt x="3137" y="414"/>
                    <a:pt x="3135" y="408"/>
                  </a:cubicBezTo>
                  <a:cubicBezTo>
                    <a:pt x="3134" y="402"/>
                    <a:pt x="3128" y="398"/>
                    <a:pt x="3121" y="398"/>
                  </a:cubicBezTo>
                  <a:cubicBezTo>
                    <a:pt x="3121" y="398"/>
                    <a:pt x="3121" y="398"/>
                    <a:pt x="3121" y="398"/>
                  </a:cubicBezTo>
                  <a:moveTo>
                    <a:pt x="3362" y="398"/>
                  </a:moveTo>
                  <a:cubicBezTo>
                    <a:pt x="3356" y="398"/>
                    <a:pt x="3352" y="402"/>
                    <a:pt x="3354" y="408"/>
                  </a:cubicBezTo>
                  <a:cubicBezTo>
                    <a:pt x="3355" y="414"/>
                    <a:pt x="3362" y="418"/>
                    <a:pt x="3369" y="418"/>
                  </a:cubicBezTo>
                  <a:cubicBezTo>
                    <a:pt x="3376" y="418"/>
                    <a:pt x="3379" y="414"/>
                    <a:pt x="3378" y="408"/>
                  </a:cubicBezTo>
                  <a:cubicBezTo>
                    <a:pt x="3376" y="402"/>
                    <a:pt x="3369" y="398"/>
                    <a:pt x="3362" y="398"/>
                  </a:cubicBezTo>
                  <a:cubicBezTo>
                    <a:pt x="3362" y="398"/>
                    <a:pt x="3362" y="398"/>
                    <a:pt x="3362" y="398"/>
                  </a:cubicBezTo>
                  <a:moveTo>
                    <a:pt x="3156" y="398"/>
                  </a:moveTo>
                  <a:cubicBezTo>
                    <a:pt x="3149" y="398"/>
                    <a:pt x="3145" y="402"/>
                    <a:pt x="3146" y="408"/>
                  </a:cubicBezTo>
                  <a:cubicBezTo>
                    <a:pt x="3147" y="414"/>
                    <a:pt x="3154" y="418"/>
                    <a:pt x="3161" y="418"/>
                  </a:cubicBezTo>
                  <a:cubicBezTo>
                    <a:pt x="3167" y="418"/>
                    <a:pt x="3172" y="413"/>
                    <a:pt x="3170" y="408"/>
                  </a:cubicBezTo>
                  <a:cubicBezTo>
                    <a:pt x="3169" y="402"/>
                    <a:pt x="3162" y="398"/>
                    <a:pt x="3156" y="398"/>
                  </a:cubicBezTo>
                  <a:cubicBezTo>
                    <a:pt x="3156" y="398"/>
                    <a:pt x="3156" y="398"/>
                    <a:pt x="3156" y="398"/>
                  </a:cubicBezTo>
                  <a:moveTo>
                    <a:pt x="3396" y="397"/>
                  </a:moveTo>
                  <a:cubicBezTo>
                    <a:pt x="3390" y="398"/>
                    <a:pt x="3386" y="402"/>
                    <a:pt x="3387" y="408"/>
                  </a:cubicBezTo>
                  <a:cubicBezTo>
                    <a:pt x="3389" y="413"/>
                    <a:pt x="3396" y="418"/>
                    <a:pt x="3403" y="418"/>
                  </a:cubicBezTo>
                  <a:cubicBezTo>
                    <a:pt x="3410" y="418"/>
                    <a:pt x="3413" y="413"/>
                    <a:pt x="3412" y="408"/>
                  </a:cubicBezTo>
                  <a:cubicBezTo>
                    <a:pt x="3410" y="402"/>
                    <a:pt x="3403" y="397"/>
                    <a:pt x="3396" y="397"/>
                  </a:cubicBezTo>
                  <a:cubicBezTo>
                    <a:pt x="3396" y="397"/>
                    <a:pt x="3396" y="397"/>
                    <a:pt x="3396" y="397"/>
                  </a:cubicBezTo>
                  <a:moveTo>
                    <a:pt x="3190" y="397"/>
                  </a:moveTo>
                  <a:cubicBezTo>
                    <a:pt x="3183" y="397"/>
                    <a:pt x="3179" y="402"/>
                    <a:pt x="3180" y="408"/>
                  </a:cubicBezTo>
                  <a:cubicBezTo>
                    <a:pt x="3182" y="413"/>
                    <a:pt x="3188" y="418"/>
                    <a:pt x="3195" y="418"/>
                  </a:cubicBezTo>
                  <a:cubicBezTo>
                    <a:pt x="3202" y="418"/>
                    <a:pt x="3206" y="413"/>
                    <a:pt x="3204" y="407"/>
                  </a:cubicBezTo>
                  <a:cubicBezTo>
                    <a:pt x="3203" y="402"/>
                    <a:pt x="3196" y="397"/>
                    <a:pt x="3190" y="397"/>
                  </a:cubicBezTo>
                  <a:cubicBezTo>
                    <a:pt x="3190" y="397"/>
                    <a:pt x="3190" y="397"/>
                    <a:pt x="3190" y="397"/>
                  </a:cubicBezTo>
                  <a:moveTo>
                    <a:pt x="3430" y="397"/>
                  </a:moveTo>
                  <a:cubicBezTo>
                    <a:pt x="3424" y="397"/>
                    <a:pt x="3420" y="402"/>
                    <a:pt x="3422" y="408"/>
                  </a:cubicBezTo>
                  <a:cubicBezTo>
                    <a:pt x="3424" y="413"/>
                    <a:pt x="3430" y="418"/>
                    <a:pt x="3437" y="418"/>
                  </a:cubicBezTo>
                  <a:cubicBezTo>
                    <a:pt x="3444" y="418"/>
                    <a:pt x="3448" y="413"/>
                    <a:pt x="3446" y="407"/>
                  </a:cubicBezTo>
                  <a:cubicBezTo>
                    <a:pt x="3444" y="402"/>
                    <a:pt x="3437" y="397"/>
                    <a:pt x="3430" y="397"/>
                  </a:cubicBezTo>
                  <a:cubicBezTo>
                    <a:pt x="3430" y="397"/>
                    <a:pt x="3430" y="397"/>
                    <a:pt x="3430" y="397"/>
                  </a:cubicBezTo>
                  <a:moveTo>
                    <a:pt x="3224" y="397"/>
                  </a:moveTo>
                  <a:cubicBezTo>
                    <a:pt x="3217" y="397"/>
                    <a:pt x="3213" y="402"/>
                    <a:pt x="3215" y="407"/>
                  </a:cubicBezTo>
                  <a:cubicBezTo>
                    <a:pt x="3216" y="413"/>
                    <a:pt x="3223" y="418"/>
                    <a:pt x="3229" y="418"/>
                  </a:cubicBezTo>
                  <a:cubicBezTo>
                    <a:pt x="3236" y="418"/>
                    <a:pt x="3240" y="413"/>
                    <a:pt x="3239" y="407"/>
                  </a:cubicBezTo>
                  <a:cubicBezTo>
                    <a:pt x="3237" y="402"/>
                    <a:pt x="3231" y="397"/>
                    <a:pt x="3224" y="397"/>
                  </a:cubicBezTo>
                  <a:cubicBezTo>
                    <a:pt x="3224" y="397"/>
                    <a:pt x="3224" y="397"/>
                    <a:pt x="3224" y="397"/>
                  </a:cubicBezTo>
                  <a:moveTo>
                    <a:pt x="3464" y="397"/>
                  </a:moveTo>
                  <a:cubicBezTo>
                    <a:pt x="3458" y="397"/>
                    <a:pt x="3454" y="402"/>
                    <a:pt x="3456" y="407"/>
                  </a:cubicBezTo>
                  <a:cubicBezTo>
                    <a:pt x="3458" y="413"/>
                    <a:pt x="3465" y="418"/>
                    <a:pt x="3472" y="418"/>
                  </a:cubicBezTo>
                  <a:cubicBezTo>
                    <a:pt x="3478" y="417"/>
                    <a:pt x="3482" y="413"/>
                    <a:pt x="3480" y="407"/>
                  </a:cubicBezTo>
                  <a:cubicBezTo>
                    <a:pt x="3478" y="402"/>
                    <a:pt x="3471" y="397"/>
                    <a:pt x="3465" y="397"/>
                  </a:cubicBezTo>
                  <a:cubicBezTo>
                    <a:pt x="3464" y="397"/>
                    <a:pt x="3464" y="397"/>
                    <a:pt x="3464" y="397"/>
                  </a:cubicBezTo>
                  <a:moveTo>
                    <a:pt x="3258" y="397"/>
                  </a:moveTo>
                  <a:cubicBezTo>
                    <a:pt x="3251" y="397"/>
                    <a:pt x="3247" y="401"/>
                    <a:pt x="3249" y="407"/>
                  </a:cubicBezTo>
                  <a:cubicBezTo>
                    <a:pt x="3250" y="413"/>
                    <a:pt x="3257" y="417"/>
                    <a:pt x="3264" y="417"/>
                  </a:cubicBezTo>
                  <a:cubicBezTo>
                    <a:pt x="3270" y="417"/>
                    <a:pt x="3274" y="413"/>
                    <a:pt x="3273" y="407"/>
                  </a:cubicBezTo>
                  <a:cubicBezTo>
                    <a:pt x="3271" y="401"/>
                    <a:pt x="3265" y="397"/>
                    <a:pt x="3258" y="397"/>
                  </a:cubicBezTo>
                  <a:cubicBezTo>
                    <a:pt x="3258" y="397"/>
                    <a:pt x="3258" y="397"/>
                    <a:pt x="3258" y="397"/>
                  </a:cubicBezTo>
                  <a:moveTo>
                    <a:pt x="3499" y="397"/>
                  </a:moveTo>
                  <a:cubicBezTo>
                    <a:pt x="3492" y="397"/>
                    <a:pt x="3489" y="401"/>
                    <a:pt x="3491" y="407"/>
                  </a:cubicBezTo>
                  <a:cubicBezTo>
                    <a:pt x="3493" y="413"/>
                    <a:pt x="3500" y="417"/>
                    <a:pt x="3507" y="417"/>
                  </a:cubicBezTo>
                  <a:cubicBezTo>
                    <a:pt x="3513" y="417"/>
                    <a:pt x="3517" y="413"/>
                    <a:pt x="3515" y="407"/>
                  </a:cubicBezTo>
                  <a:cubicBezTo>
                    <a:pt x="3513" y="401"/>
                    <a:pt x="3506" y="397"/>
                    <a:pt x="3499" y="397"/>
                  </a:cubicBezTo>
                  <a:cubicBezTo>
                    <a:pt x="3499" y="397"/>
                    <a:pt x="3499" y="397"/>
                    <a:pt x="3499" y="397"/>
                  </a:cubicBezTo>
                  <a:moveTo>
                    <a:pt x="3292" y="397"/>
                  </a:moveTo>
                  <a:cubicBezTo>
                    <a:pt x="3286" y="397"/>
                    <a:pt x="3282" y="401"/>
                    <a:pt x="3283" y="407"/>
                  </a:cubicBezTo>
                  <a:cubicBezTo>
                    <a:pt x="3285" y="413"/>
                    <a:pt x="3292" y="417"/>
                    <a:pt x="3298" y="417"/>
                  </a:cubicBezTo>
                  <a:cubicBezTo>
                    <a:pt x="3305" y="417"/>
                    <a:pt x="3309" y="412"/>
                    <a:pt x="3307" y="407"/>
                  </a:cubicBezTo>
                  <a:cubicBezTo>
                    <a:pt x="3306" y="401"/>
                    <a:pt x="3299" y="397"/>
                    <a:pt x="3292" y="397"/>
                  </a:cubicBezTo>
                  <a:cubicBezTo>
                    <a:pt x="3292" y="397"/>
                    <a:pt x="3292" y="397"/>
                    <a:pt x="3292" y="397"/>
                  </a:cubicBezTo>
                  <a:moveTo>
                    <a:pt x="3533" y="396"/>
                  </a:moveTo>
                  <a:cubicBezTo>
                    <a:pt x="3526" y="397"/>
                    <a:pt x="3523" y="401"/>
                    <a:pt x="3525" y="407"/>
                  </a:cubicBezTo>
                  <a:cubicBezTo>
                    <a:pt x="3527" y="413"/>
                    <a:pt x="3534" y="417"/>
                    <a:pt x="3541" y="417"/>
                  </a:cubicBezTo>
                  <a:cubicBezTo>
                    <a:pt x="3547" y="417"/>
                    <a:pt x="3551" y="412"/>
                    <a:pt x="3549" y="407"/>
                  </a:cubicBezTo>
                  <a:cubicBezTo>
                    <a:pt x="3547" y="401"/>
                    <a:pt x="3540" y="396"/>
                    <a:pt x="3533" y="396"/>
                  </a:cubicBezTo>
                  <a:cubicBezTo>
                    <a:pt x="3533" y="396"/>
                    <a:pt x="3533" y="396"/>
                    <a:pt x="3533" y="396"/>
                  </a:cubicBezTo>
                  <a:moveTo>
                    <a:pt x="3327" y="396"/>
                  </a:moveTo>
                  <a:cubicBezTo>
                    <a:pt x="3320" y="396"/>
                    <a:pt x="3316" y="401"/>
                    <a:pt x="3318" y="407"/>
                  </a:cubicBezTo>
                  <a:cubicBezTo>
                    <a:pt x="3320" y="412"/>
                    <a:pt x="3326" y="417"/>
                    <a:pt x="3333" y="417"/>
                  </a:cubicBezTo>
                  <a:cubicBezTo>
                    <a:pt x="3340" y="417"/>
                    <a:pt x="3344" y="412"/>
                    <a:pt x="3342" y="406"/>
                  </a:cubicBezTo>
                  <a:cubicBezTo>
                    <a:pt x="3340" y="401"/>
                    <a:pt x="3333" y="396"/>
                    <a:pt x="3327" y="396"/>
                  </a:cubicBezTo>
                  <a:cubicBezTo>
                    <a:pt x="3327" y="396"/>
                    <a:pt x="3327" y="396"/>
                    <a:pt x="3327" y="396"/>
                  </a:cubicBezTo>
                  <a:moveTo>
                    <a:pt x="3567" y="395"/>
                  </a:moveTo>
                  <a:cubicBezTo>
                    <a:pt x="3561" y="395"/>
                    <a:pt x="3557" y="400"/>
                    <a:pt x="3559" y="406"/>
                  </a:cubicBezTo>
                  <a:cubicBezTo>
                    <a:pt x="3561" y="411"/>
                    <a:pt x="3569" y="416"/>
                    <a:pt x="3575" y="416"/>
                  </a:cubicBezTo>
                  <a:cubicBezTo>
                    <a:pt x="3582" y="416"/>
                    <a:pt x="3586" y="411"/>
                    <a:pt x="3583" y="406"/>
                  </a:cubicBezTo>
                  <a:cubicBezTo>
                    <a:pt x="3581" y="400"/>
                    <a:pt x="3574" y="395"/>
                    <a:pt x="3567" y="395"/>
                  </a:cubicBezTo>
                  <a:cubicBezTo>
                    <a:pt x="3567" y="395"/>
                    <a:pt x="3567" y="395"/>
                    <a:pt x="3567" y="395"/>
                  </a:cubicBezTo>
                  <a:moveTo>
                    <a:pt x="3601" y="395"/>
                  </a:moveTo>
                  <a:cubicBezTo>
                    <a:pt x="3595" y="395"/>
                    <a:pt x="3591" y="400"/>
                    <a:pt x="3594" y="406"/>
                  </a:cubicBezTo>
                  <a:cubicBezTo>
                    <a:pt x="3596" y="411"/>
                    <a:pt x="3603" y="416"/>
                    <a:pt x="3610" y="416"/>
                  </a:cubicBezTo>
                  <a:cubicBezTo>
                    <a:pt x="3616" y="416"/>
                    <a:pt x="3620" y="411"/>
                    <a:pt x="3618" y="405"/>
                  </a:cubicBezTo>
                  <a:cubicBezTo>
                    <a:pt x="3615" y="400"/>
                    <a:pt x="3608" y="395"/>
                    <a:pt x="3602" y="395"/>
                  </a:cubicBezTo>
                  <a:cubicBezTo>
                    <a:pt x="3602" y="395"/>
                    <a:pt x="3601" y="395"/>
                    <a:pt x="3601" y="395"/>
                  </a:cubicBezTo>
                  <a:moveTo>
                    <a:pt x="3635" y="395"/>
                  </a:moveTo>
                  <a:cubicBezTo>
                    <a:pt x="3629" y="395"/>
                    <a:pt x="3625" y="400"/>
                    <a:pt x="3628" y="405"/>
                  </a:cubicBezTo>
                  <a:cubicBezTo>
                    <a:pt x="3630" y="411"/>
                    <a:pt x="3637" y="416"/>
                    <a:pt x="3644" y="415"/>
                  </a:cubicBezTo>
                  <a:cubicBezTo>
                    <a:pt x="3651" y="415"/>
                    <a:pt x="3654" y="411"/>
                    <a:pt x="3652" y="405"/>
                  </a:cubicBezTo>
                  <a:cubicBezTo>
                    <a:pt x="3649" y="399"/>
                    <a:pt x="3642" y="395"/>
                    <a:pt x="3636" y="395"/>
                  </a:cubicBezTo>
                  <a:cubicBezTo>
                    <a:pt x="3636" y="395"/>
                    <a:pt x="3635" y="395"/>
                    <a:pt x="3635" y="395"/>
                  </a:cubicBezTo>
                  <a:moveTo>
                    <a:pt x="3670" y="395"/>
                  </a:moveTo>
                  <a:cubicBezTo>
                    <a:pt x="3664" y="395"/>
                    <a:pt x="3660" y="399"/>
                    <a:pt x="3663" y="405"/>
                  </a:cubicBezTo>
                  <a:cubicBezTo>
                    <a:pt x="3665" y="411"/>
                    <a:pt x="3672" y="415"/>
                    <a:pt x="3679" y="415"/>
                  </a:cubicBezTo>
                  <a:cubicBezTo>
                    <a:pt x="3686" y="415"/>
                    <a:pt x="3689" y="411"/>
                    <a:pt x="3687" y="405"/>
                  </a:cubicBezTo>
                  <a:cubicBezTo>
                    <a:pt x="3684" y="399"/>
                    <a:pt x="3677" y="395"/>
                    <a:pt x="3670" y="395"/>
                  </a:cubicBezTo>
                  <a:cubicBezTo>
                    <a:pt x="3670" y="395"/>
                    <a:pt x="3670" y="395"/>
                    <a:pt x="3670" y="395"/>
                  </a:cubicBezTo>
                  <a:moveTo>
                    <a:pt x="3704" y="394"/>
                  </a:moveTo>
                  <a:cubicBezTo>
                    <a:pt x="3698" y="394"/>
                    <a:pt x="3695" y="399"/>
                    <a:pt x="3697" y="405"/>
                  </a:cubicBezTo>
                  <a:cubicBezTo>
                    <a:pt x="3700" y="410"/>
                    <a:pt x="3707" y="415"/>
                    <a:pt x="3714" y="415"/>
                  </a:cubicBezTo>
                  <a:cubicBezTo>
                    <a:pt x="3720" y="415"/>
                    <a:pt x="3724" y="410"/>
                    <a:pt x="3721" y="405"/>
                  </a:cubicBezTo>
                  <a:cubicBezTo>
                    <a:pt x="3719" y="399"/>
                    <a:pt x="3711" y="394"/>
                    <a:pt x="3705" y="394"/>
                  </a:cubicBezTo>
                  <a:cubicBezTo>
                    <a:pt x="3705" y="394"/>
                    <a:pt x="3705" y="394"/>
                    <a:pt x="3704" y="394"/>
                  </a:cubicBezTo>
                  <a:moveTo>
                    <a:pt x="3740" y="394"/>
                  </a:moveTo>
                  <a:cubicBezTo>
                    <a:pt x="3733" y="394"/>
                    <a:pt x="3730" y="399"/>
                    <a:pt x="3732" y="405"/>
                  </a:cubicBezTo>
                  <a:cubicBezTo>
                    <a:pt x="3735" y="410"/>
                    <a:pt x="3742" y="415"/>
                    <a:pt x="3749" y="415"/>
                  </a:cubicBezTo>
                  <a:cubicBezTo>
                    <a:pt x="3756" y="415"/>
                    <a:pt x="3759" y="410"/>
                    <a:pt x="3756" y="404"/>
                  </a:cubicBezTo>
                  <a:cubicBezTo>
                    <a:pt x="3754" y="399"/>
                    <a:pt x="3746" y="394"/>
                    <a:pt x="3740" y="394"/>
                  </a:cubicBezTo>
                  <a:cubicBezTo>
                    <a:pt x="3740" y="394"/>
                    <a:pt x="3740" y="394"/>
                    <a:pt x="3740" y="394"/>
                  </a:cubicBezTo>
                  <a:moveTo>
                    <a:pt x="3774" y="394"/>
                  </a:moveTo>
                  <a:cubicBezTo>
                    <a:pt x="3767" y="394"/>
                    <a:pt x="3764" y="399"/>
                    <a:pt x="3767" y="404"/>
                  </a:cubicBezTo>
                  <a:cubicBezTo>
                    <a:pt x="3769" y="410"/>
                    <a:pt x="3777" y="415"/>
                    <a:pt x="3783" y="414"/>
                  </a:cubicBezTo>
                  <a:cubicBezTo>
                    <a:pt x="3790" y="414"/>
                    <a:pt x="3793" y="410"/>
                    <a:pt x="3791" y="404"/>
                  </a:cubicBezTo>
                  <a:cubicBezTo>
                    <a:pt x="3788" y="398"/>
                    <a:pt x="3780" y="394"/>
                    <a:pt x="3774" y="394"/>
                  </a:cubicBezTo>
                  <a:cubicBezTo>
                    <a:pt x="3774" y="394"/>
                    <a:pt x="3774" y="394"/>
                    <a:pt x="3774" y="394"/>
                  </a:cubicBezTo>
                  <a:moveTo>
                    <a:pt x="3808" y="394"/>
                  </a:moveTo>
                  <a:cubicBezTo>
                    <a:pt x="3801" y="394"/>
                    <a:pt x="3798" y="398"/>
                    <a:pt x="3801" y="404"/>
                  </a:cubicBezTo>
                  <a:cubicBezTo>
                    <a:pt x="3804" y="410"/>
                    <a:pt x="3811" y="414"/>
                    <a:pt x="3818" y="414"/>
                  </a:cubicBezTo>
                  <a:cubicBezTo>
                    <a:pt x="3825" y="414"/>
                    <a:pt x="3828" y="410"/>
                    <a:pt x="3825" y="404"/>
                  </a:cubicBezTo>
                  <a:cubicBezTo>
                    <a:pt x="3822" y="398"/>
                    <a:pt x="3815" y="394"/>
                    <a:pt x="3808" y="394"/>
                  </a:cubicBezTo>
                  <a:cubicBezTo>
                    <a:pt x="3808" y="394"/>
                    <a:pt x="3808" y="394"/>
                    <a:pt x="3808" y="394"/>
                  </a:cubicBezTo>
                  <a:moveTo>
                    <a:pt x="3843" y="393"/>
                  </a:moveTo>
                  <a:cubicBezTo>
                    <a:pt x="3836" y="393"/>
                    <a:pt x="3833" y="398"/>
                    <a:pt x="3836" y="404"/>
                  </a:cubicBezTo>
                  <a:cubicBezTo>
                    <a:pt x="3838" y="409"/>
                    <a:pt x="3846" y="414"/>
                    <a:pt x="3853" y="414"/>
                  </a:cubicBezTo>
                  <a:cubicBezTo>
                    <a:pt x="3859" y="414"/>
                    <a:pt x="3862" y="409"/>
                    <a:pt x="3860" y="404"/>
                  </a:cubicBezTo>
                  <a:cubicBezTo>
                    <a:pt x="3857" y="398"/>
                    <a:pt x="3849" y="393"/>
                    <a:pt x="3843" y="393"/>
                  </a:cubicBezTo>
                  <a:cubicBezTo>
                    <a:pt x="3843" y="393"/>
                    <a:pt x="3843" y="393"/>
                    <a:pt x="3843" y="393"/>
                  </a:cubicBezTo>
                  <a:moveTo>
                    <a:pt x="3877" y="393"/>
                  </a:moveTo>
                  <a:cubicBezTo>
                    <a:pt x="3870" y="393"/>
                    <a:pt x="3867" y="398"/>
                    <a:pt x="3870" y="404"/>
                  </a:cubicBezTo>
                  <a:cubicBezTo>
                    <a:pt x="3873" y="409"/>
                    <a:pt x="3880" y="414"/>
                    <a:pt x="3887" y="414"/>
                  </a:cubicBezTo>
                  <a:cubicBezTo>
                    <a:pt x="3894" y="414"/>
                    <a:pt x="3897" y="409"/>
                    <a:pt x="3894" y="403"/>
                  </a:cubicBezTo>
                  <a:cubicBezTo>
                    <a:pt x="3891" y="398"/>
                    <a:pt x="3883" y="393"/>
                    <a:pt x="3877" y="393"/>
                  </a:cubicBezTo>
                  <a:cubicBezTo>
                    <a:pt x="3877" y="393"/>
                    <a:pt x="3877" y="393"/>
                    <a:pt x="3877" y="393"/>
                  </a:cubicBezTo>
                  <a:moveTo>
                    <a:pt x="3909" y="392"/>
                  </a:moveTo>
                  <a:cubicBezTo>
                    <a:pt x="3903" y="392"/>
                    <a:pt x="3900" y="396"/>
                    <a:pt x="3903" y="402"/>
                  </a:cubicBezTo>
                  <a:cubicBezTo>
                    <a:pt x="3906" y="408"/>
                    <a:pt x="3913" y="412"/>
                    <a:pt x="3920" y="412"/>
                  </a:cubicBezTo>
                  <a:cubicBezTo>
                    <a:pt x="3927" y="412"/>
                    <a:pt x="3930" y="407"/>
                    <a:pt x="3927" y="402"/>
                  </a:cubicBezTo>
                  <a:cubicBezTo>
                    <a:pt x="3924" y="396"/>
                    <a:pt x="3916" y="392"/>
                    <a:pt x="3910" y="392"/>
                  </a:cubicBezTo>
                  <a:cubicBezTo>
                    <a:pt x="3910" y="392"/>
                    <a:pt x="3909" y="392"/>
                    <a:pt x="3909" y="392"/>
                  </a:cubicBezTo>
                  <a:moveTo>
                    <a:pt x="3944" y="391"/>
                  </a:moveTo>
                  <a:cubicBezTo>
                    <a:pt x="3937" y="391"/>
                    <a:pt x="3934" y="396"/>
                    <a:pt x="3937" y="402"/>
                  </a:cubicBezTo>
                  <a:cubicBezTo>
                    <a:pt x="3940" y="407"/>
                    <a:pt x="3948" y="412"/>
                    <a:pt x="3955" y="412"/>
                  </a:cubicBezTo>
                  <a:cubicBezTo>
                    <a:pt x="3961" y="412"/>
                    <a:pt x="3964" y="407"/>
                    <a:pt x="3961" y="401"/>
                  </a:cubicBezTo>
                  <a:cubicBezTo>
                    <a:pt x="3958" y="396"/>
                    <a:pt x="3950" y="391"/>
                    <a:pt x="3944" y="391"/>
                  </a:cubicBezTo>
                  <a:cubicBezTo>
                    <a:pt x="3944" y="391"/>
                    <a:pt x="3944" y="391"/>
                    <a:pt x="3944" y="391"/>
                  </a:cubicBezTo>
                  <a:moveTo>
                    <a:pt x="3977" y="391"/>
                  </a:moveTo>
                  <a:cubicBezTo>
                    <a:pt x="3970" y="391"/>
                    <a:pt x="3967" y="396"/>
                    <a:pt x="3970" y="401"/>
                  </a:cubicBezTo>
                  <a:cubicBezTo>
                    <a:pt x="3973" y="407"/>
                    <a:pt x="3981" y="412"/>
                    <a:pt x="3988" y="412"/>
                  </a:cubicBezTo>
                  <a:cubicBezTo>
                    <a:pt x="3995" y="412"/>
                    <a:pt x="3998" y="407"/>
                    <a:pt x="3994" y="401"/>
                  </a:cubicBezTo>
                  <a:cubicBezTo>
                    <a:pt x="3991" y="396"/>
                    <a:pt x="3984" y="391"/>
                    <a:pt x="3977" y="391"/>
                  </a:cubicBezTo>
                  <a:cubicBezTo>
                    <a:pt x="3977" y="391"/>
                    <a:pt x="3977" y="391"/>
                    <a:pt x="3977" y="391"/>
                  </a:cubicBezTo>
                  <a:moveTo>
                    <a:pt x="4046" y="391"/>
                  </a:moveTo>
                  <a:cubicBezTo>
                    <a:pt x="4039" y="391"/>
                    <a:pt x="4036" y="395"/>
                    <a:pt x="4040" y="401"/>
                  </a:cubicBezTo>
                  <a:cubicBezTo>
                    <a:pt x="4043" y="407"/>
                    <a:pt x="4051" y="411"/>
                    <a:pt x="4057" y="411"/>
                  </a:cubicBezTo>
                  <a:cubicBezTo>
                    <a:pt x="4064" y="411"/>
                    <a:pt x="4067" y="406"/>
                    <a:pt x="4064" y="401"/>
                  </a:cubicBezTo>
                  <a:cubicBezTo>
                    <a:pt x="4060" y="395"/>
                    <a:pt x="4052" y="391"/>
                    <a:pt x="4046" y="391"/>
                  </a:cubicBezTo>
                  <a:cubicBezTo>
                    <a:pt x="4046" y="391"/>
                    <a:pt x="4046" y="391"/>
                    <a:pt x="4046" y="391"/>
                  </a:cubicBezTo>
                  <a:moveTo>
                    <a:pt x="363" y="389"/>
                  </a:moveTo>
                  <a:cubicBezTo>
                    <a:pt x="357" y="389"/>
                    <a:pt x="348" y="394"/>
                    <a:pt x="343" y="399"/>
                  </a:cubicBezTo>
                  <a:cubicBezTo>
                    <a:pt x="339" y="405"/>
                    <a:pt x="340" y="409"/>
                    <a:pt x="347" y="409"/>
                  </a:cubicBezTo>
                  <a:cubicBezTo>
                    <a:pt x="354" y="409"/>
                    <a:pt x="363" y="405"/>
                    <a:pt x="367" y="399"/>
                  </a:cubicBezTo>
                  <a:cubicBezTo>
                    <a:pt x="371" y="393"/>
                    <a:pt x="370" y="389"/>
                    <a:pt x="363" y="389"/>
                  </a:cubicBezTo>
                  <a:cubicBezTo>
                    <a:pt x="363" y="389"/>
                    <a:pt x="363" y="389"/>
                    <a:pt x="363" y="389"/>
                  </a:cubicBezTo>
                  <a:moveTo>
                    <a:pt x="397" y="389"/>
                  </a:moveTo>
                  <a:cubicBezTo>
                    <a:pt x="390" y="389"/>
                    <a:pt x="382" y="393"/>
                    <a:pt x="377" y="399"/>
                  </a:cubicBezTo>
                  <a:cubicBezTo>
                    <a:pt x="373" y="405"/>
                    <a:pt x="375" y="409"/>
                    <a:pt x="381" y="409"/>
                  </a:cubicBezTo>
                  <a:cubicBezTo>
                    <a:pt x="388" y="409"/>
                    <a:pt x="397" y="404"/>
                    <a:pt x="401" y="399"/>
                  </a:cubicBezTo>
                  <a:cubicBezTo>
                    <a:pt x="405" y="393"/>
                    <a:pt x="404" y="389"/>
                    <a:pt x="397" y="389"/>
                  </a:cubicBezTo>
                  <a:cubicBezTo>
                    <a:pt x="397" y="389"/>
                    <a:pt x="397" y="389"/>
                    <a:pt x="397" y="389"/>
                  </a:cubicBezTo>
                  <a:moveTo>
                    <a:pt x="431" y="389"/>
                  </a:moveTo>
                  <a:cubicBezTo>
                    <a:pt x="425" y="389"/>
                    <a:pt x="416" y="393"/>
                    <a:pt x="411" y="399"/>
                  </a:cubicBezTo>
                  <a:cubicBezTo>
                    <a:pt x="407" y="404"/>
                    <a:pt x="409" y="409"/>
                    <a:pt x="416" y="409"/>
                  </a:cubicBezTo>
                  <a:cubicBezTo>
                    <a:pt x="422" y="409"/>
                    <a:pt x="431" y="404"/>
                    <a:pt x="435" y="399"/>
                  </a:cubicBezTo>
                  <a:cubicBezTo>
                    <a:pt x="440" y="393"/>
                    <a:pt x="438" y="389"/>
                    <a:pt x="431" y="389"/>
                  </a:cubicBezTo>
                  <a:cubicBezTo>
                    <a:pt x="431" y="389"/>
                    <a:pt x="431" y="389"/>
                    <a:pt x="431" y="389"/>
                  </a:cubicBezTo>
                  <a:moveTo>
                    <a:pt x="465" y="388"/>
                  </a:moveTo>
                  <a:cubicBezTo>
                    <a:pt x="458" y="388"/>
                    <a:pt x="450" y="393"/>
                    <a:pt x="445" y="398"/>
                  </a:cubicBezTo>
                  <a:cubicBezTo>
                    <a:pt x="441" y="404"/>
                    <a:pt x="443" y="409"/>
                    <a:pt x="450" y="409"/>
                  </a:cubicBezTo>
                  <a:cubicBezTo>
                    <a:pt x="456" y="408"/>
                    <a:pt x="465" y="404"/>
                    <a:pt x="469" y="398"/>
                  </a:cubicBezTo>
                  <a:cubicBezTo>
                    <a:pt x="474" y="393"/>
                    <a:pt x="472" y="388"/>
                    <a:pt x="465" y="388"/>
                  </a:cubicBezTo>
                  <a:cubicBezTo>
                    <a:pt x="465" y="388"/>
                    <a:pt x="465" y="388"/>
                    <a:pt x="465" y="388"/>
                  </a:cubicBezTo>
                  <a:moveTo>
                    <a:pt x="499" y="388"/>
                  </a:moveTo>
                  <a:cubicBezTo>
                    <a:pt x="493" y="388"/>
                    <a:pt x="484" y="393"/>
                    <a:pt x="480" y="398"/>
                  </a:cubicBezTo>
                  <a:cubicBezTo>
                    <a:pt x="476" y="404"/>
                    <a:pt x="478" y="408"/>
                    <a:pt x="484" y="408"/>
                  </a:cubicBezTo>
                  <a:cubicBezTo>
                    <a:pt x="491" y="408"/>
                    <a:pt x="500" y="404"/>
                    <a:pt x="504" y="398"/>
                  </a:cubicBezTo>
                  <a:cubicBezTo>
                    <a:pt x="508" y="392"/>
                    <a:pt x="506" y="388"/>
                    <a:pt x="499" y="388"/>
                  </a:cubicBezTo>
                  <a:cubicBezTo>
                    <a:pt x="499" y="388"/>
                    <a:pt x="499" y="388"/>
                    <a:pt x="499" y="388"/>
                  </a:cubicBezTo>
                  <a:moveTo>
                    <a:pt x="534" y="388"/>
                  </a:moveTo>
                  <a:cubicBezTo>
                    <a:pt x="528" y="388"/>
                    <a:pt x="519" y="392"/>
                    <a:pt x="515" y="398"/>
                  </a:cubicBezTo>
                  <a:cubicBezTo>
                    <a:pt x="511" y="404"/>
                    <a:pt x="513" y="408"/>
                    <a:pt x="520" y="408"/>
                  </a:cubicBezTo>
                  <a:cubicBezTo>
                    <a:pt x="526" y="408"/>
                    <a:pt x="535" y="403"/>
                    <a:pt x="539" y="398"/>
                  </a:cubicBezTo>
                  <a:cubicBezTo>
                    <a:pt x="543" y="392"/>
                    <a:pt x="541" y="388"/>
                    <a:pt x="535" y="388"/>
                  </a:cubicBezTo>
                  <a:cubicBezTo>
                    <a:pt x="534" y="388"/>
                    <a:pt x="534" y="388"/>
                    <a:pt x="534" y="388"/>
                  </a:cubicBezTo>
                  <a:moveTo>
                    <a:pt x="568" y="387"/>
                  </a:moveTo>
                  <a:cubicBezTo>
                    <a:pt x="562" y="388"/>
                    <a:pt x="553" y="392"/>
                    <a:pt x="549" y="398"/>
                  </a:cubicBezTo>
                  <a:cubicBezTo>
                    <a:pt x="545" y="403"/>
                    <a:pt x="547" y="408"/>
                    <a:pt x="554" y="408"/>
                  </a:cubicBezTo>
                  <a:cubicBezTo>
                    <a:pt x="560" y="408"/>
                    <a:pt x="569" y="403"/>
                    <a:pt x="573" y="398"/>
                  </a:cubicBezTo>
                  <a:cubicBezTo>
                    <a:pt x="577" y="392"/>
                    <a:pt x="575" y="387"/>
                    <a:pt x="568" y="387"/>
                  </a:cubicBezTo>
                  <a:cubicBezTo>
                    <a:pt x="568" y="387"/>
                    <a:pt x="568" y="387"/>
                    <a:pt x="568" y="387"/>
                  </a:cubicBezTo>
                  <a:moveTo>
                    <a:pt x="602" y="387"/>
                  </a:moveTo>
                  <a:cubicBezTo>
                    <a:pt x="596" y="387"/>
                    <a:pt x="587" y="392"/>
                    <a:pt x="583" y="397"/>
                  </a:cubicBezTo>
                  <a:cubicBezTo>
                    <a:pt x="579" y="403"/>
                    <a:pt x="582" y="408"/>
                    <a:pt x="588" y="407"/>
                  </a:cubicBezTo>
                  <a:cubicBezTo>
                    <a:pt x="595" y="407"/>
                    <a:pt x="603" y="403"/>
                    <a:pt x="607" y="397"/>
                  </a:cubicBezTo>
                  <a:cubicBezTo>
                    <a:pt x="611" y="392"/>
                    <a:pt x="609" y="387"/>
                    <a:pt x="603" y="387"/>
                  </a:cubicBezTo>
                  <a:cubicBezTo>
                    <a:pt x="603" y="387"/>
                    <a:pt x="602" y="387"/>
                    <a:pt x="602" y="387"/>
                  </a:cubicBezTo>
                  <a:moveTo>
                    <a:pt x="637" y="387"/>
                  </a:moveTo>
                  <a:cubicBezTo>
                    <a:pt x="630" y="387"/>
                    <a:pt x="622" y="392"/>
                    <a:pt x="618" y="397"/>
                  </a:cubicBezTo>
                  <a:cubicBezTo>
                    <a:pt x="614" y="403"/>
                    <a:pt x="616" y="407"/>
                    <a:pt x="623" y="407"/>
                  </a:cubicBezTo>
                  <a:cubicBezTo>
                    <a:pt x="630" y="407"/>
                    <a:pt x="638" y="403"/>
                    <a:pt x="642" y="397"/>
                  </a:cubicBezTo>
                  <a:cubicBezTo>
                    <a:pt x="646" y="391"/>
                    <a:pt x="644" y="387"/>
                    <a:pt x="637" y="387"/>
                  </a:cubicBezTo>
                  <a:cubicBezTo>
                    <a:pt x="637" y="387"/>
                    <a:pt x="637" y="387"/>
                    <a:pt x="637" y="387"/>
                  </a:cubicBezTo>
                  <a:moveTo>
                    <a:pt x="671" y="387"/>
                  </a:moveTo>
                  <a:cubicBezTo>
                    <a:pt x="664" y="387"/>
                    <a:pt x="656" y="391"/>
                    <a:pt x="652" y="397"/>
                  </a:cubicBezTo>
                  <a:cubicBezTo>
                    <a:pt x="648" y="403"/>
                    <a:pt x="650" y="407"/>
                    <a:pt x="657" y="407"/>
                  </a:cubicBezTo>
                  <a:cubicBezTo>
                    <a:pt x="664" y="407"/>
                    <a:pt x="672" y="402"/>
                    <a:pt x="676" y="397"/>
                  </a:cubicBezTo>
                  <a:cubicBezTo>
                    <a:pt x="680" y="391"/>
                    <a:pt x="677" y="387"/>
                    <a:pt x="671" y="387"/>
                  </a:cubicBezTo>
                  <a:cubicBezTo>
                    <a:pt x="671" y="387"/>
                    <a:pt x="671" y="387"/>
                    <a:pt x="671" y="387"/>
                  </a:cubicBezTo>
                  <a:moveTo>
                    <a:pt x="705" y="386"/>
                  </a:moveTo>
                  <a:cubicBezTo>
                    <a:pt x="698" y="387"/>
                    <a:pt x="690" y="391"/>
                    <a:pt x="686" y="397"/>
                  </a:cubicBezTo>
                  <a:cubicBezTo>
                    <a:pt x="682" y="402"/>
                    <a:pt x="685" y="407"/>
                    <a:pt x="691" y="407"/>
                  </a:cubicBezTo>
                  <a:cubicBezTo>
                    <a:pt x="698" y="407"/>
                    <a:pt x="706" y="402"/>
                    <a:pt x="710" y="397"/>
                  </a:cubicBezTo>
                  <a:cubicBezTo>
                    <a:pt x="714" y="391"/>
                    <a:pt x="711" y="386"/>
                    <a:pt x="705" y="386"/>
                  </a:cubicBezTo>
                  <a:cubicBezTo>
                    <a:pt x="705" y="386"/>
                    <a:pt x="705" y="386"/>
                    <a:pt x="705" y="386"/>
                  </a:cubicBezTo>
                  <a:moveTo>
                    <a:pt x="739" y="386"/>
                  </a:moveTo>
                  <a:cubicBezTo>
                    <a:pt x="732" y="386"/>
                    <a:pt x="724" y="391"/>
                    <a:pt x="720" y="396"/>
                  </a:cubicBezTo>
                  <a:cubicBezTo>
                    <a:pt x="716" y="402"/>
                    <a:pt x="719" y="407"/>
                    <a:pt x="726" y="406"/>
                  </a:cubicBezTo>
                  <a:cubicBezTo>
                    <a:pt x="732" y="406"/>
                    <a:pt x="740" y="402"/>
                    <a:pt x="744" y="396"/>
                  </a:cubicBezTo>
                  <a:cubicBezTo>
                    <a:pt x="748" y="391"/>
                    <a:pt x="745" y="386"/>
                    <a:pt x="739" y="386"/>
                  </a:cubicBezTo>
                  <a:cubicBezTo>
                    <a:pt x="739" y="386"/>
                    <a:pt x="739" y="386"/>
                    <a:pt x="739" y="386"/>
                  </a:cubicBezTo>
                  <a:moveTo>
                    <a:pt x="773" y="386"/>
                  </a:moveTo>
                  <a:cubicBezTo>
                    <a:pt x="766" y="386"/>
                    <a:pt x="758" y="391"/>
                    <a:pt x="754" y="396"/>
                  </a:cubicBezTo>
                  <a:cubicBezTo>
                    <a:pt x="751" y="402"/>
                    <a:pt x="753" y="406"/>
                    <a:pt x="760" y="406"/>
                  </a:cubicBezTo>
                  <a:cubicBezTo>
                    <a:pt x="767" y="406"/>
                    <a:pt x="775" y="402"/>
                    <a:pt x="778" y="396"/>
                  </a:cubicBezTo>
                  <a:cubicBezTo>
                    <a:pt x="782" y="390"/>
                    <a:pt x="780" y="386"/>
                    <a:pt x="773" y="386"/>
                  </a:cubicBezTo>
                  <a:cubicBezTo>
                    <a:pt x="773" y="386"/>
                    <a:pt x="773" y="386"/>
                    <a:pt x="773" y="386"/>
                  </a:cubicBezTo>
                  <a:moveTo>
                    <a:pt x="807" y="386"/>
                  </a:moveTo>
                  <a:cubicBezTo>
                    <a:pt x="801" y="386"/>
                    <a:pt x="793" y="390"/>
                    <a:pt x="789" y="396"/>
                  </a:cubicBezTo>
                  <a:cubicBezTo>
                    <a:pt x="786" y="402"/>
                    <a:pt x="788" y="406"/>
                    <a:pt x="795" y="406"/>
                  </a:cubicBezTo>
                  <a:cubicBezTo>
                    <a:pt x="801" y="406"/>
                    <a:pt x="809" y="401"/>
                    <a:pt x="813" y="396"/>
                  </a:cubicBezTo>
                  <a:cubicBezTo>
                    <a:pt x="816" y="390"/>
                    <a:pt x="814" y="386"/>
                    <a:pt x="807" y="386"/>
                  </a:cubicBezTo>
                  <a:cubicBezTo>
                    <a:pt x="807" y="386"/>
                    <a:pt x="807" y="386"/>
                    <a:pt x="807" y="386"/>
                  </a:cubicBezTo>
                  <a:moveTo>
                    <a:pt x="841" y="385"/>
                  </a:moveTo>
                  <a:cubicBezTo>
                    <a:pt x="835" y="386"/>
                    <a:pt x="826" y="390"/>
                    <a:pt x="823" y="396"/>
                  </a:cubicBezTo>
                  <a:cubicBezTo>
                    <a:pt x="820" y="401"/>
                    <a:pt x="822" y="406"/>
                    <a:pt x="829" y="406"/>
                  </a:cubicBezTo>
                  <a:cubicBezTo>
                    <a:pt x="835" y="406"/>
                    <a:pt x="844" y="401"/>
                    <a:pt x="847" y="396"/>
                  </a:cubicBezTo>
                  <a:cubicBezTo>
                    <a:pt x="850" y="390"/>
                    <a:pt x="848" y="385"/>
                    <a:pt x="841" y="385"/>
                  </a:cubicBezTo>
                  <a:cubicBezTo>
                    <a:pt x="841" y="385"/>
                    <a:pt x="841" y="385"/>
                    <a:pt x="841" y="385"/>
                  </a:cubicBezTo>
                  <a:moveTo>
                    <a:pt x="873" y="385"/>
                  </a:moveTo>
                  <a:cubicBezTo>
                    <a:pt x="867" y="385"/>
                    <a:pt x="859" y="390"/>
                    <a:pt x="855" y="395"/>
                  </a:cubicBezTo>
                  <a:cubicBezTo>
                    <a:pt x="852" y="401"/>
                    <a:pt x="855" y="406"/>
                    <a:pt x="861" y="406"/>
                  </a:cubicBezTo>
                  <a:cubicBezTo>
                    <a:pt x="868" y="405"/>
                    <a:pt x="876" y="401"/>
                    <a:pt x="879" y="395"/>
                  </a:cubicBezTo>
                  <a:cubicBezTo>
                    <a:pt x="883" y="390"/>
                    <a:pt x="880" y="385"/>
                    <a:pt x="874" y="385"/>
                  </a:cubicBezTo>
                  <a:cubicBezTo>
                    <a:pt x="874" y="385"/>
                    <a:pt x="874" y="385"/>
                    <a:pt x="873" y="385"/>
                  </a:cubicBezTo>
                  <a:moveTo>
                    <a:pt x="908" y="385"/>
                  </a:moveTo>
                  <a:cubicBezTo>
                    <a:pt x="901" y="385"/>
                    <a:pt x="893" y="390"/>
                    <a:pt x="890" y="395"/>
                  </a:cubicBezTo>
                  <a:cubicBezTo>
                    <a:pt x="887" y="401"/>
                    <a:pt x="889" y="405"/>
                    <a:pt x="896" y="405"/>
                  </a:cubicBezTo>
                  <a:cubicBezTo>
                    <a:pt x="903" y="405"/>
                    <a:pt x="911" y="401"/>
                    <a:pt x="914" y="395"/>
                  </a:cubicBezTo>
                  <a:cubicBezTo>
                    <a:pt x="917" y="389"/>
                    <a:pt x="915" y="385"/>
                    <a:pt x="908" y="385"/>
                  </a:cubicBezTo>
                  <a:cubicBezTo>
                    <a:pt x="908" y="385"/>
                    <a:pt x="908" y="385"/>
                    <a:pt x="908" y="385"/>
                  </a:cubicBezTo>
                  <a:moveTo>
                    <a:pt x="942" y="385"/>
                  </a:moveTo>
                  <a:cubicBezTo>
                    <a:pt x="935" y="385"/>
                    <a:pt x="927" y="389"/>
                    <a:pt x="924" y="395"/>
                  </a:cubicBezTo>
                  <a:cubicBezTo>
                    <a:pt x="921" y="401"/>
                    <a:pt x="923" y="405"/>
                    <a:pt x="930" y="405"/>
                  </a:cubicBezTo>
                  <a:cubicBezTo>
                    <a:pt x="937" y="405"/>
                    <a:pt x="945" y="400"/>
                    <a:pt x="948" y="395"/>
                  </a:cubicBezTo>
                  <a:cubicBezTo>
                    <a:pt x="951" y="389"/>
                    <a:pt x="948" y="385"/>
                    <a:pt x="942" y="385"/>
                  </a:cubicBezTo>
                  <a:cubicBezTo>
                    <a:pt x="942" y="385"/>
                    <a:pt x="942" y="385"/>
                    <a:pt x="942" y="385"/>
                  </a:cubicBezTo>
                  <a:moveTo>
                    <a:pt x="1044" y="384"/>
                  </a:moveTo>
                  <a:cubicBezTo>
                    <a:pt x="1037" y="384"/>
                    <a:pt x="1029" y="389"/>
                    <a:pt x="1026" y="394"/>
                  </a:cubicBezTo>
                  <a:cubicBezTo>
                    <a:pt x="1023" y="400"/>
                    <a:pt x="1026" y="404"/>
                    <a:pt x="1033" y="404"/>
                  </a:cubicBezTo>
                  <a:cubicBezTo>
                    <a:pt x="1039" y="404"/>
                    <a:pt x="1047" y="400"/>
                    <a:pt x="1050" y="394"/>
                  </a:cubicBezTo>
                  <a:cubicBezTo>
                    <a:pt x="1053" y="388"/>
                    <a:pt x="1050" y="384"/>
                    <a:pt x="1044" y="384"/>
                  </a:cubicBezTo>
                  <a:cubicBezTo>
                    <a:pt x="1044" y="384"/>
                    <a:pt x="1044" y="384"/>
                    <a:pt x="1044" y="384"/>
                  </a:cubicBezTo>
                  <a:moveTo>
                    <a:pt x="1078" y="384"/>
                  </a:moveTo>
                  <a:cubicBezTo>
                    <a:pt x="1072" y="384"/>
                    <a:pt x="1064" y="388"/>
                    <a:pt x="1061" y="394"/>
                  </a:cubicBezTo>
                  <a:cubicBezTo>
                    <a:pt x="1058" y="400"/>
                    <a:pt x="1061" y="404"/>
                    <a:pt x="1068" y="404"/>
                  </a:cubicBezTo>
                  <a:cubicBezTo>
                    <a:pt x="1074" y="404"/>
                    <a:pt x="1082" y="399"/>
                    <a:pt x="1085" y="394"/>
                  </a:cubicBezTo>
                  <a:cubicBezTo>
                    <a:pt x="1088" y="388"/>
                    <a:pt x="1085" y="384"/>
                    <a:pt x="1078" y="384"/>
                  </a:cubicBezTo>
                  <a:cubicBezTo>
                    <a:pt x="1078" y="384"/>
                    <a:pt x="1078" y="384"/>
                    <a:pt x="1078" y="384"/>
                  </a:cubicBezTo>
                  <a:moveTo>
                    <a:pt x="1112" y="383"/>
                  </a:moveTo>
                  <a:cubicBezTo>
                    <a:pt x="1105" y="383"/>
                    <a:pt x="1098" y="388"/>
                    <a:pt x="1095" y="394"/>
                  </a:cubicBezTo>
                  <a:cubicBezTo>
                    <a:pt x="1092" y="399"/>
                    <a:pt x="1095" y="404"/>
                    <a:pt x="1102" y="404"/>
                  </a:cubicBezTo>
                  <a:cubicBezTo>
                    <a:pt x="1108" y="404"/>
                    <a:pt x="1116" y="399"/>
                    <a:pt x="1119" y="394"/>
                  </a:cubicBezTo>
                  <a:cubicBezTo>
                    <a:pt x="1122" y="388"/>
                    <a:pt x="1119" y="383"/>
                    <a:pt x="1112" y="383"/>
                  </a:cubicBezTo>
                  <a:cubicBezTo>
                    <a:pt x="1112" y="383"/>
                    <a:pt x="1112" y="383"/>
                    <a:pt x="1112" y="383"/>
                  </a:cubicBezTo>
                  <a:moveTo>
                    <a:pt x="1145" y="383"/>
                  </a:moveTo>
                  <a:cubicBezTo>
                    <a:pt x="1139" y="383"/>
                    <a:pt x="1131" y="388"/>
                    <a:pt x="1128" y="393"/>
                  </a:cubicBezTo>
                  <a:cubicBezTo>
                    <a:pt x="1126" y="399"/>
                    <a:pt x="1129" y="404"/>
                    <a:pt x="1135" y="404"/>
                  </a:cubicBezTo>
                  <a:cubicBezTo>
                    <a:pt x="1142" y="403"/>
                    <a:pt x="1150" y="399"/>
                    <a:pt x="1152" y="393"/>
                  </a:cubicBezTo>
                  <a:cubicBezTo>
                    <a:pt x="1155" y="388"/>
                    <a:pt x="1152" y="383"/>
                    <a:pt x="1146" y="383"/>
                  </a:cubicBezTo>
                  <a:cubicBezTo>
                    <a:pt x="1146" y="383"/>
                    <a:pt x="1145" y="383"/>
                    <a:pt x="1145" y="383"/>
                  </a:cubicBezTo>
                  <a:moveTo>
                    <a:pt x="1180" y="383"/>
                  </a:moveTo>
                  <a:cubicBezTo>
                    <a:pt x="1173" y="383"/>
                    <a:pt x="1166" y="388"/>
                    <a:pt x="1163" y="393"/>
                  </a:cubicBezTo>
                  <a:cubicBezTo>
                    <a:pt x="1160" y="399"/>
                    <a:pt x="1163" y="403"/>
                    <a:pt x="1170" y="403"/>
                  </a:cubicBezTo>
                  <a:cubicBezTo>
                    <a:pt x="1177" y="403"/>
                    <a:pt x="1184" y="399"/>
                    <a:pt x="1187" y="393"/>
                  </a:cubicBezTo>
                  <a:cubicBezTo>
                    <a:pt x="1190" y="387"/>
                    <a:pt x="1186" y="383"/>
                    <a:pt x="1180" y="383"/>
                  </a:cubicBezTo>
                  <a:cubicBezTo>
                    <a:pt x="1180" y="383"/>
                    <a:pt x="1180" y="383"/>
                    <a:pt x="1180" y="383"/>
                  </a:cubicBezTo>
                  <a:moveTo>
                    <a:pt x="1214" y="383"/>
                  </a:moveTo>
                  <a:cubicBezTo>
                    <a:pt x="1207" y="383"/>
                    <a:pt x="1200" y="387"/>
                    <a:pt x="1197" y="393"/>
                  </a:cubicBezTo>
                  <a:cubicBezTo>
                    <a:pt x="1194" y="399"/>
                    <a:pt x="1197" y="403"/>
                    <a:pt x="1204" y="403"/>
                  </a:cubicBezTo>
                  <a:cubicBezTo>
                    <a:pt x="1211" y="403"/>
                    <a:pt x="1218" y="398"/>
                    <a:pt x="1221" y="393"/>
                  </a:cubicBezTo>
                  <a:cubicBezTo>
                    <a:pt x="1223" y="387"/>
                    <a:pt x="1220" y="383"/>
                    <a:pt x="1214" y="383"/>
                  </a:cubicBezTo>
                  <a:cubicBezTo>
                    <a:pt x="1214" y="383"/>
                    <a:pt x="1214" y="383"/>
                    <a:pt x="1214" y="383"/>
                  </a:cubicBezTo>
                  <a:moveTo>
                    <a:pt x="1249" y="382"/>
                  </a:moveTo>
                  <a:cubicBezTo>
                    <a:pt x="1242" y="382"/>
                    <a:pt x="1235" y="387"/>
                    <a:pt x="1232" y="393"/>
                  </a:cubicBezTo>
                  <a:cubicBezTo>
                    <a:pt x="1229" y="398"/>
                    <a:pt x="1233" y="403"/>
                    <a:pt x="1239" y="403"/>
                  </a:cubicBezTo>
                  <a:cubicBezTo>
                    <a:pt x="1246" y="403"/>
                    <a:pt x="1253" y="398"/>
                    <a:pt x="1256" y="392"/>
                  </a:cubicBezTo>
                  <a:cubicBezTo>
                    <a:pt x="1258" y="387"/>
                    <a:pt x="1255" y="382"/>
                    <a:pt x="1249" y="382"/>
                  </a:cubicBezTo>
                  <a:cubicBezTo>
                    <a:pt x="1249" y="382"/>
                    <a:pt x="1249" y="382"/>
                    <a:pt x="1249" y="382"/>
                  </a:cubicBezTo>
                  <a:moveTo>
                    <a:pt x="1283" y="382"/>
                  </a:moveTo>
                  <a:cubicBezTo>
                    <a:pt x="1276" y="382"/>
                    <a:pt x="1269" y="387"/>
                    <a:pt x="1266" y="392"/>
                  </a:cubicBezTo>
                  <a:cubicBezTo>
                    <a:pt x="1264" y="398"/>
                    <a:pt x="1267" y="403"/>
                    <a:pt x="1274" y="402"/>
                  </a:cubicBezTo>
                  <a:cubicBezTo>
                    <a:pt x="1280" y="402"/>
                    <a:pt x="1288" y="398"/>
                    <a:pt x="1290" y="392"/>
                  </a:cubicBezTo>
                  <a:cubicBezTo>
                    <a:pt x="1293" y="387"/>
                    <a:pt x="1290" y="382"/>
                    <a:pt x="1283" y="382"/>
                  </a:cubicBezTo>
                  <a:cubicBezTo>
                    <a:pt x="1283" y="382"/>
                    <a:pt x="1283" y="382"/>
                    <a:pt x="1283" y="382"/>
                  </a:cubicBezTo>
                  <a:moveTo>
                    <a:pt x="1317" y="382"/>
                  </a:moveTo>
                  <a:cubicBezTo>
                    <a:pt x="1310" y="382"/>
                    <a:pt x="1303" y="387"/>
                    <a:pt x="1300" y="392"/>
                  </a:cubicBezTo>
                  <a:cubicBezTo>
                    <a:pt x="1298" y="398"/>
                    <a:pt x="1301" y="402"/>
                    <a:pt x="1308" y="402"/>
                  </a:cubicBezTo>
                  <a:cubicBezTo>
                    <a:pt x="1315" y="402"/>
                    <a:pt x="1322" y="398"/>
                    <a:pt x="1324" y="392"/>
                  </a:cubicBezTo>
                  <a:cubicBezTo>
                    <a:pt x="1327" y="386"/>
                    <a:pt x="1323" y="382"/>
                    <a:pt x="1317" y="382"/>
                  </a:cubicBezTo>
                  <a:cubicBezTo>
                    <a:pt x="1317" y="382"/>
                    <a:pt x="1317" y="382"/>
                    <a:pt x="1317" y="382"/>
                  </a:cubicBezTo>
                  <a:moveTo>
                    <a:pt x="1960" y="378"/>
                  </a:moveTo>
                  <a:cubicBezTo>
                    <a:pt x="1954" y="378"/>
                    <a:pt x="1947" y="382"/>
                    <a:pt x="1946" y="388"/>
                  </a:cubicBezTo>
                  <a:cubicBezTo>
                    <a:pt x="1945" y="394"/>
                    <a:pt x="1950" y="398"/>
                    <a:pt x="1956" y="398"/>
                  </a:cubicBezTo>
                  <a:cubicBezTo>
                    <a:pt x="1963" y="398"/>
                    <a:pt x="1969" y="393"/>
                    <a:pt x="1970" y="388"/>
                  </a:cubicBezTo>
                  <a:cubicBezTo>
                    <a:pt x="1971" y="382"/>
                    <a:pt x="1967" y="378"/>
                    <a:pt x="1960" y="378"/>
                  </a:cubicBezTo>
                  <a:cubicBezTo>
                    <a:pt x="1960" y="378"/>
                    <a:pt x="1960" y="378"/>
                    <a:pt x="1960" y="378"/>
                  </a:cubicBezTo>
                  <a:moveTo>
                    <a:pt x="2029" y="377"/>
                  </a:moveTo>
                  <a:cubicBezTo>
                    <a:pt x="2022" y="377"/>
                    <a:pt x="2016" y="382"/>
                    <a:pt x="2015" y="388"/>
                  </a:cubicBezTo>
                  <a:cubicBezTo>
                    <a:pt x="2014" y="393"/>
                    <a:pt x="2019" y="398"/>
                    <a:pt x="2025" y="398"/>
                  </a:cubicBezTo>
                  <a:cubicBezTo>
                    <a:pt x="2032" y="398"/>
                    <a:pt x="2038" y="393"/>
                    <a:pt x="2039" y="387"/>
                  </a:cubicBezTo>
                  <a:cubicBezTo>
                    <a:pt x="2040" y="382"/>
                    <a:pt x="2035" y="377"/>
                    <a:pt x="2029" y="377"/>
                  </a:cubicBezTo>
                  <a:cubicBezTo>
                    <a:pt x="2029" y="377"/>
                    <a:pt x="2029" y="377"/>
                    <a:pt x="2029" y="377"/>
                  </a:cubicBezTo>
                  <a:moveTo>
                    <a:pt x="2063" y="377"/>
                  </a:moveTo>
                  <a:cubicBezTo>
                    <a:pt x="2057" y="377"/>
                    <a:pt x="2051" y="382"/>
                    <a:pt x="2050" y="387"/>
                  </a:cubicBezTo>
                  <a:cubicBezTo>
                    <a:pt x="2049" y="393"/>
                    <a:pt x="2053" y="397"/>
                    <a:pt x="2060" y="397"/>
                  </a:cubicBezTo>
                  <a:cubicBezTo>
                    <a:pt x="2066" y="397"/>
                    <a:pt x="2073" y="393"/>
                    <a:pt x="2073" y="387"/>
                  </a:cubicBezTo>
                  <a:cubicBezTo>
                    <a:pt x="2074" y="381"/>
                    <a:pt x="2070" y="377"/>
                    <a:pt x="2063" y="377"/>
                  </a:cubicBezTo>
                  <a:cubicBezTo>
                    <a:pt x="2063" y="377"/>
                    <a:pt x="2063" y="377"/>
                    <a:pt x="2063" y="377"/>
                  </a:cubicBezTo>
                  <a:moveTo>
                    <a:pt x="2132" y="376"/>
                  </a:moveTo>
                  <a:cubicBezTo>
                    <a:pt x="2125" y="376"/>
                    <a:pt x="2119" y="381"/>
                    <a:pt x="2118" y="386"/>
                  </a:cubicBezTo>
                  <a:cubicBezTo>
                    <a:pt x="2117" y="392"/>
                    <a:pt x="2122" y="396"/>
                    <a:pt x="2129" y="396"/>
                  </a:cubicBezTo>
                  <a:cubicBezTo>
                    <a:pt x="2135" y="396"/>
                    <a:pt x="2141" y="392"/>
                    <a:pt x="2142" y="386"/>
                  </a:cubicBezTo>
                  <a:cubicBezTo>
                    <a:pt x="2143" y="380"/>
                    <a:pt x="2138" y="376"/>
                    <a:pt x="2132" y="376"/>
                  </a:cubicBezTo>
                  <a:cubicBezTo>
                    <a:pt x="2132" y="376"/>
                    <a:pt x="2132" y="376"/>
                    <a:pt x="2132" y="376"/>
                  </a:cubicBezTo>
                  <a:moveTo>
                    <a:pt x="2166" y="376"/>
                  </a:moveTo>
                  <a:cubicBezTo>
                    <a:pt x="2160" y="376"/>
                    <a:pt x="2154" y="380"/>
                    <a:pt x="2153" y="386"/>
                  </a:cubicBezTo>
                  <a:cubicBezTo>
                    <a:pt x="2152" y="392"/>
                    <a:pt x="2157" y="396"/>
                    <a:pt x="2164" y="396"/>
                  </a:cubicBezTo>
                  <a:cubicBezTo>
                    <a:pt x="2170" y="396"/>
                    <a:pt x="2176" y="391"/>
                    <a:pt x="2177" y="386"/>
                  </a:cubicBezTo>
                  <a:cubicBezTo>
                    <a:pt x="2178" y="380"/>
                    <a:pt x="2173" y="376"/>
                    <a:pt x="2166" y="376"/>
                  </a:cubicBezTo>
                  <a:cubicBezTo>
                    <a:pt x="2166" y="376"/>
                    <a:pt x="2166" y="376"/>
                    <a:pt x="2166" y="376"/>
                  </a:cubicBezTo>
                  <a:moveTo>
                    <a:pt x="2200" y="375"/>
                  </a:moveTo>
                  <a:cubicBezTo>
                    <a:pt x="2194" y="375"/>
                    <a:pt x="2188" y="380"/>
                    <a:pt x="2187" y="386"/>
                  </a:cubicBezTo>
                  <a:cubicBezTo>
                    <a:pt x="2186" y="391"/>
                    <a:pt x="2191" y="396"/>
                    <a:pt x="2198" y="396"/>
                  </a:cubicBezTo>
                  <a:cubicBezTo>
                    <a:pt x="2204" y="396"/>
                    <a:pt x="2210" y="391"/>
                    <a:pt x="2211" y="386"/>
                  </a:cubicBezTo>
                  <a:cubicBezTo>
                    <a:pt x="2211" y="380"/>
                    <a:pt x="2207" y="375"/>
                    <a:pt x="2200" y="375"/>
                  </a:cubicBezTo>
                  <a:cubicBezTo>
                    <a:pt x="2200" y="375"/>
                    <a:pt x="2200" y="375"/>
                    <a:pt x="2200" y="375"/>
                  </a:cubicBezTo>
                  <a:moveTo>
                    <a:pt x="2235" y="375"/>
                  </a:moveTo>
                  <a:cubicBezTo>
                    <a:pt x="2228" y="375"/>
                    <a:pt x="2223" y="380"/>
                    <a:pt x="2222" y="385"/>
                  </a:cubicBezTo>
                  <a:cubicBezTo>
                    <a:pt x="2221" y="391"/>
                    <a:pt x="2226" y="396"/>
                    <a:pt x="2233" y="396"/>
                  </a:cubicBezTo>
                  <a:cubicBezTo>
                    <a:pt x="2239" y="396"/>
                    <a:pt x="2245" y="391"/>
                    <a:pt x="2246" y="385"/>
                  </a:cubicBezTo>
                  <a:cubicBezTo>
                    <a:pt x="2246" y="380"/>
                    <a:pt x="2241" y="375"/>
                    <a:pt x="2235" y="375"/>
                  </a:cubicBezTo>
                  <a:cubicBezTo>
                    <a:pt x="2235" y="375"/>
                    <a:pt x="2235" y="375"/>
                    <a:pt x="2235" y="375"/>
                  </a:cubicBezTo>
                  <a:moveTo>
                    <a:pt x="2269" y="375"/>
                  </a:moveTo>
                  <a:cubicBezTo>
                    <a:pt x="2262" y="375"/>
                    <a:pt x="2256" y="380"/>
                    <a:pt x="2256" y="385"/>
                  </a:cubicBezTo>
                  <a:cubicBezTo>
                    <a:pt x="2255" y="391"/>
                    <a:pt x="2260" y="395"/>
                    <a:pt x="2267" y="395"/>
                  </a:cubicBezTo>
                  <a:cubicBezTo>
                    <a:pt x="2273" y="395"/>
                    <a:pt x="2279" y="391"/>
                    <a:pt x="2280" y="385"/>
                  </a:cubicBezTo>
                  <a:cubicBezTo>
                    <a:pt x="2280" y="379"/>
                    <a:pt x="2275" y="375"/>
                    <a:pt x="2269" y="375"/>
                  </a:cubicBezTo>
                  <a:cubicBezTo>
                    <a:pt x="2269" y="375"/>
                    <a:pt x="2269" y="375"/>
                    <a:pt x="2269" y="375"/>
                  </a:cubicBezTo>
                  <a:moveTo>
                    <a:pt x="2574" y="375"/>
                  </a:moveTo>
                  <a:cubicBezTo>
                    <a:pt x="2567" y="375"/>
                    <a:pt x="2562" y="379"/>
                    <a:pt x="2562" y="385"/>
                  </a:cubicBezTo>
                  <a:cubicBezTo>
                    <a:pt x="2562" y="391"/>
                    <a:pt x="2568" y="395"/>
                    <a:pt x="2574" y="395"/>
                  </a:cubicBezTo>
                  <a:cubicBezTo>
                    <a:pt x="2581" y="395"/>
                    <a:pt x="2586" y="391"/>
                    <a:pt x="2586" y="385"/>
                  </a:cubicBezTo>
                  <a:cubicBezTo>
                    <a:pt x="2586" y="379"/>
                    <a:pt x="2580" y="375"/>
                    <a:pt x="2574" y="375"/>
                  </a:cubicBezTo>
                  <a:cubicBezTo>
                    <a:pt x="2574" y="375"/>
                    <a:pt x="2574" y="375"/>
                    <a:pt x="2574" y="375"/>
                  </a:cubicBezTo>
                  <a:moveTo>
                    <a:pt x="2302" y="375"/>
                  </a:moveTo>
                  <a:cubicBezTo>
                    <a:pt x="2296" y="375"/>
                    <a:pt x="2290" y="379"/>
                    <a:pt x="2289" y="385"/>
                  </a:cubicBezTo>
                  <a:cubicBezTo>
                    <a:pt x="2289" y="391"/>
                    <a:pt x="2294" y="395"/>
                    <a:pt x="2301" y="395"/>
                  </a:cubicBezTo>
                  <a:cubicBezTo>
                    <a:pt x="2307" y="395"/>
                    <a:pt x="2313" y="390"/>
                    <a:pt x="2313" y="385"/>
                  </a:cubicBezTo>
                  <a:cubicBezTo>
                    <a:pt x="2314" y="379"/>
                    <a:pt x="2309" y="375"/>
                    <a:pt x="2302" y="375"/>
                  </a:cubicBezTo>
                  <a:cubicBezTo>
                    <a:pt x="2302" y="375"/>
                    <a:pt x="2302" y="375"/>
                    <a:pt x="2302" y="375"/>
                  </a:cubicBezTo>
                  <a:moveTo>
                    <a:pt x="2336" y="374"/>
                  </a:moveTo>
                  <a:cubicBezTo>
                    <a:pt x="2329" y="374"/>
                    <a:pt x="2324" y="379"/>
                    <a:pt x="2323" y="385"/>
                  </a:cubicBezTo>
                  <a:cubicBezTo>
                    <a:pt x="2323" y="390"/>
                    <a:pt x="2328" y="395"/>
                    <a:pt x="2335" y="395"/>
                  </a:cubicBezTo>
                  <a:cubicBezTo>
                    <a:pt x="2341" y="395"/>
                    <a:pt x="2347" y="390"/>
                    <a:pt x="2347" y="385"/>
                  </a:cubicBezTo>
                  <a:cubicBezTo>
                    <a:pt x="2347" y="379"/>
                    <a:pt x="2342" y="374"/>
                    <a:pt x="2336" y="374"/>
                  </a:cubicBezTo>
                  <a:cubicBezTo>
                    <a:pt x="2336" y="374"/>
                    <a:pt x="2336" y="374"/>
                    <a:pt x="2336" y="374"/>
                  </a:cubicBezTo>
                  <a:moveTo>
                    <a:pt x="2370" y="374"/>
                  </a:moveTo>
                  <a:cubicBezTo>
                    <a:pt x="2363" y="374"/>
                    <a:pt x="2358" y="379"/>
                    <a:pt x="2357" y="384"/>
                  </a:cubicBezTo>
                  <a:cubicBezTo>
                    <a:pt x="2357" y="390"/>
                    <a:pt x="2362" y="395"/>
                    <a:pt x="2369" y="395"/>
                  </a:cubicBezTo>
                  <a:cubicBezTo>
                    <a:pt x="2375" y="395"/>
                    <a:pt x="2381" y="390"/>
                    <a:pt x="2381" y="384"/>
                  </a:cubicBezTo>
                  <a:cubicBezTo>
                    <a:pt x="2381" y="379"/>
                    <a:pt x="2376" y="374"/>
                    <a:pt x="2370" y="374"/>
                  </a:cubicBezTo>
                  <a:cubicBezTo>
                    <a:pt x="2370" y="374"/>
                    <a:pt x="2370" y="374"/>
                    <a:pt x="2370" y="374"/>
                  </a:cubicBezTo>
                  <a:moveTo>
                    <a:pt x="2404" y="374"/>
                  </a:moveTo>
                  <a:cubicBezTo>
                    <a:pt x="2398" y="374"/>
                    <a:pt x="2392" y="379"/>
                    <a:pt x="2392" y="384"/>
                  </a:cubicBezTo>
                  <a:cubicBezTo>
                    <a:pt x="2392" y="390"/>
                    <a:pt x="2397" y="394"/>
                    <a:pt x="2403" y="394"/>
                  </a:cubicBezTo>
                  <a:cubicBezTo>
                    <a:pt x="2410" y="394"/>
                    <a:pt x="2416" y="390"/>
                    <a:pt x="2416" y="384"/>
                  </a:cubicBezTo>
                  <a:cubicBezTo>
                    <a:pt x="2416" y="378"/>
                    <a:pt x="2411" y="374"/>
                    <a:pt x="2404" y="374"/>
                  </a:cubicBezTo>
                  <a:cubicBezTo>
                    <a:pt x="2404" y="374"/>
                    <a:pt x="2404" y="374"/>
                    <a:pt x="2404" y="374"/>
                  </a:cubicBezTo>
                  <a:moveTo>
                    <a:pt x="2608" y="374"/>
                  </a:moveTo>
                  <a:cubicBezTo>
                    <a:pt x="2602" y="374"/>
                    <a:pt x="2597" y="378"/>
                    <a:pt x="2597" y="384"/>
                  </a:cubicBezTo>
                  <a:cubicBezTo>
                    <a:pt x="2597" y="390"/>
                    <a:pt x="2603" y="394"/>
                    <a:pt x="2609" y="394"/>
                  </a:cubicBezTo>
                  <a:cubicBezTo>
                    <a:pt x="2616" y="394"/>
                    <a:pt x="2621" y="389"/>
                    <a:pt x="2621" y="384"/>
                  </a:cubicBezTo>
                  <a:cubicBezTo>
                    <a:pt x="2621" y="378"/>
                    <a:pt x="2615" y="374"/>
                    <a:pt x="2609" y="374"/>
                  </a:cubicBezTo>
                  <a:cubicBezTo>
                    <a:pt x="2609" y="374"/>
                    <a:pt x="2609" y="374"/>
                    <a:pt x="2608" y="374"/>
                  </a:cubicBezTo>
                  <a:moveTo>
                    <a:pt x="2438" y="374"/>
                  </a:moveTo>
                  <a:cubicBezTo>
                    <a:pt x="2431" y="374"/>
                    <a:pt x="2426" y="378"/>
                    <a:pt x="2426" y="384"/>
                  </a:cubicBezTo>
                  <a:cubicBezTo>
                    <a:pt x="2426" y="390"/>
                    <a:pt x="2431" y="394"/>
                    <a:pt x="2437" y="394"/>
                  </a:cubicBezTo>
                  <a:cubicBezTo>
                    <a:pt x="2444" y="394"/>
                    <a:pt x="2449" y="389"/>
                    <a:pt x="2450" y="384"/>
                  </a:cubicBezTo>
                  <a:cubicBezTo>
                    <a:pt x="2450" y="378"/>
                    <a:pt x="2444" y="374"/>
                    <a:pt x="2438" y="374"/>
                  </a:cubicBezTo>
                  <a:cubicBezTo>
                    <a:pt x="2438" y="374"/>
                    <a:pt x="2438" y="374"/>
                    <a:pt x="2438" y="374"/>
                  </a:cubicBezTo>
                  <a:moveTo>
                    <a:pt x="2642" y="373"/>
                  </a:moveTo>
                  <a:cubicBezTo>
                    <a:pt x="2636" y="373"/>
                    <a:pt x="2631" y="378"/>
                    <a:pt x="2631" y="384"/>
                  </a:cubicBezTo>
                  <a:cubicBezTo>
                    <a:pt x="2631" y="389"/>
                    <a:pt x="2637" y="394"/>
                    <a:pt x="2643" y="394"/>
                  </a:cubicBezTo>
                  <a:cubicBezTo>
                    <a:pt x="2650" y="394"/>
                    <a:pt x="2655" y="389"/>
                    <a:pt x="2655" y="384"/>
                  </a:cubicBezTo>
                  <a:cubicBezTo>
                    <a:pt x="2654" y="378"/>
                    <a:pt x="2649" y="373"/>
                    <a:pt x="2642" y="373"/>
                  </a:cubicBezTo>
                  <a:cubicBezTo>
                    <a:pt x="2642" y="373"/>
                    <a:pt x="2642" y="373"/>
                    <a:pt x="2642" y="373"/>
                  </a:cubicBezTo>
                  <a:moveTo>
                    <a:pt x="2472" y="373"/>
                  </a:moveTo>
                  <a:cubicBezTo>
                    <a:pt x="2465" y="373"/>
                    <a:pt x="2460" y="378"/>
                    <a:pt x="2460" y="384"/>
                  </a:cubicBezTo>
                  <a:cubicBezTo>
                    <a:pt x="2460" y="389"/>
                    <a:pt x="2465" y="394"/>
                    <a:pt x="2472" y="394"/>
                  </a:cubicBezTo>
                  <a:cubicBezTo>
                    <a:pt x="2478" y="394"/>
                    <a:pt x="2484" y="389"/>
                    <a:pt x="2484" y="384"/>
                  </a:cubicBezTo>
                  <a:cubicBezTo>
                    <a:pt x="2484" y="378"/>
                    <a:pt x="2478" y="373"/>
                    <a:pt x="2472" y="373"/>
                  </a:cubicBezTo>
                  <a:cubicBezTo>
                    <a:pt x="2472" y="373"/>
                    <a:pt x="2472" y="373"/>
                    <a:pt x="2472" y="373"/>
                  </a:cubicBezTo>
                  <a:moveTo>
                    <a:pt x="2676" y="373"/>
                  </a:moveTo>
                  <a:cubicBezTo>
                    <a:pt x="2669" y="373"/>
                    <a:pt x="2664" y="378"/>
                    <a:pt x="2664" y="384"/>
                  </a:cubicBezTo>
                  <a:cubicBezTo>
                    <a:pt x="2665" y="389"/>
                    <a:pt x="2670" y="394"/>
                    <a:pt x="2677" y="394"/>
                  </a:cubicBezTo>
                  <a:cubicBezTo>
                    <a:pt x="2684" y="394"/>
                    <a:pt x="2689" y="389"/>
                    <a:pt x="2688" y="383"/>
                  </a:cubicBezTo>
                  <a:cubicBezTo>
                    <a:pt x="2688" y="378"/>
                    <a:pt x="2682" y="373"/>
                    <a:pt x="2676" y="373"/>
                  </a:cubicBezTo>
                  <a:cubicBezTo>
                    <a:pt x="2676" y="373"/>
                    <a:pt x="2676" y="373"/>
                    <a:pt x="2676" y="373"/>
                  </a:cubicBezTo>
                  <a:moveTo>
                    <a:pt x="2505" y="373"/>
                  </a:moveTo>
                  <a:cubicBezTo>
                    <a:pt x="2499" y="373"/>
                    <a:pt x="2494" y="378"/>
                    <a:pt x="2494" y="383"/>
                  </a:cubicBezTo>
                  <a:cubicBezTo>
                    <a:pt x="2494" y="389"/>
                    <a:pt x="2499" y="394"/>
                    <a:pt x="2506" y="394"/>
                  </a:cubicBezTo>
                  <a:cubicBezTo>
                    <a:pt x="2512" y="394"/>
                    <a:pt x="2517" y="389"/>
                    <a:pt x="2517" y="383"/>
                  </a:cubicBezTo>
                  <a:cubicBezTo>
                    <a:pt x="2517" y="378"/>
                    <a:pt x="2512" y="373"/>
                    <a:pt x="2506" y="373"/>
                  </a:cubicBezTo>
                  <a:cubicBezTo>
                    <a:pt x="2506" y="373"/>
                    <a:pt x="2506" y="373"/>
                    <a:pt x="2505" y="373"/>
                  </a:cubicBezTo>
                  <a:moveTo>
                    <a:pt x="2709" y="373"/>
                  </a:moveTo>
                  <a:cubicBezTo>
                    <a:pt x="2703" y="373"/>
                    <a:pt x="2698" y="378"/>
                    <a:pt x="2698" y="383"/>
                  </a:cubicBezTo>
                  <a:cubicBezTo>
                    <a:pt x="2699" y="389"/>
                    <a:pt x="2704" y="393"/>
                    <a:pt x="2711" y="393"/>
                  </a:cubicBezTo>
                  <a:cubicBezTo>
                    <a:pt x="2718" y="393"/>
                    <a:pt x="2723" y="389"/>
                    <a:pt x="2722" y="383"/>
                  </a:cubicBezTo>
                  <a:cubicBezTo>
                    <a:pt x="2722" y="377"/>
                    <a:pt x="2716" y="373"/>
                    <a:pt x="2709" y="373"/>
                  </a:cubicBezTo>
                  <a:cubicBezTo>
                    <a:pt x="2709" y="373"/>
                    <a:pt x="2709" y="373"/>
                    <a:pt x="2709" y="373"/>
                  </a:cubicBezTo>
                  <a:moveTo>
                    <a:pt x="2539" y="373"/>
                  </a:moveTo>
                  <a:cubicBezTo>
                    <a:pt x="2533" y="373"/>
                    <a:pt x="2528" y="378"/>
                    <a:pt x="2528" y="383"/>
                  </a:cubicBezTo>
                  <a:cubicBezTo>
                    <a:pt x="2528" y="389"/>
                    <a:pt x="2533" y="393"/>
                    <a:pt x="2540" y="393"/>
                  </a:cubicBezTo>
                  <a:cubicBezTo>
                    <a:pt x="2546" y="393"/>
                    <a:pt x="2552" y="389"/>
                    <a:pt x="2552" y="383"/>
                  </a:cubicBezTo>
                  <a:cubicBezTo>
                    <a:pt x="2551" y="377"/>
                    <a:pt x="2546" y="373"/>
                    <a:pt x="2540" y="373"/>
                  </a:cubicBezTo>
                  <a:cubicBezTo>
                    <a:pt x="2540" y="373"/>
                    <a:pt x="2539" y="373"/>
                    <a:pt x="2539" y="373"/>
                  </a:cubicBezTo>
                  <a:moveTo>
                    <a:pt x="2743" y="373"/>
                  </a:moveTo>
                  <a:cubicBezTo>
                    <a:pt x="2737" y="373"/>
                    <a:pt x="2732" y="377"/>
                    <a:pt x="2732" y="383"/>
                  </a:cubicBezTo>
                  <a:cubicBezTo>
                    <a:pt x="2733" y="389"/>
                    <a:pt x="2739" y="393"/>
                    <a:pt x="2745" y="393"/>
                  </a:cubicBezTo>
                  <a:cubicBezTo>
                    <a:pt x="2752" y="393"/>
                    <a:pt x="2757" y="388"/>
                    <a:pt x="2756" y="383"/>
                  </a:cubicBezTo>
                  <a:cubicBezTo>
                    <a:pt x="2756" y="377"/>
                    <a:pt x="2750" y="373"/>
                    <a:pt x="2743" y="373"/>
                  </a:cubicBezTo>
                  <a:cubicBezTo>
                    <a:pt x="2743" y="373"/>
                    <a:pt x="2743" y="373"/>
                    <a:pt x="2743" y="373"/>
                  </a:cubicBezTo>
                  <a:moveTo>
                    <a:pt x="2778" y="372"/>
                  </a:moveTo>
                  <a:cubicBezTo>
                    <a:pt x="2771" y="372"/>
                    <a:pt x="2766" y="377"/>
                    <a:pt x="2767" y="383"/>
                  </a:cubicBezTo>
                  <a:cubicBezTo>
                    <a:pt x="2767" y="388"/>
                    <a:pt x="2773" y="393"/>
                    <a:pt x="2780" y="393"/>
                  </a:cubicBezTo>
                  <a:cubicBezTo>
                    <a:pt x="2786" y="393"/>
                    <a:pt x="2791" y="388"/>
                    <a:pt x="2791" y="383"/>
                  </a:cubicBezTo>
                  <a:cubicBezTo>
                    <a:pt x="2790" y="377"/>
                    <a:pt x="2784" y="372"/>
                    <a:pt x="2778" y="372"/>
                  </a:cubicBezTo>
                  <a:cubicBezTo>
                    <a:pt x="2778" y="372"/>
                    <a:pt x="2778" y="372"/>
                    <a:pt x="2778" y="372"/>
                  </a:cubicBezTo>
                  <a:moveTo>
                    <a:pt x="2811" y="372"/>
                  </a:moveTo>
                  <a:cubicBezTo>
                    <a:pt x="2805" y="372"/>
                    <a:pt x="2800" y="377"/>
                    <a:pt x="2801" y="382"/>
                  </a:cubicBezTo>
                  <a:cubicBezTo>
                    <a:pt x="2801" y="388"/>
                    <a:pt x="2807" y="393"/>
                    <a:pt x="2814" y="393"/>
                  </a:cubicBezTo>
                  <a:cubicBezTo>
                    <a:pt x="2820" y="393"/>
                    <a:pt x="2825" y="388"/>
                    <a:pt x="2824" y="382"/>
                  </a:cubicBezTo>
                  <a:cubicBezTo>
                    <a:pt x="2824" y="377"/>
                    <a:pt x="2818" y="372"/>
                    <a:pt x="2811" y="372"/>
                  </a:cubicBezTo>
                  <a:cubicBezTo>
                    <a:pt x="2811" y="372"/>
                    <a:pt x="2811" y="372"/>
                    <a:pt x="2811" y="372"/>
                  </a:cubicBezTo>
                  <a:moveTo>
                    <a:pt x="2845" y="372"/>
                  </a:moveTo>
                  <a:cubicBezTo>
                    <a:pt x="2839" y="372"/>
                    <a:pt x="2834" y="377"/>
                    <a:pt x="2835" y="382"/>
                  </a:cubicBezTo>
                  <a:cubicBezTo>
                    <a:pt x="2835" y="388"/>
                    <a:pt x="2841" y="392"/>
                    <a:pt x="2848" y="392"/>
                  </a:cubicBezTo>
                  <a:cubicBezTo>
                    <a:pt x="2854" y="392"/>
                    <a:pt x="2859" y="388"/>
                    <a:pt x="2858" y="382"/>
                  </a:cubicBezTo>
                  <a:cubicBezTo>
                    <a:pt x="2858" y="376"/>
                    <a:pt x="2852" y="372"/>
                    <a:pt x="2845" y="372"/>
                  </a:cubicBezTo>
                  <a:cubicBezTo>
                    <a:pt x="2845" y="372"/>
                    <a:pt x="2845" y="372"/>
                    <a:pt x="2845" y="372"/>
                  </a:cubicBezTo>
                  <a:moveTo>
                    <a:pt x="2879" y="372"/>
                  </a:moveTo>
                  <a:cubicBezTo>
                    <a:pt x="2872" y="372"/>
                    <a:pt x="2868" y="376"/>
                    <a:pt x="2868" y="382"/>
                  </a:cubicBezTo>
                  <a:cubicBezTo>
                    <a:pt x="2869" y="388"/>
                    <a:pt x="2875" y="392"/>
                    <a:pt x="2882" y="392"/>
                  </a:cubicBezTo>
                  <a:cubicBezTo>
                    <a:pt x="2888" y="392"/>
                    <a:pt x="2893" y="387"/>
                    <a:pt x="2892" y="382"/>
                  </a:cubicBezTo>
                  <a:cubicBezTo>
                    <a:pt x="2891" y="376"/>
                    <a:pt x="2886" y="372"/>
                    <a:pt x="2879" y="372"/>
                  </a:cubicBezTo>
                  <a:cubicBezTo>
                    <a:pt x="2879" y="372"/>
                    <a:pt x="2879" y="372"/>
                    <a:pt x="2879" y="372"/>
                  </a:cubicBezTo>
                  <a:moveTo>
                    <a:pt x="2913" y="371"/>
                  </a:moveTo>
                  <a:cubicBezTo>
                    <a:pt x="2906" y="371"/>
                    <a:pt x="2902" y="376"/>
                    <a:pt x="2903" y="382"/>
                  </a:cubicBezTo>
                  <a:cubicBezTo>
                    <a:pt x="2903" y="387"/>
                    <a:pt x="2909" y="392"/>
                    <a:pt x="2916" y="392"/>
                  </a:cubicBezTo>
                  <a:cubicBezTo>
                    <a:pt x="2923" y="392"/>
                    <a:pt x="2927" y="387"/>
                    <a:pt x="2926" y="382"/>
                  </a:cubicBezTo>
                  <a:cubicBezTo>
                    <a:pt x="2926" y="376"/>
                    <a:pt x="2920" y="371"/>
                    <a:pt x="2913" y="371"/>
                  </a:cubicBezTo>
                  <a:cubicBezTo>
                    <a:pt x="2913" y="371"/>
                    <a:pt x="2913" y="371"/>
                    <a:pt x="2913" y="371"/>
                  </a:cubicBezTo>
                  <a:moveTo>
                    <a:pt x="2945" y="371"/>
                  </a:moveTo>
                  <a:cubicBezTo>
                    <a:pt x="2939" y="371"/>
                    <a:pt x="2935" y="375"/>
                    <a:pt x="2935" y="381"/>
                  </a:cubicBezTo>
                  <a:cubicBezTo>
                    <a:pt x="2936" y="386"/>
                    <a:pt x="2942" y="390"/>
                    <a:pt x="2948" y="390"/>
                  </a:cubicBezTo>
                  <a:cubicBezTo>
                    <a:pt x="2955" y="390"/>
                    <a:pt x="2959" y="386"/>
                    <a:pt x="2958" y="381"/>
                  </a:cubicBezTo>
                  <a:cubicBezTo>
                    <a:pt x="2957" y="375"/>
                    <a:pt x="2951" y="371"/>
                    <a:pt x="2945" y="371"/>
                  </a:cubicBezTo>
                  <a:cubicBezTo>
                    <a:pt x="2945" y="371"/>
                    <a:pt x="2945" y="371"/>
                    <a:pt x="2945" y="371"/>
                  </a:cubicBezTo>
                  <a:moveTo>
                    <a:pt x="2980" y="371"/>
                  </a:moveTo>
                  <a:cubicBezTo>
                    <a:pt x="2974" y="371"/>
                    <a:pt x="2969" y="375"/>
                    <a:pt x="2970" y="380"/>
                  </a:cubicBezTo>
                  <a:cubicBezTo>
                    <a:pt x="2971" y="386"/>
                    <a:pt x="2977" y="390"/>
                    <a:pt x="2983" y="390"/>
                  </a:cubicBezTo>
                  <a:cubicBezTo>
                    <a:pt x="2990" y="390"/>
                    <a:pt x="2994" y="386"/>
                    <a:pt x="2993" y="380"/>
                  </a:cubicBezTo>
                  <a:cubicBezTo>
                    <a:pt x="2992" y="375"/>
                    <a:pt x="2986" y="371"/>
                    <a:pt x="2980" y="371"/>
                  </a:cubicBezTo>
                  <a:cubicBezTo>
                    <a:pt x="2980" y="371"/>
                    <a:pt x="2980" y="371"/>
                    <a:pt x="2980" y="371"/>
                  </a:cubicBezTo>
                  <a:moveTo>
                    <a:pt x="3014" y="371"/>
                  </a:moveTo>
                  <a:cubicBezTo>
                    <a:pt x="3007" y="371"/>
                    <a:pt x="3003" y="375"/>
                    <a:pt x="3004" y="381"/>
                  </a:cubicBezTo>
                  <a:cubicBezTo>
                    <a:pt x="3005" y="387"/>
                    <a:pt x="3011" y="391"/>
                    <a:pt x="3018" y="391"/>
                  </a:cubicBezTo>
                  <a:cubicBezTo>
                    <a:pt x="3024" y="391"/>
                    <a:pt x="3029" y="386"/>
                    <a:pt x="3028" y="381"/>
                  </a:cubicBezTo>
                  <a:cubicBezTo>
                    <a:pt x="3026" y="375"/>
                    <a:pt x="3020" y="371"/>
                    <a:pt x="3014" y="371"/>
                  </a:cubicBezTo>
                  <a:cubicBezTo>
                    <a:pt x="3014" y="371"/>
                    <a:pt x="3014" y="371"/>
                    <a:pt x="3014" y="371"/>
                  </a:cubicBezTo>
                  <a:moveTo>
                    <a:pt x="3047" y="370"/>
                  </a:moveTo>
                  <a:cubicBezTo>
                    <a:pt x="3041" y="370"/>
                    <a:pt x="3036" y="375"/>
                    <a:pt x="3037" y="381"/>
                  </a:cubicBezTo>
                  <a:cubicBezTo>
                    <a:pt x="3038" y="386"/>
                    <a:pt x="3045" y="391"/>
                    <a:pt x="3051" y="391"/>
                  </a:cubicBezTo>
                  <a:cubicBezTo>
                    <a:pt x="3058" y="391"/>
                    <a:pt x="3062" y="386"/>
                    <a:pt x="3061" y="381"/>
                  </a:cubicBezTo>
                  <a:cubicBezTo>
                    <a:pt x="3060" y="375"/>
                    <a:pt x="3054" y="370"/>
                    <a:pt x="3047" y="370"/>
                  </a:cubicBezTo>
                  <a:cubicBezTo>
                    <a:pt x="3047" y="370"/>
                    <a:pt x="3047" y="370"/>
                    <a:pt x="3047" y="370"/>
                  </a:cubicBezTo>
                  <a:moveTo>
                    <a:pt x="3081" y="370"/>
                  </a:moveTo>
                  <a:cubicBezTo>
                    <a:pt x="3074" y="370"/>
                    <a:pt x="3070" y="375"/>
                    <a:pt x="3071" y="380"/>
                  </a:cubicBezTo>
                  <a:cubicBezTo>
                    <a:pt x="3072" y="386"/>
                    <a:pt x="3079" y="391"/>
                    <a:pt x="3085" y="391"/>
                  </a:cubicBezTo>
                  <a:cubicBezTo>
                    <a:pt x="3092" y="391"/>
                    <a:pt x="3096" y="386"/>
                    <a:pt x="3095" y="380"/>
                  </a:cubicBezTo>
                  <a:cubicBezTo>
                    <a:pt x="3094" y="375"/>
                    <a:pt x="3087" y="370"/>
                    <a:pt x="3081" y="370"/>
                  </a:cubicBezTo>
                  <a:cubicBezTo>
                    <a:pt x="3081" y="370"/>
                    <a:pt x="3081" y="370"/>
                    <a:pt x="3081" y="370"/>
                  </a:cubicBezTo>
                  <a:moveTo>
                    <a:pt x="3115" y="370"/>
                  </a:moveTo>
                  <a:cubicBezTo>
                    <a:pt x="3108" y="370"/>
                    <a:pt x="3104" y="375"/>
                    <a:pt x="3105" y="380"/>
                  </a:cubicBezTo>
                  <a:cubicBezTo>
                    <a:pt x="3106" y="386"/>
                    <a:pt x="3113" y="390"/>
                    <a:pt x="3119" y="390"/>
                  </a:cubicBezTo>
                  <a:cubicBezTo>
                    <a:pt x="3126" y="390"/>
                    <a:pt x="3130" y="386"/>
                    <a:pt x="3129" y="380"/>
                  </a:cubicBezTo>
                  <a:cubicBezTo>
                    <a:pt x="3128" y="374"/>
                    <a:pt x="3121" y="370"/>
                    <a:pt x="3115" y="370"/>
                  </a:cubicBezTo>
                  <a:cubicBezTo>
                    <a:pt x="3115" y="370"/>
                    <a:pt x="3115" y="370"/>
                    <a:pt x="3115" y="370"/>
                  </a:cubicBezTo>
                  <a:moveTo>
                    <a:pt x="3149" y="370"/>
                  </a:moveTo>
                  <a:cubicBezTo>
                    <a:pt x="3142" y="370"/>
                    <a:pt x="3138" y="374"/>
                    <a:pt x="3140" y="380"/>
                  </a:cubicBezTo>
                  <a:cubicBezTo>
                    <a:pt x="3141" y="386"/>
                    <a:pt x="3147" y="390"/>
                    <a:pt x="3154" y="390"/>
                  </a:cubicBezTo>
                  <a:cubicBezTo>
                    <a:pt x="3161" y="390"/>
                    <a:pt x="3165" y="385"/>
                    <a:pt x="3163" y="380"/>
                  </a:cubicBezTo>
                  <a:cubicBezTo>
                    <a:pt x="3162" y="374"/>
                    <a:pt x="3156" y="370"/>
                    <a:pt x="3149" y="370"/>
                  </a:cubicBezTo>
                  <a:cubicBezTo>
                    <a:pt x="3149" y="370"/>
                    <a:pt x="3149" y="370"/>
                    <a:pt x="3149" y="370"/>
                  </a:cubicBezTo>
                  <a:moveTo>
                    <a:pt x="3183" y="369"/>
                  </a:moveTo>
                  <a:cubicBezTo>
                    <a:pt x="3176" y="369"/>
                    <a:pt x="3172" y="374"/>
                    <a:pt x="3173" y="380"/>
                  </a:cubicBezTo>
                  <a:cubicBezTo>
                    <a:pt x="3175" y="385"/>
                    <a:pt x="3181" y="390"/>
                    <a:pt x="3188" y="390"/>
                  </a:cubicBezTo>
                  <a:cubicBezTo>
                    <a:pt x="3194" y="390"/>
                    <a:pt x="3199" y="385"/>
                    <a:pt x="3197" y="380"/>
                  </a:cubicBezTo>
                  <a:cubicBezTo>
                    <a:pt x="3196" y="374"/>
                    <a:pt x="3189" y="369"/>
                    <a:pt x="3183" y="369"/>
                  </a:cubicBezTo>
                  <a:cubicBezTo>
                    <a:pt x="3183" y="369"/>
                    <a:pt x="3183" y="369"/>
                    <a:pt x="3183" y="369"/>
                  </a:cubicBezTo>
                  <a:moveTo>
                    <a:pt x="3217" y="369"/>
                  </a:moveTo>
                  <a:cubicBezTo>
                    <a:pt x="3210" y="369"/>
                    <a:pt x="3206" y="374"/>
                    <a:pt x="3207" y="379"/>
                  </a:cubicBezTo>
                  <a:cubicBezTo>
                    <a:pt x="3209" y="385"/>
                    <a:pt x="3215" y="390"/>
                    <a:pt x="3222" y="390"/>
                  </a:cubicBezTo>
                  <a:cubicBezTo>
                    <a:pt x="3229" y="390"/>
                    <a:pt x="3233" y="385"/>
                    <a:pt x="3231" y="379"/>
                  </a:cubicBezTo>
                  <a:cubicBezTo>
                    <a:pt x="3230" y="374"/>
                    <a:pt x="3223" y="369"/>
                    <a:pt x="3217" y="369"/>
                  </a:cubicBezTo>
                  <a:cubicBezTo>
                    <a:pt x="3217" y="369"/>
                    <a:pt x="3217" y="369"/>
                    <a:pt x="3217" y="369"/>
                  </a:cubicBezTo>
                  <a:moveTo>
                    <a:pt x="3250" y="369"/>
                  </a:moveTo>
                  <a:cubicBezTo>
                    <a:pt x="3244" y="369"/>
                    <a:pt x="3240" y="374"/>
                    <a:pt x="3241" y="379"/>
                  </a:cubicBezTo>
                  <a:cubicBezTo>
                    <a:pt x="3243" y="385"/>
                    <a:pt x="3249" y="389"/>
                    <a:pt x="3256" y="389"/>
                  </a:cubicBezTo>
                  <a:cubicBezTo>
                    <a:pt x="3262" y="389"/>
                    <a:pt x="3267" y="385"/>
                    <a:pt x="3265" y="379"/>
                  </a:cubicBezTo>
                  <a:cubicBezTo>
                    <a:pt x="3263" y="373"/>
                    <a:pt x="3257" y="369"/>
                    <a:pt x="3250" y="369"/>
                  </a:cubicBezTo>
                  <a:cubicBezTo>
                    <a:pt x="3250" y="369"/>
                    <a:pt x="3250" y="369"/>
                    <a:pt x="3250" y="369"/>
                  </a:cubicBezTo>
                  <a:moveTo>
                    <a:pt x="3284" y="369"/>
                  </a:moveTo>
                  <a:cubicBezTo>
                    <a:pt x="3278" y="369"/>
                    <a:pt x="3274" y="373"/>
                    <a:pt x="3275" y="379"/>
                  </a:cubicBezTo>
                  <a:cubicBezTo>
                    <a:pt x="3277" y="385"/>
                    <a:pt x="3283" y="389"/>
                    <a:pt x="3290" y="389"/>
                  </a:cubicBezTo>
                  <a:cubicBezTo>
                    <a:pt x="3297" y="389"/>
                    <a:pt x="3301" y="384"/>
                    <a:pt x="3299" y="379"/>
                  </a:cubicBezTo>
                  <a:cubicBezTo>
                    <a:pt x="3297" y="373"/>
                    <a:pt x="3291" y="369"/>
                    <a:pt x="3284" y="369"/>
                  </a:cubicBezTo>
                  <a:cubicBezTo>
                    <a:pt x="3284" y="369"/>
                    <a:pt x="3284" y="369"/>
                    <a:pt x="3284" y="369"/>
                  </a:cubicBezTo>
                  <a:moveTo>
                    <a:pt x="3319" y="368"/>
                  </a:moveTo>
                  <a:cubicBezTo>
                    <a:pt x="3313" y="368"/>
                    <a:pt x="3309" y="373"/>
                    <a:pt x="3311" y="379"/>
                  </a:cubicBezTo>
                  <a:cubicBezTo>
                    <a:pt x="3312" y="384"/>
                    <a:pt x="3319" y="389"/>
                    <a:pt x="3326" y="389"/>
                  </a:cubicBezTo>
                  <a:cubicBezTo>
                    <a:pt x="3332" y="389"/>
                    <a:pt x="3336" y="384"/>
                    <a:pt x="3334" y="379"/>
                  </a:cubicBezTo>
                  <a:cubicBezTo>
                    <a:pt x="3333" y="373"/>
                    <a:pt x="3326" y="368"/>
                    <a:pt x="3319" y="368"/>
                  </a:cubicBezTo>
                  <a:cubicBezTo>
                    <a:pt x="3319" y="368"/>
                    <a:pt x="3319" y="368"/>
                    <a:pt x="3319" y="368"/>
                  </a:cubicBezTo>
                  <a:moveTo>
                    <a:pt x="3353" y="368"/>
                  </a:moveTo>
                  <a:cubicBezTo>
                    <a:pt x="3346" y="368"/>
                    <a:pt x="3343" y="373"/>
                    <a:pt x="3344" y="378"/>
                  </a:cubicBezTo>
                  <a:cubicBezTo>
                    <a:pt x="3346" y="384"/>
                    <a:pt x="3353" y="389"/>
                    <a:pt x="3359" y="389"/>
                  </a:cubicBezTo>
                  <a:cubicBezTo>
                    <a:pt x="3366" y="389"/>
                    <a:pt x="3370" y="384"/>
                    <a:pt x="3368" y="378"/>
                  </a:cubicBezTo>
                  <a:cubicBezTo>
                    <a:pt x="3366" y="373"/>
                    <a:pt x="3360" y="368"/>
                    <a:pt x="3353" y="368"/>
                  </a:cubicBezTo>
                  <a:cubicBezTo>
                    <a:pt x="3353" y="368"/>
                    <a:pt x="3353" y="368"/>
                    <a:pt x="3353" y="368"/>
                  </a:cubicBezTo>
                  <a:moveTo>
                    <a:pt x="3386" y="368"/>
                  </a:moveTo>
                  <a:cubicBezTo>
                    <a:pt x="3380" y="368"/>
                    <a:pt x="3376" y="373"/>
                    <a:pt x="3378" y="378"/>
                  </a:cubicBezTo>
                  <a:cubicBezTo>
                    <a:pt x="3380" y="384"/>
                    <a:pt x="3387" y="388"/>
                    <a:pt x="3393" y="388"/>
                  </a:cubicBezTo>
                  <a:cubicBezTo>
                    <a:pt x="3400" y="388"/>
                    <a:pt x="3404" y="384"/>
                    <a:pt x="3402" y="378"/>
                  </a:cubicBezTo>
                  <a:cubicBezTo>
                    <a:pt x="3400" y="372"/>
                    <a:pt x="3393" y="368"/>
                    <a:pt x="3387" y="368"/>
                  </a:cubicBezTo>
                  <a:cubicBezTo>
                    <a:pt x="3386" y="368"/>
                    <a:pt x="3386" y="368"/>
                    <a:pt x="3386" y="368"/>
                  </a:cubicBezTo>
                  <a:moveTo>
                    <a:pt x="3420" y="368"/>
                  </a:moveTo>
                  <a:cubicBezTo>
                    <a:pt x="3414" y="368"/>
                    <a:pt x="3410" y="372"/>
                    <a:pt x="3412" y="378"/>
                  </a:cubicBezTo>
                  <a:cubicBezTo>
                    <a:pt x="3414" y="384"/>
                    <a:pt x="3420" y="388"/>
                    <a:pt x="3427" y="388"/>
                  </a:cubicBezTo>
                  <a:cubicBezTo>
                    <a:pt x="3434" y="388"/>
                    <a:pt x="3437" y="383"/>
                    <a:pt x="3435" y="378"/>
                  </a:cubicBezTo>
                  <a:cubicBezTo>
                    <a:pt x="3433" y="372"/>
                    <a:pt x="3427" y="368"/>
                    <a:pt x="3420" y="368"/>
                  </a:cubicBezTo>
                  <a:cubicBezTo>
                    <a:pt x="3420" y="368"/>
                    <a:pt x="3420" y="368"/>
                    <a:pt x="3420" y="368"/>
                  </a:cubicBezTo>
                  <a:moveTo>
                    <a:pt x="3454" y="367"/>
                  </a:moveTo>
                  <a:cubicBezTo>
                    <a:pt x="3447" y="367"/>
                    <a:pt x="3444" y="372"/>
                    <a:pt x="3446" y="378"/>
                  </a:cubicBezTo>
                  <a:cubicBezTo>
                    <a:pt x="3448" y="383"/>
                    <a:pt x="3455" y="388"/>
                    <a:pt x="3461" y="388"/>
                  </a:cubicBezTo>
                  <a:cubicBezTo>
                    <a:pt x="3468" y="388"/>
                    <a:pt x="3472" y="383"/>
                    <a:pt x="3470" y="378"/>
                  </a:cubicBezTo>
                  <a:cubicBezTo>
                    <a:pt x="3468" y="372"/>
                    <a:pt x="3461" y="367"/>
                    <a:pt x="3454" y="367"/>
                  </a:cubicBezTo>
                  <a:cubicBezTo>
                    <a:pt x="3454" y="367"/>
                    <a:pt x="3454" y="367"/>
                    <a:pt x="3454" y="367"/>
                  </a:cubicBezTo>
                  <a:moveTo>
                    <a:pt x="3488" y="367"/>
                  </a:moveTo>
                  <a:cubicBezTo>
                    <a:pt x="3482" y="367"/>
                    <a:pt x="3478" y="372"/>
                    <a:pt x="3480" y="377"/>
                  </a:cubicBezTo>
                  <a:cubicBezTo>
                    <a:pt x="3482" y="383"/>
                    <a:pt x="3489" y="388"/>
                    <a:pt x="3496" y="388"/>
                  </a:cubicBezTo>
                  <a:cubicBezTo>
                    <a:pt x="3502" y="388"/>
                    <a:pt x="3506" y="383"/>
                    <a:pt x="3504" y="377"/>
                  </a:cubicBezTo>
                  <a:cubicBezTo>
                    <a:pt x="3502" y="372"/>
                    <a:pt x="3495" y="367"/>
                    <a:pt x="3488" y="367"/>
                  </a:cubicBezTo>
                  <a:cubicBezTo>
                    <a:pt x="3488" y="367"/>
                    <a:pt x="3488" y="367"/>
                    <a:pt x="3488" y="367"/>
                  </a:cubicBezTo>
                  <a:moveTo>
                    <a:pt x="3522" y="367"/>
                  </a:moveTo>
                  <a:cubicBezTo>
                    <a:pt x="3515" y="367"/>
                    <a:pt x="3512" y="372"/>
                    <a:pt x="3514" y="377"/>
                  </a:cubicBezTo>
                  <a:cubicBezTo>
                    <a:pt x="3516" y="383"/>
                    <a:pt x="3523" y="387"/>
                    <a:pt x="3530" y="387"/>
                  </a:cubicBezTo>
                  <a:cubicBezTo>
                    <a:pt x="3536" y="387"/>
                    <a:pt x="3540" y="383"/>
                    <a:pt x="3538" y="377"/>
                  </a:cubicBezTo>
                  <a:cubicBezTo>
                    <a:pt x="3535" y="371"/>
                    <a:pt x="3528" y="367"/>
                    <a:pt x="3522" y="367"/>
                  </a:cubicBezTo>
                  <a:cubicBezTo>
                    <a:pt x="3522" y="367"/>
                    <a:pt x="3522" y="367"/>
                    <a:pt x="3522" y="367"/>
                  </a:cubicBezTo>
                  <a:moveTo>
                    <a:pt x="3556" y="367"/>
                  </a:moveTo>
                  <a:cubicBezTo>
                    <a:pt x="3549" y="367"/>
                    <a:pt x="3546" y="371"/>
                    <a:pt x="3548" y="377"/>
                  </a:cubicBezTo>
                  <a:cubicBezTo>
                    <a:pt x="3550" y="383"/>
                    <a:pt x="3557" y="387"/>
                    <a:pt x="3564" y="387"/>
                  </a:cubicBezTo>
                  <a:cubicBezTo>
                    <a:pt x="3570" y="387"/>
                    <a:pt x="3574" y="382"/>
                    <a:pt x="3572" y="377"/>
                  </a:cubicBezTo>
                  <a:cubicBezTo>
                    <a:pt x="3569" y="371"/>
                    <a:pt x="3562" y="367"/>
                    <a:pt x="3556" y="367"/>
                  </a:cubicBezTo>
                  <a:cubicBezTo>
                    <a:pt x="3556" y="367"/>
                    <a:pt x="3556" y="367"/>
                    <a:pt x="3556" y="367"/>
                  </a:cubicBezTo>
                  <a:moveTo>
                    <a:pt x="3589" y="366"/>
                  </a:moveTo>
                  <a:cubicBezTo>
                    <a:pt x="3583" y="366"/>
                    <a:pt x="3579" y="371"/>
                    <a:pt x="3582" y="377"/>
                  </a:cubicBezTo>
                  <a:cubicBezTo>
                    <a:pt x="3584" y="382"/>
                    <a:pt x="3591" y="387"/>
                    <a:pt x="3598" y="387"/>
                  </a:cubicBezTo>
                  <a:cubicBezTo>
                    <a:pt x="3604" y="387"/>
                    <a:pt x="3608" y="382"/>
                    <a:pt x="3605" y="377"/>
                  </a:cubicBezTo>
                  <a:cubicBezTo>
                    <a:pt x="3603" y="371"/>
                    <a:pt x="3596" y="366"/>
                    <a:pt x="3589" y="366"/>
                  </a:cubicBezTo>
                  <a:cubicBezTo>
                    <a:pt x="3589" y="366"/>
                    <a:pt x="3589" y="366"/>
                    <a:pt x="3589" y="366"/>
                  </a:cubicBezTo>
                  <a:moveTo>
                    <a:pt x="3623" y="366"/>
                  </a:moveTo>
                  <a:cubicBezTo>
                    <a:pt x="3617" y="366"/>
                    <a:pt x="3613" y="371"/>
                    <a:pt x="3616" y="376"/>
                  </a:cubicBezTo>
                  <a:cubicBezTo>
                    <a:pt x="3618" y="382"/>
                    <a:pt x="3625" y="387"/>
                    <a:pt x="3632" y="387"/>
                  </a:cubicBezTo>
                  <a:cubicBezTo>
                    <a:pt x="3638" y="387"/>
                    <a:pt x="3642" y="382"/>
                    <a:pt x="3639" y="376"/>
                  </a:cubicBezTo>
                  <a:cubicBezTo>
                    <a:pt x="3637" y="371"/>
                    <a:pt x="3630" y="366"/>
                    <a:pt x="3623" y="366"/>
                  </a:cubicBezTo>
                  <a:cubicBezTo>
                    <a:pt x="3623" y="366"/>
                    <a:pt x="3623" y="366"/>
                    <a:pt x="3623" y="366"/>
                  </a:cubicBezTo>
                  <a:moveTo>
                    <a:pt x="3659" y="366"/>
                  </a:moveTo>
                  <a:cubicBezTo>
                    <a:pt x="3653" y="366"/>
                    <a:pt x="3649" y="371"/>
                    <a:pt x="3652" y="376"/>
                  </a:cubicBezTo>
                  <a:cubicBezTo>
                    <a:pt x="3654" y="382"/>
                    <a:pt x="3661" y="386"/>
                    <a:pt x="3668" y="386"/>
                  </a:cubicBezTo>
                  <a:cubicBezTo>
                    <a:pt x="3675" y="386"/>
                    <a:pt x="3678" y="382"/>
                    <a:pt x="3675" y="376"/>
                  </a:cubicBezTo>
                  <a:cubicBezTo>
                    <a:pt x="3673" y="370"/>
                    <a:pt x="3666" y="366"/>
                    <a:pt x="3659" y="366"/>
                  </a:cubicBezTo>
                  <a:cubicBezTo>
                    <a:pt x="3659" y="366"/>
                    <a:pt x="3659" y="366"/>
                    <a:pt x="3659" y="366"/>
                  </a:cubicBezTo>
                  <a:moveTo>
                    <a:pt x="3693" y="366"/>
                  </a:moveTo>
                  <a:cubicBezTo>
                    <a:pt x="3686" y="366"/>
                    <a:pt x="3683" y="370"/>
                    <a:pt x="3685" y="376"/>
                  </a:cubicBezTo>
                  <a:cubicBezTo>
                    <a:pt x="3688" y="382"/>
                    <a:pt x="3695" y="386"/>
                    <a:pt x="3702" y="386"/>
                  </a:cubicBezTo>
                  <a:cubicBezTo>
                    <a:pt x="3708" y="386"/>
                    <a:pt x="3711" y="381"/>
                    <a:pt x="3709" y="376"/>
                  </a:cubicBezTo>
                  <a:cubicBezTo>
                    <a:pt x="3706" y="370"/>
                    <a:pt x="3699" y="366"/>
                    <a:pt x="3693" y="366"/>
                  </a:cubicBezTo>
                  <a:cubicBezTo>
                    <a:pt x="3693" y="366"/>
                    <a:pt x="3693" y="366"/>
                    <a:pt x="3693" y="366"/>
                  </a:cubicBezTo>
                  <a:moveTo>
                    <a:pt x="3726" y="365"/>
                  </a:moveTo>
                  <a:cubicBezTo>
                    <a:pt x="3720" y="365"/>
                    <a:pt x="3716" y="370"/>
                    <a:pt x="3719" y="376"/>
                  </a:cubicBezTo>
                  <a:cubicBezTo>
                    <a:pt x="3721" y="381"/>
                    <a:pt x="3729" y="386"/>
                    <a:pt x="3735" y="386"/>
                  </a:cubicBezTo>
                  <a:cubicBezTo>
                    <a:pt x="3742" y="386"/>
                    <a:pt x="3745" y="381"/>
                    <a:pt x="3743" y="376"/>
                  </a:cubicBezTo>
                  <a:cubicBezTo>
                    <a:pt x="3740" y="370"/>
                    <a:pt x="3733" y="365"/>
                    <a:pt x="3726" y="365"/>
                  </a:cubicBezTo>
                  <a:cubicBezTo>
                    <a:pt x="3726" y="365"/>
                    <a:pt x="3726" y="365"/>
                    <a:pt x="3726" y="365"/>
                  </a:cubicBezTo>
                  <a:moveTo>
                    <a:pt x="3760" y="365"/>
                  </a:moveTo>
                  <a:cubicBezTo>
                    <a:pt x="3754" y="365"/>
                    <a:pt x="3750" y="370"/>
                    <a:pt x="3753" y="375"/>
                  </a:cubicBezTo>
                  <a:cubicBezTo>
                    <a:pt x="3756" y="381"/>
                    <a:pt x="3763" y="386"/>
                    <a:pt x="3770" y="386"/>
                  </a:cubicBezTo>
                  <a:cubicBezTo>
                    <a:pt x="3776" y="386"/>
                    <a:pt x="3779" y="381"/>
                    <a:pt x="3777" y="375"/>
                  </a:cubicBezTo>
                  <a:cubicBezTo>
                    <a:pt x="3774" y="370"/>
                    <a:pt x="3767" y="365"/>
                    <a:pt x="3760" y="365"/>
                  </a:cubicBezTo>
                  <a:cubicBezTo>
                    <a:pt x="3760" y="365"/>
                    <a:pt x="3760" y="365"/>
                    <a:pt x="3760" y="365"/>
                  </a:cubicBezTo>
                  <a:moveTo>
                    <a:pt x="3794" y="365"/>
                  </a:moveTo>
                  <a:cubicBezTo>
                    <a:pt x="3788" y="365"/>
                    <a:pt x="3785" y="370"/>
                    <a:pt x="3787" y="375"/>
                  </a:cubicBezTo>
                  <a:cubicBezTo>
                    <a:pt x="3790" y="381"/>
                    <a:pt x="3798" y="385"/>
                    <a:pt x="3804" y="385"/>
                  </a:cubicBezTo>
                  <a:cubicBezTo>
                    <a:pt x="3811" y="385"/>
                    <a:pt x="3814" y="381"/>
                    <a:pt x="3811" y="375"/>
                  </a:cubicBezTo>
                  <a:cubicBezTo>
                    <a:pt x="3808" y="369"/>
                    <a:pt x="3801" y="365"/>
                    <a:pt x="3794" y="365"/>
                  </a:cubicBezTo>
                  <a:cubicBezTo>
                    <a:pt x="3794" y="365"/>
                    <a:pt x="3794" y="365"/>
                    <a:pt x="3794" y="365"/>
                  </a:cubicBezTo>
                  <a:moveTo>
                    <a:pt x="3828" y="365"/>
                  </a:moveTo>
                  <a:cubicBezTo>
                    <a:pt x="3821" y="365"/>
                    <a:pt x="3818" y="369"/>
                    <a:pt x="3821" y="375"/>
                  </a:cubicBezTo>
                  <a:cubicBezTo>
                    <a:pt x="3824" y="381"/>
                    <a:pt x="3831" y="385"/>
                    <a:pt x="3838" y="385"/>
                  </a:cubicBezTo>
                  <a:cubicBezTo>
                    <a:pt x="3845" y="385"/>
                    <a:pt x="3848" y="380"/>
                    <a:pt x="3845" y="375"/>
                  </a:cubicBezTo>
                  <a:cubicBezTo>
                    <a:pt x="3842" y="369"/>
                    <a:pt x="3834" y="365"/>
                    <a:pt x="3828" y="365"/>
                  </a:cubicBezTo>
                  <a:cubicBezTo>
                    <a:pt x="3828" y="365"/>
                    <a:pt x="3828" y="365"/>
                    <a:pt x="3828" y="365"/>
                  </a:cubicBezTo>
                  <a:moveTo>
                    <a:pt x="3862" y="364"/>
                  </a:moveTo>
                  <a:cubicBezTo>
                    <a:pt x="3855" y="364"/>
                    <a:pt x="3852" y="369"/>
                    <a:pt x="3855" y="375"/>
                  </a:cubicBezTo>
                  <a:cubicBezTo>
                    <a:pt x="3858" y="380"/>
                    <a:pt x="3865" y="385"/>
                    <a:pt x="3872" y="385"/>
                  </a:cubicBezTo>
                  <a:cubicBezTo>
                    <a:pt x="3879" y="385"/>
                    <a:pt x="3882" y="380"/>
                    <a:pt x="3879" y="375"/>
                  </a:cubicBezTo>
                  <a:cubicBezTo>
                    <a:pt x="3876" y="369"/>
                    <a:pt x="3868" y="364"/>
                    <a:pt x="3862" y="364"/>
                  </a:cubicBezTo>
                  <a:cubicBezTo>
                    <a:pt x="3862" y="364"/>
                    <a:pt x="3862" y="364"/>
                    <a:pt x="3862" y="364"/>
                  </a:cubicBezTo>
                  <a:moveTo>
                    <a:pt x="3895" y="364"/>
                  </a:moveTo>
                  <a:cubicBezTo>
                    <a:pt x="3889" y="364"/>
                    <a:pt x="3886" y="369"/>
                    <a:pt x="3889" y="374"/>
                  </a:cubicBezTo>
                  <a:cubicBezTo>
                    <a:pt x="3892" y="380"/>
                    <a:pt x="3899" y="385"/>
                    <a:pt x="3906" y="385"/>
                  </a:cubicBezTo>
                  <a:cubicBezTo>
                    <a:pt x="3912" y="385"/>
                    <a:pt x="3915" y="380"/>
                    <a:pt x="3912" y="374"/>
                  </a:cubicBezTo>
                  <a:cubicBezTo>
                    <a:pt x="3910" y="369"/>
                    <a:pt x="3902" y="364"/>
                    <a:pt x="3895" y="364"/>
                  </a:cubicBezTo>
                  <a:cubicBezTo>
                    <a:pt x="3895" y="364"/>
                    <a:pt x="3895" y="364"/>
                    <a:pt x="3895" y="364"/>
                  </a:cubicBezTo>
                  <a:moveTo>
                    <a:pt x="3995" y="364"/>
                  </a:moveTo>
                  <a:cubicBezTo>
                    <a:pt x="3988" y="364"/>
                    <a:pt x="3986" y="369"/>
                    <a:pt x="3989" y="374"/>
                  </a:cubicBezTo>
                  <a:cubicBezTo>
                    <a:pt x="3992" y="380"/>
                    <a:pt x="4000" y="385"/>
                    <a:pt x="4006" y="385"/>
                  </a:cubicBezTo>
                  <a:cubicBezTo>
                    <a:pt x="4013" y="385"/>
                    <a:pt x="4016" y="380"/>
                    <a:pt x="4013" y="374"/>
                  </a:cubicBezTo>
                  <a:cubicBezTo>
                    <a:pt x="4009" y="369"/>
                    <a:pt x="4002" y="364"/>
                    <a:pt x="3995" y="364"/>
                  </a:cubicBezTo>
                  <a:cubicBezTo>
                    <a:pt x="3995" y="364"/>
                    <a:pt x="3995" y="364"/>
                    <a:pt x="3995" y="364"/>
                  </a:cubicBezTo>
                  <a:moveTo>
                    <a:pt x="3929" y="364"/>
                  </a:moveTo>
                  <a:cubicBezTo>
                    <a:pt x="3923" y="364"/>
                    <a:pt x="3920" y="369"/>
                    <a:pt x="3923" y="374"/>
                  </a:cubicBezTo>
                  <a:cubicBezTo>
                    <a:pt x="3926" y="380"/>
                    <a:pt x="3933" y="384"/>
                    <a:pt x="3940" y="384"/>
                  </a:cubicBezTo>
                  <a:cubicBezTo>
                    <a:pt x="3947" y="384"/>
                    <a:pt x="3949" y="380"/>
                    <a:pt x="3946" y="374"/>
                  </a:cubicBezTo>
                  <a:cubicBezTo>
                    <a:pt x="3943" y="368"/>
                    <a:pt x="3936" y="364"/>
                    <a:pt x="3929" y="364"/>
                  </a:cubicBezTo>
                  <a:cubicBezTo>
                    <a:pt x="3929" y="364"/>
                    <a:pt x="3929" y="364"/>
                    <a:pt x="3929" y="364"/>
                  </a:cubicBezTo>
                  <a:moveTo>
                    <a:pt x="3962" y="364"/>
                  </a:moveTo>
                  <a:cubicBezTo>
                    <a:pt x="3956" y="364"/>
                    <a:pt x="3953" y="368"/>
                    <a:pt x="3956" y="374"/>
                  </a:cubicBezTo>
                  <a:cubicBezTo>
                    <a:pt x="3959" y="380"/>
                    <a:pt x="3967" y="384"/>
                    <a:pt x="3973" y="384"/>
                  </a:cubicBezTo>
                  <a:cubicBezTo>
                    <a:pt x="3980" y="384"/>
                    <a:pt x="3983" y="379"/>
                    <a:pt x="3979" y="374"/>
                  </a:cubicBezTo>
                  <a:cubicBezTo>
                    <a:pt x="3976" y="368"/>
                    <a:pt x="3969" y="364"/>
                    <a:pt x="3962" y="364"/>
                  </a:cubicBezTo>
                  <a:cubicBezTo>
                    <a:pt x="3962" y="364"/>
                    <a:pt x="3962" y="364"/>
                    <a:pt x="3962" y="364"/>
                  </a:cubicBezTo>
                  <a:moveTo>
                    <a:pt x="386" y="360"/>
                  </a:moveTo>
                  <a:cubicBezTo>
                    <a:pt x="380" y="360"/>
                    <a:pt x="371" y="364"/>
                    <a:pt x="366" y="370"/>
                  </a:cubicBezTo>
                  <a:cubicBezTo>
                    <a:pt x="362" y="376"/>
                    <a:pt x="364" y="380"/>
                    <a:pt x="370" y="380"/>
                  </a:cubicBezTo>
                  <a:cubicBezTo>
                    <a:pt x="377" y="380"/>
                    <a:pt x="386" y="375"/>
                    <a:pt x="390" y="370"/>
                  </a:cubicBezTo>
                  <a:cubicBezTo>
                    <a:pt x="394" y="364"/>
                    <a:pt x="393" y="360"/>
                    <a:pt x="386" y="360"/>
                  </a:cubicBezTo>
                  <a:cubicBezTo>
                    <a:pt x="386" y="360"/>
                    <a:pt x="386" y="360"/>
                    <a:pt x="386" y="360"/>
                  </a:cubicBezTo>
                  <a:moveTo>
                    <a:pt x="420" y="360"/>
                  </a:moveTo>
                  <a:cubicBezTo>
                    <a:pt x="413" y="360"/>
                    <a:pt x="404" y="364"/>
                    <a:pt x="400" y="370"/>
                  </a:cubicBezTo>
                  <a:cubicBezTo>
                    <a:pt x="396" y="375"/>
                    <a:pt x="397" y="380"/>
                    <a:pt x="404" y="380"/>
                  </a:cubicBezTo>
                  <a:cubicBezTo>
                    <a:pt x="411" y="380"/>
                    <a:pt x="419" y="375"/>
                    <a:pt x="424" y="370"/>
                  </a:cubicBezTo>
                  <a:cubicBezTo>
                    <a:pt x="428" y="364"/>
                    <a:pt x="426" y="360"/>
                    <a:pt x="420" y="360"/>
                  </a:cubicBezTo>
                  <a:cubicBezTo>
                    <a:pt x="420" y="360"/>
                    <a:pt x="420" y="360"/>
                    <a:pt x="420" y="360"/>
                  </a:cubicBezTo>
                  <a:moveTo>
                    <a:pt x="453" y="359"/>
                  </a:moveTo>
                  <a:cubicBezTo>
                    <a:pt x="447" y="359"/>
                    <a:pt x="438" y="364"/>
                    <a:pt x="434" y="369"/>
                  </a:cubicBezTo>
                  <a:cubicBezTo>
                    <a:pt x="430" y="375"/>
                    <a:pt x="431" y="380"/>
                    <a:pt x="438" y="380"/>
                  </a:cubicBezTo>
                  <a:cubicBezTo>
                    <a:pt x="445" y="379"/>
                    <a:pt x="453" y="375"/>
                    <a:pt x="458" y="369"/>
                  </a:cubicBezTo>
                  <a:cubicBezTo>
                    <a:pt x="462" y="364"/>
                    <a:pt x="460" y="359"/>
                    <a:pt x="454" y="359"/>
                  </a:cubicBezTo>
                  <a:cubicBezTo>
                    <a:pt x="454" y="359"/>
                    <a:pt x="453" y="359"/>
                    <a:pt x="453" y="359"/>
                  </a:cubicBezTo>
                  <a:moveTo>
                    <a:pt x="487" y="359"/>
                  </a:moveTo>
                  <a:cubicBezTo>
                    <a:pt x="480" y="359"/>
                    <a:pt x="472" y="364"/>
                    <a:pt x="468" y="369"/>
                  </a:cubicBezTo>
                  <a:cubicBezTo>
                    <a:pt x="463" y="375"/>
                    <a:pt x="465" y="379"/>
                    <a:pt x="472" y="379"/>
                  </a:cubicBezTo>
                  <a:cubicBezTo>
                    <a:pt x="478" y="379"/>
                    <a:pt x="487" y="375"/>
                    <a:pt x="491" y="369"/>
                  </a:cubicBezTo>
                  <a:cubicBezTo>
                    <a:pt x="495" y="363"/>
                    <a:pt x="494" y="359"/>
                    <a:pt x="487" y="359"/>
                  </a:cubicBezTo>
                  <a:cubicBezTo>
                    <a:pt x="487" y="359"/>
                    <a:pt x="487" y="359"/>
                    <a:pt x="487" y="359"/>
                  </a:cubicBezTo>
                  <a:moveTo>
                    <a:pt x="521" y="359"/>
                  </a:moveTo>
                  <a:cubicBezTo>
                    <a:pt x="514" y="359"/>
                    <a:pt x="506" y="363"/>
                    <a:pt x="501" y="369"/>
                  </a:cubicBezTo>
                  <a:cubicBezTo>
                    <a:pt x="497" y="375"/>
                    <a:pt x="499" y="379"/>
                    <a:pt x="506" y="379"/>
                  </a:cubicBezTo>
                  <a:cubicBezTo>
                    <a:pt x="512" y="379"/>
                    <a:pt x="521" y="374"/>
                    <a:pt x="525" y="369"/>
                  </a:cubicBezTo>
                  <a:cubicBezTo>
                    <a:pt x="529" y="363"/>
                    <a:pt x="527" y="359"/>
                    <a:pt x="521" y="359"/>
                  </a:cubicBezTo>
                  <a:cubicBezTo>
                    <a:pt x="521" y="359"/>
                    <a:pt x="521" y="359"/>
                    <a:pt x="521" y="359"/>
                  </a:cubicBezTo>
                  <a:moveTo>
                    <a:pt x="556" y="358"/>
                  </a:moveTo>
                  <a:cubicBezTo>
                    <a:pt x="549" y="359"/>
                    <a:pt x="541" y="363"/>
                    <a:pt x="536" y="369"/>
                  </a:cubicBezTo>
                  <a:cubicBezTo>
                    <a:pt x="532" y="374"/>
                    <a:pt x="534" y="379"/>
                    <a:pt x="541" y="379"/>
                  </a:cubicBezTo>
                  <a:cubicBezTo>
                    <a:pt x="548" y="379"/>
                    <a:pt x="556" y="374"/>
                    <a:pt x="560" y="369"/>
                  </a:cubicBezTo>
                  <a:cubicBezTo>
                    <a:pt x="564" y="363"/>
                    <a:pt x="562" y="358"/>
                    <a:pt x="556" y="358"/>
                  </a:cubicBezTo>
                  <a:cubicBezTo>
                    <a:pt x="556" y="358"/>
                    <a:pt x="556" y="358"/>
                    <a:pt x="556" y="358"/>
                  </a:cubicBezTo>
                  <a:moveTo>
                    <a:pt x="589" y="358"/>
                  </a:moveTo>
                  <a:cubicBezTo>
                    <a:pt x="583" y="358"/>
                    <a:pt x="574" y="363"/>
                    <a:pt x="570" y="368"/>
                  </a:cubicBezTo>
                  <a:cubicBezTo>
                    <a:pt x="566" y="374"/>
                    <a:pt x="568" y="379"/>
                    <a:pt x="575" y="378"/>
                  </a:cubicBezTo>
                  <a:cubicBezTo>
                    <a:pt x="581" y="378"/>
                    <a:pt x="590" y="374"/>
                    <a:pt x="594" y="368"/>
                  </a:cubicBezTo>
                  <a:cubicBezTo>
                    <a:pt x="598" y="363"/>
                    <a:pt x="596" y="358"/>
                    <a:pt x="589" y="358"/>
                  </a:cubicBezTo>
                  <a:cubicBezTo>
                    <a:pt x="589" y="358"/>
                    <a:pt x="589" y="358"/>
                    <a:pt x="589" y="358"/>
                  </a:cubicBezTo>
                  <a:moveTo>
                    <a:pt x="623" y="358"/>
                  </a:moveTo>
                  <a:cubicBezTo>
                    <a:pt x="616" y="358"/>
                    <a:pt x="608" y="363"/>
                    <a:pt x="604" y="368"/>
                  </a:cubicBezTo>
                  <a:cubicBezTo>
                    <a:pt x="600" y="374"/>
                    <a:pt x="602" y="378"/>
                    <a:pt x="609" y="378"/>
                  </a:cubicBezTo>
                  <a:cubicBezTo>
                    <a:pt x="615" y="378"/>
                    <a:pt x="624" y="374"/>
                    <a:pt x="628" y="368"/>
                  </a:cubicBezTo>
                  <a:cubicBezTo>
                    <a:pt x="632" y="362"/>
                    <a:pt x="629" y="358"/>
                    <a:pt x="623" y="358"/>
                  </a:cubicBezTo>
                  <a:cubicBezTo>
                    <a:pt x="623" y="358"/>
                    <a:pt x="623" y="358"/>
                    <a:pt x="623" y="358"/>
                  </a:cubicBezTo>
                  <a:moveTo>
                    <a:pt x="657" y="358"/>
                  </a:moveTo>
                  <a:cubicBezTo>
                    <a:pt x="651" y="358"/>
                    <a:pt x="642" y="362"/>
                    <a:pt x="638" y="368"/>
                  </a:cubicBezTo>
                  <a:cubicBezTo>
                    <a:pt x="634" y="374"/>
                    <a:pt x="637" y="378"/>
                    <a:pt x="643" y="378"/>
                  </a:cubicBezTo>
                  <a:cubicBezTo>
                    <a:pt x="650" y="378"/>
                    <a:pt x="658" y="373"/>
                    <a:pt x="662" y="368"/>
                  </a:cubicBezTo>
                  <a:cubicBezTo>
                    <a:pt x="666" y="362"/>
                    <a:pt x="664" y="358"/>
                    <a:pt x="657" y="358"/>
                  </a:cubicBezTo>
                  <a:cubicBezTo>
                    <a:pt x="657" y="358"/>
                    <a:pt x="657" y="358"/>
                    <a:pt x="657" y="358"/>
                  </a:cubicBezTo>
                  <a:moveTo>
                    <a:pt x="691" y="357"/>
                  </a:moveTo>
                  <a:cubicBezTo>
                    <a:pt x="684" y="357"/>
                    <a:pt x="676" y="362"/>
                    <a:pt x="672" y="368"/>
                  </a:cubicBezTo>
                  <a:cubicBezTo>
                    <a:pt x="668" y="373"/>
                    <a:pt x="670" y="378"/>
                    <a:pt x="677" y="378"/>
                  </a:cubicBezTo>
                  <a:cubicBezTo>
                    <a:pt x="683" y="378"/>
                    <a:pt x="692" y="373"/>
                    <a:pt x="696" y="367"/>
                  </a:cubicBezTo>
                  <a:cubicBezTo>
                    <a:pt x="699" y="362"/>
                    <a:pt x="697" y="357"/>
                    <a:pt x="691" y="357"/>
                  </a:cubicBezTo>
                  <a:cubicBezTo>
                    <a:pt x="691" y="357"/>
                    <a:pt x="691" y="357"/>
                    <a:pt x="691" y="357"/>
                  </a:cubicBezTo>
                  <a:moveTo>
                    <a:pt x="724" y="357"/>
                  </a:moveTo>
                  <a:cubicBezTo>
                    <a:pt x="718" y="357"/>
                    <a:pt x="709" y="362"/>
                    <a:pt x="706" y="367"/>
                  </a:cubicBezTo>
                  <a:cubicBezTo>
                    <a:pt x="702" y="373"/>
                    <a:pt x="704" y="378"/>
                    <a:pt x="711" y="377"/>
                  </a:cubicBezTo>
                  <a:cubicBezTo>
                    <a:pt x="717" y="377"/>
                    <a:pt x="726" y="373"/>
                    <a:pt x="729" y="367"/>
                  </a:cubicBezTo>
                  <a:cubicBezTo>
                    <a:pt x="733" y="362"/>
                    <a:pt x="731" y="357"/>
                    <a:pt x="724" y="357"/>
                  </a:cubicBezTo>
                  <a:cubicBezTo>
                    <a:pt x="724" y="357"/>
                    <a:pt x="724" y="357"/>
                    <a:pt x="724" y="357"/>
                  </a:cubicBezTo>
                  <a:moveTo>
                    <a:pt x="758" y="357"/>
                  </a:moveTo>
                  <a:cubicBezTo>
                    <a:pt x="751" y="357"/>
                    <a:pt x="743" y="362"/>
                    <a:pt x="739" y="367"/>
                  </a:cubicBezTo>
                  <a:cubicBezTo>
                    <a:pt x="736" y="373"/>
                    <a:pt x="738" y="377"/>
                    <a:pt x="745" y="377"/>
                  </a:cubicBezTo>
                  <a:cubicBezTo>
                    <a:pt x="751" y="377"/>
                    <a:pt x="759" y="373"/>
                    <a:pt x="763" y="367"/>
                  </a:cubicBezTo>
                  <a:cubicBezTo>
                    <a:pt x="767" y="361"/>
                    <a:pt x="764" y="357"/>
                    <a:pt x="758" y="357"/>
                  </a:cubicBezTo>
                  <a:cubicBezTo>
                    <a:pt x="758" y="357"/>
                    <a:pt x="758" y="357"/>
                    <a:pt x="758" y="357"/>
                  </a:cubicBezTo>
                  <a:moveTo>
                    <a:pt x="792" y="357"/>
                  </a:moveTo>
                  <a:cubicBezTo>
                    <a:pt x="785" y="357"/>
                    <a:pt x="777" y="361"/>
                    <a:pt x="773" y="367"/>
                  </a:cubicBezTo>
                  <a:cubicBezTo>
                    <a:pt x="770" y="372"/>
                    <a:pt x="772" y="377"/>
                    <a:pt x="779" y="377"/>
                  </a:cubicBezTo>
                  <a:cubicBezTo>
                    <a:pt x="785" y="377"/>
                    <a:pt x="793" y="372"/>
                    <a:pt x="797" y="367"/>
                  </a:cubicBezTo>
                  <a:cubicBezTo>
                    <a:pt x="800" y="361"/>
                    <a:pt x="798" y="357"/>
                    <a:pt x="792" y="357"/>
                  </a:cubicBezTo>
                  <a:cubicBezTo>
                    <a:pt x="792" y="357"/>
                    <a:pt x="792" y="357"/>
                    <a:pt x="792" y="357"/>
                  </a:cubicBezTo>
                  <a:moveTo>
                    <a:pt x="826" y="356"/>
                  </a:moveTo>
                  <a:cubicBezTo>
                    <a:pt x="819" y="356"/>
                    <a:pt x="811" y="361"/>
                    <a:pt x="807" y="367"/>
                  </a:cubicBezTo>
                  <a:cubicBezTo>
                    <a:pt x="804" y="372"/>
                    <a:pt x="806" y="377"/>
                    <a:pt x="813" y="377"/>
                  </a:cubicBezTo>
                  <a:cubicBezTo>
                    <a:pt x="820" y="377"/>
                    <a:pt x="828" y="372"/>
                    <a:pt x="831" y="366"/>
                  </a:cubicBezTo>
                  <a:cubicBezTo>
                    <a:pt x="835" y="361"/>
                    <a:pt x="832" y="356"/>
                    <a:pt x="826" y="356"/>
                  </a:cubicBezTo>
                  <a:cubicBezTo>
                    <a:pt x="826" y="356"/>
                    <a:pt x="826" y="356"/>
                    <a:pt x="826" y="356"/>
                  </a:cubicBezTo>
                  <a:moveTo>
                    <a:pt x="859" y="356"/>
                  </a:moveTo>
                  <a:cubicBezTo>
                    <a:pt x="853" y="356"/>
                    <a:pt x="845" y="361"/>
                    <a:pt x="841" y="366"/>
                  </a:cubicBezTo>
                  <a:cubicBezTo>
                    <a:pt x="838" y="372"/>
                    <a:pt x="840" y="376"/>
                    <a:pt x="847" y="376"/>
                  </a:cubicBezTo>
                  <a:cubicBezTo>
                    <a:pt x="853" y="376"/>
                    <a:pt x="861" y="372"/>
                    <a:pt x="865" y="366"/>
                  </a:cubicBezTo>
                  <a:cubicBezTo>
                    <a:pt x="868" y="361"/>
                    <a:pt x="866" y="356"/>
                    <a:pt x="859" y="356"/>
                  </a:cubicBezTo>
                  <a:cubicBezTo>
                    <a:pt x="859" y="356"/>
                    <a:pt x="859" y="356"/>
                    <a:pt x="859" y="356"/>
                  </a:cubicBezTo>
                  <a:moveTo>
                    <a:pt x="891" y="356"/>
                  </a:moveTo>
                  <a:cubicBezTo>
                    <a:pt x="885" y="356"/>
                    <a:pt x="877" y="361"/>
                    <a:pt x="873" y="366"/>
                  </a:cubicBezTo>
                  <a:cubicBezTo>
                    <a:pt x="870" y="372"/>
                    <a:pt x="872" y="376"/>
                    <a:pt x="879" y="376"/>
                  </a:cubicBezTo>
                  <a:cubicBezTo>
                    <a:pt x="885" y="376"/>
                    <a:pt x="893" y="372"/>
                    <a:pt x="897" y="366"/>
                  </a:cubicBezTo>
                  <a:cubicBezTo>
                    <a:pt x="900" y="360"/>
                    <a:pt x="898" y="356"/>
                    <a:pt x="891" y="356"/>
                  </a:cubicBezTo>
                  <a:cubicBezTo>
                    <a:pt x="891" y="356"/>
                    <a:pt x="891" y="356"/>
                    <a:pt x="891" y="356"/>
                  </a:cubicBezTo>
                  <a:moveTo>
                    <a:pt x="925" y="356"/>
                  </a:moveTo>
                  <a:cubicBezTo>
                    <a:pt x="919" y="356"/>
                    <a:pt x="911" y="360"/>
                    <a:pt x="907" y="366"/>
                  </a:cubicBezTo>
                  <a:cubicBezTo>
                    <a:pt x="904" y="371"/>
                    <a:pt x="907" y="376"/>
                    <a:pt x="913" y="376"/>
                  </a:cubicBezTo>
                  <a:cubicBezTo>
                    <a:pt x="920" y="376"/>
                    <a:pt x="928" y="371"/>
                    <a:pt x="931" y="366"/>
                  </a:cubicBezTo>
                  <a:cubicBezTo>
                    <a:pt x="934" y="360"/>
                    <a:pt x="932" y="356"/>
                    <a:pt x="925" y="356"/>
                  </a:cubicBezTo>
                  <a:cubicBezTo>
                    <a:pt x="925" y="356"/>
                    <a:pt x="925" y="356"/>
                    <a:pt x="925" y="356"/>
                  </a:cubicBezTo>
                  <a:moveTo>
                    <a:pt x="959" y="355"/>
                  </a:moveTo>
                  <a:cubicBezTo>
                    <a:pt x="952" y="355"/>
                    <a:pt x="944" y="360"/>
                    <a:pt x="941" y="366"/>
                  </a:cubicBezTo>
                  <a:cubicBezTo>
                    <a:pt x="938" y="371"/>
                    <a:pt x="940" y="376"/>
                    <a:pt x="947" y="376"/>
                  </a:cubicBezTo>
                  <a:cubicBezTo>
                    <a:pt x="954" y="376"/>
                    <a:pt x="961" y="371"/>
                    <a:pt x="965" y="365"/>
                  </a:cubicBezTo>
                  <a:cubicBezTo>
                    <a:pt x="968" y="360"/>
                    <a:pt x="965" y="355"/>
                    <a:pt x="959" y="355"/>
                  </a:cubicBezTo>
                  <a:cubicBezTo>
                    <a:pt x="959" y="355"/>
                    <a:pt x="959" y="355"/>
                    <a:pt x="959" y="355"/>
                  </a:cubicBezTo>
                  <a:moveTo>
                    <a:pt x="1060" y="355"/>
                  </a:moveTo>
                  <a:cubicBezTo>
                    <a:pt x="1053" y="355"/>
                    <a:pt x="1045" y="359"/>
                    <a:pt x="1042" y="365"/>
                  </a:cubicBezTo>
                  <a:cubicBezTo>
                    <a:pt x="1039" y="370"/>
                    <a:pt x="1042" y="375"/>
                    <a:pt x="1049" y="375"/>
                  </a:cubicBezTo>
                  <a:cubicBezTo>
                    <a:pt x="1055" y="375"/>
                    <a:pt x="1063" y="370"/>
                    <a:pt x="1066" y="365"/>
                  </a:cubicBezTo>
                  <a:cubicBezTo>
                    <a:pt x="1069" y="359"/>
                    <a:pt x="1066" y="355"/>
                    <a:pt x="1060" y="355"/>
                  </a:cubicBezTo>
                  <a:cubicBezTo>
                    <a:pt x="1060" y="355"/>
                    <a:pt x="1060" y="355"/>
                    <a:pt x="1060" y="355"/>
                  </a:cubicBezTo>
                  <a:moveTo>
                    <a:pt x="1094" y="354"/>
                  </a:moveTo>
                  <a:cubicBezTo>
                    <a:pt x="1087" y="354"/>
                    <a:pt x="1079" y="359"/>
                    <a:pt x="1076" y="365"/>
                  </a:cubicBezTo>
                  <a:cubicBezTo>
                    <a:pt x="1073" y="370"/>
                    <a:pt x="1076" y="375"/>
                    <a:pt x="1083" y="375"/>
                  </a:cubicBezTo>
                  <a:cubicBezTo>
                    <a:pt x="1090" y="375"/>
                    <a:pt x="1097" y="370"/>
                    <a:pt x="1100" y="364"/>
                  </a:cubicBezTo>
                  <a:cubicBezTo>
                    <a:pt x="1103" y="359"/>
                    <a:pt x="1100" y="354"/>
                    <a:pt x="1094" y="354"/>
                  </a:cubicBezTo>
                  <a:cubicBezTo>
                    <a:pt x="1094" y="354"/>
                    <a:pt x="1094" y="354"/>
                    <a:pt x="1094" y="354"/>
                  </a:cubicBezTo>
                  <a:moveTo>
                    <a:pt x="1127" y="354"/>
                  </a:moveTo>
                  <a:cubicBezTo>
                    <a:pt x="1121" y="354"/>
                    <a:pt x="1113" y="359"/>
                    <a:pt x="1110" y="364"/>
                  </a:cubicBezTo>
                  <a:cubicBezTo>
                    <a:pt x="1107" y="370"/>
                    <a:pt x="1110" y="374"/>
                    <a:pt x="1117" y="374"/>
                  </a:cubicBezTo>
                  <a:cubicBezTo>
                    <a:pt x="1123" y="374"/>
                    <a:pt x="1131" y="370"/>
                    <a:pt x="1134" y="364"/>
                  </a:cubicBezTo>
                  <a:cubicBezTo>
                    <a:pt x="1137" y="359"/>
                    <a:pt x="1134" y="354"/>
                    <a:pt x="1127" y="354"/>
                  </a:cubicBezTo>
                  <a:cubicBezTo>
                    <a:pt x="1127" y="354"/>
                    <a:pt x="1127" y="354"/>
                    <a:pt x="1127" y="354"/>
                  </a:cubicBezTo>
                  <a:moveTo>
                    <a:pt x="1160" y="354"/>
                  </a:moveTo>
                  <a:cubicBezTo>
                    <a:pt x="1154" y="354"/>
                    <a:pt x="1146" y="358"/>
                    <a:pt x="1143" y="364"/>
                  </a:cubicBezTo>
                  <a:cubicBezTo>
                    <a:pt x="1140" y="370"/>
                    <a:pt x="1143" y="374"/>
                    <a:pt x="1150" y="374"/>
                  </a:cubicBezTo>
                  <a:cubicBezTo>
                    <a:pt x="1157" y="374"/>
                    <a:pt x="1164" y="370"/>
                    <a:pt x="1167" y="364"/>
                  </a:cubicBezTo>
                  <a:cubicBezTo>
                    <a:pt x="1170" y="358"/>
                    <a:pt x="1167" y="354"/>
                    <a:pt x="1160" y="354"/>
                  </a:cubicBezTo>
                  <a:cubicBezTo>
                    <a:pt x="1160" y="354"/>
                    <a:pt x="1160" y="354"/>
                    <a:pt x="1160" y="354"/>
                  </a:cubicBezTo>
                  <a:moveTo>
                    <a:pt x="1194" y="354"/>
                  </a:moveTo>
                  <a:cubicBezTo>
                    <a:pt x="1188" y="354"/>
                    <a:pt x="1180" y="358"/>
                    <a:pt x="1177" y="364"/>
                  </a:cubicBezTo>
                  <a:cubicBezTo>
                    <a:pt x="1175" y="369"/>
                    <a:pt x="1178" y="374"/>
                    <a:pt x="1184" y="374"/>
                  </a:cubicBezTo>
                  <a:cubicBezTo>
                    <a:pt x="1191" y="374"/>
                    <a:pt x="1198" y="369"/>
                    <a:pt x="1201" y="364"/>
                  </a:cubicBezTo>
                  <a:cubicBezTo>
                    <a:pt x="1204" y="358"/>
                    <a:pt x="1201" y="354"/>
                    <a:pt x="1194" y="354"/>
                  </a:cubicBezTo>
                  <a:cubicBezTo>
                    <a:pt x="1194" y="354"/>
                    <a:pt x="1194" y="354"/>
                    <a:pt x="1194" y="354"/>
                  </a:cubicBezTo>
                  <a:moveTo>
                    <a:pt x="1228" y="353"/>
                  </a:moveTo>
                  <a:cubicBezTo>
                    <a:pt x="1221" y="353"/>
                    <a:pt x="1214" y="358"/>
                    <a:pt x="1211" y="364"/>
                  </a:cubicBezTo>
                  <a:cubicBezTo>
                    <a:pt x="1208" y="369"/>
                    <a:pt x="1211" y="374"/>
                    <a:pt x="1218" y="374"/>
                  </a:cubicBezTo>
                  <a:cubicBezTo>
                    <a:pt x="1225" y="374"/>
                    <a:pt x="1232" y="369"/>
                    <a:pt x="1235" y="363"/>
                  </a:cubicBezTo>
                  <a:cubicBezTo>
                    <a:pt x="1237" y="358"/>
                    <a:pt x="1234" y="353"/>
                    <a:pt x="1228" y="353"/>
                  </a:cubicBezTo>
                  <a:cubicBezTo>
                    <a:pt x="1228" y="353"/>
                    <a:pt x="1228" y="353"/>
                    <a:pt x="1228" y="353"/>
                  </a:cubicBezTo>
                  <a:moveTo>
                    <a:pt x="1262" y="353"/>
                  </a:moveTo>
                  <a:cubicBezTo>
                    <a:pt x="1256" y="353"/>
                    <a:pt x="1248" y="358"/>
                    <a:pt x="1246" y="363"/>
                  </a:cubicBezTo>
                  <a:cubicBezTo>
                    <a:pt x="1243" y="369"/>
                    <a:pt x="1246" y="373"/>
                    <a:pt x="1253" y="373"/>
                  </a:cubicBezTo>
                  <a:cubicBezTo>
                    <a:pt x="1259" y="373"/>
                    <a:pt x="1267" y="369"/>
                    <a:pt x="1269" y="363"/>
                  </a:cubicBezTo>
                  <a:cubicBezTo>
                    <a:pt x="1272" y="358"/>
                    <a:pt x="1269" y="353"/>
                    <a:pt x="1262" y="353"/>
                  </a:cubicBezTo>
                  <a:cubicBezTo>
                    <a:pt x="1262" y="353"/>
                    <a:pt x="1262" y="353"/>
                    <a:pt x="1262" y="353"/>
                  </a:cubicBezTo>
                  <a:moveTo>
                    <a:pt x="1296" y="353"/>
                  </a:moveTo>
                  <a:cubicBezTo>
                    <a:pt x="1290" y="353"/>
                    <a:pt x="1282" y="357"/>
                    <a:pt x="1280" y="363"/>
                  </a:cubicBezTo>
                  <a:cubicBezTo>
                    <a:pt x="1277" y="369"/>
                    <a:pt x="1281" y="373"/>
                    <a:pt x="1287" y="373"/>
                  </a:cubicBezTo>
                  <a:cubicBezTo>
                    <a:pt x="1294" y="373"/>
                    <a:pt x="1301" y="368"/>
                    <a:pt x="1303" y="363"/>
                  </a:cubicBezTo>
                  <a:cubicBezTo>
                    <a:pt x="1306" y="357"/>
                    <a:pt x="1303" y="353"/>
                    <a:pt x="1296" y="353"/>
                  </a:cubicBezTo>
                  <a:cubicBezTo>
                    <a:pt x="1296" y="353"/>
                    <a:pt x="1296" y="353"/>
                    <a:pt x="1296" y="353"/>
                  </a:cubicBezTo>
                  <a:moveTo>
                    <a:pt x="1330" y="353"/>
                  </a:moveTo>
                  <a:cubicBezTo>
                    <a:pt x="1323" y="353"/>
                    <a:pt x="1316" y="357"/>
                    <a:pt x="1313" y="363"/>
                  </a:cubicBezTo>
                  <a:cubicBezTo>
                    <a:pt x="1311" y="368"/>
                    <a:pt x="1314" y="373"/>
                    <a:pt x="1321" y="373"/>
                  </a:cubicBezTo>
                  <a:cubicBezTo>
                    <a:pt x="1327" y="373"/>
                    <a:pt x="1335" y="368"/>
                    <a:pt x="1337" y="363"/>
                  </a:cubicBezTo>
                  <a:cubicBezTo>
                    <a:pt x="1339" y="357"/>
                    <a:pt x="1336" y="353"/>
                    <a:pt x="1330" y="353"/>
                  </a:cubicBezTo>
                  <a:cubicBezTo>
                    <a:pt x="1330" y="353"/>
                    <a:pt x="1330" y="353"/>
                    <a:pt x="1330" y="353"/>
                  </a:cubicBezTo>
                  <a:moveTo>
                    <a:pt x="1967" y="350"/>
                  </a:moveTo>
                  <a:cubicBezTo>
                    <a:pt x="1961" y="350"/>
                    <a:pt x="1954" y="354"/>
                    <a:pt x="1953" y="360"/>
                  </a:cubicBezTo>
                  <a:cubicBezTo>
                    <a:pt x="1952" y="366"/>
                    <a:pt x="1957" y="370"/>
                    <a:pt x="1963" y="370"/>
                  </a:cubicBezTo>
                  <a:cubicBezTo>
                    <a:pt x="1970" y="370"/>
                    <a:pt x="1976" y="365"/>
                    <a:pt x="1977" y="360"/>
                  </a:cubicBezTo>
                  <a:cubicBezTo>
                    <a:pt x="1978" y="354"/>
                    <a:pt x="1974" y="350"/>
                    <a:pt x="1967" y="350"/>
                  </a:cubicBezTo>
                  <a:cubicBezTo>
                    <a:pt x="1967" y="350"/>
                    <a:pt x="1967" y="350"/>
                    <a:pt x="1967" y="350"/>
                  </a:cubicBezTo>
                  <a:moveTo>
                    <a:pt x="2001" y="349"/>
                  </a:moveTo>
                  <a:cubicBezTo>
                    <a:pt x="1995" y="349"/>
                    <a:pt x="1988" y="354"/>
                    <a:pt x="1987" y="360"/>
                  </a:cubicBezTo>
                  <a:cubicBezTo>
                    <a:pt x="1986" y="365"/>
                    <a:pt x="1991" y="370"/>
                    <a:pt x="1997" y="370"/>
                  </a:cubicBezTo>
                  <a:cubicBezTo>
                    <a:pt x="2004" y="370"/>
                    <a:pt x="2010" y="365"/>
                    <a:pt x="2011" y="360"/>
                  </a:cubicBezTo>
                  <a:cubicBezTo>
                    <a:pt x="2012" y="354"/>
                    <a:pt x="2008" y="349"/>
                    <a:pt x="2001" y="349"/>
                  </a:cubicBezTo>
                  <a:cubicBezTo>
                    <a:pt x="2001" y="349"/>
                    <a:pt x="2001" y="349"/>
                    <a:pt x="2001" y="349"/>
                  </a:cubicBezTo>
                  <a:moveTo>
                    <a:pt x="2067" y="349"/>
                  </a:moveTo>
                  <a:cubicBezTo>
                    <a:pt x="2061" y="349"/>
                    <a:pt x="2055" y="354"/>
                    <a:pt x="2054" y="359"/>
                  </a:cubicBezTo>
                  <a:cubicBezTo>
                    <a:pt x="2053" y="365"/>
                    <a:pt x="2058" y="369"/>
                    <a:pt x="2064" y="369"/>
                  </a:cubicBezTo>
                  <a:cubicBezTo>
                    <a:pt x="2071" y="369"/>
                    <a:pt x="2077" y="365"/>
                    <a:pt x="2078" y="359"/>
                  </a:cubicBezTo>
                  <a:cubicBezTo>
                    <a:pt x="2078" y="353"/>
                    <a:pt x="2074" y="349"/>
                    <a:pt x="2068" y="349"/>
                  </a:cubicBezTo>
                  <a:cubicBezTo>
                    <a:pt x="2067" y="349"/>
                    <a:pt x="2067" y="349"/>
                    <a:pt x="2067" y="349"/>
                  </a:cubicBezTo>
                  <a:moveTo>
                    <a:pt x="2203" y="346"/>
                  </a:moveTo>
                  <a:cubicBezTo>
                    <a:pt x="2197" y="346"/>
                    <a:pt x="2191" y="351"/>
                    <a:pt x="2190" y="356"/>
                  </a:cubicBezTo>
                  <a:cubicBezTo>
                    <a:pt x="2190" y="362"/>
                    <a:pt x="2195" y="366"/>
                    <a:pt x="2201" y="366"/>
                  </a:cubicBezTo>
                  <a:cubicBezTo>
                    <a:pt x="2208" y="366"/>
                    <a:pt x="2213" y="362"/>
                    <a:pt x="2214" y="356"/>
                  </a:cubicBezTo>
                  <a:cubicBezTo>
                    <a:pt x="2215" y="350"/>
                    <a:pt x="2210" y="346"/>
                    <a:pt x="2203" y="346"/>
                  </a:cubicBezTo>
                  <a:cubicBezTo>
                    <a:pt x="2203" y="346"/>
                    <a:pt x="2203" y="346"/>
                    <a:pt x="2203" y="346"/>
                  </a:cubicBezTo>
                  <a:moveTo>
                    <a:pt x="2238" y="346"/>
                  </a:moveTo>
                  <a:cubicBezTo>
                    <a:pt x="2231" y="346"/>
                    <a:pt x="2226" y="350"/>
                    <a:pt x="2225" y="356"/>
                  </a:cubicBezTo>
                  <a:cubicBezTo>
                    <a:pt x="2224" y="362"/>
                    <a:pt x="2229" y="366"/>
                    <a:pt x="2236" y="366"/>
                  </a:cubicBezTo>
                  <a:cubicBezTo>
                    <a:pt x="2242" y="366"/>
                    <a:pt x="2248" y="361"/>
                    <a:pt x="2249" y="356"/>
                  </a:cubicBezTo>
                  <a:cubicBezTo>
                    <a:pt x="2249" y="350"/>
                    <a:pt x="2244" y="346"/>
                    <a:pt x="2238" y="346"/>
                  </a:cubicBezTo>
                  <a:cubicBezTo>
                    <a:pt x="2238" y="346"/>
                    <a:pt x="2238" y="346"/>
                    <a:pt x="2238" y="346"/>
                  </a:cubicBezTo>
                  <a:moveTo>
                    <a:pt x="2271" y="345"/>
                  </a:moveTo>
                  <a:cubicBezTo>
                    <a:pt x="2265" y="345"/>
                    <a:pt x="2259" y="350"/>
                    <a:pt x="2258" y="356"/>
                  </a:cubicBezTo>
                  <a:cubicBezTo>
                    <a:pt x="2258" y="361"/>
                    <a:pt x="2263" y="366"/>
                    <a:pt x="2269" y="366"/>
                  </a:cubicBezTo>
                  <a:cubicBezTo>
                    <a:pt x="2276" y="366"/>
                    <a:pt x="2282" y="361"/>
                    <a:pt x="2282" y="356"/>
                  </a:cubicBezTo>
                  <a:cubicBezTo>
                    <a:pt x="2282" y="350"/>
                    <a:pt x="2278" y="345"/>
                    <a:pt x="2271" y="345"/>
                  </a:cubicBezTo>
                  <a:cubicBezTo>
                    <a:pt x="2271" y="345"/>
                    <a:pt x="2271" y="345"/>
                    <a:pt x="2271" y="345"/>
                  </a:cubicBezTo>
                  <a:moveTo>
                    <a:pt x="2573" y="345"/>
                  </a:moveTo>
                  <a:cubicBezTo>
                    <a:pt x="2567" y="345"/>
                    <a:pt x="2561" y="350"/>
                    <a:pt x="2561" y="356"/>
                  </a:cubicBezTo>
                  <a:cubicBezTo>
                    <a:pt x="2562" y="361"/>
                    <a:pt x="2567" y="366"/>
                    <a:pt x="2574" y="366"/>
                  </a:cubicBezTo>
                  <a:cubicBezTo>
                    <a:pt x="2580" y="366"/>
                    <a:pt x="2585" y="361"/>
                    <a:pt x="2585" y="355"/>
                  </a:cubicBezTo>
                  <a:cubicBezTo>
                    <a:pt x="2585" y="350"/>
                    <a:pt x="2580" y="345"/>
                    <a:pt x="2573" y="345"/>
                  </a:cubicBezTo>
                  <a:cubicBezTo>
                    <a:pt x="2573" y="345"/>
                    <a:pt x="2573" y="345"/>
                    <a:pt x="2573" y="345"/>
                  </a:cubicBezTo>
                  <a:moveTo>
                    <a:pt x="2304" y="345"/>
                  </a:moveTo>
                  <a:cubicBezTo>
                    <a:pt x="2298" y="345"/>
                    <a:pt x="2292" y="350"/>
                    <a:pt x="2292" y="355"/>
                  </a:cubicBezTo>
                  <a:cubicBezTo>
                    <a:pt x="2291" y="361"/>
                    <a:pt x="2296" y="366"/>
                    <a:pt x="2303" y="366"/>
                  </a:cubicBezTo>
                  <a:cubicBezTo>
                    <a:pt x="2309" y="366"/>
                    <a:pt x="2315" y="361"/>
                    <a:pt x="2315" y="355"/>
                  </a:cubicBezTo>
                  <a:cubicBezTo>
                    <a:pt x="2316" y="350"/>
                    <a:pt x="2311" y="345"/>
                    <a:pt x="2304" y="345"/>
                  </a:cubicBezTo>
                  <a:cubicBezTo>
                    <a:pt x="2304" y="345"/>
                    <a:pt x="2304" y="345"/>
                    <a:pt x="2304" y="345"/>
                  </a:cubicBezTo>
                  <a:moveTo>
                    <a:pt x="2338" y="345"/>
                  </a:moveTo>
                  <a:cubicBezTo>
                    <a:pt x="2331" y="345"/>
                    <a:pt x="2326" y="350"/>
                    <a:pt x="2325" y="355"/>
                  </a:cubicBezTo>
                  <a:cubicBezTo>
                    <a:pt x="2325" y="361"/>
                    <a:pt x="2330" y="365"/>
                    <a:pt x="2336" y="365"/>
                  </a:cubicBezTo>
                  <a:cubicBezTo>
                    <a:pt x="2343" y="365"/>
                    <a:pt x="2348" y="361"/>
                    <a:pt x="2349" y="355"/>
                  </a:cubicBezTo>
                  <a:cubicBezTo>
                    <a:pt x="2349" y="349"/>
                    <a:pt x="2344" y="345"/>
                    <a:pt x="2338" y="345"/>
                  </a:cubicBezTo>
                  <a:cubicBezTo>
                    <a:pt x="2338" y="345"/>
                    <a:pt x="2338" y="345"/>
                    <a:pt x="2338" y="345"/>
                  </a:cubicBezTo>
                  <a:moveTo>
                    <a:pt x="2371" y="345"/>
                  </a:moveTo>
                  <a:cubicBezTo>
                    <a:pt x="2365" y="345"/>
                    <a:pt x="2359" y="349"/>
                    <a:pt x="2359" y="355"/>
                  </a:cubicBezTo>
                  <a:cubicBezTo>
                    <a:pt x="2359" y="361"/>
                    <a:pt x="2364" y="365"/>
                    <a:pt x="2370" y="365"/>
                  </a:cubicBezTo>
                  <a:cubicBezTo>
                    <a:pt x="2377" y="365"/>
                    <a:pt x="2382" y="360"/>
                    <a:pt x="2383" y="355"/>
                  </a:cubicBezTo>
                  <a:cubicBezTo>
                    <a:pt x="2383" y="349"/>
                    <a:pt x="2378" y="345"/>
                    <a:pt x="2371" y="345"/>
                  </a:cubicBezTo>
                  <a:cubicBezTo>
                    <a:pt x="2371" y="345"/>
                    <a:pt x="2371" y="345"/>
                    <a:pt x="2371" y="345"/>
                  </a:cubicBezTo>
                  <a:moveTo>
                    <a:pt x="2405" y="344"/>
                  </a:moveTo>
                  <a:cubicBezTo>
                    <a:pt x="2399" y="344"/>
                    <a:pt x="2393" y="349"/>
                    <a:pt x="2393" y="355"/>
                  </a:cubicBezTo>
                  <a:cubicBezTo>
                    <a:pt x="2393" y="360"/>
                    <a:pt x="2398" y="365"/>
                    <a:pt x="2404" y="365"/>
                  </a:cubicBezTo>
                  <a:cubicBezTo>
                    <a:pt x="2411" y="365"/>
                    <a:pt x="2416" y="360"/>
                    <a:pt x="2417" y="355"/>
                  </a:cubicBezTo>
                  <a:cubicBezTo>
                    <a:pt x="2417" y="349"/>
                    <a:pt x="2412" y="344"/>
                    <a:pt x="2405" y="344"/>
                  </a:cubicBezTo>
                  <a:cubicBezTo>
                    <a:pt x="2405" y="344"/>
                    <a:pt x="2405" y="344"/>
                    <a:pt x="2405" y="344"/>
                  </a:cubicBezTo>
                  <a:moveTo>
                    <a:pt x="2607" y="344"/>
                  </a:moveTo>
                  <a:cubicBezTo>
                    <a:pt x="2601" y="344"/>
                    <a:pt x="2596" y="349"/>
                    <a:pt x="2596" y="355"/>
                  </a:cubicBezTo>
                  <a:cubicBezTo>
                    <a:pt x="2596" y="360"/>
                    <a:pt x="2602" y="365"/>
                    <a:pt x="2608" y="365"/>
                  </a:cubicBezTo>
                  <a:cubicBezTo>
                    <a:pt x="2615" y="365"/>
                    <a:pt x="2620" y="360"/>
                    <a:pt x="2620" y="354"/>
                  </a:cubicBezTo>
                  <a:cubicBezTo>
                    <a:pt x="2619" y="349"/>
                    <a:pt x="2614" y="344"/>
                    <a:pt x="2607" y="344"/>
                  </a:cubicBezTo>
                  <a:cubicBezTo>
                    <a:pt x="2607" y="344"/>
                    <a:pt x="2607" y="344"/>
                    <a:pt x="2607" y="344"/>
                  </a:cubicBezTo>
                  <a:moveTo>
                    <a:pt x="2439" y="344"/>
                  </a:moveTo>
                  <a:cubicBezTo>
                    <a:pt x="2432" y="344"/>
                    <a:pt x="2427" y="349"/>
                    <a:pt x="2427" y="354"/>
                  </a:cubicBezTo>
                  <a:cubicBezTo>
                    <a:pt x="2426" y="360"/>
                    <a:pt x="2432" y="365"/>
                    <a:pt x="2438" y="365"/>
                  </a:cubicBezTo>
                  <a:cubicBezTo>
                    <a:pt x="2445" y="365"/>
                    <a:pt x="2450" y="360"/>
                    <a:pt x="2450" y="354"/>
                  </a:cubicBezTo>
                  <a:cubicBezTo>
                    <a:pt x="2450" y="349"/>
                    <a:pt x="2445" y="344"/>
                    <a:pt x="2439" y="344"/>
                  </a:cubicBezTo>
                  <a:cubicBezTo>
                    <a:pt x="2439" y="344"/>
                    <a:pt x="2439" y="344"/>
                    <a:pt x="2439" y="344"/>
                  </a:cubicBezTo>
                  <a:moveTo>
                    <a:pt x="2641" y="344"/>
                  </a:moveTo>
                  <a:cubicBezTo>
                    <a:pt x="2634" y="344"/>
                    <a:pt x="2629" y="349"/>
                    <a:pt x="2629" y="354"/>
                  </a:cubicBezTo>
                  <a:cubicBezTo>
                    <a:pt x="2630" y="360"/>
                    <a:pt x="2635" y="364"/>
                    <a:pt x="2642" y="364"/>
                  </a:cubicBezTo>
                  <a:cubicBezTo>
                    <a:pt x="2648" y="364"/>
                    <a:pt x="2653" y="360"/>
                    <a:pt x="2653" y="354"/>
                  </a:cubicBezTo>
                  <a:cubicBezTo>
                    <a:pt x="2653" y="348"/>
                    <a:pt x="2647" y="344"/>
                    <a:pt x="2641" y="344"/>
                  </a:cubicBezTo>
                  <a:cubicBezTo>
                    <a:pt x="2641" y="344"/>
                    <a:pt x="2641" y="344"/>
                    <a:pt x="2641" y="344"/>
                  </a:cubicBezTo>
                  <a:moveTo>
                    <a:pt x="2472" y="344"/>
                  </a:moveTo>
                  <a:cubicBezTo>
                    <a:pt x="2466" y="344"/>
                    <a:pt x="2460" y="349"/>
                    <a:pt x="2460" y="354"/>
                  </a:cubicBezTo>
                  <a:cubicBezTo>
                    <a:pt x="2460" y="360"/>
                    <a:pt x="2465" y="364"/>
                    <a:pt x="2472" y="364"/>
                  </a:cubicBezTo>
                  <a:cubicBezTo>
                    <a:pt x="2478" y="364"/>
                    <a:pt x="2484" y="360"/>
                    <a:pt x="2484" y="354"/>
                  </a:cubicBezTo>
                  <a:cubicBezTo>
                    <a:pt x="2484" y="348"/>
                    <a:pt x="2479" y="344"/>
                    <a:pt x="2472" y="344"/>
                  </a:cubicBezTo>
                  <a:cubicBezTo>
                    <a:pt x="2472" y="344"/>
                    <a:pt x="2472" y="344"/>
                    <a:pt x="2472" y="344"/>
                  </a:cubicBezTo>
                  <a:moveTo>
                    <a:pt x="2674" y="344"/>
                  </a:moveTo>
                  <a:cubicBezTo>
                    <a:pt x="2667" y="344"/>
                    <a:pt x="2662" y="348"/>
                    <a:pt x="2663" y="354"/>
                  </a:cubicBezTo>
                  <a:cubicBezTo>
                    <a:pt x="2663" y="360"/>
                    <a:pt x="2669" y="364"/>
                    <a:pt x="2675" y="364"/>
                  </a:cubicBezTo>
                  <a:cubicBezTo>
                    <a:pt x="2682" y="364"/>
                    <a:pt x="2687" y="359"/>
                    <a:pt x="2686" y="354"/>
                  </a:cubicBezTo>
                  <a:cubicBezTo>
                    <a:pt x="2686" y="348"/>
                    <a:pt x="2680" y="344"/>
                    <a:pt x="2674" y="344"/>
                  </a:cubicBezTo>
                  <a:cubicBezTo>
                    <a:pt x="2674" y="344"/>
                    <a:pt x="2674" y="344"/>
                    <a:pt x="2674" y="344"/>
                  </a:cubicBezTo>
                  <a:moveTo>
                    <a:pt x="2505" y="344"/>
                  </a:moveTo>
                  <a:cubicBezTo>
                    <a:pt x="2499" y="344"/>
                    <a:pt x="2494" y="348"/>
                    <a:pt x="2494" y="354"/>
                  </a:cubicBezTo>
                  <a:cubicBezTo>
                    <a:pt x="2494" y="360"/>
                    <a:pt x="2499" y="364"/>
                    <a:pt x="2505" y="364"/>
                  </a:cubicBezTo>
                  <a:cubicBezTo>
                    <a:pt x="2512" y="364"/>
                    <a:pt x="2517" y="359"/>
                    <a:pt x="2517" y="354"/>
                  </a:cubicBezTo>
                  <a:cubicBezTo>
                    <a:pt x="2517" y="348"/>
                    <a:pt x="2512" y="344"/>
                    <a:pt x="2506" y="344"/>
                  </a:cubicBezTo>
                  <a:cubicBezTo>
                    <a:pt x="2505" y="344"/>
                    <a:pt x="2505" y="344"/>
                    <a:pt x="2505" y="344"/>
                  </a:cubicBezTo>
                  <a:moveTo>
                    <a:pt x="2707" y="343"/>
                  </a:moveTo>
                  <a:cubicBezTo>
                    <a:pt x="2701" y="343"/>
                    <a:pt x="2696" y="348"/>
                    <a:pt x="2696" y="354"/>
                  </a:cubicBezTo>
                  <a:cubicBezTo>
                    <a:pt x="2697" y="359"/>
                    <a:pt x="2702" y="364"/>
                    <a:pt x="2709" y="364"/>
                  </a:cubicBezTo>
                  <a:cubicBezTo>
                    <a:pt x="2715" y="364"/>
                    <a:pt x="2720" y="359"/>
                    <a:pt x="2720" y="354"/>
                  </a:cubicBezTo>
                  <a:cubicBezTo>
                    <a:pt x="2719" y="348"/>
                    <a:pt x="2714" y="343"/>
                    <a:pt x="2707" y="343"/>
                  </a:cubicBezTo>
                  <a:cubicBezTo>
                    <a:pt x="2707" y="343"/>
                    <a:pt x="2707" y="343"/>
                    <a:pt x="2707" y="343"/>
                  </a:cubicBezTo>
                  <a:moveTo>
                    <a:pt x="2539" y="343"/>
                  </a:moveTo>
                  <a:cubicBezTo>
                    <a:pt x="2533" y="343"/>
                    <a:pt x="2527" y="348"/>
                    <a:pt x="2527" y="354"/>
                  </a:cubicBezTo>
                  <a:cubicBezTo>
                    <a:pt x="2527" y="359"/>
                    <a:pt x="2533" y="364"/>
                    <a:pt x="2539" y="364"/>
                  </a:cubicBezTo>
                  <a:cubicBezTo>
                    <a:pt x="2546" y="364"/>
                    <a:pt x="2551" y="359"/>
                    <a:pt x="2551" y="354"/>
                  </a:cubicBezTo>
                  <a:cubicBezTo>
                    <a:pt x="2551" y="348"/>
                    <a:pt x="2546" y="343"/>
                    <a:pt x="2539" y="343"/>
                  </a:cubicBezTo>
                  <a:cubicBezTo>
                    <a:pt x="2539" y="343"/>
                    <a:pt x="2539" y="343"/>
                    <a:pt x="2539" y="343"/>
                  </a:cubicBezTo>
                  <a:moveTo>
                    <a:pt x="2741" y="343"/>
                  </a:moveTo>
                  <a:cubicBezTo>
                    <a:pt x="2734" y="343"/>
                    <a:pt x="2729" y="348"/>
                    <a:pt x="2730" y="353"/>
                  </a:cubicBezTo>
                  <a:cubicBezTo>
                    <a:pt x="2730" y="359"/>
                    <a:pt x="2736" y="364"/>
                    <a:pt x="2743" y="364"/>
                  </a:cubicBezTo>
                  <a:cubicBezTo>
                    <a:pt x="2749" y="364"/>
                    <a:pt x="2754" y="359"/>
                    <a:pt x="2753" y="353"/>
                  </a:cubicBezTo>
                  <a:cubicBezTo>
                    <a:pt x="2753" y="348"/>
                    <a:pt x="2747" y="343"/>
                    <a:pt x="2741" y="343"/>
                  </a:cubicBezTo>
                  <a:cubicBezTo>
                    <a:pt x="2741" y="343"/>
                    <a:pt x="2741" y="343"/>
                    <a:pt x="2741" y="343"/>
                  </a:cubicBezTo>
                  <a:moveTo>
                    <a:pt x="2941" y="343"/>
                  </a:moveTo>
                  <a:cubicBezTo>
                    <a:pt x="2934" y="343"/>
                    <a:pt x="2930" y="347"/>
                    <a:pt x="2931" y="353"/>
                  </a:cubicBezTo>
                  <a:cubicBezTo>
                    <a:pt x="2932" y="358"/>
                    <a:pt x="2938" y="362"/>
                    <a:pt x="2944" y="362"/>
                  </a:cubicBezTo>
                  <a:cubicBezTo>
                    <a:pt x="2950" y="362"/>
                    <a:pt x="2954" y="358"/>
                    <a:pt x="2953" y="353"/>
                  </a:cubicBezTo>
                  <a:cubicBezTo>
                    <a:pt x="2952" y="347"/>
                    <a:pt x="2947" y="343"/>
                    <a:pt x="2941" y="343"/>
                  </a:cubicBezTo>
                  <a:cubicBezTo>
                    <a:pt x="2941" y="343"/>
                    <a:pt x="2941" y="343"/>
                    <a:pt x="2941" y="343"/>
                  </a:cubicBezTo>
                  <a:moveTo>
                    <a:pt x="2775" y="343"/>
                  </a:moveTo>
                  <a:cubicBezTo>
                    <a:pt x="2768" y="343"/>
                    <a:pt x="2763" y="348"/>
                    <a:pt x="2764" y="353"/>
                  </a:cubicBezTo>
                  <a:cubicBezTo>
                    <a:pt x="2764" y="359"/>
                    <a:pt x="2770" y="363"/>
                    <a:pt x="2777" y="363"/>
                  </a:cubicBezTo>
                  <a:cubicBezTo>
                    <a:pt x="2783" y="363"/>
                    <a:pt x="2788" y="359"/>
                    <a:pt x="2787" y="353"/>
                  </a:cubicBezTo>
                  <a:cubicBezTo>
                    <a:pt x="2787" y="347"/>
                    <a:pt x="2781" y="343"/>
                    <a:pt x="2775" y="343"/>
                  </a:cubicBezTo>
                  <a:cubicBezTo>
                    <a:pt x="2775" y="343"/>
                    <a:pt x="2775" y="343"/>
                    <a:pt x="2775" y="343"/>
                  </a:cubicBezTo>
                  <a:moveTo>
                    <a:pt x="2975" y="343"/>
                  </a:moveTo>
                  <a:cubicBezTo>
                    <a:pt x="2969" y="343"/>
                    <a:pt x="2965" y="347"/>
                    <a:pt x="2966" y="352"/>
                  </a:cubicBezTo>
                  <a:cubicBezTo>
                    <a:pt x="2966" y="358"/>
                    <a:pt x="2972" y="362"/>
                    <a:pt x="2978" y="362"/>
                  </a:cubicBezTo>
                  <a:cubicBezTo>
                    <a:pt x="2985" y="362"/>
                    <a:pt x="2989" y="358"/>
                    <a:pt x="2988" y="352"/>
                  </a:cubicBezTo>
                  <a:cubicBezTo>
                    <a:pt x="2987" y="347"/>
                    <a:pt x="2981" y="343"/>
                    <a:pt x="2975" y="343"/>
                  </a:cubicBezTo>
                  <a:cubicBezTo>
                    <a:pt x="2975" y="343"/>
                    <a:pt x="2975" y="343"/>
                    <a:pt x="2975" y="343"/>
                  </a:cubicBezTo>
                  <a:moveTo>
                    <a:pt x="2808" y="343"/>
                  </a:moveTo>
                  <a:cubicBezTo>
                    <a:pt x="2802" y="343"/>
                    <a:pt x="2797" y="347"/>
                    <a:pt x="2797" y="353"/>
                  </a:cubicBezTo>
                  <a:cubicBezTo>
                    <a:pt x="2798" y="359"/>
                    <a:pt x="2804" y="363"/>
                    <a:pt x="2810" y="363"/>
                  </a:cubicBezTo>
                  <a:cubicBezTo>
                    <a:pt x="2817" y="363"/>
                    <a:pt x="2822" y="358"/>
                    <a:pt x="2821" y="353"/>
                  </a:cubicBezTo>
                  <a:cubicBezTo>
                    <a:pt x="2820" y="347"/>
                    <a:pt x="2815" y="343"/>
                    <a:pt x="2808" y="343"/>
                  </a:cubicBezTo>
                  <a:cubicBezTo>
                    <a:pt x="2808" y="343"/>
                    <a:pt x="2808" y="343"/>
                    <a:pt x="2808" y="343"/>
                  </a:cubicBezTo>
                  <a:moveTo>
                    <a:pt x="2842" y="342"/>
                  </a:moveTo>
                  <a:cubicBezTo>
                    <a:pt x="2835" y="342"/>
                    <a:pt x="2830" y="347"/>
                    <a:pt x="2831" y="353"/>
                  </a:cubicBezTo>
                  <a:cubicBezTo>
                    <a:pt x="2832" y="358"/>
                    <a:pt x="2838" y="363"/>
                    <a:pt x="2844" y="363"/>
                  </a:cubicBezTo>
                  <a:cubicBezTo>
                    <a:pt x="2851" y="363"/>
                    <a:pt x="2855" y="358"/>
                    <a:pt x="2855" y="353"/>
                  </a:cubicBezTo>
                  <a:cubicBezTo>
                    <a:pt x="2854" y="347"/>
                    <a:pt x="2848" y="342"/>
                    <a:pt x="2842" y="342"/>
                  </a:cubicBezTo>
                  <a:cubicBezTo>
                    <a:pt x="2842" y="342"/>
                    <a:pt x="2842" y="342"/>
                    <a:pt x="2842" y="342"/>
                  </a:cubicBezTo>
                  <a:moveTo>
                    <a:pt x="2875" y="342"/>
                  </a:moveTo>
                  <a:cubicBezTo>
                    <a:pt x="2868" y="342"/>
                    <a:pt x="2864" y="347"/>
                    <a:pt x="2865" y="352"/>
                  </a:cubicBezTo>
                  <a:cubicBezTo>
                    <a:pt x="2865" y="358"/>
                    <a:pt x="2871" y="363"/>
                    <a:pt x="2878" y="363"/>
                  </a:cubicBezTo>
                  <a:cubicBezTo>
                    <a:pt x="2884" y="363"/>
                    <a:pt x="2889" y="358"/>
                    <a:pt x="2888" y="352"/>
                  </a:cubicBezTo>
                  <a:cubicBezTo>
                    <a:pt x="2887" y="347"/>
                    <a:pt x="2881" y="342"/>
                    <a:pt x="2875" y="342"/>
                  </a:cubicBezTo>
                  <a:cubicBezTo>
                    <a:pt x="2875" y="342"/>
                    <a:pt x="2875" y="342"/>
                    <a:pt x="2875" y="342"/>
                  </a:cubicBezTo>
                  <a:moveTo>
                    <a:pt x="2908" y="342"/>
                  </a:moveTo>
                  <a:cubicBezTo>
                    <a:pt x="2902" y="342"/>
                    <a:pt x="2897" y="347"/>
                    <a:pt x="2898" y="352"/>
                  </a:cubicBezTo>
                  <a:cubicBezTo>
                    <a:pt x="2899" y="358"/>
                    <a:pt x="2905" y="362"/>
                    <a:pt x="2912" y="362"/>
                  </a:cubicBezTo>
                  <a:cubicBezTo>
                    <a:pt x="2918" y="362"/>
                    <a:pt x="2923" y="358"/>
                    <a:pt x="2922" y="352"/>
                  </a:cubicBezTo>
                  <a:cubicBezTo>
                    <a:pt x="2921" y="346"/>
                    <a:pt x="2915" y="342"/>
                    <a:pt x="2909" y="342"/>
                  </a:cubicBezTo>
                  <a:cubicBezTo>
                    <a:pt x="2909" y="342"/>
                    <a:pt x="2908" y="342"/>
                    <a:pt x="2908" y="342"/>
                  </a:cubicBezTo>
                  <a:moveTo>
                    <a:pt x="3008" y="341"/>
                  </a:moveTo>
                  <a:cubicBezTo>
                    <a:pt x="3002" y="341"/>
                    <a:pt x="2997" y="346"/>
                    <a:pt x="2998" y="351"/>
                  </a:cubicBezTo>
                  <a:cubicBezTo>
                    <a:pt x="2999" y="357"/>
                    <a:pt x="3005" y="362"/>
                    <a:pt x="3012" y="362"/>
                  </a:cubicBezTo>
                  <a:cubicBezTo>
                    <a:pt x="3018" y="362"/>
                    <a:pt x="3023" y="357"/>
                    <a:pt x="3022" y="351"/>
                  </a:cubicBezTo>
                  <a:cubicBezTo>
                    <a:pt x="3021" y="346"/>
                    <a:pt x="3015" y="341"/>
                    <a:pt x="3008" y="341"/>
                  </a:cubicBezTo>
                  <a:cubicBezTo>
                    <a:pt x="3008" y="341"/>
                    <a:pt x="3008" y="341"/>
                    <a:pt x="3008" y="341"/>
                  </a:cubicBezTo>
                  <a:moveTo>
                    <a:pt x="3041" y="341"/>
                  </a:moveTo>
                  <a:cubicBezTo>
                    <a:pt x="3035" y="341"/>
                    <a:pt x="3030" y="346"/>
                    <a:pt x="3031" y="351"/>
                  </a:cubicBezTo>
                  <a:cubicBezTo>
                    <a:pt x="3033" y="357"/>
                    <a:pt x="3039" y="361"/>
                    <a:pt x="3045" y="361"/>
                  </a:cubicBezTo>
                  <a:cubicBezTo>
                    <a:pt x="3052" y="361"/>
                    <a:pt x="3056" y="357"/>
                    <a:pt x="3055" y="351"/>
                  </a:cubicBezTo>
                  <a:cubicBezTo>
                    <a:pt x="3054" y="345"/>
                    <a:pt x="3048" y="341"/>
                    <a:pt x="3041" y="341"/>
                  </a:cubicBezTo>
                  <a:cubicBezTo>
                    <a:pt x="3041" y="341"/>
                    <a:pt x="3041" y="341"/>
                    <a:pt x="3041" y="341"/>
                  </a:cubicBezTo>
                  <a:moveTo>
                    <a:pt x="3074" y="341"/>
                  </a:moveTo>
                  <a:cubicBezTo>
                    <a:pt x="3068" y="341"/>
                    <a:pt x="3064" y="345"/>
                    <a:pt x="3065" y="351"/>
                  </a:cubicBezTo>
                  <a:cubicBezTo>
                    <a:pt x="3066" y="357"/>
                    <a:pt x="3072" y="361"/>
                    <a:pt x="3079" y="361"/>
                  </a:cubicBezTo>
                  <a:cubicBezTo>
                    <a:pt x="3085" y="361"/>
                    <a:pt x="3090" y="356"/>
                    <a:pt x="3088" y="351"/>
                  </a:cubicBezTo>
                  <a:cubicBezTo>
                    <a:pt x="3087" y="345"/>
                    <a:pt x="3081" y="341"/>
                    <a:pt x="3075" y="341"/>
                  </a:cubicBezTo>
                  <a:cubicBezTo>
                    <a:pt x="3075" y="341"/>
                    <a:pt x="3075" y="341"/>
                    <a:pt x="3074" y="341"/>
                  </a:cubicBezTo>
                  <a:moveTo>
                    <a:pt x="3108" y="340"/>
                  </a:moveTo>
                  <a:cubicBezTo>
                    <a:pt x="3102" y="340"/>
                    <a:pt x="3097" y="345"/>
                    <a:pt x="3099" y="351"/>
                  </a:cubicBezTo>
                  <a:cubicBezTo>
                    <a:pt x="3100" y="356"/>
                    <a:pt x="3106" y="361"/>
                    <a:pt x="3113" y="361"/>
                  </a:cubicBezTo>
                  <a:cubicBezTo>
                    <a:pt x="3119" y="361"/>
                    <a:pt x="3123" y="356"/>
                    <a:pt x="3122" y="351"/>
                  </a:cubicBezTo>
                  <a:cubicBezTo>
                    <a:pt x="3121" y="345"/>
                    <a:pt x="3115" y="340"/>
                    <a:pt x="3108" y="340"/>
                  </a:cubicBezTo>
                  <a:cubicBezTo>
                    <a:pt x="3108" y="340"/>
                    <a:pt x="3108" y="340"/>
                    <a:pt x="3108" y="340"/>
                  </a:cubicBezTo>
                  <a:moveTo>
                    <a:pt x="3142" y="340"/>
                  </a:moveTo>
                  <a:cubicBezTo>
                    <a:pt x="3135" y="340"/>
                    <a:pt x="3131" y="345"/>
                    <a:pt x="3133" y="350"/>
                  </a:cubicBezTo>
                  <a:cubicBezTo>
                    <a:pt x="3134" y="356"/>
                    <a:pt x="3140" y="361"/>
                    <a:pt x="3147" y="361"/>
                  </a:cubicBezTo>
                  <a:cubicBezTo>
                    <a:pt x="3153" y="361"/>
                    <a:pt x="3158" y="356"/>
                    <a:pt x="3156" y="350"/>
                  </a:cubicBezTo>
                  <a:cubicBezTo>
                    <a:pt x="3155" y="345"/>
                    <a:pt x="3148" y="340"/>
                    <a:pt x="3142" y="340"/>
                  </a:cubicBezTo>
                  <a:cubicBezTo>
                    <a:pt x="3142" y="340"/>
                    <a:pt x="3142" y="340"/>
                    <a:pt x="3142" y="340"/>
                  </a:cubicBezTo>
                  <a:moveTo>
                    <a:pt x="3175" y="340"/>
                  </a:moveTo>
                  <a:cubicBezTo>
                    <a:pt x="3169" y="340"/>
                    <a:pt x="3165" y="344"/>
                    <a:pt x="3166" y="350"/>
                  </a:cubicBezTo>
                  <a:cubicBezTo>
                    <a:pt x="3167" y="356"/>
                    <a:pt x="3174" y="360"/>
                    <a:pt x="3180" y="360"/>
                  </a:cubicBezTo>
                  <a:cubicBezTo>
                    <a:pt x="3187" y="360"/>
                    <a:pt x="3191" y="356"/>
                    <a:pt x="3190" y="350"/>
                  </a:cubicBezTo>
                  <a:cubicBezTo>
                    <a:pt x="3188" y="344"/>
                    <a:pt x="3182" y="340"/>
                    <a:pt x="3175" y="340"/>
                  </a:cubicBezTo>
                  <a:cubicBezTo>
                    <a:pt x="3175" y="340"/>
                    <a:pt x="3175" y="340"/>
                    <a:pt x="3175" y="340"/>
                  </a:cubicBezTo>
                  <a:moveTo>
                    <a:pt x="3209" y="340"/>
                  </a:moveTo>
                  <a:cubicBezTo>
                    <a:pt x="3202" y="340"/>
                    <a:pt x="3198" y="344"/>
                    <a:pt x="3200" y="350"/>
                  </a:cubicBezTo>
                  <a:cubicBezTo>
                    <a:pt x="3201" y="356"/>
                    <a:pt x="3208" y="360"/>
                    <a:pt x="3214" y="360"/>
                  </a:cubicBezTo>
                  <a:cubicBezTo>
                    <a:pt x="3221" y="360"/>
                    <a:pt x="3225" y="355"/>
                    <a:pt x="3223" y="350"/>
                  </a:cubicBezTo>
                  <a:cubicBezTo>
                    <a:pt x="3222" y="344"/>
                    <a:pt x="3215" y="340"/>
                    <a:pt x="3209" y="340"/>
                  </a:cubicBezTo>
                  <a:cubicBezTo>
                    <a:pt x="3209" y="340"/>
                    <a:pt x="3209" y="340"/>
                    <a:pt x="3209" y="340"/>
                  </a:cubicBezTo>
                  <a:moveTo>
                    <a:pt x="3242" y="339"/>
                  </a:moveTo>
                  <a:cubicBezTo>
                    <a:pt x="3236" y="339"/>
                    <a:pt x="3232" y="344"/>
                    <a:pt x="3233" y="350"/>
                  </a:cubicBezTo>
                  <a:cubicBezTo>
                    <a:pt x="3235" y="355"/>
                    <a:pt x="3241" y="360"/>
                    <a:pt x="3248" y="360"/>
                  </a:cubicBezTo>
                  <a:cubicBezTo>
                    <a:pt x="3254" y="360"/>
                    <a:pt x="3258" y="355"/>
                    <a:pt x="3257" y="349"/>
                  </a:cubicBezTo>
                  <a:cubicBezTo>
                    <a:pt x="3255" y="344"/>
                    <a:pt x="3249" y="339"/>
                    <a:pt x="3242" y="339"/>
                  </a:cubicBezTo>
                  <a:cubicBezTo>
                    <a:pt x="3242" y="339"/>
                    <a:pt x="3242" y="339"/>
                    <a:pt x="3242" y="339"/>
                  </a:cubicBezTo>
                  <a:moveTo>
                    <a:pt x="3276" y="339"/>
                  </a:moveTo>
                  <a:cubicBezTo>
                    <a:pt x="3269" y="339"/>
                    <a:pt x="3265" y="344"/>
                    <a:pt x="3267" y="349"/>
                  </a:cubicBezTo>
                  <a:cubicBezTo>
                    <a:pt x="3268" y="355"/>
                    <a:pt x="3275" y="360"/>
                    <a:pt x="3282" y="360"/>
                  </a:cubicBezTo>
                  <a:cubicBezTo>
                    <a:pt x="3288" y="360"/>
                    <a:pt x="3292" y="355"/>
                    <a:pt x="3290" y="349"/>
                  </a:cubicBezTo>
                  <a:cubicBezTo>
                    <a:pt x="3289" y="344"/>
                    <a:pt x="3282" y="339"/>
                    <a:pt x="3276" y="339"/>
                  </a:cubicBezTo>
                  <a:cubicBezTo>
                    <a:pt x="3276" y="339"/>
                    <a:pt x="3276" y="339"/>
                    <a:pt x="3276" y="339"/>
                  </a:cubicBezTo>
                  <a:moveTo>
                    <a:pt x="3310" y="339"/>
                  </a:moveTo>
                  <a:cubicBezTo>
                    <a:pt x="3304" y="339"/>
                    <a:pt x="3300" y="343"/>
                    <a:pt x="3302" y="349"/>
                  </a:cubicBezTo>
                  <a:cubicBezTo>
                    <a:pt x="3303" y="355"/>
                    <a:pt x="3310" y="359"/>
                    <a:pt x="3317" y="359"/>
                  </a:cubicBezTo>
                  <a:cubicBezTo>
                    <a:pt x="3323" y="359"/>
                    <a:pt x="3327" y="355"/>
                    <a:pt x="3325" y="349"/>
                  </a:cubicBezTo>
                  <a:cubicBezTo>
                    <a:pt x="3324" y="343"/>
                    <a:pt x="3317" y="339"/>
                    <a:pt x="3311" y="339"/>
                  </a:cubicBezTo>
                  <a:cubicBezTo>
                    <a:pt x="3311" y="339"/>
                    <a:pt x="3310" y="339"/>
                    <a:pt x="3310" y="339"/>
                  </a:cubicBezTo>
                  <a:moveTo>
                    <a:pt x="3344" y="339"/>
                  </a:moveTo>
                  <a:cubicBezTo>
                    <a:pt x="3337" y="339"/>
                    <a:pt x="3333" y="343"/>
                    <a:pt x="3335" y="349"/>
                  </a:cubicBezTo>
                  <a:cubicBezTo>
                    <a:pt x="3337" y="355"/>
                    <a:pt x="3344" y="359"/>
                    <a:pt x="3350" y="359"/>
                  </a:cubicBezTo>
                  <a:cubicBezTo>
                    <a:pt x="3357" y="359"/>
                    <a:pt x="3361" y="354"/>
                    <a:pt x="3359" y="349"/>
                  </a:cubicBezTo>
                  <a:cubicBezTo>
                    <a:pt x="3357" y="343"/>
                    <a:pt x="3350" y="339"/>
                    <a:pt x="3344" y="339"/>
                  </a:cubicBezTo>
                  <a:cubicBezTo>
                    <a:pt x="3344" y="339"/>
                    <a:pt x="3344" y="339"/>
                    <a:pt x="3344" y="339"/>
                  </a:cubicBezTo>
                  <a:moveTo>
                    <a:pt x="3377" y="338"/>
                  </a:moveTo>
                  <a:cubicBezTo>
                    <a:pt x="3370" y="338"/>
                    <a:pt x="3367" y="343"/>
                    <a:pt x="3368" y="349"/>
                  </a:cubicBezTo>
                  <a:cubicBezTo>
                    <a:pt x="3370" y="354"/>
                    <a:pt x="3377" y="359"/>
                    <a:pt x="3383" y="359"/>
                  </a:cubicBezTo>
                  <a:cubicBezTo>
                    <a:pt x="3390" y="359"/>
                    <a:pt x="3394" y="354"/>
                    <a:pt x="3392" y="348"/>
                  </a:cubicBezTo>
                  <a:cubicBezTo>
                    <a:pt x="3390" y="343"/>
                    <a:pt x="3383" y="338"/>
                    <a:pt x="3377" y="338"/>
                  </a:cubicBezTo>
                  <a:cubicBezTo>
                    <a:pt x="3377" y="338"/>
                    <a:pt x="3377" y="338"/>
                    <a:pt x="3377" y="338"/>
                  </a:cubicBezTo>
                  <a:moveTo>
                    <a:pt x="3410" y="338"/>
                  </a:moveTo>
                  <a:cubicBezTo>
                    <a:pt x="3404" y="338"/>
                    <a:pt x="3400" y="343"/>
                    <a:pt x="3402" y="348"/>
                  </a:cubicBezTo>
                  <a:cubicBezTo>
                    <a:pt x="3404" y="354"/>
                    <a:pt x="3410" y="359"/>
                    <a:pt x="3417" y="359"/>
                  </a:cubicBezTo>
                  <a:cubicBezTo>
                    <a:pt x="3424" y="358"/>
                    <a:pt x="3427" y="354"/>
                    <a:pt x="3425" y="348"/>
                  </a:cubicBezTo>
                  <a:cubicBezTo>
                    <a:pt x="3423" y="343"/>
                    <a:pt x="3417" y="338"/>
                    <a:pt x="3410" y="338"/>
                  </a:cubicBezTo>
                  <a:cubicBezTo>
                    <a:pt x="3410" y="338"/>
                    <a:pt x="3410" y="338"/>
                    <a:pt x="3410" y="338"/>
                  </a:cubicBezTo>
                  <a:moveTo>
                    <a:pt x="3444" y="338"/>
                  </a:moveTo>
                  <a:cubicBezTo>
                    <a:pt x="3437" y="338"/>
                    <a:pt x="3433" y="342"/>
                    <a:pt x="3435" y="348"/>
                  </a:cubicBezTo>
                  <a:cubicBezTo>
                    <a:pt x="3437" y="354"/>
                    <a:pt x="3444" y="358"/>
                    <a:pt x="3451" y="358"/>
                  </a:cubicBezTo>
                  <a:cubicBezTo>
                    <a:pt x="3457" y="358"/>
                    <a:pt x="3461" y="354"/>
                    <a:pt x="3459" y="348"/>
                  </a:cubicBezTo>
                  <a:cubicBezTo>
                    <a:pt x="3457" y="342"/>
                    <a:pt x="3450" y="338"/>
                    <a:pt x="3444" y="338"/>
                  </a:cubicBezTo>
                  <a:cubicBezTo>
                    <a:pt x="3444" y="338"/>
                    <a:pt x="3444" y="338"/>
                    <a:pt x="3444" y="338"/>
                  </a:cubicBezTo>
                  <a:moveTo>
                    <a:pt x="3477" y="337"/>
                  </a:moveTo>
                  <a:cubicBezTo>
                    <a:pt x="3471" y="338"/>
                    <a:pt x="3467" y="342"/>
                    <a:pt x="3469" y="348"/>
                  </a:cubicBezTo>
                  <a:cubicBezTo>
                    <a:pt x="3471" y="354"/>
                    <a:pt x="3478" y="358"/>
                    <a:pt x="3485" y="358"/>
                  </a:cubicBezTo>
                  <a:cubicBezTo>
                    <a:pt x="3491" y="358"/>
                    <a:pt x="3495" y="353"/>
                    <a:pt x="3493" y="348"/>
                  </a:cubicBezTo>
                  <a:cubicBezTo>
                    <a:pt x="3491" y="342"/>
                    <a:pt x="3484" y="337"/>
                    <a:pt x="3478" y="337"/>
                  </a:cubicBezTo>
                  <a:cubicBezTo>
                    <a:pt x="3478" y="337"/>
                    <a:pt x="3478" y="337"/>
                    <a:pt x="3477" y="337"/>
                  </a:cubicBezTo>
                  <a:moveTo>
                    <a:pt x="3511" y="337"/>
                  </a:moveTo>
                  <a:cubicBezTo>
                    <a:pt x="3504" y="337"/>
                    <a:pt x="3501" y="342"/>
                    <a:pt x="3503" y="348"/>
                  </a:cubicBezTo>
                  <a:cubicBezTo>
                    <a:pt x="3505" y="353"/>
                    <a:pt x="3512" y="358"/>
                    <a:pt x="3518" y="358"/>
                  </a:cubicBezTo>
                  <a:cubicBezTo>
                    <a:pt x="3525" y="358"/>
                    <a:pt x="3528" y="353"/>
                    <a:pt x="3526" y="347"/>
                  </a:cubicBezTo>
                  <a:cubicBezTo>
                    <a:pt x="3524" y="342"/>
                    <a:pt x="3517" y="337"/>
                    <a:pt x="3511" y="337"/>
                  </a:cubicBezTo>
                  <a:cubicBezTo>
                    <a:pt x="3511" y="337"/>
                    <a:pt x="3511" y="337"/>
                    <a:pt x="3511" y="337"/>
                  </a:cubicBezTo>
                  <a:moveTo>
                    <a:pt x="3544" y="337"/>
                  </a:moveTo>
                  <a:cubicBezTo>
                    <a:pt x="3538" y="337"/>
                    <a:pt x="3534" y="342"/>
                    <a:pt x="3536" y="347"/>
                  </a:cubicBezTo>
                  <a:cubicBezTo>
                    <a:pt x="3539" y="353"/>
                    <a:pt x="3546" y="358"/>
                    <a:pt x="3552" y="358"/>
                  </a:cubicBezTo>
                  <a:cubicBezTo>
                    <a:pt x="3559" y="357"/>
                    <a:pt x="3562" y="353"/>
                    <a:pt x="3560" y="347"/>
                  </a:cubicBezTo>
                  <a:cubicBezTo>
                    <a:pt x="3558" y="342"/>
                    <a:pt x="3551" y="337"/>
                    <a:pt x="3544" y="337"/>
                  </a:cubicBezTo>
                  <a:cubicBezTo>
                    <a:pt x="3544" y="337"/>
                    <a:pt x="3544" y="337"/>
                    <a:pt x="3544" y="337"/>
                  </a:cubicBezTo>
                  <a:moveTo>
                    <a:pt x="3577" y="337"/>
                  </a:moveTo>
                  <a:cubicBezTo>
                    <a:pt x="3571" y="337"/>
                    <a:pt x="3568" y="341"/>
                    <a:pt x="3570" y="347"/>
                  </a:cubicBezTo>
                  <a:cubicBezTo>
                    <a:pt x="3572" y="353"/>
                    <a:pt x="3579" y="357"/>
                    <a:pt x="3586" y="357"/>
                  </a:cubicBezTo>
                  <a:cubicBezTo>
                    <a:pt x="3592" y="357"/>
                    <a:pt x="3596" y="353"/>
                    <a:pt x="3593" y="347"/>
                  </a:cubicBezTo>
                  <a:cubicBezTo>
                    <a:pt x="3591" y="341"/>
                    <a:pt x="3584" y="337"/>
                    <a:pt x="3578" y="337"/>
                  </a:cubicBezTo>
                  <a:cubicBezTo>
                    <a:pt x="3578" y="337"/>
                    <a:pt x="3578" y="337"/>
                    <a:pt x="3577" y="337"/>
                  </a:cubicBezTo>
                  <a:moveTo>
                    <a:pt x="3611" y="336"/>
                  </a:moveTo>
                  <a:cubicBezTo>
                    <a:pt x="3605" y="337"/>
                    <a:pt x="3601" y="341"/>
                    <a:pt x="3604" y="347"/>
                  </a:cubicBezTo>
                  <a:cubicBezTo>
                    <a:pt x="3606" y="352"/>
                    <a:pt x="3613" y="357"/>
                    <a:pt x="3619" y="357"/>
                  </a:cubicBezTo>
                  <a:cubicBezTo>
                    <a:pt x="3626" y="357"/>
                    <a:pt x="3629" y="352"/>
                    <a:pt x="3627" y="347"/>
                  </a:cubicBezTo>
                  <a:cubicBezTo>
                    <a:pt x="3625" y="341"/>
                    <a:pt x="3618" y="336"/>
                    <a:pt x="3611" y="336"/>
                  </a:cubicBezTo>
                  <a:cubicBezTo>
                    <a:pt x="3611" y="336"/>
                    <a:pt x="3611" y="336"/>
                    <a:pt x="3611" y="336"/>
                  </a:cubicBezTo>
                  <a:moveTo>
                    <a:pt x="3647" y="336"/>
                  </a:moveTo>
                  <a:cubicBezTo>
                    <a:pt x="3640" y="336"/>
                    <a:pt x="3637" y="341"/>
                    <a:pt x="3639" y="347"/>
                  </a:cubicBezTo>
                  <a:cubicBezTo>
                    <a:pt x="3642" y="352"/>
                    <a:pt x="3649" y="357"/>
                    <a:pt x="3655" y="357"/>
                  </a:cubicBezTo>
                  <a:cubicBezTo>
                    <a:pt x="3662" y="357"/>
                    <a:pt x="3665" y="352"/>
                    <a:pt x="3663" y="346"/>
                  </a:cubicBezTo>
                  <a:cubicBezTo>
                    <a:pt x="3660" y="341"/>
                    <a:pt x="3653" y="336"/>
                    <a:pt x="3647" y="336"/>
                  </a:cubicBezTo>
                  <a:cubicBezTo>
                    <a:pt x="3647" y="336"/>
                    <a:pt x="3647" y="336"/>
                    <a:pt x="3647" y="336"/>
                  </a:cubicBezTo>
                  <a:moveTo>
                    <a:pt x="3680" y="336"/>
                  </a:moveTo>
                  <a:cubicBezTo>
                    <a:pt x="3673" y="336"/>
                    <a:pt x="3670" y="341"/>
                    <a:pt x="3672" y="346"/>
                  </a:cubicBezTo>
                  <a:cubicBezTo>
                    <a:pt x="3675" y="352"/>
                    <a:pt x="3682" y="357"/>
                    <a:pt x="3689" y="356"/>
                  </a:cubicBezTo>
                  <a:cubicBezTo>
                    <a:pt x="3695" y="356"/>
                    <a:pt x="3698" y="352"/>
                    <a:pt x="3696" y="346"/>
                  </a:cubicBezTo>
                  <a:cubicBezTo>
                    <a:pt x="3693" y="340"/>
                    <a:pt x="3686" y="336"/>
                    <a:pt x="3680" y="336"/>
                  </a:cubicBezTo>
                  <a:cubicBezTo>
                    <a:pt x="3680" y="336"/>
                    <a:pt x="3680" y="336"/>
                    <a:pt x="3680" y="336"/>
                  </a:cubicBezTo>
                  <a:moveTo>
                    <a:pt x="3713" y="336"/>
                  </a:moveTo>
                  <a:cubicBezTo>
                    <a:pt x="3706" y="336"/>
                    <a:pt x="3703" y="340"/>
                    <a:pt x="3706" y="346"/>
                  </a:cubicBezTo>
                  <a:cubicBezTo>
                    <a:pt x="3708" y="352"/>
                    <a:pt x="3716" y="356"/>
                    <a:pt x="3722" y="356"/>
                  </a:cubicBezTo>
                  <a:cubicBezTo>
                    <a:pt x="3729" y="356"/>
                    <a:pt x="3732" y="352"/>
                    <a:pt x="3729" y="346"/>
                  </a:cubicBezTo>
                  <a:cubicBezTo>
                    <a:pt x="3727" y="340"/>
                    <a:pt x="3719" y="336"/>
                    <a:pt x="3713" y="336"/>
                  </a:cubicBezTo>
                  <a:cubicBezTo>
                    <a:pt x="3713" y="336"/>
                    <a:pt x="3713" y="336"/>
                    <a:pt x="3713" y="336"/>
                  </a:cubicBezTo>
                  <a:moveTo>
                    <a:pt x="3746" y="335"/>
                  </a:moveTo>
                  <a:cubicBezTo>
                    <a:pt x="3740" y="335"/>
                    <a:pt x="3737" y="340"/>
                    <a:pt x="3739" y="346"/>
                  </a:cubicBezTo>
                  <a:cubicBezTo>
                    <a:pt x="3742" y="351"/>
                    <a:pt x="3749" y="356"/>
                    <a:pt x="3756" y="356"/>
                  </a:cubicBezTo>
                  <a:cubicBezTo>
                    <a:pt x="3762" y="356"/>
                    <a:pt x="3766" y="351"/>
                    <a:pt x="3763" y="346"/>
                  </a:cubicBezTo>
                  <a:cubicBezTo>
                    <a:pt x="3760" y="340"/>
                    <a:pt x="3753" y="335"/>
                    <a:pt x="3746" y="335"/>
                  </a:cubicBezTo>
                  <a:cubicBezTo>
                    <a:pt x="3746" y="335"/>
                    <a:pt x="3746" y="335"/>
                    <a:pt x="3746" y="335"/>
                  </a:cubicBezTo>
                  <a:moveTo>
                    <a:pt x="3780" y="335"/>
                  </a:moveTo>
                  <a:cubicBezTo>
                    <a:pt x="3774" y="335"/>
                    <a:pt x="3771" y="340"/>
                    <a:pt x="3773" y="346"/>
                  </a:cubicBezTo>
                  <a:cubicBezTo>
                    <a:pt x="3776" y="351"/>
                    <a:pt x="3783" y="356"/>
                    <a:pt x="3790" y="356"/>
                  </a:cubicBezTo>
                  <a:cubicBezTo>
                    <a:pt x="3796" y="356"/>
                    <a:pt x="3800" y="351"/>
                    <a:pt x="3797" y="345"/>
                  </a:cubicBezTo>
                  <a:cubicBezTo>
                    <a:pt x="3794" y="340"/>
                    <a:pt x="3787" y="335"/>
                    <a:pt x="3780" y="335"/>
                  </a:cubicBezTo>
                  <a:cubicBezTo>
                    <a:pt x="3780" y="335"/>
                    <a:pt x="3780" y="335"/>
                    <a:pt x="3780" y="335"/>
                  </a:cubicBezTo>
                  <a:moveTo>
                    <a:pt x="4149" y="335"/>
                  </a:moveTo>
                  <a:cubicBezTo>
                    <a:pt x="4143" y="335"/>
                    <a:pt x="4140" y="340"/>
                    <a:pt x="4144" y="345"/>
                  </a:cubicBezTo>
                  <a:cubicBezTo>
                    <a:pt x="4147" y="351"/>
                    <a:pt x="4155" y="356"/>
                    <a:pt x="4162" y="356"/>
                  </a:cubicBezTo>
                  <a:cubicBezTo>
                    <a:pt x="4168" y="356"/>
                    <a:pt x="4171" y="351"/>
                    <a:pt x="4167" y="345"/>
                  </a:cubicBezTo>
                  <a:cubicBezTo>
                    <a:pt x="4164" y="340"/>
                    <a:pt x="4156" y="335"/>
                    <a:pt x="4149" y="335"/>
                  </a:cubicBezTo>
                  <a:cubicBezTo>
                    <a:pt x="4149" y="335"/>
                    <a:pt x="4149" y="335"/>
                    <a:pt x="4149" y="335"/>
                  </a:cubicBezTo>
                  <a:moveTo>
                    <a:pt x="3813" y="335"/>
                  </a:moveTo>
                  <a:cubicBezTo>
                    <a:pt x="3807" y="335"/>
                    <a:pt x="3804" y="340"/>
                    <a:pt x="3807" y="345"/>
                  </a:cubicBezTo>
                  <a:cubicBezTo>
                    <a:pt x="3809" y="351"/>
                    <a:pt x="3817" y="356"/>
                    <a:pt x="3823" y="355"/>
                  </a:cubicBezTo>
                  <a:cubicBezTo>
                    <a:pt x="3830" y="355"/>
                    <a:pt x="3833" y="351"/>
                    <a:pt x="3830" y="345"/>
                  </a:cubicBezTo>
                  <a:cubicBezTo>
                    <a:pt x="3827" y="339"/>
                    <a:pt x="3820" y="335"/>
                    <a:pt x="3814" y="335"/>
                  </a:cubicBezTo>
                  <a:cubicBezTo>
                    <a:pt x="3814" y="335"/>
                    <a:pt x="3813" y="335"/>
                    <a:pt x="3813" y="335"/>
                  </a:cubicBezTo>
                  <a:moveTo>
                    <a:pt x="3847" y="335"/>
                  </a:moveTo>
                  <a:cubicBezTo>
                    <a:pt x="3840" y="335"/>
                    <a:pt x="3837" y="339"/>
                    <a:pt x="3840" y="345"/>
                  </a:cubicBezTo>
                  <a:cubicBezTo>
                    <a:pt x="3843" y="351"/>
                    <a:pt x="3851" y="355"/>
                    <a:pt x="3857" y="355"/>
                  </a:cubicBezTo>
                  <a:cubicBezTo>
                    <a:pt x="3864" y="355"/>
                    <a:pt x="3867" y="351"/>
                    <a:pt x="3864" y="345"/>
                  </a:cubicBezTo>
                  <a:cubicBezTo>
                    <a:pt x="3861" y="339"/>
                    <a:pt x="3853" y="335"/>
                    <a:pt x="3847" y="335"/>
                  </a:cubicBezTo>
                  <a:cubicBezTo>
                    <a:pt x="3847" y="335"/>
                    <a:pt x="3847" y="335"/>
                    <a:pt x="3847" y="335"/>
                  </a:cubicBezTo>
                  <a:moveTo>
                    <a:pt x="3880" y="334"/>
                  </a:moveTo>
                  <a:cubicBezTo>
                    <a:pt x="3874" y="334"/>
                    <a:pt x="3871" y="339"/>
                    <a:pt x="3874" y="345"/>
                  </a:cubicBezTo>
                  <a:cubicBezTo>
                    <a:pt x="3877" y="350"/>
                    <a:pt x="3884" y="355"/>
                    <a:pt x="3891" y="355"/>
                  </a:cubicBezTo>
                  <a:cubicBezTo>
                    <a:pt x="3897" y="355"/>
                    <a:pt x="3900" y="350"/>
                    <a:pt x="3897" y="345"/>
                  </a:cubicBezTo>
                  <a:cubicBezTo>
                    <a:pt x="3894" y="339"/>
                    <a:pt x="3887" y="334"/>
                    <a:pt x="3880" y="334"/>
                  </a:cubicBezTo>
                  <a:cubicBezTo>
                    <a:pt x="3880" y="334"/>
                    <a:pt x="3880" y="334"/>
                    <a:pt x="3880" y="334"/>
                  </a:cubicBezTo>
                  <a:moveTo>
                    <a:pt x="3914" y="334"/>
                  </a:moveTo>
                  <a:cubicBezTo>
                    <a:pt x="3907" y="334"/>
                    <a:pt x="3904" y="339"/>
                    <a:pt x="3907" y="345"/>
                  </a:cubicBezTo>
                  <a:cubicBezTo>
                    <a:pt x="3910" y="350"/>
                    <a:pt x="3918" y="355"/>
                    <a:pt x="3924" y="355"/>
                  </a:cubicBezTo>
                  <a:cubicBezTo>
                    <a:pt x="3931" y="355"/>
                    <a:pt x="3934" y="350"/>
                    <a:pt x="3931" y="344"/>
                  </a:cubicBezTo>
                  <a:cubicBezTo>
                    <a:pt x="3928" y="339"/>
                    <a:pt x="3920" y="334"/>
                    <a:pt x="3914" y="334"/>
                  </a:cubicBezTo>
                  <a:cubicBezTo>
                    <a:pt x="3914" y="334"/>
                    <a:pt x="3914" y="334"/>
                    <a:pt x="3914" y="334"/>
                  </a:cubicBezTo>
                  <a:moveTo>
                    <a:pt x="407" y="333"/>
                  </a:moveTo>
                  <a:cubicBezTo>
                    <a:pt x="401" y="333"/>
                    <a:pt x="392" y="338"/>
                    <a:pt x="388" y="343"/>
                  </a:cubicBezTo>
                  <a:cubicBezTo>
                    <a:pt x="383" y="349"/>
                    <a:pt x="385" y="353"/>
                    <a:pt x="391" y="353"/>
                  </a:cubicBezTo>
                  <a:cubicBezTo>
                    <a:pt x="398" y="353"/>
                    <a:pt x="407" y="349"/>
                    <a:pt x="411" y="343"/>
                  </a:cubicBezTo>
                  <a:cubicBezTo>
                    <a:pt x="415" y="338"/>
                    <a:pt x="414" y="333"/>
                    <a:pt x="407" y="333"/>
                  </a:cubicBezTo>
                  <a:cubicBezTo>
                    <a:pt x="407" y="333"/>
                    <a:pt x="407" y="333"/>
                    <a:pt x="407" y="333"/>
                  </a:cubicBezTo>
                  <a:moveTo>
                    <a:pt x="4115" y="333"/>
                  </a:moveTo>
                  <a:cubicBezTo>
                    <a:pt x="4109" y="333"/>
                    <a:pt x="4106" y="338"/>
                    <a:pt x="4110" y="343"/>
                  </a:cubicBezTo>
                  <a:cubicBezTo>
                    <a:pt x="4113" y="349"/>
                    <a:pt x="4121" y="354"/>
                    <a:pt x="4128" y="354"/>
                  </a:cubicBezTo>
                  <a:cubicBezTo>
                    <a:pt x="4134" y="354"/>
                    <a:pt x="4137" y="349"/>
                    <a:pt x="4133" y="343"/>
                  </a:cubicBezTo>
                  <a:cubicBezTo>
                    <a:pt x="4130" y="338"/>
                    <a:pt x="4122" y="333"/>
                    <a:pt x="4115" y="333"/>
                  </a:cubicBezTo>
                  <a:cubicBezTo>
                    <a:pt x="4115" y="333"/>
                    <a:pt x="4115" y="333"/>
                    <a:pt x="4115" y="333"/>
                  </a:cubicBezTo>
                  <a:moveTo>
                    <a:pt x="440" y="333"/>
                  </a:moveTo>
                  <a:cubicBezTo>
                    <a:pt x="434" y="333"/>
                    <a:pt x="425" y="337"/>
                    <a:pt x="421" y="343"/>
                  </a:cubicBezTo>
                  <a:cubicBezTo>
                    <a:pt x="416" y="349"/>
                    <a:pt x="418" y="353"/>
                    <a:pt x="425" y="353"/>
                  </a:cubicBezTo>
                  <a:cubicBezTo>
                    <a:pt x="431" y="353"/>
                    <a:pt x="440" y="348"/>
                    <a:pt x="444" y="343"/>
                  </a:cubicBezTo>
                  <a:cubicBezTo>
                    <a:pt x="449" y="337"/>
                    <a:pt x="447" y="333"/>
                    <a:pt x="440" y="333"/>
                  </a:cubicBezTo>
                  <a:cubicBezTo>
                    <a:pt x="440" y="333"/>
                    <a:pt x="440" y="333"/>
                    <a:pt x="440" y="333"/>
                  </a:cubicBezTo>
                  <a:moveTo>
                    <a:pt x="474" y="333"/>
                  </a:moveTo>
                  <a:cubicBezTo>
                    <a:pt x="467" y="333"/>
                    <a:pt x="459" y="337"/>
                    <a:pt x="454" y="343"/>
                  </a:cubicBezTo>
                  <a:cubicBezTo>
                    <a:pt x="450" y="348"/>
                    <a:pt x="452" y="353"/>
                    <a:pt x="458" y="353"/>
                  </a:cubicBezTo>
                  <a:cubicBezTo>
                    <a:pt x="465" y="353"/>
                    <a:pt x="474" y="348"/>
                    <a:pt x="478" y="343"/>
                  </a:cubicBezTo>
                  <a:cubicBezTo>
                    <a:pt x="482" y="337"/>
                    <a:pt x="480" y="333"/>
                    <a:pt x="474" y="333"/>
                  </a:cubicBezTo>
                  <a:cubicBezTo>
                    <a:pt x="474" y="333"/>
                    <a:pt x="474" y="333"/>
                    <a:pt x="474" y="333"/>
                  </a:cubicBezTo>
                  <a:moveTo>
                    <a:pt x="507" y="332"/>
                  </a:moveTo>
                  <a:cubicBezTo>
                    <a:pt x="500" y="332"/>
                    <a:pt x="492" y="337"/>
                    <a:pt x="488" y="343"/>
                  </a:cubicBezTo>
                  <a:cubicBezTo>
                    <a:pt x="483" y="348"/>
                    <a:pt x="485" y="353"/>
                    <a:pt x="492" y="353"/>
                  </a:cubicBezTo>
                  <a:cubicBezTo>
                    <a:pt x="498" y="353"/>
                    <a:pt x="507" y="348"/>
                    <a:pt x="511" y="342"/>
                  </a:cubicBezTo>
                  <a:cubicBezTo>
                    <a:pt x="515" y="337"/>
                    <a:pt x="513" y="332"/>
                    <a:pt x="507" y="332"/>
                  </a:cubicBezTo>
                  <a:cubicBezTo>
                    <a:pt x="507" y="332"/>
                    <a:pt x="507" y="332"/>
                    <a:pt x="507" y="332"/>
                  </a:cubicBezTo>
                  <a:moveTo>
                    <a:pt x="540" y="332"/>
                  </a:moveTo>
                  <a:cubicBezTo>
                    <a:pt x="534" y="332"/>
                    <a:pt x="525" y="337"/>
                    <a:pt x="521" y="342"/>
                  </a:cubicBezTo>
                  <a:cubicBezTo>
                    <a:pt x="517" y="348"/>
                    <a:pt x="519" y="352"/>
                    <a:pt x="526" y="352"/>
                  </a:cubicBezTo>
                  <a:cubicBezTo>
                    <a:pt x="532" y="352"/>
                    <a:pt x="541" y="348"/>
                    <a:pt x="545" y="342"/>
                  </a:cubicBezTo>
                  <a:cubicBezTo>
                    <a:pt x="549" y="337"/>
                    <a:pt x="547" y="332"/>
                    <a:pt x="541" y="332"/>
                  </a:cubicBezTo>
                  <a:cubicBezTo>
                    <a:pt x="540" y="332"/>
                    <a:pt x="540" y="332"/>
                    <a:pt x="540" y="332"/>
                  </a:cubicBezTo>
                  <a:moveTo>
                    <a:pt x="575" y="332"/>
                  </a:moveTo>
                  <a:cubicBezTo>
                    <a:pt x="568" y="332"/>
                    <a:pt x="560" y="336"/>
                    <a:pt x="556" y="342"/>
                  </a:cubicBezTo>
                  <a:cubicBezTo>
                    <a:pt x="552" y="348"/>
                    <a:pt x="554" y="352"/>
                    <a:pt x="560" y="352"/>
                  </a:cubicBezTo>
                  <a:cubicBezTo>
                    <a:pt x="567" y="352"/>
                    <a:pt x="575" y="347"/>
                    <a:pt x="579" y="342"/>
                  </a:cubicBezTo>
                  <a:cubicBezTo>
                    <a:pt x="583" y="336"/>
                    <a:pt x="581" y="332"/>
                    <a:pt x="575" y="332"/>
                  </a:cubicBezTo>
                  <a:cubicBezTo>
                    <a:pt x="575" y="332"/>
                    <a:pt x="575" y="332"/>
                    <a:pt x="575" y="332"/>
                  </a:cubicBezTo>
                  <a:moveTo>
                    <a:pt x="608" y="332"/>
                  </a:moveTo>
                  <a:cubicBezTo>
                    <a:pt x="602" y="332"/>
                    <a:pt x="593" y="336"/>
                    <a:pt x="589" y="342"/>
                  </a:cubicBezTo>
                  <a:cubicBezTo>
                    <a:pt x="585" y="347"/>
                    <a:pt x="587" y="352"/>
                    <a:pt x="594" y="352"/>
                  </a:cubicBezTo>
                  <a:cubicBezTo>
                    <a:pt x="600" y="352"/>
                    <a:pt x="609" y="347"/>
                    <a:pt x="613" y="342"/>
                  </a:cubicBezTo>
                  <a:cubicBezTo>
                    <a:pt x="617" y="336"/>
                    <a:pt x="615" y="332"/>
                    <a:pt x="608" y="332"/>
                  </a:cubicBezTo>
                  <a:cubicBezTo>
                    <a:pt x="608" y="332"/>
                    <a:pt x="608" y="332"/>
                    <a:pt x="608" y="332"/>
                  </a:cubicBezTo>
                  <a:moveTo>
                    <a:pt x="642" y="331"/>
                  </a:moveTo>
                  <a:cubicBezTo>
                    <a:pt x="635" y="331"/>
                    <a:pt x="627" y="336"/>
                    <a:pt x="623" y="341"/>
                  </a:cubicBezTo>
                  <a:cubicBezTo>
                    <a:pt x="619" y="347"/>
                    <a:pt x="621" y="352"/>
                    <a:pt x="627" y="352"/>
                  </a:cubicBezTo>
                  <a:cubicBezTo>
                    <a:pt x="634" y="351"/>
                    <a:pt x="642" y="347"/>
                    <a:pt x="646" y="341"/>
                  </a:cubicBezTo>
                  <a:cubicBezTo>
                    <a:pt x="650" y="336"/>
                    <a:pt x="648" y="331"/>
                    <a:pt x="642" y="331"/>
                  </a:cubicBezTo>
                  <a:cubicBezTo>
                    <a:pt x="642" y="331"/>
                    <a:pt x="642" y="331"/>
                    <a:pt x="642" y="331"/>
                  </a:cubicBezTo>
                  <a:moveTo>
                    <a:pt x="675" y="331"/>
                  </a:moveTo>
                  <a:cubicBezTo>
                    <a:pt x="669" y="331"/>
                    <a:pt x="660" y="336"/>
                    <a:pt x="657" y="341"/>
                  </a:cubicBezTo>
                  <a:cubicBezTo>
                    <a:pt x="653" y="347"/>
                    <a:pt x="655" y="351"/>
                    <a:pt x="661" y="351"/>
                  </a:cubicBezTo>
                  <a:cubicBezTo>
                    <a:pt x="668" y="351"/>
                    <a:pt x="676" y="347"/>
                    <a:pt x="680" y="341"/>
                  </a:cubicBezTo>
                  <a:cubicBezTo>
                    <a:pt x="684" y="335"/>
                    <a:pt x="682" y="331"/>
                    <a:pt x="675" y="331"/>
                  </a:cubicBezTo>
                  <a:cubicBezTo>
                    <a:pt x="675" y="331"/>
                    <a:pt x="675" y="331"/>
                    <a:pt x="675" y="331"/>
                  </a:cubicBezTo>
                  <a:moveTo>
                    <a:pt x="708" y="331"/>
                  </a:moveTo>
                  <a:cubicBezTo>
                    <a:pt x="702" y="331"/>
                    <a:pt x="694" y="335"/>
                    <a:pt x="690" y="341"/>
                  </a:cubicBezTo>
                  <a:cubicBezTo>
                    <a:pt x="686" y="347"/>
                    <a:pt x="688" y="351"/>
                    <a:pt x="695" y="351"/>
                  </a:cubicBezTo>
                  <a:cubicBezTo>
                    <a:pt x="701" y="351"/>
                    <a:pt x="710" y="346"/>
                    <a:pt x="713" y="341"/>
                  </a:cubicBezTo>
                  <a:cubicBezTo>
                    <a:pt x="717" y="335"/>
                    <a:pt x="715" y="331"/>
                    <a:pt x="709" y="331"/>
                  </a:cubicBezTo>
                  <a:cubicBezTo>
                    <a:pt x="709" y="331"/>
                    <a:pt x="709" y="331"/>
                    <a:pt x="708" y="331"/>
                  </a:cubicBezTo>
                  <a:moveTo>
                    <a:pt x="742" y="330"/>
                  </a:moveTo>
                  <a:cubicBezTo>
                    <a:pt x="735" y="331"/>
                    <a:pt x="727" y="335"/>
                    <a:pt x="723" y="341"/>
                  </a:cubicBezTo>
                  <a:cubicBezTo>
                    <a:pt x="720" y="346"/>
                    <a:pt x="722" y="351"/>
                    <a:pt x="729" y="351"/>
                  </a:cubicBezTo>
                  <a:cubicBezTo>
                    <a:pt x="735" y="351"/>
                    <a:pt x="743" y="346"/>
                    <a:pt x="747" y="341"/>
                  </a:cubicBezTo>
                  <a:cubicBezTo>
                    <a:pt x="751" y="335"/>
                    <a:pt x="748" y="330"/>
                    <a:pt x="742" y="330"/>
                  </a:cubicBezTo>
                  <a:cubicBezTo>
                    <a:pt x="742" y="330"/>
                    <a:pt x="742" y="330"/>
                    <a:pt x="742" y="330"/>
                  </a:cubicBezTo>
                  <a:moveTo>
                    <a:pt x="775" y="330"/>
                  </a:moveTo>
                  <a:cubicBezTo>
                    <a:pt x="769" y="330"/>
                    <a:pt x="760" y="335"/>
                    <a:pt x="757" y="340"/>
                  </a:cubicBezTo>
                  <a:cubicBezTo>
                    <a:pt x="753" y="346"/>
                    <a:pt x="755" y="351"/>
                    <a:pt x="762" y="350"/>
                  </a:cubicBezTo>
                  <a:cubicBezTo>
                    <a:pt x="768" y="350"/>
                    <a:pt x="777" y="346"/>
                    <a:pt x="780" y="340"/>
                  </a:cubicBezTo>
                  <a:cubicBezTo>
                    <a:pt x="784" y="335"/>
                    <a:pt x="782" y="330"/>
                    <a:pt x="775" y="330"/>
                  </a:cubicBezTo>
                  <a:cubicBezTo>
                    <a:pt x="775" y="330"/>
                    <a:pt x="775" y="330"/>
                    <a:pt x="775" y="330"/>
                  </a:cubicBezTo>
                  <a:moveTo>
                    <a:pt x="808" y="330"/>
                  </a:moveTo>
                  <a:cubicBezTo>
                    <a:pt x="802" y="330"/>
                    <a:pt x="794" y="335"/>
                    <a:pt x="790" y="340"/>
                  </a:cubicBezTo>
                  <a:cubicBezTo>
                    <a:pt x="787" y="346"/>
                    <a:pt x="789" y="350"/>
                    <a:pt x="796" y="350"/>
                  </a:cubicBezTo>
                  <a:cubicBezTo>
                    <a:pt x="802" y="350"/>
                    <a:pt x="810" y="346"/>
                    <a:pt x="814" y="340"/>
                  </a:cubicBezTo>
                  <a:cubicBezTo>
                    <a:pt x="817" y="334"/>
                    <a:pt x="815" y="330"/>
                    <a:pt x="809" y="330"/>
                  </a:cubicBezTo>
                  <a:cubicBezTo>
                    <a:pt x="809" y="330"/>
                    <a:pt x="809" y="330"/>
                    <a:pt x="808" y="330"/>
                  </a:cubicBezTo>
                  <a:moveTo>
                    <a:pt x="842" y="330"/>
                  </a:moveTo>
                  <a:cubicBezTo>
                    <a:pt x="836" y="330"/>
                    <a:pt x="828" y="334"/>
                    <a:pt x="824" y="340"/>
                  </a:cubicBezTo>
                  <a:cubicBezTo>
                    <a:pt x="821" y="346"/>
                    <a:pt x="823" y="350"/>
                    <a:pt x="830" y="350"/>
                  </a:cubicBezTo>
                  <a:cubicBezTo>
                    <a:pt x="836" y="350"/>
                    <a:pt x="844" y="345"/>
                    <a:pt x="848" y="340"/>
                  </a:cubicBezTo>
                  <a:cubicBezTo>
                    <a:pt x="851" y="334"/>
                    <a:pt x="849" y="330"/>
                    <a:pt x="842" y="330"/>
                  </a:cubicBezTo>
                  <a:cubicBezTo>
                    <a:pt x="842" y="330"/>
                    <a:pt x="842" y="330"/>
                    <a:pt x="842" y="330"/>
                  </a:cubicBezTo>
                  <a:moveTo>
                    <a:pt x="875" y="329"/>
                  </a:moveTo>
                  <a:cubicBezTo>
                    <a:pt x="869" y="329"/>
                    <a:pt x="861" y="334"/>
                    <a:pt x="858" y="340"/>
                  </a:cubicBezTo>
                  <a:cubicBezTo>
                    <a:pt x="854" y="345"/>
                    <a:pt x="857" y="350"/>
                    <a:pt x="863" y="350"/>
                  </a:cubicBezTo>
                  <a:cubicBezTo>
                    <a:pt x="870" y="350"/>
                    <a:pt x="878" y="345"/>
                    <a:pt x="881" y="339"/>
                  </a:cubicBezTo>
                  <a:cubicBezTo>
                    <a:pt x="884" y="334"/>
                    <a:pt x="882" y="329"/>
                    <a:pt x="876" y="329"/>
                  </a:cubicBezTo>
                  <a:cubicBezTo>
                    <a:pt x="875" y="329"/>
                    <a:pt x="875" y="329"/>
                    <a:pt x="875" y="329"/>
                  </a:cubicBezTo>
                  <a:moveTo>
                    <a:pt x="907" y="329"/>
                  </a:moveTo>
                  <a:cubicBezTo>
                    <a:pt x="901" y="329"/>
                    <a:pt x="893" y="334"/>
                    <a:pt x="889" y="339"/>
                  </a:cubicBezTo>
                  <a:cubicBezTo>
                    <a:pt x="886" y="345"/>
                    <a:pt x="888" y="350"/>
                    <a:pt x="895" y="349"/>
                  </a:cubicBezTo>
                  <a:cubicBezTo>
                    <a:pt x="901" y="349"/>
                    <a:pt x="909" y="345"/>
                    <a:pt x="913" y="339"/>
                  </a:cubicBezTo>
                  <a:cubicBezTo>
                    <a:pt x="916" y="334"/>
                    <a:pt x="913" y="329"/>
                    <a:pt x="907" y="329"/>
                  </a:cubicBezTo>
                  <a:cubicBezTo>
                    <a:pt x="907" y="329"/>
                    <a:pt x="907" y="329"/>
                    <a:pt x="907" y="329"/>
                  </a:cubicBezTo>
                  <a:moveTo>
                    <a:pt x="941" y="329"/>
                  </a:moveTo>
                  <a:cubicBezTo>
                    <a:pt x="934" y="329"/>
                    <a:pt x="926" y="334"/>
                    <a:pt x="923" y="339"/>
                  </a:cubicBezTo>
                  <a:cubicBezTo>
                    <a:pt x="920" y="345"/>
                    <a:pt x="922" y="349"/>
                    <a:pt x="929" y="349"/>
                  </a:cubicBezTo>
                  <a:cubicBezTo>
                    <a:pt x="935" y="349"/>
                    <a:pt x="943" y="345"/>
                    <a:pt x="947" y="339"/>
                  </a:cubicBezTo>
                  <a:cubicBezTo>
                    <a:pt x="950" y="333"/>
                    <a:pt x="947" y="329"/>
                    <a:pt x="941" y="329"/>
                  </a:cubicBezTo>
                  <a:cubicBezTo>
                    <a:pt x="941" y="329"/>
                    <a:pt x="941" y="329"/>
                    <a:pt x="941" y="329"/>
                  </a:cubicBezTo>
                  <a:moveTo>
                    <a:pt x="1141" y="327"/>
                  </a:moveTo>
                  <a:cubicBezTo>
                    <a:pt x="1134" y="327"/>
                    <a:pt x="1127" y="332"/>
                    <a:pt x="1124" y="338"/>
                  </a:cubicBezTo>
                  <a:cubicBezTo>
                    <a:pt x="1121" y="343"/>
                    <a:pt x="1124" y="348"/>
                    <a:pt x="1130" y="348"/>
                  </a:cubicBezTo>
                  <a:cubicBezTo>
                    <a:pt x="1137" y="348"/>
                    <a:pt x="1144" y="343"/>
                    <a:pt x="1147" y="337"/>
                  </a:cubicBezTo>
                  <a:cubicBezTo>
                    <a:pt x="1150" y="332"/>
                    <a:pt x="1147" y="327"/>
                    <a:pt x="1141" y="327"/>
                  </a:cubicBezTo>
                  <a:cubicBezTo>
                    <a:pt x="1141" y="327"/>
                    <a:pt x="1141" y="327"/>
                    <a:pt x="1141" y="327"/>
                  </a:cubicBezTo>
                  <a:moveTo>
                    <a:pt x="1174" y="326"/>
                  </a:moveTo>
                  <a:cubicBezTo>
                    <a:pt x="1168" y="326"/>
                    <a:pt x="1160" y="331"/>
                    <a:pt x="1157" y="336"/>
                  </a:cubicBezTo>
                  <a:cubicBezTo>
                    <a:pt x="1154" y="342"/>
                    <a:pt x="1157" y="346"/>
                    <a:pt x="1164" y="346"/>
                  </a:cubicBezTo>
                  <a:cubicBezTo>
                    <a:pt x="1170" y="346"/>
                    <a:pt x="1178" y="342"/>
                    <a:pt x="1181" y="336"/>
                  </a:cubicBezTo>
                  <a:cubicBezTo>
                    <a:pt x="1183" y="330"/>
                    <a:pt x="1180" y="326"/>
                    <a:pt x="1174" y="326"/>
                  </a:cubicBezTo>
                  <a:cubicBezTo>
                    <a:pt x="1174" y="326"/>
                    <a:pt x="1174" y="326"/>
                    <a:pt x="1174" y="326"/>
                  </a:cubicBezTo>
                  <a:moveTo>
                    <a:pt x="1208" y="326"/>
                  </a:moveTo>
                  <a:cubicBezTo>
                    <a:pt x="1201" y="326"/>
                    <a:pt x="1194" y="330"/>
                    <a:pt x="1191" y="336"/>
                  </a:cubicBezTo>
                  <a:cubicBezTo>
                    <a:pt x="1188" y="342"/>
                    <a:pt x="1191" y="346"/>
                    <a:pt x="1198" y="346"/>
                  </a:cubicBezTo>
                  <a:cubicBezTo>
                    <a:pt x="1204" y="346"/>
                    <a:pt x="1212" y="341"/>
                    <a:pt x="1214" y="336"/>
                  </a:cubicBezTo>
                  <a:cubicBezTo>
                    <a:pt x="1217" y="330"/>
                    <a:pt x="1214" y="326"/>
                    <a:pt x="1208" y="326"/>
                  </a:cubicBezTo>
                  <a:cubicBezTo>
                    <a:pt x="1208" y="326"/>
                    <a:pt x="1208" y="326"/>
                    <a:pt x="1208" y="326"/>
                  </a:cubicBezTo>
                  <a:moveTo>
                    <a:pt x="1241" y="325"/>
                  </a:moveTo>
                  <a:cubicBezTo>
                    <a:pt x="1234" y="325"/>
                    <a:pt x="1227" y="330"/>
                    <a:pt x="1224" y="336"/>
                  </a:cubicBezTo>
                  <a:cubicBezTo>
                    <a:pt x="1222" y="341"/>
                    <a:pt x="1225" y="346"/>
                    <a:pt x="1231" y="346"/>
                  </a:cubicBezTo>
                  <a:cubicBezTo>
                    <a:pt x="1238" y="346"/>
                    <a:pt x="1245" y="341"/>
                    <a:pt x="1248" y="335"/>
                  </a:cubicBezTo>
                  <a:cubicBezTo>
                    <a:pt x="1250" y="330"/>
                    <a:pt x="1247" y="325"/>
                    <a:pt x="1241" y="325"/>
                  </a:cubicBezTo>
                  <a:cubicBezTo>
                    <a:pt x="1241" y="325"/>
                    <a:pt x="1241" y="325"/>
                    <a:pt x="1241" y="325"/>
                  </a:cubicBezTo>
                  <a:moveTo>
                    <a:pt x="1275" y="325"/>
                  </a:moveTo>
                  <a:cubicBezTo>
                    <a:pt x="1269" y="325"/>
                    <a:pt x="1261" y="330"/>
                    <a:pt x="1259" y="335"/>
                  </a:cubicBezTo>
                  <a:cubicBezTo>
                    <a:pt x="1256" y="341"/>
                    <a:pt x="1259" y="346"/>
                    <a:pt x="1266" y="345"/>
                  </a:cubicBezTo>
                  <a:cubicBezTo>
                    <a:pt x="1272" y="345"/>
                    <a:pt x="1279" y="341"/>
                    <a:pt x="1282" y="335"/>
                  </a:cubicBezTo>
                  <a:cubicBezTo>
                    <a:pt x="1285" y="330"/>
                    <a:pt x="1281" y="325"/>
                    <a:pt x="1275" y="325"/>
                  </a:cubicBezTo>
                  <a:cubicBezTo>
                    <a:pt x="1275" y="325"/>
                    <a:pt x="1275" y="325"/>
                    <a:pt x="1275" y="325"/>
                  </a:cubicBezTo>
                  <a:moveTo>
                    <a:pt x="2042" y="320"/>
                  </a:moveTo>
                  <a:cubicBezTo>
                    <a:pt x="2035" y="320"/>
                    <a:pt x="2029" y="324"/>
                    <a:pt x="2028" y="330"/>
                  </a:cubicBezTo>
                  <a:cubicBezTo>
                    <a:pt x="2027" y="336"/>
                    <a:pt x="2032" y="340"/>
                    <a:pt x="2038" y="340"/>
                  </a:cubicBezTo>
                  <a:cubicBezTo>
                    <a:pt x="2045" y="340"/>
                    <a:pt x="2051" y="335"/>
                    <a:pt x="2052" y="330"/>
                  </a:cubicBezTo>
                  <a:cubicBezTo>
                    <a:pt x="2052" y="324"/>
                    <a:pt x="2048" y="320"/>
                    <a:pt x="2042" y="320"/>
                  </a:cubicBezTo>
                  <a:cubicBezTo>
                    <a:pt x="2042" y="320"/>
                    <a:pt x="2042" y="320"/>
                    <a:pt x="2042" y="320"/>
                  </a:cubicBezTo>
                  <a:moveTo>
                    <a:pt x="2207" y="318"/>
                  </a:moveTo>
                  <a:cubicBezTo>
                    <a:pt x="2201" y="318"/>
                    <a:pt x="2195" y="323"/>
                    <a:pt x="2194" y="328"/>
                  </a:cubicBezTo>
                  <a:cubicBezTo>
                    <a:pt x="2193" y="334"/>
                    <a:pt x="2198" y="338"/>
                    <a:pt x="2205" y="338"/>
                  </a:cubicBezTo>
                  <a:cubicBezTo>
                    <a:pt x="2211" y="338"/>
                    <a:pt x="2217" y="334"/>
                    <a:pt x="2217" y="328"/>
                  </a:cubicBezTo>
                  <a:cubicBezTo>
                    <a:pt x="2218" y="322"/>
                    <a:pt x="2213" y="318"/>
                    <a:pt x="2207" y="318"/>
                  </a:cubicBezTo>
                  <a:cubicBezTo>
                    <a:pt x="2207" y="318"/>
                    <a:pt x="2207" y="318"/>
                    <a:pt x="2207" y="318"/>
                  </a:cubicBezTo>
                  <a:moveTo>
                    <a:pt x="2240" y="317"/>
                  </a:moveTo>
                  <a:cubicBezTo>
                    <a:pt x="2234" y="318"/>
                    <a:pt x="2228" y="322"/>
                    <a:pt x="2228" y="328"/>
                  </a:cubicBezTo>
                  <a:cubicBezTo>
                    <a:pt x="2227" y="333"/>
                    <a:pt x="2232" y="338"/>
                    <a:pt x="2238" y="338"/>
                  </a:cubicBezTo>
                  <a:cubicBezTo>
                    <a:pt x="2245" y="338"/>
                    <a:pt x="2251" y="333"/>
                    <a:pt x="2251" y="328"/>
                  </a:cubicBezTo>
                  <a:cubicBezTo>
                    <a:pt x="2252" y="322"/>
                    <a:pt x="2247" y="317"/>
                    <a:pt x="2241" y="317"/>
                  </a:cubicBezTo>
                  <a:cubicBezTo>
                    <a:pt x="2241" y="317"/>
                    <a:pt x="2241" y="317"/>
                    <a:pt x="2240" y="317"/>
                  </a:cubicBezTo>
                  <a:moveTo>
                    <a:pt x="2274" y="317"/>
                  </a:moveTo>
                  <a:cubicBezTo>
                    <a:pt x="2267" y="317"/>
                    <a:pt x="2261" y="322"/>
                    <a:pt x="2261" y="328"/>
                  </a:cubicBezTo>
                  <a:cubicBezTo>
                    <a:pt x="2260" y="333"/>
                    <a:pt x="2265" y="338"/>
                    <a:pt x="2272" y="338"/>
                  </a:cubicBezTo>
                  <a:cubicBezTo>
                    <a:pt x="2278" y="338"/>
                    <a:pt x="2284" y="333"/>
                    <a:pt x="2284" y="327"/>
                  </a:cubicBezTo>
                  <a:cubicBezTo>
                    <a:pt x="2285" y="322"/>
                    <a:pt x="2280" y="317"/>
                    <a:pt x="2274" y="317"/>
                  </a:cubicBezTo>
                  <a:cubicBezTo>
                    <a:pt x="2274" y="317"/>
                    <a:pt x="2274" y="317"/>
                    <a:pt x="2274" y="317"/>
                  </a:cubicBezTo>
                  <a:moveTo>
                    <a:pt x="2373" y="316"/>
                  </a:moveTo>
                  <a:cubicBezTo>
                    <a:pt x="2366" y="316"/>
                    <a:pt x="2361" y="321"/>
                    <a:pt x="2360" y="327"/>
                  </a:cubicBezTo>
                  <a:cubicBezTo>
                    <a:pt x="2360" y="332"/>
                    <a:pt x="2365" y="337"/>
                    <a:pt x="2372" y="337"/>
                  </a:cubicBezTo>
                  <a:cubicBezTo>
                    <a:pt x="2378" y="337"/>
                    <a:pt x="2384" y="332"/>
                    <a:pt x="2384" y="327"/>
                  </a:cubicBezTo>
                  <a:cubicBezTo>
                    <a:pt x="2384" y="321"/>
                    <a:pt x="2379" y="316"/>
                    <a:pt x="2373" y="316"/>
                  </a:cubicBezTo>
                  <a:cubicBezTo>
                    <a:pt x="2373" y="316"/>
                    <a:pt x="2373" y="316"/>
                    <a:pt x="2373" y="316"/>
                  </a:cubicBezTo>
                  <a:moveTo>
                    <a:pt x="2406" y="316"/>
                  </a:moveTo>
                  <a:cubicBezTo>
                    <a:pt x="2400" y="316"/>
                    <a:pt x="2394" y="321"/>
                    <a:pt x="2394" y="326"/>
                  </a:cubicBezTo>
                  <a:cubicBezTo>
                    <a:pt x="2394" y="332"/>
                    <a:pt x="2399" y="337"/>
                    <a:pt x="2405" y="337"/>
                  </a:cubicBezTo>
                  <a:cubicBezTo>
                    <a:pt x="2412" y="337"/>
                    <a:pt x="2417" y="332"/>
                    <a:pt x="2417" y="326"/>
                  </a:cubicBezTo>
                  <a:cubicBezTo>
                    <a:pt x="2418" y="321"/>
                    <a:pt x="2413" y="316"/>
                    <a:pt x="2406" y="316"/>
                  </a:cubicBezTo>
                  <a:cubicBezTo>
                    <a:pt x="2406" y="316"/>
                    <a:pt x="2406" y="316"/>
                    <a:pt x="2406" y="316"/>
                  </a:cubicBezTo>
                  <a:moveTo>
                    <a:pt x="2606" y="316"/>
                  </a:moveTo>
                  <a:cubicBezTo>
                    <a:pt x="2600" y="316"/>
                    <a:pt x="2595" y="321"/>
                    <a:pt x="2595" y="326"/>
                  </a:cubicBezTo>
                  <a:cubicBezTo>
                    <a:pt x="2595" y="332"/>
                    <a:pt x="2601" y="336"/>
                    <a:pt x="2607" y="336"/>
                  </a:cubicBezTo>
                  <a:cubicBezTo>
                    <a:pt x="2613" y="336"/>
                    <a:pt x="2619" y="332"/>
                    <a:pt x="2618" y="326"/>
                  </a:cubicBezTo>
                  <a:cubicBezTo>
                    <a:pt x="2618" y="320"/>
                    <a:pt x="2613" y="316"/>
                    <a:pt x="2606" y="316"/>
                  </a:cubicBezTo>
                  <a:cubicBezTo>
                    <a:pt x="2606" y="316"/>
                    <a:pt x="2606" y="316"/>
                    <a:pt x="2606" y="316"/>
                  </a:cubicBezTo>
                  <a:moveTo>
                    <a:pt x="2439" y="316"/>
                  </a:moveTo>
                  <a:cubicBezTo>
                    <a:pt x="2433" y="316"/>
                    <a:pt x="2427" y="321"/>
                    <a:pt x="2427" y="326"/>
                  </a:cubicBezTo>
                  <a:cubicBezTo>
                    <a:pt x="2427" y="332"/>
                    <a:pt x="2432" y="336"/>
                    <a:pt x="2439" y="336"/>
                  </a:cubicBezTo>
                  <a:cubicBezTo>
                    <a:pt x="2445" y="336"/>
                    <a:pt x="2451" y="332"/>
                    <a:pt x="2451" y="326"/>
                  </a:cubicBezTo>
                  <a:cubicBezTo>
                    <a:pt x="2451" y="320"/>
                    <a:pt x="2446" y="316"/>
                    <a:pt x="2439" y="316"/>
                  </a:cubicBezTo>
                  <a:cubicBezTo>
                    <a:pt x="2439" y="316"/>
                    <a:pt x="2439" y="316"/>
                    <a:pt x="2439" y="316"/>
                  </a:cubicBezTo>
                  <a:moveTo>
                    <a:pt x="2639" y="316"/>
                  </a:moveTo>
                  <a:cubicBezTo>
                    <a:pt x="2633" y="316"/>
                    <a:pt x="2628" y="320"/>
                    <a:pt x="2628" y="326"/>
                  </a:cubicBezTo>
                  <a:cubicBezTo>
                    <a:pt x="2628" y="332"/>
                    <a:pt x="2634" y="336"/>
                    <a:pt x="2640" y="336"/>
                  </a:cubicBezTo>
                  <a:cubicBezTo>
                    <a:pt x="2647" y="336"/>
                    <a:pt x="2652" y="331"/>
                    <a:pt x="2651" y="326"/>
                  </a:cubicBezTo>
                  <a:cubicBezTo>
                    <a:pt x="2651" y="320"/>
                    <a:pt x="2646" y="316"/>
                    <a:pt x="2639" y="316"/>
                  </a:cubicBezTo>
                  <a:cubicBezTo>
                    <a:pt x="2639" y="316"/>
                    <a:pt x="2639" y="316"/>
                    <a:pt x="2639" y="316"/>
                  </a:cubicBezTo>
                  <a:moveTo>
                    <a:pt x="2472" y="316"/>
                  </a:moveTo>
                  <a:cubicBezTo>
                    <a:pt x="2466" y="316"/>
                    <a:pt x="2461" y="320"/>
                    <a:pt x="2461" y="326"/>
                  </a:cubicBezTo>
                  <a:cubicBezTo>
                    <a:pt x="2461" y="332"/>
                    <a:pt x="2466" y="336"/>
                    <a:pt x="2472" y="336"/>
                  </a:cubicBezTo>
                  <a:cubicBezTo>
                    <a:pt x="2479" y="336"/>
                    <a:pt x="2484" y="331"/>
                    <a:pt x="2484" y="326"/>
                  </a:cubicBezTo>
                  <a:cubicBezTo>
                    <a:pt x="2484" y="320"/>
                    <a:pt x="2479" y="316"/>
                    <a:pt x="2472" y="316"/>
                  </a:cubicBezTo>
                  <a:cubicBezTo>
                    <a:pt x="2472" y="316"/>
                    <a:pt x="2472" y="316"/>
                    <a:pt x="2472" y="316"/>
                  </a:cubicBezTo>
                  <a:moveTo>
                    <a:pt x="2672" y="315"/>
                  </a:moveTo>
                  <a:cubicBezTo>
                    <a:pt x="2666" y="315"/>
                    <a:pt x="2661" y="320"/>
                    <a:pt x="2661" y="326"/>
                  </a:cubicBezTo>
                  <a:cubicBezTo>
                    <a:pt x="2661" y="331"/>
                    <a:pt x="2667" y="336"/>
                    <a:pt x="2673" y="336"/>
                  </a:cubicBezTo>
                  <a:cubicBezTo>
                    <a:pt x="2680" y="336"/>
                    <a:pt x="2685" y="331"/>
                    <a:pt x="2684" y="326"/>
                  </a:cubicBezTo>
                  <a:cubicBezTo>
                    <a:pt x="2684" y="320"/>
                    <a:pt x="2678" y="315"/>
                    <a:pt x="2672" y="315"/>
                  </a:cubicBezTo>
                  <a:cubicBezTo>
                    <a:pt x="2672" y="315"/>
                    <a:pt x="2672" y="315"/>
                    <a:pt x="2672" y="315"/>
                  </a:cubicBezTo>
                  <a:moveTo>
                    <a:pt x="2505" y="315"/>
                  </a:moveTo>
                  <a:cubicBezTo>
                    <a:pt x="2499" y="315"/>
                    <a:pt x="2494" y="320"/>
                    <a:pt x="2494" y="326"/>
                  </a:cubicBezTo>
                  <a:cubicBezTo>
                    <a:pt x="2494" y="331"/>
                    <a:pt x="2499" y="336"/>
                    <a:pt x="2505" y="336"/>
                  </a:cubicBezTo>
                  <a:cubicBezTo>
                    <a:pt x="2512" y="336"/>
                    <a:pt x="2517" y="331"/>
                    <a:pt x="2517" y="326"/>
                  </a:cubicBezTo>
                  <a:cubicBezTo>
                    <a:pt x="2517" y="320"/>
                    <a:pt x="2512" y="315"/>
                    <a:pt x="2505" y="315"/>
                  </a:cubicBezTo>
                  <a:cubicBezTo>
                    <a:pt x="2505" y="315"/>
                    <a:pt x="2505" y="315"/>
                    <a:pt x="2505" y="315"/>
                  </a:cubicBezTo>
                  <a:moveTo>
                    <a:pt x="2705" y="315"/>
                  </a:moveTo>
                  <a:cubicBezTo>
                    <a:pt x="2699" y="315"/>
                    <a:pt x="2694" y="320"/>
                    <a:pt x="2694" y="325"/>
                  </a:cubicBezTo>
                  <a:cubicBezTo>
                    <a:pt x="2694" y="331"/>
                    <a:pt x="2700" y="336"/>
                    <a:pt x="2707" y="336"/>
                  </a:cubicBezTo>
                  <a:cubicBezTo>
                    <a:pt x="2713" y="336"/>
                    <a:pt x="2718" y="331"/>
                    <a:pt x="2717" y="325"/>
                  </a:cubicBezTo>
                  <a:cubicBezTo>
                    <a:pt x="2717" y="320"/>
                    <a:pt x="2711" y="315"/>
                    <a:pt x="2705" y="315"/>
                  </a:cubicBezTo>
                  <a:cubicBezTo>
                    <a:pt x="2705" y="315"/>
                    <a:pt x="2705" y="315"/>
                    <a:pt x="2705" y="315"/>
                  </a:cubicBezTo>
                  <a:moveTo>
                    <a:pt x="2539" y="315"/>
                  </a:moveTo>
                  <a:cubicBezTo>
                    <a:pt x="2532" y="315"/>
                    <a:pt x="2527" y="320"/>
                    <a:pt x="2527" y="325"/>
                  </a:cubicBezTo>
                  <a:cubicBezTo>
                    <a:pt x="2527" y="331"/>
                    <a:pt x="2532" y="336"/>
                    <a:pt x="2539" y="336"/>
                  </a:cubicBezTo>
                  <a:cubicBezTo>
                    <a:pt x="2545" y="336"/>
                    <a:pt x="2551" y="331"/>
                    <a:pt x="2550" y="325"/>
                  </a:cubicBezTo>
                  <a:cubicBezTo>
                    <a:pt x="2550" y="320"/>
                    <a:pt x="2545" y="315"/>
                    <a:pt x="2539" y="315"/>
                  </a:cubicBezTo>
                  <a:cubicBezTo>
                    <a:pt x="2539" y="315"/>
                    <a:pt x="2539" y="315"/>
                    <a:pt x="2539" y="315"/>
                  </a:cubicBezTo>
                  <a:moveTo>
                    <a:pt x="2738" y="315"/>
                  </a:moveTo>
                  <a:cubicBezTo>
                    <a:pt x="2732" y="315"/>
                    <a:pt x="2727" y="320"/>
                    <a:pt x="2727" y="325"/>
                  </a:cubicBezTo>
                  <a:cubicBezTo>
                    <a:pt x="2728" y="331"/>
                    <a:pt x="2734" y="335"/>
                    <a:pt x="2740" y="335"/>
                  </a:cubicBezTo>
                  <a:cubicBezTo>
                    <a:pt x="2747" y="335"/>
                    <a:pt x="2751" y="331"/>
                    <a:pt x="2751" y="325"/>
                  </a:cubicBezTo>
                  <a:cubicBezTo>
                    <a:pt x="2750" y="319"/>
                    <a:pt x="2745" y="315"/>
                    <a:pt x="2738" y="315"/>
                  </a:cubicBezTo>
                  <a:cubicBezTo>
                    <a:pt x="2738" y="315"/>
                    <a:pt x="2738" y="315"/>
                    <a:pt x="2738" y="315"/>
                  </a:cubicBezTo>
                  <a:moveTo>
                    <a:pt x="2572" y="315"/>
                  </a:moveTo>
                  <a:cubicBezTo>
                    <a:pt x="2566" y="315"/>
                    <a:pt x="2561" y="320"/>
                    <a:pt x="2561" y="325"/>
                  </a:cubicBezTo>
                  <a:cubicBezTo>
                    <a:pt x="2561" y="331"/>
                    <a:pt x="2566" y="335"/>
                    <a:pt x="2573" y="335"/>
                  </a:cubicBezTo>
                  <a:cubicBezTo>
                    <a:pt x="2579" y="335"/>
                    <a:pt x="2584" y="331"/>
                    <a:pt x="2584" y="325"/>
                  </a:cubicBezTo>
                  <a:cubicBezTo>
                    <a:pt x="2584" y="319"/>
                    <a:pt x="2579" y="315"/>
                    <a:pt x="2572" y="315"/>
                  </a:cubicBezTo>
                  <a:cubicBezTo>
                    <a:pt x="2572" y="315"/>
                    <a:pt x="2572" y="315"/>
                    <a:pt x="2572" y="315"/>
                  </a:cubicBezTo>
                  <a:moveTo>
                    <a:pt x="2772" y="315"/>
                  </a:moveTo>
                  <a:cubicBezTo>
                    <a:pt x="2765" y="315"/>
                    <a:pt x="2761" y="319"/>
                    <a:pt x="2761" y="325"/>
                  </a:cubicBezTo>
                  <a:cubicBezTo>
                    <a:pt x="2762" y="331"/>
                    <a:pt x="2767" y="335"/>
                    <a:pt x="2774" y="335"/>
                  </a:cubicBezTo>
                  <a:cubicBezTo>
                    <a:pt x="2780" y="335"/>
                    <a:pt x="2785" y="330"/>
                    <a:pt x="2785" y="325"/>
                  </a:cubicBezTo>
                  <a:cubicBezTo>
                    <a:pt x="2784" y="319"/>
                    <a:pt x="2778" y="315"/>
                    <a:pt x="2772" y="315"/>
                  </a:cubicBezTo>
                  <a:cubicBezTo>
                    <a:pt x="2772" y="315"/>
                    <a:pt x="2772" y="315"/>
                    <a:pt x="2772" y="315"/>
                  </a:cubicBezTo>
                  <a:moveTo>
                    <a:pt x="2805" y="314"/>
                  </a:moveTo>
                  <a:cubicBezTo>
                    <a:pt x="2798" y="314"/>
                    <a:pt x="2794" y="319"/>
                    <a:pt x="2794" y="325"/>
                  </a:cubicBezTo>
                  <a:cubicBezTo>
                    <a:pt x="2795" y="330"/>
                    <a:pt x="2801" y="335"/>
                    <a:pt x="2807" y="335"/>
                  </a:cubicBezTo>
                  <a:cubicBezTo>
                    <a:pt x="2814" y="335"/>
                    <a:pt x="2818" y="330"/>
                    <a:pt x="2818" y="325"/>
                  </a:cubicBezTo>
                  <a:cubicBezTo>
                    <a:pt x="2817" y="319"/>
                    <a:pt x="2811" y="314"/>
                    <a:pt x="2805" y="314"/>
                  </a:cubicBezTo>
                  <a:cubicBezTo>
                    <a:pt x="2805" y="314"/>
                    <a:pt x="2805" y="314"/>
                    <a:pt x="2805" y="314"/>
                  </a:cubicBezTo>
                  <a:moveTo>
                    <a:pt x="2838" y="314"/>
                  </a:moveTo>
                  <a:cubicBezTo>
                    <a:pt x="2832" y="314"/>
                    <a:pt x="2827" y="319"/>
                    <a:pt x="2828" y="324"/>
                  </a:cubicBezTo>
                  <a:cubicBezTo>
                    <a:pt x="2828" y="330"/>
                    <a:pt x="2834" y="335"/>
                    <a:pt x="2841" y="335"/>
                  </a:cubicBezTo>
                  <a:cubicBezTo>
                    <a:pt x="2847" y="335"/>
                    <a:pt x="2852" y="330"/>
                    <a:pt x="2851" y="324"/>
                  </a:cubicBezTo>
                  <a:cubicBezTo>
                    <a:pt x="2850" y="319"/>
                    <a:pt x="2844" y="314"/>
                    <a:pt x="2838" y="314"/>
                  </a:cubicBezTo>
                  <a:cubicBezTo>
                    <a:pt x="2838" y="314"/>
                    <a:pt x="2838" y="314"/>
                    <a:pt x="2838" y="314"/>
                  </a:cubicBezTo>
                  <a:moveTo>
                    <a:pt x="2871" y="314"/>
                  </a:moveTo>
                  <a:cubicBezTo>
                    <a:pt x="2865" y="314"/>
                    <a:pt x="2860" y="319"/>
                    <a:pt x="2861" y="324"/>
                  </a:cubicBezTo>
                  <a:cubicBezTo>
                    <a:pt x="2861" y="330"/>
                    <a:pt x="2867" y="334"/>
                    <a:pt x="2874" y="334"/>
                  </a:cubicBezTo>
                  <a:cubicBezTo>
                    <a:pt x="2880" y="334"/>
                    <a:pt x="2885" y="330"/>
                    <a:pt x="2884" y="324"/>
                  </a:cubicBezTo>
                  <a:cubicBezTo>
                    <a:pt x="2883" y="318"/>
                    <a:pt x="2877" y="314"/>
                    <a:pt x="2871" y="314"/>
                  </a:cubicBezTo>
                  <a:cubicBezTo>
                    <a:pt x="2871" y="314"/>
                    <a:pt x="2871" y="314"/>
                    <a:pt x="2871" y="314"/>
                  </a:cubicBezTo>
                  <a:moveTo>
                    <a:pt x="2904" y="314"/>
                  </a:moveTo>
                  <a:cubicBezTo>
                    <a:pt x="2898" y="314"/>
                    <a:pt x="2893" y="318"/>
                    <a:pt x="2894" y="324"/>
                  </a:cubicBezTo>
                  <a:cubicBezTo>
                    <a:pt x="2895" y="330"/>
                    <a:pt x="2901" y="334"/>
                    <a:pt x="2907" y="334"/>
                  </a:cubicBezTo>
                  <a:cubicBezTo>
                    <a:pt x="2914" y="334"/>
                    <a:pt x="2918" y="329"/>
                    <a:pt x="2917" y="324"/>
                  </a:cubicBezTo>
                  <a:cubicBezTo>
                    <a:pt x="2917" y="318"/>
                    <a:pt x="2911" y="314"/>
                    <a:pt x="2904" y="314"/>
                  </a:cubicBezTo>
                  <a:cubicBezTo>
                    <a:pt x="2904" y="314"/>
                    <a:pt x="2904" y="314"/>
                    <a:pt x="2904" y="314"/>
                  </a:cubicBezTo>
                  <a:moveTo>
                    <a:pt x="2938" y="313"/>
                  </a:moveTo>
                  <a:cubicBezTo>
                    <a:pt x="2931" y="313"/>
                    <a:pt x="2927" y="318"/>
                    <a:pt x="2928" y="324"/>
                  </a:cubicBezTo>
                  <a:cubicBezTo>
                    <a:pt x="2929" y="329"/>
                    <a:pt x="2935" y="334"/>
                    <a:pt x="2941" y="334"/>
                  </a:cubicBezTo>
                  <a:cubicBezTo>
                    <a:pt x="2948" y="334"/>
                    <a:pt x="2952" y="329"/>
                    <a:pt x="2951" y="323"/>
                  </a:cubicBezTo>
                  <a:cubicBezTo>
                    <a:pt x="2950" y="318"/>
                    <a:pt x="2944" y="313"/>
                    <a:pt x="2938" y="313"/>
                  </a:cubicBezTo>
                  <a:cubicBezTo>
                    <a:pt x="2938" y="313"/>
                    <a:pt x="2938" y="313"/>
                    <a:pt x="2938" y="313"/>
                  </a:cubicBezTo>
                  <a:moveTo>
                    <a:pt x="2969" y="313"/>
                  </a:moveTo>
                  <a:cubicBezTo>
                    <a:pt x="2962" y="313"/>
                    <a:pt x="2958" y="318"/>
                    <a:pt x="2959" y="324"/>
                  </a:cubicBezTo>
                  <a:cubicBezTo>
                    <a:pt x="2960" y="329"/>
                    <a:pt x="2966" y="334"/>
                    <a:pt x="2972" y="334"/>
                  </a:cubicBezTo>
                  <a:cubicBezTo>
                    <a:pt x="2979" y="334"/>
                    <a:pt x="2983" y="329"/>
                    <a:pt x="2982" y="323"/>
                  </a:cubicBezTo>
                  <a:cubicBezTo>
                    <a:pt x="2981" y="318"/>
                    <a:pt x="2975" y="313"/>
                    <a:pt x="2969" y="313"/>
                  </a:cubicBezTo>
                  <a:cubicBezTo>
                    <a:pt x="2969" y="313"/>
                    <a:pt x="2969" y="313"/>
                    <a:pt x="2969" y="313"/>
                  </a:cubicBezTo>
                  <a:moveTo>
                    <a:pt x="3002" y="313"/>
                  </a:moveTo>
                  <a:cubicBezTo>
                    <a:pt x="2995" y="313"/>
                    <a:pt x="2991" y="318"/>
                    <a:pt x="2992" y="323"/>
                  </a:cubicBezTo>
                  <a:cubicBezTo>
                    <a:pt x="2993" y="329"/>
                    <a:pt x="2999" y="333"/>
                    <a:pt x="3005" y="333"/>
                  </a:cubicBezTo>
                  <a:cubicBezTo>
                    <a:pt x="3012" y="333"/>
                    <a:pt x="3016" y="329"/>
                    <a:pt x="3015" y="323"/>
                  </a:cubicBezTo>
                  <a:cubicBezTo>
                    <a:pt x="3014" y="317"/>
                    <a:pt x="3008" y="313"/>
                    <a:pt x="3002" y="313"/>
                  </a:cubicBezTo>
                  <a:cubicBezTo>
                    <a:pt x="3002" y="313"/>
                    <a:pt x="3002" y="313"/>
                    <a:pt x="3002" y="313"/>
                  </a:cubicBezTo>
                  <a:moveTo>
                    <a:pt x="3035" y="313"/>
                  </a:moveTo>
                  <a:cubicBezTo>
                    <a:pt x="3028" y="313"/>
                    <a:pt x="3024" y="317"/>
                    <a:pt x="3025" y="323"/>
                  </a:cubicBezTo>
                  <a:cubicBezTo>
                    <a:pt x="3026" y="329"/>
                    <a:pt x="3032" y="333"/>
                    <a:pt x="3039" y="333"/>
                  </a:cubicBezTo>
                  <a:cubicBezTo>
                    <a:pt x="3045" y="333"/>
                    <a:pt x="3050" y="328"/>
                    <a:pt x="3049" y="323"/>
                  </a:cubicBezTo>
                  <a:cubicBezTo>
                    <a:pt x="3047" y="317"/>
                    <a:pt x="3041" y="313"/>
                    <a:pt x="3035" y="313"/>
                  </a:cubicBezTo>
                  <a:cubicBezTo>
                    <a:pt x="3035" y="313"/>
                    <a:pt x="3035" y="313"/>
                    <a:pt x="3035" y="313"/>
                  </a:cubicBezTo>
                  <a:moveTo>
                    <a:pt x="3069" y="312"/>
                  </a:moveTo>
                  <a:cubicBezTo>
                    <a:pt x="3063" y="312"/>
                    <a:pt x="3058" y="317"/>
                    <a:pt x="3060" y="323"/>
                  </a:cubicBezTo>
                  <a:cubicBezTo>
                    <a:pt x="3061" y="328"/>
                    <a:pt x="3067" y="333"/>
                    <a:pt x="3073" y="333"/>
                  </a:cubicBezTo>
                  <a:cubicBezTo>
                    <a:pt x="3080" y="333"/>
                    <a:pt x="3084" y="328"/>
                    <a:pt x="3083" y="323"/>
                  </a:cubicBezTo>
                  <a:cubicBezTo>
                    <a:pt x="3082" y="317"/>
                    <a:pt x="3076" y="312"/>
                    <a:pt x="3069" y="312"/>
                  </a:cubicBezTo>
                  <a:cubicBezTo>
                    <a:pt x="3069" y="312"/>
                    <a:pt x="3069" y="312"/>
                    <a:pt x="3069" y="312"/>
                  </a:cubicBezTo>
                  <a:moveTo>
                    <a:pt x="3102" y="312"/>
                  </a:moveTo>
                  <a:cubicBezTo>
                    <a:pt x="3096" y="312"/>
                    <a:pt x="3091" y="317"/>
                    <a:pt x="3093" y="322"/>
                  </a:cubicBezTo>
                  <a:cubicBezTo>
                    <a:pt x="3094" y="328"/>
                    <a:pt x="3100" y="333"/>
                    <a:pt x="3107" y="333"/>
                  </a:cubicBezTo>
                  <a:cubicBezTo>
                    <a:pt x="3113" y="333"/>
                    <a:pt x="3117" y="328"/>
                    <a:pt x="3116" y="322"/>
                  </a:cubicBezTo>
                  <a:cubicBezTo>
                    <a:pt x="3115" y="317"/>
                    <a:pt x="3108" y="312"/>
                    <a:pt x="3102" y="312"/>
                  </a:cubicBezTo>
                  <a:cubicBezTo>
                    <a:pt x="3102" y="312"/>
                    <a:pt x="3102" y="312"/>
                    <a:pt x="3102" y="312"/>
                  </a:cubicBezTo>
                  <a:moveTo>
                    <a:pt x="3135" y="312"/>
                  </a:moveTo>
                  <a:cubicBezTo>
                    <a:pt x="3129" y="312"/>
                    <a:pt x="3125" y="317"/>
                    <a:pt x="3126" y="322"/>
                  </a:cubicBezTo>
                  <a:cubicBezTo>
                    <a:pt x="3127" y="328"/>
                    <a:pt x="3134" y="332"/>
                    <a:pt x="3140" y="332"/>
                  </a:cubicBezTo>
                  <a:cubicBezTo>
                    <a:pt x="3147" y="332"/>
                    <a:pt x="3151" y="328"/>
                    <a:pt x="3149" y="322"/>
                  </a:cubicBezTo>
                  <a:cubicBezTo>
                    <a:pt x="3148" y="316"/>
                    <a:pt x="3142" y="312"/>
                    <a:pt x="3135" y="312"/>
                  </a:cubicBezTo>
                  <a:cubicBezTo>
                    <a:pt x="3135" y="312"/>
                    <a:pt x="3135" y="312"/>
                    <a:pt x="3135" y="312"/>
                  </a:cubicBezTo>
                  <a:moveTo>
                    <a:pt x="3169" y="312"/>
                  </a:moveTo>
                  <a:cubicBezTo>
                    <a:pt x="3162" y="312"/>
                    <a:pt x="3158" y="316"/>
                    <a:pt x="3160" y="322"/>
                  </a:cubicBezTo>
                  <a:cubicBezTo>
                    <a:pt x="3161" y="328"/>
                    <a:pt x="3167" y="332"/>
                    <a:pt x="3174" y="332"/>
                  </a:cubicBezTo>
                  <a:cubicBezTo>
                    <a:pt x="3180" y="332"/>
                    <a:pt x="3184" y="327"/>
                    <a:pt x="3183" y="322"/>
                  </a:cubicBezTo>
                  <a:cubicBezTo>
                    <a:pt x="3182" y="316"/>
                    <a:pt x="3175" y="312"/>
                    <a:pt x="3169" y="312"/>
                  </a:cubicBezTo>
                  <a:cubicBezTo>
                    <a:pt x="3169" y="312"/>
                    <a:pt x="3169" y="312"/>
                    <a:pt x="3169" y="312"/>
                  </a:cubicBezTo>
                  <a:moveTo>
                    <a:pt x="3202" y="311"/>
                  </a:moveTo>
                  <a:cubicBezTo>
                    <a:pt x="3195" y="311"/>
                    <a:pt x="3191" y="316"/>
                    <a:pt x="3193" y="322"/>
                  </a:cubicBezTo>
                  <a:cubicBezTo>
                    <a:pt x="3194" y="327"/>
                    <a:pt x="3201" y="332"/>
                    <a:pt x="3207" y="332"/>
                  </a:cubicBezTo>
                  <a:cubicBezTo>
                    <a:pt x="3214" y="332"/>
                    <a:pt x="3218" y="327"/>
                    <a:pt x="3216" y="321"/>
                  </a:cubicBezTo>
                  <a:cubicBezTo>
                    <a:pt x="3215" y="316"/>
                    <a:pt x="3208" y="311"/>
                    <a:pt x="3202" y="311"/>
                  </a:cubicBezTo>
                  <a:cubicBezTo>
                    <a:pt x="3202" y="311"/>
                    <a:pt x="3202" y="311"/>
                    <a:pt x="3202" y="311"/>
                  </a:cubicBezTo>
                  <a:moveTo>
                    <a:pt x="3235" y="311"/>
                  </a:moveTo>
                  <a:cubicBezTo>
                    <a:pt x="3228" y="311"/>
                    <a:pt x="3224" y="316"/>
                    <a:pt x="3226" y="321"/>
                  </a:cubicBezTo>
                  <a:cubicBezTo>
                    <a:pt x="3228" y="327"/>
                    <a:pt x="3234" y="332"/>
                    <a:pt x="3240" y="332"/>
                  </a:cubicBezTo>
                  <a:cubicBezTo>
                    <a:pt x="3247" y="332"/>
                    <a:pt x="3251" y="327"/>
                    <a:pt x="3249" y="321"/>
                  </a:cubicBezTo>
                  <a:cubicBezTo>
                    <a:pt x="3248" y="316"/>
                    <a:pt x="3241" y="311"/>
                    <a:pt x="3235" y="311"/>
                  </a:cubicBezTo>
                  <a:cubicBezTo>
                    <a:pt x="3235" y="311"/>
                    <a:pt x="3235" y="311"/>
                    <a:pt x="3235" y="311"/>
                  </a:cubicBezTo>
                  <a:moveTo>
                    <a:pt x="3268" y="311"/>
                  </a:moveTo>
                  <a:cubicBezTo>
                    <a:pt x="3261" y="311"/>
                    <a:pt x="3258" y="315"/>
                    <a:pt x="3259" y="321"/>
                  </a:cubicBezTo>
                  <a:cubicBezTo>
                    <a:pt x="3261" y="327"/>
                    <a:pt x="3267" y="331"/>
                    <a:pt x="3274" y="331"/>
                  </a:cubicBezTo>
                  <a:cubicBezTo>
                    <a:pt x="3280" y="331"/>
                    <a:pt x="3284" y="327"/>
                    <a:pt x="3282" y="321"/>
                  </a:cubicBezTo>
                  <a:cubicBezTo>
                    <a:pt x="3281" y="315"/>
                    <a:pt x="3274" y="311"/>
                    <a:pt x="3268" y="311"/>
                  </a:cubicBezTo>
                  <a:cubicBezTo>
                    <a:pt x="3268" y="311"/>
                    <a:pt x="3268" y="311"/>
                    <a:pt x="3268" y="311"/>
                  </a:cubicBezTo>
                  <a:moveTo>
                    <a:pt x="3301" y="311"/>
                  </a:moveTo>
                  <a:cubicBezTo>
                    <a:pt x="3294" y="311"/>
                    <a:pt x="3291" y="315"/>
                    <a:pt x="3292" y="321"/>
                  </a:cubicBezTo>
                  <a:cubicBezTo>
                    <a:pt x="3294" y="327"/>
                    <a:pt x="3300" y="331"/>
                    <a:pt x="3307" y="331"/>
                  </a:cubicBezTo>
                  <a:cubicBezTo>
                    <a:pt x="3313" y="331"/>
                    <a:pt x="3317" y="326"/>
                    <a:pt x="3315" y="321"/>
                  </a:cubicBezTo>
                  <a:cubicBezTo>
                    <a:pt x="3314" y="315"/>
                    <a:pt x="3307" y="311"/>
                    <a:pt x="3301" y="311"/>
                  </a:cubicBezTo>
                  <a:cubicBezTo>
                    <a:pt x="3301" y="311"/>
                    <a:pt x="3301" y="311"/>
                    <a:pt x="3301" y="311"/>
                  </a:cubicBezTo>
                  <a:moveTo>
                    <a:pt x="3334" y="310"/>
                  </a:moveTo>
                  <a:cubicBezTo>
                    <a:pt x="3327" y="310"/>
                    <a:pt x="3324" y="315"/>
                    <a:pt x="3325" y="321"/>
                  </a:cubicBezTo>
                  <a:cubicBezTo>
                    <a:pt x="3327" y="326"/>
                    <a:pt x="3334" y="331"/>
                    <a:pt x="3340" y="331"/>
                  </a:cubicBezTo>
                  <a:cubicBezTo>
                    <a:pt x="3347" y="331"/>
                    <a:pt x="3350" y="326"/>
                    <a:pt x="3349" y="320"/>
                  </a:cubicBezTo>
                  <a:cubicBezTo>
                    <a:pt x="3347" y="315"/>
                    <a:pt x="3340" y="310"/>
                    <a:pt x="3334" y="310"/>
                  </a:cubicBezTo>
                  <a:cubicBezTo>
                    <a:pt x="3334" y="310"/>
                    <a:pt x="3334" y="310"/>
                    <a:pt x="3334" y="310"/>
                  </a:cubicBezTo>
                  <a:moveTo>
                    <a:pt x="3367" y="310"/>
                  </a:moveTo>
                  <a:cubicBezTo>
                    <a:pt x="3361" y="310"/>
                    <a:pt x="3357" y="315"/>
                    <a:pt x="3359" y="320"/>
                  </a:cubicBezTo>
                  <a:cubicBezTo>
                    <a:pt x="3360" y="326"/>
                    <a:pt x="3367" y="331"/>
                    <a:pt x="3374" y="331"/>
                  </a:cubicBezTo>
                  <a:cubicBezTo>
                    <a:pt x="3380" y="331"/>
                    <a:pt x="3384" y="326"/>
                    <a:pt x="3382" y="320"/>
                  </a:cubicBezTo>
                  <a:cubicBezTo>
                    <a:pt x="3380" y="315"/>
                    <a:pt x="3373" y="310"/>
                    <a:pt x="3367" y="310"/>
                  </a:cubicBezTo>
                  <a:cubicBezTo>
                    <a:pt x="3367" y="310"/>
                    <a:pt x="3367" y="310"/>
                    <a:pt x="3367" y="310"/>
                  </a:cubicBezTo>
                  <a:moveTo>
                    <a:pt x="3401" y="310"/>
                  </a:moveTo>
                  <a:cubicBezTo>
                    <a:pt x="3395" y="310"/>
                    <a:pt x="3391" y="314"/>
                    <a:pt x="3393" y="320"/>
                  </a:cubicBezTo>
                  <a:cubicBezTo>
                    <a:pt x="3395" y="326"/>
                    <a:pt x="3402" y="330"/>
                    <a:pt x="3408" y="330"/>
                  </a:cubicBezTo>
                  <a:cubicBezTo>
                    <a:pt x="3414" y="330"/>
                    <a:pt x="3418" y="326"/>
                    <a:pt x="3416" y="320"/>
                  </a:cubicBezTo>
                  <a:cubicBezTo>
                    <a:pt x="3414" y="314"/>
                    <a:pt x="3408" y="310"/>
                    <a:pt x="3401" y="310"/>
                  </a:cubicBezTo>
                  <a:cubicBezTo>
                    <a:pt x="3401" y="310"/>
                    <a:pt x="3401" y="310"/>
                    <a:pt x="3401" y="310"/>
                  </a:cubicBezTo>
                  <a:moveTo>
                    <a:pt x="3434" y="309"/>
                  </a:moveTo>
                  <a:cubicBezTo>
                    <a:pt x="3428" y="310"/>
                    <a:pt x="3424" y="314"/>
                    <a:pt x="3426" y="320"/>
                  </a:cubicBezTo>
                  <a:cubicBezTo>
                    <a:pt x="3428" y="326"/>
                    <a:pt x="3435" y="330"/>
                    <a:pt x="3441" y="330"/>
                  </a:cubicBezTo>
                  <a:cubicBezTo>
                    <a:pt x="3448" y="330"/>
                    <a:pt x="3451" y="325"/>
                    <a:pt x="3449" y="320"/>
                  </a:cubicBezTo>
                  <a:cubicBezTo>
                    <a:pt x="3447" y="314"/>
                    <a:pt x="3441" y="309"/>
                    <a:pt x="3434" y="309"/>
                  </a:cubicBezTo>
                  <a:cubicBezTo>
                    <a:pt x="3434" y="309"/>
                    <a:pt x="3434" y="309"/>
                    <a:pt x="3434" y="309"/>
                  </a:cubicBezTo>
                  <a:moveTo>
                    <a:pt x="3467" y="309"/>
                  </a:moveTo>
                  <a:cubicBezTo>
                    <a:pt x="3461" y="309"/>
                    <a:pt x="3457" y="314"/>
                    <a:pt x="3459" y="320"/>
                  </a:cubicBezTo>
                  <a:cubicBezTo>
                    <a:pt x="3461" y="325"/>
                    <a:pt x="3468" y="330"/>
                    <a:pt x="3475" y="330"/>
                  </a:cubicBezTo>
                  <a:cubicBezTo>
                    <a:pt x="3481" y="330"/>
                    <a:pt x="3485" y="325"/>
                    <a:pt x="3483" y="319"/>
                  </a:cubicBezTo>
                  <a:cubicBezTo>
                    <a:pt x="3481" y="314"/>
                    <a:pt x="3474" y="309"/>
                    <a:pt x="3467" y="309"/>
                  </a:cubicBezTo>
                  <a:cubicBezTo>
                    <a:pt x="3467" y="309"/>
                    <a:pt x="3467" y="309"/>
                    <a:pt x="3467" y="309"/>
                  </a:cubicBezTo>
                  <a:moveTo>
                    <a:pt x="3501" y="309"/>
                  </a:moveTo>
                  <a:cubicBezTo>
                    <a:pt x="3494" y="309"/>
                    <a:pt x="3491" y="314"/>
                    <a:pt x="3493" y="319"/>
                  </a:cubicBezTo>
                  <a:cubicBezTo>
                    <a:pt x="3495" y="325"/>
                    <a:pt x="3502" y="330"/>
                    <a:pt x="3508" y="330"/>
                  </a:cubicBezTo>
                  <a:cubicBezTo>
                    <a:pt x="3515" y="329"/>
                    <a:pt x="3518" y="325"/>
                    <a:pt x="3516" y="319"/>
                  </a:cubicBezTo>
                  <a:cubicBezTo>
                    <a:pt x="3514" y="313"/>
                    <a:pt x="3507" y="309"/>
                    <a:pt x="3501" y="309"/>
                  </a:cubicBezTo>
                  <a:cubicBezTo>
                    <a:pt x="3501" y="309"/>
                    <a:pt x="3501" y="309"/>
                    <a:pt x="3501" y="309"/>
                  </a:cubicBezTo>
                  <a:moveTo>
                    <a:pt x="3534" y="309"/>
                  </a:moveTo>
                  <a:cubicBezTo>
                    <a:pt x="3527" y="309"/>
                    <a:pt x="3524" y="313"/>
                    <a:pt x="3526" y="319"/>
                  </a:cubicBezTo>
                  <a:cubicBezTo>
                    <a:pt x="3528" y="325"/>
                    <a:pt x="3535" y="329"/>
                    <a:pt x="3542" y="329"/>
                  </a:cubicBezTo>
                  <a:cubicBezTo>
                    <a:pt x="3548" y="329"/>
                    <a:pt x="3551" y="325"/>
                    <a:pt x="3549" y="319"/>
                  </a:cubicBezTo>
                  <a:cubicBezTo>
                    <a:pt x="3547" y="313"/>
                    <a:pt x="3540" y="309"/>
                    <a:pt x="3534" y="309"/>
                  </a:cubicBezTo>
                  <a:cubicBezTo>
                    <a:pt x="3534" y="309"/>
                    <a:pt x="3534" y="309"/>
                    <a:pt x="3534" y="309"/>
                  </a:cubicBezTo>
                  <a:moveTo>
                    <a:pt x="3567" y="308"/>
                  </a:moveTo>
                  <a:cubicBezTo>
                    <a:pt x="3560" y="308"/>
                    <a:pt x="3557" y="313"/>
                    <a:pt x="3559" y="319"/>
                  </a:cubicBezTo>
                  <a:cubicBezTo>
                    <a:pt x="3561" y="324"/>
                    <a:pt x="3569" y="329"/>
                    <a:pt x="3575" y="329"/>
                  </a:cubicBezTo>
                  <a:cubicBezTo>
                    <a:pt x="3581" y="329"/>
                    <a:pt x="3585" y="324"/>
                    <a:pt x="3583" y="319"/>
                  </a:cubicBezTo>
                  <a:cubicBezTo>
                    <a:pt x="3580" y="313"/>
                    <a:pt x="3573" y="308"/>
                    <a:pt x="3567" y="308"/>
                  </a:cubicBezTo>
                  <a:cubicBezTo>
                    <a:pt x="3567" y="308"/>
                    <a:pt x="3567" y="308"/>
                    <a:pt x="3567" y="308"/>
                  </a:cubicBezTo>
                  <a:moveTo>
                    <a:pt x="3600" y="308"/>
                  </a:moveTo>
                  <a:cubicBezTo>
                    <a:pt x="3593" y="308"/>
                    <a:pt x="3590" y="313"/>
                    <a:pt x="3592" y="319"/>
                  </a:cubicBezTo>
                  <a:cubicBezTo>
                    <a:pt x="3595" y="324"/>
                    <a:pt x="3602" y="329"/>
                    <a:pt x="3608" y="329"/>
                  </a:cubicBezTo>
                  <a:cubicBezTo>
                    <a:pt x="3615" y="329"/>
                    <a:pt x="3618" y="324"/>
                    <a:pt x="3616" y="318"/>
                  </a:cubicBezTo>
                  <a:cubicBezTo>
                    <a:pt x="3613" y="313"/>
                    <a:pt x="3606" y="308"/>
                    <a:pt x="3600" y="308"/>
                  </a:cubicBezTo>
                  <a:cubicBezTo>
                    <a:pt x="3600" y="308"/>
                    <a:pt x="3600" y="308"/>
                    <a:pt x="3600" y="308"/>
                  </a:cubicBezTo>
                  <a:moveTo>
                    <a:pt x="129" y="308"/>
                  </a:moveTo>
                  <a:cubicBezTo>
                    <a:pt x="123" y="308"/>
                    <a:pt x="113" y="313"/>
                    <a:pt x="108" y="318"/>
                  </a:cubicBezTo>
                  <a:cubicBezTo>
                    <a:pt x="103" y="324"/>
                    <a:pt x="105" y="328"/>
                    <a:pt x="111" y="328"/>
                  </a:cubicBezTo>
                  <a:cubicBezTo>
                    <a:pt x="117" y="328"/>
                    <a:pt x="127" y="324"/>
                    <a:pt x="132" y="318"/>
                  </a:cubicBezTo>
                  <a:cubicBezTo>
                    <a:pt x="137" y="313"/>
                    <a:pt x="135" y="308"/>
                    <a:pt x="129" y="308"/>
                  </a:cubicBezTo>
                  <a:cubicBezTo>
                    <a:pt x="129" y="308"/>
                    <a:pt x="129" y="308"/>
                    <a:pt x="129" y="308"/>
                  </a:cubicBezTo>
                  <a:moveTo>
                    <a:pt x="3633" y="308"/>
                  </a:moveTo>
                  <a:cubicBezTo>
                    <a:pt x="3627" y="308"/>
                    <a:pt x="3624" y="313"/>
                    <a:pt x="3626" y="318"/>
                  </a:cubicBezTo>
                  <a:cubicBezTo>
                    <a:pt x="3628" y="324"/>
                    <a:pt x="3636" y="329"/>
                    <a:pt x="3642" y="328"/>
                  </a:cubicBezTo>
                  <a:cubicBezTo>
                    <a:pt x="3649" y="328"/>
                    <a:pt x="3652" y="324"/>
                    <a:pt x="3649" y="318"/>
                  </a:cubicBezTo>
                  <a:cubicBezTo>
                    <a:pt x="3647" y="312"/>
                    <a:pt x="3640" y="308"/>
                    <a:pt x="3633" y="308"/>
                  </a:cubicBezTo>
                  <a:cubicBezTo>
                    <a:pt x="3633" y="308"/>
                    <a:pt x="3633" y="308"/>
                    <a:pt x="3633" y="308"/>
                  </a:cubicBezTo>
                  <a:moveTo>
                    <a:pt x="162" y="308"/>
                  </a:moveTo>
                  <a:cubicBezTo>
                    <a:pt x="156" y="308"/>
                    <a:pt x="146" y="312"/>
                    <a:pt x="141" y="318"/>
                  </a:cubicBezTo>
                  <a:cubicBezTo>
                    <a:pt x="136" y="324"/>
                    <a:pt x="138" y="328"/>
                    <a:pt x="144" y="328"/>
                  </a:cubicBezTo>
                  <a:cubicBezTo>
                    <a:pt x="151" y="328"/>
                    <a:pt x="160" y="323"/>
                    <a:pt x="165" y="318"/>
                  </a:cubicBezTo>
                  <a:cubicBezTo>
                    <a:pt x="170" y="312"/>
                    <a:pt x="168" y="308"/>
                    <a:pt x="162" y="308"/>
                  </a:cubicBezTo>
                  <a:cubicBezTo>
                    <a:pt x="162" y="308"/>
                    <a:pt x="162" y="308"/>
                    <a:pt x="162" y="308"/>
                  </a:cubicBezTo>
                  <a:moveTo>
                    <a:pt x="3667" y="308"/>
                  </a:moveTo>
                  <a:cubicBezTo>
                    <a:pt x="3660" y="308"/>
                    <a:pt x="3657" y="312"/>
                    <a:pt x="3659" y="318"/>
                  </a:cubicBezTo>
                  <a:cubicBezTo>
                    <a:pt x="3662" y="324"/>
                    <a:pt x="3669" y="328"/>
                    <a:pt x="3675" y="328"/>
                  </a:cubicBezTo>
                  <a:cubicBezTo>
                    <a:pt x="3682" y="328"/>
                    <a:pt x="3685" y="324"/>
                    <a:pt x="3683" y="318"/>
                  </a:cubicBezTo>
                  <a:cubicBezTo>
                    <a:pt x="3680" y="312"/>
                    <a:pt x="3673" y="308"/>
                    <a:pt x="3667" y="308"/>
                  </a:cubicBezTo>
                  <a:cubicBezTo>
                    <a:pt x="3667" y="308"/>
                    <a:pt x="3667" y="308"/>
                    <a:pt x="3667" y="308"/>
                  </a:cubicBezTo>
                  <a:moveTo>
                    <a:pt x="3701" y="307"/>
                  </a:moveTo>
                  <a:cubicBezTo>
                    <a:pt x="3694" y="307"/>
                    <a:pt x="3691" y="312"/>
                    <a:pt x="3694" y="318"/>
                  </a:cubicBezTo>
                  <a:cubicBezTo>
                    <a:pt x="3696" y="323"/>
                    <a:pt x="3704" y="328"/>
                    <a:pt x="3710" y="328"/>
                  </a:cubicBezTo>
                  <a:cubicBezTo>
                    <a:pt x="3716" y="328"/>
                    <a:pt x="3720" y="323"/>
                    <a:pt x="3717" y="318"/>
                  </a:cubicBezTo>
                  <a:cubicBezTo>
                    <a:pt x="3714" y="312"/>
                    <a:pt x="3707" y="307"/>
                    <a:pt x="3701" y="307"/>
                  </a:cubicBezTo>
                  <a:cubicBezTo>
                    <a:pt x="3701" y="307"/>
                    <a:pt x="3701" y="307"/>
                    <a:pt x="3701" y="307"/>
                  </a:cubicBezTo>
                  <a:moveTo>
                    <a:pt x="3734" y="307"/>
                  </a:moveTo>
                  <a:cubicBezTo>
                    <a:pt x="3727" y="307"/>
                    <a:pt x="3724" y="312"/>
                    <a:pt x="3727" y="317"/>
                  </a:cubicBezTo>
                  <a:cubicBezTo>
                    <a:pt x="3729" y="323"/>
                    <a:pt x="3737" y="328"/>
                    <a:pt x="3743" y="328"/>
                  </a:cubicBezTo>
                  <a:cubicBezTo>
                    <a:pt x="3750" y="328"/>
                    <a:pt x="3753" y="323"/>
                    <a:pt x="3750" y="317"/>
                  </a:cubicBezTo>
                  <a:cubicBezTo>
                    <a:pt x="3747" y="312"/>
                    <a:pt x="3740" y="307"/>
                    <a:pt x="3734" y="307"/>
                  </a:cubicBezTo>
                  <a:cubicBezTo>
                    <a:pt x="3734" y="307"/>
                    <a:pt x="3734" y="307"/>
                    <a:pt x="3734" y="307"/>
                  </a:cubicBezTo>
                  <a:moveTo>
                    <a:pt x="3767" y="307"/>
                  </a:moveTo>
                  <a:cubicBezTo>
                    <a:pt x="3760" y="307"/>
                    <a:pt x="3757" y="312"/>
                    <a:pt x="3760" y="317"/>
                  </a:cubicBezTo>
                  <a:cubicBezTo>
                    <a:pt x="3763" y="323"/>
                    <a:pt x="3770" y="327"/>
                    <a:pt x="3777" y="327"/>
                  </a:cubicBezTo>
                  <a:cubicBezTo>
                    <a:pt x="3783" y="327"/>
                    <a:pt x="3786" y="323"/>
                    <a:pt x="3783" y="317"/>
                  </a:cubicBezTo>
                  <a:cubicBezTo>
                    <a:pt x="3781" y="311"/>
                    <a:pt x="3773" y="307"/>
                    <a:pt x="3767" y="307"/>
                  </a:cubicBezTo>
                  <a:cubicBezTo>
                    <a:pt x="3767" y="307"/>
                    <a:pt x="3767" y="307"/>
                    <a:pt x="3767" y="307"/>
                  </a:cubicBezTo>
                  <a:moveTo>
                    <a:pt x="3800" y="307"/>
                  </a:moveTo>
                  <a:cubicBezTo>
                    <a:pt x="3794" y="307"/>
                    <a:pt x="3791" y="311"/>
                    <a:pt x="3794" y="317"/>
                  </a:cubicBezTo>
                  <a:cubicBezTo>
                    <a:pt x="3796" y="323"/>
                    <a:pt x="3804" y="327"/>
                    <a:pt x="3810" y="327"/>
                  </a:cubicBezTo>
                  <a:cubicBezTo>
                    <a:pt x="3817" y="327"/>
                    <a:pt x="3820" y="322"/>
                    <a:pt x="3817" y="317"/>
                  </a:cubicBezTo>
                  <a:cubicBezTo>
                    <a:pt x="3814" y="311"/>
                    <a:pt x="3807" y="307"/>
                    <a:pt x="3800" y="307"/>
                  </a:cubicBezTo>
                  <a:cubicBezTo>
                    <a:pt x="3800" y="307"/>
                    <a:pt x="3800" y="307"/>
                    <a:pt x="3800" y="307"/>
                  </a:cubicBezTo>
                  <a:moveTo>
                    <a:pt x="3833" y="306"/>
                  </a:moveTo>
                  <a:cubicBezTo>
                    <a:pt x="3827" y="306"/>
                    <a:pt x="3824" y="311"/>
                    <a:pt x="3827" y="317"/>
                  </a:cubicBezTo>
                  <a:cubicBezTo>
                    <a:pt x="3829" y="322"/>
                    <a:pt x="3837" y="327"/>
                    <a:pt x="3843" y="327"/>
                  </a:cubicBezTo>
                  <a:cubicBezTo>
                    <a:pt x="3850" y="327"/>
                    <a:pt x="3853" y="322"/>
                    <a:pt x="3850" y="317"/>
                  </a:cubicBezTo>
                  <a:cubicBezTo>
                    <a:pt x="3847" y="311"/>
                    <a:pt x="3840" y="306"/>
                    <a:pt x="3833" y="306"/>
                  </a:cubicBezTo>
                  <a:cubicBezTo>
                    <a:pt x="3833" y="306"/>
                    <a:pt x="3833" y="306"/>
                    <a:pt x="3833" y="306"/>
                  </a:cubicBezTo>
                  <a:moveTo>
                    <a:pt x="4131" y="305"/>
                  </a:moveTo>
                  <a:cubicBezTo>
                    <a:pt x="4125" y="305"/>
                    <a:pt x="4122" y="310"/>
                    <a:pt x="4126" y="316"/>
                  </a:cubicBezTo>
                  <a:cubicBezTo>
                    <a:pt x="4129" y="321"/>
                    <a:pt x="4137" y="326"/>
                    <a:pt x="4144" y="326"/>
                  </a:cubicBezTo>
                  <a:cubicBezTo>
                    <a:pt x="4150" y="326"/>
                    <a:pt x="4152" y="321"/>
                    <a:pt x="4149" y="315"/>
                  </a:cubicBezTo>
                  <a:cubicBezTo>
                    <a:pt x="4146" y="310"/>
                    <a:pt x="4138" y="305"/>
                    <a:pt x="4131" y="305"/>
                  </a:cubicBezTo>
                  <a:cubicBezTo>
                    <a:pt x="4131" y="305"/>
                    <a:pt x="4131" y="305"/>
                    <a:pt x="4131" y="305"/>
                  </a:cubicBezTo>
                  <a:moveTo>
                    <a:pt x="4098" y="304"/>
                  </a:moveTo>
                  <a:cubicBezTo>
                    <a:pt x="4091" y="305"/>
                    <a:pt x="4089" y="309"/>
                    <a:pt x="4092" y="315"/>
                  </a:cubicBezTo>
                  <a:cubicBezTo>
                    <a:pt x="4095" y="321"/>
                    <a:pt x="4103" y="325"/>
                    <a:pt x="4110" y="325"/>
                  </a:cubicBezTo>
                  <a:cubicBezTo>
                    <a:pt x="4116" y="325"/>
                    <a:pt x="4119" y="320"/>
                    <a:pt x="4115" y="315"/>
                  </a:cubicBezTo>
                  <a:cubicBezTo>
                    <a:pt x="4112" y="309"/>
                    <a:pt x="4104" y="304"/>
                    <a:pt x="4098" y="304"/>
                  </a:cubicBezTo>
                  <a:cubicBezTo>
                    <a:pt x="4098" y="304"/>
                    <a:pt x="4098" y="304"/>
                    <a:pt x="4098" y="304"/>
                  </a:cubicBezTo>
                  <a:moveTo>
                    <a:pt x="430" y="304"/>
                  </a:moveTo>
                  <a:cubicBezTo>
                    <a:pt x="424" y="304"/>
                    <a:pt x="415" y="308"/>
                    <a:pt x="411" y="314"/>
                  </a:cubicBezTo>
                  <a:cubicBezTo>
                    <a:pt x="406" y="320"/>
                    <a:pt x="408" y="324"/>
                    <a:pt x="414" y="324"/>
                  </a:cubicBezTo>
                  <a:cubicBezTo>
                    <a:pt x="421" y="324"/>
                    <a:pt x="429" y="319"/>
                    <a:pt x="434" y="314"/>
                  </a:cubicBezTo>
                  <a:cubicBezTo>
                    <a:pt x="438" y="308"/>
                    <a:pt x="436" y="304"/>
                    <a:pt x="430" y="304"/>
                  </a:cubicBezTo>
                  <a:cubicBezTo>
                    <a:pt x="430" y="304"/>
                    <a:pt x="430" y="304"/>
                    <a:pt x="430" y="304"/>
                  </a:cubicBezTo>
                  <a:moveTo>
                    <a:pt x="463" y="304"/>
                  </a:moveTo>
                  <a:cubicBezTo>
                    <a:pt x="456" y="304"/>
                    <a:pt x="448" y="308"/>
                    <a:pt x="443" y="314"/>
                  </a:cubicBezTo>
                  <a:cubicBezTo>
                    <a:pt x="439" y="319"/>
                    <a:pt x="441" y="324"/>
                    <a:pt x="447" y="324"/>
                  </a:cubicBezTo>
                  <a:cubicBezTo>
                    <a:pt x="454" y="324"/>
                    <a:pt x="462" y="319"/>
                    <a:pt x="467" y="314"/>
                  </a:cubicBezTo>
                  <a:cubicBezTo>
                    <a:pt x="471" y="308"/>
                    <a:pt x="469" y="304"/>
                    <a:pt x="463" y="304"/>
                  </a:cubicBezTo>
                  <a:cubicBezTo>
                    <a:pt x="463" y="304"/>
                    <a:pt x="463" y="304"/>
                    <a:pt x="463" y="304"/>
                  </a:cubicBezTo>
                  <a:moveTo>
                    <a:pt x="496" y="303"/>
                  </a:moveTo>
                  <a:cubicBezTo>
                    <a:pt x="489" y="303"/>
                    <a:pt x="481" y="308"/>
                    <a:pt x="477" y="314"/>
                  </a:cubicBezTo>
                  <a:cubicBezTo>
                    <a:pt x="472" y="319"/>
                    <a:pt x="474" y="324"/>
                    <a:pt x="481" y="324"/>
                  </a:cubicBezTo>
                  <a:cubicBezTo>
                    <a:pt x="487" y="324"/>
                    <a:pt x="496" y="319"/>
                    <a:pt x="500" y="313"/>
                  </a:cubicBezTo>
                  <a:cubicBezTo>
                    <a:pt x="504" y="308"/>
                    <a:pt x="502" y="303"/>
                    <a:pt x="496" y="303"/>
                  </a:cubicBezTo>
                  <a:cubicBezTo>
                    <a:pt x="496" y="303"/>
                    <a:pt x="496" y="303"/>
                    <a:pt x="496" y="303"/>
                  </a:cubicBezTo>
                  <a:moveTo>
                    <a:pt x="529" y="303"/>
                  </a:moveTo>
                  <a:cubicBezTo>
                    <a:pt x="522" y="303"/>
                    <a:pt x="514" y="308"/>
                    <a:pt x="510" y="313"/>
                  </a:cubicBezTo>
                  <a:cubicBezTo>
                    <a:pt x="505" y="319"/>
                    <a:pt x="507" y="323"/>
                    <a:pt x="514" y="323"/>
                  </a:cubicBezTo>
                  <a:cubicBezTo>
                    <a:pt x="520" y="323"/>
                    <a:pt x="529" y="319"/>
                    <a:pt x="533" y="313"/>
                  </a:cubicBezTo>
                  <a:cubicBezTo>
                    <a:pt x="537" y="308"/>
                    <a:pt x="535" y="303"/>
                    <a:pt x="529" y="303"/>
                  </a:cubicBezTo>
                  <a:cubicBezTo>
                    <a:pt x="529" y="303"/>
                    <a:pt x="529" y="303"/>
                    <a:pt x="529" y="303"/>
                  </a:cubicBezTo>
                  <a:moveTo>
                    <a:pt x="562" y="303"/>
                  </a:moveTo>
                  <a:cubicBezTo>
                    <a:pt x="555" y="303"/>
                    <a:pt x="547" y="307"/>
                    <a:pt x="543" y="313"/>
                  </a:cubicBezTo>
                  <a:cubicBezTo>
                    <a:pt x="539" y="319"/>
                    <a:pt x="541" y="323"/>
                    <a:pt x="547" y="323"/>
                  </a:cubicBezTo>
                  <a:cubicBezTo>
                    <a:pt x="553" y="323"/>
                    <a:pt x="562" y="318"/>
                    <a:pt x="566" y="313"/>
                  </a:cubicBezTo>
                  <a:cubicBezTo>
                    <a:pt x="570" y="307"/>
                    <a:pt x="568" y="303"/>
                    <a:pt x="562" y="303"/>
                  </a:cubicBezTo>
                  <a:cubicBezTo>
                    <a:pt x="562" y="303"/>
                    <a:pt x="562" y="303"/>
                    <a:pt x="562" y="303"/>
                  </a:cubicBezTo>
                  <a:moveTo>
                    <a:pt x="596" y="303"/>
                  </a:moveTo>
                  <a:cubicBezTo>
                    <a:pt x="590" y="303"/>
                    <a:pt x="581" y="307"/>
                    <a:pt x="577" y="313"/>
                  </a:cubicBezTo>
                  <a:cubicBezTo>
                    <a:pt x="573" y="318"/>
                    <a:pt x="575" y="323"/>
                    <a:pt x="581" y="323"/>
                  </a:cubicBezTo>
                  <a:cubicBezTo>
                    <a:pt x="588" y="323"/>
                    <a:pt x="596" y="318"/>
                    <a:pt x="600" y="313"/>
                  </a:cubicBezTo>
                  <a:cubicBezTo>
                    <a:pt x="604" y="307"/>
                    <a:pt x="602" y="303"/>
                    <a:pt x="596" y="303"/>
                  </a:cubicBezTo>
                  <a:cubicBezTo>
                    <a:pt x="596" y="303"/>
                    <a:pt x="596" y="303"/>
                    <a:pt x="596" y="303"/>
                  </a:cubicBezTo>
                  <a:moveTo>
                    <a:pt x="629" y="302"/>
                  </a:moveTo>
                  <a:cubicBezTo>
                    <a:pt x="622" y="302"/>
                    <a:pt x="614" y="307"/>
                    <a:pt x="610" y="312"/>
                  </a:cubicBezTo>
                  <a:cubicBezTo>
                    <a:pt x="606" y="318"/>
                    <a:pt x="608" y="323"/>
                    <a:pt x="614" y="323"/>
                  </a:cubicBezTo>
                  <a:cubicBezTo>
                    <a:pt x="621" y="322"/>
                    <a:pt x="629" y="318"/>
                    <a:pt x="633" y="312"/>
                  </a:cubicBezTo>
                  <a:cubicBezTo>
                    <a:pt x="637" y="307"/>
                    <a:pt x="635" y="302"/>
                    <a:pt x="629" y="302"/>
                  </a:cubicBezTo>
                  <a:cubicBezTo>
                    <a:pt x="629" y="302"/>
                    <a:pt x="629" y="302"/>
                    <a:pt x="629" y="302"/>
                  </a:cubicBezTo>
                  <a:moveTo>
                    <a:pt x="662" y="302"/>
                  </a:moveTo>
                  <a:cubicBezTo>
                    <a:pt x="655" y="302"/>
                    <a:pt x="647" y="307"/>
                    <a:pt x="643" y="312"/>
                  </a:cubicBezTo>
                  <a:cubicBezTo>
                    <a:pt x="639" y="318"/>
                    <a:pt x="641" y="322"/>
                    <a:pt x="648" y="322"/>
                  </a:cubicBezTo>
                  <a:cubicBezTo>
                    <a:pt x="654" y="322"/>
                    <a:pt x="663" y="318"/>
                    <a:pt x="666" y="312"/>
                  </a:cubicBezTo>
                  <a:cubicBezTo>
                    <a:pt x="670" y="306"/>
                    <a:pt x="668" y="302"/>
                    <a:pt x="662" y="302"/>
                  </a:cubicBezTo>
                  <a:cubicBezTo>
                    <a:pt x="662" y="302"/>
                    <a:pt x="662" y="302"/>
                    <a:pt x="662" y="302"/>
                  </a:cubicBezTo>
                  <a:moveTo>
                    <a:pt x="695" y="302"/>
                  </a:moveTo>
                  <a:cubicBezTo>
                    <a:pt x="689" y="302"/>
                    <a:pt x="681" y="306"/>
                    <a:pt x="677" y="312"/>
                  </a:cubicBezTo>
                  <a:cubicBezTo>
                    <a:pt x="673" y="318"/>
                    <a:pt x="675" y="322"/>
                    <a:pt x="681" y="322"/>
                  </a:cubicBezTo>
                  <a:cubicBezTo>
                    <a:pt x="688" y="322"/>
                    <a:pt x="696" y="317"/>
                    <a:pt x="700" y="312"/>
                  </a:cubicBezTo>
                  <a:cubicBezTo>
                    <a:pt x="704" y="306"/>
                    <a:pt x="702" y="302"/>
                    <a:pt x="695" y="302"/>
                  </a:cubicBezTo>
                  <a:cubicBezTo>
                    <a:pt x="695" y="302"/>
                    <a:pt x="695" y="302"/>
                    <a:pt x="695" y="302"/>
                  </a:cubicBezTo>
                  <a:moveTo>
                    <a:pt x="728" y="301"/>
                  </a:moveTo>
                  <a:cubicBezTo>
                    <a:pt x="722" y="302"/>
                    <a:pt x="713" y="306"/>
                    <a:pt x="710" y="312"/>
                  </a:cubicBezTo>
                  <a:cubicBezTo>
                    <a:pt x="706" y="317"/>
                    <a:pt x="708" y="322"/>
                    <a:pt x="715" y="322"/>
                  </a:cubicBezTo>
                  <a:cubicBezTo>
                    <a:pt x="721" y="322"/>
                    <a:pt x="729" y="317"/>
                    <a:pt x="733" y="311"/>
                  </a:cubicBezTo>
                  <a:cubicBezTo>
                    <a:pt x="737" y="306"/>
                    <a:pt x="734" y="301"/>
                    <a:pt x="728" y="301"/>
                  </a:cubicBezTo>
                  <a:cubicBezTo>
                    <a:pt x="728" y="301"/>
                    <a:pt x="728" y="301"/>
                    <a:pt x="728" y="301"/>
                  </a:cubicBezTo>
                  <a:moveTo>
                    <a:pt x="761" y="301"/>
                  </a:moveTo>
                  <a:cubicBezTo>
                    <a:pt x="755" y="301"/>
                    <a:pt x="747" y="306"/>
                    <a:pt x="743" y="311"/>
                  </a:cubicBezTo>
                  <a:cubicBezTo>
                    <a:pt x="739" y="317"/>
                    <a:pt x="741" y="322"/>
                    <a:pt x="748" y="321"/>
                  </a:cubicBezTo>
                  <a:cubicBezTo>
                    <a:pt x="754" y="321"/>
                    <a:pt x="762" y="317"/>
                    <a:pt x="766" y="311"/>
                  </a:cubicBezTo>
                  <a:cubicBezTo>
                    <a:pt x="770" y="306"/>
                    <a:pt x="767" y="301"/>
                    <a:pt x="761" y="301"/>
                  </a:cubicBezTo>
                  <a:cubicBezTo>
                    <a:pt x="761" y="301"/>
                    <a:pt x="761" y="301"/>
                    <a:pt x="761" y="301"/>
                  </a:cubicBezTo>
                  <a:moveTo>
                    <a:pt x="794" y="301"/>
                  </a:moveTo>
                  <a:cubicBezTo>
                    <a:pt x="787" y="301"/>
                    <a:pt x="779" y="306"/>
                    <a:pt x="776" y="311"/>
                  </a:cubicBezTo>
                  <a:cubicBezTo>
                    <a:pt x="772" y="317"/>
                    <a:pt x="774" y="321"/>
                    <a:pt x="781" y="321"/>
                  </a:cubicBezTo>
                  <a:cubicBezTo>
                    <a:pt x="787" y="321"/>
                    <a:pt x="795" y="317"/>
                    <a:pt x="799" y="311"/>
                  </a:cubicBezTo>
                  <a:cubicBezTo>
                    <a:pt x="803" y="305"/>
                    <a:pt x="800" y="301"/>
                    <a:pt x="794" y="301"/>
                  </a:cubicBezTo>
                  <a:cubicBezTo>
                    <a:pt x="794" y="301"/>
                    <a:pt x="794" y="301"/>
                    <a:pt x="794" y="301"/>
                  </a:cubicBezTo>
                  <a:moveTo>
                    <a:pt x="827" y="301"/>
                  </a:moveTo>
                  <a:cubicBezTo>
                    <a:pt x="821" y="301"/>
                    <a:pt x="813" y="305"/>
                    <a:pt x="809" y="311"/>
                  </a:cubicBezTo>
                  <a:cubicBezTo>
                    <a:pt x="805" y="316"/>
                    <a:pt x="808" y="321"/>
                    <a:pt x="814" y="321"/>
                  </a:cubicBezTo>
                  <a:cubicBezTo>
                    <a:pt x="821" y="321"/>
                    <a:pt x="829" y="316"/>
                    <a:pt x="832" y="311"/>
                  </a:cubicBezTo>
                  <a:cubicBezTo>
                    <a:pt x="836" y="305"/>
                    <a:pt x="833" y="301"/>
                    <a:pt x="827" y="301"/>
                  </a:cubicBezTo>
                  <a:cubicBezTo>
                    <a:pt x="827" y="301"/>
                    <a:pt x="827" y="301"/>
                    <a:pt x="827" y="301"/>
                  </a:cubicBezTo>
                  <a:moveTo>
                    <a:pt x="860" y="300"/>
                  </a:moveTo>
                  <a:cubicBezTo>
                    <a:pt x="854" y="300"/>
                    <a:pt x="846" y="305"/>
                    <a:pt x="842" y="311"/>
                  </a:cubicBezTo>
                  <a:cubicBezTo>
                    <a:pt x="839" y="316"/>
                    <a:pt x="841" y="321"/>
                    <a:pt x="848" y="321"/>
                  </a:cubicBezTo>
                  <a:cubicBezTo>
                    <a:pt x="854" y="321"/>
                    <a:pt x="862" y="316"/>
                    <a:pt x="866" y="310"/>
                  </a:cubicBezTo>
                  <a:cubicBezTo>
                    <a:pt x="869" y="305"/>
                    <a:pt x="867" y="300"/>
                    <a:pt x="860" y="300"/>
                  </a:cubicBezTo>
                  <a:cubicBezTo>
                    <a:pt x="860" y="300"/>
                    <a:pt x="860" y="300"/>
                    <a:pt x="860" y="300"/>
                  </a:cubicBezTo>
                  <a:moveTo>
                    <a:pt x="893" y="300"/>
                  </a:moveTo>
                  <a:cubicBezTo>
                    <a:pt x="887" y="300"/>
                    <a:pt x="879" y="305"/>
                    <a:pt x="875" y="310"/>
                  </a:cubicBezTo>
                  <a:cubicBezTo>
                    <a:pt x="872" y="316"/>
                    <a:pt x="874" y="320"/>
                    <a:pt x="881" y="320"/>
                  </a:cubicBezTo>
                  <a:cubicBezTo>
                    <a:pt x="887" y="320"/>
                    <a:pt x="895" y="316"/>
                    <a:pt x="899" y="310"/>
                  </a:cubicBezTo>
                  <a:cubicBezTo>
                    <a:pt x="902" y="305"/>
                    <a:pt x="900" y="300"/>
                    <a:pt x="893" y="300"/>
                  </a:cubicBezTo>
                  <a:cubicBezTo>
                    <a:pt x="893" y="300"/>
                    <a:pt x="893" y="300"/>
                    <a:pt x="893" y="300"/>
                  </a:cubicBezTo>
                  <a:moveTo>
                    <a:pt x="924" y="300"/>
                  </a:moveTo>
                  <a:cubicBezTo>
                    <a:pt x="918" y="300"/>
                    <a:pt x="910" y="304"/>
                    <a:pt x="907" y="310"/>
                  </a:cubicBezTo>
                  <a:cubicBezTo>
                    <a:pt x="903" y="316"/>
                    <a:pt x="906" y="320"/>
                    <a:pt x="912" y="320"/>
                  </a:cubicBezTo>
                  <a:cubicBezTo>
                    <a:pt x="919" y="320"/>
                    <a:pt x="927" y="316"/>
                    <a:pt x="930" y="310"/>
                  </a:cubicBezTo>
                  <a:cubicBezTo>
                    <a:pt x="933" y="304"/>
                    <a:pt x="931" y="300"/>
                    <a:pt x="925" y="300"/>
                  </a:cubicBezTo>
                  <a:cubicBezTo>
                    <a:pt x="924" y="300"/>
                    <a:pt x="924" y="300"/>
                    <a:pt x="924" y="300"/>
                  </a:cubicBezTo>
                  <a:moveTo>
                    <a:pt x="1156" y="298"/>
                  </a:moveTo>
                  <a:cubicBezTo>
                    <a:pt x="1149" y="298"/>
                    <a:pt x="1142" y="303"/>
                    <a:pt x="1139" y="308"/>
                  </a:cubicBezTo>
                  <a:cubicBezTo>
                    <a:pt x="1136" y="314"/>
                    <a:pt x="1139" y="318"/>
                    <a:pt x="1145" y="318"/>
                  </a:cubicBezTo>
                  <a:cubicBezTo>
                    <a:pt x="1152" y="318"/>
                    <a:pt x="1159" y="314"/>
                    <a:pt x="1162" y="308"/>
                  </a:cubicBezTo>
                  <a:cubicBezTo>
                    <a:pt x="1165" y="302"/>
                    <a:pt x="1162" y="298"/>
                    <a:pt x="1156" y="298"/>
                  </a:cubicBezTo>
                  <a:cubicBezTo>
                    <a:pt x="1156" y="298"/>
                    <a:pt x="1156" y="298"/>
                    <a:pt x="1156" y="298"/>
                  </a:cubicBezTo>
                  <a:moveTo>
                    <a:pt x="1188" y="297"/>
                  </a:moveTo>
                  <a:cubicBezTo>
                    <a:pt x="1182" y="297"/>
                    <a:pt x="1174" y="302"/>
                    <a:pt x="1172" y="307"/>
                  </a:cubicBezTo>
                  <a:cubicBezTo>
                    <a:pt x="1169" y="313"/>
                    <a:pt x="1172" y="317"/>
                    <a:pt x="1178" y="317"/>
                  </a:cubicBezTo>
                  <a:cubicBezTo>
                    <a:pt x="1185" y="317"/>
                    <a:pt x="1192" y="313"/>
                    <a:pt x="1195" y="307"/>
                  </a:cubicBezTo>
                  <a:cubicBezTo>
                    <a:pt x="1198" y="302"/>
                    <a:pt x="1195" y="297"/>
                    <a:pt x="1188" y="297"/>
                  </a:cubicBezTo>
                  <a:cubicBezTo>
                    <a:pt x="1188" y="297"/>
                    <a:pt x="1188" y="297"/>
                    <a:pt x="1188" y="297"/>
                  </a:cubicBezTo>
                  <a:moveTo>
                    <a:pt x="1222" y="297"/>
                  </a:moveTo>
                  <a:cubicBezTo>
                    <a:pt x="1215" y="297"/>
                    <a:pt x="1208" y="301"/>
                    <a:pt x="1205" y="307"/>
                  </a:cubicBezTo>
                  <a:cubicBezTo>
                    <a:pt x="1202" y="313"/>
                    <a:pt x="1205" y="317"/>
                    <a:pt x="1212" y="317"/>
                  </a:cubicBezTo>
                  <a:cubicBezTo>
                    <a:pt x="1218" y="317"/>
                    <a:pt x="1226" y="312"/>
                    <a:pt x="1228" y="307"/>
                  </a:cubicBezTo>
                  <a:cubicBezTo>
                    <a:pt x="1231" y="301"/>
                    <a:pt x="1228" y="297"/>
                    <a:pt x="1222" y="297"/>
                  </a:cubicBezTo>
                  <a:cubicBezTo>
                    <a:pt x="1222" y="297"/>
                    <a:pt x="1222" y="297"/>
                    <a:pt x="1222" y="297"/>
                  </a:cubicBezTo>
                  <a:moveTo>
                    <a:pt x="1254" y="297"/>
                  </a:moveTo>
                  <a:cubicBezTo>
                    <a:pt x="1248" y="297"/>
                    <a:pt x="1241" y="301"/>
                    <a:pt x="1238" y="307"/>
                  </a:cubicBezTo>
                  <a:cubicBezTo>
                    <a:pt x="1235" y="312"/>
                    <a:pt x="1238" y="317"/>
                    <a:pt x="1245" y="317"/>
                  </a:cubicBezTo>
                  <a:cubicBezTo>
                    <a:pt x="1251" y="317"/>
                    <a:pt x="1259" y="312"/>
                    <a:pt x="1261" y="307"/>
                  </a:cubicBezTo>
                  <a:cubicBezTo>
                    <a:pt x="1264" y="301"/>
                    <a:pt x="1261" y="297"/>
                    <a:pt x="1254" y="297"/>
                  </a:cubicBezTo>
                  <a:cubicBezTo>
                    <a:pt x="1254" y="297"/>
                    <a:pt x="1254" y="297"/>
                    <a:pt x="1254" y="297"/>
                  </a:cubicBezTo>
                  <a:moveTo>
                    <a:pt x="1288" y="296"/>
                  </a:moveTo>
                  <a:cubicBezTo>
                    <a:pt x="1282" y="296"/>
                    <a:pt x="1275" y="301"/>
                    <a:pt x="1272" y="306"/>
                  </a:cubicBezTo>
                  <a:cubicBezTo>
                    <a:pt x="1269" y="312"/>
                    <a:pt x="1272" y="317"/>
                    <a:pt x="1279" y="317"/>
                  </a:cubicBezTo>
                  <a:cubicBezTo>
                    <a:pt x="1285" y="317"/>
                    <a:pt x="1293" y="312"/>
                    <a:pt x="1295" y="306"/>
                  </a:cubicBezTo>
                  <a:cubicBezTo>
                    <a:pt x="1298" y="301"/>
                    <a:pt x="1295" y="296"/>
                    <a:pt x="1288" y="296"/>
                  </a:cubicBezTo>
                  <a:cubicBezTo>
                    <a:pt x="1288" y="296"/>
                    <a:pt x="1288" y="296"/>
                    <a:pt x="1288" y="296"/>
                  </a:cubicBezTo>
                  <a:moveTo>
                    <a:pt x="2243" y="290"/>
                  </a:moveTo>
                  <a:cubicBezTo>
                    <a:pt x="2237" y="290"/>
                    <a:pt x="2231" y="294"/>
                    <a:pt x="2231" y="300"/>
                  </a:cubicBezTo>
                  <a:cubicBezTo>
                    <a:pt x="2230" y="306"/>
                    <a:pt x="2235" y="310"/>
                    <a:pt x="2241" y="310"/>
                  </a:cubicBezTo>
                  <a:cubicBezTo>
                    <a:pt x="2248" y="310"/>
                    <a:pt x="2253" y="305"/>
                    <a:pt x="2254" y="300"/>
                  </a:cubicBezTo>
                  <a:cubicBezTo>
                    <a:pt x="2254" y="294"/>
                    <a:pt x="2250" y="290"/>
                    <a:pt x="2243" y="290"/>
                  </a:cubicBezTo>
                  <a:cubicBezTo>
                    <a:pt x="2243" y="290"/>
                    <a:pt x="2243" y="290"/>
                    <a:pt x="2243" y="290"/>
                  </a:cubicBezTo>
                  <a:moveTo>
                    <a:pt x="2276" y="289"/>
                  </a:moveTo>
                  <a:cubicBezTo>
                    <a:pt x="2270" y="289"/>
                    <a:pt x="2264" y="294"/>
                    <a:pt x="2263" y="300"/>
                  </a:cubicBezTo>
                  <a:cubicBezTo>
                    <a:pt x="2263" y="305"/>
                    <a:pt x="2268" y="310"/>
                    <a:pt x="2274" y="310"/>
                  </a:cubicBezTo>
                  <a:cubicBezTo>
                    <a:pt x="2281" y="310"/>
                    <a:pt x="2286" y="305"/>
                    <a:pt x="2287" y="300"/>
                  </a:cubicBezTo>
                  <a:cubicBezTo>
                    <a:pt x="2287" y="294"/>
                    <a:pt x="2282" y="289"/>
                    <a:pt x="2276" y="289"/>
                  </a:cubicBezTo>
                  <a:cubicBezTo>
                    <a:pt x="2276" y="289"/>
                    <a:pt x="2276" y="289"/>
                    <a:pt x="2276" y="289"/>
                  </a:cubicBezTo>
                  <a:moveTo>
                    <a:pt x="2407" y="288"/>
                  </a:moveTo>
                  <a:cubicBezTo>
                    <a:pt x="2401" y="288"/>
                    <a:pt x="2395" y="293"/>
                    <a:pt x="2395" y="299"/>
                  </a:cubicBezTo>
                  <a:cubicBezTo>
                    <a:pt x="2395" y="304"/>
                    <a:pt x="2400" y="309"/>
                    <a:pt x="2406" y="309"/>
                  </a:cubicBezTo>
                  <a:cubicBezTo>
                    <a:pt x="2413" y="309"/>
                    <a:pt x="2418" y="304"/>
                    <a:pt x="2418" y="299"/>
                  </a:cubicBezTo>
                  <a:cubicBezTo>
                    <a:pt x="2419" y="293"/>
                    <a:pt x="2414" y="288"/>
                    <a:pt x="2407" y="288"/>
                  </a:cubicBezTo>
                  <a:cubicBezTo>
                    <a:pt x="2407" y="288"/>
                    <a:pt x="2407" y="288"/>
                    <a:pt x="2407" y="288"/>
                  </a:cubicBezTo>
                  <a:moveTo>
                    <a:pt x="2572" y="288"/>
                  </a:moveTo>
                  <a:cubicBezTo>
                    <a:pt x="2566" y="288"/>
                    <a:pt x="2561" y="293"/>
                    <a:pt x="2561" y="299"/>
                  </a:cubicBezTo>
                  <a:cubicBezTo>
                    <a:pt x="2561" y="304"/>
                    <a:pt x="2567" y="309"/>
                    <a:pt x="2573" y="309"/>
                  </a:cubicBezTo>
                  <a:cubicBezTo>
                    <a:pt x="2579" y="309"/>
                    <a:pt x="2584" y="304"/>
                    <a:pt x="2584" y="299"/>
                  </a:cubicBezTo>
                  <a:cubicBezTo>
                    <a:pt x="2584" y="293"/>
                    <a:pt x="2579" y="288"/>
                    <a:pt x="2573" y="288"/>
                  </a:cubicBezTo>
                  <a:cubicBezTo>
                    <a:pt x="2572" y="288"/>
                    <a:pt x="2572" y="288"/>
                    <a:pt x="2572" y="288"/>
                  </a:cubicBezTo>
                  <a:moveTo>
                    <a:pt x="2440" y="288"/>
                  </a:moveTo>
                  <a:cubicBezTo>
                    <a:pt x="2433" y="288"/>
                    <a:pt x="2428" y="293"/>
                    <a:pt x="2428" y="298"/>
                  </a:cubicBezTo>
                  <a:cubicBezTo>
                    <a:pt x="2428" y="304"/>
                    <a:pt x="2433" y="309"/>
                    <a:pt x="2439" y="309"/>
                  </a:cubicBezTo>
                  <a:cubicBezTo>
                    <a:pt x="2446" y="308"/>
                    <a:pt x="2451" y="304"/>
                    <a:pt x="2451" y="298"/>
                  </a:cubicBezTo>
                  <a:cubicBezTo>
                    <a:pt x="2451" y="293"/>
                    <a:pt x="2446" y="288"/>
                    <a:pt x="2440" y="288"/>
                  </a:cubicBezTo>
                  <a:cubicBezTo>
                    <a:pt x="2440" y="288"/>
                    <a:pt x="2440" y="288"/>
                    <a:pt x="2440" y="288"/>
                  </a:cubicBezTo>
                  <a:moveTo>
                    <a:pt x="2605" y="288"/>
                  </a:moveTo>
                  <a:cubicBezTo>
                    <a:pt x="2599" y="288"/>
                    <a:pt x="2594" y="293"/>
                    <a:pt x="2594" y="298"/>
                  </a:cubicBezTo>
                  <a:cubicBezTo>
                    <a:pt x="2594" y="304"/>
                    <a:pt x="2600" y="309"/>
                    <a:pt x="2606" y="309"/>
                  </a:cubicBezTo>
                  <a:cubicBezTo>
                    <a:pt x="2612" y="309"/>
                    <a:pt x="2617" y="304"/>
                    <a:pt x="2617" y="298"/>
                  </a:cubicBezTo>
                  <a:cubicBezTo>
                    <a:pt x="2617" y="293"/>
                    <a:pt x="2612" y="288"/>
                    <a:pt x="2605" y="288"/>
                  </a:cubicBezTo>
                  <a:cubicBezTo>
                    <a:pt x="2605" y="288"/>
                    <a:pt x="2605" y="288"/>
                    <a:pt x="2605" y="288"/>
                  </a:cubicBezTo>
                  <a:moveTo>
                    <a:pt x="2473" y="288"/>
                  </a:moveTo>
                  <a:cubicBezTo>
                    <a:pt x="2466" y="288"/>
                    <a:pt x="2461" y="293"/>
                    <a:pt x="2461" y="298"/>
                  </a:cubicBezTo>
                  <a:cubicBezTo>
                    <a:pt x="2461" y="304"/>
                    <a:pt x="2466" y="308"/>
                    <a:pt x="2472" y="308"/>
                  </a:cubicBezTo>
                  <a:cubicBezTo>
                    <a:pt x="2479" y="308"/>
                    <a:pt x="2484" y="304"/>
                    <a:pt x="2484" y="298"/>
                  </a:cubicBezTo>
                  <a:cubicBezTo>
                    <a:pt x="2484" y="292"/>
                    <a:pt x="2479" y="288"/>
                    <a:pt x="2473" y="288"/>
                  </a:cubicBezTo>
                  <a:cubicBezTo>
                    <a:pt x="2473" y="288"/>
                    <a:pt x="2473" y="288"/>
                    <a:pt x="2473" y="288"/>
                  </a:cubicBezTo>
                  <a:moveTo>
                    <a:pt x="2638" y="288"/>
                  </a:moveTo>
                  <a:cubicBezTo>
                    <a:pt x="2631" y="288"/>
                    <a:pt x="2627" y="293"/>
                    <a:pt x="2627" y="298"/>
                  </a:cubicBezTo>
                  <a:cubicBezTo>
                    <a:pt x="2627" y="304"/>
                    <a:pt x="2632" y="308"/>
                    <a:pt x="2639" y="308"/>
                  </a:cubicBezTo>
                  <a:cubicBezTo>
                    <a:pt x="2645" y="308"/>
                    <a:pt x="2650" y="304"/>
                    <a:pt x="2650" y="298"/>
                  </a:cubicBezTo>
                  <a:cubicBezTo>
                    <a:pt x="2650" y="292"/>
                    <a:pt x="2644" y="288"/>
                    <a:pt x="2638" y="288"/>
                  </a:cubicBezTo>
                  <a:cubicBezTo>
                    <a:pt x="2638" y="288"/>
                    <a:pt x="2638" y="288"/>
                    <a:pt x="2638" y="288"/>
                  </a:cubicBezTo>
                  <a:moveTo>
                    <a:pt x="2505" y="288"/>
                  </a:moveTo>
                  <a:cubicBezTo>
                    <a:pt x="2499" y="288"/>
                    <a:pt x="2494" y="292"/>
                    <a:pt x="2494" y="298"/>
                  </a:cubicBezTo>
                  <a:cubicBezTo>
                    <a:pt x="2494" y="304"/>
                    <a:pt x="2499" y="308"/>
                    <a:pt x="2505" y="308"/>
                  </a:cubicBezTo>
                  <a:cubicBezTo>
                    <a:pt x="2512" y="308"/>
                    <a:pt x="2517" y="303"/>
                    <a:pt x="2517" y="298"/>
                  </a:cubicBezTo>
                  <a:cubicBezTo>
                    <a:pt x="2517" y="292"/>
                    <a:pt x="2512" y="288"/>
                    <a:pt x="2505" y="288"/>
                  </a:cubicBezTo>
                  <a:cubicBezTo>
                    <a:pt x="2505" y="288"/>
                    <a:pt x="2505" y="288"/>
                    <a:pt x="2505" y="288"/>
                  </a:cubicBezTo>
                  <a:moveTo>
                    <a:pt x="2670" y="288"/>
                  </a:moveTo>
                  <a:cubicBezTo>
                    <a:pt x="2664" y="288"/>
                    <a:pt x="2659" y="292"/>
                    <a:pt x="2659" y="298"/>
                  </a:cubicBezTo>
                  <a:cubicBezTo>
                    <a:pt x="2660" y="304"/>
                    <a:pt x="2665" y="308"/>
                    <a:pt x="2672" y="308"/>
                  </a:cubicBezTo>
                  <a:cubicBezTo>
                    <a:pt x="2678" y="308"/>
                    <a:pt x="2683" y="303"/>
                    <a:pt x="2682" y="298"/>
                  </a:cubicBezTo>
                  <a:cubicBezTo>
                    <a:pt x="2682" y="292"/>
                    <a:pt x="2677" y="288"/>
                    <a:pt x="2670" y="288"/>
                  </a:cubicBezTo>
                  <a:cubicBezTo>
                    <a:pt x="2670" y="288"/>
                    <a:pt x="2670" y="288"/>
                    <a:pt x="2670" y="288"/>
                  </a:cubicBezTo>
                  <a:moveTo>
                    <a:pt x="2538" y="287"/>
                  </a:moveTo>
                  <a:cubicBezTo>
                    <a:pt x="2532" y="287"/>
                    <a:pt x="2527" y="292"/>
                    <a:pt x="2527" y="298"/>
                  </a:cubicBezTo>
                  <a:cubicBezTo>
                    <a:pt x="2527" y="303"/>
                    <a:pt x="2532" y="308"/>
                    <a:pt x="2539" y="308"/>
                  </a:cubicBezTo>
                  <a:cubicBezTo>
                    <a:pt x="2545" y="308"/>
                    <a:pt x="2550" y="303"/>
                    <a:pt x="2550" y="297"/>
                  </a:cubicBezTo>
                  <a:cubicBezTo>
                    <a:pt x="2550" y="292"/>
                    <a:pt x="2545" y="287"/>
                    <a:pt x="2538" y="287"/>
                  </a:cubicBezTo>
                  <a:cubicBezTo>
                    <a:pt x="2538" y="287"/>
                    <a:pt x="2538" y="287"/>
                    <a:pt x="2538" y="287"/>
                  </a:cubicBezTo>
                  <a:moveTo>
                    <a:pt x="2703" y="287"/>
                  </a:moveTo>
                  <a:cubicBezTo>
                    <a:pt x="2697" y="287"/>
                    <a:pt x="2692" y="292"/>
                    <a:pt x="2692" y="298"/>
                  </a:cubicBezTo>
                  <a:cubicBezTo>
                    <a:pt x="2692" y="303"/>
                    <a:pt x="2698" y="308"/>
                    <a:pt x="2704" y="308"/>
                  </a:cubicBezTo>
                  <a:cubicBezTo>
                    <a:pt x="2711" y="308"/>
                    <a:pt x="2716" y="303"/>
                    <a:pt x="2715" y="297"/>
                  </a:cubicBezTo>
                  <a:cubicBezTo>
                    <a:pt x="2715" y="292"/>
                    <a:pt x="2709" y="287"/>
                    <a:pt x="2703" y="287"/>
                  </a:cubicBezTo>
                  <a:cubicBezTo>
                    <a:pt x="2703" y="287"/>
                    <a:pt x="2703" y="287"/>
                    <a:pt x="2703" y="287"/>
                  </a:cubicBezTo>
                  <a:moveTo>
                    <a:pt x="2736" y="287"/>
                  </a:moveTo>
                  <a:cubicBezTo>
                    <a:pt x="2729" y="287"/>
                    <a:pt x="2725" y="292"/>
                    <a:pt x="2725" y="297"/>
                  </a:cubicBezTo>
                  <a:cubicBezTo>
                    <a:pt x="2726" y="303"/>
                    <a:pt x="2731" y="308"/>
                    <a:pt x="2738" y="308"/>
                  </a:cubicBezTo>
                  <a:cubicBezTo>
                    <a:pt x="2744" y="307"/>
                    <a:pt x="2749" y="303"/>
                    <a:pt x="2748" y="297"/>
                  </a:cubicBezTo>
                  <a:cubicBezTo>
                    <a:pt x="2748" y="292"/>
                    <a:pt x="2742" y="287"/>
                    <a:pt x="2736" y="287"/>
                  </a:cubicBezTo>
                  <a:cubicBezTo>
                    <a:pt x="2736" y="287"/>
                    <a:pt x="2736" y="287"/>
                    <a:pt x="2736" y="287"/>
                  </a:cubicBezTo>
                  <a:moveTo>
                    <a:pt x="2769" y="287"/>
                  </a:moveTo>
                  <a:cubicBezTo>
                    <a:pt x="2763" y="287"/>
                    <a:pt x="2758" y="291"/>
                    <a:pt x="2758" y="297"/>
                  </a:cubicBezTo>
                  <a:cubicBezTo>
                    <a:pt x="2759" y="303"/>
                    <a:pt x="2765" y="307"/>
                    <a:pt x="2771" y="307"/>
                  </a:cubicBezTo>
                  <a:cubicBezTo>
                    <a:pt x="2777" y="307"/>
                    <a:pt x="2782" y="303"/>
                    <a:pt x="2782" y="297"/>
                  </a:cubicBezTo>
                  <a:cubicBezTo>
                    <a:pt x="2781" y="291"/>
                    <a:pt x="2775" y="287"/>
                    <a:pt x="2769" y="287"/>
                  </a:cubicBezTo>
                  <a:cubicBezTo>
                    <a:pt x="2769" y="287"/>
                    <a:pt x="2769" y="287"/>
                    <a:pt x="2769" y="287"/>
                  </a:cubicBezTo>
                  <a:moveTo>
                    <a:pt x="2802" y="287"/>
                  </a:moveTo>
                  <a:cubicBezTo>
                    <a:pt x="2795" y="287"/>
                    <a:pt x="2791" y="291"/>
                    <a:pt x="2791" y="297"/>
                  </a:cubicBezTo>
                  <a:cubicBezTo>
                    <a:pt x="2792" y="302"/>
                    <a:pt x="2798" y="307"/>
                    <a:pt x="2804" y="307"/>
                  </a:cubicBezTo>
                  <a:cubicBezTo>
                    <a:pt x="2810" y="307"/>
                    <a:pt x="2815" y="302"/>
                    <a:pt x="2814" y="297"/>
                  </a:cubicBezTo>
                  <a:cubicBezTo>
                    <a:pt x="2814" y="291"/>
                    <a:pt x="2808" y="287"/>
                    <a:pt x="2802" y="287"/>
                  </a:cubicBezTo>
                  <a:cubicBezTo>
                    <a:pt x="2802" y="287"/>
                    <a:pt x="2802" y="287"/>
                    <a:pt x="2802" y="287"/>
                  </a:cubicBezTo>
                  <a:moveTo>
                    <a:pt x="2835" y="286"/>
                  </a:moveTo>
                  <a:cubicBezTo>
                    <a:pt x="2828" y="286"/>
                    <a:pt x="2824" y="291"/>
                    <a:pt x="2824" y="297"/>
                  </a:cubicBezTo>
                  <a:cubicBezTo>
                    <a:pt x="2825" y="302"/>
                    <a:pt x="2831" y="307"/>
                    <a:pt x="2837" y="307"/>
                  </a:cubicBezTo>
                  <a:cubicBezTo>
                    <a:pt x="2843" y="307"/>
                    <a:pt x="2848" y="302"/>
                    <a:pt x="2847" y="296"/>
                  </a:cubicBezTo>
                  <a:cubicBezTo>
                    <a:pt x="2847" y="291"/>
                    <a:pt x="2841" y="286"/>
                    <a:pt x="2835" y="286"/>
                  </a:cubicBezTo>
                  <a:cubicBezTo>
                    <a:pt x="2835" y="286"/>
                    <a:pt x="2835" y="286"/>
                    <a:pt x="2835" y="286"/>
                  </a:cubicBezTo>
                  <a:moveTo>
                    <a:pt x="2867" y="286"/>
                  </a:moveTo>
                  <a:cubicBezTo>
                    <a:pt x="2861" y="286"/>
                    <a:pt x="2856" y="291"/>
                    <a:pt x="2857" y="296"/>
                  </a:cubicBezTo>
                  <a:cubicBezTo>
                    <a:pt x="2858" y="302"/>
                    <a:pt x="2864" y="307"/>
                    <a:pt x="2870" y="306"/>
                  </a:cubicBezTo>
                  <a:cubicBezTo>
                    <a:pt x="2876" y="306"/>
                    <a:pt x="2881" y="302"/>
                    <a:pt x="2880" y="296"/>
                  </a:cubicBezTo>
                  <a:cubicBezTo>
                    <a:pt x="2879" y="290"/>
                    <a:pt x="2874" y="286"/>
                    <a:pt x="2867" y="286"/>
                  </a:cubicBezTo>
                  <a:cubicBezTo>
                    <a:pt x="2867" y="286"/>
                    <a:pt x="2867" y="286"/>
                    <a:pt x="2867" y="286"/>
                  </a:cubicBezTo>
                  <a:moveTo>
                    <a:pt x="2900" y="286"/>
                  </a:moveTo>
                  <a:cubicBezTo>
                    <a:pt x="2894" y="286"/>
                    <a:pt x="2889" y="290"/>
                    <a:pt x="2890" y="296"/>
                  </a:cubicBezTo>
                  <a:cubicBezTo>
                    <a:pt x="2891" y="302"/>
                    <a:pt x="2897" y="306"/>
                    <a:pt x="2903" y="306"/>
                  </a:cubicBezTo>
                  <a:cubicBezTo>
                    <a:pt x="2910" y="306"/>
                    <a:pt x="2914" y="302"/>
                    <a:pt x="2913" y="296"/>
                  </a:cubicBezTo>
                  <a:cubicBezTo>
                    <a:pt x="2912" y="290"/>
                    <a:pt x="2906" y="286"/>
                    <a:pt x="2900" y="286"/>
                  </a:cubicBezTo>
                  <a:cubicBezTo>
                    <a:pt x="2900" y="286"/>
                    <a:pt x="2900" y="286"/>
                    <a:pt x="2900" y="286"/>
                  </a:cubicBezTo>
                  <a:moveTo>
                    <a:pt x="2932" y="284"/>
                  </a:moveTo>
                  <a:cubicBezTo>
                    <a:pt x="2926" y="284"/>
                    <a:pt x="2922" y="288"/>
                    <a:pt x="2922" y="294"/>
                  </a:cubicBezTo>
                  <a:cubicBezTo>
                    <a:pt x="2923" y="300"/>
                    <a:pt x="2929" y="304"/>
                    <a:pt x="2936" y="304"/>
                  </a:cubicBezTo>
                  <a:cubicBezTo>
                    <a:pt x="2942" y="304"/>
                    <a:pt x="2946" y="300"/>
                    <a:pt x="2946" y="294"/>
                  </a:cubicBezTo>
                  <a:cubicBezTo>
                    <a:pt x="2945" y="288"/>
                    <a:pt x="2939" y="284"/>
                    <a:pt x="2932" y="284"/>
                  </a:cubicBezTo>
                  <a:cubicBezTo>
                    <a:pt x="2932" y="284"/>
                    <a:pt x="2932" y="284"/>
                    <a:pt x="2932" y="284"/>
                  </a:cubicBezTo>
                  <a:moveTo>
                    <a:pt x="2963" y="284"/>
                  </a:moveTo>
                  <a:cubicBezTo>
                    <a:pt x="2957" y="284"/>
                    <a:pt x="2953" y="288"/>
                    <a:pt x="2954" y="294"/>
                  </a:cubicBezTo>
                  <a:cubicBezTo>
                    <a:pt x="2955" y="300"/>
                    <a:pt x="2961" y="304"/>
                    <a:pt x="2967" y="304"/>
                  </a:cubicBezTo>
                  <a:cubicBezTo>
                    <a:pt x="2973" y="304"/>
                    <a:pt x="2978" y="299"/>
                    <a:pt x="2977" y="294"/>
                  </a:cubicBezTo>
                  <a:cubicBezTo>
                    <a:pt x="2976" y="288"/>
                    <a:pt x="2970" y="284"/>
                    <a:pt x="2964" y="284"/>
                  </a:cubicBezTo>
                  <a:cubicBezTo>
                    <a:pt x="2964" y="284"/>
                    <a:pt x="2964" y="284"/>
                    <a:pt x="2963" y="284"/>
                  </a:cubicBezTo>
                  <a:moveTo>
                    <a:pt x="2996" y="283"/>
                  </a:moveTo>
                  <a:cubicBezTo>
                    <a:pt x="2990" y="283"/>
                    <a:pt x="2985" y="288"/>
                    <a:pt x="2986" y="294"/>
                  </a:cubicBezTo>
                  <a:cubicBezTo>
                    <a:pt x="2987" y="299"/>
                    <a:pt x="2993" y="304"/>
                    <a:pt x="3000" y="304"/>
                  </a:cubicBezTo>
                  <a:cubicBezTo>
                    <a:pt x="3006" y="304"/>
                    <a:pt x="3011" y="299"/>
                    <a:pt x="3010" y="293"/>
                  </a:cubicBezTo>
                  <a:cubicBezTo>
                    <a:pt x="3008" y="288"/>
                    <a:pt x="3003" y="283"/>
                    <a:pt x="2996" y="283"/>
                  </a:cubicBezTo>
                  <a:cubicBezTo>
                    <a:pt x="2996" y="283"/>
                    <a:pt x="2996" y="283"/>
                    <a:pt x="2996" y="283"/>
                  </a:cubicBezTo>
                  <a:moveTo>
                    <a:pt x="3029" y="283"/>
                  </a:moveTo>
                  <a:cubicBezTo>
                    <a:pt x="3023" y="283"/>
                    <a:pt x="3018" y="288"/>
                    <a:pt x="3019" y="293"/>
                  </a:cubicBezTo>
                  <a:cubicBezTo>
                    <a:pt x="3021" y="299"/>
                    <a:pt x="3027" y="304"/>
                    <a:pt x="3033" y="304"/>
                  </a:cubicBezTo>
                  <a:cubicBezTo>
                    <a:pt x="3039" y="303"/>
                    <a:pt x="3044" y="299"/>
                    <a:pt x="3043" y="293"/>
                  </a:cubicBezTo>
                  <a:cubicBezTo>
                    <a:pt x="3041" y="288"/>
                    <a:pt x="3035" y="283"/>
                    <a:pt x="3029" y="283"/>
                  </a:cubicBezTo>
                  <a:cubicBezTo>
                    <a:pt x="3029" y="283"/>
                    <a:pt x="3029" y="283"/>
                    <a:pt x="3029" y="283"/>
                  </a:cubicBezTo>
                  <a:moveTo>
                    <a:pt x="3063" y="283"/>
                  </a:moveTo>
                  <a:cubicBezTo>
                    <a:pt x="3056" y="283"/>
                    <a:pt x="3052" y="287"/>
                    <a:pt x="3053" y="293"/>
                  </a:cubicBezTo>
                  <a:cubicBezTo>
                    <a:pt x="3055" y="299"/>
                    <a:pt x="3061" y="303"/>
                    <a:pt x="3067" y="303"/>
                  </a:cubicBezTo>
                  <a:cubicBezTo>
                    <a:pt x="3074" y="303"/>
                    <a:pt x="3078" y="299"/>
                    <a:pt x="3076" y="293"/>
                  </a:cubicBezTo>
                  <a:cubicBezTo>
                    <a:pt x="3075" y="287"/>
                    <a:pt x="3069" y="283"/>
                    <a:pt x="3063" y="283"/>
                  </a:cubicBezTo>
                  <a:cubicBezTo>
                    <a:pt x="3063" y="283"/>
                    <a:pt x="3063" y="283"/>
                    <a:pt x="3063" y="283"/>
                  </a:cubicBezTo>
                  <a:moveTo>
                    <a:pt x="3095" y="282"/>
                  </a:moveTo>
                  <a:cubicBezTo>
                    <a:pt x="3089" y="283"/>
                    <a:pt x="3085" y="287"/>
                    <a:pt x="3086" y="293"/>
                  </a:cubicBezTo>
                  <a:cubicBezTo>
                    <a:pt x="3087" y="298"/>
                    <a:pt x="3094" y="303"/>
                    <a:pt x="3100" y="303"/>
                  </a:cubicBezTo>
                  <a:cubicBezTo>
                    <a:pt x="3106" y="303"/>
                    <a:pt x="3110" y="298"/>
                    <a:pt x="3109" y="293"/>
                  </a:cubicBezTo>
                  <a:cubicBezTo>
                    <a:pt x="3108" y="287"/>
                    <a:pt x="3102" y="282"/>
                    <a:pt x="3096" y="282"/>
                  </a:cubicBezTo>
                  <a:cubicBezTo>
                    <a:pt x="3095" y="282"/>
                    <a:pt x="3095" y="282"/>
                    <a:pt x="3095" y="282"/>
                  </a:cubicBezTo>
                  <a:moveTo>
                    <a:pt x="3128" y="282"/>
                  </a:moveTo>
                  <a:cubicBezTo>
                    <a:pt x="3122" y="282"/>
                    <a:pt x="3118" y="287"/>
                    <a:pt x="3119" y="293"/>
                  </a:cubicBezTo>
                  <a:cubicBezTo>
                    <a:pt x="3120" y="298"/>
                    <a:pt x="3127" y="303"/>
                    <a:pt x="3133" y="303"/>
                  </a:cubicBezTo>
                  <a:cubicBezTo>
                    <a:pt x="3139" y="303"/>
                    <a:pt x="3144" y="298"/>
                    <a:pt x="3142" y="292"/>
                  </a:cubicBezTo>
                  <a:cubicBezTo>
                    <a:pt x="3141" y="287"/>
                    <a:pt x="3135" y="282"/>
                    <a:pt x="3128" y="282"/>
                  </a:cubicBezTo>
                  <a:cubicBezTo>
                    <a:pt x="3128" y="282"/>
                    <a:pt x="3128" y="282"/>
                    <a:pt x="3128" y="282"/>
                  </a:cubicBezTo>
                  <a:moveTo>
                    <a:pt x="3161" y="282"/>
                  </a:moveTo>
                  <a:cubicBezTo>
                    <a:pt x="3155" y="282"/>
                    <a:pt x="3151" y="287"/>
                    <a:pt x="3152" y="292"/>
                  </a:cubicBezTo>
                  <a:cubicBezTo>
                    <a:pt x="3154" y="298"/>
                    <a:pt x="3160" y="303"/>
                    <a:pt x="3167" y="302"/>
                  </a:cubicBezTo>
                  <a:cubicBezTo>
                    <a:pt x="3173" y="302"/>
                    <a:pt x="3177" y="298"/>
                    <a:pt x="3176" y="292"/>
                  </a:cubicBezTo>
                  <a:cubicBezTo>
                    <a:pt x="3174" y="286"/>
                    <a:pt x="3168" y="282"/>
                    <a:pt x="3162" y="282"/>
                  </a:cubicBezTo>
                  <a:cubicBezTo>
                    <a:pt x="3162" y="282"/>
                    <a:pt x="3161" y="282"/>
                    <a:pt x="3161" y="282"/>
                  </a:cubicBezTo>
                  <a:moveTo>
                    <a:pt x="3194" y="282"/>
                  </a:moveTo>
                  <a:cubicBezTo>
                    <a:pt x="3188" y="282"/>
                    <a:pt x="3184" y="286"/>
                    <a:pt x="3185" y="292"/>
                  </a:cubicBezTo>
                  <a:cubicBezTo>
                    <a:pt x="3187" y="298"/>
                    <a:pt x="3193" y="302"/>
                    <a:pt x="3199" y="302"/>
                  </a:cubicBezTo>
                  <a:cubicBezTo>
                    <a:pt x="3206" y="302"/>
                    <a:pt x="3210" y="298"/>
                    <a:pt x="3208" y="292"/>
                  </a:cubicBezTo>
                  <a:cubicBezTo>
                    <a:pt x="3207" y="286"/>
                    <a:pt x="3200" y="282"/>
                    <a:pt x="3194" y="282"/>
                  </a:cubicBezTo>
                  <a:cubicBezTo>
                    <a:pt x="3194" y="282"/>
                    <a:pt x="3194" y="282"/>
                    <a:pt x="3194" y="282"/>
                  </a:cubicBezTo>
                  <a:moveTo>
                    <a:pt x="3227" y="281"/>
                  </a:moveTo>
                  <a:cubicBezTo>
                    <a:pt x="3220" y="281"/>
                    <a:pt x="3217" y="286"/>
                    <a:pt x="3218" y="292"/>
                  </a:cubicBezTo>
                  <a:cubicBezTo>
                    <a:pt x="3220" y="297"/>
                    <a:pt x="3226" y="302"/>
                    <a:pt x="3232" y="302"/>
                  </a:cubicBezTo>
                  <a:cubicBezTo>
                    <a:pt x="3239" y="302"/>
                    <a:pt x="3243" y="297"/>
                    <a:pt x="3241" y="292"/>
                  </a:cubicBezTo>
                  <a:cubicBezTo>
                    <a:pt x="3240" y="286"/>
                    <a:pt x="3233" y="281"/>
                    <a:pt x="3227" y="281"/>
                  </a:cubicBezTo>
                  <a:cubicBezTo>
                    <a:pt x="3227" y="281"/>
                    <a:pt x="3227" y="281"/>
                    <a:pt x="3227" y="281"/>
                  </a:cubicBezTo>
                  <a:moveTo>
                    <a:pt x="3259" y="281"/>
                  </a:moveTo>
                  <a:cubicBezTo>
                    <a:pt x="3253" y="281"/>
                    <a:pt x="3249" y="286"/>
                    <a:pt x="3251" y="292"/>
                  </a:cubicBezTo>
                  <a:cubicBezTo>
                    <a:pt x="3252" y="297"/>
                    <a:pt x="3259" y="302"/>
                    <a:pt x="3265" y="302"/>
                  </a:cubicBezTo>
                  <a:cubicBezTo>
                    <a:pt x="3272" y="302"/>
                    <a:pt x="3275" y="297"/>
                    <a:pt x="3274" y="291"/>
                  </a:cubicBezTo>
                  <a:cubicBezTo>
                    <a:pt x="3272" y="286"/>
                    <a:pt x="3266" y="281"/>
                    <a:pt x="3260" y="281"/>
                  </a:cubicBezTo>
                  <a:cubicBezTo>
                    <a:pt x="3259" y="281"/>
                    <a:pt x="3259" y="281"/>
                    <a:pt x="3259" y="281"/>
                  </a:cubicBezTo>
                  <a:moveTo>
                    <a:pt x="3292" y="281"/>
                  </a:moveTo>
                  <a:cubicBezTo>
                    <a:pt x="3286" y="281"/>
                    <a:pt x="3282" y="286"/>
                    <a:pt x="3284" y="291"/>
                  </a:cubicBezTo>
                  <a:cubicBezTo>
                    <a:pt x="3285" y="297"/>
                    <a:pt x="3292" y="301"/>
                    <a:pt x="3298" y="301"/>
                  </a:cubicBezTo>
                  <a:cubicBezTo>
                    <a:pt x="3304" y="301"/>
                    <a:pt x="3308" y="297"/>
                    <a:pt x="3307" y="291"/>
                  </a:cubicBezTo>
                  <a:cubicBezTo>
                    <a:pt x="3305" y="285"/>
                    <a:pt x="3298" y="281"/>
                    <a:pt x="3292" y="281"/>
                  </a:cubicBezTo>
                  <a:cubicBezTo>
                    <a:pt x="3292" y="281"/>
                    <a:pt x="3292" y="281"/>
                    <a:pt x="3292" y="281"/>
                  </a:cubicBezTo>
                  <a:moveTo>
                    <a:pt x="3325" y="281"/>
                  </a:moveTo>
                  <a:cubicBezTo>
                    <a:pt x="3318" y="281"/>
                    <a:pt x="3315" y="285"/>
                    <a:pt x="3316" y="291"/>
                  </a:cubicBezTo>
                  <a:cubicBezTo>
                    <a:pt x="3318" y="297"/>
                    <a:pt x="3325" y="301"/>
                    <a:pt x="3331" y="301"/>
                  </a:cubicBezTo>
                  <a:cubicBezTo>
                    <a:pt x="3337" y="301"/>
                    <a:pt x="3341" y="296"/>
                    <a:pt x="3339" y="291"/>
                  </a:cubicBezTo>
                  <a:cubicBezTo>
                    <a:pt x="3338" y="285"/>
                    <a:pt x="3331" y="281"/>
                    <a:pt x="3325" y="281"/>
                  </a:cubicBezTo>
                  <a:cubicBezTo>
                    <a:pt x="3325" y="281"/>
                    <a:pt x="3325" y="281"/>
                    <a:pt x="3325" y="281"/>
                  </a:cubicBezTo>
                  <a:moveTo>
                    <a:pt x="3357" y="280"/>
                  </a:moveTo>
                  <a:cubicBezTo>
                    <a:pt x="3351" y="280"/>
                    <a:pt x="3347" y="285"/>
                    <a:pt x="3349" y="291"/>
                  </a:cubicBezTo>
                  <a:cubicBezTo>
                    <a:pt x="3351" y="296"/>
                    <a:pt x="3358" y="301"/>
                    <a:pt x="3364" y="301"/>
                  </a:cubicBezTo>
                  <a:cubicBezTo>
                    <a:pt x="3370" y="301"/>
                    <a:pt x="3374" y="296"/>
                    <a:pt x="3372" y="291"/>
                  </a:cubicBezTo>
                  <a:cubicBezTo>
                    <a:pt x="3370" y="285"/>
                    <a:pt x="3364" y="280"/>
                    <a:pt x="3358" y="280"/>
                  </a:cubicBezTo>
                  <a:cubicBezTo>
                    <a:pt x="3358" y="280"/>
                    <a:pt x="3357" y="280"/>
                    <a:pt x="3357" y="280"/>
                  </a:cubicBezTo>
                  <a:moveTo>
                    <a:pt x="3391" y="280"/>
                  </a:moveTo>
                  <a:cubicBezTo>
                    <a:pt x="3385" y="280"/>
                    <a:pt x="3381" y="285"/>
                    <a:pt x="3383" y="290"/>
                  </a:cubicBezTo>
                  <a:cubicBezTo>
                    <a:pt x="3385" y="296"/>
                    <a:pt x="3392" y="301"/>
                    <a:pt x="3398" y="301"/>
                  </a:cubicBezTo>
                  <a:cubicBezTo>
                    <a:pt x="3404" y="301"/>
                    <a:pt x="3408" y="296"/>
                    <a:pt x="3406" y="290"/>
                  </a:cubicBezTo>
                  <a:cubicBezTo>
                    <a:pt x="3404" y="285"/>
                    <a:pt x="3398" y="280"/>
                    <a:pt x="3391" y="280"/>
                  </a:cubicBezTo>
                  <a:cubicBezTo>
                    <a:pt x="3391" y="280"/>
                    <a:pt x="3391" y="280"/>
                    <a:pt x="3391" y="280"/>
                  </a:cubicBezTo>
                  <a:moveTo>
                    <a:pt x="3424" y="280"/>
                  </a:moveTo>
                  <a:cubicBezTo>
                    <a:pt x="3417" y="280"/>
                    <a:pt x="3414" y="284"/>
                    <a:pt x="3416" y="290"/>
                  </a:cubicBezTo>
                  <a:cubicBezTo>
                    <a:pt x="3418" y="296"/>
                    <a:pt x="3425" y="300"/>
                    <a:pt x="3431" y="300"/>
                  </a:cubicBezTo>
                  <a:cubicBezTo>
                    <a:pt x="3437" y="300"/>
                    <a:pt x="3441" y="296"/>
                    <a:pt x="3439" y="290"/>
                  </a:cubicBezTo>
                  <a:cubicBezTo>
                    <a:pt x="3437" y="284"/>
                    <a:pt x="3430" y="280"/>
                    <a:pt x="3424" y="280"/>
                  </a:cubicBezTo>
                  <a:cubicBezTo>
                    <a:pt x="3424" y="280"/>
                    <a:pt x="3424" y="280"/>
                    <a:pt x="3424" y="280"/>
                  </a:cubicBezTo>
                  <a:moveTo>
                    <a:pt x="3457" y="280"/>
                  </a:moveTo>
                  <a:cubicBezTo>
                    <a:pt x="3450" y="280"/>
                    <a:pt x="3447" y="284"/>
                    <a:pt x="3449" y="290"/>
                  </a:cubicBezTo>
                  <a:cubicBezTo>
                    <a:pt x="3451" y="296"/>
                    <a:pt x="3458" y="300"/>
                    <a:pt x="3464" y="300"/>
                  </a:cubicBezTo>
                  <a:cubicBezTo>
                    <a:pt x="3470" y="300"/>
                    <a:pt x="3474" y="295"/>
                    <a:pt x="3472" y="290"/>
                  </a:cubicBezTo>
                  <a:cubicBezTo>
                    <a:pt x="3470" y="284"/>
                    <a:pt x="3463" y="280"/>
                    <a:pt x="3457" y="280"/>
                  </a:cubicBezTo>
                  <a:cubicBezTo>
                    <a:pt x="3457" y="280"/>
                    <a:pt x="3457" y="280"/>
                    <a:pt x="3457" y="280"/>
                  </a:cubicBezTo>
                  <a:moveTo>
                    <a:pt x="3490" y="279"/>
                  </a:moveTo>
                  <a:cubicBezTo>
                    <a:pt x="3483" y="279"/>
                    <a:pt x="3480" y="284"/>
                    <a:pt x="3482" y="290"/>
                  </a:cubicBezTo>
                  <a:cubicBezTo>
                    <a:pt x="3484" y="295"/>
                    <a:pt x="3491" y="300"/>
                    <a:pt x="3497" y="300"/>
                  </a:cubicBezTo>
                  <a:cubicBezTo>
                    <a:pt x="3504" y="300"/>
                    <a:pt x="3507" y="295"/>
                    <a:pt x="3505" y="289"/>
                  </a:cubicBezTo>
                  <a:cubicBezTo>
                    <a:pt x="3503" y="284"/>
                    <a:pt x="3496" y="279"/>
                    <a:pt x="3490" y="279"/>
                  </a:cubicBezTo>
                  <a:cubicBezTo>
                    <a:pt x="3490" y="279"/>
                    <a:pt x="3490" y="279"/>
                    <a:pt x="3490" y="279"/>
                  </a:cubicBezTo>
                  <a:moveTo>
                    <a:pt x="3522" y="279"/>
                  </a:moveTo>
                  <a:cubicBezTo>
                    <a:pt x="3516" y="279"/>
                    <a:pt x="3513" y="284"/>
                    <a:pt x="3515" y="289"/>
                  </a:cubicBezTo>
                  <a:cubicBezTo>
                    <a:pt x="3517" y="295"/>
                    <a:pt x="3524" y="300"/>
                    <a:pt x="3530" y="300"/>
                  </a:cubicBezTo>
                  <a:cubicBezTo>
                    <a:pt x="3537" y="300"/>
                    <a:pt x="3540" y="295"/>
                    <a:pt x="3538" y="289"/>
                  </a:cubicBezTo>
                  <a:cubicBezTo>
                    <a:pt x="3536" y="284"/>
                    <a:pt x="3529" y="279"/>
                    <a:pt x="3522" y="279"/>
                  </a:cubicBezTo>
                  <a:cubicBezTo>
                    <a:pt x="3522" y="279"/>
                    <a:pt x="3522" y="279"/>
                    <a:pt x="3522" y="279"/>
                  </a:cubicBezTo>
                  <a:moveTo>
                    <a:pt x="3555" y="279"/>
                  </a:moveTo>
                  <a:cubicBezTo>
                    <a:pt x="3549" y="279"/>
                    <a:pt x="3545" y="283"/>
                    <a:pt x="3548" y="289"/>
                  </a:cubicBezTo>
                  <a:cubicBezTo>
                    <a:pt x="3550" y="295"/>
                    <a:pt x="3557" y="299"/>
                    <a:pt x="3563" y="299"/>
                  </a:cubicBezTo>
                  <a:cubicBezTo>
                    <a:pt x="3570" y="299"/>
                    <a:pt x="3573" y="295"/>
                    <a:pt x="3571" y="289"/>
                  </a:cubicBezTo>
                  <a:cubicBezTo>
                    <a:pt x="3568" y="283"/>
                    <a:pt x="3561" y="279"/>
                    <a:pt x="3555" y="279"/>
                  </a:cubicBezTo>
                  <a:cubicBezTo>
                    <a:pt x="3555" y="279"/>
                    <a:pt x="3555" y="279"/>
                    <a:pt x="3555" y="279"/>
                  </a:cubicBezTo>
                  <a:moveTo>
                    <a:pt x="3588" y="278"/>
                  </a:moveTo>
                  <a:cubicBezTo>
                    <a:pt x="3581" y="279"/>
                    <a:pt x="3578" y="283"/>
                    <a:pt x="3580" y="289"/>
                  </a:cubicBezTo>
                  <a:cubicBezTo>
                    <a:pt x="3583" y="295"/>
                    <a:pt x="3590" y="299"/>
                    <a:pt x="3596" y="299"/>
                  </a:cubicBezTo>
                  <a:cubicBezTo>
                    <a:pt x="3602" y="299"/>
                    <a:pt x="3606" y="294"/>
                    <a:pt x="3603" y="289"/>
                  </a:cubicBezTo>
                  <a:cubicBezTo>
                    <a:pt x="3601" y="283"/>
                    <a:pt x="3594" y="278"/>
                    <a:pt x="3588" y="278"/>
                  </a:cubicBezTo>
                  <a:cubicBezTo>
                    <a:pt x="3588" y="278"/>
                    <a:pt x="3588" y="278"/>
                    <a:pt x="3588" y="278"/>
                  </a:cubicBezTo>
                  <a:moveTo>
                    <a:pt x="3621" y="278"/>
                  </a:moveTo>
                  <a:cubicBezTo>
                    <a:pt x="3615" y="278"/>
                    <a:pt x="3611" y="283"/>
                    <a:pt x="3614" y="289"/>
                  </a:cubicBezTo>
                  <a:cubicBezTo>
                    <a:pt x="3616" y="294"/>
                    <a:pt x="3623" y="299"/>
                    <a:pt x="3630" y="299"/>
                  </a:cubicBezTo>
                  <a:cubicBezTo>
                    <a:pt x="3636" y="299"/>
                    <a:pt x="3639" y="294"/>
                    <a:pt x="3637" y="288"/>
                  </a:cubicBezTo>
                  <a:cubicBezTo>
                    <a:pt x="3634" y="283"/>
                    <a:pt x="3627" y="278"/>
                    <a:pt x="3621" y="278"/>
                  </a:cubicBezTo>
                  <a:cubicBezTo>
                    <a:pt x="3621" y="278"/>
                    <a:pt x="3621" y="278"/>
                    <a:pt x="3621" y="278"/>
                  </a:cubicBezTo>
                  <a:moveTo>
                    <a:pt x="3654" y="278"/>
                  </a:moveTo>
                  <a:cubicBezTo>
                    <a:pt x="3647" y="278"/>
                    <a:pt x="3644" y="283"/>
                    <a:pt x="3647" y="288"/>
                  </a:cubicBezTo>
                  <a:cubicBezTo>
                    <a:pt x="3649" y="294"/>
                    <a:pt x="3656" y="299"/>
                    <a:pt x="3663" y="298"/>
                  </a:cubicBezTo>
                  <a:cubicBezTo>
                    <a:pt x="3669" y="298"/>
                    <a:pt x="3672" y="294"/>
                    <a:pt x="3670" y="288"/>
                  </a:cubicBezTo>
                  <a:cubicBezTo>
                    <a:pt x="3667" y="282"/>
                    <a:pt x="3660" y="278"/>
                    <a:pt x="3654" y="278"/>
                  </a:cubicBezTo>
                  <a:cubicBezTo>
                    <a:pt x="3654" y="278"/>
                    <a:pt x="3654" y="278"/>
                    <a:pt x="3654" y="278"/>
                  </a:cubicBezTo>
                  <a:moveTo>
                    <a:pt x="156" y="278"/>
                  </a:moveTo>
                  <a:cubicBezTo>
                    <a:pt x="150" y="278"/>
                    <a:pt x="141" y="282"/>
                    <a:pt x="136" y="288"/>
                  </a:cubicBezTo>
                  <a:cubicBezTo>
                    <a:pt x="131" y="293"/>
                    <a:pt x="132" y="298"/>
                    <a:pt x="138" y="298"/>
                  </a:cubicBezTo>
                  <a:cubicBezTo>
                    <a:pt x="145" y="298"/>
                    <a:pt x="154" y="293"/>
                    <a:pt x="159" y="288"/>
                  </a:cubicBezTo>
                  <a:cubicBezTo>
                    <a:pt x="164" y="282"/>
                    <a:pt x="163" y="278"/>
                    <a:pt x="156" y="278"/>
                  </a:cubicBezTo>
                  <a:cubicBezTo>
                    <a:pt x="156" y="278"/>
                    <a:pt x="156" y="278"/>
                    <a:pt x="156" y="278"/>
                  </a:cubicBezTo>
                  <a:moveTo>
                    <a:pt x="3688" y="278"/>
                  </a:moveTo>
                  <a:cubicBezTo>
                    <a:pt x="3681" y="278"/>
                    <a:pt x="3678" y="282"/>
                    <a:pt x="3681" y="288"/>
                  </a:cubicBezTo>
                  <a:cubicBezTo>
                    <a:pt x="3683" y="294"/>
                    <a:pt x="3690" y="298"/>
                    <a:pt x="3697" y="298"/>
                  </a:cubicBezTo>
                  <a:cubicBezTo>
                    <a:pt x="3703" y="298"/>
                    <a:pt x="3706" y="294"/>
                    <a:pt x="3704" y="288"/>
                  </a:cubicBezTo>
                  <a:cubicBezTo>
                    <a:pt x="3701" y="282"/>
                    <a:pt x="3694" y="278"/>
                    <a:pt x="3688" y="278"/>
                  </a:cubicBezTo>
                  <a:cubicBezTo>
                    <a:pt x="3688" y="278"/>
                    <a:pt x="3688" y="278"/>
                    <a:pt x="3688" y="278"/>
                  </a:cubicBezTo>
                  <a:moveTo>
                    <a:pt x="189" y="277"/>
                  </a:moveTo>
                  <a:cubicBezTo>
                    <a:pt x="182" y="277"/>
                    <a:pt x="173" y="282"/>
                    <a:pt x="168" y="288"/>
                  </a:cubicBezTo>
                  <a:cubicBezTo>
                    <a:pt x="164" y="293"/>
                    <a:pt x="165" y="298"/>
                    <a:pt x="171" y="298"/>
                  </a:cubicBezTo>
                  <a:cubicBezTo>
                    <a:pt x="177" y="298"/>
                    <a:pt x="187" y="293"/>
                    <a:pt x="191" y="287"/>
                  </a:cubicBezTo>
                  <a:cubicBezTo>
                    <a:pt x="196" y="282"/>
                    <a:pt x="195" y="277"/>
                    <a:pt x="189" y="277"/>
                  </a:cubicBezTo>
                  <a:cubicBezTo>
                    <a:pt x="189" y="277"/>
                    <a:pt x="189" y="277"/>
                    <a:pt x="189" y="277"/>
                  </a:cubicBezTo>
                  <a:moveTo>
                    <a:pt x="3720" y="277"/>
                  </a:moveTo>
                  <a:cubicBezTo>
                    <a:pt x="3714" y="277"/>
                    <a:pt x="3711" y="282"/>
                    <a:pt x="3713" y="288"/>
                  </a:cubicBezTo>
                  <a:cubicBezTo>
                    <a:pt x="3716" y="293"/>
                    <a:pt x="3723" y="298"/>
                    <a:pt x="3729" y="298"/>
                  </a:cubicBezTo>
                  <a:cubicBezTo>
                    <a:pt x="3736" y="298"/>
                    <a:pt x="3739" y="293"/>
                    <a:pt x="3736" y="288"/>
                  </a:cubicBezTo>
                  <a:cubicBezTo>
                    <a:pt x="3734" y="282"/>
                    <a:pt x="3727" y="277"/>
                    <a:pt x="3720" y="277"/>
                  </a:cubicBezTo>
                  <a:cubicBezTo>
                    <a:pt x="3720" y="277"/>
                    <a:pt x="3720" y="277"/>
                    <a:pt x="3720" y="277"/>
                  </a:cubicBezTo>
                  <a:moveTo>
                    <a:pt x="221" y="277"/>
                  </a:moveTo>
                  <a:cubicBezTo>
                    <a:pt x="215" y="277"/>
                    <a:pt x="206" y="282"/>
                    <a:pt x="201" y="287"/>
                  </a:cubicBezTo>
                  <a:cubicBezTo>
                    <a:pt x="196" y="293"/>
                    <a:pt x="198" y="297"/>
                    <a:pt x="204" y="297"/>
                  </a:cubicBezTo>
                  <a:cubicBezTo>
                    <a:pt x="210" y="297"/>
                    <a:pt x="219" y="293"/>
                    <a:pt x="224" y="287"/>
                  </a:cubicBezTo>
                  <a:cubicBezTo>
                    <a:pt x="229" y="282"/>
                    <a:pt x="228" y="277"/>
                    <a:pt x="221" y="277"/>
                  </a:cubicBezTo>
                  <a:cubicBezTo>
                    <a:pt x="221" y="277"/>
                    <a:pt x="221" y="277"/>
                    <a:pt x="221" y="277"/>
                  </a:cubicBezTo>
                  <a:moveTo>
                    <a:pt x="3753" y="277"/>
                  </a:moveTo>
                  <a:cubicBezTo>
                    <a:pt x="3747" y="277"/>
                    <a:pt x="3744" y="282"/>
                    <a:pt x="3746" y="288"/>
                  </a:cubicBezTo>
                  <a:cubicBezTo>
                    <a:pt x="3749" y="293"/>
                    <a:pt x="3756" y="298"/>
                    <a:pt x="3763" y="298"/>
                  </a:cubicBezTo>
                  <a:cubicBezTo>
                    <a:pt x="3769" y="298"/>
                    <a:pt x="3772" y="293"/>
                    <a:pt x="3769" y="287"/>
                  </a:cubicBezTo>
                  <a:cubicBezTo>
                    <a:pt x="3767" y="282"/>
                    <a:pt x="3759" y="277"/>
                    <a:pt x="3753" y="277"/>
                  </a:cubicBezTo>
                  <a:cubicBezTo>
                    <a:pt x="3753" y="277"/>
                    <a:pt x="3753" y="277"/>
                    <a:pt x="3753" y="277"/>
                  </a:cubicBezTo>
                  <a:moveTo>
                    <a:pt x="254" y="277"/>
                  </a:moveTo>
                  <a:cubicBezTo>
                    <a:pt x="247" y="277"/>
                    <a:pt x="238" y="281"/>
                    <a:pt x="234" y="287"/>
                  </a:cubicBezTo>
                  <a:cubicBezTo>
                    <a:pt x="229" y="293"/>
                    <a:pt x="230" y="297"/>
                    <a:pt x="237" y="297"/>
                  </a:cubicBezTo>
                  <a:cubicBezTo>
                    <a:pt x="243" y="297"/>
                    <a:pt x="252" y="292"/>
                    <a:pt x="257" y="287"/>
                  </a:cubicBezTo>
                  <a:cubicBezTo>
                    <a:pt x="261" y="281"/>
                    <a:pt x="260" y="277"/>
                    <a:pt x="254" y="277"/>
                  </a:cubicBezTo>
                  <a:cubicBezTo>
                    <a:pt x="254" y="277"/>
                    <a:pt x="254" y="277"/>
                    <a:pt x="254" y="277"/>
                  </a:cubicBezTo>
                  <a:moveTo>
                    <a:pt x="3786" y="277"/>
                  </a:moveTo>
                  <a:cubicBezTo>
                    <a:pt x="3780" y="277"/>
                    <a:pt x="3777" y="282"/>
                    <a:pt x="3779" y="287"/>
                  </a:cubicBezTo>
                  <a:cubicBezTo>
                    <a:pt x="3782" y="293"/>
                    <a:pt x="3790" y="297"/>
                    <a:pt x="3796" y="297"/>
                  </a:cubicBezTo>
                  <a:cubicBezTo>
                    <a:pt x="3802" y="297"/>
                    <a:pt x="3805" y="293"/>
                    <a:pt x="3802" y="287"/>
                  </a:cubicBezTo>
                  <a:cubicBezTo>
                    <a:pt x="3800" y="281"/>
                    <a:pt x="3792" y="277"/>
                    <a:pt x="3786" y="277"/>
                  </a:cubicBezTo>
                  <a:cubicBezTo>
                    <a:pt x="3786" y="277"/>
                    <a:pt x="3786" y="277"/>
                    <a:pt x="3786" y="277"/>
                  </a:cubicBezTo>
                  <a:moveTo>
                    <a:pt x="385" y="277"/>
                  </a:moveTo>
                  <a:cubicBezTo>
                    <a:pt x="379" y="277"/>
                    <a:pt x="370" y="281"/>
                    <a:pt x="365" y="287"/>
                  </a:cubicBezTo>
                  <a:cubicBezTo>
                    <a:pt x="361" y="292"/>
                    <a:pt x="362" y="297"/>
                    <a:pt x="369" y="297"/>
                  </a:cubicBezTo>
                  <a:cubicBezTo>
                    <a:pt x="375" y="297"/>
                    <a:pt x="384" y="292"/>
                    <a:pt x="388" y="287"/>
                  </a:cubicBezTo>
                  <a:cubicBezTo>
                    <a:pt x="393" y="281"/>
                    <a:pt x="391" y="277"/>
                    <a:pt x="385" y="277"/>
                  </a:cubicBezTo>
                  <a:cubicBezTo>
                    <a:pt x="385" y="277"/>
                    <a:pt x="385" y="277"/>
                    <a:pt x="385" y="277"/>
                  </a:cubicBezTo>
                  <a:moveTo>
                    <a:pt x="3819" y="277"/>
                  </a:moveTo>
                  <a:cubicBezTo>
                    <a:pt x="3812" y="277"/>
                    <a:pt x="3809" y="281"/>
                    <a:pt x="3812" y="287"/>
                  </a:cubicBezTo>
                  <a:cubicBezTo>
                    <a:pt x="3815" y="293"/>
                    <a:pt x="3822" y="297"/>
                    <a:pt x="3829" y="297"/>
                  </a:cubicBezTo>
                  <a:cubicBezTo>
                    <a:pt x="3835" y="297"/>
                    <a:pt x="3838" y="292"/>
                    <a:pt x="3835" y="287"/>
                  </a:cubicBezTo>
                  <a:cubicBezTo>
                    <a:pt x="3832" y="281"/>
                    <a:pt x="3825" y="277"/>
                    <a:pt x="3819" y="277"/>
                  </a:cubicBezTo>
                  <a:cubicBezTo>
                    <a:pt x="3819" y="277"/>
                    <a:pt x="3819" y="277"/>
                    <a:pt x="3819" y="277"/>
                  </a:cubicBezTo>
                  <a:moveTo>
                    <a:pt x="286" y="277"/>
                  </a:moveTo>
                  <a:cubicBezTo>
                    <a:pt x="280" y="277"/>
                    <a:pt x="271" y="281"/>
                    <a:pt x="266" y="287"/>
                  </a:cubicBezTo>
                  <a:cubicBezTo>
                    <a:pt x="262" y="292"/>
                    <a:pt x="263" y="297"/>
                    <a:pt x="269" y="297"/>
                  </a:cubicBezTo>
                  <a:cubicBezTo>
                    <a:pt x="276" y="297"/>
                    <a:pt x="285" y="292"/>
                    <a:pt x="289" y="287"/>
                  </a:cubicBezTo>
                  <a:cubicBezTo>
                    <a:pt x="294" y="281"/>
                    <a:pt x="293" y="277"/>
                    <a:pt x="286" y="277"/>
                  </a:cubicBezTo>
                  <a:cubicBezTo>
                    <a:pt x="286" y="277"/>
                    <a:pt x="286" y="277"/>
                    <a:pt x="286" y="277"/>
                  </a:cubicBezTo>
                  <a:moveTo>
                    <a:pt x="418" y="276"/>
                  </a:moveTo>
                  <a:cubicBezTo>
                    <a:pt x="411" y="276"/>
                    <a:pt x="403" y="281"/>
                    <a:pt x="398" y="287"/>
                  </a:cubicBezTo>
                  <a:cubicBezTo>
                    <a:pt x="394" y="292"/>
                    <a:pt x="395" y="297"/>
                    <a:pt x="402" y="297"/>
                  </a:cubicBezTo>
                  <a:cubicBezTo>
                    <a:pt x="408" y="297"/>
                    <a:pt x="417" y="292"/>
                    <a:pt x="421" y="286"/>
                  </a:cubicBezTo>
                  <a:cubicBezTo>
                    <a:pt x="426" y="281"/>
                    <a:pt x="424" y="276"/>
                    <a:pt x="418" y="276"/>
                  </a:cubicBezTo>
                  <a:cubicBezTo>
                    <a:pt x="418" y="276"/>
                    <a:pt x="418" y="276"/>
                    <a:pt x="418" y="276"/>
                  </a:cubicBezTo>
                  <a:moveTo>
                    <a:pt x="452" y="276"/>
                  </a:moveTo>
                  <a:cubicBezTo>
                    <a:pt x="445" y="276"/>
                    <a:pt x="437" y="281"/>
                    <a:pt x="432" y="286"/>
                  </a:cubicBezTo>
                  <a:cubicBezTo>
                    <a:pt x="428" y="292"/>
                    <a:pt x="429" y="296"/>
                    <a:pt x="436" y="296"/>
                  </a:cubicBezTo>
                  <a:cubicBezTo>
                    <a:pt x="442" y="296"/>
                    <a:pt x="451" y="292"/>
                    <a:pt x="455" y="286"/>
                  </a:cubicBezTo>
                  <a:cubicBezTo>
                    <a:pt x="459" y="281"/>
                    <a:pt x="458" y="276"/>
                    <a:pt x="452" y="276"/>
                  </a:cubicBezTo>
                  <a:cubicBezTo>
                    <a:pt x="452" y="276"/>
                    <a:pt x="452" y="276"/>
                    <a:pt x="452" y="276"/>
                  </a:cubicBezTo>
                  <a:moveTo>
                    <a:pt x="484" y="276"/>
                  </a:moveTo>
                  <a:cubicBezTo>
                    <a:pt x="478" y="276"/>
                    <a:pt x="469" y="280"/>
                    <a:pt x="465" y="286"/>
                  </a:cubicBezTo>
                  <a:cubicBezTo>
                    <a:pt x="461" y="292"/>
                    <a:pt x="462" y="296"/>
                    <a:pt x="469" y="296"/>
                  </a:cubicBezTo>
                  <a:cubicBezTo>
                    <a:pt x="475" y="296"/>
                    <a:pt x="484" y="291"/>
                    <a:pt x="488" y="286"/>
                  </a:cubicBezTo>
                  <a:cubicBezTo>
                    <a:pt x="492" y="280"/>
                    <a:pt x="490" y="276"/>
                    <a:pt x="484" y="276"/>
                  </a:cubicBezTo>
                  <a:cubicBezTo>
                    <a:pt x="484" y="276"/>
                    <a:pt x="484" y="276"/>
                    <a:pt x="484" y="276"/>
                  </a:cubicBezTo>
                  <a:moveTo>
                    <a:pt x="517" y="276"/>
                  </a:moveTo>
                  <a:cubicBezTo>
                    <a:pt x="510" y="276"/>
                    <a:pt x="502" y="280"/>
                    <a:pt x="498" y="286"/>
                  </a:cubicBezTo>
                  <a:cubicBezTo>
                    <a:pt x="493" y="291"/>
                    <a:pt x="495" y="296"/>
                    <a:pt x="502" y="296"/>
                  </a:cubicBezTo>
                  <a:cubicBezTo>
                    <a:pt x="508" y="296"/>
                    <a:pt x="516" y="291"/>
                    <a:pt x="521" y="286"/>
                  </a:cubicBezTo>
                  <a:cubicBezTo>
                    <a:pt x="525" y="280"/>
                    <a:pt x="523" y="276"/>
                    <a:pt x="517" y="276"/>
                  </a:cubicBezTo>
                  <a:cubicBezTo>
                    <a:pt x="517" y="276"/>
                    <a:pt x="517" y="276"/>
                    <a:pt x="517" y="276"/>
                  </a:cubicBezTo>
                  <a:moveTo>
                    <a:pt x="549" y="275"/>
                  </a:moveTo>
                  <a:cubicBezTo>
                    <a:pt x="543" y="275"/>
                    <a:pt x="534" y="280"/>
                    <a:pt x="530" y="285"/>
                  </a:cubicBezTo>
                  <a:cubicBezTo>
                    <a:pt x="526" y="291"/>
                    <a:pt x="528" y="296"/>
                    <a:pt x="534" y="295"/>
                  </a:cubicBezTo>
                  <a:cubicBezTo>
                    <a:pt x="541" y="295"/>
                    <a:pt x="549" y="291"/>
                    <a:pt x="553" y="285"/>
                  </a:cubicBezTo>
                  <a:cubicBezTo>
                    <a:pt x="557" y="280"/>
                    <a:pt x="556" y="275"/>
                    <a:pt x="549" y="275"/>
                  </a:cubicBezTo>
                  <a:cubicBezTo>
                    <a:pt x="549" y="275"/>
                    <a:pt x="549" y="275"/>
                    <a:pt x="549" y="275"/>
                  </a:cubicBezTo>
                  <a:moveTo>
                    <a:pt x="4048" y="275"/>
                  </a:moveTo>
                  <a:cubicBezTo>
                    <a:pt x="4042" y="275"/>
                    <a:pt x="4039" y="280"/>
                    <a:pt x="4043" y="285"/>
                  </a:cubicBezTo>
                  <a:cubicBezTo>
                    <a:pt x="4046" y="291"/>
                    <a:pt x="4054" y="296"/>
                    <a:pt x="4060" y="296"/>
                  </a:cubicBezTo>
                  <a:cubicBezTo>
                    <a:pt x="4067" y="296"/>
                    <a:pt x="4069" y="291"/>
                    <a:pt x="4066" y="285"/>
                  </a:cubicBezTo>
                  <a:cubicBezTo>
                    <a:pt x="4062" y="280"/>
                    <a:pt x="4055" y="275"/>
                    <a:pt x="4048" y="275"/>
                  </a:cubicBezTo>
                  <a:cubicBezTo>
                    <a:pt x="4048" y="275"/>
                    <a:pt x="4048" y="275"/>
                    <a:pt x="4048" y="275"/>
                  </a:cubicBezTo>
                  <a:moveTo>
                    <a:pt x="582" y="275"/>
                  </a:moveTo>
                  <a:cubicBezTo>
                    <a:pt x="576" y="275"/>
                    <a:pt x="567" y="280"/>
                    <a:pt x="563" y="285"/>
                  </a:cubicBezTo>
                  <a:cubicBezTo>
                    <a:pt x="559" y="291"/>
                    <a:pt x="561" y="295"/>
                    <a:pt x="567" y="295"/>
                  </a:cubicBezTo>
                  <a:cubicBezTo>
                    <a:pt x="574" y="295"/>
                    <a:pt x="582" y="291"/>
                    <a:pt x="586" y="285"/>
                  </a:cubicBezTo>
                  <a:cubicBezTo>
                    <a:pt x="590" y="279"/>
                    <a:pt x="588" y="275"/>
                    <a:pt x="582" y="275"/>
                  </a:cubicBezTo>
                  <a:cubicBezTo>
                    <a:pt x="582" y="275"/>
                    <a:pt x="582" y="275"/>
                    <a:pt x="582" y="275"/>
                  </a:cubicBezTo>
                  <a:moveTo>
                    <a:pt x="4081" y="275"/>
                  </a:moveTo>
                  <a:cubicBezTo>
                    <a:pt x="4074" y="275"/>
                    <a:pt x="4072" y="279"/>
                    <a:pt x="4075" y="285"/>
                  </a:cubicBezTo>
                  <a:cubicBezTo>
                    <a:pt x="4079" y="291"/>
                    <a:pt x="4087" y="295"/>
                    <a:pt x="4093" y="295"/>
                  </a:cubicBezTo>
                  <a:cubicBezTo>
                    <a:pt x="4099" y="295"/>
                    <a:pt x="4102" y="291"/>
                    <a:pt x="4098" y="285"/>
                  </a:cubicBezTo>
                  <a:cubicBezTo>
                    <a:pt x="4095" y="279"/>
                    <a:pt x="4087" y="275"/>
                    <a:pt x="4081" y="275"/>
                  </a:cubicBezTo>
                  <a:cubicBezTo>
                    <a:pt x="4081" y="275"/>
                    <a:pt x="4081" y="275"/>
                    <a:pt x="4081" y="275"/>
                  </a:cubicBezTo>
                  <a:moveTo>
                    <a:pt x="616" y="275"/>
                  </a:moveTo>
                  <a:cubicBezTo>
                    <a:pt x="609" y="275"/>
                    <a:pt x="601" y="279"/>
                    <a:pt x="597" y="285"/>
                  </a:cubicBezTo>
                  <a:cubicBezTo>
                    <a:pt x="593" y="291"/>
                    <a:pt x="595" y="295"/>
                    <a:pt x="601" y="295"/>
                  </a:cubicBezTo>
                  <a:cubicBezTo>
                    <a:pt x="608" y="295"/>
                    <a:pt x="616" y="290"/>
                    <a:pt x="620" y="285"/>
                  </a:cubicBezTo>
                  <a:cubicBezTo>
                    <a:pt x="624" y="279"/>
                    <a:pt x="622" y="275"/>
                    <a:pt x="616" y="275"/>
                  </a:cubicBezTo>
                  <a:cubicBezTo>
                    <a:pt x="616" y="275"/>
                    <a:pt x="616" y="275"/>
                    <a:pt x="616" y="275"/>
                  </a:cubicBezTo>
                  <a:moveTo>
                    <a:pt x="648" y="274"/>
                  </a:moveTo>
                  <a:cubicBezTo>
                    <a:pt x="642" y="274"/>
                    <a:pt x="634" y="279"/>
                    <a:pt x="630" y="285"/>
                  </a:cubicBezTo>
                  <a:cubicBezTo>
                    <a:pt x="626" y="290"/>
                    <a:pt x="628" y="295"/>
                    <a:pt x="634" y="295"/>
                  </a:cubicBezTo>
                  <a:cubicBezTo>
                    <a:pt x="640" y="295"/>
                    <a:pt x="649" y="290"/>
                    <a:pt x="653" y="284"/>
                  </a:cubicBezTo>
                  <a:cubicBezTo>
                    <a:pt x="657" y="279"/>
                    <a:pt x="655" y="274"/>
                    <a:pt x="648" y="274"/>
                  </a:cubicBezTo>
                  <a:cubicBezTo>
                    <a:pt x="648" y="274"/>
                    <a:pt x="648" y="274"/>
                    <a:pt x="648" y="274"/>
                  </a:cubicBezTo>
                  <a:moveTo>
                    <a:pt x="681" y="274"/>
                  </a:moveTo>
                  <a:cubicBezTo>
                    <a:pt x="675" y="274"/>
                    <a:pt x="666" y="279"/>
                    <a:pt x="663" y="284"/>
                  </a:cubicBezTo>
                  <a:cubicBezTo>
                    <a:pt x="659" y="290"/>
                    <a:pt x="661" y="294"/>
                    <a:pt x="667" y="294"/>
                  </a:cubicBezTo>
                  <a:cubicBezTo>
                    <a:pt x="673" y="294"/>
                    <a:pt x="682" y="290"/>
                    <a:pt x="686" y="284"/>
                  </a:cubicBezTo>
                  <a:cubicBezTo>
                    <a:pt x="689" y="279"/>
                    <a:pt x="687" y="274"/>
                    <a:pt x="681" y="274"/>
                  </a:cubicBezTo>
                  <a:cubicBezTo>
                    <a:pt x="681" y="274"/>
                    <a:pt x="681" y="274"/>
                    <a:pt x="681" y="274"/>
                  </a:cubicBezTo>
                  <a:moveTo>
                    <a:pt x="714" y="274"/>
                  </a:moveTo>
                  <a:cubicBezTo>
                    <a:pt x="708" y="274"/>
                    <a:pt x="700" y="279"/>
                    <a:pt x="696" y="284"/>
                  </a:cubicBezTo>
                  <a:cubicBezTo>
                    <a:pt x="692" y="290"/>
                    <a:pt x="694" y="294"/>
                    <a:pt x="700" y="294"/>
                  </a:cubicBezTo>
                  <a:cubicBezTo>
                    <a:pt x="707" y="294"/>
                    <a:pt x="715" y="290"/>
                    <a:pt x="719" y="284"/>
                  </a:cubicBezTo>
                  <a:cubicBezTo>
                    <a:pt x="722" y="278"/>
                    <a:pt x="720" y="274"/>
                    <a:pt x="714" y="274"/>
                  </a:cubicBezTo>
                  <a:cubicBezTo>
                    <a:pt x="714" y="274"/>
                    <a:pt x="714" y="274"/>
                    <a:pt x="714" y="274"/>
                  </a:cubicBezTo>
                  <a:moveTo>
                    <a:pt x="747" y="274"/>
                  </a:moveTo>
                  <a:cubicBezTo>
                    <a:pt x="740" y="274"/>
                    <a:pt x="732" y="278"/>
                    <a:pt x="728" y="284"/>
                  </a:cubicBezTo>
                  <a:cubicBezTo>
                    <a:pt x="725" y="289"/>
                    <a:pt x="727" y="294"/>
                    <a:pt x="733" y="294"/>
                  </a:cubicBezTo>
                  <a:cubicBezTo>
                    <a:pt x="739" y="294"/>
                    <a:pt x="748" y="289"/>
                    <a:pt x="751" y="284"/>
                  </a:cubicBezTo>
                  <a:cubicBezTo>
                    <a:pt x="755" y="278"/>
                    <a:pt x="753" y="274"/>
                    <a:pt x="747" y="274"/>
                  </a:cubicBezTo>
                  <a:cubicBezTo>
                    <a:pt x="747" y="274"/>
                    <a:pt x="747" y="274"/>
                    <a:pt x="747" y="274"/>
                  </a:cubicBezTo>
                  <a:moveTo>
                    <a:pt x="779" y="273"/>
                  </a:moveTo>
                  <a:cubicBezTo>
                    <a:pt x="773" y="273"/>
                    <a:pt x="765" y="278"/>
                    <a:pt x="761" y="284"/>
                  </a:cubicBezTo>
                  <a:cubicBezTo>
                    <a:pt x="757" y="289"/>
                    <a:pt x="760" y="294"/>
                    <a:pt x="766" y="294"/>
                  </a:cubicBezTo>
                  <a:cubicBezTo>
                    <a:pt x="772" y="294"/>
                    <a:pt x="780" y="289"/>
                    <a:pt x="784" y="283"/>
                  </a:cubicBezTo>
                  <a:cubicBezTo>
                    <a:pt x="788" y="278"/>
                    <a:pt x="786" y="273"/>
                    <a:pt x="779" y="273"/>
                  </a:cubicBezTo>
                  <a:cubicBezTo>
                    <a:pt x="779" y="273"/>
                    <a:pt x="779" y="273"/>
                    <a:pt x="779" y="273"/>
                  </a:cubicBezTo>
                  <a:moveTo>
                    <a:pt x="812" y="273"/>
                  </a:moveTo>
                  <a:cubicBezTo>
                    <a:pt x="805" y="273"/>
                    <a:pt x="797" y="278"/>
                    <a:pt x="794" y="283"/>
                  </a:cubicBezTo>
                  <a:cubicBezTo>
                    <a:pt x="790" y="289"/>
                    <a:pt x="792" y="293"/>
                    <a:pt x="799" y="293"/>
                  </a:cubicBezTo>
                  <a:cubicBezTo>
                    <a:pt x="805" y="293"/>
                    <a:pt x="813" y="289"/>
                    <a:pt x="817" y="283"/>
                  </a:cubicBezTo>
                  <a:cubicBezTo>
                    <a:pt x="820" y="278"/>
                    <a:pt x="818" y="273"/>
                    <a:pt x="812" y="273"/>
                  </a:cubicBezTo>
                  <a:cubicBezTo>
                    <a:pt x="812" y="273"/>
                    <a:pt x="812" y="273"/>
                    <a:pt x="812" y="273"/>
                  </a:cubicBezTo>
                  <a:moveTo>
                    <a:pt x="844" y="273"/>
                  </a:moveTo>
                  <a:cubicBezTo>
                    <a:pt x="838" y="273"/>
                    <a:pt x="830" y="277"/>
                    <a:pt x="827" y="283"/>
                  </a:cubicBezTo>
                  <a:cubicBezTo>
                    <a:pt x="823" y="289"/>
                    <a:pt x="825" y="293"/>
                    <a:pt x="832" y="293"/>
                  </a:cubicBezTo>
                  <a:cubicBezTo>
                    <a:pt x="838" y="293"/>
                    <a:pt x="846" y="288"/>
                    <a:pt x="850" y="283"/>
                  </a:cubicBezTo>
                  <a:cubicBezTo>
                    <a:pt x="853" y="277"/>
                    <a:pt x="851" y="273"/>
                    <a:pt x="845" y="273"/>
                  </a:cubicBezTo>
                  <a:cubicBezTo>
                    <a:pt x="845" y="273"/>
                    <a:pt x="845" y="273"/>
                    <a:pt x="844" y="273"/>
                  </a:cubicBezTo>
                  <a:moveTo>
                    <a:pt x="877" y="273"/>
                  </a:moveTo>
                  <a:cubicBezTo>
                    <a:pt x="871" y="273"/>
                    <a:pt x="863" y="277"/>
                    <a:pt x="860" y="283"/>
                  </a:cubicBezTo>
                  <a:cubicBezTo>
                    <a:pt x="856" y="288"/>
                    <a:pt x="859" y="293"/>
                    <a:pt x="865" y="293"/>
                  </a:cubicBezTo>
                  <a:cubicBezTo>
                    <a:pt x="871" y="293"/>
                    <a:pt x="879" y="288"/>
                    <a:pt x="883" y="283"/>
                  </a:cubicBezTo>
                  <a:cubicBezTo>
                    <a:pt x="886" y="277"/>
                    <a:pt x="884" y="273"/>
                    <a:pt x="878" y="273"/>
                  </a:cubicBezTo>
                  <a:cubicBezTo>
                    <a:pt x="878" y="273"/>
                    <a:pt x="878" y="273"/>
                    <a:pt x="877" y="273"/>
                  </a:cubicBezTo>
                  <a:moveTo>
                    <a:pt x="910" y="272"/>
                  </a:moveTo>
                  <a:cubicBezTo>
                    <a:pt x="904" y="272"/>
                    <a:pt x="896" y="277"/>
                    <a:pt x="892" y="282"/>
                  </a:cubicBezTo>
                  <a:cubicBezTo>
                    <a:pt x="889" y="288"/>
                    <a:pt x="891" y="293"/>
                    <a:pt x="898" y="293"/>
                  </a:cubicBezTo>
                  <a:cubicBezTo>
                    <a:pt x="904" y="292"/>
                    <a:pt x="912" y="288"/>
                    <a:pt x="915" y="282"/>
                  </a:cubicBezTo>
                  <a:cubicBezTo>
                    <a:pt x="919" y="277"/>
                    <a:pt x="916" y="272"/>
                    <a:pt x="910" y="272"/>
                  </a:cubicBezTo>
                  <a:cubicBezTo>
                    <a:pt x="910" y="272"/>
                    <a:pt x="910" y="272"/>
                    <a:pt x="910" y="272"/>
                  </a:cubicBezTo>
                  <a:moveTo>
                    <a:pt x="941" y="272"/>
                  </a:moveTo>
                  <a:cubicBezTo>
                    <a:pt x="935" y="272"/>
                    <a:pt x="927" y="277"/>
                    <a:pt x="923" y="282"/>
                  </a:cubicBezTo>
                  <a:cubicBezTo>
                    <a:pt x="920" y="288"/>
                    <a:pt x="923" y="292"/>
                    <a:pt x="929" y="292"/>
                  </a:cubicBezTo>
                  <a:cubicBezTo>
                    <a:pt x="935" y="292"/>
                    <a:pt x="943" y="288"/>
                    <a:pt x="946" y="282"/>
                  </a:cubicBezTo>
                  <a:cubicBezTo>
                    <a:pt x="950" y="276"/>
                    <a:pt x="947" y="272"/>
                    <a:pt x="941" y="272"/>
                  </a:cubicBezTo>
                  <a:cubicBezTo>
                    <a:pt x="941" y="272"/>
                    <a:pt x="941" y="272"/>
                    <a:pt x="941" y="272"/>
                  </a:cubicBezTo>
                  <a:moveTo>
                    <a:pt x="1202" y="269"/>
                  </a:moveTo>
                  <a:cubicBezTo>
                    <a:pt x="1196" y="270"/>
                    <a:pt x="1188" y="274"/>
                    <a:pt x="1185" y="280"/>
                  </a:cubicBezTo>
                  <a:cubicBezTo>
                    <a:pt x="1183" y="285"/>
                    <a:pt x="1185" y="290"/>
                    <a:pt x="1192" y="290"/>
                  </a:cubicBezTo>
                  <a:cubicBezTo>
                    <a:pt x="1198" y="290"/>
                    <a:pt x="1206" y="285"/>
                    <a:pt x="1208" y="280"/>
                  </a:cubicBezTo>
                  <a:cubicBezTo>
                    <a:pt x="1211" y="274"/>
                    <a:pt x="1208" y="269"/>
                    <a:pt x="1202" y="269"/>
                  </a:cubicBezTo>
                  <a:cubicBezTo>
                    <a:pt x="1202" y="269"/>
                    <a:pt x="1202" y="269"/>
                    <a:pt x="1202" y="269"/>
                  </a:cubicBezTo>
                  <a:moveTo>
                    <a:pt x="1235" y="269"/>
                  </a:moveTo>
                  <a:cubicBezTo>
                    <a:pt x="1228" y="269"/>
                    <a:pt x="1221" y="274"/>
                    <a:pt x="1218" y="279"/>
                  </a:cubicBezTo>
                  <a:cubicBezTo>
                    <a:pt x="1216" y="285"/>
                    <a:pt x="1219" y="290"/>
                    <a:pt x="1225" y="290"/>
                  </a:cubicBezTo>
                  <a:cubicBezTo>
                    <a:pt x="1231" y="289"/>
                    <a:pt x="1239" y="285"/>
                    <a:pt x="1241" y="279"/>
                  </a:cubicBezTo>
                  <a:cubicBezTo>
                    <a:pt x="1244" y="274"/>
                    <a:pt x="1241" y="269"/>
                    <a:pt x="1235" y="269"/>
                  </a:cubicBezTo>
                  <a:cubicBezTo>
                    <a:pt x="1235" y="269"/>
                    <a:pt x="1235" y="269"/>
                    <a:pt x="1235" y="269"/>
                  </a:cubicBezTo>
                  <a:moveTo>
                    <a:pt x="1563" y="265"/>
                  </a:moveTo>
                  <a:cubicBezTo>
                    <a:pt x="1556" y="265"/>
                    <a:pt x="1550" y="270"/>
                    <a:pt x="1548" y="275"/>
                  </a:cubicBezTo>
                  <a:cubicBezTo>
                    <a:pt x="1546" y="281"/>
                    <a:pt x="1549" y="286"/>
                    <a:pt x="1555" y="286"/>
                  </a:cubicBezTo>
                  <a:cubicBezTo>
                    <a:pt x="1562" y="285"/>
                    <a:pt x="1568" y="281"/>
                    <a:pt x="1570" y="275"/>
                  </a:cubicBezTo>
                  <a:cubicBezTo>
                    <a:pt x="1572" y="270"/>
                    <a:pt x="1569" y="265"/>
                    <a:pt x="1563" y="265"/>
                  </a:cubicBezTo>
                  <a:cubicBezTo>
                    <a:pt x="1563" y="265"/>
                    <a:pt x="1563" y="265"/>
                    <a:pt x="1563" y="265"/>
                  </a:cubicBezTo>
                  <a:moveTo>
                    <a:pt x="2180" y="261"/>
                  </a:moveTo>
                  <a:cubicBezTo>
                    <a:pt x="2173" y="261"/>
                    <a:pt x="2168" y="265"/>
                    <a:pt x="2167" y="271"/>
                  </a:cubicBezTo>
                  <a:cubicBezTo>
                    <a:pt x="2166" y="277"/>
                    <a:pt x="2171" y="281"/>
                    <a:pt x="2177" y="281"/>
                  </a:cubicBezTo>
                  <a:cubicBezTo>
                    <a:pt x="2184" y="281"/>
                    <a:pt x="2189" y="277"/>
                    <a:pt x="2190" y="271"/>
                  </a:cubicBezTo>
                  <a:cubicBezTo>
                    <a:pt x="2191" y="265"/>
                    <a:pt x="2186" y="261"/>
                    <a:pt x="2180" y="261"/>
                  </a:cubicBezTo>
                  <a:cubicBezTo>
                    <a:pt x="2180" y="261"/>
                    <a:pt x="2180" y="261"/>
                    <a:pt x="2180" y="261"/>
                  </a:cubicBezTo>
                  <a:moveTo>
                    <a:pt x="2213" y="261"/>
                  </a:moveTo>
                  <a:cubicBezTo>
                    <a:pt x="2206" y="261"/>
                    <a:pt x="2201" y="265"/>
                    <a:pt x="2200" y="271"/>
                  </a:cubicBezTo>
                  <a:cubicBezTo>
                    <a:pt x="2200" y="276"/>
                    <a:pt x="2204" y="281"/>
                    <a:pt x="2210" y="281"/>
                  </a:cubicBezTo>
                  <a:cubicBezTo>
                    <a:pt x="2217" y="281"/>
                    <a:pt x="2222" y="276"/>
                    <a:pt x="2223" y="271"/>
                  </a:cubicBezTo>
                  <a:cubicBezTo>
                    <a:pt x="2224" y="265"/>
                    <a:pt x="2219" y="261"/>
                    <a:pt x="2213" y="261"/>
                  </a:cubicBezTo>
                  <a:cubicBezTo>
                    <a:pt x="2213" y="261"/>
                    <a:pt x="2213" y="261"/>
                    <a:pt x="2213" y="261"/>
                  </a:cubicBezTo>
                  <a:moveTo>
                    <a:pt x="2246" y="260"/>
                  </a:moveTo>
                  <a:cubicBezTo>
                    <a:pt x="2240" y="260"/>
                    <a:pt x="2234" y="265"/>
                    <a:pt x="2234" y="271"/>
                  </a:cubicBezTo>
                  <a:cubicBezTo>
                    <a:pt x="2233" y="276"/>
                    <a:pt x="2238" y="281"/>
                    <a:pt x="2244" y="281"/>
                  </a:cubicBezTo>
                  <a:cubicBezTo>
                    <a:pt x="2250" y="281"/>
                    <a:pt x="2256" y="276"/>
                    <a:pt x="2256" y="270"/>
                  </a:cubicBezTo>
                  <a:cubicBezTo>
                    <a:pt x="2257" y="265"/>
                    <a:pt x="2252" y="260"/>
                    <a:pt x="2246" y="260"/>
                  </a:cubicBezTo>
                  <a:cubicBezTo>
                    <a:pt x="2246" y="260"/>
                    <a:pt x="2246" y="260"/>
                    <a:pt x="2246" y="260"/>
                  </a:cubicBezTo>
                  <a:moveTo>
                    <a:pt x="2278" y="260"/>
                  </a:moveTo>
                  <a:cubicBezTo>
                    <a:pt x="2272" y="260"/>
                    <a:pt x="2267" y="265"/>
                    <a:pt x="2266" y="270"/>
                  </a:cubicBezTo>
                  <a:cubicBezTo>
                    <a:pt x="2266" y="276"/>
                    <a:pt x="2270" y="280"/>
                    <a:pt x="2277" y="280"/>
                  </a:cubicBezTo>
                  <a:cubicBezTo>
                    <a:pt x="2283" y="280"/>
                    <a:pt x="2288" y="276"/>
                    <a:pt x="2289" y="270"/>
                  </a:cubicBezTo>
                  <a:cubicBezTo>
                    <a:pt x="2289" y="264"/>
                    <a:pt x="2285" y="260"/>
                    <a:pt x="2278" y="260"/>
                  </a:cubicBezTo>
                  <a:cubicBezTo>
                    <a:pt x="2278" y="260"/>
                    <a:pt x="2278" y="260"/>
                    <a:pt x="2278" y="260"/>
                  </a:cubicBezTo>
                  <a:moveTo>
                    <a:pt x="2310" y="260"/>
                  </a:moveTo>
                  <a:cubicBezTo>
                    <a:pt x="2304" y="260"/>
                    <a:pt x="2299" y="264"/>
                    <a:pt x="2298" y="270"/>
                  </a:cubicBezTo>
                  <a:cubicBezTo>
                    <a:pt x="2298" y="276"/>
                    <a:pt x="2303" y="280"/>
                    <a:pt x="2309" y="280"/>
                  </a:cubicBezTo>
                  <a:cubicBezTo>
                    <a:pt x="2315" y="280"/>
                    <a:pt x="2321" y="275"/>
                    <a:pt x="2321" y="270"/>
                  </a:cubicBezTo>
                  <a:cubicBezTo>
                    <a:pt x="2321" y="264"/>
                    <a:pt x="2317" y="260"/>
                    <a:pt x="2311" y="260"/>
                  </a:cubicBezTo>
                  <a:cubicBezTo>
                    <a:pt x="2311" y="260"/>
                    <a:pt x="2310" y="260"/>
                    <a:pt x="2310" y="260"/>
                  </a:cubicBezTo>
                  <a:moveTo>
                    <a:pt x="2375" y="259"/>
                  </a:moveTo>
                  <a:cubicBezTo>
                    <a:pt x="2369" y="259"/>
                    <a:pt x="2364" y="264"/>
                    <a:pt x="2363" y="269"/>
                  </a:cubicBezTo>
                  <a:cubicBezTo>
                    <a:pt x="2363" y="275"/>
                    <a:pt x="2368" y="280"/>
                    <a:pt x="2374" y="280"/>
                  </a:cubicBezTo>
                  <a:cubicBezTo>
                    <a:pt x="2381" y="280"/>
                    <a:pt x="2386" y="275"/>
                    <a:pt x="2386" y="269"/>
                  </a:cubicBezTo>
                  <a:cubicBezTo>
                    <a:pt x="2387" y="264"/>
                    <a:pt x="2382" y="259"/>
                    <a:pt x="2375" y="259"/>
                  </a:cubicBezTo>
                  <a:cubicBezTo>
                    <a:pt x="2375" y="259"/>
                    <a:pt x="2375" y="259"/>
                    <a:pt x="2375" y="259"/>
                  </a:cubicBezTo>
                  <a:moveTo>
                    <a:pt x="2408" y="259"/>
                  </a:moveTo>
                  <a:cubicBezTo>
                    <a:pt x="2402" y="259"/>
                    <a:pt x="2397" y="264"/>
                    <a:pt x="2396" y="269"/>
                  </a:cubicBezTo>
                  <a:cubicBezTo>
                    <a:pt x="2396" y="275"/>
                    <a:pt x="2401" y="279"/>
                    <a:pt x="2407" y="279"/>
                  </a:cubicBezTo>
                  <a:cubicBezTo>
                    <a:pt x="2414" y="279"/>
                    <a:pt x="2419" y="275"/>
                    <a:pt x="2419" y="269"/>
                  </a:cubicBezTo>
                  <a:cubicBezTo>
                    <a:pt x="2419" y="263"/>
                    <a:pt x="2415" y="259"/>
                    <a:pt x="2408" y="259"/>
                  </a:cubicBezTo>
                  <a:cubicBezTo>
                    <a:pt x="2408" y="259"/>
                    <a:pt x="2408" y="259"/>
                    <a:pt x="2408" y="259"/>
                  </a:cubicBezTo>
                  <a:moveTo>
                    <a:pt x="2572" y="259"/>
                  </a:moveTo>
                  <a:cubicBezTo>
                    <a:pt x="2565" y="259"/>
                    <a:pt x="2560" y="264"/>
                    <a:pt x="2560" y="269"/>
                  </a:cubicBezTo>
                  <a:cubicBezTo>
                    <a:pt x="2561" y="275"/>
                    <a:pt x="2566" y="279"/>
                    <a:pt x="2572" y="279"/>
                  </a:cubicBezTo>
                  <a:cubicBezTo>
                    <a:pt x="2579" y="279"/>
                    <a:pt x="2584" y="275"/>
                    <a:pt x="2583" y="269"/>
                  </a:cubicBezTo>
                  <a:cubicBezTo>
                    <a:pt x="2583" y="263"/>
                    <a:pt x="2578" y="259"/>
                    <a:pt x="2572" y="259"/>
                  </a:cubicBezTo>
                  <a:cubicBezTo>
                    <a:pt x="2572" y="259"/>
                    <a:pt x="2572" y="259"/>
                    <a:pt x="2572" y="259"/>
                  </a:cubicBezTo>
                  <a:moveTo>
                    <a:pt x="2441" y="259"/>
                  </a:moveTo>
                  <a:cubicBezTo>
                    <a:pt x="2434" y="259"/>
                    <a:pt x="2429" y="263"/>
                    <a:pt x="2429" y="269"/>
                  </a:cubicBezTo>
                  <a:cubicBezTo>
                    <a:pt x="2429" y="275"/>
                    <a:pt x="2434" y="279"/>
                    <a:pt x="2440" y="279"/>
                  </a:cubicBezTo>
                  <a:cubicBezTo>
                    <a:pt x="2446" y="279"/>
                    <a:pt x="2452" y="274"/>
                    <a:pt x="2452" y="269"/>
                  </a:cubicBezTo>
                  <a:cubicBezTo>
                    <a:pt x="2452" y="263"/>
                    <a:pt x="2447" y="259"/>
                    <a:pt x="2441" y="259"/>
                  </a:cubicBezTo>
                  <a:cubicBezTo>
                    <a:pt x="2441" y="259"/>
                    <a:pt x="2441" y="259"/>
                    <a:pt x="2441" y="259"/>
                  </a:cubicBezTo>
                  <a:moveTo>
                    <a:pt x="2604" y="259"/>
                  </a:moveTo>
                  <a:cubicBezTo>
                    <a:pt x="2598" y="259"/>
                    <a:pt x="2593" y="263"/>
                    <a:pt x="2593" y="269"/>
                  </a:cubicBezTo>
                  <a:cubicBezTo>
                    <a:pt x="2593" y="275"/>
                    <a:pt x="2598" y="279"/>
                    <a:pt x="2605" y="279"/>
                  </a:cubicBezTo>
                  <a:cubicBezTo>
                    <a:pt x="2611" y="279"/>
                    <a:pt x="2616" y="274"/>
                    <a:pt x="2616" y="269"/>
                  </a:cubicBezTo>
                  <a:cubicBezTo>
                    <a:pt x="2616" y="263"/>
                    <a:pt x="2610" y="259"/>
                    <a:pt x="2604" y="259"/>
                  </a:cubicBezTo>
                  <a:cubicBezTo>
                    <a:pt x="2604" y="259"/>
                    <a:pt x="2604" y="259"/>
                    <a:pt x="2604" y="259"/>
                  </a:cubicBezTo>
                  <a:moveTo>
                    <a:pt x="2473" y="258"/>
                  </a:moveTo>
                  <a:cubicBezTo>
                    <a:pt x="2467" y="258"/>
                    <a:pt x="2462" y="263"/>
                    <a:pt x="2461" y="269"/>
                  </a:cubicBezTo>
                  <a:cubicBezTo>
                    <a:pt x="2461" y="274"/>
                    <a:pt x="2466" y="279"/>
                    <a:pt x="2473" y="279"/>
                  </a:cubicBezTo>
                  <a:cubicBezTo>
                    <a:pt x="2479" y="279"/>
                    <a:pt x="2484" y="274"/>
                    <a:pt x="2484" y="268"/>
                  </a:cubicBezTo>
                  <a:cubicBezTo>
                    <a:pt x="2484" y="263"/>
                    <a:pt x="2479" y="258"/>
                    <a:pt x="2473" y="258"/>
                  </a:cubicBezTo>
                  <a:cubicBezTo>
                    <a:pt x="2473" y="258"/>
                    <a:pt x="2473" y="258"/>
                    <a:pt x="2473" y="258"/>
                  </a:cubicBezTo>
                  <a:moveTo>
                    <a:pt x="2636" y="258"/>
                  </a:moveTo>
                  <a:cubicBezTo>
                    <a:pt x="2630" y="258"/>
                    <a:pt x="2625" y="263"/>
                    <a:pt x="2625" y="269"/>
                  </a:cubicBezTo>
                  <a:cubicBezTo>
                    <a:pt x="2626" y="274"/>
                    <a:pt x="2631" y="279"/>
                    <a:pt x="2637" y="279"/>
                  </a:cubicBezTo>
                  <a:cubicBezTo>
                    <a:pt x="2644" y="279"/>
                    <a:pt x="2649" y="274"/>
                    <a:pt x="2648" y="268"/>
                  </a:cubicBezTo>
                  <a:cubicBezTo>
                    <a:pt x="2648" y="263"/>
                    <a:pt x="2643" y="258"/>
                    <a:pt x="2636" y="258"/>
                  </a:cubicBezTo>
                  <a:cubicBezTo>
                    <a:pt x="2636" y="258"/>
                    <a:pt x="2636" y="258"/>
                    <a:pt x="2636" y="258"/>
                  </a:cubicBezTo>
                  <a:moveTo>
                    <a:pt x="2505" y="258"/>
                  </a:moveTo>
                  <a:cubicBezTo>
                    <a:pt x="2499" y="258"/>
                    <a:pt x="2494" y="263"/>
                    <a:pt x="2494" y="268"/>
                  </a:cubicBezTo>
                  <a:cubicBezTo>
                    <a:pt x="2494" y="274"/>
                    <a:pt x="2499" y="279"/>
                    <a:pt x="2505" y="279"/>
                  </a:cubicBezTo>
                  <a:cubicBezTo>
                    <a:pt x="2512" y="278"/>
                    <a:pt x="2517" y="274"/>
                    <a:pt x="2517" y="268"/>
                  </a:cubicBezTo>
                  <a:cubicBezTo>
                    <a:pt x="2517" y="263"/>
                    <a:pt x="2512" y="258"/>
                    <a:pt x="2505" y="258"/>
                  </a:cubicBezTo>
                  <a:cubicBezTo>
                    <a:pt x="2505" y="258"/>
                    <a:pt x="2505" y="258"/>
                    <a:pt x="2505" y="258"/>
                  </a:cubicBezTo>
                  <a:moveTo>
                    <a:pt x="2668" y="258"/>
                  </a:moveTo>
                  <a:cubicBezTo>
                    <a:pt x="2662" y="258"/>
                    <a:pt x="2657" y="263"/>
                    <a:pt x="2658" y="268"/>
                  </a:cubicBezTo>
                  <a:cubicBezTo>
                    <a:pt x="2658" y="274"/>
                    <a:pt x="2663" y="279"/>
                    <a:pt x="2670" y="279"/>
                  </a:cubicBezTo>
                  <a:cubicBezTo>
                    <a:pt x="2676" y="278"/>
                    <a:pt x="2681" y="274"/>
                    <a:pt x="2680" y="268"/>
                  </a:cubicBezTo>
                  <a:cubicBezTo>
                    <a:pt x="2680" y="263"/>
                    <a:pt x="2675" y="258"/>
                    <a:pt x="2668" y="258"/>
                  </a:cubicBezTo>
                  <a:cubicBezTo>
                    <a:pt x="2668" y="258"/>
                    <a:pt x="2668" y="258"/>
                    <a:pt x="2668" y="258"/>
                  </a:cubicBezTo>
                  <a:moveTo>
                    <a:pt x="2538" y="258"/>
                  </a:moveTo>
                  <a:cubicBezTo>
                    <a:pt x="2532" y="258"/>
                    <a:pt x="2527" y="262"/>
                    <a:pt x="2527" y="268"/>
                  </a:cubicBezTo>
                  <a:cubicBezTo>
                    <a:pt x="2527" y="274"/>
                    <a:pt x="2532" y="278"/>
                    <a:pt x="2538" y="278"/>
                  </a:cubicBezTo>
                  <a:cubicBezTo>
                    <a:pt x="2544" y="278"/>
                    <a:pt x="2550" y="274"/>
                    <a:pt x="2549" y="268"/>
                  </a:cubicBezTo>
                  <a:cubicBezTo>
                    <a:pt x="2549" y="262"/>
                    <a:pt x="2544" y="258"/>
                    <a:pt x="2538" y="258"/>
                  </a:cubicBezTo>
                  <a:cubicBezTo>
                    <a:pt x="2538" y="258"/>
                    <a:pt x="2538" y="258"/>
                    <a:pt x="2538" y="258"/>
                  </a:cubicBezTo>
                  <a:moveTo>
                    <a:pt x="2701" y="258"/>
                  </a:moveTo>
                  <a:cubicBezTo>
                    <a:pt x="2694" y="258"/>
                    <a:pt x="2690" y="262"/>
                    <a:pt x="2690" y="268"/>
                  </a:cubicBezTo>
                  <a:cubicBezTo>
                    <a:pt x="2690" y="274"/>
                    <a:pt x="2696" y="278"/>
                    <a:pt x="2702" y="278"/>
                  </a:cubicBezTo>
                  <a:cubicBezTo>
                    <a:pt x="2709" y="278"/>
                    <a:pt x="2713" y="274"/>
                    <a:pt x="2713" y="268"/>
                  </a:cubicBezTo>
                  <a:cubicBezTo>
                    <a:pt x="2712" y="262"/>
                    <a:pt x="2707" y="258"/>
                    <a:pt x="2701" y="258"/>
                  </a:cubicBezTo>
                  <a:cubicBezTo>
                    <a:pt x="2701" y="258"/>
                    <a:pt x="2701" y="258"/>
                    <a:pt x="2701" y="258"/>
                  </a:cubicBezTo>
                  <a:moveTo>
                    <a:pt x="2733" y="258"/>
                  </a:moveTo>
                  <a:cubicBezTo>
                    <a:pt x="2727" y="258"/>
                    <a:pt x="2722" y="262"/>
                    <a:pt x="2723" y="268"/>
                  </a:cubicBezTo>
                  <a:cubicBezTo>
                    <a:pt x="2723" y="274"/>
                    <a:pt x="2729" y="278"/>
                    <a:pt x="2735" y="278"/>
                  </a:cubicBezTo>
                  <a:cubicBezTo>
                    <a:pt x="2741" y="278"/>
                    <a:pt x="2746" y="273"/>
                    <a:pt x="2746" y="268"/>
                  </a:cubicBezTo>
                  <a:cubicBezTo>
                    <a:pt x="2745" y="262"/>
                    <a:pt x="2740" y="258"/>
                    <a:pt x="2733" y="258"/>
                  </a:cubicBezTo>
                  <a:cubicBezTo>
                    <a:pt x="2733" y="258"/>
                    <a:pt x="2733" y="258"/>
                    <a:pt x="2733" y="258"/>
                  </a:cubicBezTo>
                  <a:moveTo>
                    <a:pt x="2766" y="257"/>
                  </a:moveTo>
                  <a:cubicBezTo>
                    <a:pt x="2760" y="257"/>
                    <a:pt x="2755" y="262"/>
                    <a:pt x="2756" y="268"/>
                  </a:cubicBezTo>
                  <a:cubicBezTo>
                    <a:pt x="2756" y="273"/>
                    <a:pt x="2762" y="278"/>
                    <a:pt x="2768" y="278"/>
                  </a:cubicBezTo>
                  <a:cubicBezTo>
                    <a:pt x="2774" y="278"/>
                    <a:pt x="2779" y="273"/>
                    <a:pt x="2779" y="267"/>
                  </a:cubicBezTo>
                  <a:cubicBezTo>
                    <a:pt x="2778" y="262"/>
                    <a:pt x="2772" y="257"/>
                    <a:pt x="2766" y="257"/>
                  </a:cubicBezTo>
                  <a:cubicBezTo>
                    <a:pt x="2766" y="257"/>
                    <a:pt x="2766" y="257"/>
                    <a:pt x="2766" y="257"/>
                  </a:cubicBezTo>
                  <a:moveTo>
                    <a:pt x="2798" y="257"/>
                  </a:moveTo>
                  <a:cubicBezTo>
                    <a:pt x="2792" y="257"/>
                    <a:pt x="2787" y="262"/>
                    <a:pt x="2788" y="267"/>
                  </a:cubicBezTo>
                  <a:cubicBezTo>
                    <a:pt x="2789" y="273"/>
                    <a:pt x="2794" y="278"/>
                    <a:pt x="2801" y="277"/>
                  </a:cubicBezTo>
                  <a:cubicBezTo>
                    <a:pt x="2807" y="277"/>
                    <a:pt x="2812" y="273"/>
                    <a:pt x="2811" y="267"/>
                  </a:cubicBezTo>
                  <a:cubicBezTo>
                    <a:pt x="2810" y="262"/>
                    <a:pt x="2805" y="257"/>
                    <a:pt x="2798" y="257"/>
                  </a:cubicBezTo>
                  <a:cubicBezTo>
                    <a:pt x="2798" y="257"/>
                    <a:pt x="2798" y="257"/>
                    <a:pt x="2798" y="257"/>
                  </a:cubicBezTo>
                  <a:moveTo>
                    <a:pt x="2831" y="257"/>
                  </a:moveTo>
                  <a:cubicBezTo>
                    <a:pt x="2825" y="257"/>
                    <a:pt x="2820" y="261"/>
                    <a:pt x="2821" y="267"/>
                  </a:cubicBezTo>
                  <a:cubicBezTo>
                    <a:pt x="2821" y="273"/>
                    <a:pt x="2827" y="277"/>
                    <a:pt x="2833" y="277"/>
                  </a:cubicBezTo>
                  <a:cubicBezTo>
                    <a:pt x="2840" y="277"/>
                    <a:pt x="2844" y="273"/>
                    <a:pt x="2844" y="267"/>
                  </a:cubicBezTo>
                  <a:cubicBezTo>
                    <a:pt x="2843" y="261"/>
                    <a:pt x="2837" y="257"/>
                    <a:pt x="2831" y="257"/>
                  </a:cubicBezTo>
                  <a:cubicBezTo>
                    <a:pt x="2831" y="257"/>
                    <a:pt x="2831" y="257"/>
                    <a:pt x="2831" y="257"/>
                  </a:cubicBezTo>
                  <a:moveTo>
                    <a:pt x="2863" y="256"/>
                  </a:moveTo>
                  <a:cubicBezTo>
                    <a:pt x="2857" y="256"/>
                    <a:pt x="2852" y="261"/>
                    <a:pt x="2853" y="267"/>
                  </a:cubicBezTo>
                  <a:cubicBezTo>
                    <a:pt x="2854" y="272"/>
                    <a:pt x="2860" y="277"/>
                    <a:pt x="2866" y="277"/>
                  </a:cubicBezTo>
                  <a:cubicBezTo>
                    <a:pt x="2872" y="277"/>
                    <a:pt x="2877" y="272"/>
                    <a:pt x="2876" y="267"/>
                  </a:cubicBezTo>
                  <a:cubicBezTo>
                    <a:pt x="2875" y="261"/>
                    <a:pt x="2869" y="256"/>
                    <a:pt x="2863" y="256"/>
                  </a:cubicBezTo>
                  <a:cubicBezTo>
                    <a:pt x="2863" y="256"/>
                    <a:pt x="2863" y="256"/>
                    <a:pt x="2863" y="256"/>
                  </a:cubicBezTo>
                  <a:moveTo>
                    <a:pt x="2896" y="256"/>
                  </a:moveTo>
                  <a:cubicBezTo>
                    <a:pt x="2889" y="256"/>
                    <a:pt x="2885" y="261"/>
                    <a:pt x="2886" y="266"/>
                  </a:cubicBezTo>
                  <a:cubicBezTo>
                    <a:pt x="2887" y="272"/>
                    <a:pt x="2892" y="277"/>
                    <a:pt x="2899" y="277"/>
                  </a:cubicBezTo>
                  <a:cubicBezTo>
                    <a:pt x="2905" y="277"/>
                    <a:pt x="2909" y="272"/>
                    <a:pt x="2909" y="266"/>
                  </a:cubicBezTo>
                  <a:cubicBezTo>
                    <a:pt x="2908" y="261"/>
                    <a:pt x="2902" y="256"/>
                    <a:pt x="2896" y="256"/>
                  </a:cubicBezTo>
                  <a:cubicBezTo>
                    <a:pt x="2896" y="256"/>
                    <a:pt x="2896" y="256"/>
                    <a:pt x="2896" y="256"/>
                  </a:cubicBezTo>
                  <a:moveTo>
                    <a:pt x="2928" y="256"/>
                  </a:moveTo>
                  <a:cubicBezTo>
                    <a:pt x="2922" y="256"/>
                    <a:pt x="2917" y="260"/>
                    <a:pt x="2918" y="266"/>
                  </a:cubicBezTo>
                  <a:cubicBezTo>
                    <a:pt x="2919" y="272"/>
                    <a:pt x="2925" y="276"/>
                    <a:pt x="2931" y="276"/>
                  </a:cubicBezTo>
                  <a:cubicBezTo>
                    <a:pt x="2937" y="276"/>
                    <a:pt x="2942" y="271"/>
                    <a:pt x="2941" y="266"/>
                  </a:cubicBezTo>
                  <a:cubicBezTo>
                    <a:pt x="2940" y="260"/>
                    <a:pt x="2934" y="256"/>
                    <a:pt x="2928" y="256"/>
                  </a:cubicBezTo>
                  <a:cubicBezTo>
                    <a:pt x="2928" y="256"/>
                    <a:pt x="2928" y="256"/>
                    <a:pt x="2928" y="256"/>
                  </a:cubicBezTo>
                  <a:moveTo>
                    <a:pt x="2959" y="255"/>
                  </a:moveTo>
                  <a:cubicBezTo>
                    <a:pt x="2952" y="255"/>
                    <a:pt x="2948" y="260"/>
                    <a:pt x="2949" y="266"/>
                  </a:cubicBezTo>
                  <a:cubicBezTo>
                    <a:pt x="2950" y="271"/>
                    <a:pt x="2956" y="276"/>
                    <a:pt x="2962" y="276"/>
                  </a:cubicBezTo>
                  <a:cubicBezTo>
                    <a:pt x="2968" y="276"/>
                    <a:pt x="2973" y="271"/>
                    <a:pt x="2972" y="266"/>
                  </a:cubicBezTo>
                  <a:cubicBezTo>
                    <a:pt x="2971" y="260"/>
                    <a:pt x="2965" y="255"/>
                    <a:pt x="2959" y="255"/>
                  </a:cubicBezTo>
                  <a:cubicBezTo>
                    <a:pt x="2959" y="255"/>
                    <a:pt x="2959" y="255"/>
                    <a:pt x="2959" y="255"/>
                  </a:cubicBezTo>
                  <a:moveTo>
                    <a:pt x="2991" y="255"/>
                  </a:moveTo>
                  <a:cubicBezTo>
                    <a:pt x="2985" y="255"/>
                    <a:pt x="2980" y="260"/>
                    <a:pt x="2981" y="265"/>
                  </a:cubicBezTo>
                  <a:cubicBezTo>
                    <a:pt x="2982" y="271"/>
                    <a:pt x="2988" y="276"/>
                    <a:pt x="2995" y="276"/>
                  </a:cubicBezTo>
                  <a:cubicBezTo>
                    <a:pt x="3001" y="276"/>
                    <a:pt x="3005" y="271"/>
                    <a:pt x="3004" y="265"/>
                  </a:cubicBezTo>
                  <a:cubicBezTo>
                    <a:pt x="3003" y="260"/>
                    <a:pt x="2997" y="255"/>
                    <a:pt x="2991" y="255"/>
                  </a:cubicBezTo>
                  <a:cubicBezTo>
                    <a:pt x="2991" y="255"/>
                    <a:pt x="2991" y="255"/>
                    <a:pt x="2991" y="255"/>
                  </a:cubicBezTo>
                  <a:moveTo>
                    <a:pt x="3023" y="255"/>
                  </a:moveTo>
                  <a:cubicBezTo>
                    <a:pt x="3017" y="255"/>
                    <a:pt x="3013" y="260"/>
                    <a:pt x="3014" y="265"/>
                  </a:cubicBezTo>
                  <a:cubicBezTo>
                    <a:pt x="3015" y="271"/>
                    <a:pt x="3021" y="275"/>
                    <a:pt x="3027" y="275"/>
                  </a:cubicBezTo>
                  <a:cubicBezTo>
                    <a:pt x="3034" y="275"/>
                    <a:pt x="3038" y="271"/>
                    <a:pt x="3037" y="265"/>
                  </a:cubicBezTo>
                  <a:cubicBezTo>
                    <a:pt x="3036" y="259"/>
                    <a:pt x="3030" y="255"/>
                    <a:pt x="3024" y="255"/>
                  </a:cubicBezTo>
                  <a:cubicBezTo>
                    <a:pt x="3024" y="255"/>
                    <a:pt x="3023" y="255"/>
                    <a:pt x="3023" y="255"/>
                  </a:cubicBezTo>
                  <a:moveTo>
                    <a:pt x="3057" y="255"/>
                  </a:moveTo>
                  <a:cubicBezTo>
                    <a:pt x="3051" y="255"/>
                    <a:pt x="3047" y="259"/>
                    <a:pt x="3048" y="265"/>
                  </a:cubicBezTo>
                  <a:cubicBezTo>
                    <a:pt x="3049" y="271"/>
                    <a:pt x="3055" y="275"/>
                    <a:pt x="3061" y="275"/>
                  </a:cubicBezTo>
                  <a:cubicBezTo>
                    <a:pt x="3068" y="275"/>
                    <a:pt x="3072" y="270"/>
                    <a:pt x="3070" y="265"/>
                  </a:cubicBezTo>
                  <a:cubicBezTo>
                    <a:pt x="3069" y="259"/>
                    <a:pt x="3063" y="255"/>
                    <a:pt x="3057" y="255"/>
                  </a:cubicBezTo>
                  <a:cubicBezTo>
                    <a:pt x="3057" y="255"/>
                    <a:pt x="3057" y="255"/>
                    <a:pt x="3057" y="255"/>
                  </a:cubicBezTo>
                  <a:moveTo>
                    <a:pt x="3089" y="254"/>
                  </a:moveTo>
                  <a:cubicBezTo>
                    <a:pt x="3083" y="254"/>
                    <a:pt x="3079" y="259"/>
                    <a:pt x="3080" y="265"/>
                  </a:cubicBezTo>
                  <a:cubicBezTo>
                    <a:pt x="3081" y="270"/>
                    <a:pt x="3087" y="275"/>
                    <a:pt x="3094" y="275"/>
                  </a:cubicBezTo>
                  <a:cubicBezTo>
                    <a:pt x="3100" y="275"/>
                    <a:pt x="3104" y="270"/>
                    <a:pt x="3103" y="264"/>
                  </a:cubicBezTo>
                  <a:cubicBezTo>
                    <a:pt x="3102" y="259"/>
                    <a:pt x="3096" y="254"/>
                    <a:pt x="3089" y="254"/>
                  </a:cubicBezTo>
                  <a:cubicBezTo>
                    <a:pt x="3089" y="254"/>
                    <a:pt x="3089" y="254"/>
                    <a:pt x="3089" y="254"/>
                  </a:cubicBezTo>
                  <a:moveTo>
                    <a:pt x="3122" y="254"/>
                  </a:moveTo>
                  <a:cubicBezTo>
                    <a:pt x="3115" y="254"/>
                    <a:pt x="3111" y="259"/>
                    <a:pt x="3113" y="264"/>
                  </a:cubicBezTo>
                  <a:cubicBezTo>
                    <a:pt x="3114" y="270"/>
                    <a:pt x="3120" y="275"/>
                    <a:pt x="3126" y="275"/>
                  </a:cubicBezTo>
                  <a:cubicBezTo>
                    <a:pt x="3133" y="275"/>
                    <a:pt x="3137" y="270"/>
                    <a:pt x="3136" y="264"/>
                  </a:cubicBezTo>
                  <a:cubicBezTo>
                    <a:pt x="3134" y="259"/>
                    <a:pt x="3128" y="254"/>
                    <a:pt x="3122" y="254"/>
                  </a:cubicBezTo>
                  <a:cubicBezTo>
                    <a:pt x="3122" y="254"/>
                    <a:pt x="3122" y="254"/>
                    <a:pt x="3122" y="254"/>
                  </a:cubicBezTo>
                  <a:moveTo>
                    <a:pt x="3155" y="254"/>
                  </a:moveTo>
                  <a:cubicBezTo>
                    <a:pt x="3148" y="254"/>
                    <a:pt x="3144" y="258"/>
                    <a:pt x="3146" y="264"/>
                  </a:cubicBezTo>
                  <a:cubicBezTo>
                    <a:pt x="3147" y="270"/>
                    <a:pt x="3153" y="274"/>
                    <a:pt x="3160" y="274"/>
                  </a:cubicBezTo>
                  <a:cubicBezTo>
                    <a:pt x="3166" y="274"/>
                    <a:pt x="3170" y="270"/>
                    <a:pt x="3168" y="264"/>
                  </a:cubicBezTo>
                  <a:cubicBezTo>
                    <a:pt x="3167" y="258"/>
                    <a:pt x="3161" y="254"/>
                    <a:pt x="3155" y="254"/>
                  </a:cubicBezTo>
                  <a:cubicBezTo>
                    <a:pt x="3155" y="254"/>
                    <a:pt x="3155" y="254"/>
                    <a:pt x="3155" y="254"/>
                  </a:cubicBezTo>
                  <a:moveTo>
                    <a:pt x="3187" y="254"/>
                  </a:moveTo>
                  <a:cubicBezTo>
                    <a:pt x="3181" y="254"/>
                    <a:pt x="3177" y="258"/>
                    <a:pt x="3178" y="264"/>
                  </a:cubicBezTo>
                  <a:cubicBezTo>
                    <a:pt x="3179" y="270"/>
                    <a:pt x="3186" y="274"/>
                    <a:pt x="3192" y="274"/>
                  </a:cubicBezTo>
                  <a:cubicBezTo>
                    <a:pt x="3198" y="274"/>
                    <a:pt x="3202" y="269"/>
                    <a:pt x="3201" y="264"/>
                  </a:cubicBezTo>
                  <a:cubicBezTo>
                    <a:pt x="3199" y="258"/>
                    <a:pt x="3193" y="254"/>
                    <a:pt x="3187" y="254"/>
                  </a:cubicBezTo>
                  <a:cubicBezTo>
                    <a:pt x="3187" y="254"/>
                    <a:pt x="3187" y="254"/>
                    <a:pt x="3187" y="254"/>
                  </a:cubicBezTo>
                  <a:moveTo>
                    <a:pt x="3219" y="253"/>
                  </a:moveTo>
                  <a:cubicBezTo>
                    <a:pt x="3213" y="253"/>
                    <a:pt x="3209" y="258"/>
                    <a:pt x="3211" y="264"/>
                  </a:cubicBezTo>
                  <a:cubicBezTo>
                    <a:pt x="3212" y="269"/>
                    <a:pt x="3218" y="274"/>
                    <a:pt x="3225" y="274"/>
                  </a:cubicBezTo>
                  <a:cubicBezTo>
                    <a:pt x="3231" y="274"/>
                    <a:pt x="3235" y="269"/>
                    <a:pt x="3233" y="263"/>
                  </a:cubicBezTo>
                  <a:cubicBezTo>
                    <a:pt x="3232" y="258"/>
                    <a:pt x="3226" y="253"/>
                    <a:pt x="3219" y="253"/>
                  </a:cubicBezTo>
                  <a:cubicBezTo>
                    <a:pt x="3219" y="253"/>
                    <a:pt x="3219" y="253"/>
                    <a:pt x="3219" y="253"/>
                  </a:cubicBezTo>
                  <a:moveTo>
                    <a:pt x="3251" y="253"/>
                  </a:moveTo>
                  <a:cubicBezTo>
                    <a:pt x="3245" y="253"/>
                    <a:pt x="3241" y="258"/>
                    <a:pt x="3243" y="263"/>
                  </a:cubicBezTo>
                  <a:cubicBezTo>
                    <a:pt x="3245" y="269"/>
                    <a:pt x="3251" y="274"/>
                    <a:pt x="3257" y="273"/>
                  </a:cubicBezTo>
                  <a:cubicBezTo>
                    <a:pt x="3264" y="273"/>
                    <a:pt x="3267" y="269"/>
                    <a:pt x="3266" y="263"/>
                  </a:cubicBezTo>
                  <a:cubicBezTo>
                    <a:pt x="3264" y="257"/>
                    <a:pt x="3258" y="253"/>
                    <a:pt x="3252" y="253"/>
                  </a:cubicBezTo>
                  <a:cubicBezTo>
                    <a:pt x="3252" y="253"/>
                    <a:pt x="3251" y="253"/>
                    <a:pt x="3251" y="253"/>
                  </a:cubicBezTo>
                  <a:moveTo>
                    <a:pt x="3284" y="253"/>
                  </a:moveTo>
                  <a:cubicBezTo>
                    <a:pt x="3277" y="253"/>
                    <a:pt x="3274" y="257"/>
                    <a:pt x="3275" y="263"/>
                  </a:cubicBezTo>
                  <a:cubicBezTo>
                    <a:pt x="3277" y="269"/>
                    <a:pt x="3283" y="273"/>
                    <a:pt x="3290" y="273"/>
                  </a:cubicBezTo>
                  <a:cubicBezTo>
                    <a:pt x="3296" y="273"/>
                    <a:pt x="3300" y="269"/>
                    <a:pt x="3298" y="263"/>
                  </a:cubicBezTo>
                  <a:cubicBezTo>
                    <a:pt x="3296" y="257"/>
                    <a:pt x="3290" y="253"/>
                    <a:pt x="3284" y="253"/>
                  </a:cubicBezTo>
                  <a:cubicBezTo>
                    <a:pt x="3284" y="253"/>
                    <a:pt x="3284" y="253"/>
                    <a:pt x="3284" y="253"/>
                  </a:cubicBezTo>
                  <a:moveTo>
                    <a:pt x="3316" y="252"/>
                  </a:moveTo>
                  <a:cubicBezTo>
                    <a:pt x="3310" y="252"/>
                    <a:pt x="3306" y="257"/>
                    <a:pt x="3308" y="263"/>
                  </a:cubicBezTo>
                  <a:cubicBezTo>
                    <a:pt x="3309" y="268"/>
                    <a:pt x="3316" y="273"/>
                    <a:pt x="3322" y="273"/>
                  </a:cubicBezTo>
                  <a:cubicBezTo>
                    <a:pt x="3329" y="273"/>
                    <a:pt x="3332" y="268"/>
                    <a:pt x="3330" y="263"/>
                  </a:cubicBezTo>
                  <a:cubicBezTo>
                    <a:pt x="3329" y="257"/>
                    <a:pt x="3322" y="252"/>
                    <a:pt x="3316" y="252"/>
                  </a:cubicBezTo>
                  <a:cubicBezTo>
                    <a:pt x="3316" y="252"/>
                    <a:pt x="3316" y="252"/>
                    <a:pt x="3316" y="252"/>
                  </a:cubicBezTo>
                  <a:moveTo>
                    <a:pt x="3348" y="252"/>
                  </a:moveTo>
                  <a:cubicBezTo>
                    <a:pt x="3342" y="252"/>
                    <a:pt x="3339" y="257"/>
                    <a:pt x="3340" y="263"/>
                  </a:cubicBezTo>
                  <a:cubicBezTo>
                    <a:pt x="3342" y="268"/>
                    <a:pt x="3349" y="273"/>
                    <a:pt x="3355" y="273"/>
                  </a:cubicBezTo>
                  <a:cubicBezTo>
                    <a:pt x="3361" y="273"/>
                    <a:pt x="3365" y="268"/>
                    <a:pt x="3363" y="262"/>
                  </a:cubicBezTo>
                  <a:cubicBezTo>
                    <a:pt x="3361" y="257"/>
                    <a:pt x="3355" y="252"/>
                    <a:pt x="3349" y="252"/>
                  </a:cubicBezTo>
                  <a:cubicBezTo>
                    <a:pt x="3349" y="252"/>
                    <a:pt x="3348" y="252"/>
                    <a:pt x="3348" y="252"/>
                  </a:cubicBezTo>
                  <a:moveTo>
                    <a:pt x="3382" y="252"/>
                  </a:moveTo>
                  <a:cubicBezTo>
                    <a:pt x="3376" y="252"/>
                    <a:pt x="3372" y="257"/>
                    <a:pt x="3374" y="262"/>
                  </a:cubicBezTo>
                  <a:cubicBezTo>
                    <a:pt x="3376" y="268"/>
                    <a:pt x="3382" y="272"/>
                    <a:pt x="3389" y="272"/>
                  </a:cubicBezTo>
                  <a:cubicBezTo>
                    <a:pt x="3395" y="272"/>
                    <a:pt x="3399" y="268"/>
                    <a:pt x="3397" y="262"/>
                  </a:cubicBezTo>
                  <a:cubicBezTo>
                    <a:pt x="3395" y="256"/>
                    <a:pt x="3388" y="252"/>
                    <a:pt x="3382" y="252"/>
                  </a:cubicBezTo>
                  <a:cubicBezTo>
                    <a:pt x="3382" y="252"/>
                    <a:pt x="3382" y="252"/>
                    <a:pt x="3382" y="252"/>
                  </a:cubicBezTo>
                  <a:moveTo>
                    <a:pt x="3414" y="252"/>
                  </a:moveTo>
                  <a:cubicBezTo>
                    <a:pt x="3408" y="252"/>
                    <a:pt x="3404" y="256"/>
                    <a:pt x="3406" y="262"/>
                  </a:cubicBezTo>
                  <a:cubicBezTo>
                    <a:pt x="3408" y="268"/>
                    <a:pt x="3415" y="272"/>
                    <a:pt x="3421" y="272"/>
                  </a:cubicBezTo>
                  <a:cubicBezTo>
                    <a:pt x="3427" y="272"/>
                    <a:pt x="3431" y="267"/>
                    <a:pt x="3429" y="262"/>
                  </a:cubicBezTo>
                  <a:cubicBezTo>
                    <a:pt x="3427" y="256"/>
                    <a:pt x="3420" y="252"/>
                    <a:pt x="3414" y="252"/>
                  </a:cubicBezTo>
                  <a:cubicBezTo>
                    <a:pt x="3414" y="252"/>
                    <a:pt x="3414" y="252"/>
                    <a:pt x="3414" y="252"/>
                  </a:cubicBezTo>
                  <a:moveTo>
                    <a:pt x="3447" y="251"/>
                  </a:moveTo>
                  <a:cubicBezTo>
                    <a:pt x="3440" y="251"/>
                    <a:pt x="3437" y="256"/>
                    <a:pt x="3439" y="262"/>
                  </a:cubicBezTo>
                  <a:cubicBezTo>
                    <a:pt x="3441" y="267"/>
                    <a:pt x="3448" y="272"/>
                    <a:pt x="3454" y="272"/>
                  </a:cubicBezTo>
                  <a:cubicBezTo>
                    <a:pt x="3460" y="272"/>
                    <a:pt x="3464" y="267"/>
                    <a:pt x="3462" y="262"/>
                  </a:cubicBezTo>
                  <a:cubicBezTo>
                    <a:pt x="3460" y="256"/>
                    <a:pt x="3453" y="251"/>
                    <a:pt x="3447" y="251"/>
                  </a:cubicBezTo>
                  <a:cubicBezTo>
                    <a:pt x="3447" y="251"/>
                    <a:pt x="3447" y="251"/>
                    <a:pt x="3447" y="251"/>
                  </a:cubicBezTo>
                  <a:moveTo>
                    <a:pt x="3479" y="251"/>
                  </a:moveTo>
                  <a:cubicBezTo>
                    <a:pt x="3473" y="251"/>
                    <a:pt x="3470" y="256"/>
                    <a:pt x="3472" y="261"/>
                  </a:cubicBezTo>
                  <a:cubicBezTo>
                    <a:pt x="3474" y="267"/>
                    <a:pt x="3481" y="272"/>
                    <a:pt x="3487" y="272"/>
                  </a:cubicBezTo>
                  <a:cubicBezTo>
                    <a:pt x="3493" y="272"/>
                    <a:pt x="3497" y="267"/>
                    <a:pt x="3495" y="261"/>
                  </a:cubicBezTo>
                  <a:cubicBezTo>
                    <a:pt x="3492" y="256"/>
                    <a:pt x="3486" y="251"/>
                    <a:pt x="3480" y="251"/>
                  </a:cubicBezTo>
                  <a:cubicBezTo>
                    <a:pt x="3479" y="251"/>
                    <a:pt x="3479" y="251"/>
                    <a:pt x="3479" y="251"/>
                  </a:cubicBezTo>
                  <a:moveTo>
                    <a:pt x="3512" y="251"/>
                  </a:moveTo>
                  <a:cubicBezTo>
                    <a:pt x="3505" y="251"/>
                    <a:pt x="3502" y="255"/>
                    <a:pt x="3504" y="261"/>
                  </a:cubicBezTo>
                  <a:cubicBezTo>
                    <a:pt x="3506" y="267"/>
                    <a:pt x="3513" y="271"/>
                    <a:pt x="3519" y="271"/>
                  </a:cubicBezTo>
                  <a:cubicBezTo>
                    <a:pt x="3526" y="271"/>
                    <a:pt x="3529" y="267"/>
                    <a:pt x="3527" y="261"/>
                  </a:cubicBezTo>
                  <a:cubicBezTo>
                    <a:pt x="3525" y="255"/>
                    <a:pt x="3518" y="251"/>
                    <a:pt x="3512" y="251"/>
                  </a:cubicBezTo>
                  <a:cubicBezTo>
                    <a:pt x="3512" y="251"/>
                    <a:pt x="3512" y="251"/>
                    <a:pt x="3512" y="251"/>
                  </a:cubicBezTo>
                  <a:moveTo>
                    <a:pt x="3544" y="251"/>
                  </a:moveTo>
                  <a:cubicBezTo>
                    <a:pt x="3538" y="251"/>
                    <a:pt x="3534" y="255"/>
                    <a:pt x="3537" y="261"/>
                  </a:cubicBezTo>
                  <a:cubicBezTo>
                    <a:pt x="3539" y="267"/>
                    <a:pt x="3546" y="271"/>
                    <a:pt x="3552" y="271"/>
                  </a:cubicBezTo>
                  <a:cubicBezTo>
                    <a:pt x="3558" y="271"/>
                    <a:pt x="3562" y="266"/>
                    <a:pt x="3559" y="261"/>
                  </a:cubicBezTo>
                  <a:cubicBezTo>
                    <a:pt x="3557" y="255"/>
                    <a:pt x="3550" y="251"/>
                    <a:pt x="3544" y="251"/>
                  </a:cubicBezTo>
                  <a:cubicBezTo>
                    <a:pt x="3544" y="251"/>
                    <a:pt x="3544" y="251"/>
                    <a:pt x="3544" y="251"/>
                  </a:cubicBezTo>
                  <a:moveTo>
                    <a:pt x="3576" y="250"/>
                  </a:moveTo>
                  <a:cubicBezTo>
                    <a:pt x="3570" y="250"/>
                    <a:pt x="3567" y="255"/>
                    <a:pt x="3569" y="261"/>
                  </a:cubicBezTo>
                  <a:cubicBezTo>
                    <a:pt x="3571" y="266"/>
                    <a:pt x="3578" y="271"/>
                    <a:pt x="3585" y="271"/>
                  </a:cubicBezTo>
                  <a:cubicBezTo>
                    <a:pt x="3591" y="271"/>
                    <a:pt x="3594" y="266"/>
                    <a:pt x="3592" y="260"/>
                  </a:cubicBezTo>
                  <a:cubicBezTo>
                    <a:pt x="3589" y="255"/>
                    <a:pt x="3583" y="250"/>
                    <a:pt x="3576" y="250"/>
                  </a:cubicBezTo>
                  <a:cubicBezTo>
                    <a:pt x="3576" y="250"/>
                    <a:pt x="3576" y="250"/>
                    <a:pt x="3576" y="250"/>
                  </a:cubicBezTo>
                  <a:moveTo>
                    <a:pt x="3609" y="250"/>
                  </a:moveTo>
                  <a:cubicBezTo>
                    <a:pt x="3603" y="250"/>
                    <a:pt x="3600" y="255"/>
                    <a:pt x="3602" y="260"/>
                  </a:cubicBezTo>
                  <a:cubicBezTo>
                    <a:pt x="3604" y="266"/>
                    <a:pt x="3611" y="271"/>
                    <a:pt x="3618" y="271"/>
                  </a:cubicBezTo>
                  <a:cubicBezTo>
                    <a:pt x="3624" y="270"/>
                    <a:pt x="3627" y="266"/>
                    <a:pt x="3625" y="260"/>
                  </a:cubicBezTo>
                  <a:cubicBezTo>
                    <a:pt x="3622" y="254"/>
                    <a:pt x="3616" y="250"/>
                    <a:pt x="3609" y="250"/>
                  </a:cubicBezTo>
                  <a:cubicBezTo>
                    <a:pt x="3609" y="250"/>
                    <a:pt x="3609" y="250"/>
                    <a:pt x="3609" y="250"/>
                  </a:cubicBezTo>
                  <a:moveTo>
                    <a:pt x="3642" y="250"/>
                  </a:moveTo>
                  <a:cubicBezTo>
                    <a:pt x="3635" y="250"/>
                    <a:pt x="3632" y="254"/>
                    <a:pt x="3635" y="260"/>
                  </a:cubicBezTo>
                  <a:cubicBezTo>
                    <a:pt x="3637" y="266"/>
                    <a:pt x="3644" y="270"/>
                    <a:pt x="3650" y="270"/>
                  </a:cubicBezTo>
                  <a:cubicBezTo>
                    <a:pt x="3657" y="270"/>
                    <a:pt x="3660" y="266"/>
                    <a:pt x="3657" y="260"/>
                  </a:cubicBezTo>
                  <a:cubicBezTo>
                    <a:pt x="3655" y="254"/>
                    <a:pt x="3648" y="250"/>
                    <a:pt x="3642" y="250"/>
                  </a:cubicBezTo>
                  <a:cubicBezTo>
                    <a:pt x="3642" y="250"/>
                    <a:pt x="3642" y="250"/>
                    <a:pt x="3642" y="250"/>
                  </a:cubicBezTo>
                  <a:moveTo>
                    <a:pt x="3675" y="249"/>
                  </a:moveTo>
                  <a:cubicBezTo>
                    <a:pt x="3669" y="249"/>
                    <a:pt x="3666" y="254"/>
                    <a:pt x="3668" y="260"/>
                  </a:cubicBezTo>
                  <a:cubicBezTo>
                    <a:pt x="3671" y="265"/>
                    <a:pt x="3678" y="270"/>
                    <a:pt x="3684" y="270"/>
                  </a:cubicBezTo>
                  <a:cubicBezTo>
                    <a:pt x="3690" y="270"/>
                    <a:pt x="3694" y="265"/>
                    <a:pt x="3691" y="260"/>
                  </a:cubicBezTo>
                  <a:cubicBezTo>
                    <a:pt x="3688" y="254"/>
                    <a:pt x="3681" y="249"/>
                    <a:pt x="3675" y="249"/>
                  </a:cubicBezTo>
                  <a:cubicBezTo>
                    <a:pt x="3675" y="249"/>
                    <a:pt x="3675" y="249"/>
                    <a:pt x="3675" y="249"/>
                  </a:cubicBezTo>
                  <a:moveTo>
                    <a:pt x="181" y="249"/>
                  </a:moveTo>
                  <a:cubicBezTo>
                    <a:pt x="175" y="249"/>
                    <a:pt x="166" y="254"/>
                    <a:pt x="161" y="260"/>
                  </a:cubicBezTo>
                  <a:cubicBezTo>
                    <a:pt x="156" y="265"/>
                    <a:pt x="157" y="270"/>
                    <a:pt x="163" y="270"/>
                  </a:cubicBezTo>
                  <a:cubicBezTo>
                    <a:pt x="170" y="269"/>
                    <a:pt x="179" y="265"/>
                    <a:pt x="184" y="259"/>
                  </a:cubicBezTo>
                  <a:cubicBezTo>
                    <a:pt x="189" y="254"/>
                    <a:pt x="187" y="249"/>
                    <a:pt x="181" y="249"/>
                  </a:cubicBezTo>
                  <a:cubicBezTo>
                    <a:pt x="181" y="249"/>
                    <a:pt x="181" y="249"/>
                    <a:pt x="181" y="249"/>
                  </a:cubicBezTo>
                  <a:moveTo>
                    <a:pt x="3707" y="249"/>
                  </a:moveTo>
                  <a:cubicBezTo>
                    <a:pt x="3701" y="249"/>
                    <a:pt x="3698" y="254"/>
                    <a:pt x="3701" y="260"/>
                  </a:cubicBezTo>
                  <a:cubicBezTo>
                    <a:pt x="3703" y="265"/>
                    <a:pt x="3710" y="270"/>
                    <a:pt x="3717" y="270"/>
                  </a:cubicBezTo>
                  <a:cubicBezTo>
                    <a:pt x="3723" y="270"/>
                    <a:pt x="3726" y="265"/>
                    <a:pt x="3723" y="259"/>
                  </a:cubicBezTo>
                  <a:cubicBezTo>
                    <a:pt x="3721" y="254"/>
                    <a:pt x="3714" y="249"/>
                    <a:pt x="3707" y="249"/>
                  </a:cubicBezTo>
                  <a:cubicBezTo>
                    <a:pt x="3707" y="249"/>
                    <a:pt x="3707" y="249"/>
                    <a:pt x="3707" y="249"/>
                  </a:cubicBezTo>
                  <a:moveTo>
                    <a:pt x="213" y="249"/>
                  </a:moveTo>
                  <a:cubicBezTo>
                    <a:pt x="207" y="249"/>
                    <a:pt x="198" y="254"/>
                    <a:pt x="193" y="259"/>
                  </a:cubicBezTo>
                  <a:cubicBezTo>
                    <a:pt x="188" y="265"/>
                    <a:pt x="189" y="269"/>
                    <a:pt x="196" y="269"/>
                  </a:cubicBezTo>
                  <a:cubicBezTo>
                    <a:pt x="202" y="269"/>
                    <a:pt x="211" y="265"/>
                    <a:pt x="216" y="259"/>
                  </a:cubicBezTo>
                  <a:cubicBezTo>
                    <a:pt x="221" y="254"/>
                    <a:pt x="220" y="249"/>
                    <a:pt x="213" y="249"/>
                  </a:cubicBezTo>
                  <a:cubicBezTo>
                    <a:pt x="213" y="249"/>
                    <a:pt x="213" y="249"/>
                    <a:pt x="213" y="249"/>
                  </a:cubicBezTo>
                  <a:moveTo>
                    <a:pt x="3740" y="249"/>
                  </a:moveTo>
                  <a:cubicBezTo>
                    <a:pt x="3733" y="249"/>
                    <a:pt x="3731" y="254"/>
                    <a:pt x="3733" y="259"/>
                  </a:cubicBezTo>
                  <a:cubicBezTo>
                    <a:pt x="3736" y="265"/>
                    <a:pt x="3743" y="269"/>
                    <a:pt x="3749" y="269"/>
                  </a:cubicBezTo>
                  <a:cubicBezTo>
                    <a:pt x="3756" y="269"/>
                    <a:pt x="3759" y="265"/>
                    <a:pt x="3756" y="259"/>
                  </a:cubicBezTo>
                  <a:cubicBezTo>
                    <a:pt x="3753" y="253"/>
                    <a:pt x="3746" y="249"/>
                    <a:pt x="3740" y="249"/>
                  </a:cubicBezTo>
                  <a:cubicBezTo>
                    <a:pt x="3740" y="249"/>
                    <a:pt x="3740" y="249"/>
                    <a:pt x="3740" y="249"/>
                  </a:cubicBezTo>
                  <a:moveTo>
                    <a:pt x="246" y="249"/>
                  </a:moveTo>
                  <a:cubicBezTo>
                    <a:pt x="240" y="249"/>
                    <a:pt x="231" y="253"/>
                    <a:pt x="226" y="259"/>
                  </a:cubicBezTo>
                  <a:cubicBezTo>
                    <a:pt x="221" y="265"/>
                    <a:pt x="222" y="269"/>
                    <a:pt x="228" y="269"/>
                  </a:cubicBezTo>
                  <a:cubicBezTo>
                    <a:pt x="235" y="269"/>
                    <a:pt x="244" y="264"/>
                    <a:pt x="248" y="259"/>
                  </a:cubicBezTo>
                  <a:cubicBezTo>
                    <a:pt x="253" y="253"/>
                    <a:pt x="252" y="249"/>
                    <a:pt x="246" y="249"/>
                  </a:cubicBezTo>
                  <a:cubicBezTo>
                    <a:pt x="246" y="249"/>
                    <a:pt x="246" y="249"/>
                    <a:pt x="246" y="249"/>
                  </a:cubicBezTo>
                  <a:moveTo>
                    <a:pt x="3772" y="249"/>
                  </a:moveTo>
                  <a:cubicBezTo>
                    <a:pt x="3766" y="249"/>
                    <a:pt x="3763" y="253"/>
                    <a:pt x="3766" y="259"/>
                  </a:cubicBezTo>
                  <a:cubicBezTo>
                    <a:pt x="3769" y="265"/>
                    <a:pt x="3776" y="269"/>
                    <a:pt x="3782" y="269"/>
                  </a:cubicBezTo>
                  <a:cubicBezTo>
                    <a:pt x="3789" y="269"/>
                    <a:pt x="3792" y="264"/>
                    <a:pt x="3789" y="259"/>
                  </a:cubicBezTo>
                  <a:cubicBezTo>
                    <a:pt x="3786" y="253"/>
                    <a:pt x="3779" y="249"/>
                    <a:pt x="3773" y="249"/>
                  </a:cubicBezTo>
                  <a:cubicBezTo>
                    <a:pt x="3773" y="249"/>
                    <a:pt x="3773" y="249"/>
                    <a:pt x="3772" y="249"/>
                  </a:cubicBezTo>
                  <a:moveTo>
                    <a:pt x="278" y="248"/>
                  </a:moveTo>
                  <a:cubicBezTo>
                    <a:pt x="272" y="249"/>
                    <a:pt x="263" y="253"/>
                    <a:pt x="258" y="259"/>
                  </a:cubicBezTo>
                  <a:cubicBezTo>
                    <a:pt x="253" y="264"/>
                    <a:pt x="254" y="269"/>
                    <a:pt x="261" y="269"/>
                  </a:cubicBezTo>
                  <a:cubicBezTo>
                    <a:pt x="267" y="269"/>
                    <a:pt x="276" y="264"/>
                    <a:pt x="281" y="259"/>
                  </a:cubicBezTo>
                  <a:cubicBezTo>
                    <a:pt x="285" y="253"/>
                    <a:pt x="284" y="248"/>
                    <a:pt x="278" y="248"/>
                  </a:cubicBezTo>
                  <a:cubicBezTo>
                    <a:pt x="278" y="248"/>
                    <a:pt x="278" y="248"/>
                    <a:pt x="278" y="248"/>
                  </a:cubicBezTo>
                  <a:moveTo>
                    <a:pt x="3805" y="248"/>
                  </a:moveTo>
                  <a:cubicBezTo>
                    <a:pt x="3798" y="248"/>
                    <a:pt x="3796" y="253"/>
                    <a:pt x="3798" y="259"/>
                  </a:cubicBezTo>
                  <a:cubicBezTo>
                    <a:pt x="3801" y="264"/>
                    <a:pt x="3808" y="269"/>
                    <a:pt x="3815" y="269"/>
                  </a:cubicBezTo>
                  <a:cubicBezTo>
                    <a:pt x="3821" y="269"/>
                    <a:pt x="3824" y="264"/>
                    <a:pt x="3821" y="259"/>
                  </a:cubicBezTo>
                  <a:cubicBezTo>
                    <a:pt x="3818" y="253"/>
                    <a:pt x="3811" y="248"/>
                    <a:pt x="3805" y="248"/>
                  </a:cubicBezTo>
                  <a:cubicBezTo>
                    <a:pt x="3805" y="248"/>
                    <a:pt x="3805" y="248"/>
                    <a:pt x="3805" y="248"/>
                  </a:cubicBezTo>
                  <a:moveTo>
                    <a:pt x="310" y="248"/>
                  </a:moveTo>
                  <a:cubicBezTo>
                    <a:pt x="304" y="248"/>
                    <a:pt x="295" y="253"/>
                    <a:pt x="290" y="258"/>
                  </a:cubicBezTo>
                  <a:cubicBezTo>
                    <a:pt x="286" y="264"/>
                    <a:pt x="287" y="268"/>
                    <a:pt x="293" y="268"/>
                  </a:cubicBezTo>
                  <a:cubicBezTo>
                    <a:pt x="299" y="268"/>
                    <a:pt x="308" y="264"/>
                    <a:pt x="313" y="258"/>
                  </a:cubicBezTo>
                  <a:cubicBezTo>
                    <a:pt x="318" y="253"/>
                    <a:pt x="316" y="248"/>
                    <a:pt x="310" y="248"/>
                  </a:cubicBezTo>
                  <a:cubicBezTo>
                    <a:pt x="310" y="248"/>
                    <a:pt x="310" y="248"/>
                    <a:pt x="310" y="248"/>
                  </a:cubicBezTo>
                  <a:moveTo>
                    <a:pt x="3837" y="248"/>
                  </a:moveTo>
                  <a:cubicBezTo>
                    <a:pt x="3831" y="248"/>
                    <a:pt x="3828" y="253"/>
                    <a:pt x="3831" y="258"/>
                  </a:cubicBezTo>
                  <a:cubicBezTo>
                    <a:pt x="3834" y="264"/>
                    <a:pt x="3841" y="269"/>
                    <a:pt x="3847" y="269"/>
                  </a:cubicBezTo>
                  <a:cubicBezTo>
                    <a:pt x="3854" y="269"/>
                    <a:pt x="3856" y="264"/>
                    <a:pt x="3854" y="258"/>
                  </a:cubicBezTo>
                  <a:cubicBezTo>
                    <a:pt x="3851" y="253"/>
                    <a:pt x="3843" y="248"/>
                    <a:pt x="3837" y="248"/>
                  </a:cubicBezTo>
                  <a:cubicBezTo>
                    <a:pt x="3837" y="248"/>
                    <a:pt x="3837" y="248"/>
                    <a:pt x="3837" y="248"/>
                  </a:cubicBezTo>
                  <a:moveTo>
                    <a:pt x="342" y="248"/>
                  </a:moveTo>
                  <a:cubicBezTo>
                    <a:pt x="336" y="248"/>
                    <a:pt x="327" y="253"/>
                    <a:pt x="323" y="258"/>
                  </a:cubicBezTo>
                  <a:cubicBezTo>
                    <a:pt x="318" y="264"/>
                    <a:pt x="319" y="268"/>
                    <a:pt x="326" y="268"/>
                  </a:cubicBezTo>
                  <a:cubicBezTo>
                    <a:pt x="332" y="268"/>
                    <a:pt x="341" y="264"/>
                    <a:pt x="345" y="258"/>
                  </a:cubicBezTo>
                  <a:cubicBezTo>
                    <a:pt x="350" y="252"/>
                    <a:pt x="349" y="248"/>
                    <a:pt x="343" y="248"/>
                  </a:cubicBezTo>
                  <a:cubicBezTo>
                    <a:pt x="342" y="248"/>
                    <a:pt x="342" y="248"/>
                    <a:pt x="342" y="248"/>
                  </a:cubicBezTo>
                  <a:moveTo>
                    <a:pt x="3869" y="248"/>
                  </a:moveTo>
                  <a:cubicBezTo>
                    <a:pt x="3863" y="248"/>
                    <a:pt x="3860" y="252"/>
                    <a:pt x="3863" y="258"/>
                  </a:cubicBezTo>
                  <a:cubicBezTo>
                    <a:pt x="3866" y="264"/>
                    <a:pt x="3873" y="268"/>
                    <a:pt x="3880" y="268"/>
                  </a:cubicBezTo>
                  <a:cubicBezTo>
                    <a:pt x="3886" y="268"/>
                    <a:pt x="3889" y="264"/>
                    <a:pt x="3886" y="258"/>
                  </a:cubicBezTo>
                  <a:cubicBezTo>
                    <a:pt x="3883" y="252"/>
                    <a:pt x="3876" y="248"/>
                    <a:pt x="3869" y="248"/>
                  </a:cubicBezTo>
                  <a:cubicBezTo>
                    <a:pt x="3869" y="248"/>
                    <a:pt x="3869" y="248"/>
                    <a:pt x="3869" y="248"/>
                  </a:cubicBezTo>
                  <a:moveTo>
                    <a:pt x="376" y="248"/>
                  </a:moveTo>
                  <a:cubicBezTo>
                    <a:pt x="370" y="248"/>
                    <a:pt x="361" y="252"/>
                    <a:pt x="357" y="258"/>
                  </a:cubicBezTo>
                  <a:cubicBezTo>
                    <a:pt x="352" y="263"/>
                    <a:pt x="353" y="268"/>
                    <a:pt x="360" y="268"/>
                  </a:cubicBezTo>
                  <a:cubicBezTo>
                    <a:pt x="366" y="268"/>
                    <a:pt x="375" y="263"/>
                    <a:pt x="379" y="258"/>
                  </a:cubicBezTo>
                  <a:cubicBezTo>
                    <a:pt x="384" y="252"/>
                    <a:pt x="382" y="248"/>
                    <a:pt x="376" y="248"/>
                  </a:cubicBezTo>
                  <a:cubicBezTo>
                    <a:pt x="376" y="248"/>
                    <a:pt x="376" y="248"/>
                    <a:pt x="376" y="248"/>
                  </a:cubicBezTo>
                  <a:moveTo>
                    <a:pt x="3901" y="248"/>
                  </a:moveTo>
                  <a:cubicBezTo>
                    <a:pt x="3895" y="248"/>
                    <a:pt x="3893" y="252"/>
                    <a:pt x="3895" y="258"/>
                  </a:cubicBezTo>
                  <a:cubicBezTo>
                    <a:pt x="3898" y="264"/>
                    <a:pt x="3906" y="268"/>
                    <a:pt x="3912" y="268"/>
                  </a:cubicBezTo>
                  <a:cubicBezTo>
                    <a:pt x="3919" y="268"/>
                    <a:pt x="3921" y="263"/>
                    <a:pt x="3918" y="258"/>
                  </a:cubicBezTo>
                  <a:cubicBezTo>
                    <a:pt x="3915" y="252"/>
                    <a:pt x="3908" y="247"/>
                    <a:pt x="3902" y="247"/>
                  </a:cubicBezTo>
                  <a:cubicBezTo>
                    <a:pt x="3902" y="247"/>
                    <a:pt x="3901" y="248"/>
                    <a:pt x="3901" y="248"/>
                  </a:cubicBezTo>
                  <a:moveTo>
                    <a:pt x="408" y="247"/>
                  </a:moveTo>
                  <a:cubicBezTo>
                    <a:pt x="402" y="247"/>
                    <a:pt x="393" y="252"/>
                    <a:pt x="389" y="258"/>
                  </a:cubicBezTo>
                  <a:cubicBezTo>
                    <a:pt x="384" y="263"/>
                    <a:pt x="386" y="268"/>
                    <a:pt x="392" y="268"/>
                  </a:cubicBezTo>
                  <a:cubicBezTo>
                    <a:pt x="398" y="268"/>
                    <a:pt x="407" y="263"/>
                    <a:pt x="412" y="257"/>
                  </a:cubicBezTo>
                  <a:cubicBezTo>
                    <a:pt x="416" y="252"/>
                    <a:pt x="415" y="247"/>
                    <a:pt x="408" y="247"/>
                  </a:cubicBezTo>
                  <a:cubicBezTo>
                    <a:pt x="408" y="247"/>
                    <a:pt x="408" y="247"/>
                    <a:pt x="408" y="247"/>
                  </a:cubicBezTo>
                  <a:moveTo>
                    <a:pt x="3934" y="247"/>
                  </a:moveTo>
                  <a:cubicBezTo>
                    <a:pt x="3927" y="247"/>
                    <a:pt x="3925" y="252"/>
                    <a:pt x="3928" y="258"/>
                  </a:cubicBezTo>
                  <a:cubicBezTo>
                    <a:pt x="3931" y="263"/>
                    <a:pt x="3938" y="268"/>
                    <a:pt x="3945" y="268"/>
                  </a:cubicBezTo>
                  <a:cubicBezTo>
                    <a:pt x="3951" y="268"/>
                    <a:pt x="3954" y="263"/>
                    <a:pt x="3951" y="257"/>
                  </a:cubicBezTo>
                  <a:cubicBezTo>
                    <a:pt x="3947" y="252"/>
                    <a:pt x="3940" y="247"/>
                    <a:pt x="3934" y="247"/>
                  </a:cubicBezTo>
                  <a:cubicBezTo>
                    <a:pt x="3934" y="247"/>
                    <a:pt x="3934" y="247"/>
                    <a:pt x="3934" y="247"/>
                  </a:cubicBezTo>
                  <a:moveTo>
                    <a:pt x="441" y="247"/>
                  </a:moveTo>
                  <a:cubicBezTo>
                    <a:pt x="434" y="247"/>
                    <a:pt x="426" y="252"/>
                    <a:pt x="421" y="257"/>
                  </a:cubicBezTo>
                  <a:cubicBezTo>
                    <a:pt x="417" y="263"/>
                    <a:pt x="418" y="267"/>
                    <a:pt x="425" y="267"/>
                  </a:cubicBezTo>
                  <a:cubicBezTo>
                    <a:pt x="431" y="267"/>
                    <a:pt x="440" y="263"/>
                    <a:pt x="444" y="257"/>
                  </a:cubicBezTo>
                  <a:cubicBezTo>
                    <a:pt x="448" y="252"/>
                    <a:pt x="447" y="247"/>
                    <a:pt x="441" y="247"/>
                  </a:cubicBezTo>
                  <a:cubicBezTo>
                    <a:pt x="441" y="247"/>
                    <a:pt x="441" y="247"/>
                    <a:pt x="441" y="247"/>
                  </a:cubicBezTo>
                  <a:moveTo>
                    <a:pt x="474" y="247"/>
                  </a:moveTo>
                  <a:cubicBezTo>
                    <a:pt x="468" y="247"/>
                    <a:pt x="459" y="251"/>
                    <a:pt x="455" y="257"/>
                  </a:cubicBezTo>
                  <a:cubicBezTo>
                    <a:pt x="451" y="263"/>
                    <a:pt x="452" y="267"/>
                    <a:pt x="459" y="267"/>
                  </a:cubicBezTo>
                  <a:cubicBezTo>
                    <a:pt x="465" y="267"/>
                    <a:pt x="473" y="262"/>
                    <a:pt x="478" y="257"/>
                  </a:cubicBezTo>
                  <a:cubicBezTo>
                    <a:pt x="482" y="251"/>
                    <a:pt x="480" y="247"/>
                    <a:pt x="474" y="247"/>
                  </a:cubicBezTo>
                  <a:cubicBezTo>
                    <a:pt x="474" y="247"/>
                    <a:pt x="474" y="247"/>
                    <a:pt x="474" y="247"/>
                  </a:cubicBezTo>
                  <a:moveTo>
                    <a:pt x="506" y="247"/>
                  </a:moveTo>
                  <a:cubicBezTo>
                    <a:pt x="500" y="247"/>
                    <a:pt x="492" y="251"/>
                    <a:pt x="487" y="257"/>
                  </a:cubicBezTo>
                  <a:cubicBezTo>
                    <a:pt x="483" y="262"/>
                    <a:pt x="485" y="267"/>
                    <a:pt x="491" y="267"/>
                  </a:cubicBezTo>
                  <a:cubicBezTo>
                    <a:pt x="497" y="267"/>
                    <a:pt x="506" y="262"/>
                    <a:pt x="510" y="257"/>
                  </a:cubicBezTo>
                  <a:cubicBezTo>
                    <a:pt x="514" y="251"/>
                    <a:pt x="513" y="247"/>
                    <a:pt x="506" y="247"/>
                  </a:cubicBezTo>
                  <a:cubicBezTo>
                    <a:pt x="506" y="247"/>
                    <a:pt x="506" y="247"/>
                    <a:pt x="506" y="247"/>
                  </a:cubicBezTo>
                  <a:moveTo>
                    <a:pt x="539" y="246"/>
                  </a:moveTo>
                  <a:cubicBezTo>
                    <a:pt x="532" y="246"/>
                    <a:pt x="524" y="251"/>
                    <a:pt x="520" y="256"/>
                  </a:cubicBezTo>
                  <a:cubicBezTo>
                    <a:pt x="516" y="262"/>
                    <a:pt x="517" y="267"/>
                    <a:pt x="524" y="267"/>
                  </a:cubicBezTo>
                  <a:cubicBezTo>
                    <a:pt x="530" y="266"/>
                    <a:pt x="538" y="262"/>
                    <a:pt x="542" y="256"/>
                  </a:cubicBezTo>
                  <a:cubicBezTo>
                    <a:pt x="547" y="251"/>
                    <a:pt x="545" y="246"/>
                    <a:pt x="539" y="246"/>
                  </a:cubicBezTo>
                  <a:cubicBezTo>
                    <a:pt x="539" y="246"/>
                    <a:pt x="539" y="246"/>
                    <a:pt x="539" y="246"/>
                  </a:cubicBezTo>
                  <a:moveTo>
                    <a:pt x="4063" y="246"/>
                  </a:moveTo>
                  <a:cubicBezTo>
                    <a:pt x="4057" y="246"/>
                    <a:pt x="4055" y="251"/>
                    <a:pt x="4058" y="257"/>
                  </a:cubicBezTo>
                  <a:cubicBezTo>
                    <a:pt x="4061" y="262"/>
                    <a:pt x="4069" y="267"/>
                    <a:pt x="4075" y="267"/>
                  </a:cubicBezTo>
                  <a:cubicBezTo>
                    <a:pt x="4082" y="267"/>
                    <a:pt x="4084" y="262"/>
                    <a:pt x="4081" y="256"/>
                  </a:cubicBezTo>
                  <a:cubicBezTo>
                    <a:pt x="4077" y="251"/>
                    <a:pt x="4070" y="246"/>
                    <a:pt x="4063" y="246"/>
                  </a:cubicBezTo>
                  <a:cubicBezTo>
                    <a:pt x="4063" y="246"/>
                    <a:pt x="4063" y="246"/>
                    <a:pt x="4063" y="246"/>
                  </a:cubicBezTo>
                  <a:moveTo>
                    <a:pt x="571" y="246"/>
                  </a:moveTo>
                  <a:cubicBezTo>
                    <a:pt x="565" y="246"/>
                    <a:pt x="556" y="251"/>
                    <a:pt x="552" y="256"/>
                  </a:cubicBezTo>
                  <a:cubicBezTo>
                    <a:pt x="548" y="262"/>
                    <a:pt x="550" y="266"/>
                    <a:pt x="556" y="266"/>
                  </a:cubicBezTo>
                  <a:cubicBezTo>
                    <a:pt x="562" y="266"/>
                    <a:pt x="571" y="262"/>
                    <a:pt x="575" y="256"/>
                  </a:cubicBezTo>
                  <a:cubicBezTo>
                    <a:pt x="579" y="250"/>
                    <a:pt x="577" y="246"/>
                    <a:pt x="571" y="246"/>
                  </a:cubicBezTo>
                  <a:cubicBezTo>
                    <a:pt x="571" y="246"/>
                    <a:pt x="571" y="246"/>
                    <a:pt x="571" y="246"/>
                  </a:cubicBezTo>
                  <a:moveTo>
                    <a:pt x="4095" y="246"/>
                  </a:moveTo>
                  <a:cubicBezTo>
                    <a:pt x="4089" y="246"/>
                    <a:pt x="4087" y="251"/>
                    <a:pt x="4090" y="256"/>
                  </a:cubicBezTo>
                  <a:cubicBezTo>
                    <a:pt x="4094" y="262"/>
                    <a:pt x="4101" y="267"/>
                    <a:pt x="4108" y="266"/>
                  </a:cubicBezTo>
                  <a:cubicBezTo>
                    <a:pt x="4114" y="266"/>
                    <a:pt x="4116" y="262"/>
                    <a:pt x="4113" y="256"/>
                  </a:cubicBezTo>
                  <a:cubicBezTo>
                    <a:pt x="4110" y="250"/>
                    <a:pt x="4102" y="246"/>
                    <a:pt x="4096" y="246"/>
                  </a:cubicBezTo>
                  <a:cubicBezTo>
                    <a:pt x="4096" y="246"/>
                    <a:pt x="4095" y="246"/>
                    <a:pt x="4095" y="246"/>
                  </a:cubicBezTo>
                  <a:moveTo>
                    <a:pt x="603" y="246"/>
                  </a:moveTo>
                  <a:cubicBezTo>
                    <a:pt x="597" y="246"/>
                    <a:pt x="589" y="250"/>
                    <a:pt x="585" y="256"/>
                  </a:cubicBezTo>
                  <a:cubicBezTo>
                    <a:pt x="580" y="262"/>
                    <a:pt x="582" y="266"/>
                    <a:pt x="589" y="266"/>
                  </a:cubicBezTo>
                  <a:cubicBezTo>
                    <a:pt x="595" y="266"/>
                    <a:pt x="603" y="261"/>
                    <a:pt x="607" y="256"/>
                  </a:cubicBezTo>
                  <a:cubicBezTo>
                    <a:pt x="611" y="250"/>
                    <a:pt x="609" y="246"/>
                    <a:pt x="603" y="246"/>
                  </a:cubicBezTo>
                  <a:cubicBezTo>
                    <a:pt x="603" y="246"/>
                    <a:pt x="603" y="246"/>
                    <a:pt x="603" y="246"/>
                  </a:cubicBezTo>
                  <a:moveTo>
                    <a:pt x="4127" y="246"/>
                  </a:moveTo>
                  <a:cubicBezTo>
                    <a:pt x="4121" y="246"/>
                    <a:pt x="4118" y="250"/>
                    <a:pt x="4122" y="256"/>
                  </a:cubicBezTo>
                  <a:cubicBezTo>
                    <a:pt x="4125" y="262"/>
                    <a:pt x="4133" y="266"/>
                    <a:pt x="4139" y="266"/>
                  </a:cubicBezTo>
                  <a:cubicBezTo>
                    <a:pt x="4146" y="266"/>
                    <a:pt x="4148" y="262"/>
                    <a:pt x="4145" y="256"/>
                  </a:cubicBezTo>
                  <a:cubicBezTo>
                    <a:pt x="4141" y="250"/>
                    <a:pt x="4133" y="246"/>
                    <a:pt x="4127" y="246"/>
                  </a:cubicBezTo>
                  <a:cubicBezTo>
                    <a:pt x="4127" y="246"/>
                    <a:pt x="4127" y="246"/>
                    <a:pt x="4127" y="246"/>
                  </a:cubicBezTo>
                  <a:moveTo>
                    <a:pt x="637" y="245"/>
                  </a:moveTo>
                  <a:cubicBezTo>
                    <a:pt x="630" y="245"/>
                    <a:pt x="622" y="250"/>
                    <a:pt x="618" y="256"/>
                  </a:cubicBezTo>
                  <a:cubicBezTo>
                    <a:pt x="614" y="261"/>
                    <a:pt x="616" y="266"/>
                    <a:pt x="622" y="266"/>
                  </a:cubicBezTo>
                  <a:cubicBezTo>
                    <a:pt x="628" y="266"/>
                    <a:pt x="637" y="261"/>
                    <a:pt x="641" y="255"/>
                  </a:cubicBezTo>
                  <a:cubicBezTo>
                    <a:pt x="645" y="250"/>
                    <a:pt x="643" y="245"/>
                    <a:pt x="637" y="245"/>
                  </a:cubicBezTo>
                  <a:cubicBezTo>
                    <a:pt x="637" y="245"/>
                    <a:pt x="637" y="245"/>
                    <a:pt x="637" y="245"/>
                  </a:cubicBezTo>
                  <a:moveTo>
                    <a:pt x="669" y="245"/>
                  </a:moveTo>
                  <a:cubicBezTo>
                    <a:pt x="662" y="245"/>
                    <a:pt x="654" y="250"/>
                    <a:pt x="650" y="255"/>
                  </a:cubicBezTo>
                  <a:cubicBezTo>
                    <a:pt x="646" y="261"/>
                    <a:pt x="648" y="265"/>
                    <a:pt x="655" y="265"/>
                  </a:cubicBezTo>
                  <a:cubicBezTo>
                    <a:pt x="661" y="265"/>
                    <a:pt x="669" y="261"/>
                    <a:pt x="673" y="255"/>
                  </a:cubicBezTo>
                  <a:cubicBezTo>
                    <a:pt x="677" y="250"/>
                    <a:pt x="675" y="245"/>
                    <a:pt x="669" y="245"/>
                  </a:cubicBezTo>
                  <a:cubicBezTo>
                    <a:pt x="669" y="245"/>
                    <a:pt x="669" y="245"/>
                    <a:pt x="669" y="245"/>
                  </a:cubicBezTo>
                  <a:moveTo>
                    <a:pt x="701" y="245"/>
                  </a:moveTo>
                  <a:cubicBezTo>
                    <a:pt x="695" y="245"/>
                    <a:pt x="687" y="250"/>
                    <a:pt x="683" y="255"/>
                  </a:cubicBezTo>
                  <a:cubicBezTo>
                    <a:pt x="679" y="261"/>
                    <a:pt x="681" y="265"/>
                    <a:pt x="687" y="265"/>
                  </a:cubicBezTo>
                  <a:cubicBezTo>
                    <a:pt x="694" y="265"/>
                    <a:pt x="702" y="261"/>
                    <a:pt x="706" y="255"/>
                  </a:cubicBezTo>
                  <a:cubicBezTo>
                    <a:pt x="709" y="249"/>
                    <a:pt x="707" y="245"/>
                    <a:pt x="701" y="245"/>
                  </a:cubicBezTo>
                  <a:cubicBezTo>
                    <a:pt x="701" y="245"/>
                    <a:pt x="701" y="245"/>
                    <a:pt x="701" y="245"/>
                  </a:cubicBezTo>
                  <a:moveTo>
                    <a:pt x="734" y="245"/>
                  </a:moveTo>
                  <a:cubicBezTo>
                    <a:pt x="728" y="245"/>
                    <a:pt x="719" y="249"/>
                    <a:pt x="716" y="255"/>
                  </a:cubicBezTo>
                  <a:cubicBezTo>
                    <a:pt x="712" y="260"/>
                    <a:pt x="714" y="265"/>
                    <a:pt x="720" y="265"/>
                  </a:cubicBezTo>
                  <a:cubicBezTo>
                    <a:pt x="726" y="265"/>
                    <a:pt x="735" y="260"/>
                    <a:pt x="738" y="255"/>
                  </a:cubicBezTo>
                  <a:cubicBezTo>
                    <a:pt x="742" y="249"/>
                    <a:pt x="740" y="245"/>
                    <a:pt x="734" y="245"/>
                  </a:cubicBezTo>
                  <a:cubicBezTo>
                    <a:pt x="734" y="245"/>
                    <a:pt x="734" y="245"/>
                    <a:pt x="734" y="245"/>
                  </a:cubicBezTo>
                  <a:moveTo>
                    <a:pt x="766" y="244"/>
                  </a:moveTo>
                  <a:cubicBezTo>
                    <a:pt x="760" y="244"/>
                    <a:pt x="752" y="249"/>
                    <a:pt x="748" y="255"/>
                  </a:cubicBezTo>
                  <a:cubicBezTo>
                    <a:pt x="744" y="260"/>
                    <a:pt x="746" y="265"/>
                    <a:pt x="753" y="265"/>
                  </a:cubicBezTo>
                  <a:cubicBezTo>
                    <a:pt x="759" y="265"/>
                    <a:pt x="767" y="260"/>
                    <a:pt x="771" y="254"/>
                  </a:cubicBezTo>
                  <a:cubicBezTo>
                    <a:pt x="774" y="249"/>
                    <a:pt x="772" y="244"/>
                    <a:pt x="766" y="244"/>
                  </a:cubicBezTo>
                  <a:cubicBezTo>
                    <a:pt x="766" y="244"/>
                    <a:pt x="766" y="244"/>
                    <a:pt x="766" y="244"/>
                  </a:cubicBezTo>
                  <a:moveTo>
                    <a:pt x="798" y="244"/>
                  </a:moveTo>
                  <a:cubicBezTo>
                    <a:pt x="792" y="244"/>
                    <a:pt x="784" y="249"/>
                    <a:pt x="780" y="254"/>
                  </a:cubicBezTo>
                  <a:cubicBezTo>
                    <a:pt x="777" y="260"/>
                    <a:pt x="779" y="264"/>
                    <a:pt x="785" y="264"/>
                  </a:cubicBezTo>
                  <a:cubicBezTo>
                    <a:pt x="791" y="264"/>
                    <a:pt x="799" y="260"/>
                    <a:pt x="803" y="254"/>
                  </a:cubicBezTo>
                  <a:cubicBezTo>
                    <a:pt x="807" y="249"/>
                    <a:pt x="805" y="244"/>
                    <a:pt x="798" y="244"/>
                  </a:cubicBezTo>
                  <a:cubicBezTo>
                    <a:pt x="798" y="244"/>
                    <a:pt x="798" y="244"/>
                    <a:pt x="798" y="244"/>
                  </a:cubicBezTo>
                  <a:moveTo>
                    <a:pt x="830" y="244"/>
                  </a:moveTo>
                  <a:cubicBezTo>
                    <a:pt x="824" y="244"/>
                    <a:pt x="816" y="248"/>
                    <a:pt x="813" y="254"/>
                  </a:cubicBezTo>
                  <a:cubicBezTo>
                    <a:pt x="809" y="260"/>
                    <a:pt x="811" y="264"/>
                    <a:pt x="817" y="264"/>
                  </a:cubicBezTo>
                  <a:cubicBezTo>
                    <a:pt x="824" y="264"/>
                    <a:pt x="832" y="259"/>
                    <a:pt x="835" y="254"/>
                  </a:cubicBezTo>
                  <a:cubicBezTo>
                    <a:pt x="839" y="248"/>
                    <a:pt x="837" y="244"/>
                    <a:pt x="831" y="244"/>
                  </a:cubicBezTo>
                  <a:cubicBezTo>
                    <a:pt x="830" y="244"/>
                    <a:pt x="830" y="244"/>
                    <a:pt x="830" y="244"/>
                  </a:cubicBezTo>
                  <a:moveTo>
                    <a:pt x="863" y="243"/>
                  </a:moveTo>
                  <a:cubicBezTo>
                    <a:pt x="857" y="244"/>
                    <a:pt x="849" y="248"/>
                    <a:pt x="845" y="254"/>
                  </a:cubicBezTo>
                  <a:cubicBezTo>
                    <a:pt x="842" y="259"/>
                    <a:pt x="844" y="264"/>
                    <a:pt x="850" y="264"/>
                  </a:cubicBezTo>
                  <a:cubicBezTo>
                    <a:pt x="856" y="264"/>
                    <a:pt x="864" y="259"/>
                    <a:pt x="868" y="254"/>
                  </a:cubicBezTo>
                  <a:cubicBezTo>
                    <a:pt x="871" y="248"/>
                    <a:pt x="869" y="243"/>
                    <a:pt x="863" y="243"/>
                  </a:cubicBezTo>
                  <a:cubicBezTo>
                    <a:pt x="863" y="243"/>
                    <a:pt x="863" y="243"/>
                    <a:pt x="863" y="243"/>
                  </a:cubicBezTo>
                  <a:moveTo>
                    <a:pt x="895" y="243"/>
                  </a:moveTo>
                  <a:cubicBezTo>
                    <a:pt x="889" y="243"/>
                    <a:pt x="881" y="248"/>
                    <a:pt x="878" y="253"/>
                  </a:cubicBezTo>
                  <a:cubicBezTo>
                    <a:pt x="874" y="259"/>
                    <a:pt x="877" y="264"/>
                    <a:pt x="883" y="263"/>
                  </a:cubicBezTo>
                  <a:cubicBezTo>
                    <a:pt x="889" y="263"/>
                    <a:pt x="897" y="259"/>
                    <a:pt x="901" y="253"/>
                  </a:cubicBezTo>
                  <a:cubicBezTo>
                    <a:pt x="904" y="248"/>
                    <a:pt x="902" y="243"/>
                    <a:pt x="896" y="243"/>
                  </a:cubicBezTo>
                  <a:cubicBezTo>
                    <a:pt x="896" y="243"/>
                    <a:pt x="895" y="243"/>
                    <a:pt x="895" y="243"/>
                  </a:cubicBezTo>
                  <a:moveTo>
                    <a:pt x="928" y="243"/>
                  </a:moveTo>
                  <a:cubicBezTo>
                    <a:pt x="921" y="243"/>
                    <a:pt x="914" y="248"/>
                    <a:pt x="910" y="253"/>
                  </a:cubicBezTo>
                  <a:cubicBezTo>
                    <a:pt x="907" y="259"/>
                    <a:pt x="909" y="263"/>
                    <a:pt x="915" y="263"/>
                  </a:cubicBezTo>
                  <a:cubicBezTo>
                    <a:pt x="922" y="263"/>
                    <a:pt x="929" y="259"/>
                    <a:pt x="933" y="253"/>
                  </a:cubicBezTo>
                  <a:cubicBezTo>
                    <a:pt x="936" y="247"/>
                    <a:pt x="934" y="243"/>
                    <a:pt x="928" y="243"/>
                  </a:cubicBezTo>
                  <a:cubicBezTo>
                    <a:pt x="928" y="243"/>
                    <a:pt x="928" y="243"/>
                    <a:pt x="928" y="243"/>
                  </a:cubicBezTo>
                  <a:moveTo>
                    <a:pt x="958" y="243"/>
                  </a:moveTo>
                  <a:cubicBezTo>
                    <a:pt x="952" y="243"/>
                    <a:pt x="944" y="247"/>
                    <a:pt x="941" y="253"/>
                  </a:cubicBezTo>
                  <a:cubicBezTo>
                    <a:pt x="938" y="259"/>
                    <a:pt x="940" y="263"/>
                    <a:pt x="946" y="263"/>
                  </a:cubicBezTo>
                  <a:cubicBezTo>
                    <a:pt x="953" y="263"/>
                    <a:pt x="960" y="258"/>
                    <a:pt x="964" y="253"/>
                  </a:cubicBezTo>
                  <a:cubicBezTo>
                    <a:pt x="967" y="247"/>
                    <a:pt x="964" y="243"/>
                    <a:pt x="958" y="243"/>
                  </a:cubicBezTo>
                  <a:cubicBezTo>
                    <a:pt x="958" y="243"/>
                    <a:pt x="958" y="243"/>
                    <a:pt x="958" y="243"/>
                  </a:cubicBezTo>
                  <a:moveTo>
                    <a:pt x="991" y="242"/>
                  </a:moveTo>
                  <a:cubicBezTo>
                    <a:pt x="985" y="242"/>
                    <a:pt x="977" y="247"/>
                    <a:pt x="974" y="253"/>
                  </a:cubicBezTo>
                  <a:cubicBezTo>
                    <a:pt x="970" y="258"/>
                    <a:pt x="973" y="263"/>
                    <a:pt x="979" y="263"/>
                  </a:cubicBezTo>
                  <a:cubicBezTo>
                    <a:pt x="985" y="263"/>
                    <a:pt x="993" y="258"/>
                    <a:pt x="996" y="252"/>
                  </a:cubicBezTo>
                  <a:cubicBezTo>
                    <a:pt x="999" y="247"/>
                    <a:pt x="997" y="242"/>
                    <a:pt x="991" y="242"/>
                  </a:cubicBezTo>
                  <a:cubicBezTo>
                    <a:pt x="991" y="242"/>
                    <a:pt x="991" y="242"/>
                    <a:pt x="991" y="242"/>
                  </a:cubicBezTo>
                  <a:moveTo>
                    <a:pt x="1313" y="240"/>
                  </a:moveTo>
                  <a:cubicBezTo>
                    <a:pt x="1307" y="240"/>
                    <a:pt x="1300" y="244"/>
                    <a:pt x="1298" y="250"/>
                  </a:cubicBezTo>
                  <a:cubicBezTo>
                    <a:pt x="1295" y="256"/>
                    <a:pt x="1298" y="260"/>
                    <a:pt x="1304" y="260"/>
                  </a:cubicBezTo>
                  <a:cubicBezTo>
                    <a:pt x="1311" y="260"/>
                    <a:pt x="1318" y="255"/>
                    <a:pt x="1320" y="250"/>
                  </a:cubicBezTo>
                  <a:cubicBezTo>
                    <a:pt x="1323" y="244"/>
                    <a:pt x="1320" y="240"/>
                    <a:pt x="1314" y="240"/>
                  </a:cubicBezTo>
                  <a:cubicBezTo>
                    <a:pt x="1314" y="240"/>
                    <a:pt x="1314" y="240"/>
                    <a:pt x="1313" y="240"/>
                  </a:cubicBezTo>
                  <a:moveTo>
                    <a:pt x="1541" y="236"/>
                  </a:moveTo>
                  <a:cubicBezTo>
                    <a:pt x="1535" y="237"/>
                    <a:pt x="1528" y="241"/>
                    <a:pt x="1526" y="247"/>
                  </a:cubicBezTo>
                  <a:cubicBezTo>
                    <a:pt x="1524" y="252"/>
                    <a:pt x="1527" y="257"/>
                    <a:pt x="1533" y="257"/>
                  </a:cubicBezTo>
                  <a:cubicBezTo>
                    <a:pt x="1540" y="257"/>
                    <a:pt x="1546" y="252"/>
                    <a:pt x="1548" y="247"/>
                  </a:cubicBezTo>
                  <a:cubicBezTo>
                    <a:pt x="1550" y="241"/>
                    <a:pt x="1547" y="236"/>
                    <a:pt x="1541" y="236"/>
                  </a:cubicBezTo>
                  <a:cubicBezTo>
                    <a:pt x="1541" y="236"/>
                    <a:pt x="1541" y="236"/>
                    <a:pt x="1541" y="236"/>
                  </a:cubicBezTo>
                  <a:moveTo>
                    <a:pt x="1573" y="236"/>
                  </a:moveTo>
                  <a:cubicBezTo>
                    <a:pt x="1567" y="236"/>
                    <a:pt x="1560" y="241"/>
                    <a:pt x="1558" y="246"/>
                  </a:cubicBezTo>
                  <a:cubicBezTo>
                    <a:pt x="1556" y="252"/>
                    <a:pt x="1559" y="257"/>
                    <a:pt x="1566" y="257"/>
                  </a:cubicBezTo>
                  <a:cubicBezTo>
                    <a:pt x="1572" y="257"/>
                    <a:pt x="1579" y="252"/>
                    <a:pt x="1581" y="246"/>
                  </a:cubicBezTo>
                  <a:cubicBezTo>
                    <a:pt x="1583" y="241"/>
                    <a:pt x="1579" y="236"/>
                    <a:pt x="1573" y="236"/>
                  </a:cubicBezTo>
                  <a:cubicBezTo>
                    <a:pt x="1573" y="236"/>
                    <a:pt x="1573" y="236"/>
                    <a:pt x="1573" y="236"/>
                  </a:cubicBezTo>
                  <a:moveTo>
                    <a:pt x="1605" y="236"/>
                  </a:moveTo>
                  <a:cubicBezTo>
                    <a:pt x="1599" y="236"/>
                    <a:pt x="1592" y="241"/>
                    <a:pt x="1590" y="246"/>
                  </a:cubicBezTo>
                  <a:cubicBezTo>
                    <a:pt x="1588" y="252"/>
                    <a:pt x="1592" y="256"/>
                    <a:pt x="1598" y="256"/>
                  </a:cubicBezTo>
                  <a:cubicBezTo>
                    <a:pt x="1604" y="256"/>
                    <a:pt x="1611" y="252"/>
                    <a:pt x="1613" y="246"/>
                  </a:cubicBezTo>
                  <a:cubicBezTo>
                    <a:pt x="1615" y="240"/>
                    <a:pt x="1611" y="236"/>
                    <a:pt x="1605" y="236"/>
                  </a:cubicBezTo>
                  <a:cubicBezTo>
                    <a:pt x="1605" y="236"/>
                    <a:pt x="1605" y="236"/>
                    <a:pt x="1605" y="236"/>
                  </a:cubicBezTo>
                  <a:moveTo>
                    <a:pt x="2184" y="233"/>
                  </a:moveTo>
                  <a:cubicBezTo>
                    <a:pt x="2177" y="233"/>
                    <a:pt x="2172" y="237"/>
                    <a:pt x="2171" y="243"/>
                  </a:cubicBezTo>
                  <a:cubicBezTo>
                    <a:pt x="2170" y="249"/>
                    <a:pt x="2175" y="253"/>
                    <a:pt x="2181" y="253"/>
                  </a:cubicBezTo>
                  <a:cubicBezTo>
                    <a:pt x="2187" y="253"/>
                    <a:pt x="2193" y="248"/>
                    <a:pt x="2194" y="243"/>
                  </a:cubicBezTo>
                  <a:cubicBezTo>
                    <a:pt x="2194" y="237"/>
                    <a:pt x="2190" y="233"/>
                    <a:pt x="2184" y="233"/>
                  </a:cubicBezTo>
                  <a:cubicBezTo>
                    <a:pt x="2184" y="233"/>
                    <a:pt x="2184" y="233"/>
                    <a:pt x="2184" y="233"/>
                  </a:cubicBezTo>
                  <a:moveTo>
                    <a:pt x="2216" y="232"/>
                  </a:moveTo>
                  <a:cubicBezTo>
                    <a:pt x="2210" y="232"/>
                    <a:pt x="2204" y="237"/>
                    <a:pt x="2204" y="243"/>
                  </a:cubicBezTo>
                  <a:cubicBezTo>
                    <a:pt x="2203" y="248"/>
                    <a:pt x="2208" y="253"/>
                    <a:pt x="2214" y="253"/>
                  </a:cubicBezTo>
                  <a:cubicBezTo>
                    <a:pt x="2220" y="253"/>
                    <a:pt x="2226" y="248"/>
                    <a:pt x="2226" y="243"/>
                  </a:cubicBezTo>
                  <a:cubicBezTo>
                    <a:pt x="2227" y="237"/>
                    <a:pt x="2223" y="232"/>
                    <a:pt x="2216" y="232"/>
                  </a:cubicBezTo>
                  <a:cubicBezTo>
                    <a:pt x="2216" y="232"/>
                    <a:pt x="2216" y="232"/>
                    <a:pt x="2216" y="232"/>
                  </a:cubicBezTo>
                  <a:moveTo>
                    <a:pt x="2313" y="231"/>
                  </a:moveTo>
                  <a:cubicBezTo>
                    <a:pt x="2306" y="231"/>
                    <a:pt x="2301" y="235"/>
                    <a:pt x="2301" y="241"/>
                  </a:cubicBezTo>
                  <a:cubicBezTo>
                    <a:pt x="2300" y="247"/>
                    <a:pt x="2305" y="251"/>
                    <a:pt x="2311" y="251"/>
                  </a:cubicBezTo>
                  <a:cubicBezTo>
                    <a:pt x="2317" y="251"/>
                    <a:pt x="2323" y="246"/>
                    <a:pt x="2323" y="241"/>
                  </a:cubicBezTo>
                  <a:cubicBezTo>
                    <a:pt x="2323" y="235"/>
                    <a:pt x="2319" y="231"/>
                    <a:pt x="2313" y="231"/>
                  </a:cubicBezTo>
                  <a:cubicBezTo>
                    <a:pt x="2313" y="231"/>
                    <a:pt x="2313" y="231"/>
                    <a:pt x="2313" y="231"/>
                  </a:cubicBezTo>
                  <a:moveTo>
                    <a:pt x="2249" y="230"/>
                  </a:moveTo>
                  <a:cubicBezTo>
                    <a:pt x="2243" y="230"/>
                    <a:pt x="2237" y="235"/>
                    <a:pt x="2237" y="241"/>
                  </a:cubicBezTo>
                  <a:cubicBezTo>
                    <a:pt x="2236" y="246"/>
                    <a:pt x="2241" y="251"/>
                    <a:pt x="2247" y="251"/>
                  </a:cubicBezTo>
                  <a:cubicBezTo>
                    <a:pt x="2253" y="251"/>
                    <a:pt x="2259" y="246"/>
                    <a:pt x="2259" y="241"/>
                  </a:cubicBezTo>
                  <a:cubicBezTo>
                    <a:pt x="2260" y="235"/>
                    <a:pt x="2255" y="230"/>
                    <a:pt x="2249" y="230"/>
                  </a:cubicBezTo>
                  <a:cubicBezTo>
                    <a:pt x="2249" y="230"/>
                    <a:pt x="2249" y="230"/>
                    <a:pt x="2249" y="230"/>
                  </a:cubicBezTo>
                  <a:moveTo>
                    <a:pt x="2281" y="230"/>
                  </a:moveTo>
                  <a:cubicBezTo>
                    <a:pt x="2275" y="230"/>
                    <a:pt x="2269" y="235"/>
                    <a:pt x="2269" y="240"/>
                  </a:cubicBezTo>
                  <a:cubicBezTo>
                    <a:pt x="2268" y="246"/>
                    <a:pt x="2273" y="251"/>
                    <a:pt x="2279" y="251"/>
                  </a:cubicBezTo>
                  <a:cubicBezTo>
                    <a:pt x="2285" y="251"/>
                    <a:pt x="2291" y="246"/>
                    <a:pt x="2291" y="240"/>
                  </a:cubicBezTo>
                  <a:cubicBezTo>
                    <a:pt x="2292" y="235"/>
                    <a:pt x="2287" y="230"/>
                    <a:pt x="2281" y="230"/>
                  </a:cubicBezTo>
                  <a:cubicBezTo>
                    <a:pt x="2281" y="230"/>
                    <a:pt x="2281" y="230"/>
                    <a:pt x="2281" y="230"/>
                  </a:cubicBezTo>
                  <a:moveTo>
                    <a:pt x="2378" y="229"/>
                  </a:moveTo>
                  <a:cubicBezTo>
                    <a:pt x="2371" y="229"/>
                    <a:pt x="2366" y="234"/>
                    <a:pt x="2366" y="240"/>
                  </a:cubicBezTo>
                  <a:cubicBezTo>
                    <a:pt x="2365" y="245"/>
                    <a:pt x="2370" y="250"/>
                    <a:pt x="2377" y="250"/>
                  </a:cubicBezTo>
                  <a:cubicBezTo>
                    <a:pt x="2383" y="250"/>
                    <a:pt x="2388" y="245"/>
                    <a:pt x="2388" y="239"/>
                  </a:cubicBezTo>
                  <a:cubicBezTo>
                    <a:pt x="2389" y="234"/>
                    <a:pt x="2384" y="229"/>
                    <a:pt x="2378" y="229"/>
                  </a:cubicBezTo>
                  <a:cubicBezTo>
                    <a:pt x="2378" y="229"/>
                    <a:pt x="2378" y="229"/>
                    <a:pt x="2378" y="229"/>
                  </a:cubicBezTo>
                  <a:moveTo>
                    <a:pt x="2410" y="229"/>
                  </a:moveTo>
                  <a:cubicBezTo>
                    <a:pt x="2403" y="229"/>
                    <a:pt x="2398" y="234"/>
                    <a:pt x="2398" y="239"/>
                  </a:cubicBezTo>
                  <a:cubicBezTo>
                    <a:pt x="2398" y="245"/>
                    <a:pt x="2403" y="249"/>
                    <a:pt x="2409" y="249"/>
                  </a:cubicBezTo>
                  <a:cubicBezTo>
                    <a:pt x="2415" y="249"/>
                    <a:pt x="2420" y="245"/>
                    <a:pt x="2420" y="239"/>
                  </a:cubicBezTo>
                  <a:cubicBezTo>
                    <a:pt x="2421" y="233"/>
                    <a:pt x="2416" y="229"/>
                    <a:pt x="2410" y="229"/>
                  </a:cubicBezTo>
                  <a:cubicBezTo>
                    <a:pt x="2410" y="229"/>
                    <a:pt x="2410" y="229"/>
                    <a:pt x="2410" y="229"/>
                  </a:cubicBezTo>
                  <a:moveTo>
                    <a:pt x="2441" y="229"/>
                  </a:moveTo>
                  <a:cubicBezTo>
                    <a:pt x="2435" y="229"/>
                    <a:pt x="2430" y="233"/>
                    <a:pt x="2430" y="239"/>
                  </a:cubicBezTo>
                  <a:cubicBezTo>
                    <a:pt x="2430" y="245"/>
                    <a:pt x="2435" y="249"/>
                    <a:pt x="2441" y="249"/>
                  </a:cubicBezTo>
                  <a:cubicBezTo>
                    <a:pt x="2447" y="249"/>
                    <a:pt x="2452" y="244"/>
                    <a:pt x="2453" y="239"/>
                  </a:cubicBezTo>
                  <a:cubicBezTo>
                    <a:pt x="2453" y="233"/>
                    <a:pt x="2448" y="229"/>
                    <a:pt x="2442" y="229"/>
                  </a:cubicBezTo>
                  <a:cubicBezTo>
                    <a:pt x="2442" y="229"/>
                    <a:pt x="2442" y="229"/>
                    <a:pt x="2441" y="229"/>
                  </a:cubicBezTo>
                  <a:moveTo>
                    <a:pt x="2473" y="228"/>
                  </a:moveTo>
                  <a:cubicBezTo>
                    <a:pt x="2467" y="228"/>
                    <a:pt x="2462" y="233"/>
                    <a:pt x="2462" y="239"/>
                  </a:cubicBezTo>
                  <a:cubicBezTo>
                    <a:pt x="2462" y="244"/>
                    <a:pt x="2467" y="249"/>
                    <a:pt x="2473" y="249"/>
                  </a:cubicBezTo>
                  <a:cubicBezTo>
                    <a:pt x="2479" y="249"/>
                    <a:pt x="2484" y="244"/>
                    <a:pt x="2484" y="239"/>
                  </a:cubicBezTo>
                  <a:cubicBezTo>
                    <a:pt x="2484" y="233"/>
                    <a:pt x="2479" y="228"/>
                    <a:pt x="2473" y="228"/>
                  </a:cubicBezTo>
                  <a:cubicBezTo>
                    <a:pt x="2473" y="228"/>
                    <a:pt x="2473" y="228"/>
                    <a:pt x="2473" y="228"/>
                  </a:cubicBezTo>
                  <a:moveTo>
                    <a:pt x="2505" y="228"/>
                  </a:moveTo>
                  <a:cubicBezTo>
                    <a:pt x="2499" y="228"/>
                    <a:pt x="2494" y="233"/>
                    <a:pt x="2494" y="238"/>
                  </a:cubicBezTo>
                  <a:cubicBezTo>
                    <a:pt x="2494" y="244"/>
                    <a:pt x="2499" y="249"/>
                    <a:pt x="2505" y="249"/>
                  </a:cubicBezTo>
                  <a:cubicBezTo>
                    <a:pt x="2511" y="249"/>
                    <a:pt x="2516" y="244"/>
                    <a:pt x="2516" y="238"/>
                  </a:cubicBezTo>
                  <a:cubicBezTo>
                    <a:pt x="2516" y="233"/>
                    <a:pt x="2511" y="228"/>
                    <a:pt x="2505" y="228"/>
                  </a:cubicBezTo>
                  <a:cubicBezTo>
                    <a:pt x="2505" y="228"/>
                    <a:pt x="2505" y="228"/>
                    <a:pt x="2505" y="228"/>
                  </a:cubicBezTo>
                  <a:moveTo>
                    <a:pt x="2537" y="228"/>
                  </a:moveTo>
                  <a:cubicBezTo>
                    <a:pt x="2530" y="228"/>
                    <a:pt x="2525" y="233"/>
                    <a:pt x="2526" y="238"/>
                  </a:cubicBezTo>
                  <a:cubicBezTo>
                    <a:pt x="2526" y="244"/>
                    <a:pt x="2531" y="248"/>
                    <a:pt x="2537" y="248"/>
                  </a:cubicBezTo>
                  <a:cubicBezTo>
                    <a:pt x="2543" y="248"/>
                    <a:pt x="2548" y="244"/>
                    <a:pt x="2548" y="238"/>
                  </a:cubicBezTo>
                  <a:cubicBezTo>
                    <a:pt x="2548" y="232"/>
                    <a:pt x="2543" y="228"/>
                    <a:pt x="2537" y="228"/>
                  </a:cubicBezTo>
                  <a:cubicBezTo>
                    <a:pt x="2537" y="228"/>
                    <a:pt x="2537" y="228"/>
                    <a:pt x="2537" y="228"/>
                  </a:cubicBezTo>
                  <a:moveTo>
                    <a:pt x="2571" y="228"/>
                  </a:moveTo>
                  <a:cubicBezTo>
                    <a:pt x="2565" y="228"/>
                    <a:pt x="2560" y="232"/>
                    <a:pt x="2560" y="238"/>
                  </a:cubicBezTo>
                  <a:cubicBezTo>
                    <a:pt x="2560" y="244"/>
                    <a:pt x="2565" y="248"/>
                    <a:pt x="2571" y="248"/>
                  </a:cubicBezTo>
                  <a:cubicBezTo>
                    <a:pt x="2578" y="248"/>
                    <a:pt x="2583" y="243"/>
                    <a:pt x="2582" y="238"/>
                  </a:cubicBezTo>
                  <a:cubicBezTo>
                    <a:pt x="2582" y="232"/>
                    <a:pt x="2577" y="228"/>
                    <a:pt x="2571" y="228"/>
                  </a:cubicBezTo>
                  <a:cubicBezTo>
                    <a:pt x="2571" y="228"/>
                    <a:pt x="2571" y="228"/>
                    <a:pt x="2571" y="228"/>
                  </a:cubicBezTo>
                  <a:moveTo>
                    <a:pt x="2603" y="227"/>
                  </a:moveTo>
                  <a:cubicBezTo>
                    <a:pt x="2597" y="227"/>
                    <a:pt x="2592" y="232"/>
                    <a:pt x="2592" y="238"/>
                  </a:cubicBezTo>
                  <a:cubicBezTo>
                    <a:pt x="2592" y="243"/>
                    <a:pt x="2597" y="248"/>
                    <a:pt x="2604" y="248"/>
                  </a:cubicBezTo>
                  <a:cubicBezTo>
                    <a:pt x="2610" y="248"/>
                    <a:pt x="2615" y="243"/>
                    <a:pt x="2615" y="237"/>
                  </a:cubicBezTo>
                  <a:cubicBezTo>
                    <a:pt x="2614" y="232"/>
                    <a:pt x="2609" y="227"/>
                    <a:pt x="2603" y="227"/>
                  </a:cubicBezTo>
                  <a:cubicBezTo>
                    <a:pt x="2603" y="227"/>
                    <a:pt x="2603" y="227"/>
                    <a:pt x="2603" y="227"/>
                  </a:cubicBezTo>
                  <a:moveTo>
                    <a:pt x="2635" y="227"/>
                  </a:moveTo>
                  <a:cubicBezTo>
                    <a:pt x="2629" y="227"/>
                    <a:pt x="2624" y="232"/>
                    <a:pt x="2624" y="237"/>
                  </a:cubicBezTo>
                  <a:cubicBezTo>
                    <a:pt x="2624" y="243"/>
                    <a:pt x="2630" y="248"/>
                    <a:pt x="2636" y="247"/>
                  </a:cubicBezTo>
                  <a:cubicBezTo>
                    <a:pt x="2642" y="247"/>
                    <a:pt x="2647" y="243"/>
                    <a:pt x="2647" y="237"/>
                  </a:cubicBezTo>
                  <a:cubicBezTo>
                    <a:pt x="2646" y="232"/>
                    <a:pt x="2641" y="227"/>
                    <a:pt x="2635" y="227"/>
                  </a:cubicBezTo>
                  <a:cubicBezTo>
                    <a:pt x="2635" y="227"/>
                    <a:pt x="2635" y="227"/>
                    <a:pt x="2635" y="227"/>
                  </a:cubicBezTo>
                  <a:moveTo>
                    <a:pt x="2666" y="227"/>
                  </a:moveTo>
                  <a:cubicBezTo>
                    <a:pt x="2660" y="227"/>
                    <a:pt x="2655" y="231"/>
                    <a:pt x="2656" y="237"/>
                  </a:cubicBezTo>
                  <a:cubicBezTo>
                    <a:pt x="2656" y="243"/>
                    <a:pt x="2661" y="247"/>
                    <a:pt x="2668" y="247"/>
                  </a:cubicBezTo>
                  <a:cubicBezTo>
                    <a:pt x="2674" y="247"/>
                    <a:pt x="2679" y="243"/>
                    <a:pt x="2678" y="237"/>
                  </a:cubicBezTo>
                  <a:cubicBezTo>
                    <a:pt x="2678" y="231"/>
                    <a:pt x="2673" y="227"/>
                    <a:pt x="2667" y="227"/>
                  </a:cubicBezTo>
                  <a:cubicBezTo>
                    <a:pt x="2667" y="227"/>
                    <a:pt x="2666" y="227"/>
                    <a:pt x="2666" y="227"/>
                  </a:cubicBezTo>
                  <a:moveTo>
                    <a:pt x="2698" y="226"/>
                  </a:moveTo>
                  <a:cubicBezTo>
                    <a:pt x="2692" y="227"/>
                    <a:pt x="2687" y="231"/>
                    <a:pt x="2688" y="237"/>
                  </a:cubicBezTo>
                  <a:cubicBezTo>
                    <a:pt x="2688" y="242"/>
                    <a:pt x="2694" y="247"/>
                    <a:pt x="2700" y="247"/>
                  </a:cubicBezTo>
                  <a:cubicBezTo>
                    <a:pt x="2706" y="247"/>
                    <a:pt x="2711" y="242"/>
                    <a:pt x="2710" y="237"/>
                  </a:cubicBezTo>
                  <a:cubicBezTo>
                    <a:pt x="2710" y="231"/>
                    <a:pt x="2705" y="226"/>
                    <a:pt x="2698" y="226"/>
                  </a:cubicBezTo>
                  <a:cubicBezTo>
                    <a:pt x="2698" y="226"/>
                    <a:pt x="2698" y="226"/>
                    <a:pt x="2698" y="226"/>
                  </a:cubicBezTo>
                  <a:moveTo>
                    <a:pt x="2731" y="226"/>
                  </a:moveTo>
                  <a:cubicBezTo>
                    <a:pt x="2724" y="226"/>
                    <a:pt x="2720" y="231"/>
                    <a:pt x="2720" y="237"/>
                  </a:cubicBezTo>
                  <a:cubicBezTo>
                    <a:pt x="2721" y="242"/>
                    <a:pt x="2726" y="247"/>
                    <a:pt x="2732" y="247"/>
                  </a:cubicBezTo>
                  <a:cubicBezTo>
                    <a:pt x="2739" y="247"/>
                    <a:pt x="2743" y="242"/>
                    <a:pt x="2743" y="236"/>
                  </a:cubicBezTo>
                  <a:cubicBezTo>
                    <a:pt x="2742" y="231"/>
                    <a:pt x="2737" y="226"/>
                    <a:pt x="2731" y="226"/>
                  </a:cubicBezTo>
                  <a:cubicBezTo>
                    <a:pt x="2731" y="226"/>
                    <a:pt x="2731" y="226"/>
                    <a:pt x="2731" y="226"/>
                  </a:cubicBezTo>
                  <a:moveTo>
                    <a:pt x="2923" y="226"/>
                  </a:moveTo>
                  <a:cubicBezTo>
                    <a:pt x="2917" y="226"/>
                    <a:pt x="2913" y="231"/>
                    <a:pt x="2913" y="236"/>
                  </a:cubicBezTo>
                  <a:cubicBezTo>
                    <a:pt x="2914" y="242"/>
                    <a:pt x="2920" y="247"/>
                    <a:pt x="2926" y="247"/>
                  </a:cubicBezTo>
                  <a:cubicBezTo>
                    <a:pt x="2933" y="246"/>
                    <a:pt x="2937" y="242"/>
                    <a:pt x="2936" y="236"/>
                  </a:cubicBezTo>
                  <a:cubicBezTo>
                    <a:pt x="2935" y="231"/>
                    <a:pt x="2929" y="226"/>
                    <a:pt x="2923" y="226"/>
                  </a:cubicBezTo>
                  <a:cubicBezTo>
                    <a:pt x="2923" y="226"/>
                    <a:pt x="2923" y="226"/>
                    <a:pt x="2923" y="226"/>
                  </a:cubicBezTo>
                  <a:moveTo>
                    <a:pt x="2763" y="226"/>
                  </a:moveTo>
                  <a:cubicBezTo>
                    <a:pt x="2757" y="226"/>
                    <a:pt x="2752" y="231"/>
                    <a:pt x="2753" y="236"/>
                  </a:cubicBezTo>
                  <a:cubicBezTo>
                    <a:pt x="2753" y="242"/>
                    <a:pt x="2759" y="246"/>
                    <a:pt x="2765" y="246"/>
                  </a:cubicBezTo>
                  <a:cubicBezTo>
                    <a:pt x="2771" y="246"/>
                    <a:pt x="2776" y="242"/>
                    <a:pt x="2775" y="236"/>
                  </a:cubicBezTo>
                  <a:cubicBezTo>
                    <a:pt x="2775" y="230"/>
                    <a:pt x="2769" y="226"/>
                    <a:pt x="2763" y="226"/>
                  </a:cubicBezTo>
                  <a:cubicBezTo>
                    <a:pt x="2763" y="226"/>
                    <a:pt x="2763" y="226"/>
                    <a:pt x="2763" y="226"/>
                  </a:cubicBezTo>
                  <a:moveTo>
                    <a:pt x="2954" y="226"/>
                  </a:moveTo>
                  <a:cubicBezTo>
                    <a:pt x="2947" y="226"/>
                    <a:pt x="2943" y="230"/>
                    <a:pt x="2944" y="236"/>
                  </a:cubicBezTo>
                  <a:cubicBezTo>
                    <a:pt x="2945" y="242"/>
                    <a:pt x="2951" y="246"/>
                    <a:pt x="2957" y="246"/>
                  </a:cubicBezTo>
                  <a:cubicBezTo>
                    <a:pt x="2963" y="246"/>
                    <a:pt x="2968" y="242"/>
                    <a:pt x="2967" y="236"/>
                  </a:cubicBezTo>
                  <a:cubicBezTo>
                    <a:pt x="2966" y="230"/>
                    <a:pt x="2960" y="226"/>
                    <a:pt x="2954" y="226"/>
                  </a:cubicBezTo>
                  <a:cubicBezTo>
                    <a:pt x="2954" y="226"/>
                    <a:pt x="2954" y="226"/>
                    <a:pt x="2954" y="226"/>
                  </a:cubicBezTo>
                  <a:moveTo>
                    <a:pt x="2795" y="226"/>
                  </a:moveTo>
                  <a:cubicBezTo>
                    <a:pt x="2789" y="226"/>
                    <a:pt x="2784" y="230"/>
                    <a:pt x="2785" y="236"/>
                  </a:cubicBezTo>
                  <a:cubicBezTo>
                    <a:pt x="2785" y="242"/>
                    <a:pt x="2791" y="246"/>
                    <a:pt x="2797" y="246"/>
                  </a:cubicBezTo>
                  <a:cubicBezTo>
                    <a:pt x="2803" y="246"/>
                    <a:pt x="2808" y="241"/>
                    <a:pt x="2807" y="236"/>
                  </a:cubicBezTo>
                  <a:cubicBezTo>
                    <a:pt x="2807" y="230"/>
                    <a:pt x="2801" y="226"/>
                    <a:pt x="2795" y="226"/>
                  </a:cubicBezTo>
                  <a:cubicBezTo>
                    <a:pt x="2795" y="226"/>
                    <a:pt x="2795" y="226"/>
                    <a:pt x="2795" y="226"/>
                  </a:cubicBezTo>
                  <a:moveTo>
                    <a:pt x="2986" y="226"/>
                  </a:moveTo>
                  <a:cubicBezTo>
                    <a:pt x="2979" y="226"/>
                    <a:pt x="2975" y="230"/>
                    <a:pt x="2976" y="236"/>
                  </a:cubicBezTo>
                  <a:cubicBezTo>
                    <a:pt x="2977" y="242"/>
                    <a:pt x="2983" y="246"/>
                    <a:pt x="2989" y="246"/>
                  </a:cubicBezTo>
                  <a:cubicBezTo>
                    <a:pt x="2996" y="246"/>
                    <a:pt x="3000" y="241"/>
                    <a:pt x="2999" y="236"/>
                  </a:cubicBezTo>
                  <a:cubicBezTo>
                    <a:pt x="2998" y="230"/>
                    <a:pt x="2992" y="226"/>
                    <a:pt x="2986" y="226"/>
                  </a:cubicBezTo>
                  <a:cubicBezTo>
                    <a:pt x="2986" y="226"/>
                    <a:pt x="2986" y="226"/>
                    <a:pt x="2986" y="226"/>
                  </a:cubicBezTo>
                  <a:moveTo>
                    <a:pt x="2827" y="225"/>
                  </a:moveTo>
                  <a:cubicBezTo>
                    <a:pt x="2821" y="225"/>
                    <a:pt x="2816" y="230"/>
                    <a:pt x="2817" y="236"/>
                  </a:cubicBezTo>
                  <a:cubicBezTo>
                    <a:pt x="2818" y="241"/>
                    <a:pt x="2823" y="246"/>
                    <a:pt x="2830" y="246"/>
                  </a:cubicBezTo>
                  <a:cubicBezTo>
                    <a:pt x="2836" y="246"/>
                    <a:pt x="2840" y="241"/>
                    <a:pt x="2840" y="236"/>
                  </a:cubicBezTo>
                  <a:cubicBezTo>
                    <a:pt x="2839" y="230"/>
                    <a:pt x="2833" y="225"/>
                    <a:pt x="2827" y="225"/>
                  </a:cubicBezTo>
                  <a:cubicBezTo>
                    <a:pt x="2827" y="225"/>
                    <a:pt x="2827" y="225"/>
                    <a:pt x="2827" y="225"/>
                  </a:cubicBezTo>
                  <a:moveTo>
                    <a:pt x="3018" y="225"/>
                  </a:moveTo>
                  <a:cubicBezTo>
                    <a:pt x="3011" y="225"/>
                    <a:pt x="3007" y="230"/>
                    <a:pt x="3008" y="236"/>
                  </a:cubicBezTo>
                  <a:cubicBezTo>
                    <a:pt x="3009" y="241"/>
                    <a:pt x="3015" y="246"/>
                    <a:pt x="3022" y="246"/>
                  </a:cubicBezTo>
                  <a:cubicBezTo>
                    <a:pt x="3028" y="246"/>
                    <a:pt x="3032" y="241"/>
                    <a:pt x="3031" y="235"/>
                  </a:cubicBezTo>
                  <a:cubicBezTo>
                    <a:pt x="3030" y="230"/>
                    <a:pt x="3024" y="225"/>
                    <a:pt x="3018" y="225"/>
                  </a:cubicBezTo>
                  <a:cubicBezTo>
                    <a:pt x="3018" y="225"/>
                    <a:pt x="3018" y="225"/>
                    <a:pt x="3018" y="225"/>
                  </a:cubicBezTo>
                  <a:moveTo>
                    <a:pt x="2859" y="225"/>
                  </a:moveTo>
                  <a:cubicBezTo>
                    <a:pt x="2853" y="225"/>
                    <a:pt x="2848" y="230"/>
                    <a:pt x="2849" y="235"/>
                  </a:cubicBezTo>
                  <a:cubicBezTo>
                    <a:pt x="2850" y="241"/>
                    <a:pt x="2855" y="246"/>
                    <a:pt x="2862" y="246"/>
                  </a:cubicBezTo>
                  <a:cubicBezTo>
                    <a:pt x="2868" y="246"/>
                    <a:pt x="2872" y="241"/>
                    <a:pt x="2872" y="235"/>
                  </a:cubicBezTo>
                  <a:cubicBezTo>
                    <a:pt x="2871" y="230"/>
                    <a:pt x="2865" y="225"/>
                    <a:pt x="2859" y="225"/>
                  </a:cubicBezTo>
                  <a:cubicBezTo>
                    <a:pt x="2859" y="225"/>
                    <a:pt x="2859" y="225"/>
                    <a:pt x="2859" y="225"/>
                  </a:cubicBezTo>
                  <a:moveTo>
                    <a:pt x="3051" y="225"/>
                  </a:moveTo>
                  <a:cubicBezTo>
                    <a:pt x="3045" y="225"/>
                    <a:pt x="3040" y="230"/>
                    <a:pt x="3042" y="235"/>
                  </a:cubicBezTo>
                  <a:cubicBezTo>
                    <a:pt x="3043" y="241"/>
                    <a:pt x="3049" y="246"/>
                    <a:pt x="3055" y="245"/>
                  </a:cubicBezTo>
                  <a:cubicBezTo>
                    <a:pt x="3061" y="245"/>
                    <a:pt x="3065" y="241"/>
                    <a:pt x="3064" y="235"/>
                  </a:cubicBezTo>
                  <a:cubicBezTo>
                    <a:pt x="3063" y="229"/>
                    <a:pt x="3057" y="225"/>
                    <a:pt x="3051" y="225"/>
                  </a:cubicBezTo>
                  <a:cubicBezTo>
                    <a:pt x="3051" y="225"/>
                    <a:pt x="3051" y="225"/>
                    <a:pt x="3051" y="225"/>
                  </a:cubicBezTo>
                  <a:moveTo>
                    <a:pt x="2891" y="225"/>
                  </a:moveTo>
                  <a:cubicBezTo>
                    <a:pt x="2885" y="225"/>
                    <a:pt x="2880" y="229"/>
                    <a:pt x="2881" y="235"/>
                  </a:cubicBezTo>
                  <a:cubicBezTo>
                    <a:pt x="2882" y="241"/>
                    <a:pt x="2888" y="245"/>
                    <a:pt x="2894" y="245"/>
                  </a:cubicBezTo>
                  <a:cubicBezTo>
                    <a:pt x="2900" y="245"/>
                    <a:pt x="2905" y="241"/>
                    <a:pt x="2904" y="235"/>
                  </a:cubicBezTo>
                  <a:cubicBezTo>
                    <a:pt x="2903" y="229"/>
                    <a:pt x="2897" y="225"/>
                    <a:pt x="2891" y="225"/>
                  </a:cubicBezTo>
                  <a:cubicBezTo>
                    <a:pt x="2891" y="225"/>
                    <a:pt x="2891" y="225"/>
                    <a:pt x="2891" y="225"/>
                  </a:cubicBezTo>
                  <a:moveTo>
                    <a:pt x="3083" y="225"/>
                  </a:moveTo>
                  <a:cubicBezTo>
                    <a:pt x="3077" y="225"/>
                    <a:pt x="3072" y="229"/>
                    <a:pt x="3074" y="235"/>
                  </a:cubicBezTo>
                  <a:cubicBezTo>
                    <a:pt x="3075" y="241"/>
                    <a:pt x="3081" y="245"/>
                    <a:pt x="3087" y="245"/>
                  </a:cubicBezTo>
                  <a:cubicBezTo>
                    <a:pt x="3093" y="245"/>
                    <a:pt x="3097" y="241"/>
                    <a:pt x="3096" y="235"/>
                  </a:cubicBezTo>
                  <a:cubicBezTo>
                    <a:pt x="3095" y="229"/>
                    <a:pt x="3089" y="225"/>
                    <a:pt x="3083" y="225"/>
                  </a:cubicBezTo>
                  <a:cubicBezTo>
                    <a:pt x="3083" y="225"/>
                    <a:pt x="3083" y="225"/>
                    <a:pt x="3083" y="225"/>
                  </a:cubicBezTo>
                  <a:moveTo>
                    <a:pt x="3115" y="224"/>
                  </a:moveTo>
                  <a:cubicBezTo>
                    <a:pt x="3109" y="224"/>
                    <a:pt x="3105" y="229"/>
                    <a:pt x="3106" y="235"/>
                  </a:cubicBezTo>
                  <a:cubicBezTo>
                    <a:pt x="3107" y="240"/>
                    <a:pt x="3113" y="245"/>
                    <a:pt x="3120" y="245"/>
                  </a:cubicBezTo>
                  <a:cubicBezTo>
                    <a:pt x="3126" y="245"/>
                    <a:pt x="3130" y="240"/>
                    <a:pt x="3129" y="235"/>
                  </a:cubicBezTo>
                  <a:cubicBezTo>
                    <a:pt x="3127" y="229"/>
                    <a:pt x="3121" y="224"/>
                    <a:pt x="3115" y="224"/>
                  </a:cubicBezTo>
                  <a:cubicBezTo>
                    <a:pt x="3115" y="224"/>
                    <a:pt x="3115" y="224"/>
                    <a:pt x="3115" y="224"/>
                  </a:cubicBezTo>
                  <a:moveTo>
                    <a:pt x="3147" y="224"/>
                  </a:moveTo>
                  <a:cubicBezTo>
                    <a:pt x="3141" y="224"/>
                    <a:pt x="3137" y="229"/>
                    <a:pt x="3139" y="234"/>
                  </a:cubicBezTo>
                  <a:cubicBezTo>
                    <a:pt x="3140" y="240"/>
                    <a:pt x="3146" y="245"/>
                    <a:pt x="3152" y="245"/>
                  </a:cubicBezTo>
                  <a:cubicBezTo>
                    <a:pt x="3159" y="245"/>
                    <a:pt x="3162" y="240"/>
                    <a:pt x="3161" y="234"/>
                  </a:cubicBezTo>
                  <a:cubicBezTo>
                    <a:pt x="3160" y="229"/>
                    <a:pt x="3154" y="224"/>
                    <a:pt x="3147" y="224"/>
                  </a:cubicBezTo>
                  <a:cubicBezTo>
                    <a:pt x="3147" y="224"/>
                    <a:pt x="3147" y="224"/>
                    <a:pt x="3147" y="224"/>
                  </a:cubicBezTo>
                  <a:moveTo>
                    <a:pt x="3179" y="224"/>
                  </a:moveTo>
                  <a:cubicBezTo>
                    <a:pt x="3173" y="224"/>
                    <a:pt x="3169" y="229"/>
                    <a:pt x="3171" y="234"/>
                  </a:cubicBezTo>
                  <a:cubicBezTo>
                    <a:pt x="3172" y="240"/>
                    <a:pt x="3178" y="244"/>
                    <a:pt x="3184" y="244"/>
                  </a:cubicBezTo>
                  <a:cubicBezTo>
                    <a:pt x="3191" y="244"/>
                    <a:pt x="3195" y="240"/>
                    <a:pt x="3193" y="234"/>
                  </a:cubicBezTo>
                  <a:cubicBezTo>
                    <a:pt x="3192" y="228"/>
                    <a:pt x="3185" y="224"/>
                    <a:pt x="3179" y="224"/>
                  </a:cubicBezTo>
                  <a:cubicBezTo>
                    <a:pt x="3179" y="224"/>
                    <a:pt x="3179" y="224"/>
                    <a:pt x="3179" y="224"/>
                  </a:cubicBezTo>
                  <a:moveTo>
                    <a:pt x="3211" y="224"/>
                  </a:moveTo>
                  <a:cubicBezTo>
                    <a:pt x="3205" y="224"/>
                    <a:pt x="3201" y="228"/>
                    <a:pt x="3203" y="234"/>
                  </a:cubicBezTo>
                  <a:cubicBezTo>
                    <a:pt x="3204" y="240"/>
                    <a:pt x="3211" y="244"/>
                    <a:pt x="3217" y="244"/>
                  </a:cubicBezTo>
                  <a:cubicBezTo>
                    <a:pt x="3223" y="244"/>
                    <a:pt x="3227" y="239"/>
                    <a:pt x="3225" y="234"/>
                  </a:cubicBezTo>
                  <a:cubicBezTo>
                    <a:pt x="3224" y="228"/>
                    <a:pt x="3218" y="224"/>
                    <a:pt x="3211" y="224"/>
                  </a:cubicBezTo>
                  <a:cubicBezTo>
                    <a:pt x="3211" y="224"/>
                    <a:pt x="3211" y="224"/>
                    <a:pt x="3211" y="224"/>
                  </a:cubicBezTo>
                  <a:moveTo>
                    <a:pt x="3243" y="223"/>
                  </a:moveTo>
                  <a:cubicBezTo>
                    <a:pt x="3237" y="223"/>
                    <a:pt x="3233" y="228"/>
                    <a:pt x="3235" y="234"/>
                  </a:cubicBezTo>
                  <a:cubicBezTo>
                    <a:pt x="3236" y="239"/>
                    <a:pt x="3243" y="244"/>
                    <a:pt x="3249" y="244"/>
                  </a:cubicBezTo>
                  <a:cubicBezTo>
                    <a:pt x="3255" y="244"/>
                    <a:pt x="3259" y="239"/>
                    <a:pt x="3257" y="233"/>
                  </a:cubicBezTo>
                  <a:cubicBezTo>
                    <a:pt x="3256" y="228"/>
                    <a:pt x="3249" y="223"/>
                    <a:pt x="3243" y="223"/>
                  </a:cubicBezTo>
                  <a:cubicBezTo>
                    <a:pt x="3243" y="223"/>
                    <a:pt x="3243" y="223"/>
                    <a:pt x="3243" y="223"/>
                  </a:cubicBezTo>
                  <a:moveTo>
                    <a:pt x="3275" y="223"/>
                  </a:moveTo>
                  <a:cubicBezTo>
                    <a:pt x="3269" y="223"/>
                    <a:pt x="3265" y="228"/>
                    <a:pt x="3267" y="233"/>
                  </a:cubicBezTo>
                  <a:cubicBezTo>
                    <a:pt x="3268" y="239"/>
                    <a:pt x="3275" y="244"/>
                    <a:pt x="3281" y="244"/>
                  </a:cubicBezTo>
                  <a:cubicBezTo>
                    <a:pt x="3287" y="244"/>
                    <a:pt x="3291" y="239"/>
                    <a:pt x="3289" y="233"/>
                  </a:cubicBezTo>
                  <a:cubicBezTo>
                    <a:pt x="3288" y="228"/>
                    <a:pt x="3281" y="223"/>
                    <a:pt x="3275" y="223"/>
                  </a:cubicBezTo>
                  <a:cubicBezTo>
                    <a:pt x="3275" y="223"/>
                    <a:pt x="3275" y="223"/>
                    <a:pt x="3275" y="223"/>
                  </a:cubicBezTo>
                  <a:moveTo>
                    <a:pt x="3307" y="223"/>
                  </a:moveTo>
                  <a:cubicBezTo>
                    <a:pt x="3301" y="223"/>
                    <a:pt x="3297" y="227"/>
                    <a:pt x="3299" y="233"/>
                  </a:cubicBezTo>
                  <a:cubicBezTo>
                    <a:pt x="3300" y="239"/>
                    <a:pt x="3307" y="243"/>
                    <a:pt x="3313" y="243"/>
                  </a:cubicBezTo>
                  <a:cubicBezTo>
                    <a:pt x="3319" y="243"/>
                    <a:pt x="3323" y="239"/>
                    <a:pt x="3321" y="233"/>
                  </a:cubicBezTo>
                  <a:cubicBezTo>
                    <a:pt x="3320" y="227"/>
                    <a:pt x="3313" y="223"/>
                    <a:pt x="3307" y="223"/>
                  </a:cubicBezTo>
                  <a:cubicBezTo>
                    <a:pt x="3307" y="223"/>
                    <a:pt x="3307" y="223"/>
                    <a:pt x="3307" y="223"/>
                  </a:cubicBezTo>
                  <a:moveTo>
                    <a:pt x="3339" y="222"/>
                  </a:moveTo>
                  <a:cubicBezTo>
                    <a:pt x="3333" y="223"/>
                    <a:pt x="3329" y="227"/>
                    <a:pt x="3331" y="233"/>
                  </a:cubicBezTo>
                  <a:cubicBezTo>
                    <a:pt x="3333" y="239"/>
                    <a:pt x="3339" y="243"/>
                    <a:pt x="3346" y="243"/>
                  </a:cubicBezTo>
                  <a:cubicBezTo>
                    <a:pt x="3352" y="243"/>
                    <a:pt x="3355" y="238"/>
                    <a:pt x="3354" y="233"/>
                  </a:cubicBezTo>
                  <a:cubicBezTo>
                    <a:pt x="3352" y="227"/>
                    <a:pt x="3345" y="222"/>
                    <a:pt x="3339" y="222"/>
                  </a:cubicBezTo>
                  <a:cubicBezTo>
                    <a:pt x="3339" y="222"/>
                    <a:pt x="3339" y="222"/>
                    <a:pt x="3339" y="222"/>
                  </a:cubicBezTo>
                  <a:moveTo>
                    <a:pt x="3372" y="222"/>
                  </a:moveTo>
                  <a:cubicBezTo>
                    <a:pt x="3366" y="222"/>
                    <a:pt x="3362" y="227"/>
                    <a:pt x="3364" y="233"/>
                  </a:cubicBezTo>
                  <a:cubicBezTo>
                    <a:pt x="3366" y="238"/>
                    <a:pt x="3373" y="243"/>
                    <a:pt x="3379" y="243"/>
                  </a:cubicBezTo>
                  <a:cubicBezTo>
                    <a:pt x="3385" y="243"/>
                    <a:pt x="3389" y="238"/>
                    <a:pt x="3387" y="232"/>
                  </a:cubicBezTo>
                  <a:cubicBezTo>
                    <a:pt x="3385" y="227"/>
                    <a:pt x="3378" y="222"/>
                    <a:pt x="3372" y="222"/>
                  </a:cubicBezTo>
                  <a:cubicBezTo>
                    <a:pt x="3372" y="222"/>
                    <a:pt x="3372" y="222"/>
                    <a:pt x="3372" y="222"/>
                  </a:cubicBezTo>
                  <a:moveTo>
                    <a:pt x="3404" y="222"/>
                  </a:moveTo>
                  <a:cubicBezTo>
                    <a:pt x="3398" y="222"/>
                    <a:pt x="3394" y="227"/>
                    <a:pt x="3396" y="232"/>
                  </a:cubicBezTo>
                  <a:cubicBezTo>
                    <a:pt x="3398" y="238"/>
                    <a:pt x="3405" y="243"/>
                    <a:pt x="3411" y="242"/>
                  </a:cubicBezTo>
                  <a:cubicBezTo>
                    <a:pt x="3417" y="242"/>
                    <a:pt x="3421" y="238"/>
                    <a:pt x="3419" y="232"/>
                  </a:cubicBezTo>
                  <a:cubicBezTo>
                    <a:pt x="3417" y="226"/>
                    <a:pt x="3410" y="222"/>
                    <a:pt x="3404" y="222"/>
                  </a:cubicBezTo>
                  <a:cubicBezTo>
                    <a:pt x="3404" y="222"/>
                    <a:pt x="3404" y="222"/>
                    <a:pt x="3404" y="222"/>
                  </a:cubicBezTo>
                  <a:moveTo>
                    <a:pt x="3436" y="222"/>
                  </a:moveTo>
                  <a:cubicBezTo>
                    <a:pt x="3430" y="222"/>
                    <a:pt x="3427" y="226"/>
                    <a:pt x="3429" y="232"/>
                  </a:cubicBezTo>
                  <a:cubicBezTo>
                    <a:pt x="3430" y="238"/>
                    <a:pt x="3437" y="242"/>
                    <a:pt x="3443" y="242"/>
                  </a:cubicBezTo>
                  <a:cubicBezTo>
                    <a:pt x="3450" y="242"/>
                    <a:pt x="3453" y="237"/>
                    <a:pt x="3451" y="232"/>
                  </a:cubicBezTo>
                  <a:cubicBezTo>
                    <a:pt x="3449" y="226"/>
                    <a:pt x="3442" y="222"/>
                    <a:pt x="3436" y="222"/>
                  </a:cubicBezTo>
                  <a:cubicBezTo>
                    <a:pt x="3436" y="222"/>
                    <a:pt x="3436" y="222"/>
                    <a:pt x="3436" y="222"/>
                  </a:cubicBezTo>
                  <a:moveTo>
                    <a:pt x="3469" y="221"/>
                  </a:moveTo>
                  <a:cubicBezTo>
                    <a:pt x="3462" y="221"/>
                    <a:pt x="3459" y="226"/>
                    <a:pt x="3461" y="232"/>
                  </a:cubicBezTo>
                  <a:cubicBezTo>
                    <a:pt x="3463" y="237"/>
                    <a:pt x="3470" y="242"/>
                    <a:pt x="3476" y="242"/>
                  </a:cubicBezTo>
                  <a:cubicBezTo>
                    <a:pt x="3482" y="242"/>
                    <a:pt x="3486" y="237"/>
                    <a:pt x="3484" y="232"/>
                  </a:cubicBezTo>
                  <a:cubicBezTo>
                    <a:pt x="3481" y="226"/>
                    <a:pt x="3475" y="221"/>
                    <a:pt x="3469" y="221"/>
                  </a:cubicBezTo>
                  <a:cubicBezTo>
                    <a:pt x="3469" y="221"/>
                    <a:pt x="3469" y="221"/>
                    <a:pt x="3469" y="221"/>
                  </a:cubicBezTo>
                  <a:moveTo>
                    <a:pt x="3500" y="221"/>
                  </a:moveTo>
                  <a:cubicBezTo>
                    <a:pt x="3494" y="221"/>
                    <a:pt x="3491" y="226"/>
                    <a:pt x="3493" y="231"/>
                  </a:cubicBezTo>
                  <a:cubicBezTo>
                    <a:pt x="3495" y="237"/>
                    <a:pt x="3502" y="242"/>
                    <a:pt x="3508" y="242"/>
                  </a:cubicBezTo>
                  <a:cubicBezTo>
                    <a:pt x="3514" y="242"/>
                    <a:pt x="3518" y="237"/>
                    <a:pt x="3516" y="231"/>
                  </a:cubicBezTo>
                  <a:cubicBezTo>
                    <a:pt x="3513" y="226"/>
                    <a:pt x="3507" y="221"/>
                    <a:pt x="3501" y="221"/>
                  </a:cubicBezTo>
                  <a:cubicBezTo>
                    <a:pt x="3501" y="221"/>
                    <a:pt x="3500" y="221"/>
                    <a:pt x="3500" y="221"/>
                  </a:cubicBezTo>
                  <a:moveTo>
                    <a:pt x="3532" y="221"/>
                  </a:moveTo>
                  <a:cubicBezTo>
                    <a:pt x="3526" y="221"/>
                    <a:pt x="3523" y="226"/>
                    <a:pt x="3525" y="231"/>
                  </a:cubicBezTo>
                  <a:cubicBezTo>
                    <a:pt x="3527" y="237"/>
                    <a:pt x="3534" y="241"/>
                    <a:pt x="3540" y="241"/>
                  </a:cubicBezTo>
                  <a:cubicBezTo>
                    <a:pt x="3547" y="241"/>
                    <a:pt x="3550" y="237"/>
                    <a:pt x="3548" y="231"/>
                  </a:cubicBezTo>
                  <a:cubicBezTo>
                    <a:pt x="3545" y="225"/>
                    <a:pt x="3539" y="221"/>
                    <a:pt x="3533" y="221"/>
                  </a:cubicBezTo>
                  <a:cubicBezTo>
                    <a:pt x="3533" y="221"/>
                    <a:pt x="3532" y="221"/>
                    <a:pt x="3532" y="221"/>
                  </a:cubicBezTo>
                  <a:moveTo>
                    <a:pt x="3564" y="221"/>
                  </a:moveTo>
                  <a:cubicBezTo>
                    <a:pt x="3558" y="221"/>
                    <a:pt x="3555" y="225"/>
                    <a:pt x="3557" y="231"/>
                  </a:cubicBezTo>
                  <a:cubicBezTo>
                    <a:pt x="3559" y="237"/>
                    <a:pt x="3566" y="241"/>
                    <a:pt x="3573" y="241"/>
                  </a:cubicBezTo>
                  <a:cubicBezTo>
                    <a:pt x="3579" y="241"/>
                    <a:pt x="3582" y="236"/>
                    <a:pt x="3580" y="231"/>
                  </a:cubicBezTo>
                  <a:cubicBezTo>
                    <a:pt x="3577" y="225"/>
                    <a:pt x="3571" y="221"/>
                    <a:pt x="3564" y="221"/>
                  </a:cubicBezTo>
                  <a:cubicBezTo>
                    <a:pt x="3564" y="221"/>
                    <a:pt x="3564" y="221"/>
                    <a:pt x="3564" y="221"/>
                  </a:cubicBezTo>
                  <a:moveTo>
                    <a:pt x="3597" y="220"/>
                  </a:moveTo>
                  <a:cubicBezTo>
                    <a:pt x="3591" y="220"/>
                    <a:pt x="3588" y="225"/>
                    <a:pt x="3590" y="231"/>
                  </a:cubicBezTo>
                  <a:cubicBezTo>
                    <a:pt x="3592" y="236"/>
                    <a:pt x="3599" y="241"/>
                    <a:pt x="3605" y="241"/>
                  </a:cubicBezTo>
                  <a:cubicBezTo>
                    <a:pt x="3612" y="241"/>
                    <a:pt x="3615" y="236"/>
                    <a:pt x="3612" y="230"/>
                  </a:cubicBezTo>
                  <a:cubicBezTo>
                    <a:pt x="3610" y="225"/>
                    <a:pt x="3603" y="220"/>
                    <a:pt x="3597" y="220"/>
                  </a:cubicBezTo>
                  <a:cubicBezTo>
                    <a:pt x="3597" y="220"/>
                    <a:pt x="3597" y="220"/>
                    <a:pt x="3597" y="220"/>
                  </a:cubicBezTo>
                  <a:moveTo>
                    <a:pt x="3629" y="220"/>
                  </a:moveTo>
                  <a:cubicBezTo>
                    <a:pt x="3623" y="220"/>
                    <a:pt x="3620" y="225"/>
                    <a:pt x="3622" y="230"/>
                  </a:cubicBezTo>
                  <a:cubicBezTo>
                    <a:pt x="3625" y="236"/>
                    <a:pt x="3632" y="241"/>
                    <a:pt x="3638" y="241"/>
                  </a:cubicBezTo>
                  <a:cubicBezTo>
                    <a:pt x="3644" y="240"/>
                    <a:pt x="3647" y="236"/>
                    <a:pt x="3645" y="230"/>
                  </a:cubicBezTo>
                  <a:cubicBezTo>
                    <a:pt x="3642" y="225"/>
                    <a:pt x="3635" y="220"/>
                    <a:pt x="3629" y="220"/>
                  </a:cubicBezTo>
                  <a:cubicBezTo>
                    <a:pt x="3629" y="220"/>
                    <a:pt x="3629" y="220"/>
                    <a:pt x="3629" y="220"/>
                  </a:cubicBezTo>
                  <a:moveTo>
                    <a:pt x="3662" y="220"/>
                  </a:moveTo>
                  <a:cubicBezTo>
                    <a:pt x="3656" y="220"/>
                    <a:pt x="3653" y="224"/>
                    <a:pt x="3655" y="230"/>
                  </a:cubicBezTo>
                  <a:cubicBezTo>
                    <a:pt x="3658" y="236"/>
                    <a:pt x="3665" y="240"/>
                    <a:pt x="3671" y="240"/>
                  </a:cubicBezTo>
                  <a:cubicBezTo>
                    <a:pt x="3677" y="240"/>
                    <a:pt x="3680" y="236"/>
                    <a:pt x="3678" y="230"/>
                  </a:cubicBezTo>
                  <a:cubicBezTo>
                    <a:pt x="3675" y="224"/>
                    <a:pt x="3668" y="220"/>
                    <a:pt x="3662" y="220"/>
                  </a:cubicBezTo>
                  <a:cubicBezTo>
                    <a:pt x="3662" y="220"/>
                    <a:pt x="3662" y="220"/>
                    <a:pt x="3662" y="220"/>
                  </a:cubicBezTo>
                  <a:moveTo>
                    <a:pt x="3694" y="219"/>
                  </a:moveTo>
                  <a:cubicBezTo>
                    <a:pt x="3688" y="219"/>
                    <a:pt x="3685" y="224"/>
                    <a:pt x="3687" y="230"/>
                  </a:cubicBezTo>
                  <a:cubicBezTo>
                    <a:pt x="3690" y="235"/>
                    <a:pt x="3697" y="240"/>
                    <a:pt x="3703" y="240"/>
                  </a:cubicBezTo>
                  <a:cubicBezTo>
                    <a:pt x="3709" y="240"/>
                    <a:pt x="3712" y="235"/>
                    <a:pt x="3710" y="230"/>
                  </a:cubicBezTo>
                  <a:cubicBezTo>
                    <a:pt x="3707" y="224"/>
                    <a:pt x="3700" y="219"/>
                    <a:pt x="3694" y="219"/>
                  </a:cubicBezTo>
                  <a:cubicBezTo>
                    <a:pt x="3694" y="219"/>
                    <a:pt x="3694" y="219"/>
                    <a:pt x="3694" y="219"/>
                  </a:cubicBezTo>
                  <a:moveTo>
                    <a:pt x="3726" y="219"/>
                  </a:moveTo>
                  <a:cubicBezTo>
                    <a:pt x="3720" y="219"/>
                    <a:pt x="3717" y="224"/>
                    <a:pt x="3719" y="230"/>
                  </a:cubicBezTo>
                  <a:cubicBezTo>
                    <a:pt x="3722" y="235"/>
                    <a:pt x="3729" y="240"/>
                    <a:pt x="3735" y="240"/>
                  </a:cubicBezTo>
                  <a:cubicBezTo>
                    <a:pt x="3742" y="240"/>
                    <a:pt x="3745" y="235"/>
                    <a:pt x="3742" y="229"/>
                  </a:cubicBezTo>
                  <a:cubicBezTo>
                    <a:pt x="3739" y="224"/>
                    <a:pt x="3732" y="219"/>
                    <a:pt x="3726" y="219"/>
                  </a:cubicBezTo>
                  <a:cubicBezTo>
                    <a:pt x="3726" y="219"/>
                    <a:pt x="3726" y="219"/>
                    <a:pt x="3726" y="219"/>
                  </a:cubicBezTo>
                  <a:moveTo>
                    <a:pt x="3758" y="219"/>
                  </a:moveTo>
                  <a:cubicBezTo>
                    <a:pt x="3752" y="219"/>
                    <a:pt x="3749" y="224"/>
                    <a:pt x="3752" y="229"/>
                  </a:cubicBezTo>
                  <a:cubicBezTo>
                    <a:pt x="3755" y="235"/>
                    <a:pt x="3762" y="239"/>
                    <a:pt x="3768" y="239"/>
                  </a:cubicBezTo>
                  <a:cubicBezTo>
                    <a:pt x="3774" y="239"/>
                    <a:pt x="3777" y="235"/>
                    <a:pt x="3775" y="229"/>
                  </a:cubicBezTo>
                  <a:cubicBezTo>
                    <a:pt x="3772" y="223"/>
                    <a:pt x="3765" y="219"/>
                    <a:pt x="3758" y="219"/>
                  </a:cubicBezTo>
                  <a:cubicBezTo>
                    <a:pt x="3758" y="219"/>
                    <a:pt x="3758" y="219"/>
                    <a:pt x="3758" y="219"/>
                  </a:cubicBezTo>
                  <a:moveTo>
                    <a:pt x="3790" y="219"/>
                  </a:moveTo>
                  <a:cubicBezTo>
                    <a:pt x="3784" y="219"/>
                    <a:pt x="3781" y="223"/>
                    <a:pt x="3784" y="229"/>
                  </a:cubicBezTo>
                  <a:cubicBezTo>
                    <a:pt x="3787" y="235"/>
                    <a:pt x="3794" y="239"/>
                    <a:pt x="3800" y="239"/>
                  </a:cubicBezTo>
                  <a:cubicBezTo>
                    <a:pt x="3806" y="239"/>
                    <a:pt x="3809" y="234"/>
                    <a:pt x="3806" y="229"/>
                  </a:cubicBezTo>
                  <a:cubicBezTo>
                    <a:pt x="3804" y="223"/>
                    <a:pt x="3796" y="219"/>
                    <a:pt x="3790" y="219"/>
                  </a:cubicBezTo>
                  <a:cubicBezTo>
                    <a:pt x="3790" y="219"/>
                    <a:pt x="3790" y="219"/>
                    <a:pt x="3790" y="219"/>
                  </a:cubicBezTo>
                  <a:moveTo>
                    <a:pt x="272" y="218"/>
                  </a:moveTo>
                  <a:cubicBezTo>
                    <a:pt x="266" y="218"/>
                    <a:pt x="257" y="223"/>
                    <a:pt x="252" y="229"/>
                  </a:cubicBezTo>
                  <a:cubicBezTo>
                    <a:pt x="247" y="234"/>
                    <a:pt x="248" y="239"/>
                    <a:pt x="255" y="239"/>
                  </a:cubicBezTo>
                  <a:cubicBezTo>
                    <a:pt x="261" y="239"/>
                    <a:pt x="270" y="234"/>
                    <a:pt x="274" y="228"/>
                  </a:cubicBezTo>
                  <a:cubicBezTo>
                    <a:pt x="279" y="223"/>
                    <a:pt x="278" y="218"/>
                    <a:pt x="272" y="218"/>
                  </a:cubicBezTo>
                  <a:cubicBezTo>
                    <a:pt x="272" y="218"/>
                    <a:pt x="272" y="218"/>
                    <a:pt x="272" y="218"/>
                  </a:cubicBezTo>
                  <a:moveTo>
                    <a:pt x="3822" y="218"/>
                  </a:moveTo>
                  <a:cubicBezTo>
                    <a:pt x="3816" y="218"/>
                    <a:pt x="3813" y="223"/>
                    <a:pt x="3816" y="229"/>
                  </a:cubicBezTo>
                  <a:cubicBezTo>
                    <a:pt x="3819" y="234"/>
                    <a:pt x="3826" y="239"/>
                    <a:pt x="3832" y="239"/>
                  </a:cubicBezTo>
                  <a:cubicBezTo>
                    <a:pt x="3839" y="239"/>
                    <a:pt x="3841" y="234"/>
                    <a:pt x="3839" y="229"/>
                  </a:cubicBezTo>
                  <a:cubicBezTo>
                    <a:pt x="3836" y="223"/>
                    <a:pt x="3828" y="218"/>
                    <a:pt x="3822" y="218"/>
                  </a:cubicBezTo>
                  <a:cubicBezTo>
                    <a:pt x="3822" y="218"/>
                    <a:pt x="3822" y="218"/>
                    <a:pt x="3822" y="218"/>
                  </a:cubicBezTo>
                  <a:moveTo>
                    <a:pt x="304" y="218"/>
                  </a:moveTo>
                  <a:cubicBezTo>
                    <a:pt x="297" y="218"/>
                    <a:pt x="289" y="223"/>
                    <a:pt x="284" y="228"/>
                  </a:cubicBezTo>
                  <a:cubicBezTo>
                    <a:pt x="279" y="234"/>
                    <a:pt x="280" y="238"/>
                    <a:pt x="287" y="238"/>
                  </a:cubicBezTo>
                  <a:cubicBezTo>
                    <a:pt x="293" y="238"/>
                    <a:pt x="302" y="234"/>
                    <a:pt x="306" y="228"/>
                  </a:cubicBezTo>
                  <a:cubicBezTo>
                    <a:pt x="311" y="223"/>
                    <a:pt x="310" y="218"/>
                    <a:pt x="304" y="218"/>
                  </a:cubicBezTo>
                  <a:cubicBezTo>
                    <a:pt x="304" y="218"/>
                    <a:pt x="304" y="218"/>
                    <a:pt x="304" y="218"/>
                  </a:cubicBezTo>
                  <a:moveTo>
                    <a:pt x="3854" y="218"/>
                  </a:moveTo>
                  <a:cubicBezTo>
                    <a:pt x="3848" y="218"/>
                    <a:pt x="3845" y="223"/>
                    <a:pt x="3848" y="228"/>
                  </a:cubicBezTo>
                  <a:cubicBezTo>
                    <a:pt x="3851" y="234"/>
                    <a:pt x="3858" y="239"/>
                    <a:pt x="3865" y="239"/>
                  </a:cubicBezTo>
                  <a:cubicBezTo>
                    <a:pt x="3871" y="239"/>
                    <a:pt x="3873" y="234"/>
                    <a:pt x="3871" y="228"/>
                  </a:cubicBezTo>
                  <a:cubicBezTo>
                    <a:pt x="3868" y="223"/>
                    <a:pt x="3860" y="218"/>
                    <a:pt x="3854" y="218"/>
                  </a:cubicBezTo>
                  <a:cubicBezTo>
                    <a:pt x="3854" y="218"/>
                    <a:pt x="3854" y="218"/>
                    <a:pt x="3854" y="218"/>
                  </a:cubicBezTo>
                  <a:moveTo>
                    <a:pt x="335" y="218"/>
                  </a:moveTo>
                  <a:cubicBezTo>
                    <a:pt x="329" y="218"/>
                    <a:pt x="320" y="222"/>
                    <a:pt x="316" y="228"/>
                  </a:cubicBezTo>
                  <a:cubicBezTo>
                    <a:pt x="311" y="234"/>
                    <a:pt x="312" y="238"/>
                    <a:pt x="319" y="238"/>
                  </a:cubicBezTo>
                  <a:cubicBezTo>
                    <a:pt x="325" y="238"/>
                    <a:pt x="334" y="233"/>
                    <a:pt x="338" y="228"/>
                  </a:cubicBezTo>
                  <a:cubicBezTo>
                    <a:pt x="343" y="222"/>
                    <a:pt x="342" y="218"/>
                    <a:pt x="335" y="218"/>
                  </a:cubicBezTo>
                  <a:cubicBezTo>
                    <a:pt x="335" y="218"/>
                    <a:pt x="335" y="218"/>
                    <a:pt x="335" y="218"/>
                  </a:cubicBezTo>
                  <a:moveTo>
                    <a:pt x="3886" y="218"/>
                  </a:moveTo>
                  <a:cubicBezTo>
                    <a:pt x="3880" y="218"/>
                    <a:pt x="3877" y="222"/>
                    <a:pt x="3880" y="228"/>
                  </a:cubicBezTo>
                  <a:cubicBezTo>
                    <a:pt x="3883" y="234"/>
                    <a:pt x="3890" y="238"/>
                    <a:pt x="3897" y="238"/>
                  </a:cubicBezTo>
                  <a:cubicBezTo>
                    <a:pt x="3903" y="238"/>
                    <a:pt x="3906" y="234"/>
                    <a:pt x="3903" y="228"/>
                  </a:cubicBezTo>
                  <a:cubicBezTo>
                    <a:pt x="3900" y="222"/>
                    <a:pt x="3892" y="218"/>
                    <a:pt x="3886" y="218"/>
                  </a:cubicBezTo>
                  <a:cubicBezTo>
                    <a:pt x="3886" y="218"/>
                    <a:pt x="3886" y="218"/>
                    <a:pt x="3886" y="218"/>
                  </a:cubicBezTo>
                  <a:moveTo>
                    <a:pt x="367" y="217"/>
                  </a:moveTo>
                  <a:cubicBezTo>
                    <a:pt x="361" y="218"/>
                    <a:pt x="352" y="222"/>
                    <a:pt x="348" y="228"/>
                  </a:cubicBezTo>
                  <a:cubicBezTo>
                    <a:pt x="343" y="233"/>
                    <a:pt x="345" y="238"/>
                    <a:pt x="351" y="238"/>
                  </a:cubicBezTo>
                  <a:cubicBezTo>
                    <a:pt x="357" y="238"/>
                    <a:pt x="366" y="233"/>
                    <a:pt x="370" y="228"/>
                  </a:cubicBezTo>
                  <a:cubicBezTo>
                    <a:pt x="375" y="222"/>
                    <a:pt x="374" y="217"/>
                    <a:pt x="367" y="217"/>
                  </a:cubicBezTo>
                  <a:cubicBezTo>
                    <a:pt x="367" y="217"/>
                    <a:pt x="367" y="217"/>
                    <a:pt x="367" y="217"/>
                  </a:cubicBezTo>
                  <a:moveTo>
                    <a:pt x="3918" y="217"/>
                  </a:moveTo>
                  <a:cubicBezTo>
                    <a:pt x="3912" y="218"/>
                    <a:pt x="3909" y="222"/>
                    <a:pt x="3912" y="228"/>
                  </a:cubicBezTo>
                  <a:cubicBezTo>
                    <a:pt x="3915" y="234"/>
                    <a:pt x="3922" y="238"/>
                    <a:pt x="3929" y="238"/>
                  </a:cubicBezTo>
                  <a:cubicBezTo>
                    <a:pt x="3935" y="238"/>
                    <a:pt x="3938" y="233"/>
                    <a:pt x="3934" y="228"/>
                  </a:cubicBezTo>
                  <a:cubicBezTo>
                    <a:pt x="3931" y="222"/>
                    <a:pt x="3924" y="217"/>
                    <a:pt x="3918" y="217"/>
                  </a:cubicBezTo>
                  <a:cubicBezTo>
                    <a:pt x="3918" y="217"/>
                    <a:pt x="3918" y="217"/>
                    <a:pt x="3918" y="217"/>
                  </a:cubicBezTo>
                  <a:moveTo>
                    <a:pt x="3950" y="217"/>
                  </a:moveTo>
                  <a:cubicBezTo>
                    <a:pt x="3944" y="217"/>
                    <a:pt x="3941" y="222"/>
                    <a:pt x="3944" y="228"/>
                  </a:cubicBezTo>
                  <a:cubicBezTo>
                    <a:pt x="3947" y="233"/>
                    <a:pt x="3955" y="238"/>
                    <a:pt x="3961" y="238"/>
                  </a:cubicBezTo>
                  <a:cubicBezTo>
                    <a:pt x="3967" y="238"/>
                    <a:pt x="3970" y="233"/>
                    <a:pt x="3967" y="227"/>
                  </a:cubicBezTo>
                  <a:cubicBezTo>
                    <a:pt x="3964" y="222"/>
                    <a:pt x="3956" y="217"/>
                    <a:pt x="3950" y="217"/>
                  </a:cubicBezTo>
                  <a:cubicBezTo>
                    <a:pt x="3950" y="217"/>
                    <a:pt x="3950" y="217"/>
                    <a:pt x="3950" y="217"/>
                  </a:cubicBezTo>
                  <a:moveTo>
                    <a:pt x="401" y="217"/>
                  </a:moveTo>
                  <a:cubicBezTo>
                    <a:pt x="395" y="217"/>
                    <a:pt x="386" y="222"/>
                    <a:pt x="381" y="227"/>
                  </a:cubicBezTo>
                  <a:cubicBezTo>
                    <a:pt x="377" y="233"/>
                    <a:pt x="378" y="237"/>
                    <a:pt x="384" y="237"/>
                  </a:cubicBezTo>
                  <a:cubicBezTo>
                    <a:pt x="391" y="237"/>
                    <a:pt x="399" y="233"/>
                    <a:pt x="404" y="227"/>
                  </a:cubicBezTo>
                  <a:cubicBezTo>
                    <a:pt x="408" y="222"/>
                    <a:pt x="407" y="217"/>
                    <a:pt x="401" y="217"/>
                  </a:cubicBezTo>
                  <a:cubicBezTo>
                    <a:pt x="401" y="217"/>
                    <a:pt x="401" y="217"/>
                    <a:pt x="401" y="217"/>
                  </a:cubicBezTo>
                  <a:moveTo>
                    <a:pt x="3982" y="217"/>
                  </a:moveTo>
                  <a:cubicBezTo>
                    <a:pt x="3976" y="217"/>
                    <a:pt x="3973" y="222"/>
                    <a:pt x="3977" y="227"/>
                  </a:cubicBezTo>
                  <a:cubicBezTo>
                    <a:pt x="3980" y="233"/>
                    <a:pt x="3987" y="238"/>
                    <a:pt x="3994" y="238"/>
                  </a:cubicBezTo>
                  <a:cubicBezTo>
                    <a:pt x="4000" y="237"/>
                    <a:pt x="4002" y="233"/>
                    <a:pt x="3999" y="227"/>
                  </a:cubicBezTo>
                  <a:cubicBezTo>
                    <a:pt x="3996" y="221"/>
                    <a:pt x="3988" y="217"/>
                    <a:pt x="3982" y="217"/>
                  </a:cubicBezTo>
                  <a:cubicBezTo>
                    <a:pt x="3982" y="217"/>
                    <a:pt x="3982" y="217"/>
                    <a:pt x="3982" y="217"/>
                  </a:cubicBezTo>
                  <a:moveTo>
                    <a:pt x="432" y="217"/>
                  </a:moveTo>
                  <a:cubicBezTo>
                    <a:pt x="426" y="217"/>
                    <a:pt x="418" y="222"/>
                    <a:pt x="413" y="227"/>
                  </a:cubicBezTo>
                  <a:cubicBezTo>
                    <a:pt x="409" y="233"/>
                    <a:pt x="410" y="237"/>
                    <a:pt x="416" y="237"/>
                  </a:cubicBezTo>
                  <a:cubicBezTo>
                    <a:pt x="423" y="237"/>
                    <a:pt x="431" y="233"/>
                    <a:pt x="436" y="227"/>
                  </a:cubicBezTo>
                  <a:cubicBezTo>
                    <a:pt x="440" y="221"/>
                    <a:pt x="439" y="217"/>
                    <a:pt x="433" y="217"/>
                  </a:cubicBezTo>
                  <a:cubicBezTo>
                    <a:pt x="433" y="217"/>
                    <a:pt x="433" y="217"/>
                    <a:pt x="432" y="217"/>
                  </a:cubicBezTo>
                  <a:moveTo>
                    <a:pt x="4014" y="217"/>
                  </a:moveTo>
                  <a:cubicBezTo>
                    <a:pt x="4008" y="217"/>
                    <a:pt x="4005" y="221"/>
                    <a:pt x="4009" y="227"/>
                  </a:cubicBezTo>
                  <a:cubicBezTo>
                    <a:pt x="4012" y="233"/>
                    <a:pt x="4019" y="237"/>
                    <a:pt x="4026" y="237"/>
                  </a:cubicBezTo>
                  <a:cubicBezTo>
                    <a:pt x="4032" y="237"/>
                    <a:pt x="4034" y="233"/>
                    <a:pt x="4031" y="227"/>
                  </a:cubicBezTo>
                  <a:cubicBezTo>
                    <a:pt x="4028" y="221"/>
                    <a:pt x="4020" y="217"/>
                    <a:pt x="4014" y="217"/>
                  </a:cubicBezTo>
                  <a:cubicBezTo>
                    <a:pt x="4014" y="217"/>
                    <a:pt x="4014" y="217"/>
                    <a:pt x="4014" y="217"/>
                  </a:cubicBezTo>
                  <a:moveTo>
                    <a:pt x="464" y="217"/>
                  </a:moveTo>
                  <a:cubicBezTo>
                    <a:pt x="458" y="217"/>
                    <a:pt x="450" y="221"/>
                    <a:pt x="445" y="227"/>
                  </a:cubicBezTo>
                  <a:cubicBezTo>
                    <a:pt x="441" y="232"/>
                    <a:pt x="442" y="237"/>
                    <a:pt x="449" y="237"/>
                  </a:cubicBezTo>
                  <a:cubicBezTo>
                    <a:pt x="455" y="237"/>
                    <a:pt x="463" y="232"/>
                    <a:pt x="468" y="227"/>
                  </a:cubicBezTo>
                  <a:cubicBezTo>
                    <a:pt x="472" y="221"/>
                    <a:pt x="471" y="217"/>
                    <a:pt x="465" y="217"/>
                  </a:cubicBezTo>
                  <a:cubicBezTo>
                    <a:pt x="465" y="217"/>
                    <a:pt x="464" y="217"/>
                    <a:pt x="464" y="217"/>
                  </a:cubicBezTo>
                  <a:moveTo>
                    <a:pt x="4046" y="216"/>
                  </a:moveTo>
                  <a:cubicBezTo>
                    <a:pt x="4040" y="216"/>
                    <a:pt x="4037" y="221"/>
                    <a:pt x="4041" y="227"/>
                  </a:cubicBezTo>
                  <a:cubicBezTo>
                    <a:pt x="4044" y="232"/>
                    <a:pt x="4052" y="237"/>
                    <a:pt x="4058" y="237"/>
                  </a:cubicBezTo>
                  <a:cubicBezTo>
                    <a:pt x="4064" y="237"/>
                    <a:pt x="4066" y="232"/>
                    <a:pt x="4063" y="227"/>
                  </a:cubicBezTo>
                  <a:cubicBezTo>
                    <a:pt x="4060" y="221"/>
                    <a:pt x="4052" y="216"/>
                    <a:pt x="4046" y="216"/>
                  </a:cubicBezTo>
                  <a:cubicBezTo>
                    <a:pt x="4046" y="216"/>
                    <a:pt x="4046" y="216"/>
                    <a:pt x="4046" y="216"/>
                  </a:cubicBezTo>
                  <a:moveTo>
                    <a:pt x="498" y="216"/>
                  </a:moveTo>
                  <a:cubicBezTo>
                    <a:pt x="491" y="216"/>
                    <a:pt x="483" y="221"/>
                    <a:pt x="479" y="227"/>
                  </a:cubicBezTo>
                  <a:cubicBezTo>
                    <a:pt x="474" y="232"/>
                    <a:pt x="476" y="237"/>
                    <a:pt x="482" y="237"/>
                  </a:cubicBezTo>
                  <a:cubicBezTo>
                    <a:pt x="488" y="237"/>
                    <a:pt x="497" y="232"/>
                    <a:pt x="501" y="226"/>
                  </a:cubicBezTo>
                  <a:cubicBezTo>
                    <a:pt x="505" y="221"/>
                    <a:pt x="504" y="216"/>
                    <a:pt x="498" y="216"/>
                  </a:cubicBezTo>
                  <a:cubicBezTo>
                    <a:pt x="498" y="216"/>
                    <a:pt x="498" y="216"/>
                    <a:pt x="498" y="216"/>
                  </a:cubicBezTo>
                  <a:moveTo>
                    <a:pt x="4078" y="216"/>
                  </a:moveTo>
                  <a:cubicBezTo>
                    <a:pt x="4072" y="216"/>
                    <a:pt x="4069" y="221"/>
                    <a:pt x="4073" y="226"/>
                  </a:cubicBezTo>
                  <a:cubicBezTo>
                    <a:pt x="4076" y="232"/>
                    <a:pt x="4084" y="237"/>
                    <a:pt x="4090" y="237"/>
                  </a:cubicBezTo>
                  <a:cubicBezTo>
                    <a:pt x="4096" y="237"/>
                    <a:pt x="4098" y="232"/>
                    <a:pt x="4095" y="226"/>
                  </a:cubicBezTo>
                  <a:cubicBezTo>
                    <a:pt x="4092" y="221"/>
                    <a:pt x="4084" y="216"/>
                    <a:pt x="4078" y="216"/>
                  </a:cubicBezTo>
                  <a:cubicBezTo>
                    <a:pt x="4078" y="216"/>
                    <a:pt x="4078" y="216"/>
                    <a:pt x="4078" y="216"/>
                  </a:cubicBezTo>
                  <a:moveTo>
                    <a:pt x="529" y="216"/>
                  </a:moveTo>
                  <a:cubicBezTo>
                    <a:pt x="523" y="216"/>
                    <a:pt x="515" y="221"/>
                    <a:pt x="511" y="226"/>
                  </a:cubicBezTo>
                  <a:cubicBezTo>
                    <a:pt x="506" y="232"/>
                    <a:pt x="508" y="236"/>
                    <a:pt x="514" y="236"/>
                  </a:cubicBezTo>
                  <a:cubicBezTo>
                    <a:pt x="520" y="236"/>
                    <a:pt x="529" y="232"/>
                    <a:pt x="533" y="226"/>
                  </a:cubicBezTo>
                  <a:cubicBezTo>
                    <a:pt x="537" y="221"/>
                    <a:pt x="536" y="216"/>
                    <a:pt x="530" y="216"/>
                  </a:cubicBezTo>
                  <a:cubicBezTo>
                    <a:pt x="529" y="216"/>
                    <a:pt x="529" y="216"/>
                    <a:pt x="529" y="216"/>
                  </a:cubicBezTo>
                  <a:moveTo>
                    <a:pt x="4109" y="216"/>
                  </a:moveTo>
                  <a:cubicBezTo>
                    <a:pt x="4103" y="216"/>
                    <a:pt x="4100" y="221"/>
                    <a:pt x="4104" y="226"/>
                  </a:cubicBezTo>
                  <a:cubicBezTo>
                    <a:pt x="4107" y="232"/>
                    <a:pt x="4115" y="236"/>
                    <a:pt x="4121" y="236"/>
                  </a:cubicBezTo>
                  <a:cubicBezTo>
                    <a:pt x="4128" y="236"/>
                    <a:pt x="4130" y="232"/>
                    <a:pt x="4126" y="226"/>
                  </a:cubicBezTo>
                  <a:cubicBezTo>
                    <a:pt x="4123" y="220"/>
                    <a:pt x="4115" y="216"/>
                    <a:pt x="4109" y="216"/>
                  </a:cubicBezTo>
                  <a:cubicBezTo>
                    <a:pt x="4109" y="216"/>
                    <a:pt x="4109" y="216"/>
                    <a:pt x="4109" y="216"/>
                  </a:cubicBezTo>
                  <a:moveTo>
                    <a:pt x="561" y="216"/>
                  </a:moveTo>
                  <a:cubicBezTo>
                    <a:pt x="555" y="216"/>
                    <a:pt x="547" y="220"/>
                    <a:pt x="543" y="226"/>
                  </a:cubicBezTo>
                  <a:cubicBezTo>
                    <a:pt x="538" y="232"/>
                    <a:pt x="540" y="236"/>
                    <a:pt x="546" y="236"/>
                  </a:cubicBezTo>
                  <a:cubicBezTo>
                    <a:pt x="553" y="236"/>
                    <a:pt x="561" y="231"/>
                    <a:pt x="565" y="226"/>
                  </a:cubicBezTo>
                  <a:cubicBezTo>
                    <a:pt x="569" y="220"/>
                    <a:pt x="568" y="216"/>
                    <a:pt x="561" y="216"/>
                  </a:cubicBezTo>
                  <a:cubicBezTo>
                    <a:pt x="561" y="216"/>
                    <a:pt x="561" y="216"/>
                    <a:pt x="561" y="216"/>
                  </a:cubicBezTo>
                  <a:moveTo>
                    <a:pt x="4141" y="216"/>
                  </a:moveTo>
                  <a:cubicBezTo>
                    <a:pt x="4135" y="216"/>
                    <a:pt x="4133" y="220"/>
                    <a:pt x="4136" y="226"/>
                  </a:cubicBezTo>
                  <a:cubicBezTo>
                    <a:pt x="4140" y="232"/>
                    <a:pt x="4148" y="236"/>
                    <a:pt x="4154" y="236"/>
                  </a:cubicBezTo>
                  <a:cubicBezTo>
                    <a:pt x="4160" y="236"/>
                    <a:pt x="4162" y="231"/>
                    <a:pt x="4159" y="226"/>
                  </a:cubicBezTo>
                  <a:cubicBezTo>
                    <a:pt x="4155" y="220"/>
                    <a:pt x="4147" y="216"/>
                    <a:pt x="4141" y="216"/>
                  </a:cubicBezTo>
                  <a:cubicBezTo>
                    <a:pt x="4141" y="216"/>
                    <a:pt x="4141" y="216"/>
                    <a:pt x="4141" y="216"/>
                  </a:cubicBezTo>
                  <a:moveTo>
                    <a:pt x="593" y="216"/>
                  </a:moveTo>
                  <a:cubicBezTo>
                    <a:pt x="587" y="216"/>
                    <a:pt x="579" y="220"/>
                    <a:pt x="575" y="226"/>
                  </a:cubicBezTo>
                  <a:cubicBezTo>
                    <a:pt x="570" y="231"/>
                    <a:pt x="572" y="236"/>
                    <a:pt x="578" y="236"/>
                  </a:cubicBezTo>
                  <a:cubicBezTo>
                    <a:pt x="585" y="236"/>
                    <a:pt x="593" y="231"/>
                    <a:pt x="597" y="226"/>
                  </a:cubicBezTo>
                  <a:cubicBezTo>
                    <a:pt x="601" y="220"/>
                    <a:pt x="599" y="216"/>
                    <a:pt x="593" y="216"/>
                  </a:cubicBezTo>
                  <a:cubicBezTo>
                    <a:pt x="593" y="216"/>
                    <a:pt x="593" y="216"/>
                    <a:pt x="593" y="216"/>
                  </a:cubicBezTo>
                  <a:moveTo>
                    <a:pt x="4171" y="215"/>
                  </a:moveTo>
                  <a:cubicBezTo>
                    <a:pt x="4165" y="215"/>
                    <a:pt x="4163" y="220"/>
                    <a:pt x="4166" y="226"/>
                  </a:cubicBezTo>
                  <a:cubicBezTo>
                    <a:pt x="4170" y="231"/>
                    <a:pt x="4178" y="236"/>
                    <a:pt x="4184" y="236"/>
                  </a:cubicBezTo>
                  <a:cubicBezTo>
                    <a:pt x="4190" y="236"/>
                    <a:pt x="4192" y="231"/>
                    <a:pt x="4189" y="226"/>
                  </a:cubicBezTo>
                  <a:cubicBezTo>
                    <a:pt x="4185" y="220"/>
                    <a:pt x="4177" y="215"/>
                    <a:pt x="4171" y="215"/>
                  </a:cubicBezTo>
                  <a:cubicBezTo>
                    <a:pt x="4171" y="215"/>
                    <a:pt x="4171" y="215"/>
                    <a:pt x="4171" y="215"/>
                  </a:cubicBezTo>
                  <a:moveTo>
                    <a:pt x="625" y="215"/>
                  </a:moveTo>
                  <a:cubicBezTo>
                    <a:pt x="619" y="215"/>
                    <a:pt x="611" y="220"/>
                    <a:pt x="607" y="225"/>
                  </a:cubicBezTo>
                  <a:cubicBezTo>
                    <a:pt x="603" y="231"/>
                    <a:pt x="604" y="236"/>
                    <a:pt x="611" y="235"/>
                  </a:cubicBezTo>
                  <a:cubicBezTo>
                    <a:pt x="617" y="235"/>
                    <a:pt x="625" y="231"/>
                    <a:pt x="629" y="225"/>
                  </a:cubicBezTo>
                  <a:cubicBezTo>
                    <a:pt x="633" y="220"/>
                    <a:pt x="631" y="215"/>
                    <a:pt x="625" y="215"/>
                  </a:cubicBezTo>
                  <a:cubicBezTo>
                    <a:pt x="625" y="215"/>
                    <a:pt x="625" y="215"/>
                    <a:pt x="625" y="215"/>
                  </a:cubicBezTo>
                  <a:moveTo>
                    <a:pt x="658" y="215"/>
                  </a:moveTo>
                  <a:cubicBezTo>
                    <a:pt x="652" y="215"/>
                    <a:pt x="644" y="220"/>
                    <a:pt x="640" y="225"/>
                  </a:cubicBezTo>
                  <a:cubicBezTo>
                    <a:pt x="636" y="231"/>
                    <a:pt x="638" y="235"/>
                    <a:pt x="644" y="235"/>
                  </a:cubicBezTo>
                  <a:cubicBezTo>
                    <a:pt x="650" y="235"/>
                    <a:pt x="658" y="231"/>
                    <a:pt x="662" y="225"/>
                  </a:cubicBezTo>
                  <a:cubicBezTo>
                    <a:pt x="666" y="219"/>
                    <a:pt x="664" y="215"/>
                    <a:pt x="658" y="215"/>
                  </a:cubicBezTo>
                  <a:cubicBezTo>
                    <a:pt x="658" y="215"/>
                    <a:pt x="658" y="215"/>
                    <a:pt x="658" y="215"/>
                  </a:cubicBezTo>
                  <a:moveTo>
                    <a:pt x="690" y="215"/>
                  </a:moveTo>
                  <a:cubicBezTo>
                    <a:pt x="684" y="215"/>
                    <a:pt x="676" y="219"/>
                    <a:pt x="672" y="225"/>
                  </a:cubicBezTo>
                  <a:cubicBezTo>
                    <a:pt x="668" y="230"/>
                    <a:pt x="670" y="235"/>
                    <a:pt x="676" y="235"/>
                  </a:cubicBezTo>
                  <a:cubicBezTo>
                    <a:pt x="682" y="235"/>
                    <a:pt x="690" y="230"/>
                    <a:pt x="694" y="225"/>
                  </a:cubicBezTo>
                  <a:cubicBezTo>
                    <a:pt x="698" y="219"/>
                    <a:pt x="696" y="215"/>
                    <a:pt x="690" y="215"/>
                  </a:cubicBezTo>
                  <a:cubicBezTo>
                    <a:pt x="690" y="215"/>
                    <a:pt x="690" y="215"/>
                    <a:pt x="690" y="215"/>
                  </a:cubicBezTo>
                  <a:moveTo>
                    <a:pt x="722" y="214"/>
                  </a:moveTo>
                  <a:cubicBezTo>
                    <a:pt x="716" y="214"/>
                    <a:pt x="708" y="219"/>
                    <a:pt x="704" y="225"/>
                  </a:cubicBezTo>
                  <a:cubicBezTo>
                    <a:pt x="700" y="230"/>
                    <a:pt x="702" y="235"/>
                    <a:pt x="708" y="235"/>
                  </a:cubicBezTo>
                  <a:cubicBezTo>
                    <a:pt x="714" y="235"/>
                    <a:pt x="722" y="230"/>
                    <a:pt x="726" y="224"/>
                  </a:cubicBezTo>
                  <a:cubicBezTo>
                    <a:pt x="730" y="219"/>
                    <a:pt x="728" y="214"/>
                    <a:pt x="722" y="214"/>
                  </a:cubicBezTo>
                  <a:cubicBezTo>
                    <a:pt x="722" y="214"/>
                    <a:pt x="722" y="214"/>
                    <a:pt x="722" y="214"/>
                  </a:cubicBezTo>
                  <a:moveTo>
                    <a:pt x="754" y="214"/>
                  </a:moveTo>
                  <a:cubicBezTo>
                    <a:pt x="748" y="214"/>
                    <a:pt x="740" y="219"/>
                    <a:pt x="736" y="224"/>
                  </a:cubicBezTo>
                  <a:cubicBezTo>
                    <a:pt x="732" y="230"/>
                    <a:pt x="734" y="234"/>
                    <a:pt x="741" y="234"/>
                  </a:cubicBezTo>
                  <a:cubicBezTo>
                    <a:pt x="747" y="234"/>
                    <a:pt x="755" y="230"/>
                    <a:pt x="759" y="224"/>
                  </a:cubicBezTo>
                  <a:cubicBezTo>
                    <a:pt x="762" y="219"/>
                    <a:pt x="760" y="214"/>
                    <a:pt x="754" y="214"/>
                  </a:cubicBezTo>
                  <a:cubicBezTo>
                    <a:pt x="754" y="214"/>
                    <a:pt x="754" y="214"/>
                    <a:pt x="754" y="214"/>
                  </a:cubicBezTo>
                  <a:moveTo>
                    <a:pt x="786" y="214"/>
                  </a:moveTo>
                  <a:cubicBezTo>
                    <a:pt x="780" y="214"/>
                    <a:pt x="772" y="218"/>
                    <a:pt x="768" y="224"/>
                  </a:cubicBezTo>
                  <a:cubicBezTo>
                    <a:pt x="764" y="230"/>
                    <a:pt x="766" y="234"/>
                    <a:pt x="773" y="234"/>
                  </a:cubicBezTo>
                  <a:cubicBezTo>
                    <a:pt x="779" y="234"/>
                    <a:pt x="787" y="229"/>
                    <a:pt x="791" y="224"/>
                  </a:cubicBezTo>
                  <a:cubicBezTo>
                    <a:pt x="794" y="218"/>
                    <a:pt x="792" y="214"/>
                    <a:pt x="786" y="214"/>
                  </a:cubicBezTo>
                  <a:cubicBezTo>
                    <a:pt x="786" y="214"/>
                    <a:pt x="786" y="214"/>
                    <a:pt x="786" y="214"/>
                  </a:cubicBezTo>
                  <a:moveTo>
                    <a:pt x="818" y="214"/>
                  </a:moveTo>
                  <a:cubicBezTo>
                    <a:pt x="812" y="214"/>
                    <a:pt x="804" y="218"/>
                    <a:pt x="800" y="224"/>
                  </a:cubicBezTo>
                  <a:cubicBezTo>
                    <a:pt x="797" y="229"/>
                    <a:pt x="799" y="234"/>
                    <a:pt x="805" y="234"/>
                  </a:cubicBezTo>
                  <a:cubicBezTo>
                    <a:pt x="811" y="234"/>
                    <a:pt x="819" y="229"/>
                    <a:pt x="823" y="224"/>
                  </a:cubicBezTo>
                  <a:cubicBezTo>
                    <a:pt x="826" y="218"/>
                    <a:pt x="824" y="214"/>
                    <a:pt x="818" y="214"/>
                  </a:cubicBezTo>
                  <a:cubicBezTo>
                    <a:pt x="818" y="214"/>
                    <a:pt x="818" y="214"/>
                    <a:pt x="818" y="214"/>
                  </a:cubicBezTo>
                  <a:moveTo>
                    <a:pt x="850" y="213"/>
                  </a:moveTo>
                  <a:cubicBezTo>
                    <a:pt x="844" y="213"/>
                    <a:pt x="836" y="218"/>
                    <a:pt x="832" y="223"/>
                  </a:cubicBezTo>
                  <a:cubicBezTo>
                    <a:pt x="829" y="229"/>
                    <a:pt x="831" y="234"/>
                    <a:pt x="837" y="234"/>
                  </a:cubicBezTo>
                  <a:cubicBezTo>
                    <a:pt x="843" y="233"/>
                    <a:pt x="851" y="229"/>
                    <a:pt x="855" y="223"/>
                  </a:cubicBezTo>
                  <a:cubicBezTo>
                    <a:pt x="858" y="218"/>
                    <a:pt x="856" y="213"/>
                    <a:pt x="850" y="213"/>
                  </a:cubicBezTo>
                  <a:cubicBezTo>
                    <a:pt x="850" y="213"/>
                    <a:pt x="850" y="213"/>
                    <a:pt x="850" y="213"/>
                  </a:cubicBezTo>
                  <a:moveTo>
                    <a:pt x="882" y="213"/>
                  </a:moveTo>
                  <a:cubicBezTo>
                    <a:pt x="876" y="213"/>
                    <a:pt x="868" y="218"/>
                    <a:pt x="864" y="223"/>
                  </a:cubicBezTo>
                  <a:cubicBezTo>
                    <a:pt x="861" y="229"/>
                    <a:pt x="863" y="233"/>
                    <a:pt x="869" y="233"/>
                  </a:cubicBezTo>
                  <a:cubicBezTo>
                    <a:pt x="875" y="233"/>
                    <a:pt x="883" y="229"/>
                    <a:pt x="887" y="223"/>
                  </a:cubicBezTo>
                  <a:cubicBezTo>
                    <a:pt x="890" y="217"/>
                    <a:pt x="888" y="213"/>
                    <a:pt x="882" y="213"/>
                  </a:cubicBezTo>
                  <a:cubicBezTo>
                    <a:pt x="882" y="213"/>
                    <a:pt x="882" y="213"/>
                    <a:pt x="882" y="213"/>
                  </a:cubicBezTo>
                  <a:moveTo>
                    <a:pt x="914" y="213"/>
                  </a:moveTo>
                  <a:cubicBezTo>
                    <a:pt x="908" y="213"/>
                    <a:pt x="900" y="217"/>
                    <a:pt x="897" y="223"/>
                  </a:cubicBezTo>
                  <a:cubicBezTo>
                    <a:pt x="893" y="229"/>
                    <a:pt x="895" y="233"/>
                    <a:pt x="902" y="233"/>
                  </a:cubicBezTo>
                  <a:cubicBezTo>
                    <a:pt x="908" y="233"/>
                    <a:pt x="916" y="228"/>
                    <a:pt x="919" y="223"/>
                  </a:cubicBezTo>
                  <a:cubicBezTo>
                    <a:pt x="922" y="217"/>
                    <a:pt x="920" y="213"/>
                    <a:pt x="914" y="213"/>
                  </a:cubicBezTo>
                  <a:cubicBezTo>
                    <a:pt x="914" y="213"/>
                    <a:pt x="914" y="213"/>
                    <a:pt x="914" y="213"/>
                  </a:cubicBezTo>
                  <a:moveTo>
                    <a:pt x="946" y="212"/>
                  </a:moveTo>
                  <a:cubicBezTo>
                    <a:pt x="940" y="212"/>
                    <a:pt x="932" y="217"/>
                    <a:pt x="929" y="223"/>
                  </a:cubicBezTo>
                  <a:cubicBezTo>
                    <a:pt x="925" y="228"/>
                    <a:pt x="927" y="233"/>
                    <a:pt x="934" y="233"/>
                  </a:cubicBezTo>
                  <a:cubicBezTo>
                    <a:pt x="940" y="233"/>
                    <a:pt x="948" y="228"/>
                    <a:pt x="951" y="222"/>
                  </a:cubicBezTo>
                  <a:cubicBezTo>
                    <a:pt x="954" y="217"/>
                    <a:pt x="952" y="212"/>
                    <a:pt x="946" y="212"/>
                  </a:cubicBezTo>
                  <a:cubicBezTo>
                    <a:pt x="946" y="212"/>
                    <a:pt x="946" y="212"/>
                    <a:pt x="946" y="212"/>
                  </a:cubicBezTo>
                  <a:moveTo>
                    <a:pt x="1294" y="212"/>
                  </a:moveTo>
                  <a:cubicBezTo>
                    <a:pt x="1288" y="212"/>
                    <a:pt x="1280" y="217"/>
                    <a:pt x="1278" y="223"/>
                  </a:cubicBezTo>
                  <a:cubicBezTo>
                    <a:pt x="1275" y="228"/>
                    <a:pt x="1278" y="233"/>
                    <a:pt x="1284" y="233"/>
                  </a:cubicBezTo>
                  <a:cubicBezTo>
                    <a:pt x="1291" y="233"/>
                    <a:pt x="1298" y="228"/>
                    <a:pt x="1300" y="222"/>
                  </a:cubicBezTo>
                  <a:cubicBezTo>
                    <a:pt x="1303" y="217"/>
                    <a:pt x="1300" y="212"/>
                    <a:pt x="1294" y="212"/>
                  </a:cubicBezTo>
                  <a:cubicBezTo>
                    <a:pt x="1294" y="212"/>
                    <a:pt x="1294" y="212"/>
                    <a:pt x="1294" y="212"/>
                  </a:cubicBezTo>
                  <a:moveTo>
                    <a:pt x="976" y="212"/>
                  </a:moveTo>
                  <a:cubicBezTo>
                    <a:pt x="970" y="212"/>
                    <a:pt x="962" y="217"/>
                    <a:pt x="959" y="222"/>
                  </a:cubicBezTo>
                  <a:cubicBezTo>
                    <a:pt x="956" y="228"/>
                    <a:pt x="958" y="232"/>
                    <a:pt x="964" y="232"/>
                  </a:cubicBezTo>
                  <a:cubicBezTo>
                    <a:pt x="970" y="232"/>
                    <a:pt x="978" y="228"/>
                    <a:pt x="981" y="222"/>
                  </a:cubicBezTo>
                  <a:cubicBezTo>
                    <a:pt x="985" y="217"/>
                    <a:pt x="982" y="212"/>
                    <a:pt x="976" y="212"/>
                  </a:cubicBezTo>
                  <a:cubicBezTo>
                    <a:pt x="976" y="212"/>
                    <a:pt x="976" y="212"/>
                    <a:pt x="976" y="212"/>
                  </a:cubicBezTo>
                  <a:moveTo>
                    <a:pt x="1326" y="212"/>
                  </a:moveTo>
                  <a:cubicBezTo>
                    <a:pt x="1320" y="212"/>
                    <a:pt x="1313" y="217"/>
                    <a:pt x="1310" y="222"/>
                  </a:cubicBezTo>
                  <a:cubicBezTo>
                    <a:pt x="1308" y="228"/>
                    <a:pt x="1311" y="232"/>
                    <a:pt x="1317" y="232"/>
                  </a:cubicBezTo>
                  <a:cubicBezTo>
                    <a:pt x="1323" y="232"/>
                    <a:pt x="1330" y="228"/>
                    <a:pt x="1333" y="222"/>
                  </a:cubicBezTo>
                  <a:cubicBezTo>
                    <a:pt x="1335" y="216"/>
                    <a:pt x="1332" y="212"/>
                    <a:pt x="1326" y="212"/>
                  </a:cubicBezTo>
                  <a:cubicBezTo>
                    <a:pt x="1326" y="212"/>
                    <a:pt x="1326" y="212"/>
                    <a:pt x="1326" y="212"/>
                  </a:cubicBezTo>
                  <a:moveTo>
                    <a:pt x="1008" y="212"/>
                  </a:moveTo>
                  <a:cubicBezTo>
                    <a:pt x="1002" y="212"/>
                    <a:pt x="995" y="216"/>
                    <a:pt x="991" y="222"/>
                  </a:cubicBezTo>
                  <a:cubicBezTo>
                    <a:pt x="988" y="228"/>
                    <a:pt x="990" y="232"/>
                    <a:pt x="997" y="232"/>
                  </a:cubicBezTo>
                  <a:cubicBezTo>
                    <a:pt x="1003" y="232"/>
                    <a:pt x="1011" y="228"/>
                    <a:pt x="1014" y="222"/>
                  </a:cubicBezTo>
                  <a:cubicBezTo>
                    <a:pt x="1017" y="216"/>
                    <a:pt x="1015" y="212"/>
                    <a:pt x="1008" y="212"/>
                  </a:cubicBezTo>
                  <a:cubicBezTo>
                    <a:pt x="1008" y="212"/>
                    <a:pt x="1008" y="212"/>
                    <a:pt x="1008" y="212"/>
                  </a:cubicBezTo>
                  <a:moveTo>
                    <a:pt x="1358" y="212"/>
                  </a:moveTo>
                  <a:cubicBezTo>
                    <a:pt x="1352" y="212"/>
                    <a:pt x="1345" y="216"/>
                    <a:pt x="1342" y="222"/>
                  </a:cubicBezTo>
                  <a:cubicBezTo>
                    <a:pt x="1340" y="228"/>
                    <a:pt x="1343" y="232"/>
                    <a:pt x="1349" y="232"/>
                  </a:cubicBezTo>
                  <a:cubicBezTo>
                    <a:pt x="1355" y="232"/>
                    <a:pt x="1362" y="227"/>
                    <a:pt x="1364" y="222"/>
                  </a:cubicBezTo>
                  <a:cubicBezTo>
                    <a:pt x="1367" y="216"/>
                    <a:pt x="1364" y="212"/>
                    <a:pt x="1358" y="212"/>
                  </a:cubicBezTo>
                  <a:cubicBezTo>
                    <a:pt x="1358" y="212"/>
                    <a:pt x="1358" y="212"/>
                    <a:pt x="1358" y="212"/>
                  </a:cubicBezTo>
                  <a:moveTo>
                    <a:pt x="1040" y="212"/>
                  </a:moveTo>
                  <a:cubicBezTo>
                    <a:pt x="1034" y="212"/>
                    <a:pt x="1026" y="216"/>
                    <a:pt x="1023" y="222"/>
                  </a:cubicBezTo>
                  <a:cubicBezTo>
                    <a:pt x="1020" y="227"/>
                    <a:pt x="1022" y="232"/>
                    <a:pt x="1029" y="232"/>
                  </a:cubicBezTo>
                  <a:cubicBezTo>
                    <a:pt x="1035" y="232"/>
                    <a:pt x="1042" y="227"/>
                    <a:pt x="1046" y="222"/>
                  </a:cubicBezTo>
                  <a:cubicBezTo>
                    <a:pt x="1049" y="216"/>
                    <a:pt x="1046" y="212"/>
                    <a:pt x="1040" y="212"/>
                  </a:cubicBezTo>
                  <a:cubicBezTo>
                    <a:pt x="1040" y="212"/>
                    <a:pt x="1040" y="212"/>
                    <a:pt x="1040" y="212"/>
                  </a:cubicBezTo>
                  <a:moveTo>
                    <a:pt x="1072" y="211"/>
                  </a:moveTo>
                  <a:cubicBezTo>
                    <a:pt x="1066" y="211"/>
                    <a:pt x="1058" y="216"/>
                    <a:pt x="1055" y="222"/>
                  </a:cubicBezTo>
                  <a:cubicBezTo>
                    <a:pt x="1052" y="227"/>
                    <a:pt x="1055" y="232"/>
                    <a:pt x="1061" y="232"/>
                  </a:cubicBezTo>
                  <a:cubicBezTo>
                    <a:pt x="1067" y="232"/>
                    <a:pt x="1075" y="227"/>
                    <a:pt x="1078" y="221"/>
                  </a:cubicBezTo>
                  <a:cubicBezTo>
                    <a:pt x="1081" y="216"/>
                    <a:pt x="1078" y="211"/>
                    <a:pt x="1072" y="211"/>
                  </a:cubicBezTo>
                  <a:cubicBezTo>
                    <a:pt x="1072" y="211"/>
                    <a:pt x="1072" y="211"/>
                    <a:pt x="1072" y="211"/>
                  </a:cubicBezTo>
                  <a:moveTo>
                    <a:pt x="1104" y="211"/>
                  </a:moveTo>
                  <a:cubicBezTo>
                    <a:pt x="1098" y="211"/>
                    <a:pt x="1090" y="216"/>
                    <a:pt x="1087" y="221"/>
                  </a:cubicBezTo>
                  <a:cubicBezTo>
                    <a:pt x="1084" y="227"/>
                    <a:pt x="1087" y="231"/>
                    <a:pt x="1093" y="231"/>
                  </a:cubicBezTo>
                  <a:cubicBezTo>
                    <a:pt x="1099" y="231"/>
                    <a:pt x="1106" y="227"/>
                    <a:pt x="1109" y="221"/>
                  </a:cubicBezTo>
                  <a:cubicBezTo>
                    <a:pt x="1112" y="215"/>
                    <a:pt x="1110" y="211"/>
                    <a:pt x="1104" y="211"/>
                  </a:cubicBezTo>
                  <a:cubicBezTo>
                    <a:pt x="1104" y="211"/>
                    <a:pt x="1104" y="211"/>
                    <a:pt x="1104" y="211"/>
                  </a:cubicBezTo>
                  <a:moveTo>
                    <a:pt x="1551" y="209"/>
                  </a:moveTo>
                  <a:cubicBezTo>
                    <a:pt x="1545" y="209"/>
                    <a:pt x="1538" y="214"/>
                    <a:pt x="1536" y="219"/>
                  </a:cubicBezTo>
                  <a:cubicBezTo>
                    <a:pt x="1534" y="225"/>
                    <a:pt x="1537" y="229"/>
                    <a:pt x="1543" y="229"/>
                  </a:cubicBezTo>
                  <a:cubicBezTo>
                    <a:pt x="1550" y="229"/>
                    <a:pt x="1556" y="225"/>
                    <a:pt x="1558" y="219"/>
                  </a:cubicBezTo>
                  <a:cubicBezTo>
                    <a:pt x="1560" y="213"/>
                    <a:pt x="1557" y="209"/>
                    <a:pt x="1551" y="209"/>
                  </a:cubicBezTo>
                  <a:cubicBezTo>
                    <a:pt x="1551" y="209"/>
                    <a:pt x="1551" y="209"/>
                    <a:pt x="1551" y="209"/>
                  </a:cubicBezTo>
                  <a:moveTo>
                    <a:pt x="1583" y="209"/>
                  </a:moveTo>
                  <a:cubicBezTo>
                    <a:pt x="1576" y="209"/>
                    <a:pt x="1570" y="213"/>
                    <a:pt x="1568" y="219"/>
                  </a:cubicBezTo>
                  <a:cubicBezTo>
                    <a:pt x="1566" y="224"/>
                    <a:pt x="1569" y="229"/>
                    <a:pt x="1575" y="229"/>
                  </a:cubicBezTo>
                  <a:cubicBezTo>
                    <a:pt x="1582" y="229"/>
                    <a:pt x="1588" y="224"/>
                    <a:pt x="1590" y="219"/>
                  </a:cubicBezTo>
                  <a:cubicBezTo>
                    <a:pt x="1592" y="213"/>
                    <a:pt x="1589" y="209"/>
                    <a:pt x="1583" y="209"/>
                  </a:cubicBezTo>
                  <a:cubicBezTo>
                    <a:pt x="1583" y="209"/>
                    <a:pt x="1583" y="209"/>
                    <a:pt x="1583" y="209"/>
                  </a:cubicBezTo>
                  <a:moveTo>
                    <a:pt x="1614" y="208"/>
                  </a:moveTo>
                  <a:cubicBezTo>
                    <a:pt x="1608" y="208"/>
                    <a:pt x="1602" y="213"/>
                    <a:pt x="1600" y="219"/>
                  </a:cubicBezTo>
                  <a:cubicBezTo>
                    <a:pt x="1598" y="224"/>
                    <a:pt x="1601" y="229"/>
                    <a:pt x="1608" y="229"/>
                  </a:cubicBezTo>
                  <a:cubicBezTo>
                    <a:pt x="1614" y="229"/>
                    <a:pt x="1620" y="224"/>
                    <a:pt x="1622" y="218"/>
                  </a:cubicBezTo>
                  <a:cubicBezTo>
                    <a:pt x="1624" y="213"/>
                    <a:pt x="1621" y="208"/>
                    <a:pt x="1615" y="208"/>
                  </a:cubicBezTo>
                  <a:cubicBezTo>
                    <a:pt x="1615" y="208"/>
                    <a:pt x="1615" y="208"/>
                    <a:pt x="1614" y="208"/>
                  </a:cubicBezTo>
                  <a:moveTo>
                    <a:pt x="1646" y="208"/>
                  </a:moveTo>
                  <a:cubicBezTo>
                    <a:pt x="1640" y="208"/>
                    <a:pt x="1634" y="213"/>
                    <a:pt x="1632" y="218"/>
                  </a:cubicBezTo>
                  <a:cubicBezTo>
                    <a:pt x="1630" y="224"/>
                    <a:pt x="1633" y="228"/>
                    <a:pt x="1639" y="228"/>
                  </a:cubicBezTo>
                  <a:cubicBezTo>
                    <a:pt x="1646" y="228"/>
                    <a:pt x="1652" y="224"/>
                    <a:pt x="1654" y="218"/>
                  </a:cubicBezTo>
                  <a:cubicBezTo>
                    <a:pt x="1656" y="213"/>
                    <a:pt x="1652" y="208"/>
                    <a:pt x="1646" y="208"/>
                  </a:cubicBezTo>
                  <a:cubicBezTo>
                    <a:pt x="1646" y="208"/>
                    <a:pt x="1646" y="208"/>
                    <a:pt x="1646" y="208"/>
                  </a:cubicBezTo>
                  <a:moveTo>
                    <a:pt x="1872" y="205"/>
                  </a:moveTo>
                  <a:cubicBezTo>
                    <a:pt x="1865" y="205"/>
                    <a:pt x="1859" y="210"/>
                    <a:pt x="1858" y="215"/>
                  </a:cubicBezTo>
                  <a:cubicBezTo>
                    <a:pt x="1857" y="221"/>
                    <a:pt x="1860" y="225"/>
                    <a:pt x="1867" y="225"/>
                  </a:cubicBezTo>
                  <a:cubicBezTo>
                    <a:pt x="1873" y="225"/>
                    <a:pt x="1879" y="221"/>
                    <a:pt x="1880" y="215"/>
                  </a:cubicBezTo>
                  <a:cubicBezTo>
                    <a:pt x="1882" y="210"/>
                    <a:pt x="1878" y="205"/>
                    <a:pt x="1872" y="205"/>
                  </a:cubicBezTo>
                  <a:cubicBezTo>
                    <a:pt x="1872" y="205"/>
                    <a:pt x="1872" y="205"/>
                    <a:pt x="1872" y="205"/>
                  </a:cubicBezTo>
                  <a:moveTo>
                    <a:pt x="1901" y="205"/>
                  </a:moveTo>
                  <a:cubicBezTo>
                    <a:pt x="1895" y="205"/>
                    <a:pt x="1889" y="209"/>
                    <a:pt x="1887" y="215"/>
                  </a:cubicBezTo>
                  <a:cubicBezTo>
                    <a:pt x="1886" y="221"/>
                    <a:pt x="1890" y="225"/>
                    <a:pt x="1896" y="225"/>
                  </a:cubicBezTo>
                  <a:cubicBezTo>
                    <a:pt x="1902" y="225"/>
                    <a:pt x="1908" y="220"/>
                    <a:pt x="1910" y="215"/>
                  </a:cubicBezTo>
                  <a:cubicBezTo>
                    <a:pt x="1911" y="209"/>
                    <a:pt x="1907" y="205"/>
                    <a:pt x="1901" y="205"/>
                  </a:cubicBezTo>
                  <a:cubicBezTo>
                    <a:pt x="1901" y="205"/>
                    <a:pt x="1901" y="205"/>
                    <a:pt x="1901" y="205"/>
                  </a:cubicBezTo>
                  <a:moveTo>
                    <a:pt x="1933" y="204"/>
                  </a:moveTo>
                  <a:cubicBezTo>
                    <a:pt x="1927" y="205"/>
                    <a:pt x="1921" y="209"/>
                    <a:pt x="1919" y="215"/>
                  </a:cubicBezTo>
                  <a:cubicBezTo>
                    <a:pt x="1918" y="220"/>
                    <a:pt x="1922" y="225"/>
                    <a:pt x="1928" y="225"/>
                  </a:cubicBezTo>
                  <a:cubicBezTo>
                    <a:pt x="1935" y="225"/>
                    <a:pt x="1941" y="220"/>
                    <a:pt x="1942" y="215"/>
                  </a:cubicBezTo>
                  <a:cubicBezTo>
                    <a:pt x="1943" y="209"/>
                    <a:pt x="1939" y="204"/>
                    <a:pt x="1933" y="204"/>
                  </a:cubicBezTo>
                  <a:cubicBezTo>
                    <a:pt x="1933" y="204"/>
                    <a:pt x="1933" y="204"/>
                    <a:pt x="1933" y="204"/>
                  </a:cubicBezTo>
                  <a:moveTo>
                    <a:pt x="2252" y="201"/>
                  </a:moveTo>
                  <a:cubicBezTo>
                    <a:pt x="2246" y="201"/>
                    <a:pt x="2240" y="206"/>
                    <a:pt x="2240" y="211"/>
                  </a:cubicBezTo>
                  <a:cubicBezTo>
                    <a:pt x="2239" y="217"/>
                    <a:pt x="2244" y="221"/>
                    <a:pt x="2250" y="221"/>
                  </a:cubicBezTo>
                  <a:cubicBezTo>
                    <a:pt x="2256" y="221"/>
                    <a:pt x="2261" y="217"/>
                    <a:pt x="2262" y="211"/>
                  </a:cubicBezTo>
                  <a:cubicBezTo>
                    <a:pt x="2262" y="205"/>
                    <a:pt x="2258" y="201"/>
                    <a:pt x="2252" y="201"/>
                  </a:cubicBezTo>
                  <a:cubicBezTo>
                    <a:pt x="2252" y="201"/>
                    <a:pt x="2252" y="201"/>
                    <a:pt x="2252" y="201"/>
                  </a:cubicBezTo>
                  <a:moveTo>
                    <a:pt x="2283" y="201"/>
                  </a:moveTo>
                  <a:cubicBezTo>
                    <a:pt x="2277" y="201"/>
                    <a:pt x="2272" y="205"/>
                    <a:pt x="2271" y="211"/>
                  </a:cubicBezTo>
                  <a:cubicBezTo>
                    <a:pt x="2271" y="217"/>
                    <a:pt x="2275" y="221"/>
                    <a:pt x="2282" y="221"/>
                  </a:cubicBezTo>
                  <a:cubicBezTo>
                    <a:pt x="2288" y="221"/>
                    <a:pt x="2293" y="216"/>
                    <a:pt x="2294" y="211"/>
                  </a:cubicBezTo>
                  <a:cubicBezTo>
                    <a:pt x="2294" y="205"/>
                    <a:pt x="2290" y="201"/>
                    <a:pt x="2284" y="201"/>
                  </a:cubicBezTo>
                  <a:cubicBezTo>
                    <a:pt x="2283" y="201"/>
                    <a:pt x="2283" y="201"/>
                    <a:pt x="2283" y="201"/>
                  </a:cubicBezTo>
                  <a:moveTo>
                    <a:pt x="2315" y="200"/>
                  </a:moveTo>
                  <a:cubicBezTo>
                    <a:pt x="2309" y="200"/>
                    <a:pt x="2303" y="205"/>
                    <a:pt x="2303" y="211"/>
                  </a:cubicBezTo>
                  <a:cubicBezTo>
                    <a:pt x="2303" y="216"/>
                    <a:pt x="2307" y="221"/>
                    <a:pt x="2313" y="221"/>
                  </a:cubicBezTo>
                  <a:cubicBezTo>
                    <a:pt x="2320" y="221"/>
                    <a:pt x="2325" y="216"/>
                    <a:pt x="2325" y="210"/>
                  </a:cubicBezTo>
                  <a:cubicBezTo>
                    <a:pt x="2326" y="205"/>
                    <a:pt x="2321" y="200"/>
                    <a:pt x="2315" y="200"/>
                  </a:cubicBezTo>
                  <a:cubicBezTo>
                    <a:pt x="2315" y="200"/>
                    <a:pt x="2315" y="200"/>
                    <a:pt x="2315" y="200"/>
                  </a:cubicBezTo>
                  <a:moveTo>
                    <a:pt x="2347" y="200"/>
                  </a:moveTo>
                  <a:cubicBezTo>
                    <a:pt x="2340" y="200"/>
                    <a:pt x="2335" y="205"/>
                    <a:pt x="2335" y="210"/>
                  </a:cubicBezTo>
                  <a:cubicBezTo>
                    <a:pt x="2334" y="216"/>
                    <a:pt x="2339" y="221"/>
                    <a:pt x="2345" y="220"/>
                  </a:cubicBezTo>
                  <a:cubicBezTo>
                    <a:pt x="2352" y="220"/>
                    <a:pt x="2357" y="216"/>
                    <a:pt x="2357" y="210"/>
                  </a:cubicBezTo>
                  <a:cubicBezTo>
                    <a:pt x="2357" y="205"/>
                    <a:pt x="2353" y="200"/>
                    <a:pt x="2347" y="200"/>
                  </a:cubicBezTo>
                  <a:cubicBezTo>
                    <a:pt x="2347" y="200"/>
                    <a:pt x="2347" y="200"/>
                    <a:pt x="2347" y="200"/>
                  </a:cubicBezTo>
                  <a:moveTo>
                    <a:pt x="2379" y="200"/>
                  </a:moveTo>
                  <a:cubicBezTo>
                    <a:pt x="2373" y="200"/>
                    <a:pt x="2368" y="204"/>
                    <a:pt x="2367" y="210"/>
                  </a:cubicBezTo>
                  <a:cubicBezTo>
                    <a:pt x="2367" y="216"/>
                    <a:pt x="2372" y="220"/>
                    <a:pt x="2378" y="220"/>
                  </a:cubicBezTo>
                  <a:cubicBezTo>
                    <a:pt x="2384" y="220"/>
                    <a:pt x="2389" y="216"/>
                    <a:pt x="2390" y="210"/>
                  </a:cubicBezTo>
                  <a:cubicBezTo>
                    <a:pt x="2390" y="204"/>
                    <a:pt x="2385" y="200"/>
                    <a:pt x="2379" y="200"/>
                  </a:cubicBezTo>
                  <a:cubicBezTo>
                    <a:pt x="2379" y="200"/>
                    <a:pt x="2379" y="200"/>
                    <a:pt x="2379" y="200"/>
                  </a:cubicBezTo>
                  <a:moveTo>
                    <a:pt x="2411" y="199"/>
                  </a:moveTo>
                  <a:cubicBezTo>
                    <a:pt x="2404" y="200"/>
                    <a:pt x="2399" y="204"/>
                    <a:pt x="2399" y="210"/>
                  </a:cubicBezTo>
                  <a:cubicBezTo>
                    <a:pt x="2399" y="215"/>
                    <a:pt x="2404" y="220"/>
                    <a:pt x="2410" y="220"/>
                  </a:cubicBezTo>
                  <a:cubicBezTo>
                    <a:pt x="2416" y="220"/>
                    <a:pt x="2421" y="215"/>
                    <a:pt x="2421" y="210"/>
                  </a:cubicBezTo>
                  <a:cubicBezTo>
                    <a:pt x="2422" y="204"/>
                    <a:pt x="2417" y="199"/>
                    <a:pt x="2411" y="199"/>
                  </a:cubicBezTo>
                  <a:cubicBezTo>
                    <a:pt x="2411" y="199"/>
                    <a:pt x="2411" y="199"/>
                    <a:pt x="2411" y="199"/>
                  </a:cubicBezTo>
                  <a:moveTo>
                    <a:pt x="2442" y="199"/>
                  </a:moveTo>
                  <a:cubicBezTo>
                    <a:pt x="2436" y="199"/>
                    <a:pt x="2431" y="204"/>
                    <a:pt x="2431" y="210"/>
                  </a:cubicBezTo>
                  <a:cubicBezTo>
                    <a:pt x="2431" y="215"/>
                    <a:pt x="2435" y="220"/>
                    <a:pt x="2442" y="220"/>
                  </a:cubicBezTo>
                  <a:cubicBezTo>
                    <a:pt x="2448" y="220"/>
                    <a:pt x="2453" y="215"/>
                    <a:pt x="2453" y="209"/>
                  </a:cubicBezTo>
                  <a:cubicBezTo>
                    <a:pt x="2453" y="204"/>
                    <a:pt x="2448" y="199"/>
                    <a:pt x="2442" y="199"/>
                  </a:cubicBezTo>
                  <a:cubicBezTo>
                    <a:pt x="2442" y="199"/>
                    <a:pt x="2442" y="199"/>
                    <a:pt x="2442" y="199"/>
                  </a:cubicBezTo>
                  <a:moveTo>
                    <a:pt x="2474" y="199"/>
                  </a:moveTo>
                  <a:cubicBezTo>
                    <a:pt x="2467" y="199"/>
                    <a:pt x="2462" y="204"/>
                    <a:pt x="2462" y="209"/>
                  </a:cubicBezTo>
                  <a:cubicBezTo>
                    <a:pt x="2462" y="215"/>
                    <a:pt x="2467" y="219"/>
                    <a:pt x="2473" y="219"/>
                  </a:cubicBezTo>
                  <a:cubicBezTo>
                    <a:pt x="2479" y="219"/>
                    <a:pt x="2485" y="215"/>
                    <a:pt x="2485" y="209"/>
                  </a:cubicBezTo>
                  <a:cubicBezTo>
                    <a:pt x="2485" y="203"/>
                    <a:pt x="2480" y="199"/>
                    <a:pt x="2474" y="199"/>
                  </a:cubicBezTo>
                  <a:cubicBezTo>
                    <a:pt x="2474" y="199"/>
                    <a:pt x="2474" y="199"/>
                    <a:pt x="2474" y="199"/>
                  </a:cubicBezTo>
                  <a:moveTo>
                    <a:pt x="2505" y="199"/>
                  </a:moveTo>
                  <a:cubicBezTo>
                    <a:pt x="2499" y="199"/>
                    <a:pt x="2494" y="203"/>
                    <a:pt x="2494" y="209"/>
                  </a:cubicBezTo>
                  <a:cubicBezTo>
                    <a:pt x="2494" y="215"/>
                    <a:pt x="2499" y="219"/>
                    <a:pt x="2505" y="219"/>
                  </a:cubicBezTo>
                  <a:cubicBezTo>
                    <a:pt x="2511" y="219"/>
                    <a:pt x="2516" y="214"/>
                    <a:pt x="2516" y="209"/>
                  </a:cubicBezTo>
                  <a:cubicBezTo>
                    <a:pt x="2516" y="203"/>
                    <a:pt x="2511" y="199"/>
                    <a:pt x="2505" y="199"/>
                  </a:cubicBezTo>
                  <a:cubicBezTo>
                    <a:pt x="2505" y="199"/>
                    <a:pt x="2505" y="199"/>
                    <a:pt x="2505" y="199"/>
                  </a:cubicBezTo>
                  <a:moveTo>
                    <a:pt x="2570" y="198"/>
                  </a:moveTo>
                  <a:cubicBezTo>
                    <a:pt x="2564" y="198"/>
                    <a:pt x="2559" y="203"/>
                    <a:pt x="2559" y="208"/>
                  </a:cubicBezTo>
                  <a:cubicBezTo>
                    <a:pt x="2559" y="214"/>
                    <a:pt x="2564" y="219"/>
                    <a:pt x="2571" y="219"/>
                  </a:cubicBezTo>
                  <a:cubicBezTo>
                    <a:pt x="2577" y="218"/>
                    <a:pt x="2582" y="214"/>
                    <a:pt x="2582" y="208"/>
                  </a:cubicBezTo>
                  <a:cubicBezTo>
                    <a:pt x="2581" y="203"/>
                    <a:pt x="2576" y="198"/>
                    <a:pt x="2570" y="198"/>
                  </a:cubicBezTo>
                  <a:cubicBezTo>
                    <a:pt x="2570" y="198"/>
                    <a:pt x="2570" y="198"/>
                    <a:pt x="2570" y="198"/>
                  </a:cubicBezTo>
                  <a:moveTo>
                    <a:pt x="2602" y="198"/>
                  </a:moveTo>
                  <a:cubicBezTo>
                    <a:pt x="2596" y="198"/>
                    <a:pt x="2591" y="202"/>
                    <a:pt x="2591" y="208"/>
                  </a:cubicBezTo>
                  <a:cubicBezTo>
                    <a:pt x="2591" y="214"/>
                    <a:pt x="2596" y="218"/>
                    <a:pt x="2603" y="218"/>
                  </a:cubicBezTo>
                  <a:cubicBezTo>
                    <a:pt x="2609" y="218"/>
                    <a:pt x="2614" y="214"/>
                    <a:pt x="2613" y="208"/>
                  </a:cubicBezTo>
                  <a:cubicBezTo>
                    <a:pt x="2613" y="202"/>
                    <a:pt x="2608" y="198"/>
                    <a:pt x="2602" y="198"/>
                  </a:cubicBezTo>
                  <a:cubicBezTo>
                    <a:pt x="2602" y="198"/>
                    <a:pt x="2602" y="198"/>
                    <a:pt x="2602" y="198"/>
                  </a:cubicBezTo>
                  <a:moveTo>
                    <a:pt x="2633" y="198"/>
                  </a:moveTo>
                  <a:cubicBezTo>
                    <a:pt x="2627" y="198"/>
                    <a:pt x="2622" y="202"/>
                    <a:pt x="2623" y="208"/>
                  </a:cubicBezTo>
                  <a:cubicBezTo>
                    <a:pt x="2623" y="213"/>
                    <a:pt x="2628" y="218"/>
                    <a:pt x="2634" y="218"/>
                  </a:cubicBezTo>
                  <a:cubicBezTo>
                    <a:pt x="2641" y="218"/>
                    <a:pt x="2645" y="213"/>
                    <a:pt x="2645" y="208"/>
                  </a:cubicBezTo>
                  <a:cubicBezTo>
                    <a:pt x="2645" y="202"/>
                    <a:pt x="2640" y="198"/>
                    <a:pt x="2633" y="198"/>
                  </a:cubicBezTo>
                  <a:cubicBezTo>
                    <a:pt x="2633" y="198"/>
                    <a:pt x="2633" y="198"/>
                    <a:pt x="2633" y="198"/>
                  </a:cubicBezTo>
                  <a:moveTo>
                    <a:pt x="2665" y="197"/>
                  </a:moveTo>
                  <a:cubicBezTo>
                    <a:pt x="2659" y="197"/>
                    <a:pt x="2654" y="202"/>
                    <a:pt x="2654" y="208"/>
                  </a:cubicBezTo>
                  <a:cubicBezTo>
                    <a:pt x="2654" y="213"/>
                    <a:pt x="2660" y="218"/>
                    <a:pt x="2666" y="218"/>
                  </a:cubicBezTo>
                  <a:cubicBezTo>
                    <a:pt x="2672" y="218"/>
                    <a:pt x="2677" y="213"/>
                    <a:pt x="2676" y="207"/>
                  </a:cubicBezTo>
                  <a:cubicBezTo>
                    <a:pt x="2676" y="202"/>
                    <a:pt x="2671" y="197"/>
                    <a:pt x="2665" y="197"/>
                  </a:cubicBezTo>
                  <a:cubicBezTo>
                    <a:pt x="2665" y="197"/>
                    <a:pt x="2665" y="197"/>
                    <a:pt x="2665" y="197"/>
                  </a:cubicBezTo>
                  <a:moveTo>
                    <a:pt x="2696" y="197"/>
                  </a:moveTo>
                  <a:cubicBezTo>
                    <a:pt x="2690" y="197"/>
                    <a:pt x="2685" y="202"/>
                    <a:pt x="2686" y="207"/>
                  </a:cubicBezTo>
                  <a:cubicBezTo>
                    <a:pt x="2686" y="213"/>
                    <a:pt x="2692" y="217"/>
                    <a:pt x="2698" y="217"/>
                  </a:cubicBezTo>
                  <a:cubicBezTo>
                    <a:pt x="2704" y="217"/>
                    <a:pt x="2709" y="213"/>
                    <a:pt x="2708" y="207"/>
                  </a:cubicBezTo>
                  <a:cubicBezTo>
                    <a:pt x="2708" y="201"/>
                    <a:pt x="2702" y="197"/>
                    <a:pt x="2696" y="197"/>
                  </a:cubicBezTo>
                  <a:cubicBezTo>
                    <a:pt x="2696" y="197"/>
                    <a:pt x="2696" y="197"/>
                    <a:pt x="2696" y="197"/>
                  </a:cubicBezTo>
                  <a:moveTo>
                    <a:pt x="2728" y="197"/>
                  </a:moveTo>
                  <a:cubicBezTo>
                    <a:pt x="2722" y="197"/>
                    <a:pt x="2717" y="201"/>
                    <a:pt x="2718" y="207"/>
                  </a:cubicBezTo>
                  <a:cubicBezTo>
                    <a:pt x="2718" y="213"/>
                    <a:pt x="2724" y="217"/>
                    <a:pt x="2730" y="217"/>
                  </a:cubicBezTo>
                  <a:cubicBezTo>
                    <a:pt x="2736" y="217"/>
                    <a:pt x="2741" y="212"/>
                    <a:pt x="2740" y="207"/>
                  </a:cubicBezTo>
                  <a:cubicBezTo>
                    <a:pt x="2740" y="201"/>
                    <a:pt x="2734" y="197"/>
                    <a:pt x="2728" y="197"/>
                  </a:cubicBezTo>
                  <a:cubicBezTo>
                    <a:pt x="2728" y="197"/>
                    <a:pt x="2728" y="197"/>
                    <a:pt x="2728" y="197"/>
                  </a:cubicBezTo>
                  <a:moveTo>
                    <a:pt x="2760" y="196"/>
                  </a:moveTo>
                  <a:cubicBezTo>
                    <a:pt x="2754" y="196"/>
                    <a:pt x="2749" y="201"/>
                    <a:pt x="2750" y="207"/>
                  </a:cubicBezTo>
                  <a:cubicBezTo>
                    <a:pt x="2751" y="212"/>
                    <a:pt x="2756" y="217"/>
                    <a:pt x="2762" y="217"/>
                  </a:cubicBezTo>
                  <a:cubicBezTo>
                    <a:pt x="2768" y="217"/>
                    <a:pt x="2773" y="212"/>
                    <a:pt x="2772" y="207"/>
                  </a:cubicBezTo>
                  <a:cubicBezTo>
                    <a:pt x="2772" y="201"/>
                    <a:pt x="2766" y="196"/>
                    <a:pt x="2760" y="196"/>
                  </a:cubicBezTo>
                  <a:cubicBezTo>
                    <a:pt x="2760" y="196"/>
                    <a:pt x="2760" y="196"/>
                    <a:pt x="2760" y="196"/>
                  </a:cubicBezTo>
                  <a:moveTo>
                    <a:pt x="2792" y="196"/>
                  </a:moveTo>
                  <a:cubicBezTo>
                    <a:pt x="2786" y="196"/>
                    <a:pt x="2781" y="201"/>
                    <a:pt x="2782" y="206"/>
                  </a:cubicBezTo>
                  <a:cubicBezTo>
                    <a:pt x="2782" y="212"/>
                    <a:pt x="2788" y="217"/>
                    <a:pt x="2794" y="217"/>
                  </a:cubicBezTo>
                  <a:cubicBezTo>
                    <a:pt x="2800" y="217"/>
                    <a:pt x="2805" y="212"/>
                    <a:pt x="2804" y="206"/>
                  </a:cubicBezTo>
                  <a:cubicBezTo>
                    <a:pt x="2803" y="201"/>
                    <a:pt x="2798" y="196"/>
                    <a:pt x="2792" y="196"/>
                  </a:cubicBezTo>
                  <a:cubicBezTo>
                    <a:pt x="2792" y="196"/>
                    <a:pt x="2792" y="196"/>
                    <a:pt x="2792" y="196"/>
                  </a:cubicBezTo>
                  <a:moveTo>
                    <a:pt x="2823" y="196"/>
                  </a:moveTo>
                  <a:cubicBezTo>
                    <a:pt x="2817" y="196"/>
                    <a:pt x="2813" y="201"/>
                    <a:pt x="2814" y="206"/>
                  </a:cubicBezTo>
                  <a:cubicBezTo>
                    <a:pt x="2814" y="212"/>
                    <a:pt x="2820" y="216"/>
                    <a:pt x="2826" y="216"/>
                  </a:cubicBezTo>
                  <a:cubicBezTo>
                    <a:pt x="2832" y="216"/>
                    <a:pt x="2837" y="212"/>
                    <a:pt x="2836" y="206"/>
                  </a:cubicBezTo>
                  <a:cubicBezTo>
                    <a:pt x="2835" y="200"/>
                    <a:pt x="2830" y="196"/>
                    <a:pt x="2824" y="196"/>
                  </a:cubicBezTo>
                  <a:cubicBezTo>
                    <a:pt x="2824" y="196"/>
                    <a:pt x="2823" y="196"/>
                    <a:pt x="2823" y="196"/>
                  </a:cubicBezTo>
                  <a:moveTo>
                    <a:pt x="2855" y="196"/>
                  </a:moveTo>
                  <a:cubicBezTo>
                    <a:pt x="2849" y="196"/>
                    <a:pt x="2844" y="200"/>
                    <a:pt x="2845" y="206"/>
                  </a:cubicBezTo>
                  <a:cubicBezTo>
                    <a:pt x="2846" y="212"/>
                    <a:pt x="2852" y="216"/>
                    <a:pt x="2858" y="216"/>
                  </a:cubicBezTo>
                  <a:cubicBezTo>
                    <a:pt x="2864" y="216"/>
                    <a:pt x="2868" y="211"/>
                    <a:pt x="2867" y="206"/>
                  </a:cubicBezTo>
                  <a:cubicBezTo>
                    <a:pt x="2867" y="200"/>
                    <a:pt x="2861" y="196"/>
                    <a:pt x="2855" y="196"/>
                  </a:cubicBezTo>
                  <a:cubicBezTo>
                    <a:pt x="2855" y="196"/>
                    <a:pt x="2855" y="196"/>
                    <a:pt x="2855" y="196"/>
                  </a:cubicBezTo>
                  <a:moveTo>
                    <a:pt x="2887" y="195"/>
                  </a:moveTo>
                  <a:cubicBezTo>
                    <a:pt x="2881" y="195"/>
                    <a:pt x="2876" y="200"/>
                    <a:pt x="2877" y="206"/>
                  </a:cubicBezTo>
                  <a:cubicBezTo>
                    <a:pt x="2878" y="211"/>
                    <a:pt x="2884" y="216"/>
                    <a:pt x="2890" y="216"/>
                  </a:cubicBezTo>
                  <a:cubicBezTo>
                    <a:pt x="2896" y="216"/>
                    <a:pt x="2900" y="211"/>
                    <a:pt x="2899" y="205"/>
                  </a:cubicBezTo>
                  <a:cubicBezTo>
                    <a:pt x="2899" y="200"/>
                    <a:pt x="2893" y="195"/>
                    <a:pt x="2887" y="195"/>
                  </a:cubicBezTo>
                  <a:cubicBezTo>
                    <a:pt x="2887" y="195"/>
                    <a:pt x="2887" y="195"/>
                    <a:pt x="2887" y="195"/>
                  </a:cubicBezTo>
                  <a:moveTo>
                    <a:pt x="2918" y="195"/>
                  </a:moveTo>
                  <a:cubicBezTo>
                    <a:pt x="2912" y="195"/>
                    <a:pt x="2908" y="200"/>
                    <a:pt x="2909" y="206"/>
                  </a:cubicBezTo>
                  <a:cubicBezTo>
                    <a:pt x="2910" y="211"/>
                    <a:pt x="2915" y="216"/>
                    <a:pt x="2921" y="216"/>
                  </a:cubicBezTo>
                  <a:cubicBezTo>
                    <a:pt x="2928" y="216"/>
                    <a:pt x="2932" y="211"/>
                    <a:pt x="2931" y="205"/>
                  </a:cubicBezTo>
                  <a:cubicBezTo>
                    <a:pt x="2930" y="200"/>
                    <a:pt x="2924" y="195"/>
                    <a:pt x="2918" y="195"/>
                  </a:cubicBezTo>
                  <a:cubicBezTo>
                    <a:pt x="2918" y="195"/>
                    <a:pt x="2918" y="195"/>
                    <a:pt x="2918" y="195"/>
                  </a:cubicBezTo>
                  <a:moveTo>
                    <a:pt x="2948" y="195"/>
                  </a:moveTo>
                  <a:cubicBezTo>
                    <a:pt x="2942" y="195"/>
                    <a:pt x="2938" y="200"/>
                    <a:pt x="2939" y="205"/>
                  </a:cubicBezTo>
                  <a:cubicBezTo>
                    <a:pt x="2940" y="211"/>
                    <a:pt x="2946" y="215"/>
                    <a:pt x="2952" y="215"/>
                  </a:cubicBezTo>
                  <a:cubicBezTo>
                    <a:pt x="2958" y="215"/>
                    <a:pt x="2962" y="211"/>
                    <a:pt x="2961" y="205"/>
                  </a:cubicBezTo>
                  <a:cubicBezTo>
                    <a:pt x="2960" y="199"/>
                    <a:pt x="2955" y="195"/>
                    <a:pt x="2948" y="195"/>
                  </a:cubicBezTo>
                  <a:cubicBezTo>
                    <a:pt x="2948" y="195"/>
                    <a:pt x="2948" y="195"/>
                    <a:pt x="2948" y="195"/>
                  </a:cubicBezTo>
                  <a:moveTo>
                    <a:pt x="2980" y="195"/>
                  </a:moveTo>
                  <a:cubicBezTo>
                    <a:pt x="2974" y="195"/>
                    <a:pt x="2970" y="199"/>
                    <a:pt x="2971" y="205"/>
                  </a:cubicBezTo>
                  <a:cubicBezTo>
                    <a:pt x="2972" y="211"/>
                    <a:pt x="2977" y="215"/>
                    <a:pt x="2984" y="215"/>
                  </a:cubicBezTo>
                  <a:cubicBezTo>
                    <a:pt x="2990" y="215"/>
                    <a:pt x="2994" y="210"/>
                    <a:pt x="2993" y="205"/>
                  </a:cubicBezTo>
                  <a:cubicBezTo>
                    <a:pt x="2992" y="199"/>
                    <a:pt x="2986" y="195"/>
                    <a:pt x="2980" y="195"/>
                  </a:cubicBezTo>
                  <a:cubicBezTo>
                    <a:pt x="2980" y="195"/>
                    <a:pt x="2980" y="195"/>
                    <a:pt x="2980" y="195"/>
                  </a:cubicBezTo>
                  <a:moveTo>
                    <a:pt x="3012" y="194"/>
                  </a:moveTo>
                  <a:cubicBezTo>
                    <a:pt x="3006" y="194"/>
                    <a:pt x="3001" y="199"/>
                    <a:pt x="3003" y="205"/>
                  </a:cubicBezTo>
                  <a:cubicBezTo>
                    <a:pt x="3004" y="210"/>
                    <a:pt x="3010" y="215"/>
                    <a:pt x="3016" y="215"/>
                  </a:cubicBezTo>
                  <a:cubicBezTo>
                    <a:pt x="3022" y="215"/>
                    <a:pt x="3026" y="210"/>
                    <a:pt x="3025" y="205"/>
                  </a:cubicBezTo>
                  <a:cubicBezTo>
                    <a:pt x="3024" y="199"/>
                    <a:pt x="3018" y="194"/>
                    <a:pt x="3012" y="194"/>
                  </a:cubicBezTo>
                  <a:cubicBezTo>
                    <a:pt x="3012" y="194"/>
                    <a:pt x="3012" y="194"/>
                    <a:pt x="3012" y="194"/>
                  </a:cubicBezTo>
                  <a:moveTo>
                    <a:pt x="3044" y="194"/>
                  </a:moveTo>
                  <a:cubicBezTo>
                    <a:pt x="3038" y="194"/>
                    <a:pt x="3034" y="199"/>
                    <a:pt x="3035" y="204"/>
                  </a:cubicBezTo>
                  <a:cubicBezTo>
                    <a:pt x="3037" y="210"/>
                    <a:pt x="3043" y="215"/>
                    <a:pt x="3049" y="215"/>
                  </a:cubicBezTo>
                  <a:cubicBezTo>
                    <a:pt x="3055" y="215"/>
                    <a:pt x="3059" y="210"/>
                    <a:pt x="3058" y="204"/>
                  </a:cubicBezTo>
                  <a:cubicBezTo>
                    <a:pt x="3057" y="199"/>
                    <a:pt x="3051" y="194"/>
                    <a:pt x="3045" y="194"/>
                  </a:cubicBezTo>
                  <a:cubicBezTo>
                    <a:pt x="3045" y="194"/>
                    <a:pt x="3045" y="194"/>
                    <a:pt x="3044" y="194"/>
                  </a:cubicBezTo>
                  <a:moveTo>
                    <a:pt x="3076" y="194"/>
                  </a:moveTo>
                  <a:cubicBezTo>
                    <a:pt x="3070" y="194"/>
                    <a:pt x="3066" y="199"/>
                    <a:pt x="3067" y="204"/>
                  </a:cubicBezTo>
                  <a:cubicBezTo>
                    <a:pt x="3068" y="210"/>
                    <a:pt x="3074" y="214"/>
                    <a:pt x="3080" y="214"/>
                  </a:cubicBezTo>
                  <a:cubicBezTo>
                    <a:pt x="3087" y="214"/>
                    <a:pt x="3091" y="210"/>
                    <a:pt x="3089" y="204"/>
                  </a:cubicBezTo>
                  <a:cubicBezTo>
                    <a:pt x="3088" y="198"/>
                    <a:pt x="3082" y="194"/>
                    <a:pt x="3076" y="194"/>
                  </a:cubicBezTo>
                  <a:cubicBezTo>
                    <a:pt x="3076" y="194"/>
                    <a:pt x="3076" y="194"/>
                    <a:pt x="3076" y="194"/>
                  </a:cubicBezTo>
                  <a:moveTo>
                    <a:pt x="3108" y="194"/>
                  </a:moveTo>
                  <a:cubicBezTo>
                    <a:pt x="3102" y="194"/>
                    <a:pt x="3098" y="198"/>
                    <a:pt x="3099" y="204"/>
                  </a:cubicBezTo>
                  <a:cubicBezTo>
                    <a:pt x="3100" y="210"/>
                    <a:pt x="3106" y="214"/>
                    <a:pt x="3112" y="214"/>
                  </a:cubicBezTo>
                  <a:cubicBezTo>
                    <a:pt x="3119" y="214"/>
                    <a:pt x="3123" y="209"/>
                    <a:pt x="3121" y="204"/>
                  </a:cubicBezTo>
                  <a:cubicBezTo>
                    <a:pt x="3120" y="198"/>
                    <a:pt x="3114" y="194"/>
                    <a:pt x="3108" y="194"/>
                  </a:cubicBezTo>
                  <a:cubicBezTo>
                    <a:pt x="3108" y="194"/>
                    <a:pt x="3108" y="194"/>
                    <a:pt x="3108" y="194"/>
                  </a:cubicBezTo>
                  <a:moveTo>
                    <a:pt x="3140" y="193"/>
                  </a:moveTo>
                  <a:cubicBezTo>
                    <a:pt x="3134" y="193"/>
                    <a:pt x="3130" y="198"/>
                    <a:pt x="3131" y="204"/>
                  </a:cubicBezTo>
                  <a:cubicBezTo>
                    <a:pt x="3133" y="209"/>
                    <a:pt x="3139" y="214"/>
                    <a:pt x="3145" y="214"/>
                  </a:cubicBezTo>
                  <a:cubicBezTo>
                    <a:pt x="3151" y="214"/>
                    <a:pt x="3155" y="209"/>
                    <a:pt x="3153" y="203"/>
                  </a:cubicBezTo>
                  <a:cubicBezTo>
                    <a:pt x="3152" y="198"/>
                    <a:pt x="3146" y="193"/>
                    <a:pt x="3140" y="193"/>
                  </a:cubicBezTo>
                  <a:cubicBezTo>
                    <a:pt x="3140" y="193"/>
                    <a:pt x="3140" y="193"/>
                    <a:pt x="3140" y="193"/>
                  </a:cubicBezTo>
                  <a:moveTo>
                    <a:pt x="3171" y="193"/>
                  </a:moveTo>
                  <a:cubicBezTo>
                    <a:pt x="3165" y="193"/>
                    <a:pt x="3161" y="198"/>
                    <a:pt x="3163" y="203"/>
                  </a:cubicBezTo>
                  <a:cubicBezTo>
                    <a:pt x="3164" y="209"/>
                    <a:pt x="3170" y="214"/>
                    <a:pt x="3177" y="213"/>
                  </a:cubicBezTo>
                  <a:cubicBezTo>
                    <a:pt x="3183" y="213"/>
                    <a:pt x="3187" y="209"/>
                    <a:pt x="3185" y="203"/>
                  </a:cubicBezTo>
                  <a:cubicBezTo>
                    <a:pt x="3184" y="198"/>
                    <a:pt x="3178" y="193"/>
                    <a:pt x="3171" y="193"/>
                  </a:cubicBezTo>
                  <a:cubicBezTo>
                    <a:pt x="3171" y="193"/>
                    <a:pt x="3171" y="193"/>
                    <a:pt x="3171" y="193"/>
                  </a:cubicBezTo>
                  <a:moveTo>
                    <a:pt x="3203" y="193"/>
                  </a:moveTo>
                  <a:cubicBezTo>
                    <a:pt x="3197" y="193"/>
                    <a:pt x="3193" y="197"/>
                    <a:pt x="3195" y="203"/>
                  </a:cubicBezTo>
                  <a:cubicBezTo>
                    <a:pt x="3196" y="209"/>
                    <a:pt x="3202" y="213"/>
                    <a:pt x="3209" y="213"/>
                  </a:cubicBezTo>
                  <a:cubicBezTo>
                    <a:pt x="3215" y="213"/>
                    <a:pt x="3218" y="209"/>
                    <a:pt x="3217" y="203"/>
                  </a:cubicBezTo>
                  <a:cubicBezTo>
                    <a:pt x="3215" y="197"/>
                    <a:pt x="3209" y="193"/>
                    <a:pt x="3203" y="193"/>
                  </a:cubicBezTo>
                  <a:cubicBezTo>
                    <a:pt x="3203" y="193"/>
                    <a:pt x="3203" y="193"/>
                    <a:pt x="3203" y="193"/>
                  </a:cubicBezTo>
                  <a:moveTo>
                    <a:pt x="3235" y="192"/>
                  </a:moveTo>
                  <a:cubicBezTo>
                    <a:pt x="3228" y="192"/>
                    <a:pt x="3225" y="197"/>
                    <a:pt x="3226" y="203"/>
                  </a:cubicBezTo>
                  <a:cubicBezTo>
                    <a:pt x="3228" y="208"/>
                    <a:pt x="3234" y="213"/>
                    <a:pt x="3240" y="213"/>
                  </a:cubicBezTo>
                  <a:cubicBezTo>
                    <a:pt x="3246" y="213"/>
                    <a:pt x="3250" y="208"/>
                    <a:pt x="3249" y="203"/>
                  </a:cubicBezTo>
                  <a:cubicBezTo>
                    <a:pt x="3247" y="197"/>
                    <a:pt x="3241" y="192"/>
                    <a:pt x="3235" y="192"/>
                  </a:cubicBezTo>
                  <a:cubicBezTo>
                    <a:pt x="3235" y="192"/>
                    <a:pt x="3235" y="192"/>
                    <a:pt x="3235" y="192"/>
                  </a:cubicBezTo>
                  <a:moveTo>
                    <a:pt x="3266" y="192"/>
                  </a:moveTo>
                  <a:cubicBezTo>
                    <a:pt x="3260" y="192"/>
                    <a:pt x="3256" y="197"/>
                    <a:pt x="3258" y="202"/>
                  </a:cubicBezTo>
                  <a:cubicBezTo>
                    <a:pt x="3260" y="208"/>
                    <a:pt x="3266" y="213"/>
                    <a:pt x="3272" y="213"/>
                  </a:cubicBezTo>
                  <a:cubicBezTo>
                    <a:pt x="3278" y="213"/>
                    <a:pt x="3282" y="208"/>
                    <a:pt x="3280" y="202"/>
                  </a:cubicBezTo>
                  <a:cubicBezTo>
                    <a:pt x="3279" y="197"/>
                    <a:pt x="3272" y="192"/>
                    <a:pt x="3266" y="192"/>
                  </a:cubicBezTo>
                  <a:cubicBezTo>
                    <a:pt x="3266" y="192"/>
                    <a:pt x="3266" y="192"/>
                    <a:pt x="3266" y="192"/>
                  </a:cubicBezTo>
                  <a:moveTo>
                    <a:pt x="3298" y="192"/>
                  </a:moveTo>
                  <a:cubicBezTo>
                    <a:pt x="3291" y="192"/>
                    <a:pt x="3288" y="197"/>
                    <a:pt x="3290" y="202"/>
                  </a:cubicBezTo>
                  <a:cubicBezTo>
                    <a:pt x="3291" y="208"/>
                    <a:pt x="3298" y="212"/>
                    <a:pt x="3304" y="212"/>
                  </a:cubicBezTo>
                  <a:cubicBezTo>
                    <a:pt x="3310" y="212"/>
                    <a:pt x="3314" y="208"/>
                    <a:pt x="3312" y="202"/>
                  </a:cubicBezTo>
                  <a:cubicBezTo>
                    <a:pt x="3310" y="196"/>
                    <a:pt x="3304" y="192"/>
                    <a:pt x="3298" y="192"/>
                  </a:cubicBezTo>
                  <a:cubicBezTo>
                    <a:pt x="3298" y="192"/>
                    <a:pt x="3298" y="192"/>
                    <a:pt x="3298" y="192"/>
                  </a:cubicBezTo>
                  <a:moveTo>
                    <a:pt x="3329" y="192"/>
                  </a:moveTo>
                  <a:cubicBezTo>
                    <a:pt x="3323" y="192"/>
                    <a:pt x="3320" y="196"/>
                    <a:pt x="3321" y="202"/>
                  </a:cubicBezTo>
                  <a:cubicBezTo>
                    <a:pt x="3323" y="208"/>
                    <a:pt x="3330" y="212"/>
                    <a:pt x="3336" y="212"/>
                  </a:cubicBezTo>
                  <a:cubicBezTo>
                    <a:pt x="3342" y="212"/>
                    <a:pt x="3346" y="207"/>
                    <a:pt x="3344" y="202"/>
                  </a:cubicBezTo>
                  <a:cubicBezTo>
                    <a:pt x="3342" y="196"/>
                    <a:pt x="3336" y="192"/>
                    <a:pt x="3329" y="192"/>
                  </a:cubicBezTo>
                  <a:cubicBezTo>
                    <a:pt x="3329" y="192"/>
                    <a:pt x="3329" y="192"/>
                    <a:pt x="3329" y="192"/>
                  </a:cubicBezTo>
                  <a:moveTo>
                    <a:pt x="3362" y="191"/>
                  </a:moveTo>
                  <a:cubicBezTo>
                    <a:pt x="3356" y="191"/>
                    <a:pt x="3352" y="196"/>
                    <a:pt x="3354" y="202"/>
                  </a:cubicBezTo>
                  <a:cubicBezTo>
                    <a:pt x="3356" y="207"/>
                    <a:pt x="3363" y="212"/>
                    <a:pt x="3369" y="212"/>
                  </a:cubicBezTo>
                  <a:cubicBezTo>
                    <a:pt x="3375" y="212"/>
                    <a:pt x="3378" y="207"/>
                    <a:pt x="3377" y="201"/>
                  </a:cubicBezTo>
                  <a:cubicBezTo>
                    <a:pt x="3375" y="196"/>
                    <a:pt x="3368" y="191"/>
                    <a:pt x="3362" y="191"/>
                  </a:cubicBezTo>
                  <a:cubicBezTo>
                    <a:pt x="3362" y="191"/>
                    <a:pt x="3362" y="191"/>
                    <a:pt x="3362" y="191"/>
                  </a:cubicBezTo>
                  <a:moveTo>
                    <a:pt x="3394" y="191"/>
                  </a:moveTo>
                  <a:cubicBezTo>
                    <a:pt x="3387" y="191"/>
                    <a:pt x="3384" y="196"/>
                    <a:pt x="3386" y="201"/>
                  </a:cubicBezTo>
                  <a:cubicBezTo>
                    <a:pt x="3388" y="207"/>
                    <a:pt x="3394" y="212"/>
                    <a:pt x="3400" y="212"/>
                  </a:cubicBezTo>
                  <a:cubicBezTo>
                    <a:pt x="3407" y="211"/>
                    <a:pt x="3410" y="207"/>
                    <a:pt x="3408" y="201"/>
                  </a:cubicBezTo>
                  <a:cubicBezTo>
                    <a:pt x="3406" y="196"/>
                    <a:pt x="3400" y="191"/>
                    <a:pt x="3394" y="191"/>
                  </a:cubicBezTo>
                  <a:cubicBezTo>
                    <a:pt x="3394" y="191"/>
                    <a:pt x="3394" y="191"/>
                    <a:pt x="3394" y="191"/>
                  </a:cubicBezTo>
                  <a:moveTo>
                    <a:pt x="3425" y="191"/>
                  </a:moveTo>
                  <a:cubicBezTo>
                    <a:pt x="3419" y="191"/>
                    <a:pt x="3416" y="195"/>
                    <a:pt x="3418" y="201"/>
                  </a:cubicBezTo>
                  <a:cubicBezTo>
                    <a:pt x="3420" y="207"/>
                    <a:pt x="3426" y="211"/>
                    <a:pt x="3433" y="211"/>
                  </a:cubicBezTo>
                  <a:cubicBezTo>
                    <a:pt x="3439" y="211"/>
                    <a:pt x="3442" y="207"/>
                    <a:pt x="3440" y="201"/>
                  </a:cubicBezTo>
                  <a:cubicBezTo>
                    <a:pt x="3438" y="195"/>
                    <a:pt x="3432" y="191"/>
                    <a:pt x="3425" y="191"/>
                  </a:cubicBezTo>
                  <a:cubicBezTo>
                    <a:pt x="3425" y="191"/>
                    <a:pt x="3425" y="191"/>
                    <a:pt x="3425" y="191"/>
                  </a:cubicBezTo>
                  <a:moveTo>
                    <a:pt x="3457" y="190"/>
                  </a:moveTo>
                  <a:cubicBezTo>
                    <a:pt x="3451" y="190"/>
                    <a:pt x="3448" y="195"/>
                    <a:pt x="3450" y="201"/>
                  </a:cubicBezTo>
                  <a:cubicBezTo>
                    <a:pt x="3452" y="206"/>
                    <a:pt x="3459" y="211"/>
                    <a:pt x="3465" y="211"/>
                  </a:cubicBezTo>
                  <a:cubicBezTo>
                    <a:pt x="3471" y="211"/>
                    <a:pt x="3474" y="206"/>
                    <a:pt x="3472" y="201"/>
                  </a:cubicBezTo>
                  <a:cubicBezTo>
                    <a:pt x="3470" y="195"/>
                    <a:pt x="3464" y="190"/>
                    <a:pt x="3457" y="190"/>
                  </a:cubicBezTo>
                  <a:cubicBezTo>
                    <a:pt x="3457" y="190"/>
                    <a:pt x="3457" y="190"/>
                    <a:pt x="3457" y="190"/>
                  </a:cubicBezTo>
                  <a:moveTo>
                    <a:pt x="3489" y="190"/>
                  </a:moveTo>
                  <a:cubicBezTo>
                    <a:pt x="3483" y="190"/>
                    <a:pt x="3479" y="195"/>
                    <a:pt x="3482" y="201"/>
                  </a:cubicBezTo>
                  <a:cubicBezTo>
                    <a:pt x="3484" y="206"/>
                    <a:pt x="3490" y="211"/>
                    <a:pt x="3497" y="211"/>
                  </a:cubicBezTo>
                  <a:cubicBezTo>
                    <a:pt x="3503" y="211"/>
                    <a:pt x="3506" y="206"/>
                    <a:pt x="3504" y="200"/>
                  </a:cubicBezTo>
                  <a:cubicBezTo>
                    <a:pt x="3502" y="195"/>
                    <a:pt x="3495" y="190"/>
                    <a:pt x="3489" y="190"/>
                  </a:cubicBezTo>
                  <a:cubicBezTo>
                    <a:pt x="3489" y="190"/>
                    <a:pt x="3489" y="190"/>
                    <a:pt x="3489" y="190"/>
                  </a:cubicBezTo>
                  <a:moveTo>
                    <a:pt x="3520" y="190"/>
                  </a:moveTo>
                  <a:cubicBezTo>
                    <a:pt x="3514" y="190"/>
                    <a:pt x="3511" y="195"/>
                    <a:pt x="3513" y="200"/>
                  </a:cubicBezTo>
                  <a:cubicBezTo>
                    <a:pt x="3516" y="206"/>
                    <a:pt x="3522" y="210"/>
                    <a:pt x="3528" y="210"/>
                  </a:cubicBezTo>
                  <a:cubicBezTo>
                    <a:pt x="3535" y="210"/>
                    <a:pt x="3538" y="206"/>
                    <a:pt x="3536" y="200"/>
                  </a:cubicBezTo>
                  <a:cubicBezTo>
                    <a:pt x="3533" y="194"/>
                    <a:pt x="3527" y="190"/>
                    <a:pt x="3521" y="190"/>
                  </a:cubicBezTo>
                  <a:cubicBezTo>
                    <a:pt x="3521" y="190"/>
                    <a:pt x="3521" y="190"/>
                    <a:pt x="3520" y="190"/>
                  </a:cubicBezTo>
                  <a:moveTo>
                    <a:pt x="3552" y="190"/>
                  </a:moveTo>
                  <a:cubicBezTo>
                    <a:pt x="3546" y="190"/>
                    <a:pt x="3543" y="194"/>
                    <a:pt x="3545" y="200"/>
                  </a:cubicBezTo>
                  <a:cubicBezTo>
                    <a:pt x="3547" y="206"/>
                    <a:pt x="3554" y="210"/>
                    <a:pt x="3560" y="210"/>
                  </a:cubicBezTo>
                  <a:cubicBezTo>
                    <a:pt x="3566" y="210"/>
                    <a:pt x="3569" y="205"/>
                    <a:pt x="3567" y="200"/>
                  </a:cubicBezTo>
                  <a:cubicBezTo>
                    <a:pt x="3565" y="194"/>
                    <a:pt x="3558" y="190"/>
                    <a:pt x="3552" y="190"/>
                  </a:cubicBezTo>
                  <a:cubicBezTo>
                    <a:pt x="3552" y="190"/>
                    <a:pt x="3552" y="190"/>
                    <a:pt x="3552" y="190"/>
                  </a:cubicBezTo>
                  <a:moveTo>
                    <a:pt x="3584" y="189"/>
                  </a:moveTo>
                  <a:cubicBezTo>
                    <a:pt x="3578" y="189"/>
                    <a:pt x="3575" y="194"/>
                    <a:pt x="3577" y="200"/>
                  </a:cubicBezTo>
                  <a:cubicBezTo>
                    <a:pt x="3580" y="205"/>
                    <a:pt x="3586" y="210"/>
                    <a:pt x="3593" y="210"/>
                  </a:cubicBezTo>
                  <a:cubicBezTo>
                    <a:pt x="3599" y="210"/>
                    <a:pt x="3602" y="205"/>
                    <a:pt x="3600" y="199"/>
                  </a:cubicBezTo>
                  <a:cubicBezTo>
                    <a:pt x="3597" y="194"/>
                    <a:pt x="3590" y="189"/>
                    <a:pt x="3584" y="189"/>
                  </a:cubicBezTo>
                  <a:cubicBezTo>
                    <a:pt x="3584" y="189"/>
                    <a:pt x="3584" y="189"/>
                    <a:pt x="3584" y="189"/>
                  </a:cubicBezTo>
                  <a:moveTo>
                    <a:pt x="3616" y="189"/>
                  </a:moveTo>
                  <a:cubicBezTo>
                    <a:pt x="3610" y="189"/>
                    <a:pt x="3607" y="194"/>
                    <a:pt x="3609" y="199"/>
                  </a:cubicBezTo>
                  <a:cubicBezTo>
                    <a:pt x="3612" y="205"/>
                    <a:pt x="3618" y="210"/>
                    <a:pt x="3625" y="210"/>
                  </a:cubicBezTo>
                  <a:cubicBezTo>
                    <a:pt x="3631" y="210"/>
                    <a:pt x="3634" y="205"/>
                    <a:pt x="3631" y="199"/>
                  </a:cubicBezTo>
                  <a:cubicBezTo>
                    <a:pt x="3629" y="194"/>
                    <a:pt x="3622" y="189"/>
                    <a:pt x="3616" y="189"/>
                  </a:cubicBezTo>
                  <a:cubicBezTo>
                    <a:pt x="3616" y="189"/>
                    <a:pt x="3616" y="189"/>
                    <a:pt x="3616" y="189"/>
                  </a:cubicBezTo>
                  <a:moveTo>
                    <a:pt x="3649" y="189"/>
                  </a:moveTo>
                  <a:cubicBezTo>
                    <a:pt x="3642" y="189"/>
                    <a:pt x="3639" y="193"/>
                    <a:pt x="3642" y="199"/>
                  </a:cubicBezTo>
                  <a:cubicBezTo>
                    <a:pt x="3644" y="205"/>
                    <a:pt x="3651" y="209"/>
                    <a:pt x="3658" y="209"/>
                  </a:cubicBezTo>
                  <a:cubicBezTo>
                    <a:pt x="3664" y="209"/>
                    <a:pt x="3667" y="205"/>
                    <a:pt x="3664" y="199"/>
                  </a:cubicBezTo>
                  <a:cubicBezTo>
                    <a:pt x="3662" y="193"/>
                    <a:pt x="3655" y="189"/>
                    <a:pt x="3649" y="189"/>
                  </a:cubicBezTo>
                  <a:cubicBezTo>
                    <a:pt x="3649" y="189"/>
                    <a:pt x="3649" y="189"/>
                    <a:pt x="3649" y="189"/>
                  </a:cubicBezTo>
                  <a:moveTo>
                    <a:pt x="360" y="189"/>
                  </a:moveTo>
                  <a:cubicBezTo>
                    <a:pt x="353" y="189"/>
                    <a:pt x="345" y="193"/>
                    <a:pt x="340" y="199"/>
                  </a:cubicBezTo>
                  <a:cubicBezTo>
                    <a:pt x="335" y="204"/>
                    <a:pt x="337" y="209"/>
                    <a:pt x="343" y="209"/>
                  </a:cubicBezTo>
                  <a:cubicBezTo>
                    <a:pt x="349" y="209"/>
                    <a:pt x="358" y="204"/>
                    <a:pt x="362" y="199"/>
                  </a:cubicBezTo>
                  <a:cubicBezTo>
                    <a:pt x="367" y="193"/>
                    <a:pt x="366" y="189"/>
                    <a:pt x="360" y="189"/>
                  </a:cubicBezTo>
                  <a:cubicBezTo>
                    <a:pt x="360" y="189"/>
                    <a:pt x="360" y="189"/>
                    <a:pt x="360" y="189"/>
                  </a:cubicBezTo>
                  <a:moveTo>
                    <a:pt x="3680" y="188"/>
                  </a:moveTo>
                  <a:cubicBezTo>
                    <a:pt x="3674" y="189"/>
                    <a:pt x="3671" y="193"/>
                    <a:pt x="3673" y="199"/>
                  </a:cubicBezTo>
                  <a:cubicBezTo>
                    <a:pt x="3676" y="205"/>
                    <a:pt x="3683" y="209"/>
                    <a:pt x="3689" y="209"/>
                  </a:cubicBezTo>
                  <a:cubicBezTo>
                    <a:pt x="3695" y="209"/>
                    <a:pt x="3698" y="204"/>
                    <a:pt x="3696" y="199"/>
                  </a:cubicBezTo>
                  <a:cubicBezTo>
                    <a:pt x="3693" y="193"/>
                    <a:pt x="3686" y="188"/>
                    <a:pt x="3680" y="188"/>
                  </a:cubicBezTo>
                  <a:cubicBezTo>
                    <a:pt x="3680" y="188"/>
                    <a:pt x="3680" y="188"/>
                    <a:pt x="3680" y="188"/>
                  </a:cubicBezTo>
                  <a:moveTo>
                    <a:pt x="391" y="188"/>
                  </a:moveTo>
                  <a:cubicBezTo>
                    <a:pt x="385" y="188"/>
                    <a:pt x="376" y="193"/>
                    <a:pt x="372" y="198"/>
                  </a:cubicBezTo>
                  <a:cubicBezTo>
                    <a:pt x="367" y="204"/>
                    <a:pt x="369" y="209"/>
                    <a:pt x="375" y="209"/>
                  </a:cubicBezTo>
                  <a:cubicBezTo>
                    <a:pt x="381" y="208"/>
                    <a:pt x="390" y="204"/>
                    <a:pt x="394" y="198"/>
                  </a:cubicBezTo>
                  <a:cubicBezTo>
                    <a:pt x="399" y="193"/>
                    <a:pt x="397" y="188"/>
                    <a:pt x="391" y="188"/>
                  </a:cubicBezTo>
                  <a:cubicBezTo>
                    <a:pt x="391" y="188"/>
                    <a:pt x="391" y="188"/>
                    <a:pt x="391" y="188"/>
                  </a:cubicBezTo>
                  <a:moveTo>
                    <a:pt x="3712" y="188"/>
                  </a:moveTo>
                  <a:cubicBezTo>
                    <a:pt x="3706" y="188"/>
                    <a:pt x="3703" y="193"/>
                    <a:pt x="3705" y="199"/>
                  </a:cubicBezTo>
                  <a:cubicBezTo>
                    <a:pt x="3708" y="204"/>
                    <a:pt x="3715" y="209"/>
                    <a:pt x="3721" y="209"/>
                  </a:cubicBezTo>
                  <a:cubicBezTo>
                    <a:pt x="3727" y="209"/>
                    <a:pt x="3730" y="204"/>
                    <a:pt x="3728" y="198"/>
                  </a:cubicBezTo>
                  <a:cubicBezTo>
                    <a:pt x="3725" y="193"/>
                    <a:pt x="3718" y="188"/>
                    <a:pt x="3712" y="188"/>
                  </a:cubicBezTo>
                  <a:cubicBezTo>
                    <a:pt x="3712" y="188"/>
                    <a:pt x="3712" y="188"/>
                    <a:pt x="3712" y="188"/>
                  </a:cubicBezTo>
                  <a:moveTo>
                    <a:pt x="424" y="188"/>
                  </a:moveTo>
                  <a:cubicBezTo>
                    <a:pt x="418" y="188"/>
                    <a:pt x="409" y="193"/>
                    <a:pt x="405" y="198"/>
                  </a:cubicBezTo>
                  <a:cubicBezTo>
                    <a:pt x="400" y="204"/>
                    <a:pt x="402" y="208"/>
                    <a:pt x="408" y="208"/>
                  </a:cubicBezTo>
                  <a:cubicBezTo>
                    <a:pt x="414" y="208"/>
                    <a:pt x="423" y="204"/>
                    <a:pt x="427" y="198"/>
                  </a:cubicBezTo>
                  <a:cubicBezTo>
                    <a:pt x="432" y="192"/>
                    <a:pt x="430" y="188"/>
                    <a:pt x="424" y="188"/>
                  </a:cubicBezTo>
                  <a:cubicBezTo>
                    <a:pt x="424" y="188"/>
                    <a:pt x="424" y="188"/>
                    <a:pt x="424" y="188"/>
                  </a:cubicBezTo>
                  <a:moveTo>
                    <a:pt x="3744" y="188"/>
                  </a:moveTo>
                  <a:cubicBezTo>
                    <a:pt x="3738" y="188"/>
                    <a:pt x="3735" y="193"/>
                    <a:pt x="3737" y="198"/>
                  </a:cubicBezTo>
                  <a:cubicBezTo>
                    <a:pt x="3740" y="204"/>
                    <a:pt x="3747" y="209"/>
                    <a:pt x="3753" y="208"/>
                  </a:cubicBezTo>
                  <a:cubicBezTo>
                    <a:pt x="3760" y="208"/>
                    <a:pt x="3762" y="204"/>
                    <a:pt x="3760" y="198"/>
                  </a:cubicBezTo>
                  <a:cubicBezTo>
                    <a:pt x="3757" y="192"/>
                    <a:pt x="3750" y="188"/>
                    <a:pt x="3744" y="188"/>
                  </a:cubicBezTo>
                  <a:cubicBezTo>
                    <a:pt x="3744" y="188"/>
                    <a:pt x="3744" y="188"/>
                    <a:pt x="3744" y="188"/>
                  </a:cubicBezTo>
                  <a:moveTo>
                    <a:pt x="456" y="188"/>
                  </a:moveTo>
                  <a:cubicBezTo>
                    <a:pt x="449" y="188"/>
                    <a:pt x="441" y="192"/>
                    <a:pt x="436" y="198"/>
                  </a:cubicBezTo>
                  <a:cubicBezTo>
                    <a:pt x="432" y="204"/>
                    <a:pt x="433" y="208"/>
                    <a:pt x="440" y="208"/>
                  </a:cubicBezTo>
                  <a:cubicBezTo>
                    <a:pt x="446" y="208"/>
                    <a:pt x="454" y="203"/>
                    <a:pt x="459" y="198"/>
                  </a:cubicBezTo>
                  <a:cubicBezTo>
                    <a:pt x="463" y="192"/>
                    <a:pt x="462" y="188"/>
                    <a:pt x="456" y="188"/>
                  </a:cubicBezTo>
                  <a:cubicBezTo>
                    <a:pt x="456" y="188"/>
                    <a:pt x="456" y="188"/>
                    <a:pt x="456" y="188"/>
                  </a:cubicBezTo>
                  <a:moveTo>
                    <a:pt x="3775" y="188"/>
                  </a:moveTo>
                  <a:cubicBezTo>
                    <a:pt x="3769" y="188"/>
                    <a:pt x="3766" y="192"/>
                    <a:pt x="3769" y="198"/>
                  </a:cubicBezTo>
                  <a:cubicBezTo>
                    <a:pt x="3772" y="204"/>
                    <a:pt x="3779" y="208"/>
                    <a:pt x="3785" y="208"/>
                  </a:cubicBezTo>
                  <a:cubicBezTo>
                    <a:pt x="3791" y="208"/>
                    <a:pt x="3794" y="203"/>
                    <a:pt x="3791" y="198"/>
                  </a:cubicBezTo>
                  <a:cubicBezTo>
                    <a:pt x="3789" y="192"/>
                    <a:pt x="3781" y="188"/>
                    <a:pt x="3775" y="188"/>
                  </a:cubicBezTo>
                  <a:cubicBezTo>
                    <a:pt x="3775" y="188"/>
                    <a:pt x="3775" y="188"/>
                    <a:pt x="3775" y="188"/>
                  </a:cubicBezTo>
                  <a:moveTo>
                    <a:pt x="487" y="187"/>
                  </a:moveTo>
                  <a:cubicBezTo>
                    <a:pt x="481" y="187"/>
                    <a:pt x="473" y="192"/>
                    <a:pt x="468" y="198"/>
                  </a:cubicBezTo>
                  <a:cubicBezTo>
                    <a:pt x="464" y="203"/>
                    <a:pt x="465" y="208"/>
                    <a:pt x="471" y="208"/>
                  </a:cubicBezTo>
                  <a:cubicBezTo>
                    <a:pt x="478" y="208"/>
                    <a:pt x="486" y="203"/>
                    <a:pt x="490" y="197"/>
                  </a:cubicBezTo>
                  <a:cubicBezTo>
                    <a:pt x="495" y="192"/>
                    <a:pt x="493" y="187"/>
                    <a:pt x="487" y="187"/>
                  </a:cubicBezTo>
                  <a:cubicBezTo>
                    <a:pt x="487" y="187"/>
                    <a:pt x="487" y="187"/>
                    <a:pt x="487" y="187"/>
                  </a:cubicBezTo>
                  <a:moveTo>
                    <a:pt x="3807" y="187"/>
                  </a:moveTo>
                  <a:cubicBezTo>
                    <a:pt x="3801" y="187"/>
                    <a:pt x="3798" y="192"/>
                    <a:pt x="3801" y="198"/>
                  </a:cubicBezTo>
                  <a:cubicBezTo>
                    <a:pt x="3804" y="203"/>
                    <a:pt x="3811" y="208"/>
                    <a:pt x="3817" y="208"/>
                  </a:cubicBezTo>
                  <a:cubicBezTo>
                    <a:pt x="3823" y="208"/>
                    <a:pt x="3826" y="203"/>
                    <a:pt x="3823" y="198"/>
                  </a:cubicBezTo>
                  <a:cubicBezTo>
                    <a:pt x="3820" y="192"/>
                    <a:pt x="3813" y="187"/>
                    <a:pt x="3807" y="187"/>
                  </a:cubicBezTo>
                  <a:cubicBezTo>
                    <a:pt x="3807" y="187"/>
                    <a:pt x="3807" y="187"/>
                    <a:pt x="3807" y="187"/>
                  </a:cubicBezTo>
                  <a:moveTo>
                    <a:pt x="520" y="187"/>
                  </a:moveTo>
                  <a:cubicBezTo>
                    <a:pt x="514" y="187"/>
                    <a:pt x="505" y="192"/>
                    <a:pt x="501" y="197"/>
                  </a:cubicBezTo>
                  <a:cubicBezTo>
                    <a:pt x="497" y="203"/>
                    <a:pt x="498" y="207"/>
                    <a:pt x="505" y="207"/>
                  </a:cubicBezTo>
                  <a:cubicBezTo>
                    <a:pt x="511" y="207"/>
                    <a:pt x="519" y="203"/>
                    <a:pt x="523" y="197"/>
                  </a:cubicBezTo>
                  <a:cubicBezTo>
                    <a:pt x="528" y="192"/>
                    <a:pt x="526" y="187"/>
                    <a:pt x="520" y="187"/>
                  </a:cubicBezTo>
                  <a:cubicBezTo>
                    <a:pt x="520" y="187"/>
                    <a:pt x="520" y="187"/>
                    <a:pt x="520" y="187"/>
                  </a:cubicBezTo>
                  <a:moveTo>
                    <a:pt x="3838" y="187"/>
                  </a:moveTo>
                  <a:cubicBezTo>
                    <a:pt x="3832" y="187"/>
                    <a:pt x="3830" y="192"/>
                    <a:pt x="3832" y="197"/>
                  </a:cubicBezTo>
                  <a:cubicBezTo>
                    <a:pt x="3835" y="203"/>
                    <a:pt x="3843" y="208"/>
                    <a:pt x="3849" y="208"/>
                  </a:cubicBezTo>
                  <a:cubicBezTo>
                    <a:pt x="3855" y="208"/>
                    <a:pt x="3858" y="203"/>
                    <a:pt x="3855" y="197"/>
                  </a:cubicBezTo>
                  <a:cubicBezTo>
                    <a:pt x="3852" y="192"/>
                    <a:pt x="3844" y="187"/>
                    <a:pt x="3838" y="187"/>
                  </a:cubicBezTo>
                  <a:cubicBezTo>
                    <a:pt x="3838" y="187"/>
                    <a:pt x="3838" y="187"/>
                    <a:pt x="3838" y="187"/>
                  </a:cubicBezTo>
                  <a:moveTo>
                    <a:pt x="551" y="187"/>
                  </a:moveTo>
                  <a:cubicBezTo>
                    <a:pt x="545" y="187"/>
                    <a:pt x="537" y="191"/>
                    <a:pt x="533" y="197"/>
                  </a:cubicBezTo>
                  <a:cubicBezTo>
                    <a:pt x="528" y="203"/>
                    <a:pt x="530" y="207"/>
                    <a:pt x="536" y="207"/>
                  </a:cubicBezTo>
                  <a:cubicBezTo>
                    <a:pt x="542" y="207"/>
                    <a:pt x="551" y="202"/>
                    <a:pt x="555" y="197"/>
                  </a:cubicBezTo>
                  <a:cubicBezTo>
                    <a:pt x="559" y="191"/>
                    <a:pt x="558" y="187"/>
                    <a:pt x="552" y="187"/>
                  </a:cubicBezTo>
                  <a:cubicBezTo>
                    <a:pt x="552" y="187"/>
                    <a:pt x="551" y="187"/>
                    <a:pt x="551" y="187"/>
                  </a:cubicBezTo>
                  <a:moveTo>
                    <a:pt x="3870" y="187"/>
                  </a:moveTo>
                  <a:cubicBezTo>
                    <a:pt x="3864" y="187"/>
                    <a:pt x="3861" y="191"/>
                    <a:pt x="3864" y="197"/>
                  </a:cubicBezTo>
                  <a:cubicBezTo>
                    <a:pt x="3867" y="203"/>
                    <a:pt x="3874" y="207"/>
                    <a:pt x="3880" y="207"/>
                  </a:cubicBezTo>
                  <a:cubicBezTo>
                    <a:pt x="3887" y="207"/>
                    <a:pt x="3889" y="203"/>
                    <a:pt x="3886" y="197"/>
                  </a:cubicBezTo>
                  <a:cubicBezTo>
                    <a:pt x="3883" y="191"/>
                    <a:pt x="3876" y="187"/>
                    <a:pt x="3870" y="187"/>
                  </a:cubicBezTo>
                  <a:cubicBezTo>
                    <a:pt x="3870" y="187"/>
                    <a:pt x="3870" y="187"/>
                    <a:pt x="3870" y="187"/>
                  </a:cubicBezTo>
                  <a:moveTo>
                    <a:pt x="583" y="187"/>
                  </a:moveTo>
                  <a:cubicBezTo>
                    <a:pt x="577" y="187"/>
                    <a:pt x="569" y="191"/>
                    <a:pt x="564" y="197"/>
                  </a:cubicBezTo>
                  <a:cubicBezTo>
                    <a:pt x="560" y="202"/>
                    <a:pt x="562" y="207"/>
                    <a:pt x="568" y="207"/>
                  </a:cubicBezTo>
                  <a:cubicBezTo>
                    <a:pt x="574" y="207"/>
                    <a:pt x="583" y="202"/>
                    <a:pt x="587" y="197"/>
                  </a:cubicBezTo>
                  <a:cubicBezTo>
                    <a:pt x="591" y="191"/>
                    <a:pt x="589" y="187"/>
                    <a:pt x="583" y="187"/>
                  </a:cubicBezTo>
                  <a:cubicBezTo>
                    <a:pt x="583" y="187"/>
                    <a:pt x="583" y="187"/>
                    <a:pt x="583" y="187"/>
                  </a:cubicBezTo>
                  <a:moveTo>
                    <a:pt x="3901" y="186"/>
                  </a:moveTo>
                  <a:cubicBezTo>
                    <a:pt x="3895" y="187"/>
                    <a:pt x="3893" y="191"/>
                    <a:pt x="3896" y="197"/>
                  </a:cubicBezTo>
                  <a:cubicBezTo>
                    <a:pt x="3899" y="203"/>
                    <a:pt x="3906" y="207"/>
                    <a:pt x="3912" y="207"/>
                  </a:cubicBezTo>
                  <a:cubicBezTo>
                    <a:pt x="3918" y="207"/>
                    <a:pt x="3921" y="202"/>
                    <a:pt x="3918" y="197"/>
                  </a:cubicBezTo>
                  <a:cubicBezTo>
                    <a:pt x="3915" y="191"/>
                    <a:pt x="3907" y="186"/>
                    <a:pt x="3901" y="186"/>
                  </a:cubicBezTo>
                  <a:cubicBezTo>
                    <a:pt x="3901" y="186"/>
                    <a:pt x="3901" y="186"/>
                    <a:pt x="3901" y="186"/>
                  </a:cubicBezTo>
                  <a:moveTo>
                    <a:pt x="614" y="186"/>
                  </a:moveTo>
                  <a:cubicBezTo>
                    <a:pt x="608" y="186"/>
                    <a:pt x="600" y="191"/>
                    <a:pt x="596" y="196"/>
                  </a:cubicBezTo>
                  <a:cubicBezTo>
                    <a:pt x="592" y="202"/>
                    <a:pt x="594" y="207"/>
                    <a:pt x="600" y="207"/>
                  </a:cubicBezTo>
                  <a:cubicBezTo>
                    <a:pt x="606" y="206"/>
                    <a:pt x="614" y="202"/>
                    <a:pt x="618" y="196"/>
                  </a:cubicBezTo>
                  <a:cubicBezTo>
                    <a:pt x="622" y="191"/>
                    <a:pt x="621" y="186"/>
                    <a:pt x="615" y="186"/>
                  </a:cubicBezTo>
                  <a:cubicBezTo>
                    <a:pt x="615" y="186"/>
                    <a:pt x="615" y="186"/>
                    <a:pt x="614" y="186"/>
                  </a:cubicBezTo>
                  <a:moveTo>
                    <a:pt x="3933" y="186"/>
                  </a:moveTo>
                  <a:cubicBezTo>
                    <a:pt x="3927" y="186"/>
                    <a:pt x="3924" y="191"/>
                    <a:pt x="3927" y="197"/>
                  </a:cubicBezTo>
                  <a:cubicBezTo>
                    <a:pt x="3930" y="202"/>
                    <a:pt x="3938" y="207"/>
                    <a:pt x="3944" y="207"/>
                  </a:cubicBezTo>
                  <a:cubicBezTo>
                    <a:pt x="3950" y="207"/>
                    <a:pt x="3953" y="202"/>
                    <a:pt x="3950" y="196"/>
                  </a:cubicBezTo>
                  <a:cubicBezTo>
                    <a:pt x="3947" y="191"/>
                    <a:pt x="3939" y="186"/>
                    <a:pt x="3933" y="186"/>
                  </a:cubicBezTo>
                  <a:cubicBezTo>
                    <a:pt x="3933" y="186"/>
                    <a:pt x="3933" y="186"/>
                    <a:pt x="3933" y="186"/>
                  </a:cubicBezTo>
                  <a:moveTo>
                    <a:pt x="646" y="186"/>
                  </a:moveTo>
                  <a:cubicBezTo>
                    <a:pt x="640" y="186"/>
                    <a:pt x="632" y="191"/>
                    <a:pt x="628" y="196"/>
                  </a:cubicBezTo>
                  <a:cubicBezTo>
                    <a:pt x="624" y="202"/>
                    <a:pt x="626" y="206"/>
                    <a:pt x="632" y="206"/>
                  </a:cubicBezTo>
                  <a:cubicBezTo>
                    <a:pt x="638" y="206"/>
                    <a:pt x="646" y="202"/>
                    <a:pt x="650" y="196"/>
                  </a:cubicBezTo>
                  <a:cubicBezTo>
                    <a:pt x="654" y="190"/>
                    <a:pt x="652" y="186"/>
                    <a:pt x="646" y="186"/>
                  </a:cubicBezTo>
                  <a:cubicBezTo>
                    <a:pt x="646" y="186"/>
                    <a:pt x="646" y="186"/>
                    <a:pt x="646" y="186"/>
                  </a:cubicBezTo>
                  <a:moveTo>
                    <a:pt x="3965" y="186"/>
                  </a:moveTo>
                  <a:cubicBezTo>
                    <a:pt x="3959" y="186"/>
                    <a:pt x="3956" y="191"/>
                    <a:pt x="3960" y="196"/>
                  </a:cubicBezTo>
                  <a:cubicBezTo>
                    <a:pt x="3963" y="202"/>
                    <a:pt x="3970" y="207"/>
                    <a:pt x="3976" y="207"/>
                  </a:cubicBezTo>
                  <a:cubicBezTo>
                    <a:pt x="3982" y="206"/>
                    <a:pt x="3985" y="202"/>
                    <a:pt x="3982" y="196"/>
                  </a:cubicBezTo>
                  <a:cubicBezTo>
                    <a:pt x="3979" y="190"/>
                    <a:pt x="3971" y="186"/>
                    <a:pt x="3965" y="186"/>
                  </a:cubicBezTo>
                  <a:cubicBezTo>
                    <a:pt x="3965" y="186"/>
                    <a:pt x="3965" y="186"/>
                    <a:pt x="3965" y="186"/>
                  </a:cubicBezTo>
                  <a:moveTo>
                    <a:pt x="679" y="186"/>
                  </a:moveTo>
                  <a:cubicBezTo>
                    <a:pt x="673" y="186"/>
                    <a:pt x="665" y="190"/>
                    <a:pt x="661" y="196"/>
                  </a:cubicBezTo>
                  <a:cubicBezTo>
                    <a:pt x="657" y="202"/>
                    <a:pt x="658" y="206"/>
                    <a:pt x="665" y="206"/>
                  </a:cubicBezTo>
                  <a:cubicBezTo>
                    <a:pt x="671" y="206"/>
                    <a:pt x="679" y="201"/>
                    <a:pt x="683" y="196"/>
                  </a:cubicBezTo>
                  <a:cubicBezTo>
                    <a:pt x="687" y="190"/>
                    <a:pt x="685" y="186"/>
                    <a:pt x="679" y="186"/>
                  </a:cubicBezTo>
                  <a:cubicBezTo>
                    <a:pt x="679" y="186"/>
                    <a:pt x="679" y="186"/>
                    <a:pt x="679" y="186"/>
                  </a:cubicBezTo>
                  <a:moveTo>
                    <a:pt x="3996" y="186"/>
                  </a:moveTo>
                  <a:cubicBezTo>
                    <a:pt x="3990" y="186"/>
                    <a:pt x="3988" y="190"/>
                    <a:pt x="3991" y="196"/>
                  </a:cubicBezTo>
                  <a:cubicBezTo>
                    <a:pt x="3994" y="202"/>
                    <a:pt x="4002" y="206"/>
                    <a:pt x="4008" y="206"/>
                  </a:cubicBezTo>
                  <a:cubicBezTo>
                    <a:pt x="4014" y="206"/>
                    <a:pt x="4017" y="202"/>
                    <a:pt x="4013" y="196"/>
                  </a:cubicBezTo>
                  <a:cubicBezTo>
                    <a:pt x="4010" y="190"/>
                    <a:pt x="4003" y="186"/>
                    <a:pt x="3996" y="186"/>
                  </a:cubicBezTo>
                  <a:cubicBezTo>
                    <a:pt x="3996" y="186"/>
                    <a:pt x="3996" y="186"/>
                    <a:pt x="3996" y="186"/>
                  </a:cubicBezTo>
                  <a:moveTo>
                    <a:pt x="710" y="185"/>
                  </a:moveTo>
                  <a:cubicBezTo>
                    <a:pt x="704" y="185"/>
                    <a:pt x="696" y="190"/>
                    <a:pt x="692" y="196"/>
                  </a:cubicBezTo>
                  <a:cubicBezTo>
                    <a:pt x="688" y="201"/>
                    <a:pt x="690" y="206"/>
                    <a:pt x="696" y="206"/>
                  </a:cubicBezTo>
                  <a:cubicBezTo>
                    <a:pt x="702" y="206"/>
                    <a:pt x="710" y="201"/>
                    <a:pt x="714" y="195"/>
                  </a:cubicBezTo>
                  <a:cubicBezTo>
                    <a:pt x="718" y="190"/>
                    <a:pt x="716" y="185"/>
                    <a:pt x="710" y="185"/>
                  </a:cubicBezTo>
                  <a:cubicBezTo>
                    <a:pt x="710" y="185"/>
                    <a:pt x="710" y="185"/>
                    <a:pt x="710" y="185"/>
                  </a:cubicBezTo>
                  <a:moveTo>
                    <a:pt x="4028" y="185"/>
                  </a:moveTo>
                  <a:cubicBezTo>
                    <a:pt x="4022" y="185"/>
                    <a:pt x="4020" y="190"/>
                    <a:pt x="4023" y="196"/>
                  </a:cubicBezTo>
                  <a:cubicBezTo>
                    <a:pt x="4026" y="201"/>
                    <a:pt x="4034" y="206"/>
                    <a:pt x="4040" y="206"/>
                  </a:cubicBezTo>
                  <a:cubicBezTo>
                    <a:pt x="4046" y="206"/>
                    <a:pt x="4048" y="201"/>
                    <a:pt x="4045" y="196"/>
                  </a:cubicBezTo>
                  <a:cubicBezTo>
                    <a:pt x="4042" y="190"/>
                    <a:pt x="4034" y="185"/>
                    <a:pt x="4028" y="185"/>
                  </a:cubicBezTo>
                  <a:cubicBezTo>
                    <a:pt x="4028" y="185"/>
                    <a:pt x="4028" y="185"/>
                    <a:pt x="4028" y="185"/>
                  </a:cubicBezTo>
                  <a:moveTo>
                    <a:pt x="742" y="185"/>
                  </a:moveTo>
                  <a:cubicBezTo>
                    <a:pt x="736" y="185"/>
                    <a:pt x="728" y="190"/>
                    <a:pt x="724" y="195"/>
                  </a:cubicBezTo>
                  <a:cubicBezTo>
                    <a:pt x="720" y="201"/>
                    <a:pt x="722" y="205"/>
                    <a:pt x="728" y="205"/>
                  </a:cubicBezTo>
                  <a:cubicBezTo>
                    <a:pt x="734" y="205"/>
                    <a:pt x="742" y="201"/>
                    <a:pt x="746" y="195"/>
                  </a:cubicBezTo>
                  <a:cubicBezTo>
                    <a:pt x="750" y="190"/>
                    <a:pt x="748" y="185"/>
                    <a:pt x="742" y="185"/>
                  </a:cubicBezTo>
                  <a:cubicBezTo>
                    <a:pt x="742" y="185"/>
                    <a:pt x="742" y="185"/>
                    <a:pt x="742" y="185"/>
                  </a:cubicBezTo>
                  <a:moveTo>
                    <a:pt x="4059" y="185"/>
                  </a:moveTo>
                  <a:cubicBezTo>
                    <a:pt x="4053" y="185"/>
                    <a:pt x="4051" y="190"/>
                    <a:pt x="4054" y="195"/>
                  </a:cubicBezTo>
                  <a:cubicBezTo>
                    <a:pt x="4058" y="201"/>
                    <a:pt x="4065" y="206"/>
                    <a:pt x="4072" y="206"/>
                  </a:cubicBezTo>
                  <a:cubicBezTo>
                    <a:pt x="4078" y="206"/>
                    <a:pt x="4080" y="201"/>
                    <a:pt x="4077" y="195"/>
                  </a:cubicBezTo>
                  <a:cubicBezTo>
                    <a:pt x="4073" y="190"/>
                    <a:pt x="4066" y="185"/>
                    <a:pt x="4059" y="185"/>
                  </a:cubicBezTo>
                  <a:cubicBezTo>
                    <a:pt x="4059" y="185"/>
                    <a:pt x="4059" y="185"/>
                    <a:pt x="4059" y="185"/>
                  </a:cubicBezTo>
                  <a:moveTo>
                    <a:pt x="774" y="185"/>
                  </a:moveTo>
                  <a:cubicBezTo>
                    <a:pt x="768" y="185"/>
                    <a:pt x="760" y="189"/>
                    <a:pt x="756" y="195"/>
                  </a:cubicBezTo>
                  <a:cubicBezTo>
                    <a:pt x="752" y="201"/>
                    <a:pt x="754" y="205"/>
                    <a:pt x="760" y="205"/>
                  </a:cubicBezTo>
                  <a:cubicBezTo>
                    <a:pt x="766" y="205"/>
                    <a:pt x="774" y="200"/>
                    <a:pt x="778" y="195"/>
                  </a:cubicBezTo>
                  <a:cubicBezTo>
                    <a:pt x="782" y="189"/>
                    <a:pt x="780" y="185"/>
                    <a:pt x="774" y="185"/>
                  </a:cubicBezTo>
                  <a:cubicBezTo>
                    <a:pt x="774" y="185"/>
                    <a:pt x="774" y="185"/>
                    <a:pt x="774" y="185"/>
                  </a:cubicBezTo>
                  <a:moveTo>
                    <a:pt x="4090" y="185"/>
                  </a:moveTo>
                  <a:cubicBezTo>
                    <a:pt x="4084" y="185"/>
                    <a:pt x="4082" y="190"/>
                    <a:pt x="4085" y="195"/>
                  </a:cubicBezTo>
                  <a:cubicBezTo>
                    <a:pt x="4089" y="201"/>
                    <a:pt x="4096" y="205"/>
                    <a:pt x="4103" y="205"/>
                  </a:cubicBezTo>
                  <a:cubicBezTo>
                    <a:pt x="4109" y="205"/>
                    <a:pt x="4111" y="201"/>
                    <a:pt x="4107" y="195"/>
                  </a:cubicBezTo>
                  <a:cubicBezTo>
                    <a:pt x="4104" y="189"/>
                    <a:pt x="4096" y="185"/>
                    <a:pt x="4090" y="185"/>
                  </a:cubicBezTo>
                  <a:cubicBezTo>
                    <a:pt x="4090" y="185"/>
                    <a:pt x="4090" y="185"/>
                    <a:pt x="4090" y="185"/>
                  </a:cubicBezTo>
                  <a:moveTo>
                    <a:pt x="805" y="185"/>
                  </a:moveTo>
                  <a:cubicBezTo>
                    <a:pt x="799" y="185"/>
                    <a:pt x="791" y="189"/>
                    <a:pt x="788" y="195"/>
                  </a:cubicBezTo>
                  <a:cubicBezTo>
                    <a:pt x="784" y="200"/>
                    <a:pt x="786" y="205"/>
                    <a:pt x="792" y="205"/>
                  </a:cubicBezTo>
                  <a:cubicBezTo>
                    <a:pt x="798" y="205"/>
                    <a:pt x="806" y="200"/>
                    <a:pt x="810" y="195"/>
                  </a:cubicBezTo>
                  <a:cubicBezTo>
                    <a:pt x="813" y="189"/>
                    <a:pt x="811" y="185"/>
                    <a:pt x="805" y="185"/>
                  </a:cubicBezTo>
                  <a:cubicBezTo>
                    <a:pt x="805" y="185"/>
                    <a:pt x="805" y="185"/>
                    <a:pt x="805" y="185"/>
                  </a:cubicBezTo>
                  <a:moveTo>
                    <a:pt x="837" y="184"/>
                  </a:moveTo>
                  <a:cubicBezTo>
                    <a:pt x="831" y="184"/>
                    <a:pt x="823" y="189"/>
                    <a:pt x="819" y="194"/>
                  </a:cubicBezTo>
                  <a:cubicBezTo>
                    <a:pt x="816" y="200"/>
                    <a:pt x="818" y="205"/>
                    <a:pt x="824" y="205"/>
                  </a:cubicBezTo>
                  <a:cubicBezTo>
                    <a:pt x="830" y="204"/>
                    <a:pt x="838" y="200"/>
                    <a:pt x="841" y="194"/>
                  </a:cubicBezTo>
                  <a:cubicBezTo>
                    <a:pt x="845" y="189"/>
                    <a:pt x="843" y="184"/>
                    <a:pt x="837" y="184"/>
                  </a:cubicBezTo>
                  <a:cubicBezTo>
                    <a:pt x="837" y="184"/>
                    <a:pt x="837" y="184"/>
                    <a:pt x="837" y="184"/>
                  </a:cubicBezTo>
                  <a:moveTo>
                    <a:pt x="868" y="184"/>
                  </a:moveTo>
                  <a:cubicBezTo>
                    <a:pt x="862" y="184"/>
                    <a:pt x="854" y="189"/>
                    <a:pt x="851" y="194"/>
                  </a:cubicBezTo>
                  <a:cubicBezTo>
                    <a:pt x="847" y="200"/>
                    <a:pt x="849" y="204"/>
                    <a:pt x="855" y="204"/>
                  </a:cubicBezTo>
                  <a:cubicBezTo>
                    <a:pt x="862" y="204"/>
                    <a:pt x="869" y="200"/>
                    <a:pt x="873" y="194"/>
                  </a:cubicBezTo>
                  <a:cubicBezTo>
                    <a:pt x="876" y="188"/>
                    <a:pt x="874" y="184"/>
                    <a:pt x="868" y="184"/>
                  </a:cubicBezTo>
                  <a:cubicBezTo>
                    <a:pt x="868" y="184"/>
                    <a:pt x="868" y="184"/>
                    <a:pt x="868" y="184"/>
                  </a:cubicBezTo>
                  <a:moveTo>
                    <a:pt x="900" y="184"/>
                  </a:moveTo>
                  <a:cubicBezTo>
                    <a:pt x="894" y="184"/>
                    <a:pt x="886" y="188"/>
                    <a:pt x="883" y="194"/>
                  </a:cubicBezTo>
                  <a:cubicBezTo>
                    <a:pt x="879" y="200"/>
                    <a:pt x="881" y="204"/>
                    <a:pt x="887" y="204"/>
                  </a:cubicBezTo>
                  <a:cubicBezTo>
                    <a:pt x="893" y="204"/>
                    <a:pt x="901" y="199"/>
                    <a:pt x="905" y="194"/>
                  </a:cubicBezTo>
                  <a:cubicBezTo>
                    <a:pt x="908" y="188"/>
                    <a:pt x="906" y="184"/>
                    <a:pt x="900" y="184"/>
                  </a:cubicBezTo>
                  <a:cubicBezTo>
                    <a:pt x="900" y="184"/>
                    <a:pt x="900" y="184"/>
                    <a:pt x="900" y="184"/>
                  </a:cubicBezTo>
                  <a:moveTo>
                    <a:pt x="4185" y="184"/>
                  </a:moveTo>
                  <a:cubicBezTo>
                    <a:pt x="4179" y="184"/>
                    <a:pt x="4177" y="188"/>
                    <a:pt x="4180" y="194"/>
                  </a:cubicBezTo>
                  <a:cubicBezTo>
                    <a:pt x="4184" y="200"/>
                    <a:pt x="4192" y="204"/>
                    <a:pt x="4198" y="204"/>
                  </a:cubicBezTo>
                  <a:cubicBezTo>
                    <a:pt x="4204" y="204"/>
                    <a:pt x="4206" y="200"/>
                    <a:pt x="4203" y="194"/>
                  </a:cubicBezTo>
                  <a:cubicBezTo>
                    <a:pt x="4199" y="188"/>
                    <a:pt x="4191" y="184"/>
                    <a:pt x="4185" y="184"/>
                  </a:cubicBezTo>
                  <a:cubicBezTo>
                    <a:pt x="4185" y="184"/>
                    <a:pt x="4185" y="184"/>
                    <a:pt x="4185" y="184"/>
                  </a:cubicBezTo>
                  <a:moveTo>
                    <a:pt x="932" y="183"/>
                  </a:moveTo>
                  <a:cubicBezTo>
                    <a:pt x="926" y="183"/>
                    <a:pt x="918" y="188"/>
                    <a:pt x="915" y="194"/>
                  </a:cubicBezTo>
                  <a:cubicBezTo>
                    <a:pt x="911" y="199"/>
                    <a:pt x="913" y="204"/>
                    <a:pt x="920" y="204"/>
                  </a:cubicBezTo>
                  <a:cubicBezTo>
                    <a:pt x="926" y="204"/>
                    <a:pt x="933" y="199"/>
                    <a:pt x="937" y="193"/>
                  </a:cubicBezTo>
                  <a:cubicBezTo>
                    <a:pt x="940" y="188"/>
                    <a:pt x="938" y="183"/>
                    <a:pt x="932" y="183"/>
                  </a:cubicBezTo>
                  <a:cubicBezTo>
                    <a:pt x="932" y="183"/>
                    <a:pt x="932" y="183"/>
                    <a:pt x="932" y="183"/>
                  </a:cubicBezTo>
                  <a:moveTo>
                    <a:pt x="963" y="183"/>
                  </a:moveTo>
                  <a:cubicBezTo>
                    <a:pt x="957" y="183"/>
                    <a:pt x="949" y="188"/>
                    <a:pt x="946" y="193"/>
                  </a:cubicBezTo>
                  <a:cubicBezTo>
                    <a:pt x="943" y="199"/>
                    <a:pt x="945" y="203"/>
                    <a:pt x="951" y="203"/>
                  </a:cubicBezTo>
                  <a:cubicBezTo>
                    <a:pt x="957" y="203"/>
                    <a:pt x="965" y="199"/>
                    <a:pt x="968" y="193"/>
                  </a:cubicBezTo>
                  <a:cubicBezTo>
                    <a:pt x="972" y="188"/>
                    <a:pt x="969" y="183"/>
                    <a:pt x="963" y="183"/>
                  </a:cubicBezTo>
                  <a:cubicBezTo>
                    <a:pt x="963" y="183"/>
                    <a:pt x="963" y="183"/>
                    <a:pt x="963" y="183"/>
                  </a:cubicBezTo>
                  <a:moveTo>
                    <a:pt x="993" y="183"/>
                  </a:moveTo>
                  <a:cubicBezTo>
                    <a:pt x="987" y="183"/>
                    <a:pt x="979" y="187"/>
                    <a:pt x="976" y="193"/>
                  </a:cubicBezTo>
                  <a:cubicBezTo>
                    <a:pt x="973" y="199"/>
                    <a:pt x="975" y="203"/>
                    <a:pt x="981" y="203"/>
                  </a:cubicBezTo>
                  <a:cubicBezTo>
                    <a:pt x="987" y="203"/>
                    <a:pt x="995" y="198"/>
                    <a:pt x="998" y="193"/>
                  </a:cubicBezTo>
                  <a:cubicBezTo>
                    <a:pt x="1002" y="187"/>
                    <a:pt x="999" y="183"/>
                    <a:pt x="993" y="183"/>
                  </a:cubicBezTo>
                  <a:cubicBezTo>
                    <a:pt x="993" y="183"/>
                    <a:pt x="993" y="183"/>
                    <a:pt x="993" y="183"/>
                  </a:cubicBezTo>
                  <a:moveTo>
                    <a:pt x="1025" y="183"/>
                  </a:moveTo>
                  <a:cubicBezTo>
                    <a:pt x="1019" y="183"/>
                    <a:pt x="1011" y="187"/>
                    <a:pt x="1008" y="193"/>
                  </a:cubicBezTo>
                  <a:cubicBezTo>
                    <a:pt x="1005" y="198"/>
                    <a:pt x="1007" y="203"/>
                    <a:pt x="1013" y="203"/>
                  </a:cubicBezTo>
                  <a:cubicBezTo>
                    <a:pt x="1020" y="203"/>
                    <a:pt x="1027" y="198"/>
                    <a:pt x="1030" y="193"/>
                  </a:cubicBezTo>
                  <a:cubicBezTo>
                    <a:pt x="1034" y="187"/>
                    <a:pt x="1031" y="183"/>
                    <a:pt x="1025" y="183"/>
                  </a:cubicBezTo>
                  <a:cubicBezTo>
                    <a:pt x="1025" y="183"/>
                    <a:pt x="1025" y="183"/>
                    <a:pt x="1025" y="183"/>
                  </a:cubicBezTo>
                  <a:moveTo>
                    <a:pt x="1371" y="182"/>
                  </a:moveTo>
                  <a:cubicBezTo>
                    <a:pt x="1364" y="182"/>
                    <a:pt x="1357" y="187"/>
                    <a:pt x="1355" y="193"/>
                  </a:cubicBezTo>
                  <a:cubicBezTo>
                    <a:pt x="1353" y="198"/>
                    <a:pt x="1356" y="203"/>
                    <a:pt x="1362" y="203"/>
                  </a:cubicBezTo>
                  <a:cubicBezTo>
                    <a:pt x="1368" y="203"/>
                    <a:pt x="1375" y="198"/>
                    <a:pt x="1377" y="192"/>
                  </a:cubicBezTo>
                  <a:cubicBezTo>
                    <a:pt x="1380" y="187"/>
                    <a:pt x="1377" y="182"/>
                    <a:pt x="1371" y="182"/>
                  </a:cubicBezTo>
                  <a:cubicBezTo>
                    <a:pt x="1371" y="182"/>
                    <a:pt x="1371" y="182"/>
                    <a:pt x="1371" y="182"/>
                  </a:cubicBezTo>
                  <a:moveTo>
                    <a:pt x="1056" y="182"/>
                  </a:moveTo>
                  <a:cubicBezTo>
                    <a:pt x="1050" y="182"/>
                    <a:pt x="1043" y="187"/>
                    <a:pt x="1040" y="192"/>
                  </a:cubicBezTo>
                  <a:cubicBezTo>
                    <a:pt x="1037" y="198"/>
                    <a:pt x="1039" y="203"/>
                    <a:pt x="1045" y="203"/>
                  </a:cubicBezTo>
                  <a:cubicBezTo>
                    <a:pt x="1051" y="202"/>
                    <a:pt x="1059" y="198"/>
                    <a:pt x="1062" y="192"/>
                  </a:cubicBezTo>
                  <a:cubicBezTo>
                    <a:pt x="1065" y="187"/>
                    <a:pt x="1063" y="182"/>
                    <a:pt x="1057" y="182"/>
                  </a:cubicBezTo>
                  <a:cubicBezTo>
                    <a:pt x="1056" y="182"/>
                    <a:pt x="1056" y="182"/>
                    <a:pt x="1056" y="182"/>
                  </a:cubicBezTo>
                  <a:moveTo>
                    <a:pt x="1403" y="182"/>
                  </a:moveTo>
                  <a:cubicBezTo>
                    <a:pt x="1397" y="182"/>
                    <a:pt x="1390" y="187"/>
                    <a:pt x="1388" y="192"/>
                  </a:cubicBezTo>
                  <a:cubicBezTo>
                    <a:pt x="1385" y="198"/>
                    <a:pt x="1388" y="202"/>
                    <a:pt x="1394" y="202"/>
                  </a:cubicBezTo>
                  <a:cubicBezTo>
                    <a:pt x="1400" y="202"/>
                    <a:pt x="1407" y="198"/>
                    <a:pt x="1410" y="192"/>
                  </a:cubicBezTo>
                  <a:cubicBezTo>
                    <a:pt x="1412" y="187"/>
                    <a:pt x="1409" y="182"/>
                    <a:pt x="1403" y="182"/>
                  </a:cubicBezTo>
                  <a:cubicBezTo>
                    <a:pt x="1403" y="182"/>
                    <a:pt x="1403" y="182"/>
                    <a:pt x="1403" y="182"/>
                  </a:cubicBezTo>
                  <a:moveTo>
                    <a:pt x="1088" y="182"/>
                  </a:moveTo>
                  <a:cubicBezTo>
                    <a:pt x="1082" y="182"/>
                    <a:pt x="1074" y="187"/>
                    <a:pt x="1071" y="192"/>
                  </a:cubicBezTo>
                  <a:cubicBezTo>
                    <a:pt x="1068" y="198"/>
                    <a:pt x="1071" y="202"/>
                    <a:pt x="1077" y="202"/>
                  </a:cubicBezTo>
                  <a:cubicBezTo>
                    <a:pt x="1083" y="202"/>
                    <a:pt x="1090" y="198"/>
                    <a:pt x="1094" y="192"/>
                  </a:cubicBezTo>
                  <a:cubicBezTo>
                    <a:pt x="1097" y="186"/>
                    <a:pt x="1094" y="182"/>
                    <a:pt x="1088" y="182"/>
                  </a:cubicBezTo>
                  <a:cubicBezTo>
                    <a:pt x="1088" y="182"/>
                    <a:pt x="1088" y="182"/>
                    <a:pt x="1088" y="182"/>
                  </a:cubicBezTo>
                  <a:moveTo>
                    <a:pt x="1119" y="182"/>
                  </a:moveTo>
                  <a:cubicBezTo>
                    <a:pt x="1113" y="182"/>
                    <a:pt x="1106" y="186"/>
                    <a:pt x="1103" y="192"/>
                  </a:cubicBezTo>
                  <a:cubicBezTo>
                    <a:pt x="1100" y="198"/>
                    <a:pt x="1102" y="202"/>
                    <a:pt x="1109" y="202"/>
                  </a:cubicBezTo>
                  <a:cubicBezTo>
                    <a:pt x="1115" y="202"/>
                    <a:pt x="1122" y="197"/>
                    <a:pt x="1125" y="192"/>
                  </a:cubicBezTo>
                  <a:cubicBezTo>
                    <a:pt x="1128" y="186"/>
                    <a:pt x="1125" y="182"/>
                    <a:pt x="1119" y="182"/>
                  </a:cubicBezTo>
                  <a:cubicBezTo>
                    <a:pt x="1119" y="182"/>
                    <a:pt x="1119" y="182"/>
                    <a:pt x="1119" y="182"/>
                  </a:cubicBezTo>
                  <a:moveTo>
                    <a:pt x="1151" y="181"/>
                  </a:moveTo>
                  <a:cubicBezTo>
                    <a:pt x="1145" y="181"/>
                    <a:pt x="1138" y="186"/>
                    <a:pt x="1135" y="192"/>
                  </a:cubicBezTo>
                  <a:cubicBezTo>
                    <a:pt x="1132" y="197"/>
                    <a:pt x="1134" y="202"/>
                    <a:pt x="1140" y="202"/>
                  </a:cubicBezTo>
                  <a:cubicBezTo>
                    <a:pt x="1147" y="202"/>
                    <a:pt x="1154" y="197"/>
                    <a:pt x="1157" y="191"/>
                  </a:cubicBezTo>
                  <a:cubicBezTo>
                    <a:pt x="1160" y="186"/>
                    <a:pt x="1157" y="181"/>
                    <a:pt x="1151" y="181"/>
                  </a:cubicBezTo>
                  <a:cubicBezTo>
                    <a:pt x="1151" y="181"/>
                    <a:pt x="1151" y="181"/>
                    <a:pt x="1151" y="181"/>
                  </a:cubicBezTo>
                  <a:moveTo>
                    <a:pt x="1214" y="181"/>
                  </a:moveTo>
                  <a:cubicBezTo>
                    <a:pt x="1208" y="181"/>
                    <a:pt x="1201" y="185"/>
                    <a:pt x="1198" y="191"/>
                  </a:cubicBezTo>
                  <a:cubicBezTo>
                    <a:pt x="1195" y="197"/>
                    <a:pt x="1198" y="201"/>
                    <a:pt x="1204" y="201"/>
                  </a:cubicBezTo>
                  <a:cubicBezTo>
                    <a:pt x="1210" y="201"/>
                    <a:pt x="1218" y="196"/>
                    <a:pt x="1220" y="191"/>
                  </a:cubicBezTo>
                  <a:cubicBezTo>
                    <a:pt x="1223" y="185"/>
                    <a:pt x="1220" y="181"/>
                    <a:pt x="1214" y="181"/>
                  </a:cubicBezTo>
                  <a:cubicBezTo>
                    <a:pt x="1214" y="181"/>
                    <a:pt x="1214" y="181"/>
                    <a:pt x="1214" y="181"/>
                  </a:cubicBezTo>
                  <a:moveTo>
                    <a:pt x="1562" y="179"/>
                  </a:moveTo>
                  <a:cubicBezTo>
                    <a:pt x="1556" y="179"/>
                    <a:pt x="1549" y="183"/>
                    <a:pt x="1547" y="189"/>
                  </a:cubicBezTo>
                  <a:cubicBezTo>
                    <a:pt x="1545" y="195"/>
                    <a:pt x="1548" y="199"/>
                    <a:pt x="1555" y="199"/>
                  </a:cubicBezTo>
                  <a:cubicBezTo>
                    <a:pt x="1561" y="199"/>
                    <a:pt x="1567" y="194"/>
                    <a:pt x="1569" y="189"/>
                  </a:cubicBezTo>
                  <a:cubicBezTo>
                    <a:pt x="1571" y="183"/>
                    <a:pt x="1568" y="179"/>
                    <a:pt x="1562" y="179"/>
                  </a:cubicBezTo>
                  <a:cubicBezTo>
                    <a:pt x="1562" y="179"/>
                    <a:pt x="1562" y="179"/>
                    <a:pt x="1562" y="179"/>
                  </a:cubicBezTo>
                  <a:moveTo>
                    <a:pt x="1593" y="178"/>
                  </a:moveTo>
                  <a:cubicBezTo>
                    <a:pt x="1587" y="178"/>
                    <a:pt x="1581" y="183"/>
                    <a:pt x="1579" y="189"/>
                  </a:cubicBezTo>
                  <a:cubicBezTo>
                    <a:pt x="1577" y="194"/>
                    <a:pt x="1580" y="199"/>
                    <a:pt x="1586" y="199"/>
                  </a:cubicBezTo>
                  <a:cubicBezTo>
                    <a:pt x="1592" y="199"/>
                    <a:pt x="1599" y="194"/>
                    <a:pt x="1601" y="188"/>
                  </a:cubicBezTo>
                  <a:cubicBezTo>
                    <a:pt x="1603" y="183"/>
                    <a:pt x="1599" y="178"/>
                    <a:pt x="1593" y="178"/>
                  </a:cubicBezTo>
                  <a:cubicBezTo>
                    <a:pt x="1593" y="178"/>
                    <a:pt x="1593" y="178"/>
                    <a:pt x="1593" y="178"/>
                  </a:cubicBezTo>
                  <a:moveTo>
                    <a:pt x="1625" y="178"/>
                  </a:moveTo>
                  <a:cubicBezTo>
                    <a:pt x="1619" y="178"/>
                    <a:pt x="1612" y="183"/>
                    <a:pt x="1610" y="188"/>
                  </a:cubicBezTo>
                  <a:cubicBezTo>
                    <a:pt x="1608" y="194"/>
                    <a:pt x="1612" y="198"/>
                    <a:pt x="1618" y="198"/>
                  </a:cubicBezTo>
                  <a:cubicBezTo>
                    <a:pt x="1624" y="198"/>
                    <a:pt x="1630" y="194"/>
                    <a:pt x="1632" y="188"/>
                  </a:cubicBezTo>
                  <a:cubicBezTo>
                    <a:pt x="1634" y="183"/>
                    <a:pt x="1631" y="178"/>
                    <a:pt x="1625" y="178"/>
                  </a:cubicBezTo>
                  <a:cubicBezTo>
                    <a:pt x="1625" y="178"/>
                    <a:pt x="1625" y="178"/>
                    <a:pt x="1625" y="178"/>
                  </a:cubicBezTo>
                  <a:moveTo>
                    <a:pt x="1656" y="178"/>
                  </a:moveTo>
                  <a:cubicBezTo>
                    <a:pt x="1650" y="178"/>
                    <a:pt x="1644" y="182"/>
                    <a:pt x="1642" y="188"/>
                  </a:cubicBezTo>
                  <a:cubicBezTo>
                    <a:pt x="1640" y="194"/>
                    <a:pt x="1643" y="198"/>
                    <a:pt x="1649" y="198"/>
                  </a:cubicBezTo>
                  <a:cubicBezTo>
                    <a:pt x="1656" y="198"/>
                    <a:pt x="1662" y="193"/>
                    <a:pt x="1664" y="188"/>
                  </a:cubicBezTo>
                  <a:cubicBezTo>
                    <a:pt x="1666" y="182"/>
                    <a:pt x="1662" y="178"/>
                    <a:pt x="1656" y="178"/>
                  </a:cubicBezTo>
                  <a:cubicBezTo>
                    <a:pt x="1656" y="178"/>
                    <a:pt x="1656" y="178"/>
                    <a:pt x="1656" y="178"/>
                  </a:cubicBezTo>
                  <a:moveTo>
                    <a:pt x="1688" y="177"/>
                  </a:moveTo>
                  <a:cubicBezTo>
                    <a:pt x="1682" y="178"/>
                    <a:pt x="1675" y="182"/>
                    <a:pt x="1673" y="188"/>
                  </a:cubicBezTo>
                  <a:cubicBezTo>
                    <a:pt x="1672" y="193"/>
                    <a:pt x="1675" y="198"/>
                    <a:pt x="1681" y="198"/>
                  </a:cubicBezTo>
                  <a:cubicBezTo>
                    <a:pt x="1687" y="198"/>
                    <a:pt x="1694" y="193"/>
                    <a:pt x="1696" y="188"/>
                  </a:cubicBezTo>
                  <a:cubicBezTo>
                    <a:pt x="1697" y="182"/>
                    <a:pt x="1694" y="177"/>
                    <a:pt x="1688" y="177"/>
                  </a:cubicBezTo>
                  <a:cubicBezTo>
                    <a:pt x="1688" y="177"/>
                    <a:pt x="1688" y="177"/>
                    <a:pt x="1688" y="177"/>
                  </a:cubicBezTo>
                  <a:moveTo>
                    <a:pt x="1720" y="177"/>
                  </a:moveTo>
                  <a:cubicBezTo>
                    <a:pt x="1714" y="177"/>
                    <a:pt x="1708" y="182"/>
                    <a:pt x="1706" y="187"/>
                  </a:cubicBezTo>
                  <a:cubicBezTo>
                    <a:pt x="1704" y="193"/>
                    <a:pt x="1708" y="198"/>
                    <a:pt x="1714" y="198"/>
                  </a:cubicBezTo>
                  <a:cubicBezTo>
                    <a:pt x="1720" y="198"/>
                    <a:pt x="1727" y="193"/>
                    <a:pt x="1728" y="187"/>
                  </a:cubicBezTo>
                  <a:cubicBezTo>
                    <a:pt x="1730" y="182"/>
                    <a:pt x="1726" y="177"/>
                    <a:pt x="1720" y="177"/>
                  </a:cubicBezTo>
                  <a:cubicBezTo>
                    <a:pt x="1720" y="177"/>
                    <a:pt x="1720" y="177"/>
                    <a:pt x="1720" y="177"/>
                  </a:cubicBezTo>
                  <a:moveTo>
                    <a:pt x="1752" y="177"/>
                  </a:moveTo>
                  <a:cubicBezTo>
                    <a:pt x="1745" y="177"/>
                    <a:pt x="1739" y="182"/>
                    <a:pt x="1737" y="187"/>
                  </a:cubicBezTo>
                  <a:cubicBezTo>
                    <a:pt x="1736" y="193"/>
                    <a:pt x="1739" y="197"/>
                    <a:pt x="1746" y="197"/>
                  </a:cubicBezTo>
                  <a:cubicBezTo>
                    <a:pt x="1752" y="197"/>
                    <a:pt x="1758" y="193"/>
                    <a:pt x="1760" y="187"/>
                  </a:cubicBezTo>
                  <a:cubicBezTo>
                    <a:pt x="1761" y="181"/>
                    <a:pt x="1758" y="177"/>
                    <a:pt x="1752" y="177"/>
                  </a:cubicBezTo>
                  <a:cubicBezTo>
                    <a:pt x="1752" y="177"/>
                    <a:pt x="1752" y="177"/>
                    <a:pt x="1752" y="177"/>
                  </a:cubicBezTo>
                  <a:moveTo>
                    <a:pt x="2286" y="172"/>
                  </a:moveTo>
                  <a:cubicBezTo>
                    <a:pt x="2280" y="172"/>
                    <a:pt x="2274" y="176"/>
                    <a:pt x="2274" y="182"/>
                  </a:cubicBezTo>
                  <a:cubicBezTo>
                    <a:pt x="2273" y="188"/>
                    <a:pt x="2278" y="192"/>
                    <a:pt x="2284" y="192"/>
                  </a:cubicBezTo>
                  <a:cubicBezTo>
                    <a:pt x="2290" y="192"/>
                    <a:pt x="2296" y="187"/>
                    <a:pt x="2296" y="182"/>
                  </a:cubicBezTo>
                  <a:cubicBezTo>
                    <a:pt x="2297" y="176"/>
                    <a:pt x="2292" y="172"/>
                    <a:pt x="2286" y="172"/>
                  </a:cubicBezTo>
                  <a:cubicBezTo>
                    <a:pt x="2286" y="172"/>
                    <a:pt x="2286" y="172"/>
                    <a:pt x="2286" y="172"/>
                  </a:cubicBezTo>
                  <a:moveTo>
                    <a:pt x="2317" y="171"/>
                  </a:moveTo>
                  <a:cubicBezTo>
                    <a:pt x="2311" y="171"/>
                    <a:pt x="2306" y="176"/>
                    <a:pt x="2305" y="182"/>
                  </a:cubicBezTo>
                  <a:cubicBezTo>
                    <a:pt x="2305" y="187"/>
                    <a:pt x="2309" y="192"/>
                    <a:pt x="2316" y="192"/>
                  </a:cubicBezTo>
                  <a:cubicBezTo>
                    <a:pt x="2322" y="192"/>
                    <a:pt x="2327" y="187"/>
                    <a:pt x="2327" y="181"/>
                  </a:cubicBezTo>
                  <a:cubicBezTo>
                    <a:pt x="2328" y="176"/>
                    <a:pt x="2323" y="171"/>
                    <a:pt x="2317" y="171"/>
                  </a:cubicBezTo>
                  <a:cubicBezTo>
                    <a:pt x="2317" y="171"/>
                    <a:pt x="2317" y="171"/>
                    <a:pt x="2317" y="171"/>
                  </a:cubicBezTo>
                  <a:moveTo>
                    <a:pt x="2348" y="171"/>
                  </a:moveTo>
                  <a:cubicBezTo>
                    <a:pt x="2342" y="171"/>
                    <a:pt x="2337" y="176"/>
                    <a:pt x="2337" y="181"/>
                  </a:cubicBezTo>
                  <a:cubicBezTo>
                    <a:pt x="2336" y="187"/>
                    <a:pt x="2341" y="191"/>
                    <a:pt x="2347" y="191"/>
                  </a:cubicBezTo>
                  <a:cubicBezTo>
                    <a:pt x="2353" y="191"/>
                    <a:pt x="2358" y="187"/>
                    <a:pt x="2359" y="181"/>
                  </a:cubicBezTo>
                  <a:cubicBezTo>
                    <a:pt x="2359" y="176"/>
                    <a:pt x="2354" y="171"/>
                    <a:pt x="2348" y="171"/>
                  </a:cubicBezTo>
                  <a:cubicBezTo>
                    <a:pt x="2348" y="171"/>
                    <a:pt x="2348" y="171"/>
                    <a:pt x="2348" y="171"/>
                  </a:cubicBezTo>
                  <a:moveTo>
                    <a:pt x="2380" y="171"/>
                  </a:moveTo>
                  <a:cubicBezTo>
                    <a:pt x="2374" y="171"/>
                    <a:pt x="2369" y="175"/>
                    <a:pt x="2369" y="181"/>
                  </a:cubicBezTo>
                  <a:cubicBezTo>
                    <a:pt x="2369" y="187"/>
                    <a:pt x="2373" y="191"/>
                    <a:pt x="2379" y="191"/>
                  </a:cubicBezTo>
                  <a:cubicBezTo>
                    <a:pt x="2386" y="191"/>
                    <a:pt x="2391" y="186"/>
                    <a:pt x="2391" y="181"/>
                  </a:cubicBezTo>
                  <a:cubicBezTo>
                    <a:pt x="2391" y="175"/>
                    <a:pt x="2387" y="171"/>
                    <a:pt x="2381" y="171"/>
                  </a:cubicBezTo>
                  <a:cubicBezTo>
                    <a:pt x="2380" y="171"/>
                    <a:pt x="2380" y="171"/>
                    <a:pt x="2380" y="171"/>
                  </a:cubicBezTo>
                  <a:moveTo>
                    <a:pt x="2412" y="170"/>
                  </a:moveTo>
                  <a:cubicBezTo>
                    <a:pt x="2406" y="170"/>
                    <a:pt x="2400" y="175"/>
                    <a:pt x="2400" y="181"/>
                  </a:cubicBezTo>
                  <a:cubicBezTo>
                    <a:pt x="2400" y="186"/>
                    <a:pt x="2405" y="191"/>
                    <a:pt x="2411" y="191"/>
                  </a:cubicBezTo>
                  <a:cubicBezTo>
                    <a:pt x="2417" y="191"/>
                    <a:pt x="2422" y="186"/>
                    <a:pt x="2422" y="181"/>
                  </a:cubicBezTo>
                  <a:cubicBezTo>
                    <a:pt x="2423" y="175"/>
                    <a:pt x="2418" y="170"/>
                    <a:pt x="2412" y="170"/>
                  </a:cubicBezTo>
                  <a:cubicBezTo>
                    <a:pt x="2412" y="170"/>
                    <a:pt x="2412" y="170"/>
                    <a:pt x="2412" y="170"/>
                  </a:cubicBezTo>
                  <a:moveTo>
                    <a:pt x="2443" y="170"/>
                  </a:moveTo>
                  <a:cubicBezTo>
                    <a:pt x="2437" y="170"/>
                    <a:pt x="2432" y="175"/>
                    <a:pt x="2432" y="180"/>
                  </a:cubicBezTo>
                  <a:cubicBezTo>
                    <a:pt x="2431" y="186"/>
                    <a:pt x="2436" y="191"/>
                    <a:pt x="2442" y="191"/>
                  </a:cubicBezTo>
                  <a:cubicBezTo>
                    <a:pt x="2449" y="191"/>
                    <a:pt x="2454" y="186"/>
                    <a:pt x="2454" y="180"/>
                  </a:cubicBezTo>
                  <a:cubicBezTo>
                    <a:pt x="2454" y="175"/>
                    <a:pt x="2449" y="170"/>
                    <a:pt x="2443" y="170"/>
                  </a:cubicBezTo>
                  <a:cubicBezTo>
                    <a:pt x="2443" y="170"/>
                    <a:pt x="2443" y="170"/>
                    <a:pt x="2443" y="170"/>
                  </a:cubicBezTo>
                  <a:moveTo>
                    <a:pt x="2474" y="170"/>
                  </a:moveTo>
                  <a:cubicBezTo>
                    <a:pt x="2468" y="170"/>
                    <a:pt x="2463" y="175"/>
                    <a:pt x="2463" y="180"/>
                  </a:cubicBezTo>
                  <a:cubicBezTo>
                    <a:pt x="2463" y="186"/>
                    <a:pt x="2468" y="190"/>
                    <a:pt x="2474" y="190"/>
                  </a:cubicBezTo>
                  <a:cubicBezTo>
                    <a:pt x="2480" y="190"/>
                    <a:pt x="2485" y="186"/>
                    <a:pt x="2485" y="180"/>
                  </a:cubicBezTo>
                  <a:cubicBezTo>
                    <a:pt x="2485" y="174"/>
                    <a:pt x="2480" y="170"/>
                    <a:pt x="2474" y="170"/>
                  </a:cubicBezTo>
                  <a:cubicBezTo>
                    <a:pt x="2474" y="170"/>
                    <a:pt x="2474" y="170"/>
                    <a:pt x="2474" y="170"/>
                  </a:cubicBezTo>
                  <a:moveTo>
                    <a:pt x="2505" y="170"/>
                  </a:moveTo>
                  <a:cubicBezTo>
                    <a:pt x="2499" y="170"/>
                    <a:pt x="2494" y="174"/>
                    <a:pt x="2494" y="180"/>
                  </a:cubicBezTo>
                  <a:cubicBezTo>
                    <a:pt x="2494" y="186"/>
                    <a:pt x="2499" y="190"/>
                    <a:pt x="2505" y="190"/>
                  </a:cubicBezTo>
                  <a:cubicBezTo>
                    <a:pt x="2511" y="190"/>
                    <a:pt x="2516" y="185"/>
                    <a:pt x="2516" y="180"/>
                  </a:cubicBezTo>
                  <a:cubicBezTo>
                    <a:pt x="2516" y="174"/>
                    <a:pt x="2511" y="170"/>
                    <a:pt x="2505" y="170"/>
                  </a:cubicBezTo>
                  <a:cubicBezTo>
                    <a:pt x="2505" y="170"/>
                    <a:pt x="2505" y="170"/>
                    <a:pt x="2505" y="170"/>
                  </a:cubicBezTo>
                  <a:moveTo>
                    <a:pt x="2536" y="169"/>
                  </a:moveTo>
                  <a:cubicBezTo>
                    <a:pt x="2530" y="169"/>
                    <a:pt x="2525" y="174"/>
                    <a:pt x="2525" y="180"/>
                  </a:cubicBezTo>
                  <a:cubicBezTo>
                    <a:pt x="2525" y="185"/>
                    <a:pt x="2530" y="190"/>
                    <a:pt x="2536" y="190"/>
                  </a:cubicBezTo>
                  <a:cubicBezTo>
                    <a:pt x="2542" y="190"/>
                    <a:pt x="2547" y="185"/>
                    <a:pt x="2547" y="179"/>
                  </a:cubicBezTo>
                  <a:cubicBezTo>
                    <a:pt x="2547" y="174"/>
                    <a:pt x="2542" y="169"/>
                    <a:pt x="2536" y="169"/>
                  </a:cubicBezTo>
                  <a:cubicBezTo>
                    <a:pt x="2536" y="169"/>
                    <a:pt x="2536" y="169"/>
                    <a:pt x="2536" y="169"/>
                  </a:cubicBezTo>
                  <a:moveTo>
                    <a:pt x="2601" y="169"/>
                  </a:moveTo>
                  <a:cubicBezTo>
                    <a:pt x="2595" y="169"/>
                    <a:pt x="2590" y="173"/>
                    <a:pt x="2590" y="179"/>
                  </a:cubicBezTo>
                  <a:cubicBezTo>
                    <a:pt x="2590" y="185"/>
                    <a:pt x="2595" y="189"/>
                    <a:pt x="2601" y="189"/>
                  </a:cubicBezTo>
                  <a:cubicBezTo>
                    <a:pt x="2608" y="189"/>
                    <a:pt x="2612" y="184"/>
                    <a:pt x="2612" y="179"/>
                  </a:cubicBezTo>
                  <a:cubicBezTo>
                    <a:pt x="2612" y="173"/>
                    <a:pt x="2607" y="169"/>
                    <a:pt x="2601" y="169"/>
                  </a:cubicBezTo>
                  <a:cubicBezTo>
                    <a:pt x="2601" y="169"/>
                    <a:pt x="2601" y="169"/>
                    <a:pt x="2601" y="169"/>
                  </a:cubicBezTo>
                  <a:moveTo>
                    <a:pt x="2632" y="168"/>
                  </a:moveTo>
                  <a:cubicBezTo>
                    <a:pt x="2626" y="168"/>
                    <a:pt x="2621" y="173"/>
                    <a:pt x="2621" y="179"/>
                  </a:cubicBezTo>
                  <a:cubicBezTo>
                    <a:pt x="2622" y="184"/>
                    <a:pt x="2627" y="189"/>
                    <a:pt x="2633" y="189"/>
                  </a:cubicBezTo>
                  <a:cubicBezTo>
                    <a:pt x="2639" y="189"/>
                    <a:pt x="2644" y="184"/>
                    <a:pt x="2643" y="179"/>
                  </a:cubicBezTo>
                  <a:cubicBezTo>
                    <a:pt x="2643" y="173"/>
                    <a:pt x="2638" y="168"/>
                    <a:pt x="2632" y="168"/>
                  </a:cubicBezTo>
                  <a:cubicBezTo>
                    <a:pt x="2632" y="168"/>
                    <a:pt x="2632" y="168"/>
                    <a:pt x="2632" y="168"/>
                  </a:cubicBezTo>
                  <a:moveTo>
                    <a:pt x="2663" y="168"/>
                  </a:moveTo>
                  <a:cubicBezTo>
                    <a:pt x="2657" y="168"/>
                    <a:pt x="2652" y="173"/>
                    <a:pt x="2652" y="178"/>
                  </a:cubicBezTo>
                  <a:cubicBezTo>
                    <a:pt x="2653" y="184"/>
                    <a:pt x="2658" y="189"/>
                    <a:pt x="2664" y="189"/>
                  </a:cubicBezTo>
                  <a:cubicBezTo>
                    <a:pt x="2670" y="189"/>
                    <a:pt x="2675" y="184"/>
                    <a:pt x="2675" y="178"/>
                  </a:cubicBezTo>
                  <a:cubicBezTo>
                    <a:pt x="2674" y="173"/>
                    <a:pt x="2669" y="168"/>
                    <a:pt x="2663" y="168"/>
                  </a:cubicBezTo>
                  <a:cubicBezTo>
                    <a:pt x="2663" y="168"/>
                    <a:pt x="2663" y="168"/>
                    <a:pt x="2663" y="168"/>
                  </a:cubicBezTo>
                  <a:moveTo>
                    <a:pt x="2694" y="168"/>
                  </a:moveTo>
                  <a:cubicBezTo>
                    <a:pt x="2688" y="168"/>
                    <a:pt x="2683" y="173"/>
                    <a:pt x="2684" y="178"/>
                  </a:cubicBezTo>
                  <a:cubicBezTo>
                    <a:pt x="2684" y="184"/>
                    <a:pt x="2689" y="188"/>
                    <a:pt x="2696" y="188"/>
                  </a:cubicBezTo>
                  <a:cubicBezTo>
                    <a:pt x="2702" y="188"/>
                    <a:pt x="2706" y="184"/>
                    <a:pt x="2706" y="178"/>
                  </a:cubicBezTo>
                  <a:cubicBezTo>
                    <a:pt x="2705" y="172"/>
                    <a:pt x="2700" y="168"/>
                    <a:pt x="2694" y="168"/>
                  </a:cubicBezTo>
                  <a:cubicBezTo>
                    <a:pt x="2694" y="168"/>
                    <a:pt x="2694" y="168"/>
                    <a:pt x="2694" y="168"/>
                  </a:cubicBezTo>
                  <a:moveTo>
                    <a:pt x="2726" y="168"/>
                  </a:moveTo>
                  <a:cubicBezTo>
                    <a:pt x="2720" y="168"/>
                    <a:pt x="2715" y="172"/>
                    <a:pt x="2715" y="178"/>
                  </a:cubicBezTo>
                  <a:cubicBezTo>
                    <a:pt x="2716" y="184"/>
                    <a:pt x="2721" y="188"/>
                    <a:pt x="2727" y="188"/>
                  </a:cubicBezTo>
                  <a:cubicBezTo>
                    <a:pt x="2733" y="188"/>
                    <a:pt x="2738" y="183"/>
                    <a:pt x="2737" y="178"/>
                  </a:cubicBezTo>
                  <a:cubicBezTo>
                    <a:pt x="2737" y="172"/>
                    <a:pt x="2732" y="168"/>
                    <a:pt x="2726" y="168"/>
                  </a:cubicBezTo>
                  <a:cubicBezTo>
                    <a:pt x="2726" y="168"/>
                    <a:pt x="2726" y="168"/>
                    <a:pt x="2726" y="168"/>
                  </a:cubicBezTo>
                  <a:moveTo>
                    <a:pt x="2757" y="167"/>
                  </a:moveTo>
                  <a:cubicBezTo>
                    <a:pt x="2751" y="167"/>
                    <a:pt x="2747" y="172"/>
                    <a:pt x="2747" y="178"/>
                  </a:cubicBezTo>
                  <a:cubicBezTo>
                    <a:pt x="2748" y="183"/>
                    <a:pt x="2753" y="188"/>
                    <a:pt x="2759" y="188"/>
                  </a:cubicBezTo>
                  <a:cubicBezTo>
                    <a:pt x="2765" y="188"/>
                    <a:pt x="2770" y="183"/>
                    <a:pt x="2769" y="177"/>
                  </a:cubicBezTo>
                  <a:cubicBezTo>
                    <a:pt x="2769" y="172"/>
                    <a:pt x="2763" y="167"/>
                    <a:pt x="2757" y="167"/>
                  </a:cubicBezTo>
                  <a:cubicBezTo>
                    <a:pt x="2757" y="167"/>
                    <a:pt x="2757" y="167"/>
                    <a:pt x="2757" y="167"/>
                  </a:cubicBezTo>
                  <a:moveTo>
                    <a:pt x="2789" y="167"/>
                  </a:moveTo>
                  <a:cubicBezTo>
                    <a:pt x="2782" y="167"/>
                    <a:pt x="2778" y="172"/>
                    <a:pt x="2779" y="177"/>
                  </a:cubicBezTo>
                  <a:cubicBezTo>
                    <a:pt x="2779" y="183"/>
                    <a:pt x="2785" y="188"/>
                    <a:pt x="2791" y="187"/>
                  </a:cubicBezTo>
                  <a:cubicBezTo>
                    <a:pt x="2797" y="187"/>
                    <a:pt x="2801" y="183"/>
                    <a:pt x="2801" y="177"/>
                  </a:cubicBezTo>
                  <a:cubicBezTo>
                    <a:pt x="2800" y="172"/>
                    <a:pt x="2795" y="167"/>
                    <a:pt x="2789" y="167"/>
                  </a:cubicBezTo>
                  <a:cubicBezTo>
                    <a:pt x="2789" y="167"/>
                    <a:pt x="2789" y="167"/>
                    <a:pt x="2789" y="167"/>
                  </a:cubicBezTo>
                  <a:moveTo>
                    <a:pt x="2820" y="167"/>
                  </a:moveTo>
                  <a:cubicBezTo>
                    <a:pt x="2814" y="167"/>
                    <a:pt x="2809" y="171"/>
                    <a:pt x="2810" y="177"/>
                  </a:cubicBezTo>
                  <a:cubicBezTo>
                    <a:pt x="2811" y="183"/>
                    <a:pt x="2816" y="187"/>
                    <a:pt x="2822" y="187"/>
                  </a:cubicBezTo>
                  <a:cubicBezTo>
                    <a:pt x="2829" y="187"/>
                    <a:pt x="2833" y="182"/>
                    <a:pt x="2832" y="177"/>
                  </a:cubicBezTo>
                  <a:cubicBezTo>
                    <a:pt x="2831" y="171"/>
                    <a:pt x="2826" y="167"/>
                    <a:pt x="2820" y="167"/>
                  </a:cubicBezTo>
                  <a:cubicBezTo>
                    <a:pt x="2820" y="167"/>
                    <a:pt x="2820" y="167"/>
                    <a:pt x="2820" y="167"/>
                  </a:cubicBezTo>
                  <a:moveTo>
                    <a:pt x="2851" y="166"/>
                  </a:moveTo>
                  <a:cubicBezTo>
                    <a:pt x="2845" y="166"/>
                    <a:pt x="2841" y="171"/>
                    <a:pt x="2841" y="177"/>
                  </a:cubicBezTo>
                  <a:cubicBezTo>
                    <a:pt x="2842" y="182"/>
                    <a:pt x="2848" y="187"/>
                    <a:pt x="2854" y="187"/>
                  </a:cubicBezTo>
                  <a:cubicBezTo>
                    <a:pt x="2860" y="187"/>
                    <a:pt x="2864" y="182"/>
                    <a:pt x="2864" y="177"/>
                  </a:cubicBezTo>
                  <a:cubicBezTo>
                    <a:pt x="2863" y="171"/>
                    <a:pt x="2857" y="166"/>
                    <a:pt x="2851" y="166"/>
                  </a:cubicBezTo>
                  <a:cubicBezTo>
                    <a:pt x="2851" y="166"/>
                    <a:pt x="2851" y="166"/>
                    <a:pt x="2851" y="166"/>
                  </a:cubicBezTo>
                  <a:moveTo>
                    <a:pt x="2883" y="166"/>
                  </a:moveTo>
                  <a:cubicBezTo>
                    <a:pt x="2877" y="166"/>
                    <a:pt x="2872" y="171"/>
                    <a:pt x="2873" y="176"/>
                  </a:cubicBezTo>
                  <a:cubicBezTo>
                    <a:pt x="2874" y="182"/>
                    <a:pt x="2879" y="187"/>
                    <a:pt x="2886" y="187"/>
                  </a:cubicBezTo>
                  <a:cubicBezTo>
                    <a:pt x="2892" y="187"/>
                    <a:pt x="2896" y="182"/>
                    <a:pt x="2895" y="176"/>
                  </a:cubicBezTo>
                  <a:cubicBezTo>
                    <a:pt x="2894" y="171"/>
                    <a:pt x="2889" y="166"/>
                    <a:pt x="2883" y="166"/>
                  </a:cubicBezTo>
                  <a:cubicBezTo>
                    <a:pt x="2883" y="166"/>
                    <a:pt x="2883" y="166"/>
                    <a:pt x="2883" y="166"/>
                  </a:cubicBezTo>
                  <a:moveTo>
                    <a:pt x="2914" y="166"/>
                  </a:moveTo>
                  <a:cubicBezTo>
                    <a:pt x="2908" y="166"/>
                    <a:pt x="2903" y="170"/>
                    <a:pt x="2904" y="176"/>
                  </a:cubicBezTo>
                  <a:cubicBezTo>
                    <a:pt x="2905" y="182"/>
                    <a:pt x="2911" y="186"/>
                    <a:pt x="2917" y="186"/>
                  </a:cubicBezTo>
                  <a:cubicBezTo>
                    <a:pt x="2923" y="186"/>
                    <a:pt x="2927" y="181"/>
                    <a:pt x="2926" y="176"/>
                  </a:cubicBezTo>
                  <a:cubicBezTo>
                    <a:pt x="2925" y="170"/>
                    <a:pt x="2920" y="166"/>
                    <a:pt x="2914" y="166"/>
                  </a:cubicBezTo>
                  <a:cubicBezTo>
                    <a:pt x="2914" y="166"/>
                    <a:pt x="2914" y="166"/>
                    <a:pt x="2914" y="166"/>
                  </a:cubicBezTo>
                  <a:moveTo>
                    <a:pt x="2943" y="165"/>
                  </a:moveTo>
                  <a:cubicBezTo>
                    <a:pt x="2937" y="165"/>
                    <a:pt x="2933" y="170"/>
                    <a:pt x="2934" y="176"/>
                  </a:cubicBezTo>
                  <a:cubicBezTo>
                    <a:pt x="2935" y="181"/>
                    <a:pt x="2941" y="186"/>
                    <a:pt x="2947" y="186"/>
                  </a:cubicBezTo>
                  <a:cubicBezTo>
                    <a:pt x="2953" y="186"/>
                    <a:pt x="2957" y="181"/>
                    <a:pt x="2956" y="175"/>
                  </a:cubicBezTo>
                  <a:cubicBezTo>
                    <a:pt x="2955" y="170"/>
                    <a:pt x="2950" y="165"/>
                    <a:pt x="2944" y="165"/>
                  </a:cubicBezTo>
                  <a:cubicBezTo>
                    <a:pt x="2944" y="165"/>
                    <a:pt x="2943" y="165"/>
                    <a:pt x="2943" y="165"/>
                  </a:cubicBezTo>
                  <a:moveTo>
                    <a:pt x="2975" y="165"/>
                  </a:moveTo>
                  <a:cubicBezTo>
                    <a:pt x="2969" y="165"/>
                    <a:pt x="2964" y="170"/>
                    <a:pt x="2965" y="175"/>
                  </a:cubicBezTo>
                  <a:cubicBezTo>
                    <a:pt x="2966" y="181"/>
                    <a:pt x="2972" y="186"/>
                    <a:pt x="2978" y="186"/>
                  </a:cubicBezTo>
                  <a:cubicBezTo>
                    <a:pt x="2984" y="186"/>
                    <a:pt x="2989" y="181"/>
                    <a:pt x="2987" y="175"/>
                  </a:cubicBezTo>
                  <a:cubicBezTo>
                    <a:pt x="2986" y="170"/>
                    <a:pt x="2981" y="165"/>
                    <a:pt x="2975" y="165"/>
                  </a:cubicBezTo>
                  <a:cubicBezTo>
                    <a:pt x="2975" y="165"/>
                    <a:pt x="2975" y="165"/>
                    <a:pt x="2975" y="165"/>
                  </a:cubicBezTo>
                  <a:moveTo>
                    <a:pt x="3006" y="165"/>
                  </a:moveTo>
                  <a:cubicBezTo>
                    <a:pt x="3000" y="165"/>
                    <a:pt x="2996" y="169"/>
                    <a:pt x="2997" y="175"/>
                  </a:cubicBezTo>
                  <a:cubicBezTo>
                    <a:pt x="2998" y="181"/>
                    <a:pt x="3004" y="185"/>
                    <a:pt x="3010" y="185"/>
                  </a:cubicBezTo>
                  <a:cubicBezTo>
                    <a:pt x="3016" y="185"/>
                    <a:pt x="3020" y="181"/>
                    <a:pt x="3019" y="175"/>
                  </a:cubicBezTo>
                  <a:cubicBezTo>
                    <a:pt x="3018" y="169"/>
                    <a:pt x="3012" y="165"/>
                    <a:pt x="3006" y="165"/>
                  </a:cubicBezTo>
                  <a:cubicBezTo>
                    <a:pt x="3006" y="165"/>
                    <a:pt x="3006" y="165"/>
                    <a:pt x="3006" y="165"/>
                  </a:cubicBezTo>
                  <a:moveTo>
                    <a:pt x="3038" y="164"/>
                  </a:moveTo>
                  <a:cubicBezTo>
                    <a:pt x="3032" y="165"/>
                    <a:pt x="3028" y="169"/>
                    <a:pt x="3029" y="175"/>
                  </a:cubicBezTo>
                  <a:cubicBezTo>
                    <a:pt x="3031" y="180"/>
                    <a:pt x="3037" y="185"/>
                    <a:pt x="3043" y="185"/>
                  </a:cubicBezTo>
                  <a:cubicBezTo>
                    <a:pt x="3049" y="185"/>
                    <a:pt x="3053" y="180"/>
                    <a:pt x="3052" y="175"/>
                  </a:cubicBezTo>
                  <a:cubicBezTo>
                    <a:pt x="3050" y="169"/>
                    <a:pt x="3045" y="164"/>
                    <a:pt x="3039" y="164"/>
                  </a:cubicBezTo>
                  <a:cubicBezTo>
                    <a:pt x="3038" y="164"/>
                    <a:pt x="3038" y="164"/>
                    <a:pt x="3038" y="164"/>
                  </a:cubicBezTo>
                  <a:moveTo>
                    <a:pt x="3070" y="164"/>
                  </a:moveTo>
                  <a:cubicBezTo>
                    <a:pt x="3064" y="164"/>
                    <a:pt x="3060" y="169"/>
                    <a:pt x="3061" y="175"/>
                  </a:cubicBezTo>
                  <a:cubicBezTo>
                    <a:pt x="3062" y="180"/>
                    <a:pt x="3068" y="185"/>
                    <a:pt x="3074" y="185"/>
                  </a:cubicBezTo>
                  <a:cubicBezTo>
                    <a:pt x="3080" y="185"/>
                    <a:pt x="3084" y="180"/>
                    <a:pt x="3083" y="174"/>
                  </a:cubicBezTo>
                  <a:cubicBezTo>
                    <a:pt x="3082" y="169"/>
                    <a:pt x="3076" y="164"/>
                    <a:pt x="3070" y="164"/>
                  </a:cubicBezTo>
                  <a:cubicBezTo>
                    <a:pt x="3070" y="164"/>
                    <a:pt x="3070" y="164"/>
                    <a:pt x="3070" y="164"/>
                  </a:cubicBezTo>
                  <a:moveTo>
                    <a:pt x="3101" y="164"/>
                  </a:moveTo>
                  <a:cubicBezTo>
                    <a:pt x="3095" y="164"/>
                    <a:pt x="3091" y="169"/>
                    <a:pt x="3092" y="174"/>
                  </a:cubicBezTo>
                  <a:cubicBezTo>
                    <a:pt x="3094" y="180"/>
                    <a:pt x="3100" y="184"/>
                    <a:pt x="3106" y="184"/>
                  </a:cubicBezTo>
                  <a:cubicBezTo>
                    <a:pt x="3112" y="184"/>
                    <a:pt x="3116" y="180"/>
                    <a:pt x="3114" y="174"/>
                  </a:cubicBezTo>
                  <a:cubicBezTo>
                    <a:pt x="3113" y="168"/>
                    <a:pt x="3107" y="164"/>
                    <a:pt x="3101" y="164"/>
                  </a:cubicBezTo>
                  <a:cubicBezTo>
                    <a:pt x="3101" y="164"/>
                    <a:pt x="3101" y="164"/>
                    <a:pt x="3101" y="164"/>
                  </a:cubicBezTo>
                  <a:moveTo>
                    <a:pt x="3133" y="164"/>
                  </a:moveTo>
                  <a:cubicBezTo>
                    <a:pt x="3127" y="164"/>
                    <a:pt x="3123" y="168"/>
                    <a:pt x="3124" y="174"/>
                  </a:cubicBezTo>
                  <a:cubicBezTo>
                    <a:pt x="3125" y="180"/>
                    <a:pt x="3132" y="184"/>
                    <a:pt x="3138" y="184"/>
                  </a:cubicBezTo>
                  <a:cubicBezTo>
                    <a:pt x="3144" y="184"/>
                    <a:pt x="3148" y="179"/>
                    <a:pt x="3146" y="174"/>
                  </a:cubicBezTo>
                  <a:cubicBezTo>
                    <a:pt x="3145" y="168"/>
                    <a:pt x="3139" y="164"/>
                    <a:pt x="3133" y="164"/>
                  </a:cubicBezTo>
                  <a:cubicBezTo>
                    <a:pt x="3133" y="164"/>
                    <a:pt x="3133" y="164"/>
                    <a:pt x="3133" y="164"/>
                  </a:cubicBezTo>
                  <a:moveTo>
                    <a:pt x="3164" y="163"/>
                  </a:moveTo>
                  <a:cubicBezTo>
                    <a:pt x="3158" y="163"/>
                    <a:pt x="3154" y="168"/>
                    <a:pt x="3155" y="174"/>
                  </a:cubicBezTo>
                  <a:cubicBezTo>
                    <a:pt x="3157" y="179"/>
                    <a:pt x="3163" y="184"/>
                    <a:pt x="3169" y="184"/>
                  </a:cubicBezTo>
                  <a:cubicBezTo>
                    <a:pt x="3175" y="184"/>
                    <a:pt x="3179" y="179"/>
                    <a:pt x="3177" y="173"/>
                  </a:cubicBezTo>
                  <a:cubicBezTo>
                    <a:pt x="3176" y="168"/>
                    <a:pt x="3170" y="163"/>
                    <a:pt x="3164" y="163"/>
                  </a:cubicBezTo>
                  <a:cubicBezTo>
                    <a:pt x="3164" y="163"/>
                    <a:pt x="3164" y="163"/>
                    <a:pt x="3164" y="163"/>
                  </a:cubicBezTo>
                  <a:moveTo>
                    <a:pt x="3195" y="163"/>
                  </a:moveTo>
                  <a:cubicBezTo>
                    <a:pt x="3189" y="163"/>
                    <a:pt x="3185" y="168"/>
                    <a:pt x="3187" y="173"/>
                  </a:cubicBezTo>
                  <a:cubicBezTo>
                    <a:pt x="3188" y="179"/>
                    <a:pt x="3195" y="184"/>
                    <a:pt x="3201" y="184"/>
                  </a:cubicBezTo>
                  <a:cubicBezTo>
                    <a:pt x="3207" y="184"/>
                    <a:pt x="3210" y="179"/>
                    <a:pt x="3209" y="173"/>
                  </a:cubicBezTo>
                  <a:cubicBezTo>
                    <a:pt x="3207" y="168"/>
                    <a:pt x="3201" y="163"/>
                    <a:pt x="3195" y="163"/>
                  </a:cubicBezTo>
                  <a:cubicBezTo>
                    <a:pt x="3195" y="163"/>
                    <a:pt x="3195" y="163"/>
                    <a:pt x="3195" y="163"/>
                  </a:cubicBezTo>
                  <a:moveTo>
                    <a:pt x="3226" y="163"/>
                  </a:moveTo>
                  <a:cubicBezTo>
                    <a:pt x="3220" y="163"/>
                    <a:pt x="3217" y="167"/>
                    <a:pt x="3218" y="173"/>
                  </a:cubicBezTo>
                  <a:cubicBezTo>
                    <a:pt x="3220" y="179"/>
                    <a:pt x="3226" y="183"/>
                    <a:pt x="3232" y="183"/>
                  </a:cubicBezTo>
                  <a:cubicBezTo>
                    <a:pt x="3238" y="183"/>
                    <a:pt x="3242" y="179"/>
                    <a:pt x="3240" y="173"/>
                  </a:cubicBezTo>
                  <a:cubicBezTo>
                    <a:pt x="3239" y="167"/>
                    <a:pt x="3233" y="163"/>
                    <a:pt x="3227" y="163"/>
                  </a:cubicBezTo>
                  <a:cubicBezTo>
                    <a:pt x="3226" y="163"/>
                    <a:pt x="3226" y="163"/>
                    <a:pt x="3226" y="163"/>
                  </a:cubicBezTo>
                  <a:moveTo>
                    <a:pt x="3258" y="162"/>
                  </a:moveTo>
                  <a:cubicBezTo>
                    <a:pt x="3252" y="163"/>
                    <a:pt x="3248" y="167"/>
                    <a:pt x="3250" y="173"/>
                  </a:cubicBezTo>
                  <a:cubicBezTo>
                    <a:pt x="3251" y="179"/>
                    <a:pt x="3257" y="183"/>
                    <a:pt x="3263" y="183"/>
                  </a:cubicBezTo>
                  <a:cubicBezTo>
                    <a:pt x="3270" y="183"/>
                    <a:pt x="3273" y="178"/>
                    <a:pt x="3272" y="173"/>
                  </a:cubicBezTo>
                  <a:cubicBezTo>
                    <a:pt x="3270" y="167"/>
                    <a:pt x="3264" y="162"/>
                    <a:pt x="3258" y="162"/>
                  </a:cubicBezTo>
                  <a:cubicBezTo>
                    <a:pt x="3258" y="162"/>
                    <a:pt x="3258" y="162"/>
                    <a:pt x="3258" y="162"/>
                  </a:cubicBezTo>
                  <a:moveTo>
                    <a:pt x="3289" y="162"/>
                  </a:moveTo>
                  <a:cubicBezTo>
                    <a:pt x="3283" y="162"/>
                    <a:pt x="3279" y="167"/>
                    <a:pt x="3281" y="173"/>
                  </a:cubicBezTo>
                  <a:cubicBezTo>
                    <a:pt x="3282" y="178"/>
                    <a:pt x="3289" y="183"/>
                    <a:pt x="3295" y="183"/>
                  </a:cubicBezTo>
                  <a:cubicBezTo>
                    <a:pt x="3301" y="183"/>
                    <a:pt x="3305" y="178"/>
                    <a:pt x="3303" y="172"/>
                  </a:cubicBezTo>
                  <a:cubicBezTo>
                    <a:pt x="3301" y="167"/>
                    <a:pt x="3295" y="162"/>
                    <a:pt x="3289" y="162"/>
                  </a:cubicBezTo>
                  <a:cubicBezTo>
                    <a:pt x="3289" y="162"/>
                    <a:pt x="3289" y="162"/>
                    <a:pt x="3289" y="162"/>
                  </a:cubicBezTo>
                  <a:moveTo>
                    <a:pt x="3320" y="162"/>
                  </a:moveTo>
                  <a:cubicBezTo>
                    <a:pt x="3314" y="162"/>
                    <a:pt x="3311" y="167"/>
                    <a:pt x="3312" y="172"/>
                  </a:cubicBezTo>
                  <a:cubicBezTo>
                    <a:pt x="3314" y="178"/>
                    <a:pt x="3320" y="183"/>
                    <a:pt x="3327" y="182"/>
                  </a:cubicBezTo>
                  <a:cubicBezTo>
                    <a:pt x="3333" y="182"/>
                    <a:pt x="3336" y="178"/>
                    <a:pt x="3334" y="172"/>
                  </a:cubicBezTo>
                  <a:cubicBezTo>
                    <a:pt x="3333" y="166"/>
                    <a:pt x="3326" y="162"/>
                    <a:pt x="3320" y="162"/>
                  </a:cubicBezTo>
                  <a:cubicBezTo>
                    <a:pt x="3320" y="162"/>
                    <a:pt x="3320" y="162"/>
                    <a:pt x="3320" y="162"/>
                  </a:cubicBezTo>
                  <a:moveTo>
                    <a:pt x="3352" y="162"/>
                  </a:moveTo>
                  <a:cubicBezTo>
                    <a:pt x="3346" y="162"/>
                    <a:pt x="3343" y="166"/>
                    <a:pt x="3345" y="172"/>
                  </a:cubicBezTo>
                  <a:cubicBezTo>
                    <a:pt x="3347" y="178"/>
                    <a:pt x="3353" y="182"/>
                    <a:pt x="3359" y="182"/>
                  </a:cubicBezTo>
                  <a:cubicBezTo>
                    <a:pt x="3365" y="182"/>
                    <a:pt x="3369" y="177"/>
                    <a:pt x="3367" y="172"/>
                  </a:cubicBezTo>
                  <a:cubicBezTo>
                    <a:pt x="3365" y="166"/>
                    <a:pt x="3359" y="162"/>
                    <a:pt x="3353" y="162"/>
                  </a:cubicBezTo>
                  <a:cubicBezTo>
                    <a:pt x="3353" y="162"/>
                    <a:pt x="3352" y="162"/>
                    <a:pt x="3352" y="162"/>
                  </a:cubicBezTo>
                  <a:moveTo>
                    <a:pt x="3384" y="161"/>
                  </a:moveTo>
                  <a:cubicBezTo>
                    <a:pt x="3378" y="161"/>
                    <a:pt x="3374" y="166"/>
                    <a:pt x="3376" y="172"/>
                  </a:cubicBezTo>
                  <a:cubicBezTo>
                    <a:pt x="3378" y="177"/>
                    <a:pt x="3384" y="182"/>
                    <a:pt x="3390" y="182"/>
                  </a:cubicBezTo>
                  <a:cubicBezTo>
                    <a:pt x="3397" y="182"/>
                    <a:pt x="3400" y="177"/>
                    <a:pt x="3398" y="171"/>
                  </a:cubicBezTo>
                  <a:cubicBezTo>
                    <a:pt x="3396" y="166"/>
                    <a:pt x="3390" y="161"/>
                    <a:pt x="3384" y="161"/>
                  </a:cubicBezTo>
                  <a:cubicBezTo>
                    <a:pt x="3384" y="161"/>
                    <a:pt x="3384" y="161"/>
                    <a:pt x="3384" y="161"/>
                  </a:cubicBezTo>
                  <a:moveTo>
                    <a:pt x="3415" y="161"/>
                  </a:moveTo>
                  <a:cubicBezTo>
                    <a:pt x="3409" y="161"/>
                    <a:pt x="3406" y="166"/>
                    <a:pt x="3408" y="171"/>
                  </a:cubicBezTo>
                  <a:cubicBezTo>
                    <a:pt x="3409" y="177"/>
                    <a:pt x="3416" y="182"/>
                    <a:pt x="3422" y="182"/>
                  </a:cubicBezTo>
                  <a:cubicBezTo>
                    <a:pt x="3428" y="182"/>
                    <a:pt x="3432" y="177"/>
                    <a:pt x="3430" y="171"/>
                  </a:cubicBezTo>
                  <a:cubicBezTo>
                    <a:pt x="3428" y="166"/>
                    <a:pt x="3421" y="161"/>
                    <a:pt x="3415" y="161"/>
                  </a:cubicBezTo>
                  <a:cubicBezTo>
                    <a:pt x="3415" y="161"/>
                    <a:pt x="3415" y="161"/>
                    <a:pt x="3415" y="161"/>
                  </a:cubicBezTo>
                  <a:moveTo>
                    <a:pt x="3447" y="161"/>
                  </a:moveTo>
                  <a:cubicBezTo>
                    <a:pt x="3441" y="161"/>
                    <a:pt x="3437" y="165"/>
                    <a:pt x="3439" y="171"/>
                  </a:cubicBezTo>
                  <a:cubicBezTo>
                    <a:pt x="3441" y="177"/>
                    <a:pt x="3448" y="181"/>
                    <a:pt x="3454" y="181"/>
                  </a:cubicBezTo>
                  <a:cubicBezTo>
                    <a:pt x="3460" y="181"/>
                    <a:pt x="3463" y="177"/>
                    <a:pt x="3461" y="171"/>
                  </a:cubicBezTo>
                  <a:cubicBezTo>
                    <a:pt x="3459" y="165"/>
                    <a:pt x="3453" y="161"/>
                    <a:pt x="3447" y="161"/>
                  </a:cubicBezTo>
                  <a:cubicBezTo>
                    <a:pt x="3447" y="161"/>
                    <a:pt x="3447" y="161"/>
                    <a:pt x="3447" y="161"/>
                  </a:cubicBezTo>
                  <a:moveTo>
                    <a:pt x="3478" y="160"/>
                  </a:moveTo>
                  <a:cubicBezTo>
                    <a:pt x="3472" y="161"/>
                    <a:pt x="3469" y="165"/>
                    <a:pt x="3471" y="171"/>
                  </a:cubicBezTo>
                  <a:cubicBezTo>
                    <a:pt x="3473" y="177"/>
                    <a:pt x="3479" y="181"/>
                    <a:pt x="3485" y="181"/>
                  </a:cubicBezTo>
                  <a:cubicBezTo>
                    <a:pt x="3492" y="181"/>
                    <a:pt x="3495" y="176"/>
                    <a:pt x="3493" y="171"/>
                  </a:cubicBezTo>
                  <a:cubicBezTo>
                    <a:pt x="3490" y="165"/>
                    <a:pt x="3484" y="160"/>
                    <a:pt x="3478" y="160"/>
                  </a:cubicBezTo>
                  <a:cubicBezTo>
                    <a:pt x="3478" y="160"/>
                    <a:pt x="3478" y="160"/>
                    <a:pt x="3478" y="160"/>
                  </a:cubicBezTo>
                  <a:moveTo>
                    <a:pt x="3509" y="160"/>
                  </a:moveTo>
                  <a:cubicBezTo>
                    <a:pt x="3503" y="160"/>
                    <a:pt x="3500" y="165"/>
                    <a:pt x="3502" y="171"/>
                  </a:cubicBezTo>
                  <a:cubicBezTo>
                    <a:pt x="3504" y="176"/>
                    <a:pt x="3511" y="181"/>
                    <a:pt x="3517" y="181"/>
                  </a:cubicBezTo>
                  <a:cubicBezTo>
                    <a:pt x="3523" y="181"/>
                    <a:pt x="3526" y="176"/>
                    <a:pt x="3524" y="170"/>
                  </a:cubicBezTo>
                  <a:cubicBezTo>
                    <a:pt x="3522" y="165"/>
                    <a:pt x="3515" y="160"/>
                    <a:pt x="3509" y="160"/>
                  </a:cubicBezTo>
                  <a:cubicBezTo>
                    <a:pt x="3509" y="160"/>
                    <a:pt x="3509" y="160"/>
                    <a:pt x="3509" y="160"/>
                  </a:cubicBezTo>
                  <a:moveTo>
                    <a:pt x="3540" y="160"/>
                  </a:moveTo>
                  <a:cubicBezTo>
                    <a:pt x="3534" y="160"/>
                    <a:pt x="3531" y="165"/>
                    <a:pt x="3533" y="170"/>
                  </a:cubicBezTo>
                  <a:cubicBezTo>
                    <a:pt x="3535" y="176"/>
                    <a:pt x="3542" y="181"/>
                    <a:pt x="3548" y="180"/>
                  </a:cubicBezTo>
                  <a:cubicBezTo>
                    <a:pt x="3554" y="180"/>
                    <a:pt x="3558" y="176"/>
                    <a:pt x="3555" y="170"/>
                  </a:cubicBezTo>
                  <a:cubicBezTo>
                    <a:pt x="3553" y="164"/>
                    <a:pt x="3546" y="160"/>
                    <a:pt x="3540" y="160"/>
                  </a:cubicBezTo>
                  <a:cubicBezTo>
                    <a:pt x="3540" y="160"/>
                    <a:pt x="3540" y="160"/>
                    <a:pt x="3540" y="160"/>
                  </a:cubicBezTo>
                  <a:moveTo>
                    <a:pt x="3572" y="160"/>
                  </a:moveTo>
                  <a:cubicBezTo>
                    <a:pt x="3566" y="160"/>
                    <a:pt x="3563" y="164"/>
                    <a:pt x="3565" y="170"/>
                  </a:cubicBezTo>
                  <a:cubicBezTo>
                    <a:pt x="3568" y="176"/>
                    <a:pt x="3574" y="180"/>
                    <a:pt x="3580" y="180"/>
                  </a:cubicBezTo>
                  <a:cubicBezTo>
                    <a:pt x="3587" y="180"/>
                    <a:pt x="3590" y="175"/>
                    <a:pt x="3587" y="170"/>
                  </a:cubicBezTo>
                  <a:cubicBezTo>
                    <a:pt x="3585" y="164"/>
                    <a:pt x="3578" y="160"/>
                    <a:pt x="3572" y="160"/>
                  </a:cubicBezTo>
                  <a:cubicBezTo>
                    <a:pt x="3572" y="160"/>
                    <a:pt x="3572" y="160"/>
                    <a:pt x="3572" y="160"/>
                  </a:cubicBezTo>
                  <a:moveTo>
                    <a:pt x="3603" y="159"/>
                  </a:moveTo>
                  <a:cubicBezTo>
                    <a:pt x="3597" y="159"/>
                    <a:pt x="3594" y="164"/>
                    <a:pt x="3597" y="170"/>
                  </a:cubicBezTo>
                  <a:cubicBezTo>
                    <a:pt x="3599" y="175"/>
                    <a:pt x="3606" y="180"/>
                    <a:pt x="3612" y="180"/>
                  </a:cubicBezTo>
                  <a:cubicBezTo>
                    <a:pt x="3618" y="180"/>
                    <a:pt x="3621" y="175"/>
                    <a:pt x="3619" y="169"/>
                  </a:cubicBezTo>
                  <a:cubicBezTo>
                    <a:pt x="3616" y="164"/>
                    <a:pt x="3610" y="159"/>
                    <a:pt x="3604" y="159"/>
                  </a:cubicBezTo>
                  <a:cubicBezTo>
                    <a:pt x="3603" y="159"/>
                    <a:pt x="3603" y="159"/>
                    <a:pt x="3603" y="159"/>
                  </a:cubicBezTo>
                  <a:moveTo>
                    <a:pt x="415" y="159"/>
                  </a:moveTo>
                  <a:cubicBezTo>
                    <a:pt x="409" y="159"/>
                    <a:pt x="400" y="164"/>
                    <a:pt x="396" y="169"/>
                  </a:cubicBezTo>
                  <a:cubicBezTo>
                    <a:pt x="391" y="175"/>
                    <a:pt x="392" y="179"/>
                    <a:pt x="398" y="179"/>
                  </a:cubicBezTo>
                  <a:cubicBezTo>
                    <a:pt x="404" y="179"/>
                    <a:pt x="413" y="175"/>
                    <a:pt x="418" y="169"/>
                  </a:cubicBezTo>
                  <a:cubicBezTo>
                    <a:pt x="422" y="164"/>
                    <a:pt x="421" y="159"/>
                    <a:pt x="415" y="159"/>
                  </a:cubicBezTo>
                  <a:cubicBezTo>
                    <a:pt x="415" y="159"/>
                    <a:pt x="415" y="159"/>
                    <a:pt x="415" y="159"/>
                  </a:cubicBezTo>
                  <a:moveTo>
                    <a:pt x="3636" y="159"/>
                  </a:moveTo>
                  <a:cubicBezTo>
                    <a:pt x="3630" y="159"/>
                    <a:pt x="3627" y="164"/>
                    <a:pt x="3629" y="169"/>
                  </a:cubicBezTo>
                  <a:cubicBezTo>
                    <a:pt x="3632" y="175"/>
                    <a:pt x="3639" y="180"/>
                    <a:pt x="3645" y="180"/>
                  </a:cubicBezTo>
                  <a:cubicBezTo>
                    <a:pt x="3651" y="180"/>
                    <a:pt x="3654" y="175"/>
                    <a:pt x="3651" y="169"/>
                  </a:cubicBezTo>
                  <a:cubicBezTo>
                    <a:pt x="3649" y="164"/>
                    <a:pt x="3642" y="159"/>
                    <a:pt x="3636" y="159"/>
                  </a:cubicBezTo>
                  <a:cubicBezTo>
                    <a:pt x="3636" y="159"/>
                    <a:pt x="3636" y="159"/>
                    <a:pt x="3636" y="159"/>
                  </a:cubicBezTo>
                  <a:moveTo>
                    <a:pt x="447" y="159"/>
                  </a:moveTo>
                  <a:cubicBezTo>
                    <a:pt x="441" y="159"/>
                    <a:pt x="433" y="164"/>
                    <a:pt x="428" y="169"/>
                  </a:cubicBezTo>
                  <a:cubicBezTo>
                    <a:pt x="424" y="175"/>
                    <a:pt x="425" y="179"/>
                    <a:pt x="431" y="179"/>
                  </a:cubicBezTo>
                  <a:cubicBezTo>
                    <a:pt x="437" y="179"/>
                    <a:pt x="446" y="174"/>
                    <a:pt x="450" y="169"/>
                  </a:cubicBezTo>
                  <a:cubicBezTo>
                    <a:pt x="455" y="163"/>
                    <a:pt x="453" y="159"/>
                    <a:pt x="447" y="159"/>
                  </a:cubicBezTo>
                  <a:cubicBezTo>
                    <a:pt x="447" y="159"/>
                    <a:pt x="447" y="159"/>
                    <a:pt x="447" y="159"/>
                  </a:cubicBezTo>
                  <a:moveTo>
                    <a:pt x="3667" y="159"/>
                  </a:moveTo>
                  <a:cubicBezTo>
                    <a:pt x="3661" y="159"/>
                    <a:pt x="3658" y="163"/>
                    <a:pt x="3660" y="169"/>
                  </a:cubicBezTo>
                  <a:cubicBezTo>
                    <a:pt x="3663" y="175"/>
                    <a:pt x="3670" y="179"/>
                    <a:pt x="3676" y="179"/>
                  </a:cubicBezTo>
                  <a:cubicBezTo>
                    <a:pt x="3682" y="179"/>
                    <a:pt x="3685" y="175"/>
                    <a:pt x="3682" y="169"/>
                  </a:cubicBezTo>
                  <a:cubicBezTo>
                    <a:pt x="3680" y="163"/>
                    <a:pt x="3673" y="159"/>
                    <a:pt x="3667" y="159"/>
                  </a:cubicBezTo>
                  <a:cubicBezTo>
                    <a:pt x="3667" y="159"/>
                    <a:pt x="3667" y="159"/>
                    <a:pt x="3667" y="159"/>
                  </a:cubicBezTo>
                  <a:moveTo>
                    <a:pt x="478" y="159"/>
                  </a:moveTo>
                  <a:cubicBezTo>
                    <a:pt x="472" y="159"/>
                    <a:pt x="464" y="163"/>
                    <a:pt x="460" y="169"/>
                  </a:cubicBezTo>
                  <a:cubicBezTo>
                    <a:pt x="455" y="174"/>
                    <a:pt x="456" y="179"/>
                    <a:pt x="463" y="179"/>
                  </a:cubicBezTo>
                  <a:cubicBezTo>
                    <a:pt x="469" y="179"/>
                    <a:pt x="477" y="174"/>
                    <a:pt x="482" y="169"/>
                  </a:cubicBezTo>
                  <a:cubicBezTo>
                    <a:pt x="486" y="163"/>
                    <a:pt x="485" y="159"/>
                    <a:pt x="479" y="159"/>
                  </a:cubicBezTo>
                  <a:cubicBezTo>
                    <a:pt x="479" y="159"/>
                    <a:pt x="479" y="159"/>
                    <a:pt x="478" y="159"/>
                  </a:cubicBezTo>
                  <a:moveTo>
                    <a:pt x="3698" y="158"/>
                  </a:moveTo>
                  <a:cubicBezTo>
                    <a:pt x="3692" y="159"/>
                    <a:pt x="3689" y="163"/>
                    <a:pt x="3692" y="169"/>
                  </a:cubicBezTo>
                  <a:cubicBezTo>
                    <a:pt x="3694" y="175"/>
                    <a:pt x="3701" y="179"/>
                    <a:pt x="3708" y="179"/>
                  </a:cubicBezTo>
                  <a:cubicBezTo>
                    <a:pt x="3714" y="179"/>
                    <a:pt x="3716" y="174"/>
                    <a:pt x="3714" y="169"/>
                  </a:cubicBezTo>
                  <a:cubicBezTo>
                    <a:pt x="3711" y="163"/>
                    <a:pt x="3704" y="158"/>
                    <a:pt x="3698" y="158"/>
                  </a:cubicBezTo>
                  <a:cubicBezTo>
                    <a:pt x="3698" y="158"/>
                    <a:pt x="3698" y="158"/>
                    <a:pt x="3698" y="158"/>
                  </a:cubicBezTo>
                  <a:moveTo>
                    <a:pt x="510" y="158"/>
                  </a:moveTo>
                  <a:cubicBezTo>
                    <a:pt x="504" y="158"/>
                    <a:pt x="495" y="163"/>
                    <a:pt x="491" y="169"/>
                  </a:cubicBezTo>
                  <a:cubicBezTo>
                    <a:pt x="487" y="174"/>
                    <a:pt x="488" y="179"/>
                    <a:pt x="494" y="179"/>
                  </a:cubicBezTo>
                  <a:cubicBezTo>
                    <a:pt x="500" y="178"/>
                    <a:pt x="509" y="174"/>
                    <a:pt x="513" y="168"/>
                  </a:cubicBezTo>
                  <a:cubicBezTo>
                    <a:pt x="517" y="163"/>
                    <a:pt x="516" y="158"/>
                    <a:pt x="510" y="158"/>
                  </a:cubicBezTo>
                  <a:cubicBezTo>
                    <a:pt x="510" y="158"/>
                    <a:pt x="510" y="158"/>
                    <a:pt x="510" y="158"/>
                  </a:cubicBezTo>
                  <a:moveTo>
                    <a:pt x="3730" y="158"/>
                  </a:moveTo>
                  <a:cubicBezTo>
                    <a:pt x="3724" y="158"/>
                    <a:pt x="3721" y="163"/>
                    <a:pt x="3724" y="169"/>
                  </a:cubicBezTo>
                  <a:cubicBezTo>
                    <a:pt x="3726" y="174"/>
                    <a:pt x="3733" y="179"/>
                    <a:pt x="3739" y="179"/>
                  </a:cubicBezTo>
                  <a:cubicBezTo>
                    <a:pt x="3746" y="179"/>
                    <a:pt x="3748" y="174"/>
                    <a:pt x="3746" y="168"/>
                  </a:cubicBezTo>
                  <a:cubicBezTo>
                    <a:pt x="3743" y="163"/>
                    <a:pt x="3736" y="158"/>
                    <a:pt x="3730" y="158"/>
                  </a:cubicBezTo>
                  <a:cubicBezTo>
                    <a:pt x="3730" y="158"/>
                    <a:pt x="3730" y="158"/>
                    <a:pt x="3730" y="158"/>
                  </a:cubicBezTo>
                  <a:moveTo>
                    <a:pt x="542" y="158"/>
                  </a:moveTo>
                  <a:cubicBezTo>
                    <a:pt x="536" y="158"/>
                    <a:pt x="528" y="163"/>
                    <a:pt x="523" y="168"/>
                  </a:cubicBezTo>
                  <a:cubicBezTo>
                    <a:pt x="519" y="174"/>
                    <a:pt x="521" y="178"/>
                    <a:pt x="527" y="178"/>
                  </a:cubicBezTo>
                  <a:cubicBezTo>
                    <a:pt x="533" y="178"/>
                    <a:pt x="541" y="174"/>
                    <a:pt x="545" y="168"/>
                  </a:cubicBezTo>
                  <a:cubicBezTo>
                    <a:pt x="550" y="162"/>
                    <a:pt x="548" y="158"/>
                    <a:pt x="542" y="158"/>
                  </a:cubicBezTo>
                  <a:cubicBezTo>
                    <a:pt x="542" y="158"/>
                    <a:pt x="542" y="158"/>
                    <a:pt x="542" y="158"/>
                  </a:cubicBezTo>
                  <a:moveTo>
                    <a:pt x="3761" y="158"/>
                  </a:moveTo>
                  <a:cubicBezTo>
                    <a:pt x="3755" y="158"/>
                    <a:pt x="3752" y="163"/>
                    <a:pt x="3755" y="168"/>
                  </a:cubicBezTo>
                  <a:cubicBezTo>
                    <a:pt x="3758" y="174"/>
                    <a:pt x="3765" y="179"/>
                    <a:pt x="3771" y="178"/>
                  </a:cubicBezTo>
                  <a:cubicBezTo>
                    <a:pt x="3777" y="178"/>
                    <a:pt x="3780" y="174"/>
                    <a:pt x="3777" y="168"/>
                  </a:cubicBezTo>
                  <a:cubicBezTo>
                    <a:pt x="3774" y="162"/>
                    <a:pt x="3767" y="158"/>
                    <a:pt x="3761" y="158"/>
                  </a:cubicBezTo>
                  <a:cubicBezTo>
                    <a:pt x="3761" y="158"/>
                    <a:pt x="3761" y="158"/>
                    <a:pt x="3761" y="158"/>
                  </a:cubicBezTo>
                  <a:moveTo>
                    <a:pt x="573" y="158"/>
                  </a:moveTo>
                  <a:cubicBezTo>
                    <a:pt x="567" y="158"/>
                    <a:pt x="559" y="162"/>
                    <a:pt x="555" y="168"/>
                  </a:cubicBezTo>
                  <a:cubicBezTo>
                    <a:pt x="550" y="174"/>
                    <a:pt x="552" y="178"/>
                    <a:pt x="558" y="178"/>
                  </a:cubicBezTo>
                  <a:cubicBezTo>
                    <a:pt x="564" y="178"/>
                    <a:pt x="573" y="173"/>
                    <a:pt x="577" y="168"/>
                  </a:cubicBezTo>
                  <a:cubicBezTo>
                    <a:pt x="581" y="162"/>
                    <a:pt x="579" y="158"/>
                    <a:pt x="573" y="158"/>
                  </a:cubicBezTo>
                  <a:cubicBezTo>
                    <a:pt x="573" y="158"/>
                    <a:pt x="573" y="158"/>
                    <a:pt x="573" y="158"/>
                  </a:cubicBezTo>
                  <a:moveTo>
                    <a:pt x="3792" y="158"/>
                  </a:moveTo>
                  <a:cubicBezTo>
                    <a:pt x="3786" y="158"/>
                    <a:pt x="3784" y="162"/>
                    <a:pt x="3786" y="168"/>
                  </a:cubicBezTo>
                  <a:cubicBezTo>
                    <a:pt x="3789" y="174"/>
                    <a:pt x="3796" y="178"/>
                    <a:pt x="3802" y="178"/>
                  </a:cubicBezTo>
                  <a:cubicBezTo>
                    <a:pt x="3808" y="178"/>
                    <a:pt x="3811" y="173"/>
                    <a:pt x="3808" y="168"/>
                  </a:cubicBezTo>
                  <a:cubicBezTo>
                    <a:pt x="3805" y="162"/>
                    <a:pt x="3798" y="158"/>
                    <a:pt x="3792" y="158"/>
                  </a:cubicBezTo>
                  <a:cubicBezTo>
                    <a:pt x="3792" y="158"/>
                    <a:pt x="3792" y="158"/>
                    <a:pt x="3792" y="158"/>
                  </a:cubicBezTo>
                  <a:moveTo>
                    <a:pt x="729" y="158"/>
                  </a:moveTo>
                  <a:cubicBezTo>
                    <a:pt x="723" y="158"/>
                    <a:pt x="715" y="162"/>
                    <a:pt x="711" y="168"/>
                  </a:cubicBezTo>
                  <a:cubicBezTo>
                    <a:pt x="708" y="173"/>
                    <a:pt x="709" y="178"/>
                    <a:pt x="715" y="178"/>
                  </a:cubicBezTo>
                  <a:cubicBezTo>
                    <a:pt x="722" y="178"/>
                    <a:pt x="730" y="173"/>
                    <a:pt x="733" y="168"/>
                  </a:cubicBezTo>
                  <a:cubicBezTo>
                    <a:pt x="737" y="162"/>
                    <a:pt x="735" y="158"/>
                    <a:pt x="729" y="158"/>
                  </a:cubicBezTo>
                  <a:cubicBezTo>
                    <a:pt x="729" y="158"/>
                    <a:pt x="729" y="158"/>
                    <a:pt x="729" y="158"/>
                  </a:cubicBezTo>
                  <a:moveTo>
                    <a:pt x="605" y="157"/>
                  </a:moveTo>
                  <a:cubicBezTo>
                    <a:pt x="598" y="157"/>
                    <a:pt x="590" y="162"/>
                    <a:pt x="586" y="168"/>
                  </a:cubicBezTo>
                  <a:cubicBezTo>
                    <a:pt x="582" y="173"/>
                    <a:pt x="584" y="178"/>
                    <a:pt x="590" y="178"/>
                  </a:cubicBezTo>
                  <a:cubicBezTo>
                    <a:pt x="596" y="178"/>
                    <a:pt x="604" y="173"/>
                    <a:pt x="608" y="167"/>
                  </a:cubicBezTo>
                  <a:cubicBezTo>
                    <a:pt x="612" y="162"/>
                    <a:pt x="611" y="157"/>
                    <a:pt x="605" y="157"/>
                  </a:cubicBezTo>
                  <a:cubicBezTo>
                    <a:pt x="605" y="157"/>
                    <a:pt x="605" y="157"/>
                    <a:pt x="605" y="157"/>
                  </a:cubicBezTo>
                  <a:moveTo>
                    <a:pt x="3823" y="157"/>
                  </a:moveTo>
                  <a:cubicBezTo>
                    <a:pt x="3817" y="157"/>
                    <a:pt x="3815" y="162"/>
                    <a:pt x="3817" y="168"/>
                  </a:cubicBezTo>
                  <a:cubicBezTo>
                    <a:pt x="3820" y="173"/>
                    <a:pt x="3828" y="178"/>
                    <a:pt x="3834" y="178"/>
                  </a:cubicBezTo>
                  <a:cubicBezTo>
                    <a:pt x="3840" y="178"/>
                    <a:pt x="3842" y="173"/>
                    <a:pt x="3839" y="167"/>
                  </a:cubicBezTo>
                  <a:cubicBezTo>
                    <a:pt x="3837" y="162"/>
                    <a:pt x="3829" y="157"/>
                    <a:pt x="3823" y="157"/>
                  </a:cubicBezTo>
                  <a:cubicBezTo>
                    <a:pt x="3823" y="157"/>
                    <a:pt x="3823" y="157"/>
                    <a:pt x="3823" y="157"/>
                  </a:cubicBezTo>
                  <a:moveTo>
                    <a:pt x="761" y="157"/>
                  </a:moveTo>
                  <a:cubicBezTo>
                    <a:pt x="755" y="157"/>
                    <a:pt x="747" y="162"/>
                    <a:pt x="743" y="167"/>
                  </a:cubicBezTo>
                  <a:cubicBezTo>
                    <a:pt x="739" y="173"/>
                    <a:pt x="741" y="178"/>
                    <a:pt x="747" y="178"/>
                  </a:cubicBezTo>
                  <a:cubicBezTo>
                    <a:pt x="753" y="177"/>
                    <a:pt x="761" y="173"/>
                    <a:pt x="765" y="167"/>
                  </a:cubicBezTo>
                  <a:cubicBezTo>
                    <a:pt x="769" y="162"/>
                    <a:pt x="767" y="157"/>
                    <a:pt x="761" y="157"/>
                  </a:cubicBezTo>
                  <a:cubicBezTo>
                    <a:pt x="761" y="157"/>
                    <a:pt x="761" y="157"/>
                    <a:pt x="761" y="157"/>
                  </a:cubicBezTo>
                  <a:moveTo>
                    <a:pt x="636" y="157"/>
                  </a:moveTo>
                  <a:cubicBezTo>
                    <a:pt x="630" y="157"/>
                    <a:pt x="621" y="162"/>
                    <a:pt x="617" y="167"/>
                  </a:cubicBezTo>
                  <a:cubicBezTo>
                    <a:pt x="613" y="173"/>
                    <a:pt x="615" y="177"/>
                    <a:pt x="621" y="177"/>
                  </a:cubicBezTo>
                  <a:cubicBezTo>
                    <a:pt x="627" y="177"/>
                    <a:pt x="635" y="173"/>
                    <a:pt x="639" y="167"/>
                  </a:cubicBezTo>
                  <a:cubicBezTo>
                    <a:pt x="643" y="162"/>
                    <a:pt x="642" y="157"/>
                    <a:pt x="636" y="157"/>
                  </a:cubicBezTo>
                  <a:cubicBezTo>
                    <a:pt x="636" y="157"/>
                    <a:pt x="636" y="157"/>
                    <a:pt x="636" y="157"/>
                  </a:cubicBezTo>
                  <a:moveTo>
                    <a:pt x="3854" y="157"/>
                  </a:moveTo>
                  <a:cubicBezTo>
                    <a:pt x="3848" y="157"/>
                    <a:pt x="3846" y="162"/>
                    <a:pt x="3849" y="167"/>
                  </a:cubicBezTo>
                  <a:cubicBezTo>
                    <a:pt x="3852" y="173"/>
                    <a:pt x="3859" y="178"/>
                    <a:pt x="3865" y="178"/>
                  </a:cubicBezTo>
                  <a:cubicBezTo>
                    <a:pt x="3871" y="178"/>
                    <a:pt x="3874" y="173"/>
                    <a:pt x="3871" y="167"/>
                  </a:cubicBezTo>
                  <a:cubicBezTo>
                    <a:pt x="3868" y="162"/>
                    <a:pt x="3861" y="157"/>
                    <a:pt x="3855" y="157"/>
                  </a:cubicBezTo>
                  <a:cubicBezTo>
                    <a:pt x="3855" y="157"/>
                    <a:pt x="3854" y="157"/>
                    <a:pt x="3854" y="157"/>
                  </a:cubicBezTo>
                  <a:moveTo>
                    <a:pt x="792" y="157"/>
                  </a:moveTo>
                  <a:cubicBezTo>
                    <a:pt x="786" y="157"/>
                    <a:pt x="778" y="162"/>
                    <a:pt x="775" y="167"/>
                  </a:cubicBezTo>
                  <a:cubicBezTo>
                    <a:pt x="771" y="173"/>
                    <a:pt x="773" y="177"/>
                    <a:pt x="779" y="177"/>
                  </a:cubicBezTo>
                  <a:cubicBezTo>
                    <a:pt x="785" y="177"/>
                    <a:pt x="793" y="173"/>
                    <a:pt x="797" y="167"/>
                  </a:cubicBezTo>
                  <a:cubicBezTo>
                    <a:pt x="800" y="161"/>
                    <a:pt x="798" y="157"/>
                    <a:pt x="792" y="157"/>
                  </a:cubicBezTo>
                  <a:cubicBezTo>
                    <a:pt x="792" y="157"/>
                    <a:pt x="792" y="157"/>
                    <a:pt x="792" y="157"/>
                  </a:cubicBezTo>
                  <a:moveTo>
                    <a:pt x="667" y="157"/>
                  </a:moveTo>
                  <a:cubicBezTo>
                    <a:pt x="661" y="157"/>
                    <a:pt x="653" y="161"/>
                    <a:pt x="649" y="167"/>
                  </a:cubicBezTo>
                  <a:cubicBezTo>
                    <a:pt x="645" y="173"/>
                    <a:pt x="646" y="177"/>
                    <a:pt x="653" y="177"/>
                  </a:cubicBezTo>
                  <a:cubicBezTo>
                    <a:pt x="659" y="177"/>
                    <a:pt x="667" y="172"/>
                    <a:pt x="671" y="167"/>
                  </a:cubicBezTo>
                  <a:cubicBezTo>
                    <a:pt x="675" y="161"/>
                    <a:pt x="673" y="157"/>
                    <a:pt x="667" y="157"/>
                  </a:cubicBezTo>
                  <a:cubicBezTo>
                    <a:pt x="667" y="157"/>
                    <a:pt x="667" y="157"/>
                    <a:pt x="667" y="157"/>
                  </a:cubicBezTo>
                  <a:moveTo>
                    <a:pt x="3886" y="157"/>
                  </a:moveTo>
                  <a:cubicBezTo>
                    <a:pt x="3879" y="157"/>
                    <a:pt x="3877" y="161"/>
                    <a:pt x="3880" y="167"/>
                  </a:cubicBezTo>
                  <a:cubicBezTo>
                    <a:pt x="3883" y="173"/>
                    <a:pt x="3890" y="177"/>
                    <a:pt x="3896" y="177"/>
                  </a:cubicBezTo>
                  <a:cubicBezTo>
                    <a:pt x="3902" y="177"/>
                    <a:pt x="3905" y="173"/>
                    <a:pt x="3902" y="167"/>
                  </a:cubicBezTo>
                  <a:cubicBezTo>
                    <a:pt x="3899" y="161"/>
                    <a:pt x="3892" y="157"/>
                    <a:pt x="3886" y="157"/>
                  </a:cubicBezTo>
                  <a:cubicBezTo>
                    <a:pt x="3886" y="157"/>
                    <a:pt x="3886" y="157"/>
                    <a:pt x="3886" y="157"/>
                  </a:cubicBezTo>
                  <a:moveTo>
                    <a:pt x="823" y="157"/>
                  </a:moveTo>
                  <a:cubicBezTo>
                    <a:pt x="817" y="157"/>
                    <a:pt x="809" y="161"/>
                    <a:pt x="806" y="167"/>
                  </a:cubicBezTo>
                  <a:cubicBezTo>
                    <a:pt x="802" y="173"/>
                    <a:pt x="804" y="177"/>
                    <a:pt x="810" y="177"/>
                  </a:cubicBezTo>
                  <a:cubicBezTo>
                    <a:pt x="816" y="177"/>
                    <a:pt x="824" y="172"/>
                    <a:pt x="828" y="167"/>
                  </a:cubicBezTo>
                  <a:cubicBezTo>
                    <a:pt x="831" y="161"/>
                    <a:pt x="829" y="157"/>
                    <a:pt x="824" y="157"/>
                  </a:cubicBezTo>
                  <a:cubicBezTo>
                    <a:pt x="823" y="157"/>
                    <a:pt x="823" y="157"/>
                    <a:pt x="823" y="157"/>
                  </a:cubicBezTo>
                  <a:moveTo>
                    <a:pt x="3917" y="156"/>
                  </a:moveTo>
                  <a:cubicBezTo>
                    <a:pt x="3911" y="157"/>
                    <a:pt x="3908" y="161"/>
                    <a:pt x="3911" y="167"/>
                  </a:cubicBezTo>
                  <a:cubicBezTo>
                    <a:pt x="3914" y="173"/>
                    <a:pt x="3922" y="177"/>
                    <a:pt x="3928" y="177"/>
                  </a:cubicBezTo>
                  <a:cubicBezTo>
                    <a:pt x="3934" y="177"/>
                    <a:pt x="3936" y="172"/>
                    <a:pt x="3933" y="167"/>
                  </a:cubicBezTo>
                  <a:cubicBezTo>
                    <a:pt x="3930" y="161"/>
                    <a:pt x="3923" y="156"/>
                    <a:pt x="3917" y="156"/>
                  </a:cubicBezTo>
                  <a:cubicBezTo>
                    <a:pt x="3917" y="156"/>
                    <a:pt x="3917" y="156"/>
                    <a:pt x="3917" y="156"/>
                  </a:cubicBezTo>
                  <a:moveTo>
                    <a:pt x="855" y="156"/>
                  </a:moveTo>
                  <a:cubicBezTo>
                    <a:pt x="849" y="156"/>
                    <a:pt x="841" y="161"/>
                    <a:pt x="837" y="167"/>
                  </a:cubicBezTo>
                  <a:cubicBezTo>
                    <a:pt x="834" y="172"/>
                    <a:pt x="836" y="177"/>
                    <a:pt x="842" y="177"/>
                  </a:cubicBezTo>
                  <a:cubicBezTo>
                    <a:pt x="848" y="177"/>
                    <a:pt x="856" y="172"/>
                    <a:pt x="859" y="166"/>
                  </a:cubicBezTo>
                  <a:cubicBezTo>
                    <a:pt x="863" y="161"/>
                    <a:pt x="861" y="156"/>
                    <a:pt x="855" y="156"/>
                  </a:cubicBezTo>
                  <a:cubicBezTo>
                    <a:pt x="855" y="156"/>
                    <a:pt x="855" y="156"/>
                    <a:pt x="855" y="156"/>
                  </a:cubicBezTo>
                  <a:moveTo>
                    <a:pt x="3948" y="156"/>
                  </a:moveTo>
                  <a:cubicBezTo>
                    <a:pt x="3942" y="156"/>
                    <a:pt x="3940" y="161"/>
                    <a:pt x="3943" y="167"/>
                  </a:cubicBezTo>
                  <a:cubicBezTo>
                    <a:pt x="3946" y="172"/>
                    <a:pt x="3954" y="177"/>
                    <a:pt x="3960" y="177"/>
                  </a:cubicBezTo>
                  <a:cubicBezTo>
                    <a:pt x="3966" y="177"/>
                    <a:pt x="3968" y="172"/>
                    <a:pt x="3965" y="166"/>
                  </a:cubicBezTo>
                  <a:cubicBezTo>
                    <a:pt x="3962" y="161"/>
                    <a:pt x="3955" y="156"/>
                    <a:pt x="3949" y="156"/>
                  </a:cubicBezTo>
                  <a:cubicBezTo>
                    <a:pt x="3949" y="156"/>
                    <a:pt x="3949" y="156"/>
                    <a:pt x="3948" y="156"/>
                  </a:cubicBezTo>
                  <a:moveTo>
                    <a:pt x="3980" y="156"/>
                  </a:moveTo>
                  <a:cubicBezTo>
                    <a:pt x="3974" y="156"/>
                    <a:pt x="3971" y="161"/>
                    <a:pt x="3974" y="166"/>
                  </a:cubicBezTo>
                  <a:cubicBezTo>
                    <a:pt x="3978" y="172"/>
                    <a:pt x="3985" y="177"/>
                    <a:pt x="3991" y="176"/>
                  </a:cubicBezTo>
                  <a:cubicBezTo>
                    <a:pt x="3997" y="176"/>
                    <a:pt x="4000" y="172"/>
                    <a:pt x="3996" y="166"/>
                  </a:cubicBezTo>
                  <a:cubicBezTo>
                    <a:pt x="3993" y="160"/>
                    <a:pt x="3986" y="156"/>
                    <a:pt x="3980" y="156"/>
                  </a:cubicBezTo>
                  <a:cubicBezTo>
                    <a:pt x="3980" y="156"/>
                    <a:pt x="3980" y="156"/>
                    <a:pt x="3980" y="156"/>
                  </a:cubicBezTo>
                  <a:moveTo>
                    <a:pt x="4011" y="156"/>
                  </a:moveTo>
                  <a:cubicBezTo>
                    <a:pt x="4005" y="156"/>
                    <a:pt x="4002" y="160"/>
                    <a:pt x="4006" y="166"/>
                  </a:cubicBezTo>
                  <a:cubicBezTo>
                    <a:pt x="4009" y="172"/>
                    <a:pt x="4017" y="176"/>
                    <a:pt x="4023" y="176"/>
                  </a:cubicBezTo>
                  <a:cubicBezTo>
                    <a:pt x="4029" y="176"/>
                    <a:pt x="4031" y="171"/>
                    <a:pt x="4028" y="166"/>
                  </a:cubicBezTo>
                  <a:cubicBezTo>
                    <a:pt x="4024" y="160"/>
                    <a:pt x="4017" y="156"/>
                    <a:pt x="4011" y="156"/>
                  </a:cubicBezTo>
                  <a:cubicBezTo>
                    <a:pt x="4011" y="156"/>
                    <a:pt x="4011" y="156"/>
                    <a:pt x="4011" y="156"/>
                  </a:cubicBezTo>
                  <a:moveTo>
                    <a:pt x="949" y="156"/>
                  </a:moveTo>
                  <a:cubicBezTo>
                    <a:pt x="943" y="156"/>
                    <a:pt x="935" y="160"/>
                    <a:pt x="932" y="166"/>
                  </a:cubicBezTo>
                  <a:cubicBezTo>
                    <a:pt x="928" y="171"/>
                    <a:pt x="930" y="176"/>
                    <a:pt x="936" y="176"/>
                  </a:cubicBezTo>
                  <a:cubicBezTo>
                    <a:pt x="942" y="176"/>
                    <a:pt x="950" y="171"/>
                    <a:pt x="954" y="166"/>
                  </a:cubicBezTo>
                  <a:cubicBezTo>
                    <a:pt x="957" y="160"/>
                    <a:pt x="955" y="156"/>
                    <a:pt x="949" y="156"/>
                  </a:cubicBezTo>
                  <a:cubicBezTo>
                    <a:pt x="949" y="156"/>
                    <a:pt x="949" y="156"/>
                    <a:pt x="949" y="156"/>
                  </a:cubicBezTo>
                  <a:moveTo>
                    <a:pt x="4042" y="155"/>
                  </a:moveTo>
                  <a:cubicBezTo>
                    <a:pt x="4036" y="155"/>
                    <a:pt x="4034" y="160"/>
                    <a:pt x="4037" y="166"/>
                  </a:cubicBezTo>
                  <a:cubicBezTo>
                    <a:pt x="4040" y="171"/>
                    <a:pt x="4048" y="176"/>
                    <a:pt x="4054" y="176"/>
                  </a:cubicBezTo>
                  <a:cubicBezTo>
                    <a:pt x="4060" y="176"/>
                    <a:pt x="4062" y="171"/>
                    <a:pt x="4059" y="166"/>
                  </a:cubicBezTo>
                  <a:cubicBezTo>
                    <a:pt x="4056" y="160"/>
                    <a:pt x="4048" y="155"/>
                    <a:pt x="4042" y="155"/>
                  </a:cubicBezTo>
                  <a:cubicBezTo>
                    <a:pt x="4042" y="155"/>
                    <a:pt x="4042" y="155"/>
                    <a:pt x="4042" y="155"/>
                  </a:cubicBezTo>
                  <a:moveTo>
                    <a:pt x="980" y="155"/>
                  </a:moveTo>
                  <a:cubicBezTo>
                    <a:pt x="974" y="155"/>
                    <a:pt x="966" y="160"/>
                    <a:pt x="963" y="165"/>
                  </a:cubicBezTo>
                  <a:cubicBezTo>
                    <a:pt x="959" y="171"/>
                    <a:pt x="962" y="176"/>
                    <a:pt x="968" y="176"/>
                  </a:cubicBezTo>
                  <a:cubicBezTo>
                    <a:pt x="974" y="175"/>
                    <a:pt x="981" y="171"/>
                    <a:pt x="985" y="165"/>
                  </a:cubicBezTo>
                  <a:cubicBezTo>
                    <a:pt x="988" y="160"/>
                    <a:pt x="986" y="155"/>
                    <a:pt x="980" y="155"/>
                  </a:cubicBezTo>
                  <a:cubicBezTo>
                    <a:pt x="980" y="155"/>
                    <a:pt x="980" y="155"/>
                    <a:pt x="980" y="155"/>
                  </a:cubicBezTo>
                  <a:moveTo>
                    <a:pt x="4072" y="155"/>
                  </a:moveTo>
                  <a:cubicBezTo>
                    <a:pt x="4066" y="155"/>
                    <a:pt x="4064" y="160"/>
                    <a:pt x="4067" y="165"/>
                  </a:cubicBezTo>
                  <a:cubicBezTo>
                    <a:pt x="4071" y="171"/>
                    <a:pt x="4078" y="176"/>
                    <a:pt x="4085" y="176"/>
                  </a:cubicBezTo>
                  <a:cubicBezTo>
                    <a:pt x="4091" y="176"/>
                    <a:pt x="4093" y="171"/>
                    <a:pt x="4089" y="165"/>
                  </a:cubicBezTo>
                  <a:cubicBezTo>
                    <a:pt x="4086" y="160"/>
                    <a:pt x="4078" y="155"/>
                    <a:pt x="4072" y="155"/>
                  </a:cubicBezTo>
                  <a:cubicBezTo>
                    <a:pt x="4072" y="155"/>
                    <a:pt x="4072" y="155"/>
                    <a:pt x="4072" y="155"/>
                  </a:cubicBezTo>
                  <a:moveTo>
                    <a:pt x="4103" y="155"/>
                  </a:moveTo>
                  <a:cubicBezTo>
                    <a:pt x="4097" y="155"/>
                    <a:pt x="4095" y="159"/>
                    <a:pt x="4099" y="165"/>
                  </a:cubicBezTo>
                  <a:cubicBezTo>
                    <a:pt x="4102" y="171"/>
                    <a:pt x="4110" y="175"/>
                    <a:pt x="4116" y="175"/>
                  </a:cubicBezTo>
                  <a:cubicBezTo>
                    <a:pt x="4122" y="175"/>
                    <a:pt x="4124" y="171"/>
                    <a:pt x="4121" y="165"/>
                  </a:cubicBezTo>
                  <a:cubicBezTo>
                    <a:pt x="4117" y="159"/>
                    <a:pt x="4110" y="155"/>
                    <a:pt x="4104" y="155"/>
                  </a:cubicBezTo>
                  <a:cubicBezTo>
                    <a:pt x="4103" y="155"/>
                    <a:pt x="4103" y="155"/>
                    <a:pt x="4103" y="155"/>
                  </a:cubicBezTo>
                  <a:moveTo>
                    <a:pt x="1041" y="155"/>
                  </a:moveTo>
                  <a:cubicBezTo>
                    <a:pt x="1035" y="155"/>
                    <a:pt x="1027" y="159"/>
                    <a:pt x="1024" y="165"/>
                  </a:cubicBezTo>
                  <a:cubicBezTo>
                    <a:pt x="1021" y="171"/>
                    <a:pt x="1023" y="175"/>
                    <a:pt x="1029" y="175"/>
                  </a:cubicBezTo>
                  <a:cubicBezTo>
                    <a:pt x="1035" y="175"/>
                    <a:pt x="1043" y="170"/>
                    <a:pt x="1046" y="165"/>
                  </a:cubicBezTo>
                  <a:cubicBezTo>
                    <a:pt x="1049" y="159"/>
                    <a:pt x="1047" y="155"/>
                    <a:pt x="1041" y="155"/>
                  </a:cubicBezTo>
                  <a:cubicBezTo>
                    <a:pt x="1041" y="155"/>
                    <a:pt x="1041" y="155"/>
                    <a:pt x="1041" y="155"/>
                  </a:cubicBezTo>
                  <a:moveTo>
                    <a:pt x="1352" y="154"/>
                  </a:moveTo>
                  <a:cubicBezTo>
                    <a:pt x="1346" y="154"/>
                    <a:pt x="1339" y="159"/>
                    <a:pt x="1336" y="165"/>
                  </a:cubicBezTo>
                  <a:cubicBezTo>
                    <a:pt x="1334" y="170"/>
                    <a:pt x="1337" y="175"/>
                    <a:pt x="1343" y="175"/>
                  </a:cubicBezTo>
                  <a:cubicBezTo>
                    <a:pt x="1349" y="175"/>
                    <a:pt x="1356" y="170"/>
                    <a:pt x="1358" y="164"/>
                  </a:cubicBezTo>
                  <a:cubicBezTo>
                    <a:pt x="1361" y="159"/>
                    <a:pt x="1358" y="154"/>
                    <a:pt x="1352" y="154"/>
                  </a:cubicBezTo>
                  <a:cubicBezTo>
                    <a:pt x="1352" y="154"/>
                    <a:pt x="1352" y="154"/>
                    <a:pt x="1352" y="154"/>
                  </a:cubicBezTo>
                  <a:moveTo>
                    <a:pt x="1383" y="154"/>
                  </a:moveTo>
                  <a:cubicBezTo>
                    <a:pt x="1377" y="154"/>
                    <a:pt x="1370" y="159"/>
                    <a:pt x="1367" y="164"/>
                  </a:cubicBezTo>
                  <a:cubicBezTo>
                    <a:pt x="1365" y="170"/>
                    <a:pt x="1368" y="174"/>
                    <a:pt x="1374" y="174"/>
                  </a:cubicBezTo>
                  <a:cubicBezTo>
                    <a:pt x="1380" y="174"/>
                    <a:pt x="1387" y="170"/>
                    <a:pt x="1389" y="164"/>
                  </a:cubicBezTo>
                  <a:cubicBezTo>
                    <a:pt x="1392" y="159"/>
                    <a:pt x="1389" y="154"/>
                    <a:pt x="1383" y="154"/>
                  </a:cubicBezTo>
                  <a:cubicBezTo>
                    <a:pt x="1383" y="154"/>
                    <a:pt x="1383" y="154"/>
                    <a:pt x="1383" y="154"/>
                  </a:cubicBezTo>
                  <a:moveTo>
                    <a:pt x="1415" y="154"/>
                  </a:moveTo>
                  <a:cubicBezTo>
                    <a:pt x="1409" y="154"/>
                    <a:pt x="1402" y="158"/>
                    <a:pt x="1400" y="164"/>
                  </a:cubicBezTo>
                  <a:cubicBezTo>
                    <a:pt x="1397" y="170"/>
                    <a:pt x="1400" y="174"/>
                    <a:pt x="1406" y="174"/>
                  </a:cubicBezTo>
                  <a:cubicBezTo>
                    <a:pt x="1412" y="174"/>
                    <a:pt x="1419" y="169"/>
                    <a:pt x="1422" y="164"/>
                  </a:cubicBezTo>
                  <a:cubicBezTo>
                    <a:pt x="1424" y="158"/>
                    <a:pt x="1421" y="154"/>
                    <a:pt x="1415" y="154"/>
                  </a:cubicBezTo>
                  <a:cubicBezTo>
                    <a:pt x="1415" y="154"/>
                    <a:pt x="1415" y="154"/>
                    <a:pt x="1415" y="154"/>
                  </a:cubicBezTo>
                  <a:moveTo>
                    <a:pt x="1165" y="153"/>
                  </a:moveTo>
                  <a:cubicBezTo>
                    <a:pt x="1159" y="154"/>
                    <a:pt x="1152" y="158"/>
                    <a:pt x="1149" y="164"/>
                  </a:cubicBezTo>
                  <a:cubicBezTo>
                    <a:pt x="1146" y="169"/>
                    <a:pt x="1149" y="174"/>
                    <a:pt x="1155" y="174"/>
                  </a:cubicBezTo>
                  <a:cubicBezTo>
                    <a:pt x="1161" y="174"/>
                    <a:pt x="1168" y="169"/>
                    <a:pt x="1171" y="164"/>
                  </a:cubicBezTo>
                  <a:cubicBezTo>
                    <a:pt x="1174" y="158"/>
                    <a:pt x="1172" y="153"/>
                    <a:pt x="1166" y="153"/>
                  </a:cubicBezTo>
                  <a:cubicBezTo>
                    <a:pt x="1166" y="153"/>
                    <a:pt x="1166" y="153"/>
                    <a:pt x="1165" y="153"/>
                  </a:cubicBezTo>
                  <a:moveTo>
                    <a:pt x="1601" y="148"/>
                  </a:moveTo>
                  <a:cubicBezTo>
                    <a:pt x="1595" y="148"/>
                    <a:pt x="1589" y="153"/>
                    <a:pt x="1587" y="159"/>
                  </a:cubicBezTo>
                  <a:cubicBezTo>
                    <a:pt x="1585" y="164"/>
                    <a:pt x="1588" y="169"/>
                    <a:pt x="1594" y="169"/>
                  </a:cubicBezTo>
                  <a:cubicBezTo>
                    <a:pt x="1600" y="169"/>
                    <a:pt x="1607" y="164"/>
                    <a:pt x="1609" y="158"/>
                  </a:cubicBezTo>
                  <a:cubicBezTo>
                    <a:pt x="1610" y="153"/>
                    <a:pt x="1607" y="148"/>
                    <a:pt x="1601" y="148"/>
                  </a:cubicBezTo>
                  <a:cubicBezTo>
                    <a:pt x="1601" y="148"/>
                    <a:pt x="1601" y="148"/>
                    <a:pt x="1601" y="148"/>
                  </a:cubicBezTo>
                  <a:moveTo>
                    <a:pt x="1633" y="148"/>
                  </a:moveTo>
                  <a:cubicBezTo>
                    <a:pt x="1627" y="148"/>
                    <a:pt x="1620" y="153"/>
                    <a:pt x="1618" y="158"/>
                  </a:cubicBezTo>
                  <a:cubicBezTo>
                    <a:pt x="1616" y="164"/>
                    <a:pt x="1620" y="168"/>
                    <a:pt x="1626" y="168"/>
                  </a:cubicBezTo>
                  <a:cubicBezTo>
                    <a:pt x="1632" y="168"/>
                    <a:pt x="1638" y="164"/>
                    <a:pt x="1640" y="158"/>
                  </a:cubicBezTo>
                  <a:cubicBezTo>
                    <a:pt x="1642" y="153"/>
                    <a:pt x="1639" y="148"/>
                    <a:pt x="1633" y="148"/>
                  </a:cubicBezTo>
                  <a:cubicBezTo>
                    <a:pt x="1633" y="148"/>
                    <a:pt x="1633" y="148"/>
                    <a:pt x="1633" y="148"/>
                  </a:cubicBezTo>
                  <a:moveTo>
                    <a:pt x="1664" y="148"/>
                  </a:moveTo>
                  <a:cubicBezTo>
                    <a:pt x="1658" y="148"/>
                    <a:pt x="1651" y="152"/>
                    <a:pt x="1649" y="158"/>
                  </a:cubicBezTo>
                  <a:cubicBezTo>
                    <a:pt x="1647" y="164"/>
                    <a:pt x="1651" y="168"/>
                    <a:pt x="1657" y="168"/>
                  </a:cubicBezTo>
                  <a:cubicBezTo>
                    <a:pt x="1663" y="168"/>
                    <a:pt x="1669" y="163"/>
                    <a:pt x="1671" y="158"/>
                  </a:cubicBezTo>
                  <a:cubicBezTo>
                    <a:pt x="1673" y="152"/>
                    <a:pt x="1670" y="148"/>
                    <a:pt x="1664" y="148"/>
                  </a:cubicBezTo>
                  <a:cubicBezTo>
                    <a:pt x="1664" y="148"/>
                    <a:pt x="1664" y="148"/>
                    <a:pt x="1664" y="148"/>
                  </a:cubicBezTo>
                  <a:moveTo>
                    <a:pt x="1695" y="147"/>
                  </a:moveTo>
                  <a:cubicBezTo>
                    <a:pt x="1689" y="147"/>
                    <a:pt x="1682" y="152"/>
                    <a:pt x="1681" y="158"/>
                  </a:cubicBezTo>
                  <a:cubicBezTo>
                    <a:pt x="1679" y="163"/>
                    <a:pt x="1682" y="168"/>
                    <a:pt x="1688" y="168"/>
                  </a:cubicBezTo>
                  <a:cubicBezTo>
                    <a:pt x="1694" y="168"/>
                    <a:pt x="1701" y="163"/>
                    <a:pt x="1702" y="158"/>
                  </a:cubicBezTo>
                  <a:cubicBezTo>
                    <a:pt x="1704" y="152"/>
                    <a:pt x="1701" y="147"/>
                    <a:pt x="1695" y="147"/>
                  </a:cubicBezTo>
                  <a:cubicBezTo>
                    <a:pt x="1695" y="147"/>
                    <a:pt x="1695" y="147"/>
                    <a:pt x="1695" y="147"/>
                  </a:cubicBezTo>
                  <a:moveTo>
                    <a:pt x="1726" y="147"/>
                  </a:moveTo>
                  <a:cubicBezTo>
                    <a:pt x="1720" y="147"/>
                    <a:pt x="1713" y="152"/>
                    <a:pt x="1712" y="157"/>
                  </a:cubicBezTo>
                  <a:cubicBezTo>
                    <a:pt x="1710" y="163"/>
                    <a:pt x="1713" y="168"/>
                    <a:pt x="1720" y="168"/>
                  </a:cubicBezTo>
                  <a:cubicBezTo>
                    <a:pt x="1726" y="167"/>
                    <a:pt x="1732" y="163"/>
                    <a:pt x="1734" y="157"/>
                  </a:cubicBezTo>
                  <a:cubicBezTo>
                    <a:pt x="1735" y="152"/>
                    <a:pt x="1732" y="147"/>
                    <a:pt x="1726" y="147"/>
                  </a:cubicBezTo>
                  <a:cubicBezTo>
                    <a:pt x="1726" y="147"/>
                    <a:pt x="1726" y="147"/>
                    <a:pt x="1726" y="147"/>
                  </a:cubicBezTo>
                  <a:moveTo>
                    <a:pt x="1757" y="147"/>
                  </a:moveTo>
                  <a:cubicBezTo>
                    <a:pt x="1751" y="147"/>
                    <a:pt x="1745" y="152"/>
                    <a:pt x="1743" y="157"/>
                  </a:cubicBezTo>
                  <a:cubicBezTo>
                    <a:pt x="1741" y="163"/>
                    <a:pt x="1745" y="167"/>
                    <a:pt x="1751" y="167"/>
                  </a:cubicBezTo>
                  <a:cubicBezTo>
                    <a:pt x="1757" y="167"/>
                    <a:pt x="1763" y="163"/>
                    <a:pt x="1765" y="157"/>
                  </a:cubicBezTo>
                  <a:cubicBezTo>
                    <a:pt x="1767" y="151"/>
                    <a:pt x="1763" y="147"/>
                    <a:pt x="1757" y="147"/>
                  </a:cubicBezTo>
                  <a:cubicBezTo>
                    <a:pt x="1757" y="147"/>
                    <a:pt x="1757" y="147"/>
                    <a:pt x="1757" y="147"/>
                  </a:cubicBezTo>
                  <a:moveTo>
                    <a:pt x="1789" y="147"/>
                  </a:moveTo>
                  <a:cubicBezTo>
                    <a:pt x="1783" y="147"/>
                    <a:pt x="1777" y="151"/>
                    <a:pt x="1775" y="157"/>
                  </a:cubicBezTo>
                  <a:cubicBezTo>
                    <a:pt x="1774" y="162"/>
                    <a:pt x="1777" y="167"/>
                    <a:pt x="1783" y="167"/>
                  </a:cubicBezTo>
                  <a:cubicBezTo>
                    <a:pt x="1789" y="167"/>
                    <a:pt x="1796" y="162"/>
                    <a:pt x="1797" y="157"/>
                  </a:cubicBezTo>
                  <a:cubicBezTo>
                    <a:pt x="1799" y="151"/>
                    <a:pt x="1795" y="147"/>
                    <a:pt x="1789" y="147"/>
                  </a:cubicBezTo>
                  <a:cubicBezTo>
                    <a:pt x="1789" y="147"/>
                    <a:pt x="1789" y="147"/>
                    <a:pt x="1789" y="147"/>
                  </a:cubicBezTo>
                  <a:moveTo>
                    <a:pt x="1820" y="146"/>
                  </a:moveTo>
                  <a:cubicBezTo>
                    <a:pt x="1814" y="146"/>
                    <a:pt x="1808" y="151"/>
                    <a:pt x="1806" y="157"/>
                  </a:cubicBezTo>
                  <a:cubicBezTo>
                    <a:pt x="1805" y="162"/>
                    <a:pt x="1809" y="167"/>
                    <a:pt x="1815" y="167"/>
                  </a:cubicBezTo>
                  <a:cubicBezTo>
                    <a:pt x="1821" y="167"/>
                    <a:pt x="1827" y="162"/>
                    <a:pt x="1828" y="156"/>
                  </a:cubicBezTo>
                  <a:cubicBezTo>
                    <a:pt x="1830" y="151"/>
                    <a:pt x="1826" y="146"/>
                    <a:pt x="1820" y="146"/>
                  </a:cubicBezTo>
                  <a:cubicBezTo>
                    <a:pt x="1820" y="146"/>
                    <a:pt x="1820" y="146"/>
                    <a:pt x="1820" y="146"/>
                  </a:cubicBezTo>
                  <a:moveTo>
                    <a:pt x="1851" y="146"/>
                  </a:moveTo>
                  <a:cubicBezTo>
                    <a:pt x="1845" y="146"/>
                    <a:pt x="1839" y="151"/>
                    <a:pt x="1838" y="156"/>
                  </a:cubicBezTo>
                  <a:cubicBezTo>
                    <a:pt x="1836" y="162"/>
                    <a:pt x="1840" y="166"/>
                    <a:pt x="1846" y="166"/>
                  </a:cubicBezTo>
                  <a:cubicBezTo>
                    <a:pt x="1852" y="166"/>
                    <a:pt x="1858" y="162"/>
                    <a:pt x="1860" y="156"/>
                  </a:cubicBezTo>
                  <a:cubicBezTo>
                    <a:pt x="1861" y="150"/>
                    <a:pt x="1857" y="146"/>
                    <a:pt x="1851" y="146"/>
                  </a:cubicBezTo>
                  <a:cubicBezTo>
                    <a:pt x="1851" y="146"/>
                    <a:pt x="1851" y="146"/>
                    <a:pt x="1851" y="146"/>
                  </a:cubicBezTo>
                  <a:moveTo>
                    <a:pt x="2319" y="143"/>
                  </a:moveTo>
                  <a:cubicBezTo>
                    <a:pt x="2313" y="143"/>
                    <a:pt x="2308" y="147"/>
                    <a:pt x="2307" y="153"/>
                  </a:cubicBezTo>
                  <a:cubicBezTo>
                    <a:pt x="2307" y="159"/>
                    <a:pt x="2312" y="163"/>
                    <a:pt x="2318" y="163"/>
                  </a:cubicBezTo>
                  <a:cubicBezTo>
                    <a:pt x="2324" y="163"/>
                    <a:pt x="2329" y="158"/>
                    <a:pt x="2329" y="153"/>
                  </a:cubicBezTo>
                  <a:cubicBezTo>
                    <a:pt x="2330" y="147"/>
                    <a:pt x="2325" y="143"/>
                    <a:pt x="2319" y="143"/>
                  </a:cubicBezTo>
                  <a:cubicBezTo>
                    <a:pt x="2319" y="143"/>
                    <a:pt x="2319" y="143"/>
                    <a:pt x="2319" y="143"/>
                  </a:cubicBezTo>
                  <a:moveTo>
                    <a:pt x="2350" y="142"/>
                  </a:moveTo>
                  <a:cubicBezTo>
                    <a:pt x="2344" y="142"/>
                    <a:pt x="2339" y="147"/>
                    <a:pt x="2339" y="153"/>
                  </a:cubicBezTo>
                  <a:cubicBezTo>
                    <a:pt x="2338" y="158"/>
                    <a:pt x="2343" y="163"/>
                    <a:pt x="2349" y="163"/>
                  </a:cubicBezTo>
                  <a:cubicBezTo>
                    <a:pt x="2355" y="163"/>
                    <a:pt x="2360" y="158"/>
                    <a:pt x="2360" y="153"/>
                  </a:cubicBezTo>
                  <a:cubicBezTo>
                    <a:pt x="2361" y="147"/>
                    <a:pt x="2356" y="142"/>
                    <a:pt x="2350" y="142"/>
                  </a:cubicBezTo>
                  <a:cubicBezTo>
                    <a:pt x="2350" y="142"/>
                    <a:pt x="2350" y="142"/>
                    <a:pt x="2350" y="142"/>
                  </a:cubicBezTo>
                  <a:moveTo>
                    <a:pt x="2382" y="142"/>
                  </a:moveTo>
                  <a:cubicBezTo>
                    <a:pt x="2376" y="142"/>
                    <a:pt x="2371" y="147"/>
                    <a:pt x="2370" y="152"/>
                  </a:cubicBezTo>
                  <a:cubicBezTo>
                    <a:pt x="2370" y="158"/>
                    <a:pt x="2375" y="163"/>
                    <a:pt x="2381" y="163"/>
                  </a:cubicBezTo>
                  <a:cubicBezTo>
                    <a:pt x="2387" y="163"/>
                    <a:pt x="2392" y="158"/>
                    <a:pt x="2392" y="152"/>
                  </a:cubicBezTo>
                  <a:cubicBezTo>
                    <a:pt x="2392" y="147"/>
                    <a:pt x="2388" y="142"/>
                    <a:pt x="2382" y="142"/>
                  </a:cubicBezTo>
                  <a:cubicBezTo>
                    <a:pt x="2382" y="142"/>
                    <a:pt x="2382" y="142"/>
                    <a:pt x="2382" y="142"/>
                  </a:cubicBezTo>
                  <a:moveTo>
                    <a:pt x="2413" y="142"/>
                  </a:moveTo>
                  <a:cubicBezTo>
                    <a:pt x="2407" y="142"/>
                    <a:pt x="2402" y="147"/>
                    <a:pt x="2401" y="152"/>
                  </a:cubicBezTo>
                  <a:cubicBezTo>
                    <a:pt x="2401" y="158"/>
                    <a:pt x="2406" y="162"/>
                    <a:pt x="2412" y="162"/>
                  </a:cubicBezTo>
                  <a:cubicBezTo>
                    <a:pt x="2418" y="162"/>
                    <a:pt x="2423" y="158"/>
                    <a:pt x="2423" y="152"/>
                  </a:cubicBezTo>
                  <a:cubicBezTo>
                    <a:pt x="2423" y="146"/>
                    <a:pt x="2419" y="142"/>
                    <a:pt x="2413" y="142"/>
                  </a:cubicBezTo>
                  <a:cubicBezTo>
                    <a:pt x="2413" y="142"/>
                    <a:pt x="2413" y="142"/>
                    <a:pt x="2413" y="142"/>
                  </a:cubicBezTo>
                  <a:moveTo>
                    <a:pt x="2444" y="142"/>
                  </a:moveTo>
                  <a:cubicBezTo>
                    <a:pt x="2438" y="142"/>
                    <a:pt x="2433" y="146"/>
                    <a:pt x="2432" y="152"/>
                  </a:cubicBezTo>
                  <a:cubicBezTo>
                    <a:pt x="2432" y="158"/>
                    <a:pt x="2437" y="162"/>
                    <a:pt x="2443" y="162"/>
                  </a:cubicBezTo>
                  <a:cubicBezTo>
                    <a:pt x="2449" y="162"/>
                    <a:pt x="2454" y="157"/>
                    <a:pt x="2454" y="152"/>
                  </a:cubicBezTo>
                  <a:cubicBezTo>
                    <a:pt x="2454" y="146"/>
                    <a:pt x="2450" y="142"/>
                    <a:pt x="2444" y="142"/>
                  </a:cubicBezTo>
                  <a:cubicBezTo>
                    <a:pt x="2444" y="142"/>
                    <a:pt x="2444" y="142"/>
                    <a:pt x="2444" y="142"/>
                  </a:cubicBezTo>
                  <a:moveTo>
                    <a:pt x="2474" y="141"/>
                  </a:moveTo>
                  <a:cubicBezTo>
                    <a:pt x="2468" y="141"/>
                    <a:pt x="2463" y="146"/>
                    <a:pt x="2463" y="152"/>
                  </a:cubicBezTo>
                  <a:cubicBezTo>
                    <a:pt x="2463" y="157"/>
                    <a:pt x="2468" y="162"/>
                    <a:pt x="2474" y="162"/>
                  </a:cubicBezTo>
                  <a:cubicBezTo>
                    <a:pt x="2480" y="162"/>
                    <a:pt x="2485" y="157"/>
                    <a:pt x="2485" y="151"/>
                  </a:cubicBezTo>
                  <a:cubicBezTo>
                    <a:pt x="2485" y="146"/>
                    <a:pt x="2480" y="141"/>
                    <a:pt x="2474" y="141"/>
                  </a:cubicBezTo>
                  <a:cubicBezTo>
                    <a:pt x="2474" y="141"/>
                    <a:pt x="2474" y="141"/>
                    <a:pt x="2474" y="141"/>
                  </a:cubicBezTo>
                  <a:moveTo>
                    <a:pt x="2505" y="141"/>
                  </a:moveTo>
                  <a:cubicBezTo>
                    <a:pt x="2499" y="141"/>
                    <a:pt x="2494" y="146"/>
                    <a:pt x="2494" y="151"/>
                  </a:cubicBezTo>
                  <a:cubicBezTo>
                    <a:pt x="2494" y="157"/>
                    <a:pt x="2499" y="161"/>
                    <a:pt x="2505" y="161"/>
                  </a:cubicBezTo>
                  <a:cubicBezTo>
                    <a:pt x="2511" y="161"/>
                    <a:pt x="2516" y="157"/>
                    <a:pt x="2516" y="151"/>
                  </a:cubicBezTo>
                  <a:cubicBezTo>
                    <a:pt x="2516" y="145"/>
                    <a:pt x="2511" y="141"/>
                    <a:pt x="2505" y="141"/>
                  </a:cubicBezTo>
                  <a:cubicBezTo>
                    <a:pt x="2505" y="141"/>
                    <a:pt x="2505" y="141"/>
                    <a:pt x="2505" y="141"/>
                  </a:cubicBezTo>
                  <a:moveTo>
                    <a:pt x="2755" y="138"/>
                  </a:moveTo>
                  <a:cubicBezTo>
                    <a:pt x="2749" y="138"/>
                    <a:pt x="2744" y="143"/>
                    <a:pt x="2745" y="149"/>
                  </a:cubicBezTo>
                  <a:cubicBezTo>
                    <a:pt x="2745" y="154"/>
                    <a:pt x="2750" y="159"/>
                    <a:pt x="2757" y="159"/>
                  </a:cubicBezTo>
                  <a:cubicBezTo>
                    <a:pt x="2763" y="159"/>
                    <a:pt x="2767" y="154"/>
                    <a:pt x="2766" y="148"/>
                  </a:cubicBezTo>
                  <a:cubicBezTo>
                    <a:pt x="2766" y="143"/>
                    <a:pt x="2761" y="138"/>
                    <a:pt x="2755" y="138"/>
                  </a:cubicBezTo>
                  <a:cubicBezTo>
                    <a:pt x="2755" y="138"/>
                    <a:pt x="2755" y="138"/>
                    <a:pt x="2755" y="138"/>
                  </a:cubicBezTo>
                  <a:moveTo>
                    <a:pt x="2785" y="138"/>
                  </a:moveTo>
                  <a:cubicBezTo>
                    <a:pt x="2779" y="138"/>
                    <a:pt x="2775" y="143"/>
                    <a:pt x="2776" y="148"/>
                  </a:cubicBezTo>
                  <a:cubicBezTo>
                    <a:pt x="2776" y="154"/>
                    <a:pt x="2782" y="158"/>
                    <a:pt x="2788" y="158"/>
                  </a:cubicBezTo>
                  <a:cubicBezTo>
                    <a:pt x="2794" y="158"/>
                    <a:pt x="2798" y="154"/>
                    <a:pt x="2797" y="148"/>
                  </a:cubicBezTo>
                  <a:cubicBezTo>
                    <a:pt x="2797" y="142"/>
                    <a:pt x="2791" y="138"/>
                    <a:pt x="2786" y="138"/>
                  </a:cubicBezTo>
                  <a:cubicBezTo>
                    <a:pt x="2786" y="138"/>
                    <a:pt x="2785" y="138"/>
                    <a:pt x="2785" y="138"/>
                  </a:cubicBezTo>
                  <a:moveTo>
                    <a:pt x="2847" y="137"/>
                  </a:moveTo>
                  <a:cubicBezTo>
                    <a:pt x="2841" y="137"/>
                    <a:pt x="2837" y="142"/>
                    <a:pt x="2838" y="148"/>
                  </a:cubicBezTo>
                  <a:cubicBezTo>
                    <a:pt x="2838" y="153"/>
                    <a:pt x="2844" y="158"/>
                    <a:pt x="2850" y="158"/>
                  </a:cubicBezTo>
                  <a:cubicBezTo>
                    <a:pt x="2856" y="158"/>
                    <a:pt x="2860" y="153"/>
                    <a:pt x="2860" y="147"/>
                  </a:cubicBezTo>
                  <a:cubicBezTo>
                    <a:pt x="2859" y="142"/>
                    <a:pt x="2853" y="137"/>
                    <a:pt x="2847" y="137"/>
                  </a:cubicBezTo>
                  <a:cubicBezTo>
                    <a:pt x="2847" y="137"/>
                    <a:pt x="2847" y="137"/>
                    <a:pt x="2847" y="137"/>
                  </a:cubicBezTo>
                  <a:moveTo>
                    <a:pt x="2878" y="137"/>
                  </a:moveTo>
                  <a:cubicBezTo>
                    <a:pt x="2872" y="137"/>
                    <a:pt x="2868" y="142"/>
                    <a:pt x="2869" y="147"/>
                  </a:cubicBezTo>
                  <a:cubicBezTo>
                    <a:pt x="2870" y="153"/>
                    <a:pt x="2875" y="158"/>
                    <a:pt x="2881" y="157"/>
                  </a:cubicBezTo>
                  <a:cubicBezTo>
                    <a:pt x="2887" y="157"/>
                    <a:pt x="2892" y="153"/>
                    <a:pt x="2891" y="147"/>
                  </a:cubicBezTo>
                  <a:cubicBezTo>
                    <a:pt x="2890" y="142"/>
                    <a:pt x="2884" y="137"/>
                    <a:pt x="2879" y="137"/>
                  </a:cubicBezTo>
                  <a:cubicBezTo>
                    <a:pt x="2878" y="137"/>
                    <a:pt x="2878" y="137"/>
                    <a:pt x="2878" y="137"/>
                  </a:cubicBezTo>
                  <a:moveTo>
                    <a:pt x="2909" y="136"/>
                  </a:moveTo>
                  <a:cubicBezTo>
                    <a:pt x="2903" y="136"/>
                    <a:pt x="2899" y="141"/>
                    <a:pt x="2900" y="147"/>
                  </a:cubicBezTo>
                  <a:cubicBezTo>
                    <a:pt x="2900" y="152"/>
                    <a:pt x="2906" y="157"/>
                    <a:pt x="2912" y="157"/>
                  </a:cubicBezTo>
                  <a:cubicBezTo>
                    <a:pt x="2918" y="157"/>
                    <a:pt x="2922" y="152"/>
                    <a:pt x="2921" y="147"/>
                  </a:cubicBezTo>
                  <a:cubicBezTo>
                    <a:pt x="2920" y="141"/>
                    <a:pt x="2915" y="136"/>
                    <a:pt x="2909" y="136"/>
                  </a:cubicBezTo>
                  <a:cubicBezTo>
                    <a:pt x="2909" y="136"/>
                    <a:pt x="2909" y="136"/>
                    <a:pt x="2909" y="136"/>
                  </a:cubicBezTo>
                  <a:moveTo>
                    <a:pt x="2940" y="136"/>
                  </a:moveTo>
                  <a:cubicBezTo>
                    <a:pt x="2934" y="136"/>
                    <a:pt x="2930" y="141"/>
                    <a:pt x="2931" y="146"/>
                  </a:cubicBezTo>
                  <a:cubicBezTo>
                    <a:pt x="2931" y="152"/>
                    <a:pt x="2937" y="157"/>
                    <a:pt x="2943" y="157"/>
                  </a:cubicBezTo>
                  <a:cubicBezTo>
                    <a:pt x="2949" y="157"/>
                    <a:pt x="2953" y="152"/>
                    <a:pt x="2952" y="146"/>
                  </a:cubicBezTo>
                  <a:cubicBezTo>
                    <a:pt x="2951" y="141"/>
                    <a:pt x="2946" y="136"/>
                    <a:pt x="2940" y="136"/>
                  </a:cubicBezTo>
                  <a:cubicBezTo>
                    <a:pt x="2940" y="136"/>
                    <a:pt x="2940" y="136"/>
                    <a:pt x="2940" y="136"/>
                  </a:cubicBezTo>
                  <a:moveTo>
                    <a:pt x="2971" y="136"/>
                  </a:moveTo>
                  <a:cubicBezTo>
                    <a:pt x="2965" y="136"/>
                    <a:pt x="2961" y="141"/>
                    <a:pt x="2961" y="146"/>
                  </a:cubicBezTo>
                  <a:cubicBezTo>
                    <a:pt x="2962" y="152"/>
                    <a:pt x="2968" y="156"/>
                    <a:pt x="2974" y="156"/>
                  </a:cubicBezTo>
                  <a:cubicBezTo>
                    <a:pt x="2980" y="156"/>
                    <a:pt x="2984" y="152"/>
                    <a:pt x="2983" y="146"/>
                  </a:cubicBezTo>
                  <a:cubicBezTo>
                    <a:pt x="2982" y="140"/>
                    <a:pt x="2977" y="136"/>
                    <a:pt x="2971" y="136"/>
                  </a:cubicBezTo>
                  <a:cubicBezTo>
                    <a:pt x="2971" y="136"/>
                    <a:pt x="2971" y="136"/>
                    <a:pt x="2971" y="136"/>
                  </a:cubicBezTo>
                  <a:moveTo>
                    <a:pt x="3001" y="136"/>
                  </a:moveTo>
                  <a:cubicBezTo>
                    <a:pt x="2995" y="136"/>
                    <a:pt x="2991" y="140"/>
                    <a:pt x="2992" y="146"/>
                  </a:cubicBezTo>
                  <a:cubicBezTo>
                    <a:pt x="2993" y="152"/>
                    <a:pt x="2999" y="156"/>
                    <a:pt x="3005" y="156"/>
                  </a:cubicBezTo>
                  <a:cubicBezTo>
                    <a:pt x="3011" y="156"/>
                    <a:pt x="3015" y="151"/>
                    <a:pt x="3014" y="146"/>
                  </a:cubicBezTo>
                  <a:cubicBezTo>
                    <a:pt x="3013" y="140"/>
                    <a:pt x="3007" y="136"/>
                    <a:pt x="3001" y="136"/>
                  </a:cubicBezTo>
                  <a:cubicBezTo>
                    <a:pt x="3001" y="136"/>
                    <a:pt x="3001" y="136"/>
                    <a:pt x="3001" y="136"/>
                  </a:cubicBezTo>
                  <a:moveTo>
                    <a:pt x="3032" y="135"/>
                  </a:moveTo>
                  <a:cubicBezTo>
                    <a:pt x="3026" y="135"/>
                    <a:pt x="3022" y="140"/>
                    <a:pt x="3023" y="146"/>
                  </a:cubicBezTo>
                  <a:cubicBezTo>
                    <a:pt x="3024" y="151"/>
                    <a:pt x="3030" y="156"/>
                    <a:pt x="3036" y="156"/>
                  </a:cubicBezTo>
                  <a:cubicBezTo>
                    <a:pt x="3042" y="156"/>
                    <a:pt x="3046" y="151"/>
                    <a:pt x="3045" y="145"/>
                  </a:cubicBezTo>
                  <a:cubicBezTo>
                    <a:pt x="3044" y="140"/>
                    <a:pt x="3038" y="135"/>
                    <a:pt x="3032" y="135"/>
                  </a:cubicBezTo>
                  <a:cubicBezTo>
                    <a:pt x="3032" y="135"/>
                    <a:pt x="3032" y="135"/>
                    <a:pt x="3032" y="135"/>
                  </a:cubicBezTo>
                  <a:moveTo>
                    <a:pt x="3063" y="135"/>
                  </a:moveTo>
                  <a:cubicBezTo>
                    <a:pt x="3057" y="135"/>
                    <a:pt x="3053" y="140"/>
                    <a:pt x="3054" y="145"/>
                  </a:cubicBezTo>
                  <a:cubicBezTo>
                    <a:pt x="3056" y="151"/>
                    <a:pt x="3061" y="156"/>
                    <a:pt x="3067" y="155"/>
                  </a:cubicBezTo>
                  <a:cubicBezTo>
                    <a:pt x="3074" y="155"/>
                    <a:pt x="3077" y="151"/>
                    <a:pt x="3076" y="145"/>
                  </a:cubicBezTo>
                  <a:cubicBezTo>
                    <a:pt x="3075" y="139"/>
                    <a:pt x="3069" y="135"/>
                    <a:pt x="3063" y="135"/>
                  </a:cubicBezTo>
                  <a:cubicBezTo>
                    <a:pt x="3063" y="135"/>
                    <a:pt x="3063" y="135"/>
                    <a:pt x="3063" y="135"/>
                  </a:cubicBezTo>
                  <a:moveTo>
                    <a:pt x="3094" y="135"/>
                  </a:moveTo>
                  <a:cubicBezTo>
                    <a:pt x="3088" y="135"/>
                    <a:pt x="3085" y="139"/>
                    <a:pt x="3086" y="145"/>
                  </a:cubicBezTo>
                  <a:cubicBezTo>
                    <a:pt x="3087" y="151"/>
                    <a:pt x="3093" y="155"/>
                    <a:pt x="3099" y="155"/>
                  </a:cubicBezTo>
                  <a:cubicBezTo>
                    <a:pt x="3105" y="155"/>
                    <a:pt x="3109" y="150"/>
                    <a:pt x="3108" y="145"/>
                  </a:cubicBezTo>
                  <a:cubicBezTo>
                    <a:pt x="3106" y="139"/>
                    <a:pt x="3100" y="135"/>
                    <a:pt x="3095" y="135"/>
                  </a:cubicBezTo>
                  <a:cubicBezTo>
                    <a:pt x="3094" y="135"/>
                    <a:pt x="3094" y="135"/>
                    <a:pt x="3094" y="135"/>
                  </a:cubicBezTo>
                  <a:moveTo>
                    <a:pt x="3125" y="134"/>
                  </a:moveTo>
                  <a:cubicBezTo>
                    <a:pt x="3119" y="134"/>
                    <a:pt x="3115" y="139"/>
                    <a:pt x="3117" y="145"/>
                  </a:cubicBezTo>
                  <a:cubicBezTo>
                    <a:pt x="3118" y="150"/>
                    <a:pt x="3124" y="155"/>
                    <a:pt x="3130" y="155"/>
                  </a:cubicBezTo>
                  <a:cubicBezTo>
                    <a:pt x="3136" y="155"/>
                    <a:pt x="3140" y="150"/>
                    <a:pt x="3139" y="145"/>
                  </a:cubicBezTo>
                  <a:cubicBezTo>
                    <a:pt x="3137" y="139"/>
                    <a:pt x="3131" y="134"/>
                    <a:pt x="3125" y="134"/>
                  </a:cubicBezTo>
                  <a:cubicBezTo>
                    <a:pt x="3125" y="134"/>
                    <a:pt x="3125" y="134"/>
                    <a:pt x="3125" y="134"/>
                  </a:cubicBezTo>
                  <a:moveTo>
                    <a:pt x="3156" y="134"/>
                  </a:moveTo>
                  <a:cubicBezTo>
                    <a:pt x="3150" y="134"/>
                    <a:pt x="3147" y="139"/>
                    <a:pt x="3148" y="144"/>
                  </a:cubicBezTo>
                  <a:cubicBezTo>
                    <a:pt x="3149" y="150"/>
                    <a:pt x="3155" y="155"/>
                    <a:pt x="3161" y="155"/>
                  </a:cubicBezTo>
                  <a:cubicBezTo>
                    <a:pt x="3167" y="155"/>
                    <a:pt x="3171" y="150"/>
                    <a:pt x="3170" y="144"/>
                  </a:cubicBezTo>
                  <a:cubicBezTo>
                    <a:pt x="3168" y="139"/>
                    <a:pt x="3162" y="134"/>
                    <a:pt x="3156" y="134"/>
                  </a:cubicBezTo>
                  <a:cubicBezTo>
                    <a:pt x="3156" y="134"/>
                    <a:pt x="3156" y="134"/>
                    <a:pt x="3156" y="134"/>
                  </a:cubicBezTo>
                  <a:moveTo>
                    <a:pt x="3187" y="134"/>
                  </a:moveTo>
                  <a:cubicBezTo>
                    <a:pt x="3181" y="134"/>
                    <a:pt x="3177" y="138"/>
                    <a:pt x="3179" y="144"/>
                  </a:cubicBezTo>
                  <a:cubicBezTo>
                    <a:pt x="3180" y="150"/>
                    <a:pt x="3186" y="154"/>
                    <a:pt x="3192" y="154"/>
                  </a:cubicBezTo>
                  <a:cubicBezTo>
                    <a:pt x="3198" y="154"/>
                    <a:pt x="3202" y="150"/>
                    <a:pt x="3201" y="144"/>
                  </a:cubicBezTo>
                  <a:cubicBezTo>
                    <a:pt x="3199" y="138"/>
                    <a:pt x="3193" y="134"/>
                    <a:pt x="3187" y="134"/>
                  </a:cubicBezTo>
                  <a:cubicBezTo>
                    <a:pt x="3187" y="134"/>
                    <a:pt x="3187" y="134"/>
                    <a:pt x="3187" y="134"/>
                  </a:cubicBezTo>
                  <a:moveTo>
                    <a:pt x="3218" y="133"/>
                  </a:moveTo>
                  <a:cubicBezTo>
                    <a:pt x="3212" y="134"/>
                    <a:pt x="3209" y="138"/>
                    <a:pt x="3210" y="144"/>
                  </a:cubicBezTo>
                  <a:cubicBezTo>
                    <a:pt x="3212" y="150"/>
                    <a:pt x="3218" y="154"/>
                    <a:pt x="3224" y="154"/>
                  </a:cubicBezTo>
                  <a:cubicBezTo>
                    <a:pt x="3230" y="154"/>
                    <a:pt x="3233" y="149"/>
                    <a:pt x="3232" y="144"/>
                  </a:cubicBezTo>
                  <a:cubicBezTo>
                    <a:pt x="3230" y="138"/>
                    <a:pt x="3224" y="133"/>
                    <a:pt x="3218" y="133"/>
                  </a:cubicBezTo>
                  <a:cubicBezTo>
                    <a:pt x="3218" y="133"/>
                    <a:pt x="3218" y="133"/>
                    <a:pt x="3218" y="133"/>
                  </a:cubicBezTo>
                  <a:moveTo>
                    <a:pt x="3250" y="133"/>
                  </a:moveTo>
                  <a:cubicBezTo>
                    <a:pt x="3244" y="133"/>
                    <a:pt x="3241" y="138"/>
                    <a:pt x="3242" y="144"/>
                  </a:cubicBezTo>
                  <a:cubicBezTo>
                    <a:pt x="3244" y="149"/>
                    <a:pt x="3250" y="154"/>
                    <a:pt x="3256" y="154"/>
                  </a:cubicBezTo>
                  <a:cubicBezTo>
                    <a:pt x="3262" y="154"/>
                    <a:pt x="3266" y="149"/>
                    <a:pt x="3264" y="143"/>
                  </a:cubicBezTo>
                  <a:cubicBezTo>
                    <a:pt x="3263" y="138"/>
                    <a:pt x="3256" y="133"/>
                    <a:pt x="3250" y="133"/>
                  </a:cubicBezTo>
                  <a:cubicBezTo>
                    <a:pt x="3250" y="133"/>
                    <a:pt x="3250" y="133"/>
                    <a:pt x="3250" y="133"/>
                  </a:cubicBezTo>
                  <a:moveTo>
                    <a:pt x="3281" y="133"/>
                  </a:moveTo>
                  <a:cubicBezTo>
                    <a:pt x="3275" y="133"/>
                    <a:pt x="3272" y="138"/>
                    <a:pt x="3273" y="143"/>
                  </a:cubicBezTo>
                  <a:cubicBezTo>
                    <a:pt x="3275" y="149"/>
                    <a:pt x="3281" y="153"/>
                    <a:pt x="3287" y="153"/>
                  </a:cubicBezTo>
                  <a:cubicBezTo>
                    <a:pt x="3293" y="153"/>
                    <a:pt x="3297" y="149"/>
                    <a:pt x="3295" y="143"/>
                  </a:cubicBezTo>
                  <a:cubicBezTo>
                    <a:pt x="3293" y="137"/>
                    <a:pt x="3287" y="133"/>
                    <a:pt x="3281" y="133"/>
                  </a:cubicBezTo>
                  <a:cubicBezTo>
                    <a:pt x="3281" y="133"/>
                    <a:pt x="3281" y="133"/>
                    <a:pt x="3281" y="133"/>
                  </a:cubicBezTo>
                  <a:moveTo>
                    <a:pt x="3312" y="133"/>
                  </a:moveTo>
                  <a:cubicBezTo>
                    <a:pt x="3306" y="133"/>
                    <a:pt x="3302" y="137"/>
                    <a:pt x="3304" y="143"/>
                  </a:cubicBezTo>
                  <a:cubicBezTo>
                    <a:pt x="3306" y="149"/>
                    <a:pt x="3312" y="153"/>
                    <a:pt x="3318" y="153"/>
                  </a:cubicBezTo>
                  <a:cubicBezTo>
                    <a:pt x="3324" y="153"/>
                    <a:pt x="3328" y="148"/>
                    <a:pt x="3326" y="143"/>
                  </a:cubicBezTo>
                  <a:cubicBezTo>
                    <a:pt x="3324" y="137"/>
                    <a:pt x="3318" y="133"/>
                    <a:pt x="3312" y="133"/>
                  </a:cubicBezTo>
                  <a:cubicBezTo>
                    <a:pt x="3312" y="133"/>
                    <a:pt x="3312" y="133"/>
                    <a:pt x="3312" y="133"/>
                  </a:cubicBezTo>
                  <a:moveTo>
                    <a:pt x="3343" y="132"/>
                  </a:moveTo>
                  <a:cubicBezTo>
                    <a:pt x="3337" y="132"/>
                    <a:pt x="3333" y="137"/>
                    <a:pt x="3335" y="143"/>
                  </a:cubicBezTo>
                  <a:cubicBezTo>
                    <a:pt x="3337" y="148"/>
                    <a:pt x="3343" y="153"/>
                    <a:pt x="3349" y="153"/>
                  </a:cubicBezTo>
                  <a:cubicBezTo>
                    <a:pt x="3355" y="153"/>
                    <a:pt x="3359" y="148"/>
                    <a:pt x="3357" y="142"/>
                  </a:cubicBezTo>
                  <a:cubicBezTo>
                    <a:pt x="3355" y="137"/>
                    <a:pt x="3349" y="132"/>
                    <a:pt x="3343" y="132"/>
                  </a:cubicBezTo>
                  <a:cubicBezTo>
                    <a:pt x="3343" y="132"/>
                    <a:pt x="3343" y="132"/>
                    <a:pt x="3343" y="132"/>
                  </a:cubicBezTo>
                  <a:moveTo>
                    <a:pt x="3374" y="132"/>
                  </a:moveTo>
                  <a:cubicBezTo>
                    <a:pt x="3368" y="132"/>
                    <a:pt x="3364" y="137"/>
                    <a:pt x="3366" y="142"/>
                  </a:cubicBezTo>
                  <a:cubicBezTo>
                    <a:pt x="3368" y="148"/>
                    <a:pt x="3374" y="153"/>
                    <a:pt x="3380" y="153"/>
                  </a:cubicBezTo>
                  <a:cubicBezTo>
                    <a:pt x="3386" y="153"/>
                    <a:pt x="3390" y="148"/>
                    <a:pt x="3388" y="142"/>
                  </a:cubicBezTo>
                  <a:cubicBezTo>
                    <a:pt x="3386" y="137"/>
                    <a:pt x="3380" y="132"/>
                    <a:pt x="3374" y="132"/>
                  </a:cubicBezTo>
                  <a:cubicBezTo>
                    <a:pt x="3374" y="132"/>
                    <a:pt x="3374" y="132"/>
                    <a:pt x="3374" y="132"/>
                  </a:cubicBezTo>
                  <a:moveTo>
                    <a:pt x="3405" y="132"/>
                  </a:moveTo>
                  <a:cubicBezTo>
                    <a:pt x="3399" y="132"/>
                    <a:pt x="3396" y="136"/>
                    <a:pt x="3398" y="142"/>
                  </a:cubicBezTo>
                  <a:cubicBezTo>
                    <a:pt x="3399" y="148"/>
                    <a:pt x="3406" y="152"/>
                    <a:pt x="3412" y="152"/>
                  </a:cubicBezTo>
                  <a:cubicBezTo>
                    <a:pt x="3418" y="152"/>
                    <a:pt x="3421" y="148"/>
                    <a:pt x="3419" y="142"/>
                  </a:cubicBezTo>
                  <a:cubicBezTo>
                    <a:pt x="3417" y="136"/>
                    <a:pt x="3411" y="132"/>
                    <a:pt x="3405" y="132"/>
                  </a:cubicBezTo>
                  <a:cubicBezTo>
                    <a:pt x="3405" y="132"/>
                    <a:pt x="3405" y="132"/>
                    <a:pt x="3405" y="132"/>
                  </a:cubicBezTo>
                  <a:moveTo>
                    <a:pt x="3436" y="131"/>
                  </a:moveTo>
                  <a:cubicBezTo>
                    <a:pt x="3430" y="132"/>
                    <a:pt x="3426" y="136"/>
                    <a:pt x="3428" y="142"/>
                  </a:cubicBezTo>
                  <a:cubicBezTo>
                    <a:pt x="3430" y="147"/>
                    <a:pt x="3437" y="152"/>
                    <a:pt x="3443" y="152"/>
                  </a:cubicBezTo>
                  <a:cubicBezTo>
                    <a:pt x="3449" y="152"/>
                    <a:pt x="3452" y="147"/>
                    <a:pt x="3450" y="142"/>
                  </a:cubicBezTo>
                  <a:cubicBezTo>
                    <a:pt x="3448" y="136"/>
                    <a:pt x="3442" y="131"/>
                    <a:pt x="3436" y="131"/>
                  </a:cubicBezTo>
                  <a:cubicBezTo>
                    <a:pt x="3436" y="131"/>
                    <a:pt x="3436" y="131"/>
                    <a:pt x="3436" y="131"/>
                  </a:cubicBezTo>
                  <a:moveTo>
                    <a:pt x="3467" y="131"/>
                  </a:moveTo>
                  <a:cubicBezTo>
                    <a:pt x="3461" y="131"/>
                    <a:pt x="3457" y="136"/>
                    <a:pt x="3460" y="142"/>
                  </a:cubicBezTo>
                  <a:cubicBezTo>
                    <a:pt x="3462" y="147"/>
                    <a:pt x="3468" y="152"/>
                    <a:pt x="3474" y="152"/>
                  </a:cubicBezTo>
                  <a:cubicBezTo>
                    <a:pt x="3480" y="152"/>
                    <a:pt x="3483" y="147"/>
                    <a:pt x="3481" y="141"/>
                  </a:cubicBezTo>
                  <a:cubicBezTo>
                    <a:pt x="3479" y="136"/>
                    <a:pt x="3473" y="131"/>
                    <a:pt x="3467" y="131"/>
                  </a:cubicBezTo>
                  <a:cubicBezTo>
                    <a:pt x="3467" y="131"/>
                    <a:pt x="3467" y="131"/>
                    <a:pt x="3467" y="131"/>
                  </a:cubicBezTo>
                  <a:moveTo>
                    <a:pt x="3497" y="131"/>
                  </a:moveTo>
                  <a:cubicBezTo>
                    <a:pt x="3491" y="131"/>
                    <a:pt x="3488" y="136"/>
                    <a:pt x="3490" y="141"/>
                  </a:cubicBezTo>
                  <a:cubicBezTo>
                    <a:pt x="3493" y="147"/>
                    <a:pt x="3499" y="151"/>
                    <a:pt x="3505" y="151"/>
                  </a:cubicBezTo>
                  <a:cubicBezTo>
                    <a:pt x="3511" y="151"/>
                    <a:pt x="3514" y="147"/>
                    <a:pt x="3512" y="141"/>
                  </a:cubicBezTo>
                  <a:cubicBezTo>
                    <a:pt x="3510" y="135"/>
                    <a:pt x="3503" y="131"/>
                    <a:pt x="3497" y="131"/>
                  </a:cubicBezTo>
                  <a:cubicBezTo>
                    <a:pt x="3497" y="131"/>
                    <a:pt x="3497" y="131"/>
                    <a:pt x="3497" y="131"/>
                  </a:cubicBezTo>
                  <a:moveTo>
                    <a:pt x="3528" y="131"/>
                  </a:moveTo>
                  <a:cubicBezTo>
                    <a:pt x="3522" y="131"/>
                    <a:pt x="3519" y="135"/>
                    <a:pt x="3522" y="141"/>
                  </a:cubicBezTo>
                  <a:cubicBezTo>
                    <a:pt x="3524" y="147"/>
                    <a:pt x="3530" y="151"/>
                    <a:pt x="3537" y="151"/>
                  </a:cubicBezTo>
                  <a:cubicBezTo>
                    <a:pt x="3543" y="151"/>
                    <a:pt x="3546" y="146"/>
                    <a:pt x="3543" y="141"/>
                  </a:cubicBezTo>
                  <a:cubicBezTo>
                    <a:pt x="3541" y="135"/>
                    <a:pt x="3535" y="131"/>
                    <a:pt x="3529" y="131"/>
                  </a:cubicBezTo>
                  <a:cubicBezTo>
                    <a:pt x="3529" y="131"/>
                    <a:pt x="3528" y="131"/>
                    <a:pt x="3528" y="131"/>
                  </a:cubicBezTo>
                  <a:moveTo>
                    <a:pt x="3561" y="130"/>
                  </a:moveTo>
                  <a:cubicBezTo>
                    <a:pt x="3555" y="130"/>
                    <a:pt x="3552" y="135"/>
                    <a:pt x="3555" y="141"/>
                  </a:cubicBezTo>
                  <a:cubicBezTo>
                    <a:pt x="3557" y="146"/>
                    <a:pt x="3564" y="151"/>
                    <a:pt x="3570" y="151"/>
                  </a:cubicBezTo>
                  <a:cubicBezTo>
                    <a:pt x="3576" y="151"/>
                    <a:pt x="3579" y="146"/>
                    <a:pt x="3576" y="140"/>
                  </a:cubicBezTo>
                  <a:cubicBezTo>
                    <a:pt x="3574" y="135"/>
                    <a:pt x="3567" y="130"/>
                    <a:pt x="3561" y="130"/>
                  </a:cubicBezTo>
                  <a:cubicBezTo>
                    <a:pt x="3561" y="130"/>
                    <a:pt x="3561" y="130"/>
                    <a:pt x="3561" y="130"/>
                  </a:cubicBezTo>
                  <a:moveTo>
                    <a:pt x="3592" y="130"/>
                  </a:moveTo>
                  <a:cubicBezTo>
                    <a:pt x="3586" y="130"/>
                    <a:pt x="3583" y="135"/>
                    <a:pt x="3585" y="140"/>
                  </a:cubicBezTo>
                  <a:cubicBezTo>
                    <a:pt x="3588" y="146"/>
                    <a:pt x="3594" y="151"/>
                    <a:pt x="3600" y="151"/>
                  </a:cubicBezTo>
                  <a:cubicBezTo>
                    <a:pt x="3606" y="150"/>
                    <a:pt x="3609" y="146"/>
                    <a:pt x="3607" y="140"/>
                  </a:cubicBezTo>
                  <a:cubicBezTo>
                    <a:pt x="3605" y="135"/>
                    <a:pt x="3598" y="130"/>
                    <a:pt x="3592" y="130"/>
                  </a:cubicBezTo>
                  <a:cubicBezTo>
                    <a:pt x="3592" y="130"/>
                    <a:pt x="3592" y="130"/>
                    <a:pt x="3592" y="130"/>
                  </a:cubicBezTo>
                  <a:moveTo>
                    <a:pt x="3623" y="130"/>
                  </a:moveTo>
                  <a:cubicBezTo>
                    <a:pt x="3617" y="130"/>
                    <a:pt x="3614" y="134"/>
                    <a:pt x="3616" y="140"/>
                  </a:cubicBezTo>
                  <a:cubicBezTo>
                    <a:pt x="3619" y="146"/>
                    <a:pt x="3625" y="150"/>
                    <a:pt x="3631" y="150"/>
                  </a:cubicBezTo>
                  <a:cubicBezTo>
                    <a:pt x="3637" y="150"/>
                    <a:pt x="3640" y="146"/>
                    <a:pt x="3638" y="140"/>
                  </a:cubicBezTo>
                  <a:cubicBezTo>
                    <a:pt x="3635" y="134"/>
                    <a:pt x="3629" y="130"/>
                    <a:pt x="3623" y="130"/>
                  </a:cubicBezTo>
                  <a:cubicBezTo>
                    <a:pt x="3623" y="130"/>
                    <a:pt x="3623" y="130"/>
                    <a:pt x="3623" y="130"/>
                  </a:cubicBezTo>
                  <a:moveTo>
                    <a:pt x="3654" y="129"/>
                  </a:moveTo>
                  <a:cubicBezTo>
                    <a:pt x="3648" y="129"/>
                    <a:pt x="3645" y="134"/>
                    <a:pt x="3647" y="140"/>
                  </a:cubicBezTo>
                  <a:cubicBezTo>
                    <a:pt x="3650" y="145"/>
                    <a:pt x="3657" y="150"/>
                    <a:pt x="3663" y="150"/>
                  </a:cubicBezTo>
                  <a:cubicBezTo>
                    <a:pt x="3669" y="150"/>
                    <a:pt x="3672" y="145"/>
                    <a:pt x="3669" y="140"/>
                  </a:cubicBezTo>
                  <a:cubicBezTo>
                    <a:pt x="3667" y="134"/>
                    <a:pt x="3660" y="129"/>
                    <a:pt x="3654" y="129"/>
                  </a:cubicBezTo>
                  <a:cubicBezTo>
                    <a:pt x="3654" y="129"/>
                    <a:pt x="3654" y="129"/>
                    <a:pt x="3654" y="129"/>
                  </a:cubicBezTo>
                  <a:moveTo>
                    <a:pt x="3685" y="129"/>
                  </a:moveTo>
                  <a:cubicBezTo>
                    <a:pt x="3679" y="129"/>
                    <a:pt x="3676" y="134"/>
                    <a:pt x="3679" y="139"/>
                  </a:cubicBezTo>
                  <a:cubicBezTo>
                    <a:pt x="3681" y="145"/>
                    <a:pt x="3688" y="150"/>
                    <a:pt x="3694" y="150"/>
                  </a:cubicBezTo>
                  <a:cubicBezTo>
                    <a:pt x="3700" y="150"/>
                    <a:pt x="3703" y="145"/>
                    <a:pt x="3700" y="139"/>
                  </a:cubicBezTo>
                  <a:cubicBezTo>
                    <a:pt x="3698" y="134"/>
                    <a:pt x="3691" y="129"/>
                    <a:pt x="3685" y="129"/>
                  </a:cubicBezTo>
                  <a:cubicBezTo>
                    <a:pt x="3685" y="129"/>
                    <a:pt x="3685" y="129"/>
                    <a:pt x="3685" y="129"/>
                  </a:cubicBezTo>
                  <a:moveTo>
                    <a:pt x="3716" y="129"/>
                  </a:moveTo>
                  <a:cubicBezTo>
                    <a:pt x="3710" y="129"/>
                    <a:pt x="3707" y="134"/>
                    <a:pt x="3710" y="139"/>
                  </a:cubicBezTo>
                  <a:cubicBezTo>
                    <a:pt x="3712" y="145"/>
                    <a:pt x="3719" y="149"/>
                    <a:pt x="3725" y="149"/>
                  </a:cubicBezTo>
                  <a:cubicBezTo>
                    <a:pt x="3731" y="149"/>
                    <a:pt x="3734" y="145"/>
                    <a:pt x="3731" y="139"/>
                  </a:cubicBezTo>
                  <a:cubicBezTo>
                    <a:pt x="3729" y="133"/>
                    <a:pt x="3722" y="129"/>
                    <a:pt x="3716" y="129"/>
                  </a:cubicBezTo>
                  <a:cubicBezTo>
                    <a:pt x="3716" y="129"/>
                    <a:pt x="3716" y="129"/>
                    <a:pt x="3716" y="129"/>
                  </a:cubicBezTo>
                  <a:moveTo>
                    <a:pt x="3747" y="129"/>
                  </a:moveTo>
                  <a:cubicBezTo>
                    <a:pt x="3741" y="129"/>
                    <a:pt x="3738" y="133"/>
                    <a:pt x="3741" y="139"/>
                  </a:cubicBezTo>
                  <a:cubicBezTo>
                    <a:pt x="3743" y="145"/>
                    <a:pt x="3750" y="149"/>
                    <a:pt x="3756" y="149"/>
                  </a:cubicBezTo>
                  <a:cubicBezTo>
                    <a:pt x="3762" y="149"/>
                    <a:pt x="3765" y="144"/>
                    <a:pt x="3762" y="139"/>
                  </a:cubicBezTo>
                  <a:cubicBezTo>
                    <a:pt x="3760" y="133"/>
                    <a:pt x="3753" y="129"/>
                    <a:pt x="3747" y="129"/>
                  </a:cubicBezTo>
                  <a:cubicBezTo>
                    <a:pt x="3747" y="129"/>
                    <a:pt x="3747" y="129"/>
                    <a:pt x="3747" y="129"/>
                  </a:cubicBezTo>
                  <a:moveTo>
                    <a:pt x="3777" y="128"/>
                  </a:moveTo>
                  <a:cubicBezTo>
                    <a:pt x="3771" y="128"/>
                    <a:pt x="3769" y="133"/>
                    <a:pt x="3772" y="139"/>
                  </a:cubicBezTo>
                  <a:cubicBezTo>
                    <a:pt x="3774" y="144"/>
                    <a:pt x="3781" y="149"/>
                    <a:pt x="3787" y="149"/>
                  </a:cubicBezTo>
                  <a:cubicBezTo>
                    <a:pt x="3793" y="149"/>
                    <a:pt x="3796" y="144"/>
                    <a:pt x="3793" y="138"/>
                  </a:cubicBezTo>
                  <a:cubicBezTo>
                    <a:pt x="3790" y="133"/>
                    <a:pt x="3783" y="128"/>
                    <a:pt x="3777" y="128"/>
                  </a:cubicBezTo>
                  <a:cubicBezTo>
                    <a:pt x="3777" y="128"/>
                    <a:pt x="3777" y="128"/>
                    <a:pt x="3777" y="128"/>
                  </a:cubicBezTo>
                  <a:moveTo>
                    <a:pt x="3808" y="128"/>
                  </a:moveTo>
                  <a:cubicBezTo>
                    <a:pt x="3802" y="128"/>
                    <a:pt x="3800" y="133"/>
                    <a:pt x="3803" y="138"/>
                  </a:cubicBezTo>
                  <a:cubicBezTo>
                    <a:pt x="3805" y="144"/>
                    <a:pt x="3813" y="149"/>
                    <a:pt x="3819" y="149"/>
                  </a:cubicBezTo>
                  <a:cubicBezTo>
                    <a:pt x="3825" y="148"/>
                    <a:pt x="3827" y="144"/>
                    <a:pt x="3824" y="138"/>
                  </a:cubicBezTo>
                  <a:cubicBezTo>
                    <a:pt x="3822" y="132"/>
                    <a:pt x="3814" y="128"/>
                    <a:pt x="3808" y="128"/>
                  </a:cubicBezTo>
                  <a:cubicBezTo>
                    <a:pt x="3808" y="128"/>
                    <a:pt x="3808" y="128"/>
                    <a:pt x="3808" y="128"/>
                  </a:cubicBezTo>
                  <a:moveTo>
                    <a:pt x="3839" y="128"/>
                  </a:moveTo>
                  <a:cubicBezTo>
                    <a:pt x="3833" y="128"/>
                    <a:pt x="3830" y="132"/>
                    <a:pt x="3833" y="138"/>
                  </a:cubicBezTo>
                  <a:cubicBezTo>
                    <a:pt x="3836" y="144"/>
                    <a:pt x="3843" y="148"/>
                    <a:pt x="3849" y="148"/>
                  </a:cubicBezTo>
                  <a:cubicBezTo>
                    <a:pt x="3855" y="148"/>
                    <a:pt x="3858" y="144"/>
                    <a:pt x="3855" y="138"/>
                  </a:cubicBezTo>
                  <a:cubicBezTo>
                    <a:pt x="3852" y="132"/>
                    <a:pt x="3845" y="128"/>
                    <a:pt x="3839" y="128"/>
                  </a:cubicBezTo>
                  <a:cubicBezTo>
                    <a:pt x="3839" y="128"/>
                    <a:pt x="3839" y="128"/>
                    <a:pt x="3839" y="128"/>
                  </a:cubicBezTo>
                  <a:moveTo>
                    <a:pt x="3870" y="127"/>
                  </a:moveTo>
                  <a:cubicBezTo>
                    <a:pt x="3864" y="127"/>
                    <a:pt x="3861" y="132"/>
                    <a:pt x="3864" y="138"/>
                  </a:cubicBezTo>
                  <a:cubicBezTo>
                    <a:pt x="3867" y="143"/>
                    <a:pt x="3875" y="148"/>
                    <a:pt x="3881" y="148"/>
                  </a:cubicBezTo>
                  <a:cubicBezTo>
                    <a:pt x="3887" y="148"/>
                    <a:pt x="3889" y="143"/>
                    <a:pt x="3886" y="138"/>
                  </a:cubicBezTo>
                  <a:cubicBezTo>
                    <a:pt x="3883" y="132"/>
                    <a:pt x="3876" y="127"/>
                    <a:pt x="3870" y="127"/>
                  </a:cubicBezTo>
                  <a:cubicBezTo>
                    <a:pt x="3870" y="127"/>
                    <a:pt x="3870" y="127"/>
                    <a:pt x="3870" y="127"/>
                  </a:cubicBezTo>
                  <a:moveTo>
                    <a:pt x="3901" y="127"/>
                  </a:moveTo>
                  <a:cubicBezTo>
                    <a:pt x="3895" y="127"/>
                    <a:pt x="3893" y="132"/>
                    <a:pt x="3896" y="137"/>
                  </a:cubicBezTo>
                  <a:cubicBezTo>
                    <a:pt x="3899" y="143"/>
                    <a:pt x="3906" y="148"/>
                    <a:pt x="3912" y="148"/>
                  </a:cubicBezTo>
                  <a:cubicBezTo>
                    <a:pt x="3918" y="148"/>
                    <a:pt x="3921" y="143"/>
                    <a:pt x="3918" y="137"/>
                  </a:cubicBezTo>
                  <a:cubicBezTo>
                    <a:pt x="3914" y="132"/>
                    <a:pt x="3907" y="127"/>
                    <a:pt x="3901" y="127"/>
                  </a:cubicBezTo>
                  <a:cubicBezTo>
                    <a:pt x="3901" y="127"/>
                    <a:pt x="3901" y="127"/>
                    <a:pt x="3901" y="127"/>
                  </a:cubicBezTo>
                  <a:moveTo>
                    <a:pt x="3932" y="127"/>
                  </a:moveTo>
                  <a:cubicBezTo>
                    <a:pt x="3926" y="127"/>
                    <a:pt x="3924" y="131"/>
                    <a:pt x="3927" y="137"/>
                  </a:cubicBezTo>
                  <a:cubicBezTo>
                    <a:pt x="3930" y="143"/>
                    <a:pt x="3937" y="147"/>
                    <a:pt x="3943" y="147"/>
                  </a:cubicBezTo>
                  <a:cubicBezTo>
                    <a:pt x="3949" y="147"/>
                    <a:pt x="3951" y="143"/>
                    <a:pt x="3948" y="137"/>
                  </a:cubicBezTo>
                  <a:cubicBezTo>
                    <a:pt x="3945" y="131"/>
                    <a:pt x="3938" y="127"/>
                    <a:pt x="3932" y="127"/>
                  </a:cubicBezTo>
                  <a:cubicBezTo>
                    <a:pt x="3932" y="127"/>
                    <a:pt x="3932" y="127"/>
                    <a:pt x="3932" y="127"/>
                  </a:cubicBezTo>
                  <a:moveTo>
                    <a:pt x="3963" y="126"/>
                  </a:moveTo>
                  <a:cubicBezTo>
                    <a:pt x="3957" y="127"/>
                    <a:pt x="3955" y="131"/>
                    <a:pt x="3958" y="137"/>
                  </a:cubicBezTo>
                  <a:cubicBezTo>
                    <a:pt x="3961" y="143"/>
                    <a:pt x="3968" y="147"/>
                    <a:pt x="3974" y="147"/>
                  </a:cubicBezTo>
                  <a:cubicBezTo>
                    <a:pt x="3980" y="147"/>
                    <a:pt x="3983" y="142"/>
                    <a:pt x="3979" y="137"/>
                  </a:cubicBezTo>
                  <a:cubicBezTo>
                    <a:pt x="3976" y="131"/>
                    <a:pt x="3969" y="126"/>
                    <a:pt x="3963" y="126"/>
                  </a:cubicBezTo>
                  <a:cubicBezTo>
                    <a:pt x="3963" y="126"/>
                    <a:pt x="3963" y="126"/>
                    <a:pt x="3963" y="126"/>
                  </a:cubicBezTo>
                  <a:moveTo>
                    <a:pt x="3993" y="126"/>
                  </a:moveTo>
                  <a:cubicBezTo>
                    <a:pt x="3988" y="126"/>
                    <a:pt x="3985" y="131"/>
                    <a:pt x="3988" y="137"/>
                  </a:cubicBezTo>
                  <a:cubicBezTo>
                    <a:pt x="3992" y="142"/>
                    <a:pt x="3999" y="147"/>
                    <a:pt x="4005" y="147"/>
                  </a:cubicBezTo>
                  <a:cubicBezTo>
                    <a:pt x="4011" y="147"/>
                    <a:pt x="4014" y="142"/>
                    <a:pt x="4010" y="136"/>
                  </a:cubicBezTo>
                  <a:cubicBezTo>
                    <a:pt x="4007" y="131"/>
                    <a:pt x="4000" y="126"/>
                    <a:pt x="3994" y="126"/>
                  </a:cubicBezTo>
                  <a:cubicBezTo>
                    <a:pt x="3994" y="126"/>
                    <a:pt x="3994" y="126"/>
                    <a:pt x="3993" y="126"/>
                  </a:cubicBezTo>
                  <a:moveTo>
                    <a:pt x="997" y="125"/>
                  </a:moveTo>
                  <a:cubicBezTo>
                    <a:pt x="991" y="125"/>
                    <a:pt x="984" y="130"/>
                    <a:pt x="981" y="135"/>
                  </a:cubicBezTo>
                  <a:cubicBezTo>
                    <a:pt x="977" y="141"/>
                    <a:pt x="979" y="145"/>
                    <a:pt x="986" y="145"/>
                  </a:cubicBezTo>
                  <a:cubicBezTo>
                    <a:pt x="992" y="145"/>
                    <a:pt x="999" y="141"/>
                    <a:pt x="1002" y="135"/>
                  </a:cubicBezTo>
                  <a:cubicBezTo>
                    <a:pt x="1006" y="130"/>
                    <a:pt x="1003" y="125"/>
                    <a:pt x="998" y="125"/>
                  </a:cubicBezTo>
                  <a:cubicBezTo>
                    <a:pt x="998" y="125"/>
                    <a:pt x="997" y="125"/>
                    <a:pt x="997" y="125"/>
                  </a:cubicBezTo>
                  <a:moveTo>
                    <a:pt x="1027" y="125"/>
                  </a:moveTo>
                  <a:cubicBezTo>
                    <a:pt x="1021" y="125"/>
                    <a:pt x="1013" y="129"/>
                    <a:pt x="1010" y="135"/>
                  </a:cubicBezTo>
                  <a:cubicBezTo>
                    <a:pt x="1007" y="141"/>
                    <a:pt x="1009" y="145"/>
                    <a:pt x="1015" y="145"/>
                  </a:cubicBezTo>
                  <a:cubicBezTo>
                    <a:pt x="1021" y="145"/>
                    <a:pt x="1028" y="140"/>
                    <a:pt x="1032" y="135"/>
                  </a:cubicBezTo>
                  <a:cubicBezTo>
                    <a:pt x="1035" y="129"/>
                    <a:pt x="1033" y="125"/>
                    <a:pt x="1027" y="125"/>
                  </a:cubicBezTo>
                  <a:cubicBezTo>
                    <a:pt x="1027" y="125"/>
                    <a:pt x="1027" y="125"/>
                    <a:pt x="1027" y="125"/>
                  </a:cubicBezTo>
                  <a:moveTo>
                    <a:pt x="1305" y="125"/>
                  </a:moveTo>
                  <a:cubicBezTo>
                    <a:pt x="1299" y="125"/>
                    <a:pt x="1292" y="129"/>
                    <a:pt x="1289" y="135"/>
                  </a:cubicBezTo>
                  <a:cubicBezTo>
                    <a:pt x="1286" y="141"/>
                    <a:pt x="1289" y="145"/>
                    <a:pt x="1295" y="145"/>
                  </a:cubicBezTo>
                  <a:cubicBezTo>
                    <a:pt x="1301" y="145"/>
                    <a:pt x="1308" y="140"/>
                    <a:pt x="1311" y="135"/>
                  </a:cubicBezTo>
                  <a:cubicBezTo>
                    <a:pt x="1313" y="129"/>
                    <a:pt x="1311" y="125"/>
                    <a:pt x="1305" y="125"/>
                  </a:cubicBezTo>
                  <a:cubicBezTo>
                    <a:pt x="1305" y="125"/>
                    <a:pt x="1305" y="125"/>
                    <a:pt x="1305" y="125"/>
                  </a:cubicBezTo>
                  <a:moveTo>
                    <a:pt x="1336" y="124"/>
                  </a:moveTo>
                  <a:cubicBezTo>
                    <a:pt x="1330" y="125"/>
                    <a:pt x="1323" y="129"/>
                    <a:pt x="1320" y="135"/>
                  </a:cubicBezTo>
                  <a:cubicBezTo>
                    <a:pt x="1318" y="140"/>
                    <a:pt x="1321" y="145"/>
                    <a:pt x="1327" y="145"/>
                  </a:cubicBezTo>
                  <a:cubicBezTo>
                    <a:pt x="1333" y="145"/>
                    <a:pt x="1340" y="140"/>
                    <a:pt x="1342" y="135"/>
                  </a:cubicBezTo>
                  <a:cubicBezTo>
                    <a:pt x="1345" y="129"/>
                    <a:pt x="1342" y="124"/>
                    <a:pt x="1336" y="124"/>
                  </a:cubicBezTo>
                  <a:cubicBezTo>
                    <a:pt x="1336" y="124"/>
                    <a:pt x="1336" y="124"/>
                    <a:pt x="1336" y="124"/>
                  </a:cubicBezTo>
                  <a:moveTo>
                    <a:pt x="1367" y="124"/>
                  </a:moveTo>
                  <a:cubicBezTo>
                    <a:pt x="1361" y="124"/>
                    <a:pt x="1354" y="129"/>
                    <a:pt x="1351" y="134"/>
                  </a:cubicBezTo>
                  <a:cubicBezTo>
                    <a:pt x="1349" y="140"/>
                    <a:pt x="1352" y="145"/>
                    <a:pt x="1358" y="145"/>
                  </a:cubicBezTo>
                  <a:cubicBezTo>
                    <a:pt x="1364" y="144"/>
                    <a:pt x="1370" y="140"/>
                    <a:pt x="1373" y="134"/>
                  </a:cubicBezTo>
                  <a:cubicBezTo>
                    <a:pt x="1375" y="129"/>
                    <a:pt x="1373" y="124"/>
                    <a:pt x="1367" y="124"/>
                  </a:cubicBezTo>
                  <a:cubicBezTo>
                    <a:pt x="1367" y="124"/>
                    <a:pt x="1367" y="124"/>
                    <a:pt x="1367" y="124"/>
                  </a:cubicBezTo>
                  <a:moveTo>
                    <a:pt x="1611" y="120"/>
                  </a:moveTo>
                  <a:cubicBezTo>
                    <a:pt x="1605" y="120"/>
                    <a:pt x="1598" y="125"/>
                    <a:pt x="1597" y="131"/>
                  </a:cubicBezTo>
                  <a:cubicBezTo>
                    <a:pt x="1595" y="136"/>
                    <a:pt x="1598" y="141"/>
                    <a:pt x="1604" y="141"/>
                  </a:cubicBezTo>
                  <a:cubicBezTo>
                    <a:pt x="1610" y="141"/>
                    <a:pt x="1616" y="136"/>
                    <a:pt x="1618" y="130"/>
                  </a:cubicBezTo>
                  <a:cubicBezTo>
                    <a:pt x="1620" y="125"/>
                    <a:pt x="1617" y="120"/>
                    <a:pt x="1611" y="120"/>
                  </a:cubicBezTo>
                  <a:cubicBezTo>
                    <a:pt x="1611" y="120"/>
                    <a:pt x="1611" y="120"/>
                    <a:pt x="1611" y="120"/>
                  </a:cubicBezTo>
                  <a:moveTo>
                    <a:pt x="1642" y="120"/>
                  </a:moveTo>
                  <a:cubicBezTo>
                    <a:pt x="1636" y="120"/>
                    <a:pt x="1630" y="125"/>
                    <a:pt x="1628" y="130"/>
                  </a:cubicBezTo>
                  <a:cubicBezTo>
                    <a:pt x="1626" y="136"/>
                    <a:pt x="1629" y="140"/>
                    <a:pt x="1635" y="140"/>
                  </a:cubicBezTo>
                  <a:cubicBezTo>
                    <a:pt x="1641" y="140"/>
                    <a:pt x="1648" y="136"/>
                    <a:pt x="1649" y="130"/>
                  </a:cubicBezTo>
                  <a:cubicBezTo>
                    <a:pt x="1651" y="125"/>
                    <a:pt x="1648" y="120"/>
                    <a:pt x="1642" y="120"/>
                  </a:cubicBezTo>
                  <a:cubicBezTo>
                    <a:pt x="1642" y="120"/>
                    <a:pt x="1642" y="120"/>
                    <a:pt x="1642" y="120"/>
                  </a:cubicBezTo>
                  <a:moveTo>
                    <a:pt x="1673" y="120"/>
                  </a:moveTo>
                  <a:cubicBezTo>
                    <a:pt x="1667" y="120"/>
                    <a:pt x="1660" y="124"/>
                    <a:pt x="1659" y="130"/>
                  </a:cubicBezTo>
                  <a:cubicBezTo>
                    <a:pt x="1657" y="136"/>
                    <a:pt x="1660" y="140"/>
                    <a:pt x="1666" y="140"/>
                  </a:cubicBezTo>
                  <a:cubicBezTo>
                    <a:pt x="1672" y="140"/>
                    <a:pt x="1678" y="135"/>
                    <a:pt x="1680" y="130"/>
                  </a:cubicBezTo>
                  <a:cubicBezTo>
                    <a:pt x="1682" y="124"/>
                    <a:pt x="1679" y="120"/>
                    <a:pt x="1673" y="120"/>
                  </a:cubicBezTo>
                  <a:cubicBezTo>
                    <a:pt x="1673" y="120"/>
                    <a:pt x="1673" y="120"/>
                    <a:pt x="1673" y="120"/>
                  </a:cubicBezTo>
                  <a:moveTo>
                    <a:pt x="1704" y="119"/>
                  </a:moveTo>
                  <a:cubicBezTo>
                    <a:pt x="1698" y="120"/>
                    <a:pt x="1691" y="124"/>
                    <a:pt x="1689" y="130"/>
                  </a:cubicBezTo>
                  <a:cubicBezTo>
                    <a:pt x="1688" y="135"/>
                    <a:pt x="1691" y="140"/>
                    <a:pt x="1697" y="140"/>
                  </a:cubicBezTo>
                  <a:cubicBezTo>
                    <a:pt x="1703" y="140"/>
                    <a:pt x="1709" y="135"/>
                    <a:pt x="1711" y="130"/>
                  </a:cubicBezTo>
                  <a:cubicBezTo>
                    <a:pt x="1713" y="124"/>
                    <a:pt x="1710" y="119"/>
                    <a:pt x="1704" y="119"/>
                  </a:cubicBezTo>
                  <a:cubicBezTo>
                    <a:pt x="1704" y="119"/>
                    <a:pt x="1704" y="119"/>
                    <a:pt x="1704" y="119"/>
                  </a:cubicBezTo>
                  <a:moveTo>
                    <a:pt x="1734" y="119"/>
                  </a:moveTo>
                  <a:cubicBezTo>
                    <a:pt x="1728" y="119"/>
                    <a:pt x="1722" y="124"/>
                    <a:pt x="1720" y="129"/>
                  </a:cubicBezTo>
                  <a:cubicBezTo>
                    <a:pt x="1719" y="135"/>
                    <a:pt x="1722" y="140"/>
                    <a:pt x="1728" y="140"/>
                  </a:cubicBezTo>
                  <a:cubicBezTo>
                    <a:pt x="1734" y="139"/>
                    <a:pt x="1740" y="135"/>
                    <a:pt x="1742" y="129"/>
                  </a:cubicBezTo>
                  <a:cubicBezTo>
                    <a:pt x="1744" y="124"/>
                    <a:pt x="1740" y="119"/>
                    <a:pt x="1734" y="119"/>
                  </a:cubicBezTo>
                  <a:cubicBezTo>
                    <a:pt x="1734" y="119"/>
                    <a:pt x="1734" y="119"/>
                    <a:pt x="1734" y="119"/>
                  </a:cubicBezTo>
                  <a:moveTo>
                    <a:pt x="1765" y="119"/>
                  </a:moveTo>
                  <a:cubicBezTo>
                    <a:pt x="1759" y="119"/>
                    <a:pt x="1753" y="124"/>
                    <a:pt x="1751" y="129"/>
                  </a:cubicBezTo>
                  <a:cubicBezTo>
                    <a:pt x="1750" y="135"/>
                    <a:pt x="1753" y="139"/>
                    <a:pt x="1759" y="139"/>
                  </a:cubicBezTo>
                  <a:cubicBezTo>
                    <a:pt x="1765" y="139"/>
                    <a:pt x="1771" y="135"/>
                    <a:pt x="1773" y="129"/>
                  </a:cubicBezTo>
                  <a:cubicBezTo>
                    <a:pt x="1774" y="123"/>
                    <a:pt x="1771" y="119"/>
                    <a:pt x="1765" y="119"/>
                  </a:cubicBezTo>
                  <a:cubicBezTo>
                    <a:pt x="1765" y="119"/>
                    <a:pt x="1765" y="119"/>
                    <a:pt x="1765" y="119"/>
                  </a:cubicBezTo>
                  <a:moveTo>
                    <a:pt x="1797" y="119"/>
                  </a:moveTo>
                  <a:cubicBezTo>
                    <a:pt x="1791" y="119"/>
                    <a:pt x="1785" y="123"/>
                    <a:pt x="1783" y="129"/>
                  </a:cubicBezTo>
                  <a:cubicBezTo>
                    <a:pt x="1782" y="134"/>
                    <a:pt x="1785" y="139"/>
                    <a:pt x="1791" y="139"/>
                  </a:cubicBezTo>
                  <a:cubicBezTo>
                    <a:pt x="1797" y="139"/>
                    <a:pt x="1803" y="134"/>
                    <a:pt x="1805" y="129"/>
                  </a:cubicBezTo>
                  <a:cubicBezTo>
                    <a:pt x="1806" y="123"/>
                    <a:pt x="1803" y="119"/>
                    <a:pt x="1797" y="119"/>
                  </a:cubicBezTo>
                  <a:cubicBezTo>
                    <a:pt x="1797" y="119"/>
                    <a:pt x="1797" y="119"/>
                    <a:pt x="1797" y="119"/>
                  </a:cubicBezTo>
                  <a:moveTo>
                    <a:pt x="1827" y="118"/>
                  </a:moveTo>
                  <a:cubicBezTo>
                    <a:pt x="1821" y="118"/>
                    <a:pt x="1815" y="123"/>
                    <a:pt x="1814" y="129"/>
                  </a:cubicBezTo>
                  <a:cubicBezTo>
                    <a:pt x="1812" y="134"/>
                    <a:pt x="1816" y="139"/>
                    <a:pt x="1822" y="139"/>
                  </a:cubicBezTo>
                  <a:cubicBezTo>
                    <a:pt x="1828" y="139"/>
                    <a:pt x="1834" y="134"/>
                    <a:pt x="1836" y="128"/>
                  </a:cubicBezTo>
                  <a:cubicBezTo>
                    <a:pt x="1837" y="123"/>
                    <a:pt x="1833" y="118"/>
                    <a:pt x="1828" y="118"/>
                  </a:cubicBezTo>
                  <a:cubicBezTo>
                    <a:pt x="1828" y="118"/>
                    <a:pt x="1827" y="118"/>
                    <a:pt x="1827" y="118"/>
                  </a:cubicBezTo>
                  <a:moveTo>
                    <a:pt x="1858" y="118"/>
                  </a:moveTo>
                  <a:cubicBezTo>
                    <a:pt x="1852" y="118"/>
                    <a:pt x="1846" y="123"/>
                    <a:pt x="1845" y="128"/>
                  </a:cubicBezTo>
                  <a:cubicBezTo>
                    <a:pt x="1843" y="134"/>
                    <a:pt x="1847" y="138"/>
                    <a:pt x="1853" y="138"/>
                  </a:cubicBezTo>
                  <a:cubicBezTo>
                    <a:pt x="1859" y="138"/>
                    <a:pt x="1865" y="134"/>
                    <a:pt x="1867" y="128"/>
                  </a:cubicBezTo>
                  <a:cubicBezTo>
                    <a:pt x="1868" y="122"/>
                    <a:pt x="1864" y="118"/>
                    <a:pt x="1858" y="118"/>
                  </a:cubicBezTo>
                  <a:cubicBezTo>
                    <a:pt x="1858" y="118"/>
                    <a:pt x="1858" y="118"/>
                    <a:pt x="1858" y="118"/>
                  </a:cubicBezTo>
                  <a:moveTo>
                    <a:pt x="1889" y="118"/>
                  </a:moveTo>
                  <a:cubicBezTo>
                    <a:pt x="1883" y="118"/>
                    <a:pt x="1878" y="122"/>
                    <a:pt x="1876" y="128"/>
                  </a:cubicBezTo>
                  <a:cubicBezTo>
                    <a:pt x="1875" y="134"/>
                    <a:pt x="1879" y="138"/>
                    <a:pt x="1885" y="138"/>
                  </a:cubicBezTo>
                  <a:cubicBezTo>
                    <a:pt x="1891" y="138"/>
                    <a:pt x="1896" y="133"/>
                    <a:pt x="1898" y="128"/>
                  </a:cubicBezTo>
                  <a:cubicBezTo>
                    <a:pt x="1899" y="122"/>
                    <a:pt x="1895" y="118"/>
                    <a:pt x="1890" y="118"/>
                  </a:cubicBezTo>
                  <a:cubicBezTo>
                    <a:pt x="1890" y="118"/>
                    <a:pt x="1889" y="118"/>
                    <a:pt x="1889" y="118"/>
                  </a:cubicBezTo>
                  <a:moveTo>
                    <a:pt x="2813" y="109"/>
                  </a:moveTo>
                  <a:cubicBezTo>
                    <a:pt x="2807" y="109"/>
                    <a:pt x="2803" y="114"/>
                    <a:pt x="2804" y="120"/>
                  </a:cubicBezTo>
                  <a:cubicBezTo>
                    <a:pt x="2804" y="125"/>
                    <a:pt x="2810" y="130"/>
                    <a:pt x="2816" y="130"/>
                  </a:cubicBezTo>
                  <a:cubicBezTo>
                    <a:pt x="2822" y="130"/>
                    <a:pt x="2826" y="125"/>
                    <a:pt x="2825" y="120"/>
                  </a:cubicBezTo>
                  <a:cubicBezTo>
                    <a:pt x="2825" y="114"/>
                    <a:pt x="2819" y="109"/>
                    <a:pt x="2813" y="109"/>
                  </a:cubicBezTo>
                  <a:cubicBezTo>
                    <a:pt x="2813" y="109"/>
                    <a:pt x="2813" y="109"/>
                    <a:pt x="2813" y="109"/>
                  </a:cubicBezTo>
                  <a:moveTo>
                    <a:pt x="2844" y="109"/>
                  </a:moveTo>
                  <a:cubicBezTo>
                    <a:pt x="2838" y="109"/>
                    <a:pt x="2834" y="114"/>
                    <a:pt x="2834" y="119"/>
                  </a:cubicBezTo>
                  <a:cubicBezTo>
                    <a:pt x="2835" y="125"/>
                    <a:pt x="2841" y="130"/>
                    <a:pt x="2847" y="130"/>
                  </a:cubicBezTo>
                  <a:cubicBezTo>
                    <a:pt x="2853" y="130"/>
                    <a:pt x="2857" y="125"/>
                    <a:pt x="2856" y="119"/>
                  </a:cubicBezTo>
                  <a:cubicBezTo>
                    <a:pt x="2855" y="114"/>
                    <a:pt x="2850" y="109"/>
                    <a:pt x="2844" y="109"/>
                  </a:cubicBezTo>
                  <a:cubicBezTo>
                    <a:pt x="2844" y="109"/>
                    <a:pt x="2844" y="109"/>
                    <a:pt x="2844" y="109"/>
                  </a:cubicBezTo>
                  <a:moveTo>
                    <a:pt x="2905" y="109"/>
                  </a:moveTo>
                  <a:cubicBezTo>
                    <a:pt x="2899" y="109"/>
                    <a:pt x="2895" y="113"/>
                    <a:pt x="2895" y="119"/>
                  </a:cubicBezTo>
                  <a:cubicBezTo>
                    <a:pt x="2896" y="125"/>
                    <a:pt x="2902" y="129"/>
                    <a:pt x="2908" y="129"/>
                  </a:cubicBezTo>
                  <a:cubicBezTo>
                    <a:pt x="2914" y="129"/>
                    <a:pt x="2918" y="124"/>
                    <a:pt x="2917" y="119"/>
                  </a:cubicBezTo>
                  <a:cubicBezTo>
                    <a:pt x="2916" y="113"/>
                    <a:pt x="2911" y="109"/>
                    <a:pt x="2905" y="109"/>
                  </a:cubicBezTo>
                  <a:cubicBezTo>
                    <a:pt x="2905" y="109"/>
                    <a:pt x="2905" y="109"/>
                    <a:pt x="2905" y="109"/>
                  </a:cubicBezTo>
                  <a:moveTo>
                    <a:pt x="2690" y="108"/>
                  </a:moveTo>
                  <a:cubicBezTo>
                    <a:pt x="2684" y="108"/>
                    <a:pt x="2679" y="113"/>
                    <a:pt x="2680" y="119"/>
                  </a:cubicBezTo>
                  <a:cubicBezTo>
                    <a:pt x="2680" y="124"/>
                    <a:pt x="2685" y="129"/>
                    <a:pt x="2691" y="129"/>
                  </a:cubicBezTo>
                  <a:cubicBezTo>
                    <a:pt x="2697" y="129"/>
                    <a:pt x="2702" y="124"/>
                    <a:pt x="2701" y="118"/>
                  </a:cubicBezTo>
                  <a:cubicBezTo>
                    <a:pt x="2701" y="113"/>
                    <a:pt x="2696" y="108"/>
                    <a:pt x="2690" y="108"/>
                  </a:cubicBezTo>
                  <a:cubicBezTo>
                    <a:pt x="2690" y="108"/>
                    <a:pt x="2690" y="108"/>
                    <a:pt x="2690" y="108"/>
                  </a:cubicBezTo>
                  <a:moveTo>
                    <a:pt x="2935" y="108"/>
                  </a:moveTo>
                  <a:cubicBezTo>
                    <a:pt x="2929" y="108"/>
                    <a:pt x="2925" y="113"/>
                    <a:pt x="2926" y="119"/>
                  </a:cubicBezTo>
                  <a:cubicBezTo>
                    <a:pt x="2927" y="124"/>
                    <a:pt x="2933" y="129"/>
                    <a:pt x="2939" y="129"/>
                  </a:cubicBezTo>
                  <a:cubicBezTo>
                    <a:pt x="2944" y="129"/>
                    <a:pt x="2949" y="124"/>
                    <a:pt x="2948" y="118"/>
                  </a:cubicBezTo>
                  <a:cubicBezTo>
                    <a:pt x="2947" y="113"/>
                    <a:pt x="2941" y="108"/>
                    <a:pt x="2935" y="108"/>
                  </a:cubicBezTo>
                  <a:cubicBezTo>
                    <a:pt x="2935" y="108"/>
                    <a:pt x="2935" y="108"/>
                    <a:pt x="2935" y="108"/>
                  </a:cubicBezTo>
                  <a:moveTo>
                    <a:pt x="2966" y="108"/>
                  </a:moveTo>
                  <a:cubicBezTo>
                    <a:pt x="2960" y="108"/>
                    <a:pt x="2956" y="113"/>
                    <a:pt x="2957" y="118"/>
                  </a:cubicBezTo>
                  <a:cubicBezTo>
                    <a:pt x="2958" y="124"/>
                    <a:pt x="2963" y="128"/>
                    <a:pt x="2969" y="128"/>
                  </a:cubicBezTo>
                  <a:cubicBezTo>
                    <a:pt x="2975" y="128"/>
                    <a:pt x="2979" y="124"/>
                    <a:pt x="2978" y="118"/>
                  </a:cubicBezTo>
                  <a:cubicBezTo>
                    <a:pt x="2977" y="112"/>
                    <a:pt x="2972" y="108"/>
                    <a:pt x="2966" y="108"/>
                  </a:cubicBezTo>
                  <a:cubicBezTo>
                    <a:pt x="2966" y="108"/>
                    <a:pt x="2966" y="108"/>
                    <a:pt x="2966" y="108"/>
                  </a:cubicBezTo>
                  <a:moveTo>
                    <a:pt x="2996" y="108"/>
                  </a:moveTo>
                  <a:cubicBezTo>
                    <a:pt x="2990" y="108"/>
                    <a:pt x="2986" y="112"/>
                    <a:pt x="2987" y="118"/>
                  </a:cubicBezTo>
                  <a:cubicBezTo>
                    <a:pt x="2988" y="124"/>
                    <a:pt x="2994" y="128"/>
                    <a:pt x="3000" y="128"/>
                  </a:cubicBezTo>
                  <a:cubicBezTo>
                    <a:pt x="3006" y="128"/>
                    <a:pt x="3010" y="123"/>
                    <a:pt x="3009" y="118"/>
                  </a:cubicBezTo>
                  <a:cubicBezTo>
                    <a:pt x="3008" y="112"/>
                    <a:pt x="3002" y="108"/>
                    <a:pt x="2996" y="108"/>
                  </a:cubicBezTo>
                  <a:cubicBezTo>
                    <a:pt x="2996" y="108"/>
                    <a:pt x="2996" y="108"/>
                    <a:pt x="2996" y="108"/>
                  </a:cubicBezTo>
                  <a:moveTo>
                    <a:pt x="3026" y="107"/>
                  </a:moveTo>
                  <a:cubicBezTo>
                    <a:pt x="3020" y="107"/>
                    <a:pt x="3017" y="112"/>
                    <a:pt x="3018" y="118"/>
                  </a:cubicBezTo>
                  <a:cubicBezTo>
                    <a:pt x="3019" y="123"/>
                    <a:pt x="3025" y="128"/>
                    <a:pt x="3031" y="128"/>
                  </a:cubicBezTo>
                  <a:cubicBezTo>
                    <a:pt x="3036" y="128"/>
                    <a:pt x="3040" y="123"/>
                    <a:pt x="3039" y="117"/>
                  </a:cubicBezTo>
                  <a:cubicBezTo>
                    <a:pt x="3038" y="112"/>
                    <a:pt x="3032" y="107"/>
                    <a:pt x="3027" y="107"/>
                  </a:cubicBezTo>
                  <a:cubicBezTo>
                    <a:pt x="3026" y="107"/>
                    <a:pt x="3026" y="107"/>
                    <a:pt x="3026" y="107"/>
                  </a:cubicBezTo>
                  <a:moveTo>
                    <a:pt x="3057" y="107"/>
                  </a:moveTo>
                  <a:cubicBezTo>
                    <a:pt x="3051" y="107"/>
                    <a:pt x="3047" y="112"/>
                    <a:pt x="3049" y="117"/>
                  </a:cubicBezTo>
                  <a:cubicBezTo>
                    <a:pt x="3050" y="123"/>
                    <a:pt x="3056" y="128"/>
                    <a:pt x="3062" y="128"/>
                  </a:cubicBezTo>
                  <a:cubicBezTo>
                    <a:pt x="3067" y="128"/>
                    <a:pt x="3071" y="123"/>
                    <a:pt x="3070" y="117"/>
                  </a:cubicBezTo>
                  <a:cubicBezTo>
                    <a:pt x="3069" y="112"/>
                    <a:pt x="3063" y="107"/>
                    <a:pt x="3057" y="107"/>
                  </a:cubicBezTo>
                  <a:cubicBezTo>
                    <a:pt x="3057" y="107"/>
                    <a:pt x="3057" y="107"/>
                    <a:pt x="3057" y="107"/>
                  </a:cubicBezTo>
                  <a:moveTo>
                    <a:pt x="3088" y="107"/>
                  </a:moveTo>
                  <a:cubicBezTo>
                    <a:pt x="3082" y="107"/>
                    <a:pt x="3078" y="111"/>
                    <a:pt x="3080" y="117"/>
                  </a:cubicBezTo>
                  <a:cubicBezTo>
                    <a:pt x="3081" y="123"/>
                    <a:pt x="3087" y="127"/>
                    <a:pt x="3093" y="127"/>
                  </a:cubicBezTo>
                  <a:cubicBezTo>
                    <a:pt x="3099" y="127"/>
                    <a:pt x="3103" y="123"/>
                    <a:pt x="3101" y="117"/>
                  </a:cubicBezTo>
                  <a:cubicBezTo>
                    <a:pt x="3100" y="111"/>
                    <a:pt x="3094" y="107"/>
                    <a:pt x="3088" y="107"/>
                  </a:cubicBezTo>
                  <a:cubicBezTo>
                    <a:pt x="3088" y="107"/>
                    <a:pt x="3088" y="107"/>
                    <a:pt x="3088" y="107"/>
                  </a:cubicBezTo>
                  <a:moveTo>
                    <a:pt x="3119" y="106"/>
                  </a:moveTo>
                  <a:cubicBezTo>
                    <a:pt x="3113" y="107"/>
                    <a:pt x="3109" y="111"/>
                    <a:pt x="3110" y="117"/>
                  </a:cubicBezTo>
                  <a:cubicBezTo>
                    <a:pt x="3112" y="122"/>
                    <a:pt x="3118" y="127"/>
                    <a:pt x="3123" y="127"/>
                  </a:cubicBezTo>
                  <a:cubicBezTo>
                    <a:pt x="3129" y="127"/>
                    <a:pt x="3133" y="122"/>
                    <a:pt x="3132" y="117"/>
                  </a:cubicBezTo>
                  <a:cubicBezTo>
                    <a:pt x="3130" y="111"/>
                    <a:pt x="3125" y="106"/>
                    <a:pt x="3119" y="106"/>
                  </a:cubicBezTo>
                  <a:cubicBezTo>
                    <a:pt x="3119" y="106"/>
                    <a:pt x="3119" y="106"/>
                    <a:pt x="3119" y="106"/>
                  </a:cubicBezTo>
                  <a:moveTo>
                    <a:pt x="3149" y="106"/>
                  </a:moveTo>
                  <a:cubicBezTo>
                    <a:pt x="3143" y="106"/>
                    <a:pt x="3140" y="111"/>
                    <a:pt x="3141" y="117"/>
                  </a:cubicBezTo>
                  <a:cubicBezTo>
                    <a:pt x="3142" y="122"/>
                    <a:pt x="3148" y="127"/>
                    <a:pt x="3154" y="127"/>
                  </a:cubicBezTo>
                  <a:cubicBezTo>
                    <a:pt x="3160" y="127"/>
                    <a:pt x="3164" y="122"/>
                    <a:pt x="3163" y="116"/>
                  </a:cubicBezTo>
                  <a:cubicBezTo>
                    <a:pt x="3161" y="111"/>
                    <a:pt x="3155" y="106"/>
                    <a:pt x="3149" y="106"/>
                  </a:cubicBezTo>
                  <a:cubicBezTo>
                    <a:pt x="3149" y="106"/>
                    <a:pt x="3149" y="106"/>
                    <a:pt x="3149" y="106"/>
                  </a:cubicBezTo>
                  <a:moveTo>
                    <a:pt x="3180" y="106"/>
                  </a:moveTo>
                  <a:cubicBezTo>
                    <a:pt x="3174" y="106"/>
                    <a:pt x="3170" y="111"/>
                    <a:pt x="3172" y="116"/>
                  </a:cubicBezTo>
                  <a:cubicBezTo>
                    <a:pt x="3173" y="122"/>
                    <a:pt x="3179" y="126"/>
                    <a:pt x="3185" y="126"/>
                  </a:cubicBezTo>
                  <a:cubicBezTo>
                    <a:pt x="3191" y="126"/>
                    <a:pt x="3195" y="122"/>
                    <a:pt x="3193" y="116"/>
                  </a:cubicBezTo>
                  <a:cubicBezTo>
                    <a:pt x="3192" y="110"/>
                    <a:pt x="3186" y="106"/>
                    <a:pt x="3180" y="106"/>
                  </a:cubicBezTo>
                  <a:cubicBezTo>
                    <a:pt x="3180" y="106"/>
                    <a:pt x="3180" y="106"/>
                    <a:pt x="3180" y="106"/>
                  </a:cubicBezTo>
                  <a:moveTo>
                    <a:pt x="3211" y="106"/>
                  </a:moveTo>
                  <a:cubicBezTo>
                    <a:pt x="3205" y="106"/>
                    <a:pt x="3201" y="110"/>
                    <a:pt x="3203" y="116"/>
                  </a:cubicBezTo>
                  <a:cubicBezTo>
                    <a:pt x="3204" y="122"/>
                    <a:pt x="3210" y="126"/>
                    <a:pt x="3216" y="126"/>
                  </a:cubicBezTo>
                  <a:cubicBezTo>
                    <a:pt x="3222" y="126"/>
                    <a:pt x="3226" y="121"/>
                    <a:pt x="3224" y="116"/>
                  </a:cubicBezTo>
                  <a:cubicBezTo>
                    <a:pt x="3223" y="110"/>
                    <a:pt x="3217" y="106"/>
                    <a:pt x="3211" y="106"/>
                  </a:cubicBezTo>
                  <a:cubicBezTo>
                    <a:pt x="3211" y="106"/>
                    <a:pt x="3211" y="106"/>
                    <a:pt x="3211" y="106"/>
                  </a:cubicBezTo>
                  <a:moveTo>
                    <a:pt x="3242" y="105"/>
                  </a:moveTo>
                  <a:cubicBezTo>
                    <a:pt x="3236" y="105"/>
                    <a:pt x="3233" y="110"/>
                    <a:pt x="3235" y="116"/>
                  </a:cubicBezTo>
                  <a:cubicBezTo>
                    <a:pt x="3236" y="121"/>
                    <a:pt x="3242" y="126"/>
                    <a:pt x="3248" y="126"/>
                  </a:cubicBezTo>
                  <a:cubicBezTo>
                    <a:pt x="3254" y="126"/>
                    <a:pt x="3258" y="121"/>
                    <a:pt x="3256" y="115"/>
                  </a:cubicBezTo>
                  <a:cubicBezTo>
                    <a:pt x="3254" y="110"/>
                    <a:pt x="3248" y="105"/>
                    <a:pt x="3243" y="105"/>
                  </a:cubicBezTo>
                  <a:cubicBezTo>
                    <a:pt x="3242" y="105"/>
                    <a:pt x="3242" y="105"/>
                    <a:pt x="3242" y="105"/>
                  </a:cubicBezTo>
                  <a:moveTo>
                    <a:pt x="3273" y="105"/>
                  </a:moveTo>
                  <a:cubicBezTo>
                    <a:pt x="3267" y="105"/>
                    <a:pt x="3263" y="110"/>
                    <a:pt x="3265" y="115"/>
                  </a:cubicBezTo>
                  <a:cubicBezTo>
                    <a:pt x="3267" y="121"/>
                    <a:pt x="3273" y="126"/>
                    <a:pt x="3279" y="126"/>
                  </a:cubicBezTo>
                  <a:cubicBezTo>
                    <a:pt x="3285" y="125"/>
                    <a:pt x="3288" y="121"/>
                    <a:pt x="3287" y="115"/>
                  </a:cubicBezTo>
                  <a:cubicBezTo>
                    <a:pt x="3285" y="110"/>
                    <a:pt x="3279" y="105"/>
                    <a:pt x="3273" y="105"/>
                  </a:cubicBezTo>
                  <a:cubicBezTo>
                    <a:pt x="3273" y="105"/>
                    <a:pt x="3273" y="105"/>
                    <a:pt x="3273" y="105"/>
                  </a:cubicBezTo>
                  <a:moveTo>
                    <a:pt x="3303" y="105"/>
                  </a:moveTo>
                  <a:cubicBezTo>
                    <a:pt x="3297" y="105"/>
                    <a:pt x="3294" y="109"/>
                    <a:pt x="3296" y="115"/>
                  </a:cubicBezTo>
                  <a:cubicBezTo>
                    <a:pt x="3297" y="121"/>
                    <a:pt x="3303" y="125"/>
                    <a:pt x="3309" y="125"/>
                  </a:cubicBezTo>
                  <a:cubicBezTo>
                    <a:pt x="3315" y="125"/>
                    <a:pt x="3319" y="121"/>
                    <a:pt x="3317" y="115"/>
                  </a:cubicBezTo>
                  <a:cubicBezTo>
                    <a:pt x="3315" y="109"/>
                    <a:pt x="3309" y="105"/>
                    <a:pt x="3303" y="105"/>
                  </a:cubicBezTo>
                  <a:cubicBezTo>
                    <a:pt x="3303" y="105"/>
                    <a:pt x="3303" y="105"/>
                    <a:pt x="3303" y="105"/>
                  </a:cubicBezTo>
                  <a:moveTo>
                    <a:pt x="3334" y="104"/>
                  </a:moveTo>
                  <a:cubicBezTo>
                    <a:pt x="3328" y="104"/>
                    <a:pt x="3324" y="109"/>
                    <a:pt x="3326" y="115"/>
                  </a:cubicBezTo>
                  <a:cubicBezTo>
                    <a:pt x="3328" y="120"/>
                    <a:pt x="3334" y="125"/>
                    <a:pt x="3340" y="125"/>
                  </a:cubicBezTo>
                  <a:cubicBezTo>
                    <a:pt x="3346" y="125"/>
                    <a:pt x="3349" y="120"/>
                    <a:pt x="3348" y="115"/>
                  </a:cubicBezTo>
                  <a:cubicBezTo>
                    <a:pt x="3346" y="109"/>
                    <a:pt x="3340" y="104"/>
                    <a:pt x="3334" y="104"/>
                  </a:cubicBezTo>
                  <a:cubicBezTo>
                    <a:pt x="3334" y="104"/>
                    <a:pt x="3334" y="104"/>
                    <a:pt x="3334" y="104"/>
                  </a:cubicBezTo>
                  <a:moveTo>
                    <a:pt x="3364" y="104"/>
                  </a:moveTo>
                  <a:cubicBezTo>
                    <a:pt x="3358" y="104"/>
                    <a:pt x="3355" y="109"/>
                    <a:pt x="3357" y="114"/>
                  </a:cubicBezTo>
                  <a:cubicBezTo>
                    <a:pt x="3359" y="120"/>
                    <a:pt x="3365" y="125"/>
                    <a:pt x="3371" y="125"/>
                  </a:cubicBezTo>
                  <a:cubicBezTo>
                    <a:pt x="3377" y="125"/>
                    <a:pt x="3380" y="120"/>
                    <a:pt x="3378" y="114"/>
                  </a:cubicBezTo>
                  <a:cubicBezTo>
                    <a:pt x="3377" y="109"/>
                    <a:pt x="3370" y="104"/>
                    <a:pt x="3364" y="104"/>
                  </a:cubicBezTo>
                  <a:cubicBezTo>
                    <a:pt x="3364" y="104"/>
                    <a:pt x="3364" y="104"/>
                    <a:pt x="3364" y="104"/>
                  </a:cubicBezTo>
                  <a:moveTo>
                    <a:pt x="3395" y="104"/>
                  </a:moveTo>
                  <a:cubicBezTo>
                    <a:pt x="3389" y="104"/>
                    <a:pt x="3386" y="108"/>
                    <a:pt x="3388" y="114"/>
                  </a:cubicBezTo>
                  <a:cubicBezTo>
                    <a:pt x="3390" y="120"/>
                    <a:pt x="3396" y="124"/>
                    <a:pt x="3402" y="124"/>
                  </a:cubicBezTo>
                  <a:cubicBezTo>
                    <a:pt x="3408" y="124"/>
                    <a:pt x="3412" y="120"/>
                    <a:pt x="3410" y="114"/>
                  </a:cubicBezTo>
                  <a:cubicBezTo>
                    <a:pt x="3408" y="108"/>
                    <a:pt x="3401" y="104"/>
                    <a:pt x="3395" y="104"/>
                  </a:cubicBezTo>
                  <a:cubicBezTo>
                    <a:pt x="3395" y="104"/>
                    <a:pt x="3395" y="104"/>
                    <a:pt x="3395" y="104"/>
                  </a:cubicBezTo>
                  <a:moveTo>
                    <a:pt x="3426" y="103"/>
                  </a:moveTo>
                  <a:cubicBezTo>
                    <a:pt x="3420" y="104"/>
                    <a:pt x="3417" y="108"/>
                    <a:pt x="3419" y="114"/>
                  </a:cubicBezTo>
                  <a:cubicBezTo>
                    <a:pt x="3421" y="120"/>
                    <a:pt x="3427" y="124"/>
                    <a:pt x="3433" y="124"/>
                  </a:cubicBezTo>
                  <a:cubicBezTo>
                    <a:pt x="3439" y="124"/>
                    <a:pt x="3442" y="119"/>
                    <a:pt x="3440" y="114"/>
                  </a:cubicBezTo>
                  <a:cubicBezTo>
                    <a:pt x="3438" y="108"/>
                    <a:pt x="3432" y="103"/>
                    <a:pt x="3426" y="103"/>
                  </a:cubicBezTo>
                  <a:cubicBezTo>
                    <a:pt x="3426" y="103"/>
                    <a:pt x="3426" y="103"/>
                    <a:pt x="3426" y="103"/>
                  </a:cubicBezTo>
                  <a:moveTo>
                    <a:pt x="3550" y="102"/>
                  </a:moveTo>
                  <a:cubicBezTo>
                    <a:pt x="3544" y="102"/>
                    <a:pt x="3541" y="106"/>
                    <a:pt x="3543" y="112"/>
                  </a:cubicBezTo>
                  <a:cubicBezTo>
                    <a:pt x="3545" y="118"/>
                    <a:pt x="3552" y="122"/>
                    <a:pt x="3558" y="122"/>
                  </a:cubicBezTo>
                  <a:cubicBezTo>
                    <a:pt x="3564" y="122"/>
                    <a:pt x="3567" y="117"/>
                    <a:pt x="3565" y="112"/>
                  </a:cubicBezTo>
                  <a:cubicBezTo>
                    <a:pt x="3562" y="106"/>
                    <a:pt x="3556" y="102"/>
                    <a:pt x="3550" y="102"/>
                  </a:cubicBezTo>
                  <a:cubicBezTo>
                    <a:pt x="3550" y="102"/>
                    <a:pt x="3550" y="102"/>
                    <a:pt x="3550" y="102"/>
                  </a:cubicBezTo>
                  <a:moveTo>
                    <a:pt x="3580" y="101"/>
                  </a:moveTo>
                  <a:cubicBezTo>
                    <a:pt x="3574" y="101"/>
                    <a:pt x="3571" y="106"/>
                    <a:pt x="3573" y="112"/>
                  </a:cubicBezTo>
                  <a:cubicBezTo>
                    <a:pt x="3576" y="117"/>
                    <a:pt x="3582" y="122"/>
                    <a:pt x="3588" y="122"/>
                  </a:cubicBezTo>
                  <a:cubicBezTo>
                    <a:pt x="3594" y="122"/>
                    <a:pt x="3597" y="117"/>
                    <a:pt x="3595" y="111"/>
                  </a:cubicBezTo>
                  <a:cubicBezTo>
                    <a:pt x="3593" y="106"/>
                    <a:pt x="3586" y="101"/>
                    <a:pt x="3580" y="101"/>
                  </a:cubicBezTo>
                  <a:cubicBezTo>
                    <a:pt x="3580" y="101"/>
                    <a:pt x="3580" y="101"/>
                    <a:pt x="3580" y="101"/>
                  </a:cubicBezTo>
                  <a:moveTo>
                    <a:pt x="3610" y="101"/>
                  </a:moveTo>
                  <a:cubicBezTo>
                    <a:pt x="3604" y="101"/>
                    <a:pt x="3602" y="106"/>
                    <a:pt x="3604" y="111"/>
                  </a:cubicBezTo>
                  <a:cubicBezTo>
                    <a:pt x="3606" y="117"/>
                    <a:pt x="3613" y="122"/>
                    <a:pt x="3619" y="122"/>
                  </a:cubicBezTo>
                  <a:cubicBezTo>
                    <a:pt x="3625" y="121"/>
                    <a:pt x="3628" y="117"/>
                    <a:pt x="3625" y="111"/>
                  </a:cubicBezTo>
                  <a:cubicBezTo>
                    <a:pt x="3623" y="105"/>
                    <a:pt x="3616" y="101"/>
                    <a:pt x="3610" y="101"/>
                  </a:cubicBezTo>
                  <a:cubicBezTo>
                    <a:pt x="3610" y="101"/>
                    <a:pt x="3610" y="101"/>
                    <a:pt x="3610" y="101"/>
                  </a:cubicBezTo>
                  <a:moveTo>
                    <a:pt x="1621" y="91"/>
                  </a:moveTo>
                  <a:cubicBezTo>
                    <a:pt x="1615" y="91"/>
                    <a:pt x="1609" y="96"/>
                    <a:pt x="1607" y="101"/>
                  </a:cubicBezTo>
                  <a:cubicBezTo>
                    <a:pt x="1605" y="107"/>
                    <a:pt x="1608" y="111"/>
                    <a:pt x="1614" y="111"/>
                  </a:cubicBezTo>
                  <a:cubicBezTo>
                    <a:pt x="1620" y="111"/>
                    <a:pt x="1626" y="107"/>
                    <a:pt x="1628" y="101"/>
                  </a:cubicBezTo>
                  <a:cubicBezTo>
                    <a:pt x="1630" y="95"/>
                    <a:pt x="1627" y="91"/>
                    <a:pt x="1621" y="91"/>
                  </a:cubicBezTo>
                  <a:cubicBezTo>
                    <a:pt x="1621" y="91"/>
                    <a:pt x="1621" y="91"/>
                    <a:pt x="1621" y="91"/>
                  </a:cubicBezTo>
                  <a:moveTo>
                    <a:pt x="1652" y="91"/>
                  </a:moveTo>
                  <a:cubicBezTo>
                    <a:pt x="1646" y="91"/>
                    <a:pt x="1640" y="95"/>
                    <a:pt x="1638" y="101"/>
                  </a:cubicBezTo>
                  <a:cubicBezTo>
                    <a:pt x="1636" y="107"/>
                    <a:pt x="1639" y="111"/>
                    <a:pt x="1645" y="111"/>
                  </a:cubicBezTo>
                  <a:cubicBezTo>
                    <a:pt x="1651" y="111"/>
                    <a:pt x="1657" y="106"/>
                    <a:pt x="1659" y="101"/>
                  </a:cubicBezTo>
                  <a:cubicBezTo>
                    <a:pt x="1661" y="95"/>
                    <a:pt x="1658" y="91"/>
                    <a:pt x="1652" y="91"/>
                  </a:cubicBezTo>
                  <a:cubicBezTo>
                    <a:pt x="1652" y="91"/>
                    <a:pt x="1652" y="91"/>
                    <a:pt x="1652" y="91"/>
                  </a:cubicBezTo>
                  <a:moveTo>
                    <a:pt x="1682" y="90"/>
                  </a:moveTo>
                  <a:cubicBezTo>
                    <a:pt x="1676" y="90"/>
                    <a:pt x="1670" y="95"/>
                    <a:pt x="1668" y="101"/>
                  </a:cubicBezTo>
                  <a:cubicBezTo>
                    <a:pt x="1666" y="106"/>
                    <a:pt x="1670" y="111"/>
                    <a:pt x="1676" y="111"/>
                  </a:cubicBezTo>
                  <a:cubicBezTo>
                    <a:pt x="1682" y="111"/>
                    <a:pt x="1688" y="106"/>
                    <a:pt x="1690" y="100"/>
                  </a:cubicBezTo>
                  <a:cubicBezTo>
                    <a:pt x="1691" y="95"/>
                    <a:pt x="1688" y="90"/>
                    <a:pt x="1682" y="90"/>
                  </a:cubicBezTo>
                  <a:cubicBezTo>
                    <a:pt x="1682" y="90"/>
                    <a:pt x="1682" y="90"/>
                    <a:pt x="1682" y="90"/>
                  </a:cubicBezTo>
                  <a:moveTo>
                    <a:pt x="1713" y="90"/>
                  </a:moveTo>
                  <a:cubicBezTo>
                    <a:pt x="1707" y="90"/>
                    <a:pt x="1701" y="95"/>
                    <a:pt x="1699" y="100"/>
                  </a:cubicBezTo>
                  <a:cubicBezTo>
                    <a:pt x="1697" y="106"/>
                    <a:pt x="1700" y="110"/>
                    <a:pt x="1706" y="110"/>
                  </a:cubicBezTo>
                  <a:cubicBezTo>
                    <a:pt x="1712" y="110"/>
                    <a:pt x="1718" y="106"/>
                    <a:pt x="1720" y="100"/>
                  </a:cubicBezTo>
                  <a:cubicBezTo>
                    <a:pt x="1722" y="95"/>
                    <a:pt x="1719" y="90"/>
                    <a:pt x="1713" y="90"/>
                  </a:cubicBezTo>
                  <a:cubicBezTo>
                    <a:pt x="1713" y="90"/>
                    <a:pt x="1713" y="90"/>
                    <a:pt x="1713" y="90"/>
                  </a:cubicBezTo>
                  <a:moveTo>
                    <a:pt x="1743" y="90"/>
                  </a:moveTo>
                  <a:cubicBezTo>
                    <a:pt x="1737" y="90"/>
                    <a:pt x="1731" y="94"/>
                    <a:pt x="1729" y="100"/>
                  </a:cubicBezTo>
                  <a:cubicBezTo>
                    <a:pt x="1727" y="106"/>
                    <a:pt x="1731" y="110"/>
                    <a:pt x="1737" y="110"/>
                  </a:cubicBezTo>
                  <a:cubicBezTo>
                    <a:pt x="1743" y="110"/>
                    <a:pt x="1749" y="105"/>
                    <a:pt x="1751" y="100"/>
                  </a:cubicBezTo>
                  <a:cubicBezTo>
                    <a:pt x="1752" y="94"/>
                    <a:pt x="1749" y="90"/>
                    <a:pt x="1743" y="90"/>
                  </a:cubicBezTo>
                  <a:cubicBezTo>
                    <a:pt x="1743" y="90"/>
                    <a:pt x="1743" y="90"/>
                    <a:pt x="1743" y="90"/>
                  </a:cubicBezTo>
                  <a:moveTo>
                    <a:pt x="1773" y="89"/>
                  </a:moveTo>
                  <a:cubicBezTo>
                    <a:pt x="1768" y="90"/>
                    <a:pt x="1761" y="94"/>
                    <a:pt x="1760" y="100"/>
                  </a:cubicBezTo>
                  <a:cubicBezTo>
                    <a:pt x="1758" y="105"/>
                    <a:pt x="1762" y="110"/>
                    <a:pt x="1768" y="110"/>
                  </a:cubicBezTo>
                  <a:cubicBezTo>
                    <a:pt x="1774" y="110"/>
                    <a:pt x="1780" y="105"/>
                    <a:pt x="1781" y="100"/>
                  </a:cubicBezTo>
                  <a:cubicBezTo>
                    <a:pt x="1783" y="94"/>
                    <a:pt x="1779" y="89"/>
                    <a:pt x="1774" y="89"/>
                  </a:cubicBezTo>
                  <a:cubicBezTo>
                    <a:pt x="1774" y="89"/>
                    <a:pt x="1774" y="89"/>
                    <a:pt x="1773" y="89"/>
                  </a:cubicBezTo>
                  <a:moveTo>
                    <a:pt x="1805" y="89"/>
                  </a:moveTo>
                  <a:cubicBezTo>
                    <a:pt x="1799" y="89"/>
                    <a:pt x="1793" y="94"/>
                    <a:pt x="1791" y="99"/>
                  </a:cubicBezTo>
                  <a:cubicBezTo>
                    <a:pt x="1790" y="105"/>
                    <a:pt x="1793" y="110"/>
                    <a:pt x="1799" y="109"/>
                  </a:cubicBezTo>
                  <a:cubicBezTo>
                    <a:pt x="1805" y="109"/>
                    <a:pt x="1811" y="105"/>
                    <a:pt x="1813" y="99"/>
                  </a:cubicBezTo>
                  <a:cubicBezTo>
                    <a:pt x="1814" y="94"/>
                    <a:pt x="1811" y="89"/>
                    <a:pt x="1805" y="89"/>
                  </a:cubicBezTo>
                  <a:cubicBezTo>
                    <a:pt x="1805" y="89"/>
                    <a:pt x="1805" y="89"/>
                    <a:pt x="1805" y="89"/>
                  </a:cubicBezTo>
                  <a:moveTo>
                    <a:pt x="1835" y="89"/>
                  </a:moveTo>
                  <a:cubicBezTo>
                    <a:pt x="1829" y="89"/>
                    <a:pt x="1823" y="93"/>
                    <a:pt x="1822" y="99"/>
                  </a:cubicBezTo>
                  <a:cubicBezTo>
                    <a:pt x="1820" y="105"/>
                    <a:pt x="1824" y="109"/>
                    <a:pt x="1830" y="109"/>
                  </a:cubicBezTo>
                  <a:cubicBezTo>
                    <a:pt x="1836" y="109"/>
                    <a:pt x="1842" y="105"/>
                    <a:pt x="1843" y="99"/>
                  </a:cubicBezTo>
                  <a:cubicBezTo>
                    <a:pt x="1845" y="93"/>
                    <a:pt x="1841" y="89"/>
                    <a:pt x="1835" y="89"/>
                  </a:cubicBezTo>
                  <a:cubicBezTo>
                    <a:pt x="1835" y="89"/>
                    <a:pt x="1835" y="89"/>
                    <a:pt x="1835" y="89"/>
                  </a:cubicBezTo>
                  <a:moveTo>
                    <a:pt x="1866" y="89"/>
                  </a:moveTo>
                  <a:cubicBezTo>
                    <a:pt x="1860" y="89"/>
                    <a:pt x="1854" y="93"/>
                    <a:pt x="1852" y="99"/>
                  </a:cubicBezTo>
                  <a:cubicBezTo>
                    <a:pt x="1851" y="104"/>
                    <a:pt x="1855" y="109"/>
                    <a:pt x="1861" y="109"/>
                  </a:cubicBezTo>
                  <a:cubicBezTo>
                    <a:pt x="1867" y="109"/>
                    <a:pt x="1872" y="104"/>
                    <a:pt x="1874" y="99"/>
                  </a:cubicBezTo>
                  <a:cubicBezTo>
                    <a:pt x="1875" y="93"/>
                    <a:pt x="1872" y="89"/>
                    <a:pt x="1866" y="89"/>
                  </a:cubicBezTo>
                  <a:cubicBezTo>
                    <a:pt x="1866" y="89"/>
                    <a:pt x="1866" y="89"/>
                    <a:pt x="1866" y="89"/>
                  </a:cubicBezTo>
                  <a:moveTo>
                    <a:pt x="1897" y="88"/>
                  </a:moveTo>
                  <a:cubicBezTo>
                    <a:pt x="1891" y="88"/>
                    <a:pt x="1885" y="93"/>
                    <a:pt x="1883" y="99"/>
                  </a:cubicBezTo>
                  <a:cubicBezTo>
                    <a:pt x="1882" y="104"/>
                    <a:pt x="1886" y="109"/>
                    <a:pt x="1892" y="109"/>
                  </a:cubicBezTo>
                  <a:cubicBezTo>
                    <a:pt x="1898" y="109"/>
                    <a:pt x="1903" y="104"/>
                    <a:pt x="1905" y="98"/>
                  </a:cubicBezTo>
                  <a:cubicBezTo>
                    <a:pt x="1906" y="93"/>
                    <a:pt x="1902" y="88"/>
                    <a:pt x="1897" y="88"/>
                  </a:cubicBezTo>
                  <a:cubicBezTo>
                    <a:pt x="1897" y="88"/>
                    <a:pt x="1897" y="88"/>
                    <a:pt x="1897" y="88"/>
                  </a:cubicBezTo>
                  <a:moveTo>
                    <a:pt x="1927" y="88"/>
                  </a:moveTo>
                  <a:cubicBezTo>
                    <a:pt x="1921" y="88"/>
                    <a:pt x="1915" y="93"/>
                    <a:pt x="1914" y="98"/>
                  </a:cubicBezTo>
                  <a:cubicBezTo>
                    <a:pt x="1912" y="104"/>
                    <a:pt x="1916" y="108"/>
                    <a:pt x="1922" y="108"/>
                  </a:cubicBezTo>
                  <a:cubicBezTo>
                    <a:pt x="1928" y="108"/>
                    <a:pt x="1934" y="104"/>
                    <a:pt x="1935" y="98"/>
                  </a:cubicBezTo>
                  <a:cubicBezTo>
                    <a:pt x="1936" y="92"/>
                    <a:pt x="1933" y="88"/>
                    <a:pt x="1927" y="88"/>
                  </a:cubicBezTo>
                  <a:cubicBezTo>
                    <a:pt x="1927" y="88"/>
                    <a:pt x="1927" y="88"/>
                    <a:pt x="1927" y="88"/>
                  </a:cubicBezTo>
                  <a:moveTo>
                    <a:pt x="2688" y="79"/>
                  </a:moveTo>
                  <a:cubicBezTo>
                    <a:pt x="2682" y="79"/>
                    <a:pt x="2678" y="84"/>
                    <a:pt x="2678" y="90"/>
                  </a:cubicBezTo>
                  <a:cubicBezTo>
                    <a:pt x="2678" y="95"/>
                    <a:pt x="2683" y="100"/>
                    <a:pt x="2689" y="100"/>
                  </a:cubicBezTo>
                  <a:cubicBezTo>
                    <a:pt x="2695" y="100"/>
                    <a:pt x="2700" y="95"/>
                    <a:pt x="2699" y="89"/>
                  </a:cubicBezTo>
                  <a:cubicBezTo>
                    <a:pt x="2699" y="84"/>
                    <a:pt x="2694" y="79"/>
                    <a:pt x="2688" y="79"/>
                  </a:cubicBezTo>
                  <a:cubicBezTo>
                    <a:pt x="2688" y="79"/>
                    <a:pt x="2688" y="79"/>
                    <a:pt x="2688" y="79"/>
                  </a:cubicBezTo>
                  <a:moveTo>
                    <a:pt x="2718" y="79"/>
                  </a:moveTo>
                  <a:cubicBezTo>
                    <a:pt x="2712" y="79"/>
                    <a:pt x="2708" y="84"/>
                    <a:pt x="2708" y="89"/>
                  </a:cubicBezTo>
                  <a:cubicBezTo>
                    <a:pt x="2709" y="95"/>
                    <a:pt x="2714" y="99"/>
                    <a:pt x="2720" y="99"/>
                  </a:cubicBezTo>
                  <a:cubicBezTo>
                    <a:pt x="2726" y="99"/>
                    <a:pt x="2730" y="95"/>
                    <a:pt x="2730" y="89"/>
                  </a:cubicBezTo>
                  <a:cubicBezTo>
                    <a:pt x="2729" y="83"/>
                    <a:pt x="2724" y="79"/>
                    <a:pt x="2718" y="79"/>
                  </a:cubicBezTo>
                  <a:cubicBezTo>
                    <a:pt x="2718" y="79"/>
                    <a:pt x="2718" y="79"/>
                    <a:pt x="2718" y="79"/>
                  </a:cubicBezTo>
                  <a:moveTo>
                    <a:pt x="2990" y="78"/>
                  </a:moveTo>
                  <a:cubicBezTo>
                    <a:pt x="2985" y="78"/>
                    <a:pt x="2981" y="83"/>
                    <a:pt x="2982" y="88"/>
                  </a:cubicBezTo>
                  <a:cubicBezTo>
                    <a:pt x="2983" y="94"/>
                    <a:pt x="2988" y="99"/>
                    <a:pt x="2994" y="99"/>
                  </a:cubicBezTo>
                  <a:cubicBezTo>
                    <a:pt x="3000" y="99"/>
                    <a:pt x="3004" y="94"/>
                    <a:pt x="3003" y="88"/>
                  </a:cubicBezTo>
                  <a:cubicBezTo>
                    <a:pt x="3002" y="83"/>
                    <a:pt x="2996" y="78"/>
                    <a:pt x="2990" y="78"/>
                  </a:cubicBezTo>
                  <a:cubicBezTo>
                    <a:pt x="2990" y="78"/>
                    <a:pt x="2990" y="78"/>
                    <a:pt x="2990" y="78"/>
                  </a:cubicBezTo>
                  <a:moveTo>
                    <a:pt x="3021" y="78"/>
                  </a:moveTo>
                  <a:cubicBezTo>
                    <a:pt x="3015" y="78"/>
                    <a:pt x="3011" y="82"/>
                    <a:pt x="3012" y="88"/>
                  </a:cubicBezTo>
                  <a:cubicBezTo>
                    <a:pt x="3013" y="94"/>
                    <a:pt x="3019" y="98"/>
                    <a:pt x="3025" y="98"/>
                  </a:cubicBezTo>
                  <a:cubicBezTo>
                    <a:pt x="3030" y="98"/>
                    <a:pt x="3034" y="94"/>
                    <a:pt x="3033" y="88"/>
                  </a:cubicBezTo>
                  <a:cubicBezTo>
                    <a:pt x="3032" y="82"/>
                    <a:pt x="3026" y="78"/>
                    <a:pt x="3021" y="78"/>
                  </a:cubicBezTo>
                  <a:cubicBezTo>
                    <a:pt x="3021" y="78"/>
                    <a:pt x="3021" y="78"/>
                    <a:pt x="3021" y="78"/>
                  </a:cubicBezTo>
                  <a:moveTo>
                    <a:pt x="3051" y="77"/>
                  </a:moveTo>
                  <a:cubicBezTo>
                    <a:pt x="3045" y="78"/>
                    <a:pt x="3041" y="82"/>
                    <a:pt x="3042" y="88"/>
                  </a:cubicBezTo>
                  <a:cubicBezTo>
                    <a:pt x="3044" y="94"/>
                    <a:pt x="3049" y="98"/>
                    <a:pt x="3055" y="98"/>
                  </a:cubicBezTo>
                  <a:cubicBezTo>
                    <a:pt x="3061" y="98"/>
                    <a:pt x="3065" y="93"/>
                    <a:pt x="3064" y="88"/>
                  </a:cubicBezTo>
                  <a:cubicBezTo>
                    <a:pt x="3063" y="82"/>
                    <a:pt x="3057" y="77"/>
                    <a:pt x="3051" y="77"/>
                  </a:cubicBezTo>
                  <a:cubicBezTo>
                    <a:pt x="3051" y="77"/>
                    <a:pt x="3051" y="77"/>
                    <a:pt x="3051" y="77"/>
                  </a:cubicBezTo>
                  <a:moveTo>
                    <a:pt x="3082" y="77"/>
                  </a:moveTo>
                  <a:cubicBezTo>
                    <a:pt x="3076" y="77"/>
                    <a:pt x="3072" y="82"/>
                    <a:pt x="3073" y="88"/>
                  </a:cubicBezTo>
                  <a:cubicBezTo>
                    <a:pt x="3074" y="93"/>
                    <a:pt x="3080" y="98"/>
                    <a:pt x="3086" y="98"/>
                  </a:cubicBezTo>
                  <a:cubicBezTo>
                    <a:pt x="3092" y="98"/>
                    <a:pt x="3096" y="93"/>
                    <a:pt x="3095" y="87"/>
                  </a:cubicBezTo>
                  <a:cubicBezTo>
                    <a:pt x="3093" y="82"/>
                    <a:pt x="3088" y="77"/>
                    <a:pt x="3082" y="77"/>
                  </a:cubicBezTo>
                  <a:cubicBezTo>
                    <a:pt x="3082" y="77"/>
                    <a:pt x="3082" y="77"/>
                    <a:pt x="3082" y="77"/>
                  </a:cubicBezTo>
                  <a:moveTo>
                    <a:pt x="3112" y="77"/>
                  </a:moveTo>
                  <a:cubicBezTo>
                    <a:pt x="3106" y="77"/>
                    <a:pt x="3102" y="82"/>
                    <a:pt x="3103" y="87"/>
                  </a:cubicBezTo>
                  <a:cubicBezTo>
                    <a:pt x="3105" y="93"/>
                    <a:pt x="3111" y="97"/>
                    <a:pt x="3117" y="97"/>
                  </a:cubicBezTo>
                  <a:cubicBezTo>
                    <a:pt x="3122" y="97"/>
                    <a:pt x="3126" y="93"/>
                    <a:pt x="3125" y="87"/>
                  </a:cubicBezTo>
                  <a:cubicBezTo>
                    <a:pt x="3123" y="81"/>
                    <a:pt x="3118" y="77"/>
                    <a:pt x="3112" y="77"/>
                  </a:cubicBezTo>
                  <a:cubicBezTo>
                    <a:pt x="3112" y="77"/>
                    <a:pt x="3112" y="77"/>
                    <a:pt x="3112" y="77"/>
                  </a:cubicBezTo>
                  <a:moveTo>
                    <a:pt x="3142" y="77"/>
                  </a:moveTo>
                  <a:cubicBezTo>
                    <a:pt x="3136" y="77"/>
                    <a:pt x="3133" y="81"/>
                    <a:pt x="3134" y="87"/>
                  </a:cubicBezTo>
                  <a:cubicBezTo>
                    <a:pt x="3135" y="93"/>
                    <a:pt x="3141" y="97"/>
                    <a:pt x="3147" y="97"/>
                  </a:cubicBezTo>
                  <a:cubicBezTo>
                    <a:pt x="3153" y="97"/>
                    <a:pt x="3157" y="92"/>
                    <a:pt x="3155" y="87"/>
                  </a:cubicBezTo>
                  <a:cubicBezTo>
                    <a:pt x="3154" y="81"/>
                    <a:pt x="3148" y="77"/>
                    <a:pt x="3142" y="77"/>
                  </a:cubicBezTo>
                  <a:cubicBezTo>
                    <a:pt x="3142" y="77"/>
                    <a:pt x="3142" y="77"/>
                    <a:pt x="3142" y="77"/>
                  </a:cubicBezTo>
                  <a:moveTo>
                    <a:pt x="3172" y="76"/>
                  </a:moveTo>
                  <a:cubicBezTo>
                    <a:pt x="3166" y="76"/>
                    <a:pt x="3163" y="81"/>
                    <a:pt x="3164" y="87"/>
                  </a:cubicBezTo>
                  <a:cubicBezTo>
                    <a:pt x="3166" y="92"/>
                    <a:pt x="3172" y="97"/>
                    <a:pt x="3177" y="97"/>
                  </a:cubicBezTo>
                  <a:cubicBezTo>
                    <a:pt x="3183" y="97"/>
                    <a:pt x="3187" y="92"/>
                    <a:pt x="3185" y="86"/>
                  </a:cubicBezTo>
                  <a:cubicBezTo>
                    <a:pt x="3184" y="81"/>
                    <a:pt x="3178" y="76"/>
                    <a:pt x="3172" y="76"/>
                  </a:cubicBezTo>
                  <a:cubicBezTo>
                    <a:pt x="3172" y="76"/>
                    <a:pt x="3172" y="76"/>
                    <a:pt x="3172" y="76"/>
                  </a:cubicBezTo>
                  <a:moveTo>
                    <a:pt x="3536" y="66"/>
                  </a:moveTo>
                  <a:cubicBezTo>
                    <a:pt x="3530" y="66"/>
                    <a:pt x="3527" y="71"/>
                    <a:pt x="3529" y="77"/>
                  </a:cubicBezTo>
                  <a:cubicBezTo>
                    <a:pt x="3531" y="82"/>
                    <a:pt x="3538" y="87"/>
                    <a:pt x="3544" y="87"/>
                  </a:cubicBezTo>
                  <a:cubicBezTo>
                    <a:pt x="3550" y="87"/>
                    <a:pt x="3553" y="82"/>
                    <a:pt x="3550" y="77"/>
                  </a:cubicBezTo>
                  <a:cubicBezTo>
                    <a:pt x="3548" y="71"/>
                    <a:pt x="3542" y="66"/>
                    <a:pt x="3536" y="66"/>
                  </a:cubicBezTo>
                  <a:cubicBezTo>
                    <a:pt x="3536" y="66"/>
                    <a:pt x="3536" y="66"/>
                    <a:pt x="3536" y="66"/>
                  </a:cubicBezTo>
                  <a:moveTo>
                    <a:pt x="1421" y="62"/>
                  </a:moveTo>
                  <a:cubicBezTo>
                    <a:pt x="1415" y="63"/>
                    <a:pt x="1408" y="67"/>
                    <a:pt x="1406" y="73"/>
                  </a:cubicBezTo>
                  <a:cubicBezTo>
                    <a:pt x="1403" y="78"/>
                    <a:pt x="1406" y="83"/>
                    <a:pt x="1412" y="83"/>
                  </a:cubicBezTo>
                  <a:cubicBezTo>
                    <a:pt x="1418" y="83"/>
                    <a:pt x="1424" y="78"/>
                    <a:pt x="1427" y="73"/>
                  </a:cubicBezTo>
                  <a:cubicBezTo>
                    <a:pt x="1429" y="67"/>
                    <a:pt x="1426" y="62"/>
                    <a:pt x="1421" y="62"/>
                  </a:cubicBezTo>
                  <a:cubicBezTo>
                    <a:pt x="1421" y="62"/>
                    <a:pt x="1421" y="62"/>
                    <a:pt x="1421" y="62"/>
                  </a:cubicBezTo>
                  <a:moveTo>
                    <a:pt x="1512" y="62"/>
                  </a:moveTo>
                  <a:cubicBezTo>
                    <a:pt x="1506" y="62"/>
                    <a:pt x="1499" y="66"/>
                    <a:pt x="1497" y="72"/>
                  </a:cubicBezTo>
                  <a:cubicBezTo>
                    <a:pt x="1495" y="77"/>
                    <a:pt x="1498" y="82"/>
                    <a:pt x="1504" y="82"/>
                  </a:cubicBezTo>
                  <a:cubicBezTo>
                    <a:pt x="1509" y="82"/>
                    <a:pt x="1516" y="77"/>
                    <a:pt x="1518" y="72"/>
                  </a:cubicBezTo>
                  <a:cubicBezTo>
                    <a:pt x="1520" y="66"/>
                    <a:pt x="1517" y="62"/>
                    <a:pt x="1512" y="62"/>
                  </a:cubicBezTo>
                  <a:cubicBezTo>
                    <a:pt x="1512" y="62"/>
                    <a:pt x="1512" y="62"/>
                    <a:pt x="1512" y="62"/>
                  </a:cubicBezTo>
                  <a:moveTo>
                    <a:pt x="1543" y="61"/>
                  </a:moveTo>
                  <a:cubicBezTo>
                    <a:pt x="1537" y="61"/>
                    <a:pt x="1531" y="66"/>
                    <a:pt x="1529" y="71"/>
                  </a:cubicBezTo>
                  <a:cubicBezTo>
                    <a:pt x="1527" y="77"/>
                    <a:pt x="1530" y="82"/>
                    <a:pt x="1535" y="82"/>
                  </a:cubicBezTo>
                  <a:cubicBezTo>
                    <a:pt x="1541" y="81"/>
                    <a:pt x="1548" y="77"/>
                    <a:pt x="1550" y="71"/>
                  </a:cubicBezTo>
                  <a:cubicBezTo>
                    <a:pt x="1552" y="66"/>
                    <a:pt x="1549" y="61"/>
                    <a:pt x="1543" y="61"/>
                  </a:cubicBezTo>
                  <a:cubicBezTo>
                    <a:pt x="1543" y="61"/>
                    <a:pt x="1543" y="61"/>
                    <a:pt x="1543" y="61"/>
                  </a:cubicBezTo>
                  <a:moveTo>
                    <a:pt x="1572" y="61"/>
                  </a:moveTo>
                  <a:cubicBezTo>
                    <a:pt x="1566" y="61"/>
                    <a:pt x="1559" y="66"/>
                    <a:pt x="1557" y="71"/>
                  </a:cubicBezTo>
                  <a:cubicBezTo>
                    <a:pt x="1555" y="77"/>
                    <a:pt x="1558" y="81"/>
                    <a:pt x="1564" y="81"/>
                  </a:cubicBezTo>
                  <a:cubicBezTo>
                    <a:pt x="1570" y="81"/>
                    <a:pt x="1576" y="77"/>
                    <a:pt x="1578" y="71"/>
                  </a:cubicBezTo>
                  <a:cubicBezTo>
                    <a:pt x="1580" y="65"/>
                    <a:pt x="1577" y="61"/>
                    <a:pt x="1572" y="61"/>
                  </a:cubicBezTo>
                  <a:cubicBezTo>
                    <a:pt x="1572" y="61"/>
                    <a:pt x="1572" y="61"/>
                    <a:pt x="1572" y="61"/>
                  </a:cubicBezTo>
                  <a:moveTo>
                    <a:pt x="1602" y="61"/>
                  </a:moveTo>
                  <a:cubicBezTo>
                    <a:pt x="1596" y="61"/>
                    <a:pt x="1589" y="65"/>
                    <a:pt x="1587" y="71"/>
                  </a:cubicBezTo>
                  <a:cubicBezTo>
                    <a:pt x="1585" y="77"/>
                    <a:pt x="1588" y="81"/>
                    <a:pt x="1594" y="81"/>
                  </a:cubicBezTo>
                  <a:cubicBezTo>
                    <a:pt x="1600" y="81"/>
                    <a:pt x="1606" y="76"/>
                    <a:pt x="1608" y="71"/>
                  </a:cubicBezTo>
                  <a:cubicBezTo>
                    <a:pt x="1610" y="65"/>
                    <a:pt x="1607" y="61"/>
                    <a:pt x="1602" y="61"/>
                  </a:cubicBezTo>
                  <a:cubicBezTo>
                    <a:pt x="1602" y="61"/>
                    <a:pt x="1602" y="61"/>
                    <a:pt x="1602" y="61"/>
                  </a:cubicBezTo>
                  <a:moveTo>
                    <a:pt x="1632" y="60"/>
                  </a:moveTo>
                  <a:cubicBezTo>
                    <a:pt x="1626" y="60"/>
                    <a:pt x="1620" y="65"/>
                    <a:pt x="1618" y="71"/>
                  </a:cubicBezTo>
                  <a:cubicBezTo>
                    <a:pt x="1616" y="76"/>
                    <a:pt x="1619" y="81"/>
                    <a:pt x="1625" y="81"/>
                  </a:cubicBezTo>
                  <a:cubicBezTo>
                    <a:pt x="1631" y="81"/>
                    <a:pt x="1637" y="76"/>
                    <a:pt x="1639" y="70"/>
                  </a:cubicBezTo>
                  <a:cubicBezTo>
                    <a:pt x="1641" y="65"/>
                    <a:pt x="1638" y="60"/>
                    <a:pt x="1632" y="60"/>
                  </a:cubicBezTo>
                  <a:cubicBezTo>
                    <a:pt x="1632" y="60"/>
                    <a:pt x="1632" y="60"/>
                    <a:pt x="1632" y="60"/>
                  </a:cubicBezTo>
                  <a:moveTo>
                    <a:pt x="1662" y="60"/>
                  </a:moveTo>
                  <a:cubicBezTo>
                    <a:pt x="1656" y="60"/>
                    <a:pt x="1650" y="65"/>
                    <a:pt x="1648" y="70"/>
                  </a:cubicBezTo>
                  <a:cubicBezTo>
                    <a:pt x="1646" y="76"/>
                    <a:pt x="1649" y="80"/>
                    <a:pt x="1655" y="80"/>
                  </a:cubicBezTo>
                  <a:cubicBezTo>
                    <a:pt x="1661" y="80"/>
                    <a:pt x="1667" y="76"/>
                    <a:pt x="1669" y="70"/>
                  </a:cubicBezTo>
                  <a:cubicBezTo>
                    <a:pt x="1671" y="64"/>
                    <a:pt x="1668" y="60"/>
                    <a:pt x="1662" y="60"/>
                  </a:cubicBezTo>
                  <a:cubicBezTo>
                    <a:pt x="1662" y="60"/>
                    <a:pt x="1662" y="60"/>
                    <a:pt x="1662" y="60"/>
                  </a:cubicBezTo>
                  <a:moveTo>
                    <a:pt x="1692" y="60"/>
                  </a:moveTo>
                  <a:cubicBezTo>
                    <a:pt x="1686" y="60"/>
                    <a:pt x="1680" y="64"/>
                    <a:pt x="1678" y="70"/>
                  </a:cubicBezTo>
                  <a:cubicBezTo>
                    <a:pt x="1676" y="76"/>
                    <a:pt x="1680" y="80"/>
                    <a:pt x="1686" y="80"/>
                  </a:cubicBezTo>
                  <a:cubicBezTo>
                    <a:pt x="1691" y="80"/>
                    <a:pt x="1698" y="75"/>
                    <a:pt x="1699" y="70"/>
                  </a:cubicBezTo>
                  <a:cubicBezTo>
                    <a:pt x="1701" y="64"/>
                    <a:pt x="1698" y="60"/>
                    <a:pt x="1692" y="60"/>
                  </a:cubicBezTo>
                  <a:cubicBezTo>
                    <a:pt x="1692" y="60"/>
                    <a:pt x="1692" y="60"/>
                    <a:pt x="1692" y="60"/>
                  </a:cubicBezTo>
                  <a:moveTo>
                    <a:pt x="1722" y="59"/>
                  </a:moveTo>
                  <a:cubicBezTo>
                    <a:pt x="1716" y="59"/>
                    <a:pt x="1710" y="64"/>
                    <a:pt x="1708" y="70"/>
                  </a:cubicBezTo>
                  <a:cubicBezTo>
                    <a:pt x="1707" y="75"/>
                    <a:pt x="1710" y="80"/>
                    <a:pt x="1716" y="80"/>
                  </a:cubicBezTo>
                  <a:cubicBezTo>
                    <a:pt x="1722" y="80"/>
                    <a:pt x="1728" y="75"/>
                    <a:pt x="1730" y="69"/>
                  </a:cubicBezTo>
                  <a:cubicBezTo>
                    <a:pt x="1731" y="64"/>
                    <a:pt x="1728" y="59"/>
                    <a:pt x="1722" y="59"/>
                  </a:cubicBezTo>
                  <a:cubicBezTo>
                    <a:pt x="1722" y="59"/>
                    <a:pt x="1722" y="59"/>
                    <a:pt x="1722" y="59"/>
                  </a:cubicBezTo>
                  <a:moveTo>
                    <a:pt x="1752" y="59"/>
                  </a:moveTo>
                  <a:cubicBezTo>
                    <a:pt x="1746" y="59"/>
                    <a:pt x="1740" y="64"/>
                    <a:pt x="1738" y="69"/>
                  </a:cubicBezTo>
                  <a:cubicBezTo>
                    <a:pt x="1737" y="75"/>
                    <a:pt x="1740" y="80"/>
                    <a:pt x="1746" y="79"/>
                  </a:cubicBezTo>
                  <a:cubicBezTo>
                    <a:pt x="1752" y="79"/>
                    <a:pt x="1758" y="75"/>
                    <a:pt x="1760" y="69"/>
                  </a:cubicBezTo>
                  <a:cubicBezTo>
                    <a:pt x="1761" y="64"/>
                    <a:pt x="1758" y="59"/>
                    <a:pt x="1752" y="59"/>
                  </a:cubicBezTo>
                  <a:cubicBezTo>
                    <a:pt x="1752" y="59"/>
                    <a:pt x="1752" y="59"/>
                    <a:pt x="1752" y="59"/>
                  </a:cubicBezTo>
                  <a:moveTo>
                    <a:pt x="1782" y="59"/>
                  </a:moveTo>
                  <a:cubicBezTo>
                    <a:pt x="1776" y="59"/>
                    <a:pt x="1770" y="63"/>
                    <a:pt x="1769" y="69"/>
                  </a:cubicBezTo>
                  <a:cubicBezTo>
                    <a:pt x="1767" y="75"/>
                    <a:pt x="1771" y="79"/>
                    <a:pt x="1776" y="79"/>
                  </a:cubicBezTo>
                  <a:cubicBezTo>
                    <a:pt x="1782" y="79"/>
                    <a:pt x="1788" y="74"/>
                    <a:pt x="1790" y="69"/>
                  </a:cubicBezTo>
                  <a:cubicBezTo>
                    <a:pt x="1792" y="63"/>
                    <a:pt x="1788" y="59"/>
                    <a:pt x="1782" y="59"/>
                  </a:cubicBezTo>
                  <a:cubicBezTo>
                    <a:pt x="1782" y="59"/>
                    <a:pt x="1782" y="59"/>
                    <a:pt x="1782" y="59"/>
                  </a:cubicBezTo>
                  <a:moveTo>
                    <a:pt x="1813" y="58"/>
                  </a:moveTo>
                  <a:cubicBezTo>
                    <a:pt x="1808" y="59"/>
                    <a:pt x="1802" y="63"/>
                    <a:pt x="1800" y="69"/>
                  </a:cubicBezTo>
                  <a:cubicBezTo>
                    <a:pt x="1798" y="74"/>
                    <a:pt x="1802" y="79"/>
                    <a:pt x="1808" y="79"/>
                  </a:cubicBezTo>
                  <a:cubicBezTo>
                    <a:pt x="1814" y="79"/>
                    <a:pt x="1820" y="74"/>
                    <a:pt x="1821" y="69"/>
                  </a:cubicBezTo>
                  <a:cubicBezTo>
                    <a:pt x="1823" y="63"/>
                    <a:pt x="1819" y="58"/>
                    <a:pt x="1813" y="58"/>
                  </a:cubicBezTo>
                  <a:cubicBezTo>
                    <a:pt x="1813" y="58"/>
                    <a:pt x="1813" y="58"/>
                    <a:pt x="1813" y="58"/>
                  </a:cubicBezTo>
                  <a:moveTo>
                    <a:pt x="1843" y="58"/>
                  </a:moveTo>
                  <a:cubicBezTo>
                    <a:pt x="1837" y="58"/>
                    <a:pt x="1832" y="63"/>
                    <a:pt x="1830" y="68"/>
                  </a:cubicBezTo>
                  <a:cubicBezTo>
                    <a:pt x="1829" y="74"/>
                    <a:pt x="1832" y="79"/>
                    <a:pt x="1838" y="79"/>
                  </a:cubicBezTo>
                  <a:cubicBezTo>
                    <a:pt x="1844" y="78"/>
                    <a:pt x="1850" y="74"/>
                    <a:pt x="1851" y="68"/>
                  </a:cubicBezTo>
                  <a:cubicBezTo>
                    <a:pt x="1853" y="63"/>
                    <a:pt x="1849" y="58"/>
                    <a:pt x="1843" y="58"/>
                  </a:cubicBezTo>
                  <a:cubicBezTo>
                    <a:pt x="1843" y="58"/>
                    <a:pt x="1843" y="58"/>
                    <a:pt x="1843" y="58"/>
                  </a:cubicBezTo>
                  <a:moveTo>
                    <a:pt x="1873" y="58"/>
                  </a:moveTo>
                  <a:cubicBezTo>
                    <a:pt x="1868" y="58"/>
                    <a:pt x="1862" y="63"/>
                    <a:pt x="1860" y="68"/>
                  </a:cubicBezTo>
                  <a:cubicBezTo>
                    <a:pt x="1859" y="74"/>
                    <a:pt x="1862" y="78"/>
                    <a:pt x="1868" y="78"/>
                  </a:cubicBezTo>
                  <a:cubicBezTo>
                    <a:pt x="1874" y="78"/>
                    <a:pt x="1880" y="74"/>
                    <a:pt x="1881" y="68"/>
                  </a:cubicBezTo>
                  <a:cubicBezTo>
                    <a:pt x="1883" y="62"/>
                    <a:pt x="1879" y="58"/>
                    <a:pt x="1874" y="58"/>
                  </a:cubicBezTo>
                  <a:cubicBezTo>
                    <a:pt x="1873" y="58"/>
                    <a:pt x="1873" y="58"/>
                    <a:pt x="1873" y="58"/>
                  </a:cubicBezTo>
                  <a:moveTo>
                    <a:pt x="1904" y="58"/>
                  </a:moveTo>
                  <a:cubicBezTo>
                    <a:pt x="1898" y="58"/>
                    <a:pt x="1892" y="62"/>
                    <a:pt x="1891" y="68"/>
                  </a:cubicBezTo>
                  <a:cubicBezTo>
                    <a:pt x="1889" y="73"/>
                    <a:pt x="1893" y="78"/>
                    <a:pt x="1899" y="78"/>
                  </a:cubicBezTo>
                  <a:cubicBezTo>
                    <a:pt x="1905" y="78"/>
                    <a:pt x="1911" y="73"/>
                    <a:pt x="1912" y="68"/>
                  </a:cubicBezTo>
                  <a:cubicBezTo>
                    <a:pt x="1913" y="62"/>
                    <a:pt x="1910" y="58"/>
                    <a:pt x="1904" y="58"/>
                  </a:cubicBezTo>
                  <a:cubicBezTo>
                    <a:pt x="1904" y="58"/>
                    <a:pt x="1904" y="58"/>
                    <a:pt x="1904" y="58"/>
                  </a:cubicBezTo>
                  <a:moveTo>
                    <a:pt x="1934" y="57"/>
                  </a:moveTo>
                  <a:cubicBezTo>
                    <a:pt x="1928" y="57"/>
                    <a:pt x="1922" y="62"/>
                    <a:pt x="1921" y="68"/>
                  </a:cubicBezTo>
                  <a:cubicBezTo>
                    <a:pt x="1920" y="73"/>
                    <a:pt x="1923" y="78"/>
                    <a:pt x="1929" y="78"/>
                  </a:cubicBezTo>
                  <a:cubicBezTo>
                    <a:pt x="1935" y="78"/>
                    <a:pt x="1941" y="73"/>
                    <a:pt x="1942" y="67"/>
                  </a:cubicBezTo>
                  <a:cubicBezTo>
                    <a:pt x="1943" y="62"/>
                    <a:pt x="1940" y="57"/>
                    <a:pt x="1934" y="57"/>
                  </a:cubicBezTo>
                  <a:cubicBezTo>
                    <a:pt x="1934" y="57"/>
                    <a:pt x="1934" y="57"/>
                    <a:pt x="1934" y="57"/>
                  </a:cubicBezTo>
                  <a:moveTo>
                    <a:pt x="1964" y="57"/>
                  </a:moveTo>
                  <a:cubicBezTo>
                    <a:pt x="1958" y="57"/>
                    <a:pt x="1952" y="62"/>
                    <a:pt x="1951" y="67"/>
                  </a:cubicBezTo>
                  <a:cubicBezTo>
                    <a:pt x="1950" y="73"/>
                    <a:pt x="1954" y="77"/>
                    <a:pt x="1959" y="77"/>
                  </a:cubicBezTo>
                  <a:cubicBezTo>
                    <a:pt x="1965" y="77"/>
                    <a:pt x="1971" y="73"/>
                    <a:pt x="1972" y="67"/>
                  </a:cubicBezTo>
                  <a:cubicBezTo>
                    <a:pt x="1973" y="61"/>
                    <a:pt x="1970" y="57"/>
                    <a:pt x="1964" y="57"/>
                  </a:cubicBezTo>
                  <a:cubicBezTo>
                    <a:pt x="1964" y="57"/>
                    <a:pt x="1964" y="57"/>
                    <a:pt x="1964" y="57"/>
                  </a:cubicBezTo>
                  <a:moveTo>
                    <a:pt x="2293" y="56"/>
                  </a:moveTo>
                  <a:cubicBezTo>
                    <a:pt x="2287" y="56"/>
                    <a:pt x="2282" y="61"/>
                    <a:pt x="2281" y="66"/>
                  </a:cubicBezTo>
                  <a:cubicBezTo>
                    <a:pt x="2281" y="72"/>
                    <a:pt x="2285" y="76"/>
                    <a:pt x="2291" y="76"/>
                  </a:cubicBezTo>
                  <a:cubicBezTo>
                    <a:pt x="2297" y="76"/>
                    <a:pt x="2302" y="72"/>
                    <a:pt x="2303" y="66"/>
                  </a:cubicBezTo>
                  <a:cubicBezTo>
                    <a:pt x="2303" y="60"/>
                    <a:pt x="2299" y="56"/>
                    <a:pt x="2293" y="56"/>
                  </a:cubicBezTo>
                  <a:cubicBezTo>
                    <a:pt x="2293" y="56"/>
                    <a:pt x="2293" y="56"/>
                    <a:pt x="2293" y="56"/>
                  </a:cubicBezTo>
                  <a:moveTo>
                    <a:pt x="2325" y="56"/>
                  </a:moveTo>
                  <a:cubicBezTo>
                    <a:pt x="2320" y="56"/>
                    <a:pt x="2315" y="60"/>
                    <a:pt x="2314" y="66"/>
                  </a:cubicBezTo>
                  <a:cubicBezTo>
                    <a:pt x="2314" y="72"/>
                    <a:pt x="2318" y="76"/>
                    <a:pt x="2324" y="76"/>
                  </a:cubicBezTo>
                  <a:cubicBezTo>
                    <a:pt x="2330" y="76"/>
                    <a:pt x="2335" y="71"/>
                    <a:pt x="2335" y="66"/>
                  </a:cubicBezTo>
                  <a:cubicBezTo>
                    <a:pt x="2336" y="60"/>
                    <a:pt x="2331" y="56"/>
                    <a:pt x="2326" y="56"/>
                  </a:cubicBezTo>
                  <a:cubicBezTo>
                    <a:pt x="2326" y="56"/>
                    <a:pt x="2326" y="56"/>
                    <a:pt x="2325" y="56"/>
                  </a:cubicBezTo>
                  <a:moveTo>
                    <a:pt x="2355" y="55"/>
                  </a:moveTo>
                  <a:cubicBezTo>
                    <a:pt x="2350" y="55"/>
                    <a:pt x="2345" y="60"/>
                    <a:pt x="2344" y="66"/>
                  </a:cubicBezTo>
                  <a:cubicBezTo>
                    <a:pt x="2344" y="71"/>
                    <a:pt x="2348" y="76"/>
                    <a:pt x="2354" y="76"/>
                  </a:cubicBezTo>
                  <a:cubicBezTo>
                    <a:pt x="2360" y="76"/>
                    <a:pt x="2365" y="71"/>
                    <a:pt x="2365" y="65"/>
                  </a:cubicBezTo>
                  <a:cubicBezTo>
                    <a:pt x="2366" y="60"/>
                    <a:pt x="2361" y="55"/>
                    <a:pt x="2356" y="55"/>
                  </a:cubicBezTo>
                  <a:cubicBezTo>
                    <a:pt x="2355" y="55"/>
                    <a:pt x="2355" y="55"/>
                    <a:pt x="2355" y="55"/>
                  </a:cubicBezTo>
                  <a:moveTo>
                    <a:pt x="2386" y="55"/>
                  </a:moveTo>
                  <a:cubicBezTo>
                    <a:pt x="2380" y="55"/>
                    <a:pt x="2375" y="60"/>
                    <a:pt x="2375" y="65"/>
                  </a:cubicBezTo>
                  <a:cubicBezTo>
                    <a:pt x="2375" y="71"/>
                    <a:pt x="2379" y="75"/>
                    <a:pt x="2385" y="75"/>
                  </a:cubicBezTo>
                  <a:cubicBezTo>
                    <a:pt x="2391" y="75"/>
                    <a:pt x="2396" y="71"/>
                    <a:pt x="2396" y="65"/>
                  </a:cubicBezTo>
                  <a:cubicBezTo>
                    <a:pt x="2396" y="59"/>
                    <a:pt x="2392" y="55"/>
                    <a:pt x="2386" y="55"/>
                  </a:cubicBezTo>
                  <a:cubicBezTo>
                    <a:pt x="2386" y="55"/>
                    <a:pt x="2386" y="55"/>
                    <a:pt x="2386" y="55"/>
                  </a:cubicBezTo>
                  <a:moveTo>
                    <a:pt x="3075" y="46"/>
                  </a:moveTo>
                  <a:cubicBezTo>
                    <a:pt x="3069" y="47"/>
                    <a:pt x="3065" y="51"/>
                    <a:pt x="3067" y="57"/>
                  </a:cubicBezTo>
                  <a:cubicBezTo>
                    <a:pt x="3068" y="63"/>
                    <a:pt x="3073" y="67"/>
                    <a:pt x="3079" y="67"/>
                  </a:cubicBezTo>
                  <a:cubicBezTo>
                    <a:pt x="3085" y="67"/>
                    <a:pt x="3089" y="62"/>
                    <a:pt x="3088" y="57"/>
                  </a:cubicBezTo>
                  <a:cubicBezTo>
                    <a:pt x="3086" y="51"/>
                    <a:pt x="3081" y="46"/>
                    <a:pt x="3075" y="46"/>
                  </a:cubicBezTo>
                  <a:cubicBezTo>
                    <a:pt x="3075" y="46"/>
                    <a:pt x="3075" y="46"/>
                    <a:pt x="3075" y="46"/>
                  </a:cubicBezTo>
                  <a:moveTo>
                    <a:pt x="3105" y="46"/>
                  </a:moveTo>
                  <a:cubicBezTo>
                    <a:pt x="3099" y="46"/>
                    <a:pt x="3095" y="51"/>
                    <a:pt x="3096" y="57"/>
                  </a:cubicBezTo>
                  <a:cubicBezTo>
                    <a:pt x="3098" y="62"/>
                    <a:pt x="3104" y="67"/>
                    <a:pt x="3109" y="67"/>
                  </a:cubicBezTo>
                  <a:cubicBezTo>
                    <a:pt x="3115" y="67"/>
                    <a:pt x="3119" y="62"/>
                    <a:pt x="3117" y="56"/>
                  </a:cubicBezTo>
                  <a:cubicBezTo>
                    <a:pt x="3116" y="51"/>
                    <a:pt x="3110" y="46"/>
                    <a:pt x="3105" y="46"/>
                  </a:cubicBezTo>
                  <a:cubicBezTo>
                    <a:pt x="3105" y="46"/>
                    <a:pt x="3105" y="46"/>
                    <a:pt x="3105" y="46"/>
                  </a:cubicBezTo>
                  <a:moveTo>
                    <a:pt x="3135" y="46"/>
                  </a:moveTo>
                  <a:cubicBezTo>
                    <a:pt x="3129" y="46"/>
                    <a:pt x="3125" y="51"/>
                    <a:pt x="3127" y="56"/>
                  </a:cubicBezTo>
                  <a:cubicBezTo>
                    <a:pt x="3128" y="62"/>
                    <a:pt x="3134" y="66"/>
                    <a:pt x="3140" y="66"/>
                  </a:cubicBezTo>
                  <a:cubicBezTo>
                    <a:pt x="3145" y="66"/>
                    <a:pt x="3149" y="62"/>
                    <a:pt x="3148" y="56"/>
                  </a:cubicBezTo>
                  <a:cubicBezTo>
                    <a:pt x="3146" y="50"/>
                    <a:pt x="3140" y="46"/>
                    <a:pt x="3135" y="46"/>
                  </a:cubicBezTo>
                  <a:cubicBezTo>
                    <a:pt x="3135" y="46"/>
                    <a:pt x="3135" y="46"/>
                    <a:pt x="3135" y="46"/>
                  </a:cubicBezTo>
                  <a:moveTo>
                    <a:pt x="3164" y="46"/>
                  </a:moveTo>
                  <a:cubicBezTo>
                    <a:pt x="3158" y="46"/>
                    <a:pt x="3155" y="50"/>
                    <a:pt x="3156" y="56"/>
                  </a:cubicBezTo>
                  <a:cubicBezTo>
                    <a:pt x="3158" y="62"/>
                    <a:pt x="3164" y="66"/>
                    <a:pt x="3170" y="66"/>
                  </a:cubicBezTo>
                  <a:cubicBezTo>
                    <a:pt x="3175" y="66"/>
                    <a:pt x="3179" y="61"/>
                    <a:pt x="3177" y="56"/>
                  </a:cubicBezTo>
                  <a:cubicBezTo>
                    <a:pt x="3176" y="50"/>
                    <a:pt x="3170" y="46"/>
                    <a:pt x="3164" y="46"/>
                  </a:cubicBezTo>
                  <a:cubicBezTo>
                    <a:pt x="3164" y="46"/>
                    <a:pt x="3164" y="46"/>
                    <a:pt x="3164" y="46"/>
                  </a:cubicBezTo>
                  <a:moveTo>
                    <a:pt x="1436" y="33"/>
                  </a:moveTo>
                  <a:cubicBezTo>
                    <a:pt x="1430" y="33"/>
                    <a:pt x="1423" y="38"/>
                    <a:pt x="1421" y="43"/>
                  </a:cubicBezTo>
                  <a:cubicBezTo>
                    <a:pt x="1418" y="49"/>
                    <a:pt x="1421" y="53"/>
                    <a:pt x="1427" y="53"/>
                  </a:cubicBezTo>
                  <a:cubicBezTo>
                    <a:pt x="1433" y="53"/>
                    <a:pt x="1439" y="49"/>
                    <a:pt x="1442" y="43"/>
                  </a:cubicBezTo>
                  <a:cubicBezTo>
                    <a:pt x="1444" y="38"/>
                    <a:pt x="1441" y="33"/>
                    <a:pt x="1436" y="33"/>
                  </a:cubicBezTo>
                  <a:cubicBezTo>
                    <a:pt x="1436" y="33"/>
                    <a:pt x="1436" y="33"/>
                    <a:pt x="1436" y="33"/>
                  </a:cubicBezTo>
                  <a:moveTo>
                    <a:pt x="1465" y="33"/>
                  </a:moveTo>
                  <a:cubicBezTo>
                    <a:pt x="1459" y="33"/>
                    <a:pt x="1453" y="37"/>
                    <a:pt x="1450" y="43"/>
                  </a:cubicBezTo>
                  <a:cubicBezTo>
                    <a:pt x="1448" y="49"/>
                    <a:pt x="1451" y="53"/>
                    <a:pt x="1457" y="53"/>
                  </a:cubicBezTo>
                  <a:cubicBezTo>
                    <a:pt x="1463" y="53"/>
                    <a:pt x="1469" y="48"/>
                    <a:pt x="1471" y="43"/>
                  </a:cubicBezTo>
                  <a:cubicBezTo>
                    <a:pt x="1474" y="37"/>
                    <a:pt x="1471" y="33"/>
                    <a:pt x="1465" y="33"/>
                  </a:cubicBezTo>
                  <a:cubicBezTo>
                    <a:pt x="1465" y="33"/>
                    <a:pt x="1465" y="33"/>
                    <a:pt x="1465" y="33"/>
                  </a:cubicBezTo>
                  <a:moveTo>
                    <a:pt x="1493" y="32"/>
                  </a:moveTo>
                  <a:cubicBezTo>
                    <a:pt x="1488" y="33"/>
                    <a:pt x="1481" y="37"/>
                    <a:pt x="1479" y="43"/>
                  </a:cubicBezTo>
                  <a:cubicBezTo>
                    <a:pt x="1477" y="48"/>
                    <a:pt x="1479" y="53"/>
                    <a:pt x="1485" y="53"/>
                  </a:cubicBezTo>
                  <a:cubicBezTo>
                    <a:pt x="1491" y="53"/>
                    <a:pt x="1498" y="48"/>
                    <a:pt x="1500" y="43"/>
                  </a:cubicBezTo>
                  <a:cubicBezTo>
                    <a:pt x="1502" y="37"/>
                    <a:pt x="1499" y="32"/>
                    <a:pt x="1494" y="32"/>
                  </a:cubicBezTo>
                  <a:cubicBezTo>
                    <a:pt x="1494" y="32"/>
                    <a:pt x="1493" y="32"/>
                    <a:pt x="1493" y="32"/>
                  </a:cubicBezTo>
                  <a:moveTo>
                    <a:pt x="1525" y="32"/>
                  </a:moveTo>
                  <a:cubicBezTo>
                    <a:pt x="1519" y="32"/>
                    <a:pt x="1512" y="37"/>
                    <a:pt x="1510" y="42"/>
                  </a:cubicBezTo>
                  <a:cubicBezTo>
                    <a:pt x="1508" y="48"/>
                    <a:pt x="1511" y="53"/>
                    <a:pt x="1517" y="52"/>
                  </a:cubicBezTo>
                  <a:cubicBezTo>
                    <a:pt x="1523" y="52"/>
                    <a:pt x="1529" y="48"/>
                    <a:pt x="1531" y="42"/>
                  </a:cubicBezTo>
                  <a:cubicBezTo>
                    <a:pt x="1533" y="37"/>
                    <a:pt x="1530" y="32"/>
                    <a:pt x="1525" y="32"/>
                  </a:cubicBezTo>
                  <a:cubicBezTo>
                    <a:pt x="1525" y="32"/>
                    <a:pt x="1525" y="32"/>
                    <a:pt x="1525" y="32"/>
                  </a:cubicBezTo>
                  <a:moveTo>
                    <a:pt x="1582" y="32"/>
                  </a:moveTo>
                  <a:cubicBezTo>
                    <a:pt x="1577" y="32"/>
                    <a:pt x="1570" y="36"/>
                    <a:pt x="1568" y="42"/>
                  </a:cubicBezTo>
                  <a:cubicBezTo>
                    <a:pt x="1566" y="47"/>
                    <a:pt x="1569" y="52"/>
                    <a:pt x="1575" y="52"/>
                  </a:cubicBezTo>
                  <a:cubicBezTo>
                    <a:pt x="1581" y="52"/>
                    <a:pt x="1587" y="47"/>
                    <a:pt x="1589" y="42"/>
                  </a:cubicBezTo>
                  <a:cubicBezTo>
                    <a:pt x="1591" y="36"/>
                    <a:pt x="1588" y="32"/>
                    <a:pt x="1583" y="32"/>
                  </a:cubicBezTo>
                  <a:cubicBezTo>
                    <a:pt x="1582" y="32"/>
                    <a:pt x="1582" y="32"/>
                    <a:pt x="1582" y="32"/>
                  </a:cubicBezTo>
                  <a:moveTo>
                    <a:pt x="1612" y="31"/>
                  </a:moveTo>
                  <a:cubicBezTo>
                    <a:pt x="1606" y="31"/>
                    <a:pt x="1600" y="36"/>
                    <a:pt x="1598" y="42"/>
                  </a:cubicBezTo>
                  <a:cubicBezTo>
                    <a:pt x="1596" y="47"/>
                    <a:pt x="1599" y="52"/>
                    <a:pt x="1605" y="52"/>
                  </a:cubicBezTo>
                  <a:cubicBezTo>
                    <a:pt x="1611" y="52"/>
                    <a:pt x="1617" y="47"/>
                    <a:pt x="1619" y="41"/>
                  </a:cubicBezTo>
                  <a:cubicBezTo>
                    <a:pt x="1621" y="36"/>
                    <a:pt x="1618" y="31"/>
                    <a:pt x="1612" y="31"/>
                  </a:cubicBezTo>
                  <a:cubicBezTo>
                    <a:pt x="1612" y="31"/>
                    <a:pt x="1612" y="31"/>
                    <a:pt x="1612" y="31"/>
                  </a:cubicBezTo>
                  <a:moveTo>
                    <a:pt x="1642" y="31"/>
                  </a:moveTo>
                  <a:cubicBezTo>
                    <a:pt x="1636" y="31"/>
                    <a:pt x="1630" y="36"/>
                    <a:pt x="1628" y="41"/>
                  </a:cubicBezTo>
                  <a:cubicBezTo>
                    <a:pt x="1626" y="47"/>
                    <a:pt x="1629" y="51"/>
                    <a:pt x="1635" y="51"/>
                  </a:cubicBezTo>
                  <a:cubicBezTo>
                    <a:pt x="1641" y="51"/>
                    <a:pt x="1647" y="47"/>
                    <a:pt x="1649" y="41"/>
                  </a:cubicBezTo>
                  <a:cubicBezTo>
                    <a:pt x="1651" y="35"/>
                    <a:pt x="1648" y="31"/>
                    <a:pt x="1642" y="31"/>
                  </a:cubicBezTo>
                  <a:cubicBezTo>
                    <a:pt x="1642" y="31"/>
                    <a:pt x="1642" y="31"/>
                    <a:pt x="1642" y="31"/>
                  </a:cubicBezTo>
                  <a:moveTo>
                    <a:pt x="1672" y="31"/>
                  </a:moveTo>
                  <a:cubicBezTo>
                    <a:pt x="1666" y="31"/>
                    <a:pt x="1660" y="35"/>
                    <a:pt x="1658" y="41"/>
                  </a:cubicBezTo>
                  <a:cubicBezTo>
                    <a:pt x="1656" y="46"/>
                    <a:pt x="1659" y="51"/>
                    <a:pt x="1665" y="51"/>
                  </a:cubicBezTo>
                  <a:cubicBezTo>
                    <a:pt x="1671" y="51"/>
                    <a:pt x="1677" y="46"/>
                    <a:pt x="1679" y="41"/>
                  </a:cubicBezTo>
                  <a:cubicBezTo>
                    <a:pt x="1681" y="35"/>
                    <a:pt x="1678" y="31"/>
                    <a:pt x="1672" y="31"/>
                  </a:cubicBezTo>
                  <a:cubicBezTo>
                    <a:pt x="1672" y="31"/>
                    <a:pt x="1672" y="31"/>
                    <a:pt x="1672" y="31"/>
                  </a:cubicBezTo>
                  <a:moveTo>
                    <a:pt x="1702" y="30"/>
                  </a:moveTo>
                  <a:cubicBezTo>
                    <a:pt x="1696" y="30"/>
                    <a:pt x="1690" y="35"/>
                    <a:pt x="1688" y="41"/>
                  </a:cubicBezTo>
                  <a:cubicBezTo>
                    <a:pt x="1686" y="46"/>
                    <a:pt x="1689" y="51"/>
                    <a:pt x="1695" y="51"/>
                  </a:cubicBezTo>
                  <a:cubicBezTo>
                    <a:pt x="1701" y="51"/>
                    <a:pt x="1707" y="46"/>
                    <a:pt x="1709" y="40"/>
                  </a:cubicBezTo>
                  <a:cubicBezTo>
                    <a:pt x="1710" y="35"/>
                    <a:pt x="1707" y="30"/>
                    <a:pt x="1702" y="30"/>
                  </a:cubicBezTo>
                  <a:cubicBezTo>
                    <a:pt x="1702" y="30"/>
                    <a:pt x="1702" y="30"/>
                    <a:pt x="1702" y="30"/>
                  </a:cubicBezTo>
                  <a:moveTo>
                    <a:pt x="1731" y="30"/>
                  </a:moveTo>
                  <a:cubicBezTo>
                    <a:pt x="1726" y="30"/>
                    <a:pt x="1719" y="35"/>
                    <a:pt x="1718" y="40"/>
                  </a:cubicBezTo>
                  <a:cubicBezTo>
                    <a:pt x="1716" y="46"/>
                    <a:pt x="1719" y="50"/>
                    <a:pt x="1725" y="50"/>
                  </a:cubicBezTo>
                  <a:cubicBezTo>
                    <a:pt x="1731" y="50"/>
                    <a:pt x="1737" y="46"/>
                    <a:pt x="1739" y="40"/>
                  </a:cubicBezTo>
                  <a:cubicBezTo>
                    <a:pt x="1740" y="34"/>
                    <a:pt x="1737" y="30"/>
                    <a:pt x="1731" y="30"/>
                  </a:cubicBezTo>
                  <a:cubicBezTo>
                    <a:pt x="1731" y="30"/>
                    <a:pt x="1731" y="30"/>
                    <a:pt x="1731" y="30"/>
                  </a:cubicBezTo>
                  <a:moveTo>
                    <a:pt x="1761" y="30"/>
                  </a:moveTo>
                  <a:cubicBezTo>
                    <a:pt x="1755" y="30"/>
                    <a:pt x="1749" y="34"/>
                    <a:pt x="1747" y="40"/>
                  </a:cubicBezTo>
                  <a:cubicBezTo>
                    <a:pt x="1746" y="46"/>
                    <a:pt x="1749" y="50"/>
                    <a:pt x="1755" y="50"/>
                  </a:cubicBezTo>
                  <a:cubicBezTo>
                    <a:pt x="1761" y="50"/>
                    <a:pt x="1767" y="45"/>
                    <a:pt x="1768" y="40"/>
                  </a:cubicBezTo>
                  <a:cubicBezTo>
                    <a:pt x="1770" y="34"/>
                    <a:pt x="1767" y="30"/>
                    <a:pt x="1761" y="30"/>
                  </a:cubicBezTo>
                  <a:cubicBezTo>
                    <a:pt x="1761" y="30"/>
                    <a:pt x="1761" y="30"/>
                    <a:pt x="1761" y="30"/>
                  </a:cubicBezTo>
                  <a:moveTo>
                    <a:pt x="1791" y="29"/>
                  </a:moveTo>
                  <a:cubicBezTo>
                    <a:pt x="1785" y="29"/>
                    <a:pt x="1779" y="34"/>
                    <a:pt x="1777" y="40"/>
                  </a:cubicBezTo>
                  <a:cubicBezTo>
                    <a:pt x="1776" y="45"/>
                    <a:pt x="1779" y="50"/>
                    <a:pt x="1785" y="50"/>
                  </a:cubicBezTo>
                  <a:cubicBezTo>
                    <a:pt x="1791" y="50"/>
                    <a:pt x="1797" y="45"/>
                    <a:pt x="1798" y="39"/>
                  </a:cubicBezTo>
                  <a:cubicBezTo>
                    <a:pt x="1800" y="34"/>
                    <a:pt x="1796" y="29"/>
                    <a:pt x="1791" y="29"/>
                  </a:cubicBezTo>
                  <a:cubicBezTo>
                    <a:pt x="1791" y="29"/>
                    <a:pt x="1791" y="29"/>
                    <a:pt x="1791" y="29"/>
                  </a:cubicBezTo>
                  <a:moveTo>
                    <a:pt x="1821" y="29"/>
                  </a:moveTo>
                  <a:cubicBezTo>
                    <a:pt x="1816" y="29"/>
                    <a:pt x="1810" y="34"/>
                    <a:pt x="1808" y="39"/>
                  </a:cubicBezTo>
                  <a:cubicBezTo>
                    <a:pt x="1807" y="45"/>
                    <a:pt x="1810" y="49"/>
                    <a:pt x="1816" y="49"/>
                  </a:cubicBezTo>
                  <a:cubicBezTo>
                    <a:pt x="1822" y="49"/>
                    <a:pt x="1828" y="45"/>
                    <a:pt x="1829" y="39"/>
                  </a:cubicBezTo>
                  <a:cubicBezTo>
                    <a:pt x="1831" y="34"/>
                    <a:pt x="1827" y="29"/>
                    <a:pt x="1821" y="29"/>
                  </a:cubicBezTo>
                  <a:cubicBezTo>
                    <a:pt x="1821" y="29"/>
                    <a:pt x="1821" y="29"/>
                    <a:pt x="1821" y="29"/>
                  </a:cubicBezTo>
                  <a:moveTo>
                    <a:pt x="1851" y="29"/>
                  </a:moveTo>
                  <a:cubicBezTo>
                    <a:pt x="1845" y="29"/>
                    <a:pt x="1839" y="33"/>
                    <a:pt x="1838" y="39"/>
                  </a:cubicBezTo>
                  <a:cubicBezTo>
                    <a:pt x="1836" y="45"/>
                    <a:pt x="1840" y="49"/>
                    <a:pt x="1846" y="49"/>
                  </a:cubicBezTo>
                  <a:cubicBezTo>
                    <a:pt x="1851" y="49"/>
                    <a:pt x="1857" y="44"/>
                    <a:pt x="1859" y="39"/>
                  </a:cubicBezTo>
                  <a:cubicBezTo>
                    <a:pt x="1860" y="33"/>
                    <a:pt x="1857" y="29"/>
                    <a:pt x="1851" y="29"/>
                  </a:cubicBezTo>
                  <a:cubicBezTo>
                    <a:pt x="1851" y="29"/>
                    <a:pt x="1851" y="29"/>
                    <a:pt x="1851" y="29"/>
                  </a:cubicBezTo>
                  <a:moveTo>
                    <a:pt x="1881" y="28"/>
                  </a:moveTo>
                  <a:cubicBezTo>
                    <a:pt x="1875" y="28"/>
                    <a:pt x="1869" y="33"/>
                    <a:pt x="1868" y="39"/>
                  </a:cubicBezTo>
                  <a:cubicBezTo>
                    <a:pt x="1866" y="44"/>
                    <a:pt x="1870" y="49"/>
                    <a:pt x="1876" y="49"/>
                  </a:cubicBezTo>
                  <a:cubicBezTo>
                    <a:pt x="1881" y="49"/>
                    <a:pt x="1887" y="44"/>
                    <a:pt x="1889" y="39"/>
                  </a:cubicBezTo>
                  <a:cubicBezTo>
                    <a:pt x="1890" y="33"/>
                    <a:pt x="1887" y="28"/>
                    <a:pt x="1881" y="28"/>
                  </a:cubicBezTo>
                  <a:cubicBezTo>
                    <a:pt x="1881" y="28"/>
                    <a:pt x="1881" y="28"/>
                    <a:pt x="1881" y="28"/>
                  </a:cubicBezTo>
                  <a:moveTo>
                    <a:pt x="1911" y="28"/>
                  </a:moveTo>
                  <a:cubicBezTo>
                    <a:pt x="1905" y="28"/>
                    <a:pt x="1899" y="33"/>
                    <a:pt x="1898" y="38"/>
                  </a:cubicBezTo>
                  <a:cubicBezTo>
                    <a:pt x="1897" y="44"/>
                    <a:pt x="1900" y="49"/>
                    <a:pt x="1906" y="48"/>
                  </a:cubicBezTo>
                  <a:cubicBezTo>
                    <a:pt x="1912" y="48"/>
                    <a:pt x="1918" y="44"/>
                    <a:pt x="1919" y="38"/>
                  </a:cubicBezTo>
                  <a:cubicBezTo>
                    <a:pt x="1920" y="33"/>
                    <a:pt x="1917" y="28"/>
                    <a:pt x="1911" y="28"/>
                  </a:cubicBezTo>
                  <a:cubicBezTo>
                    <a:pt x="1911" y="28"/>
                    <a:pt x="1911" y="28"/>
                    <a:pt x="1911" y="28"/>
                  </a:cubicBezTo>
                  <a:moveTo>
                    <a:pt x="1940" y="28"/>
                  </a:moveTo>
                  <a:cubicBezTo>
                    <a:pt x="1935" y="28"/>
                    <a:pt x="1929" y="32"/>
                    <a:pt x="1928" y="38"/>
                  </a:cubicBezTo>
                  <a:cubicBezTo>
                    <a:pt x="1926" y="44"/>
                    <a:pt x="1930" y="48"/>
                    <a:pt x="1936" y="48"/>
                  </a:cubicBezTo>
                  <a:cubicBezTo>
                    <a:pt x="1942" y="48"/>
                    <a:pt x="1947" y="44"/>
                    <a:pt x="1949" y="38"/>
                  </a:cubicBezTo>
                  <a:cubicBezTo>
                    <a:pt x="1950" y="32"/>
                    <a:pt x="1946" y="28"/>
                    <a:pt x="1941" y="28"/>
                  </a:cubicBezTo>
                  <a:cubicBezTo>
                    <a:pt x="1940" y="28"/>
                    <a:pt x="1940" y="28"/>
                    <a:pt x="1940" y="28"/>
                  </a:cubicBezTo>
                  <a:moveTo>
                    <a:pt x="1970" y="27"/>
                  </a:moveTo>
                  <a:cubicBezTo>
                    <a:pt x="1964" y="28"/>
                    <a:pt x="1959" y="32"/>
                    <a:pt x="1958" y="38"/>
                  </a:cubicBezTo>
                  <a:cubicBezTo>
                    <a:pt x="1956" y="43"/>
                    <a:pt x="1960" y="48"/>
                    <a:pt x="1966" y="48"/>
                  </a:cubicBezTo>
                  <a:cubicBezTo>
                    <a:pt x="1972" y="48"/>
                    <a:pt x="1977" y="43"/>
                    <a:pt x="1978" y="38"/>
                  </a:cubicBezTo>
                  <a:cubicBezTo>
                    <a:pt x="1980" y="32"/>
                    <a:pt x="1976" y="27"/>
                    <a:pt x="1970" y="27"/>
                  </a:cubicBezTo>
                  <a:cubicBezTo>
                    <a:pt x="1970" y="27"/>
                    <a:pt x="1970" y="27"/>
                    <a:pt x="1970" y="27"/>
                  </a:cubicBezTo>
                  <a:moveTo>
                    <a:pt x="2357" y="24"/>
                  </a:moveTo>
                  <a:cubicBezTo>
                    <a:pt x="2352" y="24"/>
                    <a:pt x="2347" y="28"/>
                    <a:pt x="2346" y="34"/>
                  </a:cubicBezTo>
                  <a:cubicBezTo>
                    <a:pt x="2346" y="40"/>
                    <a:pt x="2350" y="44"/>
                    <a:pt x="2356" y="44"/>
                  </a:cubicBezTo>
                  <a:cubicBezTo>
                    <a:pt x="2362" y="44"/>
                    <a:pt x="2367" y="39"/>
                    <a:pt x="2367" y="34"/>
                  </a:cubicBezTo>
                  <a:cubicBezTo>
                    <a:pt x="2367" y="28"/>
                    <a:pt x="2363" y="24"/>
                    <a:pt x="2357" y="24"/>
                  </a:cubicBezTo>
                  <a:cubicBezTo>
                    <a:pt x="2357" y="24"/>
                    <a:pt x="2357" y="24"/>
                    <a:pt x="2357" y="24"/>
                  </a:cubicBezTo>
                  <a:moveTo>
                    <a:pt x="2388" y="23"/>
                  </a:moveTo>
                  <a:cubicBezTo>
                    <a:pt x="2382" y="23"/>
                    <a:pt x="2377" y="28"/>
                    <a:pt x="2377" y="34"/>
                  </a:cubicBezTo>
                  <a:cubicBezTo>
                    <a:pt x="2376" y="39"/>
                    <a:pt x="2381" y="44"/>
                    <a:pt x="2387" y="44"/>
                  </a:cubicBezTo>
                  <a:cubicBezTo>
                    <a:pt x="2392" y="44"/>
                    <a:pt x="2397" y="39"/>
                    <a:pt x="2398" y="33"/>
                  </a:cubicBezTo>
                  <a:cubicBezTo>
                    <a:pt x="2398" y="28"/>
                    <a:pt x="2393" y="23"/>
                    <a:pt x="2388" y="23"/>
                  </a:cubicBezTo>
                  <a:cubicBezTo>
                    <a:pt x="2388" y="23"/>
                    <a:pt x="2388" y="23"/>
                    <a:pt x="2388" y="23"/>
                  </a:cubicBezTo>
                  <a:moveTo>
                    <a:pt x="2952" y="19"/>
                  </a:moveTo>
                  <a:cubicBezTo>
                    <a:pt x="2946" y="19"/>
                    <a:pt x="2942" y="24"/>
                    <a:pt x="2943" y="30"/>
                  </a:cubicBezTo>
                  <a:cubicBezTo>
                    <a:pt x="2944" y="35"/>
                    <a:pt x="2949" y="40"/>
                    <a:pt x="2955" y="40"/>
                  </a:cubicBezTo>
                  <a:cubicBezTo>
                    <a:pt x="2961" y="40"/>
                    <a:pt x="2965" y="35"/>
                    <a:pt x="2964" y="29"/>
                  </a:cubicBezTo>
                  <a:cubicBezTo>
                    <a:pt x="2963" y="24"/>
                    <a:pt x="2957" y="19"/>
                    <a:pt x="2952" y="19"/>
                  </a:cubicBezTo>
                  <a:cubicBezTo>
                    <a:pt x="2952" y="19"/>
                    <a:pt x="2952" y="19"/>
                    <a:pt x="2952" y="19"/>
                  </a:cubicBezTo>
                  <a:moveTo>
                    <a:pt x="2979" y="19"/>
                  </a:moveTo>
                  <a:cubicBezTo>
                    <a:pt x="2974" y="19"/>
                    <a:pt x="2970" y="24"/>
                    <a:pt x="2971" y="29"/>
                  </a:cubicBezTo>
                  <a:cubicBezTo>
                    <a:pt x="2972" y="35"/>
                    <a:pt x="2977" y="40"/>
                    <a:pt x="2983" y="39"/>
                  </a:cubicBezTo>
                  <a:cubicBezTo>
                    <a:pt x="2989" y="39"/>
                    <a:pt x="2993" y="35"/>
                    <a:pt x="2992" y="29"/>
                  </a:cubicBezTo>
                  <a:cubicBezTo>
                    <a:pt x="2991" y="23"/>
                    <a:pt x="2985" y="19"/>
                    <a:pt x="2980" y="19"/>
                  </a:cubicBezTo>
                  <a:cubicBezTo>
                    <a:pt x="2979" y="19"/>
                    <a:pt x="2979" y="19"/>
                    <a:pt x="2979" y="19"/>
                  </a:cubicBezTo>
                  <a:moveTo>
                    <a:pt x="3009" y="19"/>
                  </a:moveTo>
                  <a:cubicBezTo>
                    <a:pt x="3003" y="19"/>
                    <a:pt x="2999" y="23"/>
                    <a:pt x="3000" y="29"/>
                  </a:cubicBezTo>
                  <a:cubicBezTo>
                    <a:pt x="3002" y="35"/>
                    <a:pt x="3007" y="39"/>
                    <a:pt x="3013" y="39"/>
                  </a:cubicBezTo>
                  <a:cubicBezTo>
                    <a:pt x="3019" y="39"/>
                    <a:pt x="3022" y="34"/>
                    <a:pt x="3021" y="29"/>
                  </a:cubicBezTo>
                  <a:cubicBezTo>
                    <a:pt x="3020" y="23"/>
                    <a:pt x="3015" y="19"/>
                    <a:pt x="3009" y="19"/>
                  </a:cubicBezTo>
                  <a:cubicBezTo>
                    <a:pt x="3009" y="19"/>
                    <a:pt x="3009" y="19"/>
                    <a:pt x="3009" y="19"/>
                  </a:cubicBezTo>
                  <a:moveTo>
                    <a:pt x="1505" y="5"/>
                  </a:moveTo>
                  <a:cubicBezTo>
                    <a:pt x="1499" y="5"/>
                    <a:pt x="1492" y="9"/>
                    <a:pt x="1490" y="15"/>
                  </a:cubicBezTo>
                  <a:cubicBezTo>
                    <a:pt x="1488" y="21"/>
                    <a:pt x="1491" y="25"/>
                    <a:pt x="1496" y="25"/>
                  </a:cubicBezTo>
                  <a:cubicBezTo>
                    <a:pt x="1502" y="25"/>
                    <a:pt x="1509" y="20"/>
                    <a:pt x="1511" y="15"/>
                  </a:cubicBezTo>
                  <a:cubicBezTo>
                    <a:pt x="1513" y="9"/>
                    <a:pt x="1510" y="5"/>
                    <a:pt x="1505" y="5"/>
                  </a:cubicBezTo>
                  <a:cubicBezTo>
                    <a:pt x="1505" y="5"/>
                    <a:pt x="1505" y="5"/>
                    <a:pt x="1505" y="5"/>
                  </a:cubicBezTo>
                  <a:moveTo>
                    <a:pt x="1534" y="4"/>
                  </a:moveTo>
                  <a:cubicBezTo>
                    <a:pt x="1528" y="5"/>
                    <a:pt x="1522" y="9"/>
                    <a:pt x="1520" y="15"/>
                  </a:cubicBezTo>
                  <a:cubicBezTo>
                    <a:pt x="1517" y="20"/>
                    <a:pt x="1520" y="25"/>
                    <a:pt x="1526" y="25"/>
                  </a:cubicBezTo>
                  <a:cubicBezTo>
                    <a:pt x="1532" y="25"/>
                    <a:pt x="1538" y="20"/>
                    <a:pt x="1540" y="15"/>
                  </a:cubicBezTo>
                  <a:cubicBezTo>
                    <a:pt x="1542" y="9"/>
                    <a:pt x="1540" y="4"/>
                    <a:pt x="1534" y="4"/>
                  </a:cubicBezTo>
                  <a:cubicBezTo>
                    <a:pt x="1534" y="4"/>
                    <a:pt x="1534" y="4"/>
                    <a:pt x="1534" y="4"/>
                  </a:cubicBezTo>
                  <a:moveTo>
                    <a:pt x="1563" y="4"/>
                  </a:moveTo>
                  <a:cubicBezTo>
                    <a:pt x="1558" y="4"/>
                    <a:pt x="1551" y="9"/>
                    <a:pt x="1549" y="14"/>
                  </a:cubicBezTo>
                  <a:cubicBezTo>
                    <a:pt x="1547" y="20"/>
                    <a:pt x="1550" y="25"/>
                    <a:pt x="1556" y="25"/>
                  </a:cubicBezTo>
                  <a:cubicBezTo>
                    <a:pt x="1561" y="24"/>
                    <a:pt x="1568" y="20"/>
                    <a:pt x="1570" y="14"/>
                  </a:cubicBezTo>
                  <a:cubicBezTo>
                    <a:pt x="1572" y="9"/>
                    <a:pt x="1569" y="4"/>
                    <a:pt x="1563" y="4"/>
                  </a:cubicBezTo>
                  <a:cubicBezTo>
                    <a:pt x="1563" y="4"/>
                    <a:pt x="1563" y="4"/>
                    <a:pt x="1563" y="4"/>
                  </a:cubicBezTo>
                  <a:moveTo>
                    <a:pt x="1593" y="4"/>
                  </a:moveTo>
                  <a:cubicBezTo>
                    <a:pt x="1587" y="4"/>
                    <a:pt x="1581" y="9"/>
                    <a:pt x="1578" y="14"/>
                  </a:cubicBezTo>
                  <a:cubicBezTo>
                    <a:pt x="1576" y="20"/>
                    <a:pt x="1579" y="24"/>
                    <a:pt x="1585" y="24"/>
                  </a:cubicBezTo>
                  <a:cubicBezTo>
                    <a:pt x="1591" y="24"/>
                    <a:pt x="1597" y="20"/>
                    <a:pt x="1599" y="14"/>
                  </a:cubicBezTo>
                  <a:cubicBezTo>
                    <a:pt x="1601" y="8"/>
                    <a:pt x="1598" y="4"/>
                    <a:pt x="1593" y="4"/>
                  </a:cubicBezTo>
                  <a:cubicBezTo>
                    <a:pt x="1593" y="4"/>
                    <a:pt x="1593" y="4"/>
                    <a:pt x="1593" y="4"/>
                  </a:cubicBezTo>
                  <a:moveTo>
                    <a:pt x="1622" y="4"/>
                  </a:moveTo>
                  <a:cubicBezTo>
                    <a:pt x="1616" y="4"/>
                    <a:pt x="1610" y="8"/>
                    <a:pt x="1608" y="14"/>
                  </a:cubicBezTo>
                  <a:cubicBezTo>
                    <a:pt x="1606" y="19"/>
                    <a:pt x="1609" y="24"/>
                    <a:pt x="1615" y="24"/>
                  </a:cubicBezTo>
                  <a:cubicBezTo>
                    <a:pt x="1620" y="24"/>
                    <a:pt x="1627" y="19"/>
                    <a:pt x="1629" y="14"/>
                  </a:cubicBezTo>
                  <a:cubicBezTo>
                    <a:pt x="1630" y="8"/>
                    <a:pt x="1628" y="4"/>
                    <a:pt x="1622" y="4"/>
                  </a:cubicBezTo>
                  <a:cubicBezTo>
                    <a:pt x="1622" y="4"/>
                    <a:pt x="1622" y="4"/>
                    <a:pt x="1622" y="4"/>
                  </a:cubicBezTo>
                  <a:moveTo>
                    <a:pt x="1829" y="1"/>
                  </a:moveTo>
                  <a:cubicBezTo>
                    <a:pt x="1823" y="1"/>
                    <a:pt x="1817" y="6"/>
                    <a:pt x="1816" y="12"/>
                  </a:cubicBezTo>
                  <a:cubicBezTo>
                    <a:pt x="1814" y="17"/>
                    <a:pt x="1818" y="22"/>
                    <a:pt x="1823" y="22"/>
                  </a:cubicBezTo>
                  <a:cubicBezTo>
                    <a:pt x="1829" y="22"/>
                    <a:pt x="1835" y="17"/>
                    <a:pt x="1836" y="11"/>
                  </a:cubicBezTo>
                  <a:cubicBezTo>
                    <a:pt x="1838" y="6"/>
                    <a:pt x="1835" y="1"/>
                    <a:pt x="1829" y="1"/>
                  </a:cubicBezTo>
                  <a:cubicBezTo>
                    <a:pt x="1829" y="1"/>
                    <a:pt x="1829" y="1"/>
                    <a:pt x="1829" y="1"/>
                  </a:cubicBezTo>
                  <a:moveTo>
                    <a:pt x="1858" y="1"/>
                  </a:moveTo>
                  <a:cubicBezTo>
                    <a:pt x="1852" y="1"/>
                    <a:pt x="1847" y="6"/>
                    <a:pt x="1845" y="11"/>
                  </a:cubicBezTo>
                  <a:cubicBezTo>
                    <a:pt x="1844" y="17"/>
                    <a:pt x="1847" y="21"/>
                    <a:pt x="1853" y="21"/>
                  </a:cubicBezTo>
                  <a:cubicBezTo>
                    <a:pt x="1859" y="21"/>
                    <a:pt x="1864" y="17"/>
                    <a:pt x="1866" y="11"/>
                  </a:cubicBezTo>
                  <a:cubicBezTo>
                    <a:pt x="1867" y="6"/>
                    <a:pt x="1864" y="1"/>
                    <a:pt x="1858" y="1"/>
                  </a:cubicBezTo>
                  <a:cubicBezTo>
                    <a:pt x="1858" y="1"/>
                    <a:pt x="1858" y="1"/>
                    <a:pt x="1858" y="1"/>
                  </a:cubicBezTo>
                  <a:moveTo>
                    <a:pt x="1888" y="1"/>
                  </a:moveTo>
                  <a:cubicBezTo>
                    <a:pt x="1882" y="1"/>
                    <a:pt x="1876" y="5"/>
                    <a:pt x="1875" y="11"/>
                  </a:cubicBezTo>
                  <a:cubicBezTo>
                    <a:pt x="1873" y="17"/>
                    <a:pt x="1877" y="21"/>
                    <a:pt x="1883" y="21"/>
                  </a:cubicBezTo>
                  <a:cubicBezTo>
                    <a:pt x="1888" y="21"/>
                    <a:pt x="1894" y="16"/>
                    <a:pt x="1895" y="11"/>
                  </a:cubicBezTo>
                  <a:cubicBezTo>
                    <a:pt x="1897" y="5"/>
                    <a:pt x="1893" y="1"/>
                    <a:pt x="1888" y="1"/>
                  </a:cubicBezTo>
                  <a:cubicBezTo>
                    <a:pt x="1888" y="1"/>
                    <a:pt x="1888" y="1"/>
                    <a:pt x="1888" y="1"/>
                  </a:cubicBezTo>
                  <a:moveTo>
                    <a:pt x="1917" y="0"/>
                  </a:moveTo>
                  <a:cubicBezTo>
                    <a:pt x="1912" y="0"/>
                    <a:pt x="1906" y="5"/>
                    <a:pt x="1905" y="11"/>
                  </a:cubicBezTo>
                  <a:cubicBezTo>
                    <a:pt x="1903" y="16"/>
                    <a:pt x="1907" y="21"/>
                    <a:pt x="1913" y="21"/>
                  </a:cubicBezTo>
                  <a:cubicBezTo>
                    <a:pt x="1918" y="21"/>
                    <a:pt x="1924" y="16"/>
                    <a:pt x="1925" y="10"/>
                  </a:cubicBezTo>
                  <a:cubicBezTo>
                    <a:pt x="1927" y="5"/>
                    <a:pt x="1923" y="0"/>
                    <a:pt x="1918" y="0"/>
                  </a:cubicBezTo>
                  <a:cubicBezTo>
                    <a:pt x="1917" y="0"/>
                    <a:pt x="1917" y="0"/>
                    <a:pt x="1917" y="0"/>
                  </a:cubicBezTo>
                  <a:moveTo>
                    <a:pt x="1947" y="0"/>
                  </a:moveTo>
                  <a:cubicBezTo>
                    <a:pt x="1941" y="0"/>
                    <a:pt x="1935" y="5"/>
                    <a:pt x="1934" y="10"/>
                  </a:cubicBezTo>
                  <a:cubicBezTo>
                    <a:pt x="1933" y="16"/>
                    <a:pt x="1936" y="21"/>
                    <a:pt x="1942" y="20"/>
                  </a:cubicBezTo>
                  <a:cubicBezTo>
                    <a:pt x="1948" y="20"/>
                    <a:pt x="1953" y="16"/>
                    <a:pt x="1955" y="10"/>
                  </a:cubicBezTo>
                  <a:cubicBezTo>
                    <a:pt x="1956" y="5"/>
                    <a:pt x="1952" y="0"/>
                    <a:pt x="1947" y="0"/>
                  </a:cubicBezTo>
                  <a:cubicBezTo>
                    <a:pt x="1947" y="0"/>
                    <a:pt x="1947" y="0"/>
                    <a:pt x="1947" y="0"/>
                  </a:cubicBezTo>
                  <a:moveTo>
                    <a:pt x="1976" y="0"/>
                  </a:moveTo>
                  <a:cubicBezTo>
                    <a:pt x="1970" y="0"/>
                    <a:pt x="1965" y="4"/>
                    <a:pt x="1964" y="10"/>
                  </a:cubicBezTo>
                  <a:cubicBezTo>
                    <a:pt x="1962" y="16"/>
                    <a:pt x="1966" y="20"/>
                    <a:pt x="1972" y="20"/>
                  </a:cubicBezTo>
                  <a:cubicBezTo>
                    <a:pt x="1977" y="20"/>
                    <a:pt x="1983" y="15"/>
                    <a:pt x="1984" y="10"/>
                  </a:cubicBezTo>
                  <a:cubicBezTo>
                    <a:pt x="1985" y="4"/>
                    <a:pt x="1982" y="0"/>
                    <a:pt x="1976" y="0"/>
                  </a:cubicBezTo>
                  <a:cubicBezTo>
                    <a:pt x="1976" y="0"/>
                    <a:pt x="1976" y="0"/>
                    <a:pt x="1976" y="0"/>
                  </a:cubicBezTo>
                </a:path>
              </a:pathLst>
            </a:custGeom>
            <a:gradFill>
              <a:gsLst>
                <a:gs pos="0">
                  <a:srgbClr val="E8EBF1">
                    <a:alpha val="64000"/>
                  </a:srgbClr>
                </a:gs>
                <a:gs pos="100000">
                  <a:srgbClr val="FFFFFF">
                    <a:alpha val="85000"/>
                  </a:srgbClr>
                </a:gs>
              </a:gsLst>
              <a:lin ang="5400000" scaled="1"/>
            </a:gra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Slide Number Placeholder 2"/>
          <p:cNvSpPr>
            <a:spLocks noGrp="1"/>
          </p:cNvSpPr>
          <p:nvPr>
            <p:ph type="sldNum" sz="quarter" idx="4294967295"/>
          </p:nvPr>
        </p:nvSpPr>
        <p:spPr>
          <a:xfrm>
            <a:off x="9010919" y="5005000"/>
            <a:ext cx="94577" cy="92333"/>
          </a:xfrm>
          <a:prstGeom prst="rect">
            <a:avLst/>
          </a:prstGeom>
        </p:spPr>
        <p:txBody>
          <a:bodyPr/>
          <a:lstStyle/>
          <a:p>
            <a:endParaRPr lang="en-US" dirty="0"/>
          </a:p>
        </p:txBody>
      </p:sp>
      <p:grpSp>
        <p:nvGrpSpPr>
          <p:cNvPr id="4" name="Group 3"/>
          <p:cNvGrpSpPr/>
          <p:nvPr/>
        </p:nvGrpSpPr>
        <p:grpSpPr>
          <a:xfrm>
            <a:off x="0" y="1100666"/>
            <a:ext cx="9144000" cy="1236133"/>
            <a:chOff x="0" y="1100666"/>
            <a:chExt cx="9144000" cy="1236133"/>
          </a:xfrm>
        </p:grpSpPr>
        <p:sp>
          <p:nvSpPr>
            <p:cNvPr id="10" name="Rectangle 9"/>
            <p:cNvSpPr/>
            <p:nvPr/>
          </p:nvSpPr>
          <p:spPr>
            <a:xfrm>
              <a:off x="0" y="1100666"/>
              <a:ext cx="9144000" cy="1236133"/>
            </a:xfrm>
            <a:prstGeom prst="rect">
              <a:avLst/>
            </a:prstGeom>
            <a:gradFill>
              <a:gsLst>
                <a:gs pos="54000">
                  <a:srgbClr val="00197B">
                    <a:alpha val="90000"/>
                  </a:srgbClr>
                </a:gs>
                <a:gs pos="100000">
                  <a:srgbClr val="00197B">
                    <a:alpha val="23000"/>
                  </a:srgbClr>
                </a:gs>
              </a:gsLst>
              <a:lin ang="0" scaled="1"/>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extBox 1"/>
            <p:cNvSpPr txBox="1"/>
            <p:nvPr/>
          </p:nvSpPr>
          <p:spPr>
            <a:xfrm>
              <a:off x="728133" y="1176867"/>
              <a:ext cx="7024936" cy="1015663"/>
            </a:xfrm>
            <a:prstGeom prst="rect">
              <a:avLst/>
            </a:prstGeom>
            <a:noFill/>
          </p:spPr>
          <p:txBody>
            <a:bodyPr wrap="none" rtlCol="0">
              <a:spAutoFit/>
            </a:bodyPr>
            <a:lstStyle/>
            <a:p>
              <a:r>
                <a:rPr lang="en-US" sz="3000" dirty="0" smtClean="0">
                  <a:solidFill>
                    <a:schemeClr val="bg1"/>
                  </a:solidFill>
                </a:rPr>
                <a:t>Your </a:t>
              </a:r>
              <a:r>
                <a:rPr lang="en-US" sz="3000" dirty="0">
                  <a:solidFill>
                    <a:schemeClr val="bg1"/>
                  </a:solidFill>
                </a:rPr>
                <a:t>business customers are embracing</a:t>
              </a:r>
            </a:p>
            <a:p>
              <a:r>
                <a:rPr lang="en-US" sz="3000" dirty="0">
                  <a:solidFill>
                    <a:schemeClr val="bg1"/>
                  </a:solidFill>
                </a:rPr>
                <a:t>digital transformation now.</a:t>
              </a:r>
            </a:p>
          </p:txBody>
        </p:sp>
      </p:grpSp>
      <p:grpSp>
        <p:nvGrpSpPr>
          <p:cNvPr id="5" name="Group 4"/>
          <p:cNvGrpSpPr/>
          <p:nvPr/>
        </p:nvGrpSpPr>
        <p:grpSpPr>
          <a:xfrm>
            <a:off x="0" y="2455332"/>
            <a:ext cx="9144000" cy="1236133"/>
            <a:chOff x="0" y="2455332"/>
            <a:chExt cx="9144000" cy="1236133"/>
          </a:xfrm>
        </p:grpSpPr>
        <p:sp>
          <p:nvSpPr>
            <p:cNvPr id="11" name="Rectangle 10"/>
            <p:cNvSpPr/>
            <p:nvPr/>
          </p:nvSpPr>
          <p:spPr>
            <a:xfrm>
              <a:off x="0" y="2455332"/>
              <a:ext cx="9144000" cy="1236133"/>
            </a:xfrm>
            <a:prstGeom prst="rect">
              <a:avLst/>
            </a:prstGeom>
            <a:gradFill flip="none" rotWithShape="1">
              <a:gsLst>
                <a:gs pos="81000">
                  <a:srgbClr val="00197B">
                    <a:alpha val="90000"/>
                  </a:srgbClr>
                </a:gs>
                <a:gs pos="100000">
                  <a:srgbClr val="00197B">
                    <a:alpha val="25000"/>
                  </a:srgbClr>
                </a:gs>
              </a:gsLst>
              <a:lin ang="108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9" name="TextBox 8"/>
            <p:cNvSpPr txBox="1"/>
            <p:nvPr/>
          </p:nvSpPr>
          <p:spPr>
            <a:xfrm>
              <a:off x="728133" y="2556933"/>
              <a:ext cx="6954148" cy="1015663"/>
            </a:xfrm>
            <a:prstGeom prst="rect">
              <a:avLst/>
            </a:prstGeom>
            <a:noFill/>
          </p:spPr>
          <p:txBody>
            <a:bodyPr wrap="none" rtlCol="0">
              <a:spAutoFit/>
            </a:bodyPr>
            <a:lstStyle/>
            <a:p>
              <a:r>
                <a:rPr lang="en-US" sz="3000" dirty="0">
                  <a:solidFill>
                    <a:schemeClr val="bg1"/>
                  </a:solidFill>
                </a:rPr>
                <a:t>This is a large and ready opportunity for</a:t>
              </a:r>
            </a:p>
            <a:p>
              <a:r>
                <a:rPr lang="en-US" sz="3000" dirty="0" smtClean="0">
                  <a:solidFill>
                    <a:schemeClr val="bg1"/>
                  </a:solidFill>
                </a:rPr>
                <a:t>service </a:t>
              </a:r>
              <a:r>
                <a:rPr lang="en-US" sz="3000" dirty="0">
                  <a:solidFill>
                    <a:schemeClr val="bg1"/>
                  </a:solidFill>
                </a:rPr>
                <a:t>providers</a:t>
              </a:r>
              <a:r>
                <a:rPr lang="en-US" sz="3000" dirty="0" smtClean="0">
                  <a:solidFill>
                    <a:schemeClr val="bg1"/>
                  </a:solidFill>
                </a:rPr>
                <a:t>.</a:t>
              </a:r>
              <a:endParaRPr lang="en-US" sz="3000" dirty="0">
                <a:solidFill>
                  <a:schemeClr val="bg1"/>
                </a:solidFill>
              </a:endParaRPr>
            </a:p>
          </p:txBody>
        </p:sp>
      </p:grpSp>
    </p:spTree>
    <p:extLst>
      <p:ext uri="{BB962C8B-B14F-4D97-AF65-F5344CB8AC3E}">
        <p14:creationId xmlns:p14="http://schemas.microsoft.com/office/powerpoint/2010/main" val="1526044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3629984" y="2935474"/>
            <a:ext cx="16403969" cy="1838693"/>
            <a:chOff x="-3629984" y="2794000"/>
            <a:chExt cx="16403969" cy="2349500"/>
          </a:xfrm>
        </p:grpSpPr>
        <p:sp>
          <p:nvSpPr>
            <p:cNvPr id="21" name="Oval 132"/>
            <p:cNvSpPr/>
            <p:nvPr/>
          </p:nvSpPr>
          <p:spPr>
            <a:xfrm>
              <a:off x="-3629984" y="2794000"/>
              <a:ext cx="16403969" cy="2349500"/>
            </a:xfrm>
            <a:custGeom>
              <a:avLst/>
              <a:gdLst/>
              <a:ahLst/>
              <a:cxnLst/>
              <a:rect l="l" t="t" r="r" b="b"/>
              <a:pathLst>
                <a:path w="16403969" h="2349500">
                  <a:moveTo>
                    <a:pt x="8201985" y="0"/>
                  </a:moveTo>
                  <a:cubicBezTo>
                    <a:pt x="11298203" y="0"/>
                    <a:pt x="14147017" y="876755"/>
                    <a:pt x="16403969" y="2349500"/>
                  </a:cubicBezTo>
                  <a:lnTo>
                    <a:pt x="0" y="2349500"/>
                  </a:lnTo>
                  <a:cubicBezTo>
                    <a:pt x="2256953" y="876755"/>
                    <a:pt x="5105767" y="0"/>
                    <a:pt x="8201985" y="0"/>
                  </a:cubicBezTo>
                  <a:close/>
                </a:path>
              </a:pathLst>
            </a:custGeom>
            <a:gradFill flip="none" rotWithShape="1">
              <a:gsLst>
                <a:gs pos="0">
                  <a:schemeClr val="accent3"/>
                </a:gs>
                <a:gs pos="75000">
                  <a:srgbClr val="4AA7D4"/>
                </a:gs>
              </a:gsLst>
              <a:lin ang="54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11"/>
            <p:cNvSpPr>
              <a:spLocks noEditPoints="1"/>
            </p:cNvSpPr>
            <p:nvPr/>
          </p:nvSpPr>
          <p:spPr bwMode="auto">
            <a:xfrm>
              <a:off x="761630" y="2860040"/>
              <a:ext cx="8382370" cy="2283460"/>
            </a:xfrm>
            <a:custGeom>
              <a:avLst/>
              <a:gdLst>
                <a:gd name="T0" fmla="*/ 251 w 5010"/>
                <a:gd name="T1" fmla="*/ 1324 h 1365"/>
                <a:gd name="T2" fmla="*/ 619 w 5010"/>
                <a:gd name="T3" fmla="*/ 1284 h 1365"/>
                <a:gd name="T4" fmla="*/ 957 w 5010"/>
                <a:gd name="T5" fmla="*/ 1254 h 1365"/>
                <a:gd name="T6" fmla="*/ 1103 w 5010"/>
                <a:gd name="T7" fmla="*/ 1225 h 1365"/>
                <a:gd name="T8" fmla="*/ 2303 w 5010"/>
                <a:gd name="T9" fmla="*/ 1205 h 1365"/>
                <a:gd name="T10" fmla="*/ 2378 w 5010"/>
                <a:gd name="T11" fmla="*/ 1185 h 1365"/>
                <a:gd name="T12" fmla="*/ 2452 w 5010"/>
                <a:gd name="T13" fmla="*/ 1145 h 1365"/>
                <a:gd name="T14" fmla="*/ 2686 w 5010"/>
                <a:gd name="T15" fmla="*/ 1105 h 1365"/>
                <a:gd name="T16" fmla="*/ 2811 w 5010"/>
                <a:gd name="T17" fmla="*/ 1075 h 1365"/>
                <a:gd name="T18" fmla="*/ 2808 w 5010"/>
                <a:gd name="T19" fmla="*/ 1045 h 1365"/>
                <a:gd name="T20" fmla="*/ 2780 w 5010"/>
                <a:gd name="T21" fmla="*/ 1026 h 1365"/>
                <a:gd name="T22" fmla="*/ 2721 w 5010"/>
                <a:gd name="T23" fmla="*/ 1007 h 1365"/>
                <a:gd name="T24" fmla="*/ 3455 w 5010"/>
                <a:gd name="T25" fmla="*/ 968 h 1365"/>
                <a:gd name="T26" fmla="*/ 3456 w 5010"/>
                <a:gd name="T27" fmla="*/ 928 h 1365"/>
                <a:gd name="T28" fmla="*/ 2955 w 5010"/>
                <a:gd name="T29" fmla="*/ 899 h 1365"/>
                <a:gd name="T30" fmla="*/ 2508 w 5010"/>
                <a:gd name="T31" fmla="*/ 871 h 1365"/>
                <a:gd name="T32" fmla="*/ 2321 w 5010"/>
                <a:gd name="T33" fmla="*/ 854 h 1365"/>
                <a:gd name="T34" fmla="*/ 1948 w 5010"/>
                <a:gd name="T35" fmla="*/ 836 h 1365"/>
                <a:gd name="T36" fmla="*/ 3925 w 5010"/>
                <a:gd name="T37" fmla="*/ 816 h 1365"/>
                <a:gd name="T38" fmla="*/ 3292 w 5010"/>
                <a:gd name="T39" fmla="*/ 780 h 1365"/>
                <a:gd name="T40" fmla="*/ 2275 w 5010"/>
                <a:gd name="T41" fmla="*/ 754 h 1365"/>
                <a:gd name="T42" fmla="*/ 232 w 5010"/>
                <a:gd name="T43" fmla="*/ 739 h 1365"/>
                <a:gd name="T44" fmla="*/ 3214 w 5010"/>
                <a:gd name="T45" fmla="*/ 732 h 1365"/>
                <a:gd name="T46" fmla="*/ 2046 w 5010"/>
                <a:gd name="T47" fmla="*/ 718 h 1365"/>
                <a:gd name="T48" fmla="*/ 3908 w 5010"/>
                <a:gd name="T49" fmla="*/ 701 h 1365"/>
                <a:gd name="T50" fmla="*/ 2808 w 5010"/>
                <a:gd name="T51" fmla="*/ 665 h 1365"/>
                <a:gd name="T52" fmla="*/ 263 w 5010"/>
                <a:gd name="T53" fmla="*/ 651 h 1365"/>
                <a:gd name="T54" fmla="*/ 3401 w 5010"/>
                <a:gd name="T55" fmla="*/ 633 h 1365"/>
                <a:gd name="T56" fmla="*/ 2851 w 5010"/>
                <a:gd name="T57" fmla="*/ 617 h 1365"/>
                <a:gd name="T58" fmla="*/ 143 w 5010"/>
                <a:gd name="T59" fmla="*/ 615 h 1365"/>
                <a:gd name="T60" fmla="*/ 3152 w 5010"/>
                <a:gd name="T61" fmla="*/ 585 h 1365"/>
                <a:gd name="T62" fmla="*/ 732 w 5010"/>
                <a:gd name="T63" fmla="*/ 561 h 1365"/>
                <a:gd name="T64" fmla="*/ 3445 w 5010"/>
                <a:gd name="T65" fmla="*/ 544 h 1365"/>
                <a:gd name="T66" fmla="*/ 2076 w 5010"/>
                <a:gd name="T67" fmla="*/ 521 h 1365"/>
                <a:gd name="T68" fmla="*/ 3955 w 5010"/>
                <a:gd name="T69" fmla="*/ 522 h 1365"/>
                <a:gd name="T70" fmla="*/ 2756 w 5010"/>
                <a:gd name="T71" fmla="*/ 511 h 1365"/>
                <a:gd name="T72" fmla="*/ 343 w 5010"/>
                <a:gd name="T73" fmla="*/ 486 h 1365"/>
                <a:gd name="T74" fmla="*/ 2786 w 5010"/>
                <a:gd name="T75" fmla="*/ 459 h 1365"/>
                <a:gd name="T76" fmla="*/ 491 w 5010"/>
                <a:gd name="T77" fmla="*/ 447 h 1365"/>
                <a:gd name="T78" fmla="*/ 2540 w 5010"/>
                <a:gd name="T79" fmla="*/ 430 h 1365"/>
                <a:gd name="T80" fmla="*/ 447 w 5010"/>
                <a:gd name="T81" fmla="*/ 429 h 1365"/>
                <a:gd name="T82" fmla="*/ 2783 w 5010"/>
                <a:gd name="T83" fmla="*/ 421 h 1365"/>
                <a:gd name="T84" fmla="*/ 515 w 5010"/>
                <a:gd name="T85" fmla="*/ 398 h 1365"/>
                <a:gd name="T86" fmla="*/ 2539 w 5010"/>
                <a:gd name="T87" fmla="*/ 373 h 1365"/>
                <a:gd name="T88" fmla="*/ 453 w 5010"/>
                <a:gd name="T89" fmla="*/ 359 h 1365"/>
                <a:gd name="T90" fmla="*/ 2707 w 5010"/>
                <a:gd name="T91" fmla="*/ 343 h 1365"/>
                <a:gd name="T92" fmla="*/ 478 w 5010"/>
                <a:gd name="T93" fmla="*/ 343 h 1365"/>
                <a:gd name="T94" fmla="*/ 2972 w 5010"/>
                <a:gd name="T95" fmla="*/ 334 h 1365"/>
                <a:gd name="T96" fmla="*/ 776 w 5010"/>
                <a:gd name="T97" fmla="*/ 311 h 1365"/>
                <a:gd name="T98" fmla="*/ 3391 w 5010"/>
                <a:gd name="T99" fmla="*/ 280 h 1365"/>
                <a:gd name="T100" fmla="*/ 1563 w 5010"/>
                <a:gd name="T101" fmla="*/ 265 h 1365"/>
                <a:gd name="T102" fmla="*/ 3544 w 5010"/>
                <a:gd name="T103" fmla="*/ 251 h 1365"/>
                <a:gd name="T104" fmla="*/ 1320 w 5010"/>
                <a:gd name="T105" fmla="*/ 250 h 1365"/>
                <a:gd name="T106" fmla="*/ 3443 w 5010"/>
                <a:gd name="T107" fmla="*/ 242 h 1365"/>
                <a:gd name="T108" fmla="*/ 832 w 5010"/>
                <a:gd name="T109" fmla="*/ 223 h 1365"/>
                <a:gd name="T110" fmla="*/ 3012 w 5010"/>
                <a:gd name="T111" fmla="*/ 194 h 1365"/>
                <a:gd name="T112" fmla="*/ 679 w 5010"/>
                <a:gd name="T113" fmla="*/ 186 h 1365"/>
                <a:gd name="T114" fmla="*/ 2663 w 5010"/>
                <a:gd name="T115" fmla="*/ 168 h 1365"/>
                <a:gd name="T116" fmla="*/ 3808 w 5010"/>
                <a:gd name="T117" fmla="*/ 168 h 1365"/>
                <a:gd name="T118" fmla="*/ 2757 w 5010"/>
                <a:gd name="T119" fmla="*/ 159 h 1365"/>
                <a:gd name="T120" fmla="*/ 1289 w 5010"/>
                <a:gd name="T121" fmla="*/ 135 h 1365"/>
                <a:gd name="T122" fmla="*/ 1773 w 5010"/>
                <a:gd name="T123" fmla="*/ 89 h 1365"/>
                <a:gd name="T124" fmla="*/ 1436 w 5010"/>
                <a:gd name="T125" fmla="*/ 33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10" h="1365">
                  <a:moveTo>
                    <a:pt x="4603" y="1364"/>
                  </a:moveTo>
                  <a:cubicBezTo>
                    <a:pt x="4601" y="1364"/>
                    <a:pt x="4599" y="1365"/>
                    <a:pt x="4597" y="1365"/>
                  </a:cubicBezTo>
                  <a:cubicBezTo>
                    <a:pt x="4609" y="1365"/>
                    <a:pt x="4609" y="1365"/>
                    <a:pt x="4609" y="1365"/>
                  </a:cubicBezTo>
                  <a:cubicBezTo>
                    <a:pt x="4607" y="1365"/>
                    <a:pt x="4605" y="1364"/>
                    <a:pt x="4603" y="1364"/>
                  </a:cubicBezTo>
                  <a:cubicBezTo>
                    <a:pt x="4603" y="1364"/>
                    <a:pt x="4603" y="1364"/>
                    <a:pt x="4603" y="1364"/>
                  </a:cubicBezTo>
                  <a:moveTo>
                    <a:pt x="4653" y="1364"/>
                  </a:moveTo>
                  <a:cubicBezTo>
                    <a:pt x="4651" y="1364"/>
                    <a:pt x="4649" y="1365"/>
                    <a:pt x="4647" y="1365"/>
                  </a:cubicBezTo>
                  <a:cubicBezTo>
                    <a:pt x="4659" y="1365"/>
                    <a:pt x="4659" y="1365"/>
                    <a:pt x="4659" y="1365"/>
                  </a:cubicBezTo>
                  <a:cubicBezTo>
                    <a:pt x="4657" y="1365"/>
                    <a:pt x="4655" y="1364"/>
                    <a:pt x="4653" y="1364"/>
                  </a:cubicBezTo>
                  <a:cubicBezTo>
                    <a:pt x="4653" y="1364"/>
                    <a:pt x="4653" y="1364"/>
                    <a:pt x="4653" y="1364"/>
                  </a:cubicBezTo>
                  <a:moveTo>
                    <a:pt x="4700" y="1364"/>
                  </a:moveTo>
                  <a:cubicBezTo>
                    <a:pt x="4698" y="1364"/>
                    <a:pt x="4696" y="1364"/>
                    <a:pt x="4694" y="1365"/>
                  </a:cubicBezTo>
                  <a:cubicBezTo>
                    <a:pt x="4707" y="1365"/>
                    <a:pt x="4707" y="1365"/>
                    <a:pt x="4707" y="1365"/>
                  </a:cubicBezTo>
                  <a:cubicBezTo>
                    <a:pt x="4704" y="1364"/>
                    <a:pt x="4702" y="1364"/>
                    <a:pt x="4700" y="1364"/>
                  </a:cubicBezTo>
                  <a:cubicBezTo>
                    <a:pt x="4700" y="1364"/>
                    <a:pt x="4700" y="1364"/>
                    <a:pt x="4700" y="1364"/>
                  </a:cubicBezTo>
                  <a:moveTo>
                    <a:pt x="4747" y="1364"/>
                  </a:moveTo>
                  <a:cubicBezTo>
                    <a:pt x="4745" y="1364"/>
                    <a:pt x="4743" y="1364"/>
                    <a:pt x="4741" y="1365"/>
                  </a:cubicBezTo>
                  <a:cubicBezTo>
                    <a:pt x="4754" y="1365"/>
                    <a:pt x="4754" y="1365"/>
                    <a:pt x="4754" y="1365"/>
                  </a:cubicBezTo>
                  <a:cubicBezTo>
                    <a:pt x="4752" y="1364"/>
                    <a:pt x="4749" y="1364"/>
                    <a:pt x="4747" y="1364"/>
                  </a:cubicBezTo>
                  <a:cubicBezTo>
                    <a:pt x="4747" y="1364"/>
                    <a:pt x="4747" y="1364"/>
                    <a:pt x="4747" y="1364"/>
                  </a:cubicBezTo>
                  <a:moveTo>
                    <a:pt x="4794" y="1364"/>
                  </a:moveTo>
                  <a:cubicBezTo>
                    <a:pt x="4792" y="1364"/>
                    <a:pt x="4790" y="1364"/>
                    <a:pt x="4788" y="1365"/>
                  </a:cubicBezTo>
                  <a:cubicBezTo>
                    <a:pt x="4802" y="1365"/>
                    <a:pt x="4802" y="1365"/>
                    <a:pt x="4802" y="1365"/>
                  </a:cubicBezTo>
                  <a:cubicBezTo>
                    <a:pt x="4800" y="1364"/>
                    <a:pt x="4797" y="1364"/>
                    <a:pt x="4795" y="1364"/>
                  </a:cubicBezTo>
                  <a:cubicBezTo>
                    <a:pt x="4795" y="1364"/>
                    <a:pt x="4794" y="1364"/>
                    <a:pt x="4794" y="1364"/>
                  </a:cubicBezTo>
                  <a:moveTo>
                    <a:pt x="4842" y="1364"/>
                  </a:moveTo>
                  <a:cubicBezTo>
                    <a:pt x="4840" y="1364"/>
                    <a:pt x="4838" y="1364"/>
                    <a:pt x="4836" y="1365"/>
                  </a:cubicBezTo>
                  <a:cubicBezTo>
                    <a:pt x="4851" y="1365"/>
                    <a:pt x="4851" y="1365"/>
                    <a:pt x="4851" y="1365"/>
                  </a:cubicBezTo>
                  <a:cubicBezTo>
                    <a:pt x="4848" y="1364"/>
                    <a:pt x="4845" y="1364"/>
                    <a:pt x="4842" y="1364"/>
                  </a:cubicBezTo>
                  <a:cubicBezTo>
                    <a:pt x="4842" y="1364"/>
                    <a:pt x="4842" y="1364"/>
                    <a:pt x="4842" y="1364"/>
                  </a:cubicBezTo>
                  <a:moveTo>
                    <a:pt x="4988" y="1364"/>
                  </a:moveTo>
                  <a:cubicBezTo>
                    <a:pt x="4985" y="1364"/>
                    <a:pt x="4983" y="1364"/>
                    <a:pt x="4981" y="1365"/>
                  </a:cubicBezTo>
                  <a:cubicBezTo>
                    <a:pt x="4997" y="1365"/>
                    <a:pt x="4997" y="1365"/>
                    <a:pt x="4997" y="1365"/>
                  </a:cubicBezTo>
                  <a:cubicBezTo>
                    <a:pt x="4994" y="1364"/>
                    <a:pt x="4991" y="1364"/>
                    <a:pt x="4988" y="1364"/>
                  </a:cubicBezTo>
                  <a:cubicBezTo>
                    <a:pt x="4988" y="1364"/>
                    <a:pt x="4988" y="1364"/>
                    <a:pt x="4988" y="1364"/>
                  </a:cubicBezTo>
                  <a:moveTo>
                    <a:pt x="254" y="1343"/>
                  </a:moveTo>
                  <a:cubicBezTo>
                    <a:pt x="245" y="1343"/>
                    <a:pt x="234" y="1348"/>
                    <a:pt x="230" y="1353"/>
                  </a:cubicBezTo>
                  <a:cubicBezTo>
                    <a:pt x="226" y="1359"/>
                    <a:pt x="230" y="1363"/>
                    <a:pt x="240" y="1363"/>
                  </a:cubicBezTo>
                  <a:cubicBezTo>
                    <a:pt x="249" y="1363"/>
                    <a:pt x="259" y="1359"/>
                    <a:pt x="263" y="1353"/>
                  </a:cubicBezTo>
                  <a:cubicBezTo>
                    <a:pt x="267" y="1348"/>
                    <a:pt x="263" y="1343"/>
                    <a:pt x="254" y="1343"/>
                  </a:cubicBezTo>
                  <a:cubicBezTo>
                    <a:pt x="254" y="1343"/>
                    <a:pt x="254" y="1343"/>
                    <a:pt x="254" y="1343"/>
                  </a:cubicBezTo>
                  <a:moveTo>
                    <a:pt x="301" y="1343"/>
                  </a:moveTo>
                  <a:cubicBezTo>
                    <a:pt x="291" y="1343"/>
                    <a:pt x="281" y="1348"/>
                    <a:pt x="277" y="1353"/>
                  </a:cubicBezTo>
                  <a:cubicBezTo>
                    <a:pt x="273" y="1359"/>
                    <a:pt x="278" y="1363"/>
                    <a:pt x="287" y="1363"/>
                  </a:cubicBezTo>
                  <a:cubicBezTo>
                    <a:pt x="296" y="1363"/>
                    <a:pt x="306" y="1359"/>
                    <a:pt x="310" y="1353"/>
                  </a:cubicBezTo>
                  <a:cubicBezTo>
                    <a:pt x="314" y="1348"/>
                    <a:pt x="310" y="1343"/>
                    <a:pt x="301" y="1343"/>
                  </a:cubicBezTo>
                  <a:cubicBezTo>
                    <a:pt x="301" y="1343"/>
                    <a:pt x="301" y="1343"/>
                    <a:pt x="301" y="1343"/>
                  </a:cubicBezTo>
                  <a:moveTo>
                    <a:pt x="348" y="1343"/>
                  </a:moveTo>
                  <a:cubicBezTo>
                    <a:pt x="339" y="1343"/>
                    <a:pt x="328" y="1348"/>
                    <a:pt x="324" y="1353"/>
                  </a:cubicBezTo>
                  <a:cubicBezTo>
                    <a:pt x="321" y="1359"/>
                    <a:pt x="325" y="1363"/>
                    <a:pt x="334" y="1363"/>
                  </a:cubicBezTo>
                  <a:cubicBezTo>
                    <a:pt x="343" y="1363"/>
                    <a:pt x="354" y="1359"/>
                    <a:pt x="358" y="1353"/>
                  </a:cubicBezTo>
                  <a:cubicBezTo>
                    <a:pt x="361" y="1348"/>
                    <a:pt x="357" y="1343"/>
                    <a:pt x="348" y="1343"/>
                  </a:cubicBezTo>
                  <a:cubicBezTo>
                    <a:pt x="348" y="1343"/>
                    <a:pt x="348" y="1343"/>
                    <a:pt x="348" y="1343"/>
                  </a:cubicBezTo>
                  <a:moveTo>
                    <a:pt x="396" y="1343"/>
                  </a:moveTo>
                  <a:cubicBezTo>
                    <a:pt x="387" y="1343"/>
                    <a:pt x="377" y="1347"/>
                    <a:pt x="373" y="1353"/>
                  </a:cubicBezTo>
                  <a:cubicBezTo>
                    <a:pt x="370" y="1359"/>
                    <a:pt x="374" y="1363"/>
                    <a:pt x="383" y="1363"/>
                  </a:cubicBezTo>
                  <a:cubicBezTo>
                    <a:pt x="392" y="1363"/>
                    <a:pt x="403" y="1359"/>
                    <a:pt x="406" y="1353"/>
                  </a:cubicBezTo>
                  <a:cubicBezTo>
                    <a:pt x="410" y="1347"/>
                    <a:pt x="405" y="1343"/>
                    <a:pt x="396" y="1343"/>
                  </a:cubicBezTo>
                  <a:cubicBezTo>
                    <a:pt x="396" y="1343"/>
                    <a:pt x="396" y="1343"/>
                    <a:pt x="396" y="1343"/>
                  </a:cubicBezTo>
                  <a:moveTo>
                    <a:pt x="443" y="1343"/>
                  </a:moveTo>
                  <a:cubicBezTo>
                    <a:pt x="434" y="1343"/>
                    <a:pt x="424" y="1347"/>
                    <a:pt x="420" y="1353"/>
                  </a:cubicBezTo>
                  <a:cubicBezTo>
                    <a:pt x="417" y="1359"/>
                    <a:pt x="421" y="1363"/>
                    <a:pt x="430" y="1363"/>
                  </a:cubicBezTo>
                  <a:cubicBezTo>
                    <a:pt x="439" y="1363"/>
                    <a:pt x="450" y="1359"/>
                    <a:pt x="453" y="1353"/>
                  </a:cubicBezTo>
                  <a:cubicBezTo>
                    <a:pt x="457" y="1347"/>
                    <a:pt x="452" y="1343"/>
                    <a:pt x="443" y="1343"/>
                  </a:cubicBezTo>
                  <a:cubicBezTo>
                    <a:pt x="443" y="1343"/>
                    <a:pt x="443" y="1343"/>
                    <a:pt x="443" y="1343"/>
                  </a:cubicBezTo>
                  <a:moveTo>
                    <a:pt x="490" y="1343"/>
                  </a:moveTo>
                  <a:cubicBezTo>
                    <a:pt x="481" y="1343"/>
                    <a:pt x="471" y="1347"/>
                    <a:pt x="468" y="1353"/>
                  </a:cubicBezTo>
                  <a:cubicBezTo>
                    <a:pt x="464" y="1358"/>
                    <a:pt x="469" y="1363"/>
                    <a:pt x="478" y="1363"/>
                  </a:cubicBezTo>
                  <a:cubicBezTo>
                    <a:pt x="487" y="1363"/>
                    <a:pt x="497" y="1358"/>
                    <a:pt x="501" y="1353"/>
                  </a:cubicBezTo>
                  <a:cubicBezTo>
                    <a:pt x="504" y="1347"/>
                    <a:pt x="500" y="1343"/>
                    <a:pt x="490" y="1343"/>
                  </a:cubicBezTo>
                  <a:cubicBezTo>
                    <a:pt x="490" y="1343"/>
                    <a:pt x="490" y="1343"/>
                    <a:pt x="490" y="1343"/>
                  </a:cubicBezTo>
                  <a:moveTo>
                    <a:pt x="538" y="1343"/>
                  </a:moveTo>
                  <a:cubicBezTo>
                    <a:pt x="529" y="1343"/>
                    <a:pt x="519" y="1347"/>
                    <a:pt x="515" y="1353"/>
                  </a:cubicBezTo>
                  <a:cubicBezTo>
                    <a:pt x="512" y="1358"/>
                    <a:pt x="517" y="1363"/>
                    <a:pt x="526" y="1363"/>
                  </a:cubicBezTo>
                  <a:cubicBezTo>
                    <a:pt x="535" y="1363"/>
                    <a:pt x="545" y="1358"/>
                    <a:pt x="548" y="1353"/>
                  </a:cubicBezTo>
                  <a:cubicBezTo>
                    <a:pt x="552" y="1347"/>
                    <a:pt x="547" y="1343"/>
                    <a:pt x="538" y="1343"/>
                  </a:cubicBezTo>
                  <a:cubicBezTo>
                    <a:pt x="538" y="1343"/>
                    <a:pt x="538" y="1343"/>
                    <a:pt x="538" y="1343"/>
                  </a:cubicBezTo>
                  <a:moveTo>
                    <a:pt x="585" y="1342"/>
                  </a:moveTo>
                  <a:cubicBezTo>
                    <a:pt x="576" y="1343"/>
                    <a:pt x="566" y="1347"/>
                    <a:pt x="562" y="1353"/>
                  </a:cubicBezTo>
                  <a:cubicBezTo>
                    <a:pt x="559" y="1358"/>
                    <a:pt x="564" y="1363"/>
                    <a:pt x="573" y="1363"/>
                  </a:cubicBezTo>
                  <a:cubicBezTo>
                    <a:pt x="582" y="1363"/>
                    <a:pt x="592" y="1358"/>
                    <a:pt x="595" y="1353"/>
                  </a:cubicBezTo>
                  <a:cubicBezTo>
                    <a:pt x="599" y="1347"/>
                    <a:pt x="594" y="1342"/>
                    <a:pt x="585" y="1342"/>
                  </a:cubicBezTo>
                  <a:cubicBezTo>
                    <a:pt x="585" y="1342"/>
                    <a:pt x="585" y="1342"/>
                    <a:pt x="585" y="1342"/>
                  </a:cubicBezTo>
                  <a:moveTo>
                    <a:pt x="632" y="1342"/>
                  </a:moveTo>
                  <a:cubicBezTo>
                    <a:pt x="623" y="1342"/>
                    <a:pt x="613" y="1347"/>
                    <a:pt x="610" y="1353"/>
                  </a:cubicBezTo>
                  <a:cubicBezTo>
                    <a:pt x="606" y="1358"/>
                    <a:pt x="611" y="1363"/>
                    <a:pt x="620" y="1363"/>
                  </a:cubicBezTo>
                  <a:cubicBezTo>
                    <a:pt x="629" y="1363"/>
                    <a:pt x="639" y="1358"/>
                    <a:pt x="643" y="1353"/>
                  </a:cubicBezTo>
                  <a:cubicBezTo>
                    <a:pt x="646" y="1347"/>
                    <a:pt x="641" y="1342"/>
                    <a:pt x="632" y="1342"/>
                  </a:cubicBezTo>
                  <a:cubicBezTo>
                    <a:pt x="632" y="1342"/>
                    <a:pt x="632" y="1342"/>
                    <a:pt x="632" y="1342"/>
                  </a:cubicBezTo>
                  <a:moveTo>
                    <a:pt x="679" y="1342"/>
                  </a:moveTo>
                  <a:cubicBezTo>
                    <a:pt x="670" y="1342"/>
                    <a:pt x="660" y="1347"/>
                    <a:pt x="657" y="1352"/>
                  </a:cubicBezTo>
                  <a:cubicBezTo>
                    <a:pt x="653" y="1358"/>
                    <a:pt x="658" y="1363"/>
                    <a:pt x="667" y="1363"/>
                  </a:cubicBezTo>
                  <a:cubicBezTo>
                    <a:pt x="677" y="1363"/>
                    <a:pt x="687" y="1358"/>
                    <a:pt x="690" y="1352"/>
                  </a:cubicBezTo>
                  <a:cubicBezTo>
                    <a:pt x="693" y="1347"/>
                    <a:pt x="688" y="1342"/>
                    <a:pt x="679" y="1342"/>
                  </a:cubicBezTo>
                  <a:cubicBezTo>
                    <a:pt x="679" y="1342"/>
                    <a:pt x="679" y="1342"/>
                    <a:pt x="679" y="1342"/>
                  </a:cubicBezTo>
                  <a:moveTo>
                    <a:pt x="726" y="1342"/>
                  </a:moveTo>
                  <a:cubicBezTo>
                    <a:pt x="717" y="1342"/>
                    <a:pt x="707" y="1347"/>
                    <a:pt x="704" y="1352"/>
                  </a:cubicBezTo>
                  <a:cubicBezTo>
                    <a:pt x="701" y="1358"/>
                    <a:pt x="706" y="1363"/>
                    <a:pt x="715" y="1363"/>
                  </a:cubicBezTo>
                  <a:cubicBezTo>
                    <a:pt x="724" y="1363"/>
                    <a:pt x="734" y="1358"/>
                    <a:pt x="737" y="1352"/>
                  </a:cubicBezTo>
                  <a:cubicBezTo>
                    <a:pt x="740" y="1347"/>
                    <a:pt x="735" y="1342"/>
                    <a:pt x="726" y="1342"/>
                  </a:cubicBezTo>
                  <a:cubicBezTo>
                    <a:pt x="726" y="1342"/>
                    <a:pt x="726" y="1342"/>
                    <a:pt x="726" y="1342"/>
                  </a:cubicBezTo>
                  <a:moveTo>
                    <a:pt x="774" y="1342"/>
                  </a:moveTo>
                  <a:cubicBezTo>
                    <a:pt x="765" y="1342"/>
                    <a:pt x="755" y="1347"/>
                    <a:pt x="752" y="1352"/>
                  </a:cubicBezTo>
                  <a:cubicBezTo>
                    <a:pt x="749" y="1358"/>
                    <a:pt x="754" y="1362"/>
                    <a:pt x="763" y="1362"/>
                  </a:cubicBezTo>
                  <a:cubicBezTo>
                    <a:pt x="772" y="1362"/>
                    <a:pt x="782" y="1358"/>
                    <a:pt x="785" y="1352"/>
                  </a:cubicBezTo>
                  <a:cubicBezTo>
                    <a:pt x="788" y="1347"/>
                    <a:pt x="783" y="1342"/>
                    <a:pt x="774" y="1342"/>
                  </a:cubicBezTo>
                  <a:cubicBezTo>
                    <a:pt x="774" y="1342"/>
                    <a:pt x="774" y="1342"/>
                    <a:pt x="774" y="1342"/>
                  </a:cubicBezTo>
                  <a:moveTo>
                    <a:pt x="820" y="1342"/>
                  </a:moveTo>
                  <a:cubicBezTo>
                    <a:pt x="811" y="1342"/>
                    <a:pt x="802" y="1347"/>
                    <a:pt x="799" y="1352"/>
                  </a:cubicBezTo>
                  <a:cubicBezTo>
                    <a:pt x="796" y="1358"/>
                    <a:pt x="801" y="1362"/>
                    <a:pt x="810" y="1362"/>
                  </a:cubicBezTo>
                  <a:cubicBezTo>
                    <a:pt x="819" y="1362"/>
                    <a:pt x="829" y="1358"/>
                    <a:pt x="832" y="1352"/>
                  </a:cubicBezTo>
                  <a:cubicBezTo>
                    <a:pt x="835" y="1347"/>
                    <a:pt x="830" y="1342"/>
                    <a:pt x="821" y="1342"/>
                  </a:cubicBezTo>
                  <a:cubicBezTo>
                    <a:pt x="821" y="1342"/>
                    <a:pt x="821" y="1342"/>
                    <a:pt x="820" y="1342"/>
                  </a:cubicBezTo>
                  <a:moveTo>
                    <a:pt x="868" y="1342"/>
                  </a:moveTo>
                  <a:cubicBezTo>
                    <a:pt x="858" y="1342"/>
                    <a:pt x="849" y="1346"/>
                    <a:pt x="846" y="1352"/>
                  </a:cubicBezTo>
                  <a:cubicBezTo>
                    <a:pt x="843" y="1358"/>
                    <a:pt x="848" y="1362"/>
                    <a:pt x="857" y="1362"/>
                  </a:cubicBezTo>
                  <a:cubicBezTo>
                    <a:pt x="867" y="1362"/>
                    <a:pt x="876" y="1358"/>
                    <a:pt x="879" y="1352"/>
                  </a:cubicBezTo>
                  <a:cubicBezTo>
                    <a:pt x="882" y="1346"/>
                    <a:pt x="877" y="1342"/>
                    <a:pt x="868" y="1342"/>
                  </a:cubicBezTo>
                  <a:cubicBezTo>
                    <a:pt x="868" y="1342"/>
                    <a:pt x="868" y="1342"/>
                    <a:pt x="868" y="1342"/>
                  </a:cubicBezTo>
                  <a:moveTo>
                    <a:pt x="914" y="1342"/>
                  </a:moveTo>
                  <a:cubicBezTo>
                    <a:pt x="905" y="1342"/>
                    <a:pt x="896" y="1346"/>
                    <a:pt x="893" y="1352"/>
                  </a:cubicBezTo>
                  <a:cubicBezTo>
                    <a:pt x="890" y="1358"/>
                    <a:pt x="895" y="1362"/>
                    <a:pt x="905" y="1362"/>
                  </a:cubicBezTo>
                  <a:cubicBezTo>
                    <a:pt x="914" y="1362"/>
                    <a:pt x="923" y="1358"/>
                    <a:pt x="926" y="1352"/>
                  </a:cubicBezTo>
                  <a:cubicBezTo>
                    <a:pt x="929" y="1346"/>
                    <a:pt x="924" y="1342"/>
                    <a:pt x="914" y="1342"/>
                  </a:cubicBezTo>
                  <a:cubicBezTo>
                    <a:pt x="914" y="1342"/>
                    <a:pt x="914" y="1342"/>
                    <a:pt x="914" y="1342"/>
                  </a:cubicBezTo>
                  <a:moveTo>
                    <a:pt x="962" y="1342"/>
                  </a:moveTo>
                  <a:cubicBezTo>
                    <a:pt x="953" y="1342"/>
                    <a:pt x="943" y="1346"/>
                    <a:pt x="940" y="1352"/>
                  </a:cubicBezTo>
                  <a:cubicBezTo>
                    <a:pt x="938" y="1358"/>
                    <a:pt x="943" y="1362"/>
                    <a:pt x="952" y="1362"/>
                  </a:cubicBezTo>
                  <a:cubicBezTo>
                    <a:pt x="961" y="1362"/>
                    <a:pt x="971" y="1357"/>
                    <a:pt x="973" y="1352"/>
                  </a:cubicBezTo>
                  <a:cubicBezTo>
                    <a:pt x="976" y="1346"/>
                    <a:pt x="971" y="1342"/>
                    <a:pt x="962" y="1342"/>
                  </a:cubicBezTo>
                  <a:cubicBezTo>
                    <a:pt x="962" y="1342"/>
                    <a:pt x="962" y="1342"/>
                    <a:pt x="962" y="1342"/>
                  </a:cubicBezTo>
                  <a:moveTo>
                    <a:pt x="1009" y="1342"/>
                  </a:moveTo>
                  <a:cubicBezTo>
                    <a:pt x="1000" y="1342"/>
                    <a:pt x="991" y="1346"/>
                    <a:pt x="988" y="1352"/>
                  </a:cubicBezTo>
                  <a:cubicBezTo>
                    <a:pt x="985" y="1357"/>
                    <a:pt x="991" y="1362"/>
                    <a:pt x="1000" y="1362"/>
                  </a:cubicBezTo>
                  <a:cubicBezTo>
                    <a:pt x="1009" y="1362"/>
                    <a:pt x="1019" y="1357"/>
                    <a:pt x="1021" y="1352"/>
                  </a:cubicBezTo>
                  <a:cubicBezTo>
                    <a:pt x="1024" y="1346"/>
                    <a:pt x="1018" y="1342"/>
                    <a:pt x="1009" y="1342"/>
                  </a:cubicBezTo>
                  <a:cubicBezTo>
                    <a:pt x="1009" y="1342"/>
                    <a:pt x="1009" y="1342"/>
                    <a:pt x="1009" y="1342"/>
                  </a:cubicBezTo>
                  <a:moveTo>
                    <a:pt x="2185" y="1340"/>
                  </a:moveTo>
                  <a:cubicBezTo>
                    <a:pt x="2176" y="1340"/>
                    <a:pt x="2168" y="1345"/>
                    <a:pt x="2167" y="1351"/>
                  </a:cubicBezTo>
                  <a:cubicBezTo>
                    <a:pt x="2167" y="1356"/>
                    <a:pt x="2174" y="1361"/>
                    <a:pt x="2183" y="1361"/>
                  </a:cubicBezTo>
                  <a:cubicBezTo>
                    <a:pt x="2192" y="1361"/>
                    <a:pt x="2200" y="1356"/>
                    <a:pt x="2200" y="1351"/>
                  </a:cubicBezTo>
                  <a:cubicBezTo>
                    <a:pt x="2201" y="1345"/>
                    <a:pt x="2194" y="1340"/>
                    <a:pt x="2185" y="1340"/>
                  </a:cubicBezTo>
                  <a:cubicBezTo>
                    <a:pt x="2185" y="1340"/>
                    <a:pt x="2185" y="1340"/>
                    <a:pt x="2185" y="1340"/>
                  </a:cubicBezTo>
                  <a:moveTo>
                    <a:pt x="2231" y="1340"/>
                  </a:moveTo>
                  <a:cubicBezTo>
                    <a:pt x="2222" y="1340"/>
                    <a:pt x="2215" y="1345"/>
                    <a:pt x="2214" y="1351"/>
                  </a:cubicBezTo>
                  <a:cubicBezTo>
                    <a:pt x="2214" y="1356"/>
                    <a:pt x="2221" y="1361"/>
                    <a:pt x="2230" y="1361"/>
                  </a:cubicBezTo>
                  <a:cubicBezTo>
                    <a:pt x="2239" y="1361"/>
                    <a:pt x="2247" y="1356"/>
                    <a:pt x="2247" y="1350"/>
                  </a:cubicBezTo>
                  <a:cubicBezTo>
                    <a:pt x="2248" y="1345"/>
                    <a:pt x="2241" y="1340"/>
                    <a:pt x="2232" y="1340"/>
                  </a:cubicBezTo>
                  <a:cubicBezTo>
                    <a:pt x="2231" y="1340"/>
                    <a:pt x="2231" y="1340"/>
                    <a:pt x="2231" y="1340"/>
                  </a:cubicBezTo>
                  <a:moveTo>
                    <a:pt x="2279" y="1340"/>
                  </a:moveTo>
                  <a:cubicBezTo>
                    <a:pt x="2270" y="1340"/>
                    <a:pt x="2262" y="1345"/>
                    <a:pt x="2262" y="1350"/>
                  </a:cubicBezTo>
                  <a:cubicBezTo>
                    <a:pt x="2261" y="1356"/>
                    <a:pt x="2268" y="1361"/>
                    <a:pt x="2277" y="1361"/>
                  </a:cubicBezTo>
                  <a:cubicBezTo>
                    <a:pt x="2287" y="1361"/>
                    <a:pt x="2294" y="1356"/>
                    <a:pt x="2295" y="1350"/>
                  </a:cubicBezTo>
                  <a:cubicBezTo>
                    <a:pt x="2295" y="1345"/>
                    <a:pt x="2288" y="1340"/>
                    <a:pt x="2279" y="1340"/>
                  </a:cubicBezTo>
                  <a:cubicBezTo>
                    <a:pt x="2279" y="1340"/>
                    <a:pt x="2279" y="1340"/>
                    <a:pt x="2279" y="1340"/>
                  </a:cubicBezTo>
                  <a:moveTo>
                    <a:pt x="2325" y="1340"/>
                  </a:moveTo>
                  <a:cubicBezTo>
                    <a:pt x="2316" y="1340"/>
                    <a:pt x="2308" y="1345"/>
                    <a:pt x="2308" y="1350"/>
                  </a:cubicBezTo>
                  <a:cubicBezTo>
                    <a:pt x="2308" y="1356"/>
                    <a:pt x="2315" y="1361"/>
                    <a:pt x="2324" y="1361"/>
                  </a:cubicBezTo>
                  <a:cubicBezTo>
                    <a:pt x="2333" y="1361"/>
                    <a:pt x="2341" y="1356"/>
                    <a:pt x="2341" y="1350"/>
                  </a:cubicBezTo>
                  <a:cubicBezTo>
                    <a:pt x="2341" y="1345"/>
                    <a:pt x="2334" y="1340"/>
                    <a:pt x="2325" y="1340"/>
                  </a:cubicBezTo>
                  <a:cubicBezTo>
                    <a:pt x="2325" y="1340"/>
                    <a:pt x="2325" y="1340"/>
                    <a:pt x="2325" y="1340"/>
                  </a:cubicBezTo>
                  <a:moveTo>
                    <a:pt x="2372" y="1340"/>
                  </a:moveTo>
                  <a:cubicBezTo>
                    <a:pt x="2363" y="1340"/>
                    <a:pt x="2355" y="1345"/>
                    <a:pt x="2355" y="1350"/>
                  </a:cubicBezTo>
                  <a:cubicBezTo>
                    <a:pt x="2355" y="1356"/>
                    <a:pt x="2362" y="1360"/>
                    <a:pt x="2371" y="1360"/>
                  </a:cubicBezTo>
                  <a:cubicBezTo>
                    <a:pt x="2380" y="1360"/>
                    <a:pt x="2388" y="1356"/>
                    <a:pt x="2388" y="1350"/>
                  </a:cubicBezTo>
                  <a:cubicBezTo>
                    <a:pt x="2388" y="1345"/>
                    <a:pt x="2381" y="1340"/>
                    <a:pt x="2372" y="1340"/>
                  </a:cubicBezTo>
                  <a:cubicBezTo>
                    <a:pt x="2372" y="1340"/>
                    <a:pt x="2372" y="1340"/>
                    <a:pt x="2372" y="1340"/>
                  </a:cubicBezTo>
                  <a:moveTo>
                    <a:pt x="2419" y="1340"/>
                  </a:moveTo>
                  <a:cubicBezTo>
                    <a:pt x="2410" y="1340"/>
                    <a:pt x="2403" y="1345"/>
                    <a:pt x="2402" y="1350"/>
                  </a:cubicBezTo>
                  <a:cubicBezTo>
                    <a:pt x="2402" y="1356"/>
                    <a:pt x="2410" y="1360"/>
                    <a:pt x="2419" y="1360"/>
                  </a:cubicBezTo>
                  <a:cubicBezTo>
                    <a:pt x="2428" y="1360"/>
                    <a:pt x="2435" y="1356"/>
                    <a:pt x="2435" y="1350"/>
                  </a:cubicBezTo>
                  <a:cubicBezTo>
                    <a:pt x="2435" y="1344"/>
                    <a:pt x="2428" y="1340"/>
                    <a:pt x="2419" y="1340"/>
                  </a:cubicBezTo>
                  <a:cubicBezTo>
                    <a:pt x="2419" y="1340"/>
                    <a:pt x="2419" y="1340"/>
                    <a:pt x="2419" y="1340"/>
                  </a:cubicBezTo>
                  <a:moveTo>
                    <a:pt x="2468" y="1340"/>
                  </a:moveTo>
                  <a:cubicBezTo>
                    <a:pt x="2459" y="1340"/>
                    <a:pt x="2451" y="1344"/>
                    <a:pt x="2451" y="1350"/>
                  </a:cubicBezTo>
                  <a:cubicBezTo>
                    <a:pt x="2451" y="1356"/>
                    <a:pt x="2459" y="1360"/>
                    <a:pt x="2468" y="1360"/>
                  </a:cubicBezTo>
                  <a:cubicBezTo>
                    <a:pt x="2477" y="1360"/>
                    <a:pt x="2484" y="1356"/>
                    <a:pt x="2484" y="1350"/>
                  </a:cubicBezTo>
                  <a:cubicBezTo>
                    <a:pt x="2484" y="1344"/>
                    <a:pt x="2477" y="1340"/>
                    <a:pt x="2468" y="1340"/>
                  </a:cubicBezTo>
                  <a:cubicBezTo>
                    <a:pt x="2468" y="1340"/>
                    <a:pt x="2468" y="1340"/>
                    <a:pt x="2468" y="1340"/>
                  </a:cubicBezTo>
                  <a:moveTo>
                    <a:pt x="2514" y="1340"/>
                  </a:moveTo>
                  <a:cubicBezTo>
                    <a:pt x="2505" y="1340"/>
                    <a:pt x="2498" y="1344"/>
                    <a:pt x="2498" y="1350"/>
                  </a:cubicBezTo>
                  <a:cubicBezTo>
                    <a:pt x="2498" y="1356"/>
                    <a:pt x="2506" y="1360"/>
                    <a:pt x="2515" y="1360"/>
                  </a:cubicBezTo>
                  <a:cubicBezTo>
                    <a:pt x="2524" y="1360"/>
                    <a:pt x="2531" y="1356"/>
                    <a:pt x="2531" y="1350"/>
                  </a:cubicBezTo>
                  <a:cubicBezTo>
                    <a:pt x="2531" y="1344"/>
                    <a:pt x="2524" y="1340"/>
                    <a:pt x="2514" y="1340"/>
                  </a:cubicBezTo>
                  <a:cubicBezTo>
                    <a:pt x="2514" y="1340"/>
                    <a:pt x="2514" y="1340"/>
                    <a:pt x="2514" y="1340"/>
                  </a:cubicBezTo>
                  <a:moveTo>
                    <a:pt x="2562" y="1340"/>
                  </a:moveTo>
                  <a:cubicBezTo>
                    <a:pt x="2553" y="1340"/>
                    <a:pt x="2545" y="1344"/>
                    <a:pt x="2545" y="1350"/>
                  </a:cubicBezTo>
                  <a:cubicBezTo>
                    <a:pt x="2546" y="1356"/>
                    <a:pt x="2553" y="1360"/>
                    <a:pt x="2562" y="1360"/>
                  </a:cubicBezTo>
                  <a:cubicBezTo>
                    <a:pt x="2571" y="1360"/>
                    <a:pt x="2579" y="1355"/>
                    <a:pt x="2578" y="1350"/>
                  </a:cubicBezTo>
                  <a:cubicBezTo>
                    <a:pt x="2578" y="1344"/>
                    <a:pt x="2571" y="1340"/>
                    <a:pt x="2562" y="1340"/>
                  </a:cubicBezTo>
                  <a:cubicBezTo>
                    <a:pt x="2562" y="1340"/>
                    <a:pt x="2562" y="1340"/>
                    <a:pt x="2562" y="1340"/>
                  </a:cubicBezTo>
                  <a:moveTo>
                    <a:pt x="2609" y="1340"/>
                  </a:moveTo>
                  <a:cubicBezTo>
                    <a:pt x="2600" y="1340"/>
                    <a:pt x="2593" y="1344"/>
                    <a:pt x="2593" y="1350"/>
                  </a:cubicBezTo>
                  <a:cubicBezTo>
                    <a:pt x="2593" y="1355"/>
                    <a:pt x="2601" y="1360"/>
                    <a:pt x="2610" y="1360"/>
                  </a:cubicBezTo>
                  <a:cubicBezTo>
                    <a:pt x="2619" y="1360"/>
                    <a:pt x="2626" y="1355"/>
                    <a:pt x="2626" y="1350"/>
                  </a:cubicBezTo>
                  <a:cubicBezTo>
                    <a:pt x="2626" y="1344"/>
                    <a:pt x="2618" y="1340"/>
                    <a:pt x="2609" y="1340"/>
                  </a:cubicBezTo>
                  <a:cubicBezTo>
                    <a:pt x="2609" y="1340"/>
                    <a:pt x="2609" y="1340"/>
                    <a:pt x="2609" y="1340"/>
                  </a:cubicBezTo>
                  <a:moveTo>
                    <a:pt x="2656" y="1339"/>
                  </a:moveTo>
                  <a:cubicBezTo>
                    <a:pt x="2647" y="1339"/>
                    <a:pt x="2640" y="1344"/>
                    <a:pt x="2640" y="1350"/>
                  </a:cubicBezTo>
                  <a:cubicBezTo>
                    <a:pt x="2640" y="1355"/>
                    <a:pt x="2648" y="1360"/>
                    <a:pt x="2657" y="1360"/>
                  </a:cubicBezTo>
                  <a:cubicBezTo>
                    <a:pt x="2666" y="1360"/>
                    <a:pt x="2674" y="1355"/>
                    <a:pt x="2673" y="1350"/>
                  </a:cubicBezTo>
                  <a:cubicBezTo>
                    <a:pt x="2673" y="1344"/>
                    <a:pt x="2665" y="1339"/>
                    <a:pt x="2656" y="1339"/>
                  </a:cubicBezTo>
                  <a:cubicBezTo>
                    <a:pt x="2656" y="1339"/>
                    <a:pt x="2656" y="1339"/>
                    <a:pt x="2656" y="1339"/>
                  </a:cubicBezTo>
                  <a:moveTo>
                    <a:pt x="2704" y="1339"/>
                  </a:moveTo>
                  <a:cubicBezTo>
                    <a:pt x="2694" y="1339"/>
                    <a:pt x="2687" y="1344"/>
                    <a:pt x="2688" y="1350"/>
                  </a:cubicBezTo>
                  <a:cubicBezTo>
                    <a:pt x="2688" y="1355"/>
                    <a:pt x="2696" y="1360"/>
                    <a:pt x="2705" y="1360"/>
                  </a:cubicBezTo>
                  <a:cubicBezTo>
                    <a:pt x="2714" y="1360"/>
                    <a:pt x="2721" y="1355"/>
                    <a:pt x="2721" y="1350"/>
                  </a:cubicBezTo>
                  <a:cubicBezTo>
                    <a:pt x="2720" y="1344"/>
                    <a:pt x="2713" y="1339"/>
                    <a:pt x="2704" y="1339"/>
                  </a:cubicBezTo>
                  <a:cubicBezTo>
                    <a:pt x="2704" y="1339"/>
                    <a:pt x="2704" y="1339"/>
                    <a:pt x="2704" y="1339"/>
                  </a:cubicBezTo>
                  <a:moveTo>
                    <a:pt x="2749" y="1339"/>
                  </a:moveTo>
                  <a:cubicBezTo>
                    <a:pt x="2740" y="1339"/>
                    <a:pt x="2733" y="1344"/>
                    <a:pt x="2733" y="1349"/>
                  </a:cubicBezTo>
                  <a:cubicBezTo>
                    <a:pt x="2734" y="1355"/>
                    <a:pt x="2742" y="1360"/>
                    <a:pt x="2751" y="1360"/>
                  </a:cubicBezTo>
                  <a:cubicBezTo>
                    <a:pt x="2760" y="1360"/>
                    <a:pt x="2767" y="1355"/>
                    <a:pt x="2766" y="1349"/>
                  </a:cubicBezTo>
                  <a:cubicBezTo>
                    <a:pt x="2766" y="1344"/>
                    <a:pt x="2758" y="1339"/>
                    <a:pt x="2749" y="1339"/>
                  </a:cubicBezTo>
                  <a:cubicBezTo>
                    <a:pt x="2749" y="1339"/>
                    <a:pt x="2749" y="1339"/>
                    <a:pt x="2749" y="1339"/>
                  </a:cubicBezTo>
                  <a:moveTo>
                    <a:pt x="2939" y="1339"/>
                  </a:moveTo>
                  <a:cubicBezTo>
                    <a:pt x="2930" y="1339"/>
                    <a:pt x="2923" y="1343"/>
                    <a:pt x="2924" y="1349"/>
                  </a:cubicBezTo>
                  <a:cubicBezTo>
                    <a:pt x="2925" y="1355"/>
                    <a:pt x="2933" y="1359"/>
                    <a:pt x="2942" y="1359"/>
                  </a:cubicBezTo>
                  <a:cubicBezTo>
                    <a:pt x="2951" y="1359"/>
                    <a:pt x="2958" y="1355"/>
                    <a:pt x="2957" y="1349"/>
                  </a:cubicBezTo>
                  <a:cubicBezTo>
                    <a:pt x="2956" y="1343"/>
                    <a:pt x="2948" y="1339"/>
                    <a:pt x="2939" y="1339"/>
                  </a:cubicBezTo>
                  <a:cubicBezTo>
                    <a:pt x="2939" y="1339"/>
                    <a:pt x="2939" y="1339"/>
                    <a:pt x="2939" y="1339"/>
                  </a:cubicBezTo>
                  <a:moveTo>
                    <a:pt x="4632" y="1333"/>
                  </a:moveTo>
                  <a:cubicBezTo>
                    <a:pt x="4623" y="1333"/>
                    <a:pt x="4619" y="1338"/>
                    <a:pt x="4622" y="1344"/>
                  </a:cubicBezTo>
                  <a:cubicBezTo>
                    <a:pt x="4626" y="1349"/>
                    <a:pt x="4637" y="1354"/>
                    <a:pt x="4646" y="1354"/>
                  </a:cubicBezTo>
                  <a:cubicBezTo>
                    <a:pt x="4655" y="1354"/>
                    <a:pt x="4659" y="1349"/>
                    <a:pt x="4655" y="1343"/>
                  </a:cubicBezTo>
                  <a:cubicBezTo>
                    <a:pt x="4651" y="1338"/>
                    <a:pt x="4641" y="1333"/>
                    <a:pt x="4632" y="1333"/>
                  </a:cubicBezTo>
                  <a:cubicBezTo>
                    <a:pt x="4632" y="1333"/>
                    <a:pt x="4632" y="1333"/>
                    <a:pt x="4632" y="1333"/>
                  </a:cubicBezTo>
                  <a:moveTo>
                    <a:pt x="4725" y="1333"/>
                  </a:moveTo>
                  <a:cubicBezTo>
                    <a:pt x="4716" y="1333"/>
                    <a:pt x="4712" y="1338"/>
                    <a:pt x="4716" y="1343"/>
                  </a:cubicBezTo>
                  <a:cubicBezTo>
                    <a:pt x="4720" y="1349"/>
                    <a:pt x="4730" y="1354"/>
                    <a:pt x="4739" y="1354"/>
                  </a:cubicBezTo>
                  <a:cubicBezTo>
                    <a:pt x="4749" y="1354"/>
                    <a:pt x="4753" y="1349"/>
                    <a:pt x="4749" y="1343"/>
                  </a:cubicBezTo>
                  <a:cubicBezTo>
                    <a:pt x="4745" y="1338"/>
                    <a:pt x="4734" y="1333"/>
                    <a:pt x="4725" y="1333"/>
                  </a:cubicBezTo>
                  <a:cubicBezTo>
                    <a:pt x="4725" y="1333"/>
                    <a:pt x="4725" y="1333"/>
                    <a:pt x="4725" y="1333"/>
                  </a:cubicBezTo>
                  <a:moveTo>
                    <a:pt x="4772" y="1333"/>
                  </a:moveTo>
                  <a:cubicBezTo>
                    <a:pt x="4763" y="1333"/>
                    <a:pt x="4759" y="1338"/>
                    <a:pt x="4763" y="1343"/>
                  </a:cubicBezTo>
                  <a:cubicBezTo>
                    <a:pt x="4767" y="1349"/>
                    <a:pt x="4778" y="1354"/>
                    <a:pt x="4787" y="1354"/>
                  </a:cubicBezTo>
                  <a:cubicBezTo>
                    <a:pt x="4796" y="1353"/>
                    <a:pt x="4800" y="1349"/>
                    <a:pt x="4796" y="1343"/>
                  </a:cubicBezTo>
                  <a:cubicBezTo>
                    <a:pt x="4792" y="1338"/>
                    <a:pt x="4781" y="1333"/>
                    <a:pt x="4772" y="1333"/>
                  </a:cubicBezTo>
                  <a:cubicBezTo>
                    <a:pt x="4772" y="1333"/>
                    <a:pt x="4772" y="1333"/>
                    <a:pt x="4772" y="1333"/>
                  </a:cubicBezTo>
                  <a:moveTo>
                    <a:pt x="4964" y="1333"/>
                  </a:moveTo>
                  <a:cubicBezTo>
                    <a:pt x="4955" y="1333"/>
                    <a:pt x="4951" y="1337"/>
                    <a:pt x="4955" y="1343"/>
                  </a:cubicBezTo>
                  <a:cubicBezTo>
                    <a:pt x="4960" y="1349"/>
                    <a:pt x="4971" y="1353"/>
                    <a:pt x="4980" y="1353"/>
                  </a:cubicBezTo>
                  <a:cubicBezTo>
                    <a:pt x="4989" y="1353"/>
                    <a:pt x="4993" y="1348"/>
                    <a:pt x="4988" y="1343"/>
                  </a:cubicBezTo>
                  <a:cubicBezTo>
                    <a:pt x="4984" y="1337"/>
                    <a:pt x="4973" y="1333"/>
                    <a:pt x="4964" y="1333"/>
                  </a:cubicBezTo>
                  <a:cubicBezTo>
                    <a:pt x="4964" y="1333"/>
                    <a:pt x="4964" y="1333"/>
                    <a:pt x="4964" y="1333"/>
                  </a:cubicBezTo>
                  <a:moveTo>
                    <a:pt x="5002" y="1343"/>
                  </a:moveTo>
                  <a:cubicBezTo>
                    <a:pt x="5004" y="1345"/>
                    <a:pt x="5007" y="1347"/>
                    <a:pt x="5010" y="1349"/>
                  </a:cubicBezTo>
                  <a:cubicBezTo>
                    <a:pt x="5010" y="1332"/>
                    <a:pt x="5010" y="1332"/>
                    <a:pt x="5010" y="1332"/>
                  </a:cubicBezTo>
                  <a:cubicBezTo>
                    <a:pt x="5001" y="1332"/>
                    <a:pt x="4997" y="1337"/>
                    <a:pt x="5002" y="1343"/>
                  </a:cubicBezTo>
                  <a:moveTo>
                    <a:pt x="274" y="1314"/>
                  </a:moveTo>
                  <a:cubicBezTo>
                    <a:pt x="265" y="1314"/>
                    <a:pt x="254" y="1318"/>
                    <a:pt x="251" y="1324"/>
                  </a:cubicBezTo>
                  <a:cubicBezTo>
                    <a:pt x="247" y="1330"/>
                    <a:pt x="251" y="1334"/>
                    <a:pt x="260" y="1334"/>
                  </a:cubicBezTo>
                  <a:cubicBezTo>
                    <a:pt x="269" y="1334"/>
                    <a:pt x="279" y="1330"/>
                    <a:pt x="283" y="1324"/>
                  </a:cubicBezTo>
                  <a:cubicBezTo>
                    <a:pt x="287" y="1318"/>
                    <a:pt x="283" y="1314"/>
                    <a:pt x="274" y="1314"/>
                  </a:cubicBezTo>
                  <a:cubicBezTo>
                    <a:pt x="274" y="1314"/>
                    <a:pt x="274" y="1314"/>
                    <a:pt x="274" y="1314"/>
                  </a:cubicBezTo>
                  <a:moveTo>
                    <a:pt x="320" y="1314"/>
                  </a:moveTo>
                  <a:cubicBezTo>
                    <a:pt x="311" y="1314"/>
                    <a:pt x="301" y="1318"/>
                    <a:pt x="297" y="1324"/>
                  </a:cubicBezTo>
                  <a:cubicBezTo>
                    <a:pt x="293" y="1330"/>
                    <a:pt x="298" y="1334"/>
                    <a:pt x="307" y="1334"/>
                  </a:cubicBezTo>
                  <a:cubicBezTo>
                    <a:pt x="316" y="1334"/>
                    <a:pt x="326" y="1330"/>
                    <a:pt x="330" y="1324"/>
                  </a:cubicBezTo>
                  <a:cubicBezTo>
                    <a:pt x="334" y="1318"/>
                    <a:pt x="329" y="1314"/>
                    <a:pt x="320" y="1314"/>
                  </a:cubicBezTo>
                  <a:cubicBezTo>
                    <a:pt x="320" y="1314"/>
                    <a:pt x="320" y="1314"/>
                    <a:pt x="320" y="1314"/>
                  </a:cubicBezTo>
                  <a:moveTo>
                    <a:pt x="367" y="1314"/>
                  </a:moveTo>
                  <a:cubicBezTo>
                    <a:pt x="358" y="1314"/>
                    <a:pt x="348" y="1318"/>
                    <a:pt x="344" y="1324"/>
                  </a:cubicBezTo>
                  <a:cubicBezTo>
                    <a:pt x="340" y="1329"/>
                    <a:pt x="345" y="1334"/>
                    <a:pt x="354" y="1334"/>
                  </a:cubicBezTo>
                  <a:cubicBezTo>
                    <a:pt x="363" y="1334"/>
                    <a:pt x="373" y="1329"/>
                    <a:pt x="377" y="1324"/>
                  </a:cubicBezTo>
                  <a:cubicBezTo>
                    <a:pt x="381" y="1318"/>
                    <a:pt x="376" y="1314"/>
                    <a:pt x="367" y="1314"/>
                  </a:cubicBezTo>
                  <a:cubicBezTo>
                    <a:pt x="367" y="1314"/>
                    <a:pt x="367" y="1314"/>
                    <a:pt x="367" y="1314"/>
                  </a:cubicBezTo>
                  <a:moveTo>
                    <a:pt x="415" y="1314"/>
                  </a:moveTo>
                  <a:cubicBezTo>
                    <a:pt x="406" y="1314"/>
                    <a:pt x="396" y="1318"/>
                    <a:pt x="392" y="1324"/>
                  </a:cubicBezTo>
                  <a:cubicBezTo>
                    <a:pt x="389" y="1329"/>
                    <a:pt x="393" y="1334"/>
                    <a:pt x="402" y="1334"/>
                  </a:cubicBezTo>
                  <a:cubicBezTo>
                    <a:pt x="411" y="1334"/>
                    <a:pt x="422" y="1329"/>
                    <a:pt x="425" y="1324"/>
                  </a:cubicBezTo>
                  <a:cubicBezTo>
                    <a:pt x="429" y="1318"/>
                    <a:pt x="424" y="1314"/>
                    <a:pt x="415" y="1314"/>
                  </a:cubicBezTo>
                  <a:cubicBezTo>
                    <a:pt x="415" y="1314"/>
                    <a:pt x="415" y="1314"/>
                    <a:pt x="415" y="1314"/>
                  </a:cubicBezTo>
                  <a:moveTo>
                    <a:pt x="462" y="1313"/>
                  </a:moveTo>
                  <a:cubicBezTo>
                    <a:pt x="453" y="1313"/>
                    <a:pt x="442" y="1318"/>
                    <a:pt x="439" y="1324"/>
                  </a:cubicBezTo>
                  <a:cubicBezTo>
                    <a:pt x="435" y="1329"/>
                    <a:pt x="440" y="1334"/>
                    <a:pt x="449" y="1334"/>
                  </a:cubicBezTo>
                  <a:cubicBezTo>
                    <a:pt x="458" y="1334"/>
                    <a:pt x="468" y="1329"/>
                    <a:pt x="472" y="1324"/>
                  </a:cubicBezTo>
                  <a:cubicBezTo>
                    <a:pt x="475" y="1318"/>
                    <a:pt x="471" y="1313"/>
                    <a:pt x="462" y="1313"/>
                  </a:cubicBezTo>
                  <a:cubicBezTo>
                    <a:pt x="462" y="1313"/>
                    <a:pt x="462" y="1313"/>
                    <a:pt x="462" y="1313"/>
                  </a:cubicBezTo>
                  <a:moveTo>
                    <a:pt x="509" y="1313"/>
                  </a:moveTo>
                  <a:cubicBezTo>
                    <a:pt x="500" y="1313"/>
                    <a:pt x="489" y="1318"/>
                    <a:pt x="486" y="1324"/>
                  </a:cubicBezTo>
                  <a:cubicBezTo>
                    <a:pt x="482" y="1329"/>
                    <a:pt x="487" y="1334"/>
                    <a:pt x="496" y="1334"/>
                  </a:cubicBezTo>
                  <a:cubicBezTo>
                    <a:pt x="505" y="1334"/>
                    <a:pt x="515" y="1329"/>
                    <a:pt x="519" y="1323"/>
                  </a:cubicBezTo>
                  <a:cubicBezTo>
                    <a:pt x="522" y="1318"/>
                    <a:pt x="518" y="1313"/>
                    <a:pt x="509" y="1313"/>
                  </a:cubicBezTo>
                  <a:cubicBezTo>
                    <a:pt x="509" y="1313"/>
                    <a:pt x="509" y="1313"/>
                    <a:pt x="509" y="1313"/>
                  </a:cubicBezTo>
                  <a:moveTo>
                    <a:pt x="556" y="1313"/>
                  </a:moveTo>
                  <a:cubicBezTo>
                    <a:pt x="547" y="1313"/>
                    <a:pt x="537" y="1318"/>
                    <a:pt x="533" y="1323"/>
                  </a:cubicBezTo>
                  <a:cubicBezTo>
                    <a:pt x="530" y="1329"/>
                    <a:pt x="534" y="1334"/>
                    <a:pt x="544" y="1334"/>
                  </a:cubicBezTo>
                  <a:cubicBezTo>
                    <a:pt x="553" y="1334"/>
                    <a:pt x="563" y="1329"/>
                    <a:pt x="566" y="1323"/>
                  </a:cubicBezTo>
                  <a:cubicBezTo>
                    <a:pt x="569" y="1318"/>
                    <a:pt x="565" y="1313"/>
                    <a:pt x="556" y="1313"/>
                  </a:cubicBezTo>
                  <a:cubicBezTo>
                    <a:pt x="556" y="1313"/>
                    <a:pt x="556" y="1313"/>
                    <a:pt x="556" y="1313"/>
                  </a:cubicBezTo>
                  <a:moveTo>
                    <a:pt x="602" y="1313"/>
                  </a:moveTo>
                  <a:cubicBezTo>
                    <a:pt x="593" y="1313"/>
                    <a:pt x="583" y="1318"/>
                    <a:pt x="580" y="1323"/>
                  </a:cubicBezTo>
                  <a:cubicBezTo>
                    <a:pt x="576" y="1329"/>
                    <a:pt x="581" y="1333"/>
                    <a:pt x="590" y="1333"/>
                  </a:cubicBezTo>
                  <a:cubicBezTo>
                    <a:pt x="599" y="1333"/>
                    <a:pt x="609" y="1329"/>
                    <a:pt x="613" y="1323"/>
                  </a:cubicBezTo>
                  <a:cubicBezTo>
                    <a:pt x="616" y="1318"/>
                    <a:pt x="611" y="1313"/>
                    <a:pt x="602" y="1313"/>
                  </a:cubicBezTo>
                  <a:cubicBezTo>
                    <a:pt x="602" y="1313"/>
                    <a:pt x="602" y="1313"/>
                    <a:pt x="602" y="1313"/>
                  </a:cubicBezTo>
                  <a:moveTo>
                    <a:pt x="649" y="1313"/>
                  </a:moveTo>
                  <a:cubicBezTo>
                    <a:pt x="640" y="1313"/>
                    <a:pt x="630" y="1318"/>
                    <a:pt x="627" y="1323"/>
                  </a:cubicBezTo>
                  <a:cubicBezTo>
                    <a:pt x="623" y="1329"/>
                    <a:pt x="628" y="1333"/>
                    <a:pt x="637" y="1333"/>
                  </a:cubicBezTo>
                  <a:cubicBezTo>
                    <a:pt x="646" y="1333"/>
                    <a:pt x="656" y="1329"/>
                    <a:pt x="659" y="1323"/>
                  </a:cubicBezTo>
                  <a:cubicBezTo>
                    <a:pt x="663" y="1318"/>
                    <a:pt x="658" y="1313"/>
                    <a:pt x="649" y="1313"/>
                  </a:cubicBezTo>
                  <a:cubicBezTo>
                    <a:pt x="649" y="1313"/>
                    <a:pt x="649" y="1313"/>
                    <a:pt x="649" y="1313"/>
                  </a:cubicBezTo>
                  <a:moveTo>
                    <a:pt x="695" y="1313"/>
                  </a:moveTo>
                  <a:cubicBezTo>
                    <a:pt x="686" y="1313"/>
                    <a:pt x="676" y="1318"/>
                    <a:pt x="673" y="1323"/>
                  </a:cubicBezTo>
                  <a:cubicBezTo>
                    <a:pt x="670" y="1329"/>
                    <a:pt x="675" y="1333"/>
                    <a:pt x="684" y="1333"/>
                  </a:cubicBezTo>
                  <a:cubicBezTo>
                    <a:pt x="693" y="1333"/>
                    <a:pt x="703" y="1329"/>
                    <a:pt x="706" y="1323"/>
                  </a:cubicBezTo>
                  <a:cubicBezTo>
                    <a:pt x="709" y="1317"/>
                    <a:pt x="704" y="1313"/>
                    <a:pt x="695" y="1313"/>
                  </a:cubicBezTo>
                  <a:cubicBezTo>
                    <a:pt x="695" y="1313"/>
                    <a:pt x="695" y="1313"/>
                    <a:pt x="695" y="1313"/>
                  </a:cubicBezTo>
                  <a:moveTo>
                    <a:pt x="742" y="1313"/>
                  </a:moveTo>
                  <a:cubicBezTo>
                    <a:pt x="733" y="1313"/>
                    <a:pt x="723" y="1317"/>
                    <a:pt x="720" y="1323"/>
                  </a:cubicBezTo>
                  <a:cubicBezTo>
                    <a:pt x="717" y="1329"/>
                    <a:pt x="722" y="1333"/>
                    <a:pt x="731" y="1333"/>
                  </a:cubicBezTo>
                  <a:cubicBezTo>
                    <a:pt x="740" y="1333"/>
                    <a:pt x="750" y="1329"/>
                    <a:pt x="753" y="1323"/>
                  </a:cubicBezTo>
                  <a:cubicBezTo>
                    <a:pt x="756" y="1317"/>
                    <a:pt x="751" y="1313"/>
                    <a:pt x="742" y="1313"/>
                  </a:cubicBezTo>
                  <a:cubicBezTo>
                    <a:pt x="742" y="1313"/>
                    <a:pt x="742" y="1313"/>
                    <a:pt x="742" y="1313"/>
                  </a:cubicBezTo>
                  <a:moveTo>
                    <a:pt x="789" y="1313"/>
                  </a:moveTo>
                  <a:cubicBezTo>
                    <a:pt x="780" y="1313"/>
                    <a:pt x="770" y="1317"/>
                    <a:pt x="767" y="1323"/>
                  </a:cubicBezTo>
                  <a:cubicBezTo>
                    <a:pt x="764" y="1329"/>
                    <a:pt x="769" y="1333"/>
                    <a:pt x="778" y="1333"/>
                  </a:cubicBezTo>
                  <a:cubicBezTo>
                    <a:pt x="788" y="1333"/>
                    <a:pt x="797" y="1328"/>
                    <a:pt x="800" y="1323"/>
                  </a:cubicBezTo>
                  <a:cubicBezTo>
                    <a:pt x="803" y="1317"/>
                    <a:pt x="798" y="1313"/>
                    <a:pt x="789" y="1313"/>
                  </a:cubicBezTo>
                  <a:cubicBezTo>
                    <a:pt x="789" y="1313"/>
                    <a:pt x="789" y="1313"/>
                    <a:pt x="789" y="1313"/>
                  </a:cubicBezTo>
                  <a:moveTo>
                    <a:pt x="836" y="1313"/>
                  </a:moveTo>
                  <a:cubicBezTo>
                    <a:pt x="827" y="1313"/>
                    <a:pt x="817" y="1317"/>
                    <a:pt x="814" y="1323"/>
                  </a:cubicBezTo>
                  <a:cubicBezTo>
                    <a:pt x="811" y="1328"/>
                    <a:pt x="816" y="1333"/>
                    <a:pt x="825" y="1333"/>
                  </a:cubicBezTo>
                  <a:cubicBezTo>
                    <a:pt x="834" y="1333"/>
                    <a:pt x="844" y="1328"/>
                    <a:pt x="847" y="1323"/>
                  </a:cubicBezTo>
                  <a:cubicBezTo>
                    <a:pt x="850" y="1317"/>
                    <a:pt x="845" y="1313"/>
                    <a:pt x="836" y="1313"/>
                  </a:cubicBezTo>
                  <a:cubicBezTo>
                    <a:pt x="836" y="1313"/>
                    <a:pt x="836" y="1313"/>
                    <a:pt x="836" y="1313"/>
                  </a:cubicBezTo>
                  <a:moveTo>
                    <a:pt x="882" y="1313"/>
                  </a:moveTo>
                  <a:cubicBezTo>
                    <a:pt x="873" y="1313"/>
                    <a:pt x="864" y="1317"/>
                    <a:pt x="861" y="1323"/>
                  </a:cubicBezTo>
                  <a:cubicBezTo>
                    <a:pt x="858" y="1328"/>
                    <a:pt x="863" y="1333"/>
                    <a:pt x="872" y="1333"/>
                  </a:cubicBezTo>
                  <a:cubicBezTo>
                    <a:pt x="881" y="1333"/>
                    <a:pt x="891" y="1328"/>
                    <a:pt x="894" y="1323"/>
                  </a:cubicBezTo>
                  <a:cubicBezTo>
                    <a:pt x="896" y="1317"/>
                    <a:pt x="891" y="1313"/>
                    <a:pt x="882" y="1313"/>
                  </a:cubicBezTo>
                  <a:cubicBezTo>
                    <a:pt x="882" y="1313"/>
                    <a:pt x="882" y="1313"/>
                    <a:pt x="882" y="1313"/>
                  </a:cubicBezTo>
                  <a:moveTo>
                    <a:pt x="929" y="1312"/>
                  </a:moveTo>
                  <a:cubicBezTo>
                    <a:pt x="920" y="1312"/>
                    <a:pt x="910" y="1317"/>
                    <a:pt x="907" y="1323"/>
                  </a:cubicBezTo>
                  <a:cubicBezTo>
                    <a:pt x="905" y="1328"/>
                    <a:pt x="910" y="1333"/>
                    <a:pt x="919" y="1333"/>
                  </a:cubicBezTo>
                  <a:cubicBezTo>
                    <a:pt x="928" y="1333"/>
                    <a:pt x="937" y="1328"/>
                    <a:pt x="940" y="1323"/>
                  </a:cubicBezTo>
                  <a:cubicBezTo>
                    <a:pt x="943" y="1317"/>
                    <a:pt x="938" y="1312"/>
                    <a:pt x="929" y="1312"/>
                  </a:cubicBezTo>
                  <a:cubicBezTo>
                    <a:pt x="929" y="1312"/>
                    <a:pt x="929" y="1312"/>
                    <a:pt x="929" y="1312"/>
                  </a:cubicBezTo>
                  <a:moveTo>
                    <a:pt x="2187" y="1312"/>
                  </a:moveTo>
                  <a:cubicBezTo>
                    <a:pt x="2178" y="1312"/>
                    <a:pt x="2170" y="1317"/>
                    <a:pt x="2170" y="1323"/>
                  </a:cubicBezTo>
                  <a:cubicBezTo>
                    <a:pt x="2169" y="1328"/>
                    <a:pt x="2176" y="1333"/>
                    <a:pt x="2185" y="1333"/>
                  </a:cubicBezTo>
                  <a:cubicBezTo>
                    <a:pt x="2194" y="1333"/>
                    <a:pt x="2202" y="1328"/>
                    <a:pt x="2203" y="1323"/>
                  </a:cubicBezTo>
                  <a:cubicBezTo>
                    <a:pt x="2203" y="1317"/>
                    <a:pt x="2196" y="1312"/>
                    <a:pt x="2187" y="1312"/>
                  </a:cubicBezTo>
                  <a:cubicBezTo>
                    <a:pt x="2187" y="1312"/>
                    <a:pt x="2187" y="1312"/>
                    <a:pt x="2187" y="1312"/>
                  </a:cubicBezTo>
                  <a:moveTo>
                    <a:pt x="975" y="1312"/>
                  </a:moveTo>
                  <a:cubicBezTo>
                    <a:pt x="966" y="1312"/>
                    <a:pt x="957" y="1317"/>
                    <a:pt x="954" y="1323"/>
                  </a:cubicBezTo>
                  <a:cubicBezTo>
                    <a:pt x="952" y="1328"/>
                    <a:pt x="957" y="1333"/>
                    <a:pt x="966" y="1333"/>
                  </a:cubicBezTo>
                  <a:cubicBezTo>
                    <a:pt x="975" y="1333"/>
                    <a:pt x="984" y="1328"/>
                    <a:pt x="987" y="1322"/>
                  </a:cubicBezTo>
                  <a:cubicBezTo>
                    <a:pt x="990" y="1317"/>
                    <a:pt x="984" y="1312"/>
                    <a:pt x="975" y="1312"/>
                  </a:cubicBezTo>
                  <a:cubicBezTo>
                    <a:pt x="975" y="1312"/>
                    <a:pt x="975" y="1312"/>
                    <a:pt x="975" y="1312"/>
                  </a:cubicBezTo>
                  <a:moveTo>
                    <a:pt x="2233" y="1312"/>
                  </a:moveTo>
                  <a:cubicBezTo>
                    <a:pt x="2224" y="1312"/>
                    <a:pt x="2217" y="1317"/>
                    <a:pt x="2216" y="1323"/>
                  </a:cubicBezTo>
                  <a:cubicBezTo>
                    <a:pt x="2216" y="1328"/>
                    <a:pt x="2223" y="1333"/>
                    <a:pt x="2232" y="1333"/>
                  </a:cubicBezTo>
                  <a:cubicBezTo>
                    <a:pt x="2241" y="1333"/>
                    <a:pt x="2249" y="1328"/>
                    <a:pt x="2249" y="1323"/>
                  </a:cubicBezTo>
                  <a:cubicBezTo>
                    <a:pt x="2250" y="1317"/>
                    <a:pt x="2243" y="1312"/>
                    <a:pt x="2234" y="1312"/>
                  </a:cubicBezTo>
                  <a:cubicBezTo>
                    <a:pt x="2234" y="1312"/>
                    <a:pt x="2233" y="1312"/>
                    <a:pt x="2233" y="1312"/>
                  </a:cubicBezTo>
                  <a:moveTo>
                    <a:pt x="1023" y="1312"/>
                  </a:moveTo>
                  <a:cubicBezTo>
                    <a:pt x="1014" y="1312"/>
                    <a:pt x="1004" y="1317"/>
                    <a:pt x="1002" y="1322"/>
                  </a:cubicBezTo>
                  <a:cubicBezTo>
                    <a:pt x="999" y="1328"/>
                    <a:pt x="1004" y="1333"/>
                    <a:pt x="1013" y="1333"/>
                  </a:cubicBezTo>
                  <a:cubicBezTo>
                    <a:pt x="1022" y="1333"/>
                    <a:pt x="1032" y="1328"/>
                    <a:pt x="1034" y="1322"/>
                  </a:cubicBezTo>
                  <a:cubicBezTo>
                    <a:pt x="1037" y="1317"/>
                    <a:pt x="1032" y="1312"/>
                    <a:pt x="1023" y="1312"/>
                  </a:cubicBezTo>
                  <a:cubicBezTo>
                    <a:pt x="1023" y="1312"/>
                    <a:pt x="1023" y="1312"/>
                    <a:pt x="1023" y="1312"/>
                  </a:cubicBezTo>
                  <a:moveTo>
                    <a:pt x="2280" y="1312"/>
                  </a:moveTo>
                  <a:cubicBezTo>
                    <a:pt x="2271" y="1312"/>
                    <a:pt x="2264" y="1317"/>
                    <a:pt x="2263" y="1322"/>
                  </a:cubicBezTo>
                  <a:cubicBezTo>
                    <a:pt x="2263" y="1328"/>
                    <a:pt x="2270" y="1333"/>
                    <a:pt x="2279" y="1333"/>
                  </a:cubicBezTo>
                  <a:cubicBezTo>
                    <a:pt x="2288" y="1333"/>
                    <a:pt x="2296" y="1328"/>
                    <a:pt x="2296" y="1322"/>
                  </a:cubicBezTo>
                  <a:cubicBezTo>
                    <a:pt x="2296" y="1317"/>
                    <a:pt x="2289" y="1312"/>
                    <a:pt x="2280" y="1312"/>
                  </a:cubicBezTo>
                  <a:cubicBezTo>
                    <a:pt x="2280" y="1312"/>
                    <a:pt x="2280" y="1312"/>
                    <a:pt x="2280" y="1312"/>
                  </a:cubicBezTo>
                  <a:moveTo>
                    <a:pt x="1065" y="1312"/>
                  </a:moveTo>
                  <a:cubicBezTo>
                    <a:pt x="1056" y="1312"/>
                    <a:pt x="1046" y="1317"/>
                    <a:pt x="1044" y="1322"/>
                  </a:cubicBezTo>
                  <a:cubicBezTo>
                    <a:pt x="1041" y="1328"/>
                    <a:pt x="1047" y="1333"/>
                    <a:pt x="1056" y="1332"/>
                  </a:cubicBezTo>
                  <a:cubicBezTo>
                    <a:pt x="1065" y="1332"/>
                    <a:pt x="1074" y="1328"/>
                    <a:pt x="1077" y="1322"/>
                  </a:cubicBezTo>
                  <a:cubicBezTo>
                    <a:pt x="1079" y="1317"/>
                    <a:pt x="1074" y="1312"/>
                    <a:pt x="1065" y="1312"/>
                  </a:cubicBezTo>
                  <a:cubicBezTo>
                    <a:pt x="1065" y="1312"/>
                    <a:pt x="1065" y="1312"/>
                    <a:pt x="1065" y="1312"/>
                  </a:cubicBezTo>
                  <a:moveTo>
                    <a:pt x="2326" y="1312"/>
                  </a:moveTo>
                  <a:cubicBezTo>
                    <a:pt x="2317" y="1312"/>
                    <a:pt x="2310" y="1317"/>
                    <a:pt x="2309" y="1322"/>
                  </a:cubicBezTo>
                  <a:cubicBezTo>
                    <a:pt x="2309" y="1328"/>
                    <a:pt x="2316" y="1333"/>
                    <a:pt x="2325" y="1333"/>
                  </a:cubicBezTo>
                  <a:cubicBezTo>
                    <a:pt x="2334" y="1333"/>
                    <a:pt x="2342" y="1328"/>
                    <a:pt x="2342" y="1322"/>
                  </a:cubicBezTo>
                  <a:cubicBezTo>
                    <a:pt x="2342" y="1317"/>
                    <a:pt x="2335" y="1312"/>
                    <a:pt x="2326" y="1312"/>
                  </a:cubicBezTo>
                  <a:cubicBezTo>
                    <a:pt x="2326" y="1312"/>
                    <a:pt x="2326" y="1312"/>
                    <a:pt x="2326" y="1312"/>
                  </a:cubicBezTo>
                  <a:moveTo>
                    <a:pt x="2373" y="1312"/>
                  </a:moveTo>
                  <a:cubicBezTo>
                    <a:pt x="2364" y="1312"/>
                    <a:pt x="2356" y="1317"/>
                    <a:pt x="2356" y="1322"/>
                  </a:cubicBezTo>
                  <a:cubicBezTo>
                    <a:pt x="2356" y="1328"/>
                    <a:pt x="2363" y="1332"/>
                    <a:pt x="2372" y="1332"/>
                  </a:cubicBezTo>
                  <a:cubicBezTo>
                    <a:pt x="2381" y="1332"/>
                    <a:pt x="2389" y="1328"/>
                    <a:pt x="2389" y="1322"/>
                  </a:cubicBezTo>
                  <a:cubicBezTo>
                    <a:pt x="2389" y="1317"/>
                    <a:pt x="2382" y="1312"/>
                    <a:pt x="2373" y="1312"/>
                  </a:cubicBezTo>
                  <a:cubicBezTo>
                    <a:pt x="2373" y="1312"/>
                    <a:pt x="2373" y="1312"/>
                    <a:pt x="2373" y="1312"/>
                  </a:cubicBezTo>
                  <a:moveTo>
                    <a:pt x="2419" y="1312"/>
                  </a:moveTo>
                  <a:cubicBezTo>
                    <a:pt x="2410" y="1312"/>
                    <a:pt x="2403" y="1317"/>
                    <a:pt x="2403" y="1322"/>
                  </a:cubicBezTo>
                  <a:cubicBezTo>
                    <a:pt x="2403" y="1328"/>
                    <a:pt x="2410" y="1332"/>
                    <a:pt x="2419" y="1332"/>
                  </a:cubicBezTo>
                  <a:cubicBezTo>
                    <a:pt x="2428" y="1332"/>
                    <a:pt x="2436" y="1328"/>
                    <a:pt x="2436" y="1322"/>
                  </a:cubicBezTo>
                  <a:cubicBezTo>
                    <a:pt x="2436" y="1316"/>
                    <a:pt x="2428" y="1312"/>
                    <a:pt x="2419" y="1312"/>
                  </a:cubicBezTo>
                  <a:cubicBezTo>
                    <a:pt x="2419" y="1312"/>
                    <a:pt x="2419" y="1312"/>
                    <a:pt x="2419" y="1312"/>
                  </a:cubicBezTo>
                  <a:moveTo>
                    <a:pt x="2468" y="1312"/>
                  </a:moveTo>
                  <a:cubicBezTo>
                    <a:pt x="2459" y="1312"/>
                    <a:pt x="2451" y="1316"/>
                    <a:pt x="2451" y="1322"/>
                  </a:cubicBezTo>
                  <a:cubicBezTo>
                    <a:pt x="2451" y="1328"/>
                    <a:pt x="2459" y="1332"/>
                    <a:pt x="2468" y="1332"/>
                  </a:cubicBezTo>
                  <a:cubicBezTo>
                    <a:pt x="2477" y="1332"/>
                    <a:pt x="2484" y="1328"/>
                    <a:pt x="2484" y="1322"/>
                  </a:cubicBezTo>
                  <a:cubicBezTo>
                    <a:pt x="2484" y="1316"/>
                    <a:pt x="2477" y="1312"/>
                    <a:pt x="2468" y="1312"/>
                  </a:cubicBezTo>
                  <a:cubicBezTo>
                    <a:pt x="2468" y="1312"/>
                    <a:pt x="2468" y="1312"/>
                    <a:pt x="2468" y="1312"/>
                  </a:cubicBezTo>
                  <a:moveTo>
                    <a:pt x="2514" y="1312"/>
                  </a:moveTo>
                  <a:cubicBezTo>
                    <a:pt x="2505" y="1312"/>
                    <a:pt x="2498" y="1316"/>
                    <a:pt x="2498" y="1322"/>
                  </a:cubicBezTo>
                  <a:cubicBezTo>
                    <a:pt x="2498" y="1328"/>
                    <a:pt x="2505" y="1332"/>
                    <a:pt x="2514" y="1332"/>
                  </a:cubicBezTo>
                  <a:cubicBezTo>
                    <a:pt x="2523" y="1332"/>
                    <a:pt x="2531" y="1328"/>
                    <a:pt x="2531" y="1322"/>
                  </a:cubicBezTo>
                  <a:cubicBezTo>
                    <a:pt x="2530" y="1316"/>
                    <a:pt x="2523" y="1312"/>
                    <a:pt x="2514" y="1312"/>
                  </a:cubicBezTo>
                  <a:cubicBezTo>
                    <a:pt x="2514" y="1312"/>
                    <a:pt x="2514" y="1312"/>
                    <a:pt x="2514" y="1312"/>
                  </a:cubicBezTo>
                  <a:moveTo>
                    <a:pt x="2561" y="1312"/>
                  </a:moveTo>
                  <a:cubicBezTo>
                    <a:pt x="2552" y="1312"/>
                    <a:pt x="2545" y="1316"/>
                    <a:pt x="2545" y="1322"/>
                  </a:cubicBezTo>
                  <a:cubicBezTo>
                    <a:pt x="2545" y="1328"/>
                    <a:pt x="2552" y="1332"/>
                    <a:pt x="2561" y="1332"/>
                  </a:cubicBezTo>
                  <a:cubicBezTo>
                    <a:pt x="2570" y="1332"/>
                    <a:pt x="2578" y="1327"/>
                    <a:pt x="2577" y="1322"/>
                  </a:cubicBezTo>
                  <a:cubicBezTo>
                    <a:pt x="2577" y="1316"/>
                    <a:pt x="2570" y="1312"/>
                    <a:pt x="2561" y="1312"/>
                  </a:cubicBezTo>
                  <a:cubicBezTo>
                    <a:pt x="2561" y="1312"/>
                    <a:pt x="2561" y="1312"/>
                    <a:pt x="2561" y="1312"/>
                  </a:cubicBezTo>
                  <a:moveTo>
                    <a:pt x="2608" y="1312"/>
                  </a:moveTo>
                  <a:cubicBezTo>
                    <a:pt x="2599" y="1312"/>
                    <a:pt x="2592" y="1316"/>
                    <a:pt x="2592" y="1322"/>
                  </a:cubicBezTo>
                  <a:cubicBezTo>
                    <a:pt x="2592" y="1327"/>
                    <a:pt x="2600" y="1332"/>
                    <a:pt x="2609" y="1332"/>
                  </a:cubicBezTo>
                  <a:cubicBezTo>
                    <a:pt x="2618" y="1332"/>
                    <a:pt x="2625" y="1327"/>
                    <a:pt x="2625" y="1322"/>
                  </a:cubicBezTo>
                  <a:cubicBezTo>
                    <a:pt x="2624" y="1316"/>
                    <a:pt x="2617" y="1312"/>
                    <a:pt x="2608" y="1312"/>
                  </a:cubicBezTo>
                  <a:cubicBezTo>
                    <a:pt x="2608" y="1312"/>
                    <a:pt x="2608" y="1312"/>
                    <a:pt x="2608" y="1312"/>
                  </a:cubicBezTo>
                  <a:moveTo>
                    <a:pt x="2654" y="1311"/>
                  </a:moveTo>
                  <a:cubicBezTo>
                    <a:pt x="2645" y="1311"/>
                    <a:pt x="2638" y="1316"/>
                    <a:pt x="2639" y="1322"/>
                  </a:cubicBezTo>
                  <a:cubicBezTo>
                    <a:pt x="2639" y="1327"/>
                    <a:pt x="2646" y="1332"/>
                    <a:pt x="2656" y="1332"/>
                  </a:cubicBezTo>
                  <a:cubicBezTo>
                    <a:pt x="2665" y="1332"/>
                    <a:pt x="2672" y="1327"/>
                    <a:pt x="2671" y="1322"/>
                  </a:cubicBezTo>
                  <a:cubicBezTo>
                    <a:pt x="2671" y="1316"/>
                    <a:pt x="2663" y="1311"/>
                    <a:pt x="2654" y="1311"/>
                  </a:cubicBezTo>
                  <a:cubicBezTo>
                    <a:pt x="2654" y="1311"/>
                    <a:pt x="2654" y="1311"/>
                    <a:pt x="2654" y="1311"/>
                  </a:cubicBezTo>
                  <a:moveTo>
                    <a:pt x="2701" y="1311"/>
                  </a:moveTo>
                  <a:cubicBezTo>
                    <a:pt x="2692" y="1311"/>
                    <a:pt x="2685" y="1316"/>
                    <a:pt x="2686" y="1322"/>
                  </a:cubicBezTo>
                  <a:cubicBezTo>
                    <a:pt x="2686" y="1327"/>
                    <a:pt x="2694" y="1332"/>
                    <a:pt x="2703" y="1332"/>
                  </a:cubicBezTo>
                  <a:cubicBezTo>
                    <a:pt x="2712" y="1332"/>
                    <a:pt x="2719" y="1327"/>
                    <a:pt x="2719" y="1322"/>
                  </a:cubicBezTo>
                  <a:cubicBezTo>
                    <a:pt x="2718" y="1316"/>
                    <a:pt x="2710" y="1311"/>
                    <a:pt x="2701" y="1311"/>
                  </a:cubicBezTo>
                  <a:cubicBezTo>
                    <a:pt x="2701" y="1311"/>
                    <a:pt x="2701" y="1311"/>
                    <a:pt x="2701" y="1311"/>
                  </a:cubicBezTo>
                  <a:moveTo>
                    <a:pt x="2746" y="1311"/>
                  </a:moveTo>
                  <a:cubicBezTo>
                    <a:pt x="2737" y="1311"/>
                    <a:pt x="2730" y="1316"/>
                    <a:pt x="2731" y="1321"/>
                  </a:cubicBezTo>
                  <a:cubicBezTo>
                    <a:pt x="2731" y="1327"/>
                    <a:pt x="2739" y="1332"/>
                    <a:pt x="2748" y="1332"/>
                  </a:cubicBezTo>
                  <a:cubicBezTo>
                    <a:pt x="2757" y="1332"/>
                    <a:pt x="2764" y="1327"/>
                    <a:pt x="2764" y="1321"/>
                  </a:cubicBezTo>
                  <a:cubicBezTo>
                    <a:pt x="2763" y="1316"/>
                    <a:pt x="2755" y="1311"/>
                    <a:pt x="2746" y="1311"/>
                  </a:cubicBezTo>
                  <a:cubicBezTo>
                    <a:pt x="2746" y="1311"/>
                    <a:pt x="2746" y="1311"/>
                    <a:pt x="2746" y="1311"/>
                  </a:cubicBezTo>
                  <a:moveTo>
                    <a:pt x="4751" y="1303"/>
                  </a:moveTo>
                  <a:cubicBezTo>
                    <a:pt x="4742" y="1303"/>
                    <a:pt x="4738" y="1308"/>
                    <a:pt x="4742" y="1314"/>
                  </a:cubicBezTo>
                  <a:cubicBezTo>
                    <a:pt x="4746" y="1319"/>
                    <a:pt x="4756" y="1324"/>
                    <a:pt x="4765" y="1324"/>
                  </a:cubicBezTo>
                  <a:cubicBezTo>
                    <a:pt x="4775" y="1324"/>
                    <a:pt x="4778" y="1319"/>
                    <a:pt x="4774" y="1313"/>
                  </a:cubicBezTo>
                  <a:cubicBezTo>
                    <a:pt x="4770" y="1308"/>
                    <a:pt x="4760" y="1303"/>
                    <a:pt x="4751" y="1303"/>
                  </a:cubicBezTo>
                  <a:cubicBezTo>
                    <a:pt x="4751" y="1303"/>
                    <a:pt x="4751" y="1303"/>
                    <a:pt x="4751" y="1303"/>
                  </a:cubicBezTo>
                  <a:moveTo>
                    <a:pt x="4798" y="1303"/>
                  </a:moveTo>
                  <a:cubicBezTo>
                    <a:pt x="4789" y="1303"/>
                    <a:pt x="4785" y="1308"/>
                    <a:pt x="4789" y="1313"/>
                  </a:cubicBezTo>
                  <a:cubicBezTo>
                    <a:pt x="4793" y="1319"/>
                    <a:pt x="4804" y="1324"/>
                    <a:pt x="4813" y="1324"/>
                  </a:cubicBezTo>
                  <a:cubicBezTo>
                    <a:pt x="4822" y="1324"/>
                    <a:pt x="4826" y="1319"/>
                    <a:pt x="4822" y="1313"/>
                  </a:cubicBezTo>
                  <a:cubicBezTo>
                    <a:pt x="4817" y="1308"/>
                    <a:pt x="4807" y="1303"/>
                    <a:pt x="4798" y="1303"/>
                  </a:cubicBezTo>
                  <a:cubicBezTo>
                    <a:pt x="4798" y="1303"/>
                    <a:pt x="4798" y="1303"/>
                    <a:pt x="4798" y="1303"/>
                  </a:cubicBezTo>
                  <a:moveTo>
                    <a:pt x="4941" y="1303"/>
                  </a:moveTo>
                  <a:cubicBezTo>
                    <a:pt x="4932" y="1303"/>
                    <a:pt x="4928" y="1307"/>
                    <a:pt x="4932" y="1313"/>
                  </a:cubicBezTo>
                  <a:cubicBezTo>
                    <a:pt x="4937" y="1319"/>
                    <a:pt x="4948" y="1323"/>
                    <a:pt x="4957" y="1323"/>
                  </a:cubicBezTo>
                  <a:cubicBezTo>
                    <a:pt x="4966" y="1323"/>
                    <a:pt x="4969" y="1319"/>
                    <a:pt x="4965" y="1313"/>
                  </a:cubicBezTo>
                  <a:cubicBezTo>
                    <a:pt x="4961" y="1307"/>
                    <a:pt x="4950" y="1303"/>
                    <a:pt x="4941" y="1303"/>
                  </a:cubicBezTo>
                  <a:cubicBezTo>
                    <a:pt x="4941" y="1303"/>
                    <a:pt x="4941" y="1303"/>
                    <a:pt x="4941" y="1303"/>
                  </a:cubicBezTo>
                  <a:moveTo>
                    <a:pt x="248" y="1285"/>
                  </a:moveTo>
                  <a:cubicBezTo>
                    <a:pt x="239" y="1285"/>
                    <a:pt x="228" y="1289"/>
                    <a:pt x="225" y="1295"/>
                  </a:cubicBezTo>
                  <a:cubicBezTo>
                    <a:pt x="221" y="1300"/>
                    <a:pt x="225" y="1305"/>
                    <a:pt x="234" y="1305"/>
                  </a:cubicBezTo>
                  <a:cubicBezTo>
                    <a:pt x="243" y="1305"/>
                    <a:pt x="253" y="1300"/>
                    <a:pt x="257" y="1295"/>
                  </a:cubicBezTo>
                  <a:cubicBezTo>
                    <a:pt x="261" y="1289"/>
                    <a:pt x="257" y="1285"/>
                    <a:pt x="248" y="1285"/>
                  </a:cubicBezTo>
                  <a:cubicBezTo>
                    <a:pt x="248" y="1285"/>
                    <a:pt x="248" y="1285"/>
                    <a:pt x="248" y="1285"/>
                  </a:cubicBezTo>
                  <a:moveTo>
                    <a:pt x="294" y="1285"/>
                  </a:moveTo>
                  <a:cubicBezTo>
                    <a:pt x="285" y="1285"/>
                    <a:pt x="275" y="1289"/>
                    <a:pt x="271" y="1295"/>
                  </a:cubicBezTo>
                  <a:cubicBezTo>
                    <a:pt x="267" y="1300"/>
                    <a:pt x="271" y="1305"/>
                    <a:pt x="280" y="1305"/>
                  </a:cubicBezTo>
                  <a:cubicBezTo>
                    <a:pt x="289" y="1305"/>
                    <a:pt x="300" y="1300"/>
                    <a:pt x="303" y="1295"/>
                  </a:cubicBezTo>
                  <a:cubicBezTo>
                    <a:pt x="307" y="1289"/>
                    <a:pt x="303" y="1285"/>
                    <a:pt x="294" y="1285"/>
                  </a:cubicBezTo>
                  <a:cubicBezTo>
                    <a:pt x="294" y="1285"/>
                    <a:pt x="294" y="1285"/>
                    <a:pt x="294" y="1285"/>
                  </a:cubicBezTo>
                  <a:moveTo>
                    <a:pt x="340" y="1284"/>
                  </a:moveTo>
                  <a:cubicBezTo>
                    <a:pt x="331" y="1284"/>
                    <a:pt x="321" y="1289"/>
                    <a:pt x="317" y="1295"/>
                  </a:cubicBezTo>
                  <a:cubicBezTo>
                    <a:pt x="313" y="1300"/>
                    <a:pt x="317" y="1305"/>
                    <a:pt x="326" y="1305"/>
                  </a:cubicBezTo>
                  <a:cubicBezTo>
                    <a:pt x="335" y="1305"/>
                    <a:pt x="346" y="1300"/>
                    <a:pt x="350" y="1295"/>
                  </a:cubicBezTo>
                  <a:cubicBezTo>
                    <a:pt x="353" y="1289"/>
                    <a:pt x="349" y="1284"/>
                    <a:pt x="340" y="1284"/>
                  </a:cubicBezTo>
                  <a:cubicBezTo>
                    <a:pt x="340" y="1284"/>
                    <a:pt x="340" y="1284"/>
                    <a:pt x="340" y="1284"/>
                  </a:cubicBezTo>
                  <a:moveTo>
                    <a:pt x="387" y="1284"/>
                  </a:moveTo>
                  <a:cubicBezTo>
                    <a:pt x="378" y="1284"/>
                    <a:pt x="367" y="1289"/>
                    <a:pt x="364" y="1295"/>
                  </a:cubicBezTo>
                  <a:cubicBezTo>
                    <a:pt x="360" y="1300"/>
                    <a:pt x="364" y="1305"/>
                    <a:pt x="373" y="1305"/>
                  </a:cubicBezTo>
                  <a:cubicBezTo>
                    <a:pt x="382" y="1305"/>
                    <a:pt x="392" y="1300"/>
                    <a:pt x="396" y="1294"/>
                  </a:cubicBezTo>
                  <a:cubicBezTo>
                    <a:pt x="400" y="1289"/>
                    <a:pt x="395" y="1284"/>
                    <a:pt x="387" y="1284"/>
                  </a:cubicBezTo>
                  <a:cubicBezTo>
                    <a:pt x="387" y="1284"/>
                    <a:pt x="387" y="1284"/>
                    <a:pt x="387" y="1284"/>
                  </a:cubicBezTo>
                  <a:moveTo>
                    <a:pt x="434" y="1284"/>
                  </a:moveTo>
                  <a:cubicBezTo>
                    <a:pt x="425" y="1284"/>
                    <a:pt x="415" y="1289"/>
                    <a:pt x="411" y="1294"/>
                  </a:cubicBezTo>
                  <a:cubicBezTo>
                    <a:pt x="408" y="1300"/>
                    <a:pt x="412" y="1305"/>
                    <a:pt x="421" y="1305"/>
                  </a:cubicBezTo>
                  <a:cubicBezTo>
                    <a:pt x="430" y="1305"/>
                    <a:pt x="440" y="1300"/>
                    <a:pt x="444" y="1294"/>
                  </a:cubicBezTo>
                  <a:cubicBezTo>
                    <a:pt x="447" y="1289"/>
                    <a:pt x="443" y="1284"/>
                    <a:pt x="434" y="1284"/>
                  </a:cubicBezTo>
                  <a:cubicBezTo>
                    <a:pt x="434" y="1284"/>
                    <a:pt x="434" y="1284"/>
                    <a:pt x="434" y="1284"/>
                  </a:cubicBezTo>
                  <a:moveTo>
                    <a:pt x="480" y="1284"/>
                  </a:moveTo>
                  <a:cubicBezTo>
                    <a:pt x="471" y="1284"/>
                    <a:pt x="461" y="1289"/>
                    <a:pt x="458" y="1294"/>
                  </a:cubicBezTo>
                  <a:cubicBezTo>
                    <a:pt x="454" y="1300"/>
                    <a:pt x="458" y="1304"/>
                    <a:pt x="467" y="1304"/>
                  </a:cubicBezTo>
                  <a:cubicBezTo>
                    <a:pt x="476" y="1304"/>
                    <a:pt x="487" y="1300"/>
                    <a:pt x="490" y="1294"/>
                  </a:cubicBezTo>
                  <a:cubicBezTo>
                    <a:pt x="494" y="1289"/>
                    <a:pt x="489" y="1284"/>
                    <a:pt x="480" y="1284"/>
                  </a:cubicBezTo>
                  <a:cubicBezTo>
                    <a:pt x="480" y="1284"/>
                    <a:pt x="480" y="1284"/>
                    <a:pt x="480" y="1284"/>
                  </a:cubicBezTo>
                  <a:moveTo>
                    <a:pt x="527" y="1284"/>
                  </a:moveTo>
                  <a:cubicBezTo>
                    <a:pt x="518" y="1284"/>
                    <a:pt x="508" y="1289"/>
                    <a:pt x="504" y="1294"/>
                  </a:cubicBezTo>
                  <a:cubicBezTo>
                    <a:pt x="501" y="1300"/>
                    <a:pt x="505" y="1304"/>
                    <a:pt x="514" y="1304"/>
                  </a:cubicBezTo>
                  <a:cubicBezTo>
                    <a:pt x="523" y="1304"/>
                    <a:pt x="533" y="1300"/>
                    <a:pt x="537" y="1294"/>
                  </a:cubicBezTo>
                  <a:cubicBezTo>
                    <a:pt x="540" y="1289"/>
                    <a:pt x="536" y="1284"/>
                    <a:pt x="527" y="1284"/>
                  </a:cubicBezTo>
                  <a:cubicBezTo>
                    <a:pt x="527" y="1284"/>
                    <a:pt x="527" y="1284"/>
                    <a:pt x="527" y="1284"/>
                  </a:cubicBezTo>
                  <a:moveTo>
                    <a:pt x="573" y="1284"/>
                  </a:moveTo>
                  <a:cubicBezTo>
                    <a:pt x="564" y="1284"/>
                    <a:pt x="554" y="1289"/>
                    <a:pt x="551" y="1294"/>
                  </a:cubicBezTo>
                  <a:cubicBezTo>
                    <a:pt x="548" y="1300"/>
                    <a:pt x="552" y="1304"/>
                    <a:pt x="561" y="1304"/>
                  </a:cubicBezTo>
                  <a:cubicBezTo>
                    <a:pt x="570" y="1304"/>
                    <a:pt x="580" y="1300"/>
                    <a:pt x="584" y="1294"/>
                  </a:cubicBezTo>
                  <a:cubicBezTo>
                    <a:pt x="587" y="1288"/>
                    <a:pt x="582" y="1284"/>
                    <a:pt x="573" y="1284"/>
                  </a:cubicBezTo>
                  <a:cubicBezTo>
                    <a:pt x="573" y="1284"/>
                    <a:pt x="573" y="1284"/>
                    <a:pt x="573" y="1284"/>
                  </a:cubicBezTo>
                  <a:moveTo>
                    <a:pt x="619" y="1284"/>
                  </a:moveTo>
                  <a:cubicBezTo>
                    <a:pt x="610" y="1284"/>
                    <a:pt x="600" y="1288"/>
                    <a:pt x="597" y="1294"/>
                  </a:cubicBezTo>
                  <a:cubicBezTo>
                    <a:pt x="594" y="1300"/>
                    <a:pt x="598" y="1304"/>
                    <a:pt x="607" y="1304"/>
                  </a:cubicBezTo>
                  <a:cubicBezTo>
                    <a:pt x="616" y="1304"/>
                    <a:pt x="626" y="1300"/>
                    <a:pt x="630" y="1294"/>
                  </a:cubicBezTo>
                  <a:cubicBezTo>
                    <a:pt x="633" y="1288"/>
                    <a:pt x="628" y="1284"/>
                    <a:pt x="619" y="1284"/>
                  </a:cubicBezTo>
                  <a:cubicBezTo>
                    <a:pt x="619" y="1284"/>
                    <a:pt x="619" y="1284"/>
                    <a:pt x="619" y="1284"/>
                  </a:cubicBezTo>
                  <a:moveTo>
                    <a:pt x="666" y="1284"/>
                  </a:moveTo>
                  <a:cubicBezTo>
                    <a:pt x="657" y="1284"/>
                    <a:pt x="647" y="1288"/>
                    <a:pt x="644" y="1294"/>
                  </a:cubicBezTo>
                  <a:cubicBezTo>
                    <a:pt x="640" y="1300"/>
                    <a:pt x="645" y="1304"/>
                    <a:pt x="654" y="1304"/>
                  </a:cubicBezTo>
                  <a:cubicBezTo>
                    <a:pt x="663" y="1304"/>
                    <a:pt x="673" y="1299"/>
                    <a:pt x="676" y="1294"/>
                  </a:cubicBezTo>
                  <a:cubicBezTo>
                    <a:pt x="679" y="1288"/>
                    <a:pt x="675" y="1284"/>
                    <a:pt x="666" y="1284"/>
                  </a:cubicBezTo>
                  <a:cubicBezTo>
                    <a:pt x="666" y="1284"/>
                    <a:pt x="666" y="1284"/>
                    <a:pt x="666" y="1284"/>
                  </a:cubicBezTo>
                  <a:moveTo>
                    <a:pt x="712" y="1284"/>
                  </a:moveTo>
                  <a:cubicBezTo>
                    <a:pt x="703" y="1284"/>
                    <a:pt x="693" y="1288"/>
                    <a:pt x="690" y="1294"/>
                  </a:cubicBezTo>
                  <a:cubicBezTo>
                    <a:pt x="686" y="1299"/>
                    <a:pt x="691" y="1304"/>
                    <a:pt x="700" y="1304"/>
                  </a:cubicBezTo>
                  <a:cubicBezTo>
                    <a:pt x="709" y="1304"/>
                    <a:pt x="719" y="1299"/>
                    <a:pt x="722" y="1294"/>
                  </a:cubicBezTo>
                  <a:cubicBezTo>
                    <a:pt x="725" y="1288"/>
                    <a:pt x="721" y="1284"/>
                    <a:pt x="712" y="1284"/>
                  </a:cubicBezTo>
                  <a:cubicBezTo>
                    <a:pt x="712" y="1284"/>
                    <a:pt x="712" y="1284"/>
                    <a:pt x="712" y="1284"/>
                  </a:cubicBezTo>
                  <a:moveTo>
                    <a:pt x="758" y="1283"/>
                  </a:moveTo>
                  <a:cubicBezTo>
                    <a:pt x="749" y="1284"/>
                    <a:pt x="739" y="1288"/>
                    <a:pt x="736" y="1294"/>
                  </a:cubicBezTo>
                  <a:cubicBezTo>
                    <a:pt x="733" y="1299"/>
                    <a:pt x="738" y="1304"/>
                    <a:pt x="747" y="1304"/>
                  </a:cubicBezTo>
                  <a:cubicBezTo>
                    <a:pt x="756" y="1304"/>
                    <a:pt x="766" y="1299"/>
                    <a:pt x="769" y="1294"/>
                  </a:cubicBezTo>
                  <a:cubicBezTo>
                    <a:pt x="772" y="1288"/>
                    <a:pt x="767" y="1283"/>
                    <a:pt x="758" y="1283"/>
                  </a:cubicBezTo>
                  <a:cubicBezTo>
                    <a:pt x="758" y="1283"/>
                    <a:pt x="758" y="1283"/>
                    <a:pt x="758" y="1283"/>
                  </a:cubicBezTo>
                  <a:moveTo>
                    <a:pt x="805" y="1283"/>
                  </a:moveTo>
                  <a:cubicBezTo>
                    <a:pt x="796" y="1283"/>
                    <a:pt x="786" y="1288"/>
                    <a:pt x="783" y="1294"/>
                  </a:cubicBezTo>
                  <a:cubicBezTo>
                    <a:pt x="780" y="1299"/>
                    <a:pt x="785" y="1304"/>
                    <a:pt x="794" y="1304"/>
                  </a:cubicBezTo>
                  <a:cubicBezTo>
                    <a:pt x="803" y="1304"/>
                    <a:pt x="813" y="1299"/>
                    <a:pt x="816" y="1294"/>
                  </a:cubicBezTo>
                  <a:cubicBezTo>
                    <a:pt x="818" y="1288"/>
                    <a:pt x="814" y="1283"/>
                    <a:pt x="805" y="1283"/>
                  </a:cubicBezTo>
                  <a:cubicBezTo>
                    <a:pt x="805" y="1283"/>
                    <a:pt x="805" y="1283"/>
                    <a:pt x="805" y="1283"/>
                  </a:cubicBezTo>
                  <a:moveTo>
                    <a:pt x="851" y="1283"/>
                  </a:moveTo>
                  <a:cubicBezTo>
                    <a:pt x="842" y="1283"/>
                    <a:pt x="832" y="1288"/>
                    <a:pt x="829" y="1293"/>
                  </a:cubicBezTo>
                  <a:cubicBezTo>
                    <a:pt x="826" y="1299"/>
                    <a:pt x="831" y="1304"/>
                    <a:pt x="840" y="1304"/>
                  </a:cubicBezTo>
                  <a:cubicBezTo>
                    <a:pt x="849" y="1304"/>
                    <a:pt x="859" y="1299"/>
                    <a:pt x="862" y="1293"/>
                  </a:cubicBezTo>
                  <a:cubicBezTo>
                    <a:pt x="865" y="1288"/>
                    <a:pt x="860" y="1283"/>
                    <a:pt x="851" y="1283"/>
                  </a:cubicBezTo>
                  <a:cubicBezTo>
                    <a:pt x="851" y="1283"/>
                    <a:pt x="851" y="1283"/>
                    <a:pt x="851" y="1283"/>
                  </a:cubicBezTo>
                  <a:moveTo>
                    <a:pt x="897" y="1283"/>
                  </a:moveTo>
                  <a:cubicBezTo>
                    <a:pt x="888" y="1283"/>
                    <a:pt x="878" y="1288"/>
                    <a:pt x="876" y="1293"/>
                  </a:cubicBezTo>
                  <a:cubicBezTo>
                    <a:pt x="873" y="1299"/>
                    <a:pt x="878" y="1304"/>
                    <a:pt x="887" y="1303"/>
                  </a:cubicBezTo>
                  <a:cubicBezTo>
                    <a:pt x="896" y="1303"/>
                    <a:pt x="905" y="1299"/>
                    <a:pt x="908" y="1293"/>
                  </a:cubicBezTo>
                  <a:cubicBezTo>
                    <a:pt x="911" y="1288"/>
                    <a:pt x="906" y="1283"/>
                    <a:pt x="897" y="1283"/>
                  </a:cubicBezTo>
                  <a:cubicBezTo>
                    <a:pt x="897" y="1283"/>
                    <a:pt x="897" y="1283"/>
                    <a:pt x="897" y="1283"/>
                  </a:cubicBezTo>
                  <a:moveTo>
                    <a:pt x="943" y="1283"/>
                  </a:moveTo>
                  <a:cubicBezTo>
                    <a:pt x="934" y="1283"/>
                    <a:pt x="924" y="1288"/>
                    <a:pt x="922" y="1293"/>
                  </a:cubicBezTo>
                  <a:cubicBezTo>
                    <a:pt x="919" y="1299"/>
                    <a:pt x="924" y="1303"/>
                    <a:pt x="933" y="1303"/>
                  </a:cubicBezTo>
                  <a:cubicBezTo>
                    <a:pt x="942" y="1303"/>
                    <a:pt x="951" y="1299"/>
                    <a:pt x="954" y="1293"/>
                  </a:cubicBezTo>
                  <a:cubicBezTo>
                    <a:pt x="957" y="1288"/>
                    <a:pt x="952" y="1283"/>
                    <a:pt x="943" y="1283"/>
                  </a:cubicBezTo>
                  <a:cubicBezTo>
                    <a:pt x="943" y="1283"/>
                    <a:pt x="943" y="1283"/>
                    <a:pt x="943" y="1283"/>
                  </a:cubicBezTo>
                  <a:moveTo>
                    <a:pt x="989" y="1283"/>
                  </a:moveTo>
                  <a:cubicBezTo>
                    <a:pt x="980" y="1283"/>
                    <a:pt x="971" y="1288"/>
                    <a:pt x="968" y="1293"/>
                  </a:cubicBezTo>
                  <a:cubicBezTo>
                    <a:pt x="966" y="1299"/>
                    <a:pt x="971" y="1303"/>
                    <a:pt x="980" y="1303"/>
                  </a:cubicBezTo>
                  <a:cubicBezTo>
                    <a:pt x="989" y="1303"/>
                    <a:pt x="998" y="1299"/>
                    <a:pt x="1001" y="1293"/>
                  </a:cubicBezTo>
                  <a:cubicBezTo>
                    <a:pt x="1003" y="1287"/>
                    <a:pt x="998" y="1283"/>
                    <a:pt x="989" y="1283"/>
                  </a:cubicBezTo>
                  <a:cubicBezTo>
                    <a:pt x="989" y="1283"/>
                    <a:pt x="989" y="1283"/>
                    <a:pt x="989" y="1283"/>
                  </a:cubicBezTo>
                  <a:moveTo>
                    <a:pt x="2190" y="1283"/>
                  </a:moveTo>
                  <a:cubicBezTo>
                    <a:pt x="2181" y="1283"/>
                    <a:pt x="2173" y="1288"/>
                    <a:pt x="2173" y="1293"/>
                  </a:cubicBezTo>
                  <a:cubicBezTo>
                    <a:pt x="2172" y="1299"/>
                    <a:pt x="2179" y="1303"/>
                    <a:pt x="2188" y="1303"/>
                  </a:cubicBezTo>
                  <a:cubicBezTo>
                    <a:pt x="2197" y="1303"/>
                    <a:pt x="2205" y="1299"/>
                    <a:pt x="2205" y="1293"/>
                  </a:cubicBezTo>
                  <a:cubicBezTo>
                    <a:pt x="2205" y="1287"/>
                    <a:pt x="2199" y="1283"/>
                    <a:pt x="2190" y="1283"/>
                  </a:cubicBezTo>
                  <a:cubicBezTo>
                    <a:pt x="2190" y="1283"/>
                    <a:pt x="2190" y="1283"/>
                    <a:pt x="2190" y="1283"/>
                  </a:cubicBezTo>
                  <a:moveTo>
                    <a:pt x="1036" y="1283"/>
                  </a:moveTo>
                  <a:cubicBezTo>
                    <a:pt x="1027" y="1283"/>
                    <a:pt x="1018" y="1287"/>
                    <a:pt x="1015" y="1293"/>
                  </a:cubicBezTo>
                  <a:cubicBezTo>
                    <a:pt x="1013" y="1299"/>
                    <a:pt x="1018" y="1303"/>
                    <a:pt x="1027" y="1303"/>
                  </a:cubicBezTo>
                  <a:cubicBezTo>
                    <a:pt x="1036" y="1303"/>
                    <a:pt x="1045" y="1299"/>
                    <a:pt x="1048" y="1293"/>
                  </a:cubicBezTo>
                  <a:cubicBezTo>
                    <a:pt x="1050" y="1287"/>
                    <a:pt x="1045" y="1283"/>
                    <a:pt x="1036" y="1283"/>
                  </a:cubicBezTo>
                  <a:cubicBezTo>
                    <a:pt x="1036" y="1283"/>
                    <a:pt x="1036" y="1283"/>
                    <a:pt x="1036" y="1283"/>
                  </a:cubicBezTo>
                  <a:moveTo>
                    <a:pt x="2236" y="1283"/>
                  </a:moveTo>
                  <a:cubicBezTo>
                    <a:pt x="2227" y="1283"/>
                    <a:pt x="2219" y="1287"/>
                    <a:pt x="2219" y="1293"/>
                  </a:cubicBezTo>
                  <a:cubicBezTo>
                    <a:pt x="2218" y="1299"/>
                    <a:pt x="2225" y="1303"/>
                    <a:pt x="2234" y="1303"/>
                  </a:cubicBezTo>
                  <a:cubicBezTo>
                    <a:pt x="2243" y="1303"/>
                    <a:pt x="2251" y="1299"/>
                    <a:pt x="2251" y="1293"/>
                  </a:cubicBezTo>
                  <a:cubicBezTo>
                    <a:pt x="2251" y="1287"/>
                    <a:pt x="2245" y="1283"/>
                    <a:pt x="2236" y="1283"/>
                  </a:cubicBezTo>
                  <a:cubicBezTo>
                    <a:pt x="2236" y="1283"/>
                    <a:pt x="2236" y="1283"/>
                    <a:pt x="2236" y="1283"/>
                  </a:cubicBezTo>
                  <a:moveTo>
                    <a:pt x="1078" y="1283"/>
                  </a:moveTo>
                  <a:cubicBezTo>
                    <a:pt x="1069" y="1283"/>
                    <a:pt x="1060" y="1287"/>
                    <a:pt x="1057" y="1293"/>
                  </a:cubicBezTo>
                  <a:cubicBezTo>
                    <a:pt x="1055" y="1299"/>
                    <a:pt x="1060" y="1303"/>
                    <a:pt x="1069" y="1303"/>
                  </a:cubicBezTo>
                  <a:cubicBezTo>
                    <a:pt x="1078" y="1303"/>
                    <a:pt x="1087" y="1299"/>
                    <a:pt x="1090" y="1293"/>
                  </a:cubicBezTo>
                  <a:cubicBezTo>
                    <a:pt x="1092" y="1287"/>
                    <a:pt x="1087" y="1283"/>
                    <a:pt x="1078" y="1283"/>
                  </a:cubicBezTo>
                  <a:cubicBezTo>
                    <a:pt x="1078" y="1283"/>
                    <a:pt x="1078" y="1283"/>
                    <a:pt x="1078" y="1283"/>
                  </a:cubicBezTo>
                  <a:moveTo>
                    <a:pt x="2282" y="1283"/>
                  </a:moveTo>
                  <a:cubicBezTo>
                    <a:pt x="2273" y="1283"/>
                    <a:pt x="2266" y="1287"/>
                    <a:pt x="2265" y="1293"/>
                  </a:cubicBezTo>
                  <a:cubicBezTo>
                    <a:pt x="2265" y="1299"/>
                    <a:pt x="2272" y="1303"/>
                    <a:pt x="2281" y="1303"/>
                  </a:cubicBezTo>
                  <a:cubicBezTo>
                    <a:pt x="2290" y="1303"/>
                    <a:pt x="2297" y="1299"/>
                    <a:pt x="2298" y="1293"/>
                  </a:cubicBezTo>
                  <a:cubicBezTo>
                    <a:pt x="2298" y="1287"/>
                    <a:pt x="2291" y="1283"/>
                    <a:pt x="2282" y="1283"/>
                  </a:cubicBezTo>
                  <a:cubicBezTo>
                    <a:pt x="2282" y="1283"/>
                    <a:pt x="2282" y="1283"/>
                    <a:pt x="2282" y="1283"/>
                  </a:cubicBezTo>
                  <a:moveTo>
                    <a:pt x="1128" y="1283"/>
                  </a:moveTo>
                  <a:cubicBezTo>
                    <a:pt x="1119" y="1283"/>
                    <a:pt x="1110" y="1287"/>
                    <a:pt x="1107" y="1293"/>
                  </a:cubicBezTo>
                  <a:cubicBezTo>
                    <a:pt x="1105" y="1298"/>
                    <a:pt x="1110" y="1303"/>
                    <a:pt x="1119" y="1303"/>
                  </a:cubicBezTo>
                  <a:cubicBezTo>
                    <a:pt x="1128" y="1303"/>
                    <a:pt x="1138" y="1298"/>
                    <a:pt x="1140" y="1293"/>
                  </a:cubicBezTo>
                  <a:cubicBezTo>
                    <a:pt x="1142" y="1287"/>
                    <a:pt x="1137" y="1283"/>
                    <a:pt x="1128" y="1283"/>
                  </a:cubicBezTo>
                  <a:cubicBezTo>
                    <a:pt x="1128" y="1283"/>
                    <a:pt x="1128" y="1283"/>
                    <a:pt x="1128" y="1283"/>
                  </a:cubicBezTo>
                  <a:moveTo>
                    <a:pt x="2328" y="1283"/>
                  </a:moveTo>
                  <a:cubicBezTo>
                    <a:pt x="2319" y="1283"/>
                    <a:pt x="2311" y="1287"/>
                    <a:pt x="2311" y="1293"/>
                  </a:cubicBezTo>
                  <a:cubicBezTo>
                    <a:pt x="2311" y="1299"/>
                    <a:pt x="2318" y="1303"/>
                    <a:pt x="2327" y="1303"/>
                  </a:cubicBezTo>
                  <a:cubicBezTo>
                    <a:pt x="2336" y="1303"/>
                    <a:pt x="2343" y="1298"/>
                    <a:pt x="2343" y="1293"/>
                  </a:cubicBezTo>
                  <a:cubicBezTo>
                    <a:pt x="2344" y="1287"/>
                    <a:pt x="2337" y="1283"/>
                    <a:pt x="2328" y="1283"/>
                  </a:cubicBezTo>
                  <a:cubicBezTo>
                    <a:pt x="2328" y="1283"/>
                    <a:pt x="2328" y="1283"/>
                    <a:pt x="2328" y="1283"/>
                  </a:cubicBezTo>
                  <a:moveTo>
                    <a:pt x="2374" y="1283"/>
                  </a:moveTo>
                  <a:cubicBezTo>
                    <a:pt x="2365" y="1283"/>
                    <a:pt x="2357" y="1287"/>
                    <a:pt x="2357" y="1293"/>
                  </a:cubicBezTo>
                  <a:cubicBezTo>
                    <a:pt x="2357" y="1298"/>
                    <a:pt x="2364" y="1303"/>
                    <a:pt x="2373" y="1303"/>
                  </a:cubicBezTo>
                  <a:cubicBezTo>
                    <a:pt x="2382" y="1303"/>
                    <a:pt x="2389" y="1298"/>
                    <a:pt x="2389" y="1293"/>
                  </a:cubicBezTo>
                  <a:cubicBezTo>
                    <a:pt x="2390" y="1287"/>
                    <a:pt x="2382" y="1283"/>
                    <a:pt x="2374" y="1283"/>
                  </a:cubicBezTo>
                  <a:cubicBezTo>
                    <a:pt x="2374" y="1283"/>
                    <a:pt x="2374" y="1283"/>
                    <a:pt x="2374" y="1283"/>
                  </a:cubicBezTo>
                  <a:moveTo>
                    <a:pt x="2420" y="1282"/>
                  </a:moveTo>
                  <a:cubicBezTo>
                    <a:pt x="2411" y="1282"/>
                    <a:pt x="2404" y="1287"/>
                    <a:pt x="2403" y="1293"/>
                  </a:cubicBezTo>
                  <a:cubicBezTo>
                    <a:pt x="2403" y="1298"/>
                    <a:pt x="2411" y="1303"/>
                    <a:pt x="2420" y="1303"/>
                  </a:cubicBezTo>
                  <a:cubicBezTo>
                    <a:pt x="2429" y="1303"/>
                    <a:pt x="2436" y="1298"/>
                    <a:pt x="2436" y="1293"/>
                  </a:cubicBezTo>
                  <a:cubicBezTo>
                    <a:pt x="2436" y="1287"/>
                    <a:pt x="2429" y="1282"/>
                    <a:pt x="2420" y="1282"/>
                  </a:cubicBezTo>
                  <a:cubicBezTo>
                    <a:pt x="2420" y="1282"/>
                    <a:pt x="2420" y="1282"/>
                    <a:pt x="2420" y="1282"/>
                  </a:cubicBezTo>
                  <a:moveTo>
                    <a:pt x="2468" y="1282"/>
                  </a:moveTo>
                  <a:cubicBezTo>
                    <a:pt x="2459" y="1282"/>
                    <a:pt x="2451" y="1287"/>
                    <a:pt x="2451" y="1293"/>
                  </a:cubicBezTo>
                  <a:cubicBezTo>
                    <a:pt x="2451" y="1298"/>
                    <a:pt x="2459" y="1303"/>
                    <a:pt x="2468" y="1303"/>
                  </a:cubicBezTo>
                  <a:cubicBezTo>
                    <a:pt x="2477" y="1303"/>
                    <a:pt x="2484" y="1298"/>
                    <a:pt x="2484" y="1292"/>
                  </a:cubicBezTo>
                  <a:cubicBezTo>
                    <a:pt x="2484" y="1287"/>
                    <a:pt x="2477" y="1282"/>
                    <a:pt x="2468" y="1282"/>
                  </a:cubicBezTo>
                  <a:cubicBezTo>
                    <a:pt x="2468" y="1282"/>
                    <a:pt x="2468" y="1282"/>
                    <a:pt x="2468" y="1282"/>
                  </a:cubicBezTo>
                  <a:moveTo>
                    <a:pt x="2514" y="1282"/>
                  </a:moveTo>
                  <a:cubicBezTo>
                    <a:pt x="2505" y="1282"/>
                    <a:pt x="2497" y="1287"/>
                    <a:pt x="2497" y="1292"/>
                  </a:cubicBezTo>
                  <a:cubicBezTo>
                    <a:pt x="2498" y="1298"/>
                    <a:pt x="2505" y="1303"/>
                    <a:pt x="2514" y="1303"/>
                  </a:cubicBezTo>
                  <a:cubicBezTo>
                    <a:pt x="2523" y="1303"/>
                    <a:pt x="2530" y="1298"/>
                    <a:pt x="2530" y="1292"/>
                  </a:cubicBezTo>
                  <a:cubicBezTo>
                    <a:pt x="2530" y="1287"/>
                    <a:pt x="2522" y="1282"/>
                    <a:pt x="2514" y="1282"/>
                  </a:cubicBezTo>
                  <a:cubicBezTo>
                    <a:pt x="2514" y="1282"/>
                    <a:pt x="2514" y="1282"/>
                    <a:pt x="2514" y="1282"/>
                  </a:cubicBezTo>
                  <a:moveTo>
                    <a:pt x="2560" y="1282"/>
                  </a:moveTo>
                  <a:cubicBezTo>
                    <a:pt x="2551" y="1282"/>
                    <a:pt x="2544" y="1287"/>
                    <a:pt x="2544" y="1292"/>
                  </a:cubicBezTo>
                  <a:cubicBezTo>
                    <a:pt x="2544" y="1298"/>
                    <a:pt x="2552" y="1303"/>
                    <a:pt x="2560" y="1303"/>
                  </a:cubicBezTo>
                  <a:cubicBezTo>
                    <a:pt x="2569" y="1303"/>
                    <a:pt x="2577" y="1298"/>
                    <a:pt x="2576" y="1292"/>
                  </a:cubicBezTo>
                  <a:cubicBezTo>
                    <a:pt x="2576" y="1287"/>
                    <a:pt x="2569" y="1282"/>
                    <a:pt x="2560" y="1282"/>
                  </a:cubicBezTo>
                  <a:cubicBezTo>
                    <a:pt x="2560" y="1282"/>
                    <a:pt x="2560" y="1282"/>
                    <a:pt x="2560" y="1282"/>
                  </a:cubicBezTo>
                  <a:moveTo>
                    <a:pt x="2607" y="1282"/>
                  </a:moveTo>
                  <a:cubicBezTo>
                    <a:pt x="2598" y="1282"/>
                    <a:pt x="2591" y="1287"/>
                    <a:pt x="2591" y="1292"/>
                  </a:cubicBezTo>
                  <a:cubicBezTo>
                    <a:pt x="2591" y="1298"/>
                    <a:pt x="2599" y="1302"/>
                    <a:pt x="2608" y="1302"/>
                  </a:cubicBezTo>
                  <a:cubicBezTo>
                    <a:pt x="2617" y="1302"/>
                    <a:pt x="2624" y="1298"/>
                    <a:pt x="2623" y="1292"/>
                  </a:cubicBezTo>
                  <a:cubicBezTo>
                    <a:pt x="2623" y="1287"/>
                    <a:pt x="2616" y="1282"/>
                    <a:pt x="2607" y="1282"/>
                  </a:cubicBezTo>
                  <a:cubicBezTo>
                    <a:pt x="2607" y="1282"/>
                    <a:pt x="2607" y="1282"/>
                    <a:pt x="2607" y="1282"/>
                  </a:cubicBezTo>
                  <a:moveTo>
                    <a:pt x="2653" y="1282"/>
                  </a:moveTo>
                  <a:cubicBezTo>
                    <a:pt x="2644" y="1282"/>
                    <a:pt x="2637" y="1286"/>
                    <a:pt x="2637" y="1292"/>
                  </a:cubicBezTo>
                  <a:cubicBezTo>
                    <a:pt x="2637" y="1298"/>
                    <a:pt x="2645" y="1302"/>
                    <a:pt x="2654" y="1302"/>
                  </a:cubicBezTo>
                  <a:cubicBezTo>
                    <a:pt x="2663" y="1302"/>
                    <a:pt x="2670" y="1298"/>
                    <a:pt x="2669" y="1292"/>
                  </a:cubicBezTo>
                  <a:cubicBezTo>
                    <a:pt x="2669" y="1286"/>
                    <a:pt x="2662" y="1282"/>
                    <a:pt x="2653" y="1282"/>
                  </a:cubicBezTo>
                  <a:cubicBezTo>
                    <a:pt x="2653" y="1282"/>
                    <a:pt x="2653" y="1282"/>
                    <a:pt x="2653" y="1282"/>
                  </a:cubicBezTo>
                  <a:moveTo>
                    <a:pt x="2699" y="1282"/>
                  </a:moveTo>
                  <a:cubicBezTo>
                    <a:pt x="2690" y="1282"/>
                    <a:pt x="2683" y="1286"/>
                    <a:pt x="2684" y="1292"/>
                  </a:cubicBezTo>
                  <a:cubicBezTo>
                    <a:pt x="2684" y="1298"/>
                    <a:pt x="2692" y="1302"/>
                    <a:pt x="2701" y="1302"/>
                  </a:cubicBezTo>
                  <a:cubicBezTo>
                    <a:pt x="2710" y="1302"/>
                    <a:pt x="2717" y="1298"/>
                    <a:pt x="2716" y="1292"/>
                  </a:cubicBezTo>
                  <a:cubicBezTo>
                    <a:pt x="2716" y="1286"/>
                    <a:pt x="2708" y="1282"/>
                    <a:pt x="2699" y="1282"/>
                  </a:cubicBezTo>
                  <a:cubicBezTo>
                    <a:pt x="2699" y="1282"/>
                    <a:pt x="2699" y="1282"/>
                    <a:pt x="2699" y="1282"/>
                  </a:cubicBezTo>
                  <a:moveTo>
                    <a:pt x="2744" y="1282"/>
                  </a:moveTo>
                  <a:cubicBezTo>
                    <a:pt x="2735" y="1282"/>
                    <a:pt x="2728" y="1286"/>
                    <a:pt x="2728" y="1292"/>
                  </a:cubicBezTo>
                  <a:cubicBezTo>
                    <a:pt x="2729" y="1298"/>
                    <a:pt x="2737" y="1302"/>
                    <a:pt x="2746" y="1302"/>
                  </a:cubicBezTo>
                  <a:cubicBezTo>
                    <a:pt x="2755" y="1302"/>
                    <a:pt x="2761" y="1298"/>
                    <a:pt x="2761" y="1292"/>
                  </a:cubicBezTo>
                  <a:cubicBezTo>
                    <a:pt x="2760" y="1286"/>
                    <a:pt x="2753" y="1282"/>
                    <a:pt x="2744" y="1282"/>
                  </a:cubicBezTo>
                  <a:cubicBezTo>
                    <a:pt x="2744" y="1282"/>
                    <a:pt x="2744" y="1282"/>
                    <a:pt x="2744" y="1282"/>
                  </a:cubicBezTo>
                  <a:moveTo>
                    <a:pt x="4544" y="1275"/>
                  </a:moveTo>
                  <a:cubicBezTo>
                    <a:pt x="4535" y="1275"/>
                    <a:pt x="4531" y="1280"/>
                    <a:pt x="4534" y="1286"/>
                  </a:cubicBezTo>
                  <a:cubicBezTo>
                    <a:pt x="4538" y="1291"/>
                    <a:pt x="4548" y="1296"/>
                    <a:pt x="4557" y="1296"/>
                  </a:cubicBezTo>
                  <a:cubicBezTo>
                    <a:pt x="4566" y="1296"/>
                    <a:pt x="4571" y="1291"/>
                    <a:pt x="4567" y="1286"/>
                  </a:cubicBezTo>
                  <a:cubicBezTo>
                    <a:pt x="4563" y="1280"/>
                    <a:pt x="4553" y="1275"/>
                    <a:pt x="4544" y="1275"/>
                  </a:cubicBezTo>
                  <a:cubicBezTo>
                    <a:pt x="4544" y="1275"/>
                    <a:pt x="4544" y="1275"/>
                    <a:pt x="4544" y="1275"/>
                  </a:cubicBezTo>
                  <a:moveTo>
                    <a:pt x="268" y="1255"/>
                  </a:moveTo>
                  <a:cubicBezTo>
                    <a:pt x="260" y="1255"/>
                    <a:pt x="249" y="1260"/>
                    <a:pt x="245" y="1266"/>
                  </a:cubicBezTo>
                  <a:cubicBezTo>
                    <a:pt x="241" y="1271"/>
                    <a:pt x="245" y="1276"/>
                    <a:pt x="254" y="1276"/>
                  </a:cubicBezTo>
                  <a:cubicBezTo>
                    <a:pt x="263" y="1276"/>
                    <a:pt x="274" y="1271"/>
                    <a:pt x="277" y="1265"/>
                  </a:cubicBezTo>
                  <a:cubicBezTo>
                    <a:pt x="281" y="1260"/>
                    <a:pt x="277" y="1255"/>
                    <a:pt x="269" y="1255"/>
                  </a:cubicBezTo>
                  <a:cubicBezTo>
                    <a:pt x="268" y="1255"/>
                    <a:pt x="268" y="1255"/>
                    <a:pt x="268" y="1255"/>
                  </a:cubicBezTo>
                  <a:moveTo>
                    <a:pt x="314" y="1255"/>
                  </a:moveTo>
                  <a:cubicBezTo>
                    <a:pt x="305" y="1255"/>
                    <a:pt x="295" y="1260"/>
                    <a:pt x="291" y="1265"/>
                  </a:cubicBezTo>
                  <a:cubicBezTo>
                    <a:pt x="287" y="1271"/>
                    <a:pt x="291" y="1276"/>
                    <a:pt x="300" y="1276"/>
                  </a:cubicBezTo>
                  <a:cubicBezTo>
                    <a:pt x="309" y="1276"/>
                    <a:pt x="320" y="1271"/>
                    <a:pt x="323" y="1265"/>
                  </a:cubicBezTo>
                  <a:cubicBezTo>
                    <a:pt x="327" y="1260"/>
                    <a:pt x="323" y="1255"/>
                    <a:pt x="314" y="1255"/>
                  </a:cubicBezTo>
                  <a:cubicBezTo>
                    <a:pt x="314" y="1255"/>
                    <a:pt x="314" y="1255"/>
                    <a:pt x="314" y="1255"/>
                  </a:cubicBezTo>
                  <a:moveTo>
                    <a:pt x="360" y="1255"/>
                  </a:moveTo>
                  <a:cubicBezTo>
                    <a:pt x="351" y="1255"/>
                    <a:pt x="341" y="1260"/>
                    <a:pt x="337" y="1265"/>
                  </a:cubicBezTo>
                  <a:cubicBezTo>
                    <a:pt x="333" y="1271"/>
                    <a:pt x="337" y="1275"/>
                    <a:pt x="346" y="1275"/>
                  </a:cubicBezTo>
                  <a:cubicBezTo>
                    <a:pt x="355" y="1275"/>
                    <a:pt x="365" y="1271"/>
                    <a:pt x="369" y="1265"/>
                  </a:cubicBezTo>
                  <a:cubicBezTo>
                    <a:pt x="373" y="1260"/>
                    <a:pt x="369" y="1255"/>
                    <a:pt x="360" y="1255"/>
                  </a:cubicBezTo>
                  <a:cubicBezTo>
                    <a:pt x="360" y="1255"/>
                    <a:pt x="360" y="1255"/>
                    <a:pt x="360" y="1255"/>
                  </a:cubicBezTo>
                  <a:moveTo>
                    <a:pt x="406" y="1255"/>
                  </a:moveTo>
                  <a:cubicBezTo>
                    <a:pt x="397" y="1255"/>
                    <a:pt x="387" y="1260"/>
                    <a:pt x="383" y="1265"/>
                  </a:cubicBezTo>
                  <a:cubicBezTo>
                    <a:pt x="379" y="1271"/>
                    <a:pt x="384" y="1275"/>
                    <a:pt x="392" y="1275"/>
                  </a:cubicBezTo>
                  <a:cubicBezTo>
                    <a:pt x="401" y="1275"/>
                    <a:pt x="412" y="1271"/>
                    <a:pt x="415" y="1265"/>
                  </a:cubicBezTo>
                  <a:cubicBezTo>
                    <a:pt x="419" y="1260"/>
                    <a:pt x="415" y="1255"/>
                    <a:pt x="406" y="1255"/>
                  </a:cubicBezTo>
                  <a:cubicBezTo>
                    <a:pt x="406" y="1255"/>
                    <a:pt x="406" y="1255"/>
                    <a:pt x="406" y="1255"/>
                  </a:cubicBezTo>
                  <a:moveTo>
                    <a:pt x="453" y="1255"/>
                  </a:moveTo>
                  <a:cubicBezTo>
                    <a:pt x="444" y="1255"/>
                    <a:pt x="434" y="1260"/>
                    <a:pt x="430" y="1265"/>
                  </a:cubicBezTo>
                  <a:cubicBezTo>
                    <a:pt x="427" y="1271"/>
                    <a:pt x="431" y="1275"/>
                    <a:pt x="440" y="1275"/>
                  </a:cubicBezTo>
                  <a:cubicBezTo>
                    <a:pt x="449" y="1275"/>
                    <a:pt x="459" y="1271"/>
                    <a:pt x="463" y="1265"/>
                  </a:cubicBezTo>
                  <a:cubicBezTo>
                    <a:pt x="466" y="1259"/>
                    <a:pt x="462" y="1255"/>
                    <a:pt x="453" y="1255"/>
                  </a:cubicBezTo>
                  <a:cubicBezTo>
                    <a:pt x="453" y="1255"/>
                    <a:pt x="453" y="1255"/>
                    <a:pt x="453" y="1255"/>
                  </a:cubicBezTo>
                  <a:moveTo>
                    <a:pt x="499" y="1255"/>
                  </a:moveTo>
                  <a:cubicBezTo>
                    <a:pt x="490" y="1255"/>
                    <a:pt x="480" y="1259"/>
                    <a:pt x="476" y="1265"/>
                  </a:cubicBezTo>
                  <a:cubicBezTo>
                    <a:pt x="473" y="1271"/>
                    <a:pt x="477" y="1275"/>
                    <a:pt x="486" y="1275"/>
                  </a:cubicBezTo>
                  <a:cubicBezTo>
                    <a:pt x="495" y="1275"/>
                    <a:pt x="505" y="1271"/>
                    <a:pt x="508" y="1265"/>
                  </a:cubicBezTo>
                  <a:cubicBezTo>
                    <a:pt x="512" y="1259"/>
                    <a:pt x="508" y="1255"/>
                    <a:pt x="499" y="1255"/>
                  </a:cubicBezTo>
                  <a:cubicBezTo>
                    <a:pt x="499" y="1255"/>
                    <a:pt x="499" y="1255"/>
                    <a:pt x="499" y="1255"/>
                  </a:cubicBezTo>
                  <a:moveTo>
                    <a:pt x="545" y="1255"/>
                  </a:moveTo>
                  <a:cubicBezTo>
                    <a:pt x="536" y="1255"/>
                    <a:pt x="526" y="1259"/>
                    <a:pt x="522" y="1265"/>
                  </a:cubicBezTo>
                  <a:cubicBezTo>
                    <a:pt x="519" y="1271"/>
                    <a:pt x="523" y="1275"/>
                    <a:pt x="532" y="1275"/>
                  </a:cubicBezTo>
                  <a:cubicBezTo>
                    <a:pt x="541" y="1275"/>
                    <a:pt x="551" y="1270"/>
                    <a:pt x="554" y="1265"/>
                  </a:cubicBezTo>
                  <a:cubicBezTo>
                    <a:pt x="558" y="1259"/>
                    <a:pt x="553" y="1255"/>
                    <a:pt x="545" y="1255"/>
                  </a:cubicBezTo>
                  <a:cubicBezTo>
                    <a:pt x="545" y="1255"/>
                    <a:pt x="545" y="1255"/>
                    <a:pt x="545" y="1255"/>
                  </a:cubicBezTo>
                  <a:moveTo>
                    <a:pt x="591" y="1255"/>
                  </a:moveTo>
                  <a:cubicBezTo>
                    <a:pt x="582" y="1255"/>
                    <a:pt x="572" y="1259"/>
                    <a:pt x="569" y="1265"/>
                  </a:cubicBezTo>
                  <a:cubicBezTo>
                    <a:pt x="565" y="1270"/>
                    <a:pt x="570" y="1275"/>
                    <a:pt x="579" y="1275"/>
                  </a:cubicBezTo>
                  <a:cubicBezTo>
                    <a:pt x="588" y="1275"/>
                    <a:pt x="598" y="1270"/>
                    <a:pt x="601" y="1265"/>
                  </a:cubicBezTo>
                  <a:cubicBezTo>
                    <a:pt x="604" y="1259"/>
                    <a:pt x="600" y="1255"/>
                    <a:pt x="591" y="1255"/>
                  </a:cubicBezTo>
                  <a:cubicBezTo>
                    <a:pt x="591" y="1255"/>
                    <a:pt x="591" y="1255"/>
                    <a:pt x="591" y="1255"/>
                  </a:cubicBezTo>
                  <a:moveTo>
                    <a:pt x="636" y="1254"/>
                  </a:moveTo>
                  <a:cubicBezTo>
                    <a:pt x="628" y="1255"/>
                    <a:pt x="618" y="1259"/>
                    <a:pt x="614" y="1265"/>
                  </a:cubicBezTo>
                  <a:cubicBezTo>
                    <a:pt x="611" y="1270"/>
                    <a:pt x="616" y="1275"/>
                    <a:pt x="625" y="1275"/>
                  </a:cubicBezTo>
                  <a:cubicBezTo>
                    <a:pt x="634" y="1275"/>
                    <a:pt x="643" y="1270"/>
                    <a:pt x="647" y="1265"/>
                  </a:cubicBezTo>
                  <a:cubicBezTo>
                    <a:pt x="650" y="1259"/>
                    <a:pt x="645" y="1254"/>
                    <a:pt x="636" y="1254"/>
                  </a:cubicBezTo>
                  <a:cubicBezTo>
                    <a:pt x="636" y="1254"/>
                    <a:pt x="636" y="1254"/>
                    <a:pt x="636" y="1254"/>
                  </a:cubicBezTo>
                  <a:moveTo>
                    <a:pt x="682" y="1254"/>
                  </a:moveTo>
                  <a:cubicBezTo>
                    <a:pt x="673" y="1254"/>
                    <a:pt x="664" y="1259"/>
                    <a:pt x="660" y="1265"/>
                  </a:cubicBezTo>
                  <a:cubicBezTo>
                    <a:pt x="657" y="1270"/>
                    <a:pt x="662" y="1275"/>
                    <a:pt x="671" y="1275"/>
                  </a:cubicBezTo>
                  <a:cubicBezTo>
                    <a:pt x="680" y="1275"/>
                    <a:pt x="689" y="1270"/>
                    <a:pt x="693" y="1264"/>
                  </a:cubicBezTo>
                  <a:cubicBezTo>
                    <a:pt x="696" y="1259"/>
                    <a:pt x="691" y="1254"/>
                    <a:pt x="682" y="1254"/>
                  </a:cubicBezTo>
                  <a:cubicBezTo>
                    <a:pt x="682" y="1254"/>
                    <a:pt x="682" y="1254"/>
                    <a:pt x="682" y="1254"/>
                  </a:cubicBezTo>
                  <a:moveTo>
                    <a:pt x="728" y="1254"/>
                  </a:moveTo>
                  <a:cubicBezTo>
                    <a:pt x="719" y="1254"/>
                    <a:pt x="709" y="1259"/>
                    <a:pt x="706" y="1264"/>
                  </a:cubicBezTo>
                  <a:cubicBezTo>
                    <a:pt x="703" y="1270"/>
                    <a:pt x="708" y="1275"/>
                    <a:pt x="717" y="1275"/>
                  </a:cubicBezTo>
                  <a:cubicBezTo>
                    <a:pt x="725" y="1275"/>
                    <a:pt x="735" y="1270"/>
                    <a:pt x="738" y="1264"/>
                  </a:cubicBezTo>
                  <a:cubicBezTo>
                    <a:pt x="741" y="1259"/>
                    <a:pt x="737" y="1254"/>
                    <a:pt x="728" y="1254"/>
                  </a:cubicBezTo>
                  <a:cubicBezTo>
                    <a:pt x="728" y="1254"/>
                    <a:pt x="728" y="1254"/>
                    <a:pt x="728" y="1254"/>
                  </a:cubicBezTo>
                  <a:moveTo>
                    <a:pt x="774" y="1254"/>
                  </a:moveTo>
                  <a:cubicBezTo>
                    <a:pt x="765" y="1254"/>
                    <a:pt x="755" y="1259"/>
                    <a:pt x="752" y="1264"/>
                  </a:cubicBezTo>
                  <a:cubicBezTo>
                    <a:pt x="749" y="1270"/>
                    <a:pt x="754" y="1274"/>
                    <a:pt x="763" y="1274"/>
                  </a:cubicBezTo>
                  <a:cubicBezTo>
                    <a:pt x="772" y="1274"/>
                    <a:pt x="781" y="1270"/>
                    <a:pt x="784" y="1264"/>
                  </a:cubicBezTo>
                  <a:cubicBezTo>
                    <a:pt x="787" y="1259"/>
                    <a:pt x="783" y="1254"/>
                    <a:pt x="774" y="1254"/>
                  </a:cubicBezTo>
                  <a:cubicBezTo>
                    <a:pt x="774" y="1254"/>
                    <a:pt x="774" y="1254"/>
                    <a:pt x="774" y="1254"/>
                  </a:cubicBezTo>
                  <a:moveTo>
                    <a:pt x="820" y="1254"/>
                  </a:moveTo>
                  <a:cubicBezTo>
                    <a:pt x="811" y="1254"/>
                    <a:pt x="802" y="1259"/>
                    <a:pt x="799" y="1264"/>
                  </a:cubicBezTo>
                  <a:cubicBezTo>
                    <a:pt x="796" y="1270"/>
                    <a:pt x="800" y="1274"/>
                    <a:pt x="809" y="1274"/>
                  </a:cubicBezTo>
                  <a:cubicBezTo>
                    <a:pt x="818" y="1274"/>
                    <a:pt x="828" y="1270"/>
                    <a:pt x="831" y="1264"/>
                  </a:cubicBezTo>
                  <a:cubicBezTo>
                    <a:pt x="834" y="1259"/>
                    <a:pt x="829" y="1254"/>
                    <a:pt x="820" y="1254"/>
                  </a:cubicBezTo>
                  <a:cubicBezTo>
                    <a:pt x="820" y="1254"/>
                    <a:pt x="820" y="1254"/>
                    <a:pt x="820" y="1254"/>
                  </a:cubicBezTo>
                  <a:moveTo>
                    <a:pt x="866" y="1254"/>
                  </a:moveTo>
                  <a:cubicBezTo>
                    <a:pt x="857" y="1254"/>
                    <a:pt x="847" y="1258"/>
                    <a:pt x="844" y="1264"/>
                  </a:cubicBezTo>
                  <a:cubicBezTo>
                    <a:pt x="841" y="1270"/>
                    <a:pt x="846" y="1274"/>
                    <a:pt x="855" y="1274"/>
                  </a:cubicBezTo>
                  <a:cubicBezTo>
                    <a:pt x="864" y="1274"/>
                    <a:pt x="874" y="1270"/>
                    <a:pt x="877" y="1264"/>
                  </a:cubicBezTo>
                  <a:cubicBezTo>
                    <a:pt x="879" y="1258"/>
                    <a:pt x="874" y="1254"/>
                    <a:pt x="866" y="1254"/>
                  </a:cubicBezTo>
                  <a:cubicBezTo>
                    <a:pt x="866" y="1254"/>
                    <a:pt x="866" y="1254"/>
                    <a:pt x="866" y="1254"/>
                  </a:cubicBezTo>
                  <a:moveTo>
                    <a:pt x="911" y="1254"/>
                  </a:moveTo>
                  <a:cubicBezTo>
                    <a:pt x="903" y="1254"/>
                    <a:pt x="893" y="1258"/>
                    <a:pt x="890" y="1264"/>
                  </a:cubicBezTo>
                  <a:cubicBezTo>
                    <a:pt x="887" y="1270"/>
                    <a:pt x="892" y="1274"/>
                    <a:pt x="901" y="1274"/>
                  </a:cubicBezTo>
                  <a:cubicBezTo>
                    <a:pt x="910" y="1274"/>
                    <a:pt x="920" y="1270"/>
                    <a:pt x="922" y="1264"/>
                  </a:cubicBezTo>
                  <a:cubicBezTo>
                    <a:pt x="925" y="1258"/>
                    <a:pt x="920" y="1254"/>
                    <a:pt x="911" y="1254"/>
                  </a:cubicBezTo>
                  <a:cubicBezTo>
                    <a:pt x="911" y="1254"/>
                    <a:pt x="911" y="1254"/>
                    <a:pt x="911" y="1254"/>
                  </a:cubicBezTo>
                  <a:moveTo>
                    <a:pt x="957" y="1254"/>
                  </a:moveTo>
                  <a:cubicBezTo>
                    <a:pt x="948" y="1254"/>
                    <a:pt x="939" y="1258"/>
                    <a:pt x="936" y="1264"/>
                  </a:cubicBezTo>
                  <a:cubicBezTo>
                    <a:pt x="933" y="1270"/>
                    <a:pt x="938" y="1274"/>
                    <a:pt x="947" y="1274"/>
                  </a:cubicBezTo>
                  <a:cubicBezTo>
                    <a:pt x="956" y="1274"/>
                    <a:pt x="965" y="1269"/>
                    <a:pt x="968" y="1264"/>
                  </a:cubicBezTo>
                  <a:cubicBezTo>
                    <a:pt x="971" y="1258"/>
                    <a:pt x="966" y="1254"/>
                    <a:pt x="957" y="1254"/>
                  </a:cubicBezTo>
                  <a:cubicBezTo>
                    <a:pt x="957" y="1254"/>
                    <a:pt x="957" y="1254"/>
                    <a:pt x="957" y="1254"/>
                  </a:cubicBezTo>
                  <a:moveTo>
                    <a:pt x="1003" y="1254"/>
                  </a:moveTo>
                  <a:cubicBezTo>
                    <a:pt x="994" y="1254"/>
                    <a:pt x="985" y="1258"/>
                    <a:pt x="982" y="1264"/>
                  </a:cubicBezTo>
                  <a:cubicBezTo>
                    <a:pt x="979" y="1269"/>
                    <a:pt x="984" y="1274"/>
                    <a:pt x="993" y="1274"/>
                  </a:cubicBezTo>
                  <a:cubicBezTo>
                    <a:pt x="1002" y="1274"/>
                    <a:pt x="1012" y="1269"/>
                    <a:pt x="1014" y="1264"/>
                  </a:cubicBezTo>
                  <a:cubicBezTo>
                    <a:pt x="1017" y="1258"/>
                    <a:pt x="1012" y="1254"/>
                    <a:pt x="1003" y="1254"/>
                  </a:cubicBezTo>
                  <a:cubicBezTo>
                    <a:pt x="1003" y="1254"/>
                    <a:pt x="1003" y="1254"/>
                    <a:pt x="1003" y="1254"/>
                  </a:cubicBezTo>
                  <a:moveTo>
                    <a:pt x="1049" y="1253"/>
                  </a:moveTo>
                  <a:cubicBezTo>
                    <a:pt x="1040" y="1253"/>
                    <a:pt x="1031" y="1258"/>
                    <a:pt x="1029" y="1264"/>
                  </a:cubicBezTo>
                  <a:cubicBezTo>
                    <a:pt x="1026" y="1269"/>
                    <a:pt x="1031" y="1274"/>
                    <a:pt x="1040" y="1274"/>
                  </a:cubicBezTo>
                  <a:cubicBezTo>
                    <a:pt x="1049" y="1274"/>
                    <a:pt x="1058" y="1269"/>
                    <a:pt x="1061" y="1264"/>
                  </a:cubicBezTo>
                  <a:cubicBezTo>
                    <a:pt x="1063" y="1258"/>
                    <a:pt x="1058" y="1253"/>
                    <a:pt x="1049" y="1253"/>
                  </a:cubicBezTo>
                  <a:cubicBezTo>
                    <a:pt x="1049" y="1253"/>
                    <a:pt x="1049" y="1253"/>
                    <a:pt x="1049" y="1253"/>
                  </a:cubicBezTo>
                  <a:moveTo>
                    <a:pt x="2192" y="1253"/>
                  </a:moveTo>
                  <a:cubicBezTo>
                    <a:pt x="2183" y="1253"/>
                    <a:pt x="2176" y="1258"/>
                    <a:pt x="2175" y="1264"/>
                  </a:cubicBezTo>
                  <a:cubicBezTo>
                    <a:pt x="2175" y="1269"/>
                    <a:pt x="2182" y="1274"/>
                    <a:pt x="2190" y="1274"/>
                  </a:cubicBezTo>
                  <a:cubicBezTo>
                    <a:pt x="2199" y="1274"/>
                    <a:pt x="2207" y="1269"/>
                    <a:pt x="2207" y="1264"/>
                  </a:cubicBezTo>
                  <a:cubicBezTo>
                    <a:pt x="2208" y="1258"/>
                    <a:pt x="2201" y="1253"/>
                    <a:pt x="2192" y="1253"/>
                  </a:cubicBezTo>
                  <a:cubicBezTo>
                    <a:pt x="2192" y="1253"/>
                    <a:pt x="2192" y="1253"/>
                    <a:pt x="2192" y="1253"/>
                  </a:cubicBezTo>
                  <a:moveTo>
                    <a:pt x="1091" y="1253"/>
                  </a:moveTo>
                  <a:cubicBezTo>
                    <a:pt x="1082" y="1253"/>
                    <a:pt x="1073" y="1258"/>
                    <a:pt x="1070" y="1264"/>
                  </a:cubicBezTo>
                  <a:cubicBezTo>
                    <a:pt x="1068" y="1269"/>
                    <a:pt x="1073" y="1274"/>
                    <a:pt x="1082" y="1274"/>
                  </a:cubicBezTo>
                  <a:cubicBezTo>
                    <a:pt x="1091" y="1274"/>
                    <a:pt x="1100" y="1269"/>
                    <a:pt x="1102" y="1264"/>
                  </a:cubicBezTo>
                  <a:cubicBezTo>
                    <a:pt x="1105" y="1258"/>
                    <a:pt x="1100" y="1253"/>
                    <a:pt x="1091" y="1253"/>
                  </a:cubicBezTo>
                  <a:cubicBezTo>
                    <a:pt x="1091" y="1253"/>
                    <a:pt x="1091" y="1253"/>
                    <a:pt x="1091" y="1253"/>
                  </a:cubicBezTo>
                  <a:moveTo>
                    <a:pt x="2238" y="1253"/>
                  </a:moveTo>
                  <a:cubicBezTo>
                    <a:pt x="2229" y="1253"/>
                    <a:pt x="2221" y="1258"/>
                    <a:pt x="2221" y="1264"/>
                  </a:cubicBezTo>
                  <a:cubicBezTo>
                    <a:pt x="2220" y="1269"/>
                    <a:pt x="2227" y="1274"/>
                    <a:pt x="2236" y="1274"/>
                  </a:cubicBezTo>
                  <a:cubicBezTo>
                    <a:pt x="2245" y="1274"/>
                    <a:pt x="2253" y="1269"/>
                    <a:pt x="2253" y="1263"/>
                  </a:cubicBezTo>
                  <a:cubicBezTo>
                    <a:pt x="2253" y="1258"/>
                    <a:pt x="2247" y="1253"/>
                    <a:pt x="2238" y="1253"/>
                  </a:cubicBezTo>
                  <a:cubicBezTo>
                    <a:pt x="2238" y="1253"/>
                    <a:pt x="2238" y="1253"/>
                    <a:pt x="2238" y="1253"/>
                  </a:cubicBezTo>
                  <a:moveTo>
                    <a:pt x="1140" y="1253"/>
                  </a:moveTo>
                  <a:cubicBezTo>
                    <a:pt x="1132" y="1253"/>
                    <a:pt x="1122" y="1258"/>
                    <a:pt x="1120" y="1263"/>
                  </a:cubicBezTo>
                  <a:cubicBezTo>
                    <a:pt x="1118" y="1269"/>
                    <a:pt x="1123" y="1274"/>
                    <a:pt x="1132" y="1274"/>
                  </a:cubicBezTo>
                  <a:cubicBezTo>
                    <a:pt x="1141" y="1274"/>
                    <a:pt x="1150" y="1269"/>
                    <a:pt x="1152" y="1263"/>
                  </a:cubicBezTo>
                  <a:cubicBezTo>
                    <a:pt x="1155" y="1258"/>
                    <a:pt x="1149" y="1253"/>
                    <a:pt x="1140" y="1253"/>
                  </a:cubicBezTo>
                  <a:cubicBezTo>
                    <a:pt x="1140" y="1253"/>
                    <a:pt x="1140" y="1253"/>
                    <a:pt x="1140" y="1253"/>
                  </a:cubicBezTo>
                  <a:moveTo>
                    <a:pt x="2284" y="1253"/>
                  </a:moveTo>
                  <a:cubicBezTo>
                    <a:pt x="2275" y="1253"/>
                    <a:pt x="2267" y="1258"/>
                    <a:pt x="2267" y="1263"/>
                  </a:cubicBezTo>
                  <a:cubicBezTo>
                    <a:pt x="2267" y="1269"/>
                    <a:pt x="2274" y="1274"/>
                    <a:pt x="2282" y="1274"/>
                  </a:cubicBezTo>
                  <a:cubicBezTo>
                    <a:pt x="2291" y="1274"/>
                    <a:pt x="2299" y="1269"/>
                    <a:pt x="2299" y="1263"/>
                  </a:cubicBezTo>
                  <a:cubicBezTo>
                    <a:pt x="2299" y="1258"/>
                    <a:pt x="2293" y="1253"/>
                    <a:pt x="2284" y="1253"/>
                  </a:cubicBezTo>
                  <a:cubicBezTo>
                    <a:pt x="2284" y="1253"/>
                    <a:pt x="2284" y="1253"/>
                    <a:pt x="2284" y="1253"/>
                  </a:cubicBezTo>
                  <a:moveTo>
                    <a:pt x="2329" y="1253"/>
                  </a:moveTo>
                  <a:cubicBezTo>
                    <a:pt x="2320" y="1253"/>
                    <a:pt x="2313" y="1258"/>
                    <a:pt x="2312" y="1263"/>
                  </a:cubicBezTo>
                  <a:cubicBezTo>
                    <a:pt x="2312" y="1269"/>
                    <a:pt x="2319" y="1274"/>
                    <a:pt x="2328" y="1274"/>
                  </a:cubicBezTo>
                  <a:cubicBezTo>
                    <a:pt x="2337" y="1273"/>
                    <a:pt x="2344" y="1269"/>
                    <a:pt x="2344" y="1263"/>
                  </a:cubicBezTo>
                  <a:cubicBezTo>
                    <a:pt x="2345" y="1258"/>
                    <a:pt x="2338" y="1253"/>
                    <a:pt x="2329" y="1253"/>
                  </a:cubicBezTo>
                  <a:cubicBezTo>
                    <a:pt x="2329" y="1253"/>
                    <a:pt x="2329" y="1253"/>
                    <a:pt x="2329" y="1253"/>
                  </a:cubicBezTo>
                  <a:moveTo>
                    <a:pt x="2374" y="1253"/>
                  </a:moveTo>
                  <a:cubicBezTo>
                    <a:pt x="2366" y="1253"/>
                    <a:pt x="2358" y="1258"/>
                    <a:pt x="2358" y="1263"/>
                  </a:cubicBezTo>
                  <a:cubicBezTo>
                    <a:pt x="2358" y="1269"/>
                    <a:pt x="2365" y="1273"/>
                    <a:pt x="2374" y="1273"/>
                  </a:cubicBezTo>
                  <a:cubicBezTo>
                    <a:pt x="2383" y="1273"/>
                    <a:pt x="2390" y="1269"/>
                    <a:pt x="2390" y="1263"/>
                  </a:cubicBezTo>
                  <a:cubicBezTo>
                    <a:pt x="2390" y="1258"/>
                    <a:pt x="2383" y="1253"/>
                    <a:pt x="2374" y="1253"/>
                  </a:cubicBezTo>
                  <a:cubicBezTo>
                    <a:pt x="2374" y="1253"/>
                    <a:pt x="2374" y="1253"/>
                    <a:pt x="2374" y="1253"/>
                  </a:cubicBezTo>
                  <a:moveTo>
                    <a:pt x="2420" y="1253"/>
                  </a:moveTo>
                  <a:cubicBezTo>
                    <a:pt x="2411" y="1253"/>
                    <a:pt x="2404" y="1257"/>
                    <a:pt x="2404" y="1263"/>
                  </a:cubicBezTo>
                  <a:cubicBezTo>
                    <a:pt x="2404" y="1269"/>
                    <a:pt x="2411" y="1273"/>
                    <a:pt x="2420" y="1273"/>
                  </a:cubicBezTo>
                  <a:cubicBezTo>
                    <a:pt x="2429" y="1273"/>
                    <a:pt x="2436" y="1269"/>
                    <a:pt x="2436" y="1263"/>
                  </a:cubicBezTo>
                  <a:cubicBezTo>
                    <a:pt x="2436" y="1257"/>
                    <a:pt x="2429" y="1253"/>
                    <a:pt x="2420" y="1253"/>
                  </a:cubicBezTo>
                  <a:cubicBezTo>
                    <a:pt x="2420" y="1253"/>
                    <a:pt x="2420" y="1253"/>
                    <a:pt x="2420" y="1253"/>
                  </a:cubicBezTo>
                  <a:moveTo>
                    <a:pt x="2468" y="1253"/>
                  </a:moveTo>
                  <a:cubicBezTo>
                    <a:pt x="2459" y="1253"/>
                    <a:pt x="2451" y="1257"/>
                    <a:pt x="2451" y="1263"/>
                  </a:cubicBezTo>
                  <a:cubicBezTo>
                    <a:pt x="2451" y="1269"/>
                    <a:pt x="2459" y="1273"/>
                    <a:pt x="2468" y="1273"/>
                  </a:cubicBezTo>
                  <a:cubicBezTo>
                    <a:pt x="2476" y="1273"/>
                    <a:pt x="2484" y="1269"/>
                    <a:pt x="2484" y="1263"/>
                  </a:cubicBezTo>
                  <a:cubicBezTo>
                    <a:pt x="2484" y="1257"/>
                    <a:pt x="2476" y="1253"/>
                    <a:pt x="2468" y="1253"/>
                  </a:cubicBezTo>
                  <a:cubicBezTo>
                    <a:pt x="2468" y="1253"/>
                    <a:pt x="2468" y="1253"/>
                    <a:pt x="2468" y="1253"/>
                  </a:cubicBezTo>
                  <a:moveTo>
                    <a:pt x="2513" y="1253"/>
                  </a:moveTo>
                  <a:cubicBezTo>
                    <a:pt x="2504" y="1253"/>
                    <a:pt x="2497" y="1257"/>
                    <a:pt x="2497" y="1263"/>
                  </a:cubicBezTo>
                  <a:cubicBezTo>
                    <a:pt x="2497" y="1269"/>
                    <a:pt x="2504" y="1273"/>
                    <a:pt x="2513" y="1273"/>
                  </a:cubicBezTo>
                  <a:cubicBezTo>
                    <a:pt x="2522" y="1273"/>
                    <a:pt x="2529" y="1268"/>
                    <a:pt x="2529" y="1263"/>
                  </a:cubicBezTo>
                  <a:cubicBezTo>
                    <a:pt x="2529" y="1257"/>
                    <a:pt x="2522" y="1253"/>
                    <a:pt x="2513" y="1253"/>
                  </a:cubicBezTo>
                  <a:cubicBezTo>
                    <a:pt x="2513" y="1253"/>
                    <a:pt x="2513" y="1253"/>
                    <a:pt x="2513" y="1253"/>
                  </a:cubicBezTo>
                  <a:moveTo>
                    <a:pt x="2559" y="1253"/>
                  </a:moveTo>
                  <a:cubicBezTo>
                    <a:pt x="2550" y="1253"/>
                    <a:pt x="2543" y="1257"/>
                    <a:pt x="2543" y="1263"/>
                  </a:cubicBezTo>
                  <a:cubicBezTo>
                    <a:pt x="2543" y="1268"/>
                    <a:pt x="2551" y="1273"/>
                    <a:pt x="2560" y="1273"/>
                  </a:cubicBezTo>
                  <a:cubicBezTo>
                    <a:pt x="2568" y="1273"/>
                    <a:pt x="2576" y="1268"/>
                    <a:pt x="2575" y="1263"/>
                  </a:cubicBezTo>
                  <a:cubicBezTo>
                    <a:pt x="2575" y="1257"/>
                    <a:pt x="2568" y="1253"/>
                    <a:pt x="2559" y="1253"/>
                  </a:cubicBezTo>
                  <a:cubicBezTo>
                    <a:pt x="2559" y="1253"/>
                    <a:pt x="2559" y="1253"/>
                    <a:pt x="2559" y="1253"/>
                  </a:cubicBezTo>
                  <a:moveTo>
                    <a:pt x="2605" y="1252"/>
                  </a:moveTo>
                  <a:cubicBezTo>
                    <a:pt x="2596" y="1252"/>
                    <a:pt x="2589" y="1257"/>
                    <a:pt x="2590" y="1263"/>
                  </a:cubicBezTo>
                  <a:cubicBezTo>
                    <a:pt x="2590" y="1268"/>
                    <a:pt x="2597" y="1273"/>
                    <a:pt x="2606" y="1273"/>
                  </a:cubicBezTo>
                  <a:cubicBezTo>
                    <a:pt x="2615" y="1273"/>
                    <a:pt x="2622" y="1268"/>
                    <a:pt x="2622" y="1263"/>
                  </a:cubicBezTo>
                  <a:cubicBezTo>
                    <a:pt x="2622" y="1257"/>
                    <a:pt x="2614" y="1252"/>
                    <a:pt x="2605" y="1252"/>
                  </a:cubicBezTo>
                  <a:cubicBezTo>
                    <a:pt x="2605" y="1252"/>
                    <a:pt x="2605" y="1252"/>
                    <a:pt x="2605" y="1252"/>
                  </a:cubicBezTo>
                  <a:moveTo>
                    <a:pt x="2651" y="1252"/>
                  </a:moveTo>
                  <a:cubicBezTo>
                    <a:pt x="2642" y="1252"/>
                    <a:pt x="2635" y="1257"/>
                    <a:pt x="2635" y="1263"/>
                  </a:cubicBezTo>
                  <a:cubicBezTo>
                    <a:pt x="2636" y="1268"/>
                    <a:pt x="2643" y="1273"/>
                    <a:pt x="2652" y="1273"/>
                  </a:cubicBezTo>
                  <a:cubicBezTo>
                    <a:pt x="2661" y="1273"/>
                    <a:pt x="2668" y="1268"/>
                    <a:pt x="2667" y="1263"/>
                  </a:cubicBezTo>
                  <a:cubicBezTo>
                    <a:pt x="2667" y="1257"/>
                    <a:pt x="2660" y="1252"/>
                    <a:pt x="2651" y="1252"/>
                  </a:cubicBezTo>
                  <a:cubicBezTo>
                    <a:pt x="2651" y="1252"/>
                    <a:pt x="2651" y="1252"/>
                    <a:pt x="2651" y="1252"/>
                  </a:cubicBezTo>
                  <a:moveTo>
                    <a:pt x="2697" y="1252"/>
                  </a:moveTo>
                  <a:cubicBezTo>
                    <a:pt x="2688" y="1252"/>
                    <a:pt x="2681" y="1257"/>
                    <a:pt x="2682" y="1262"/>
                  </a:cubicBezTo>
                  <a:cubicBezTo>
                    <a:pt x="2682" y="1268"/>
                    <a:pt x="2690" y="1273"/>
                    <a:pt x="2699" y="1273"/>
                  </a:cubicBezTo>
                  <a:cubicBezTo>
                    <a:pt x="2707" y="1273"/>
                    <a:pt x="2714" y="1268"/>
                    <a:pt x="2714" y="1262"/>
                  </a:cubicBezTo>
                  <a:cubicBezTo>
                    <a:pt x="2713" y="1257"/>
                    <a:pt x="2706" y="1252"/>
                    <a:pt x="2697" y="1252"/>
                  </a:cubicBezTo>
                  <a:cubicBezTo>
                    <a:pt x="2697" y="1252"/>
                    <a:pt x="2697" y="1252"/>
                    <a:pt x="2697" y="1252"/>
                  </a:cubicBezTo>
                  <a:moveTo>
                    <a:pt x="4250" y="1245"/>
                  </a:moveTo>
                  <a:cubicBezTo>
                    <a:pt x="4241" y="1245"/>
                    <a:pt x="4237" y="1250"/>
                    <a:pt x="4240" y="1255"/>
                  </a:cubicBezTo>
                  <a:cubicBezTo>
                    <a:pt x="4243" y="1261"/>
                    <a:pt x="4253" y="1265"/>
                    <a:pt x="4262" y="1265"/>
                  </a:cubicBezTo>
                  <a:cubicBezTo>
                    <a:pt x="4271" y="1265"/>
                    <a:pt x="4275" y="1261"/>
                    <a:pt x="4272" y="1255"/>
                  </a:cubicBezTo>
                  <a:cubicBezTo>
                    <a:pt x="4269" y="1249"/>
                    <a:pt x="4259" y="1245"/>
                    <a:pt x="4250" y="1245"/>
                  </a:cubicBezTo>
                  <a:cubicBezTo>
                    <a:pt x="4250" y="1245"/>
                    <a:pt x="4250" y="1245"/>
                    <a:pt x="4250" y="1245"/>
                  </a:cubicBezTo>
                  <a:moveTo>
                    <a:pt x="4295" y="1245"/>
                  </a:moveTo>
                  <a:cubicBezTo>
                    <a:pt x="4286" y="1245"/>
                    <a:pt x="4282" y="1249"/>
                    <a:pt x="4285" y="1255"/>
                  </a:cubicBezTo>
                  <a:cubicBezTo>
                    <a:pt x="4288" y="1261"/>
                    <a:pt x="4298" y="1265"/>
                    <a:pt x="4307" y="1265"/>
                  </a:cubicBezTo>
                  <a:cubicBezTo>
                    <a:pt x="4316" y="1265"/>
                    <a:pt x="4320" y="1261"/>
                    <a:pt x="4317" y="1255"/>
                  </a:cubicBezTo>
                  <a:cubicBezTo>
                    <a:pt x="4314" y="1249"/>
                    <a:pt x="4304" y="1245"/>
                    <a:pt x="4295" y="1245"/>
                  </a:cubicBezTo>
                  <a:cubicBezTo>
                    <a:pt x="4295" y="1245"/>
                    <a:pt x="4295" y="1245"/>
                    <a:pt x="4295" y="1245"/>
                  </a:cubicBezTo>
                  <a:moveTo>
                    <a:pt x="4845" y="1241"/>
                  </a:moveTo>
                  <a:cubicBezTo>
                    <a:pt x="4836" y="1241"/>
                    <a:pt x="4832" y="1246"/>
                    <a:pt x="4836" y="1252"/>
                  </a:cubicBezTo>
                  <a:cubicBezTo>
                    <a:pt x="4841" y="1257"/>
                    <a:pt x="4851" y="1262"/>
                    <a:pt x="4860" y="1262"/>
                  </a:cubicBezTo>
                  <a:cubicBezTo>
                    <a:pt x="4869" y="1262"/>
                    <a:pt x="4873" y="1257"/>
                    <a:pt x="4868" y="1251"/>
                  </a:cubicBezTo>
                  <a:cubicBezTo>
                    <a:pt x="4864" y="1246"/>
                    <a:pt x="4854" y="1241"/>
                    <a:pt x="4845" y="1241"/>
                  </a:cubicBezTo>
                  <a:cubicBezTo>
                    <a:pt x="4845" y="1241"/>
                    <a:pt x="4845" y="1241"/>
                    <a:pt x="4845" y="1241"/>
                  </a:cubicBezTo>
                  <a:moveTo>
                    <a:pt x="4889" y="1241"/>
                  </a:moveTo>
                  <a:cubicBezTo>
                    <a:pt x="4880" y="1241"/>
                    <a:pt x="4877" y="1246"/>
                    <a:pt x="4881" y="1251"/>
                  </a:cubicBezTo>
                  <a:cubicBezTo>
                    <a:pt x="4885" y="1257"/>
                    <a:pt x="4896" y="1262"/>
                    <a:pt x="4905" y="1262"/>
                  </a:cubicBezTo>
                  <a:cubicBezTo>
                    <a:pt x="4914" y="1262"/>
                    <a:pt x="4917" y="1257"/>
                    <a:pt x="4913" y="1251"/>
                  </a:cubicBezTo>
                  <a:cubicBezTo>
                    <a:pt x="4909" y="1246"/>
                    <a:pt x="4898" y="1241"/>
                    <a:pt x="4889" y="1241"/>
                  </a:cubicBezTo>
                  <a:cubicBezTo>
                    <a:pt x="4889" y="1241"/>
                    <a:pt x="4889" y="1241"/>
                    <a:pt x="4889" y="1241"/>
                  </a:cubicBezTo>
                  <a:moveTo>
                    <a:pt x="4935" y="1241"/>
                  </a:moveTo>
                  <a:cubicBezTo>
                    <a:pt x="4926" y="1241"/>
                    <a:pt x="4922" y="1246"/>
                    <a:pt x="4927" y="1251"/>
                  </a:cubicBezTo>
                  <a:cubicBezTo>
                    <a:pt x="4931" y="1257"/>
                    <a:pt x="4942" y="1262"/>
                    <a:pt x="4951" y="1262"/>
                  </a:cubicBezTo>
                  <a:cubicBezTo>
                    <a:pt x="4960" y="1262"/>
                    <a:pt x="4963" y="1257"/>
                    <a:pt x="4959" y="1251"/>
                  </a:cubicBezTo>
                  <a:cubicBezTo>
                    <a:pt x="4954" y="1246"/>
                    <a:pt x="4944" y="1241"/>
                    <a:pt x="4935" y="1241"/>
                  </a:cubicBezTo>
                  <a:cubicBezTo>
                    <a:pt x="4935" y="1241"/>
                    <a:pt x="4935" y="1241"/>
                    <a:pt x="4935" y="1241"/>
                  </a:cubicBezTo>
                  <a:moveTo>
                    <a:pt x="4981" y="1241"/>
                  </a:moveTo>
                  <a:cubicBezTo>
                    <a:pt x="4972" y="1241"/>
                    <a:pt x="4969" y="1246"/>
                    <a:pt x="4973" y="1251"/>
                  </a:cubicBezTo>
                  <a:cubicBezTo>
                    <a:pt x="4978" y="1257"/>
                    <a:pt x="4989" y="1262"/>
                    <a:pt x="4998" y="1262"/>
                  </a:cubicBezTo>
                  <a:cubicBezTo>
                    <a:pt x="5006" y="1261"/>
                    <a:pt x="5010" y="1257"/>
                    <a:pt x="5005" y="1251"/>
                  </a:cubicBezTo>
                  <a:cubicBezTo>
                    <a:pt x="5001" y="1245"/>
                    <a:pt x="4990" y="1241"/>
                    <a:pt x="4981" y="1241"/>
                  </a:cubicBezTo>
                  <a:cubicBezTo>
                    <a:pt x="4981" y="1241"/>
                    <a:pt x="4981" y="1241"/>
                    <a:pt x="4981" y="1241"/>
                  </a:cubicBezTo>
                  <a:moveTo>
                    <a:pt x="243" y="1228"/>
                  </a:moveTo>
                  <a:cubicBezTo>
                    <a:pt x="234" y="1228"/>
                    <a:pt x="224" y="1232"/>
                    <a:pt x="220" y="1238"/>
                  </a:cubicBezTo>
                  <a:cubicBezTo>
                    <a:pt x="216" y="1243"/>
                    <a:pt x="219" y="1248"/>
                    <a:pt x="228" y="1248"/>
                  </a:cubicBezTo>
                  <a:cubicBezTo>
                    <a:pt x="237" y="1248"/>
                    <a:pt x="248" y="1243"/>
                    <a:pt x="251" y="1238"/>
                  </a:cubicBezTo>
                  <a:cubicBezTo>
                    <a:pt x="255" y="1232"/>
                    <a:pt x="252" y="1228"/>
                    <a:pt x="243" y="1228"/>
                  </a:cubicBezTo>
                  <a:cubicBezTo>
                    <a:pt x="243" y="1228"/>
                    <a:pt x="243" y="1228"/>
                    <a:pt x="243" y="1228"/>
                  </a:cubicBezTo>
                  <a:moveTo>
                    <a:pt x="288" y="1227"/>
                  </a:moveTo>
                  <a:cubicBezTo>
                    <a:pt x="279" y="1228"/>
                    <a:pt x="269" y="1232"/>
                    <a:pt x="265" y="1238"/>
                  </a:cubicBezTo>
                  <a:cubicBezTo>
                    <a:pt x="261" y="1243"/>
                    <a:pt x="265" y="1248"/>
                    <a:pt x="274" y="1248"/>
                  </a:cubicBezTo>
                  <a:cubicBezTo>
                    <a:pt x="283" y="1248"/>
                    <a:pt x="293" y="1243"/>
                    <a:pt x="297" y="1238"/>
                  </a:cubicBezTo>
                  <a:cubicBezTo>
                    <a:pt x="301" y="1232"/>
                    <a:pt x="297" y="1227"/>
                    <a:pt x="288" y="1227"/>
                  </a:cubicBezTo>
                  <a:cubicBezTo>
                    <a:pt x="288" y="1227"/>
                    <a:pt x="288" y="1227"/>
                    <a:pt x="288" y="1227"/>
                  </a:cubicBezTo>
                  <a:moveTo>
                    <a:pt x="333" y="1227"/>
                  </a:moveTo>
                  <a:cubicBezTo>
                    <a:pt x="325" y="1227"/>
                    <a:pt x="314" y="1232"/>
                    <a:pt x="310" y="1238"/>
                  </a:cubicBezTo>
                  <a:cubicBezTo>
                    <a:pt x="307" y="1243"/>
                    <a:pt x="311" y="1248"/>
                    <a:pt x="319" y="1248"/>
                  </a:cubicBezTo>
                  <a:cubicBezTo>
                    <a:pt x="328" y="1248"/>
                    <a:pt x="339" y="1243"/>
                    <a:pt x="342" y="1237"/>
                  </a:cubicBezTo>
                  <a:cubicBezTo>
                    <a:pt x="346" y="1232"/>
                    <a:pt x="342" y="1227"/>
                    <a:pt x="333" y="1227"/>
                  </a:cubicBezTo>
                  <a:cubicBezTo>
                    <a:pt x="333" y="1227"/>
                    <a:pt x="333" y="1227"/>
                    <a:pt x="333" y="1227"/>
                  </a:cubicBezTo>
                  <a:moveTo>
                    <a:pt x="378" y="1227"/>
                  </a:moveTo>
                  <a:cubicBezTo>
                    <a:pt x="370" y="1227"/>
                    <a:pt x="360" y="1232"/>
                    <a:pt x="356" y="1237"/>
                  </a:cubicBezTo>
                  <a:cubicBezTo>
                    <a:pt x="352" y="1243"/>
                    <a:pt x="356" y="1248"/>
                    <a:pt x="365" y="1248"/>
                  </a:cubicBezTo>
                  <a:cubicBezTo>
                    <a:pt x="374" y="1248"/>
                    <a:pt x="384" y="1243"/>
                    <a:pt x="388" y="1237"/>
                  </a:cubicBezTo>
                  <a:cubicBezTo>
                    <a:pt x="391" y="1232"/>
                    <a:pt x="387" y="1227"/>
                    <a:pt x="379" y="1227"/>
                  </a:cubicBezTo>
                  <a:cubicBezTo>
                    <a:pt x="379" y="1227"/>
                    <a:pt x="379" y="1227"/>
                    <a:pt x="378" y="1227"/>
                  </a:cubicBezTo>
                  <a:moveTo>
                    <a:pt x="424" y="1227"/>
                  </a:moveTo>
                  <a:cubicBezTo>
                    <a:pt x="415" y="1227"/>
                    <a:pt x="405" y="1232"/>
                    <a:pt x="401" y="1237"/>
                  </a:cubicBezTo>
                  <a:cubicBezTo>
                    <a:pt x="398" y="1243"/>
                    <a:pt x="402" y="1247"/>
                    <a:pt x="411" y="1247"/>
                  </a:cubicBezTo>
                  <a:cubicBezTo>
                    <a:pt x="420" y="1247"/>
                    <a:pt x="430" y="1243"/>
                    <a:pt x="433" y="1237"/>
                  </a:cubicBezTo>
                  <a:cubicBezTo>
                    <a:pt x="437" y="1232"/>
                    <a:pt x="433" y="1227"/>
                    <a:pt x="424" y="1227"/>
                  </a:cubicBezTo>
                  <a:cubicBezTo>
                    <a:pt x="424" y="1227"/>
                    <a:pt x="424" y="1227"/>
                    <a:pt x="424" y="1227"/>
                  </a:cubicBezTo>
                  <a:moveTo>
                    <a:pt x="471" y="1227"/>
                  </a:moveTo>
                  <a:cubicBezTo>
                    <a:pt x="462" y="1227"/>
                    <a:pt x="452" y="1232"/>
                    <a:pt x="448" y="1237"/>
                  </a:cubicBezTo>
                  <a:cubicBezTo>
                    <a:pt x="445" y="1243"/>
                    <a:pt x="449" y="1247"/>
                    <a:pt x="458" y="1247"/>
                  </a:cubicBezTo>
                  <a:cubicBezTo>
                    <a:pt x="467" y="1247"/>
                    <a:pt x="477" y="1243"/>
                    <a:pt x="480" y="1237"/>
                  </a:cubicBezTo>
                  <a:cubicBezTo>
                    <a:pt x="484" y="1232"/>
                    <a:pt x="480" y="1227"/>
                    <a:pt x="471" y="1227"/>
                  </a:cubicBezTo>
                  <a:cubicBezTo>
                    <a:pt x="471" y="1227"/>
                    <a:pt x="471" y="1227"/>
                    <a:pt x="471" y="1227"/>
                  </a:cubicBezTo>
                  <a:moveTo>
                    <a:pt x="516" y="1227"/>
                  </a:moveTo>
                  <a:cubicBezTo>
                    <a:pt x="507" y="1227"/>
                    <a:pt x="497" y="1232"/>
                    <a:pt x="494" y="1237"/>
                  </a:cubicBezTo>
                  <a:cubicBezTo>
                    <a:pt x="490" y="1243"/>
                    <a:pt x="495" y="1247"/>
                    <a:pt x="503" y="1247"/>
                  </a:cubicBezTo>
                  <a:cubicBezTo>
                    <a:pt x="512" y="1247"/>
                    <a:pt x="522" y="1243"/>
                    <a:pt x="526" y="1237"/>
                  </a:cubicBezTo>
                  <a:cubicBezTo>
                    <a:pt x="529" y="1231"/>
                    <a:pt x="525" y="1227"/>
                    <a:pt x="516" y="1227"/>
                  </a:cubicBezTo>
                  <a:cubicBezTo>
                    <a:pt x="516" y="1227"/>
                    <a:pt x="516" y="1227"/>
                    <a:pt x="516" y="1227"/>
                  </a:cubicBezTo>
                  <a:moveTo>
                    <a:pt x="562" y="1227"/>
                  </a:moveTo>
                  <a:cubicBezTo>
                    <a:pt x="553" y="1227"/>
                    <a:pt x="543" y="1231"/>
                    <a:pt x="539" y="1237"/>
                  </a:cubicBezTo>
                  <a:cubicBezTo>
                    <a:pt x="536" y="1243"/>
                    <a:pt x="540" y="1247"/>
                    <a:pt x="549" y="1247"/>
                  </a:cubicBezTo>
                  <a:cubicBezTo>
                    <a:pt x="558" y="1247"/>
                    <a:pt x="568" y="1243"/>
                    <a:pt x="571" y="1237"/>
                  </a:cubicBezTo>
                  <a:cubicBezTo>
                    <a:pt x="575" y="1231"/>
                    <a:pt x="570" y="1227"/>
                    <a:pt x="562" y="1227"/>
                  </a:cubicBezTo>
                  <a:cubicBezTo>
                    <a:pt x="562" y="1227"/>
                    <a:pt x="562" y="1227"/>
                    <a:pt x="562" y="1227"/>
                  </a:cubicBezTo>
                  <a:moveTo>
                    <a:pt x="608" y="1227"/>
                  </a:moveTo>
                  <a:cubicBezTo>
                    <a:pt x="599" y="1227"/>
                    <a:pt x="589" y="1231"/>
                    <a:pt x="586" y="1237"/>
                  </a:cubicBezTo>
                  <a:cubicBezTo>
                    <a:pt x="582" y="1242"/>
                    <a:pt x="587" y="1247"/>
                    <a:pt x="595" y="1247"/>
                  </a:cubicBezTo>
                  <a:cubicBezTo>
                    <a:pt x="604" y="1247"/>
                    <a:pt x="614" y="1242"/>
                    <a:pt x="617" y="1237"/>
                  </a:cubicBezTo>
                  <a:cubicBezTo>
                    <a:pt x="621" y="1231"/>
                    <a:pt x="616" y="1227"/>
                    <a:pt x="608" y="1227"/>
                  </a:cubicBezTo>
                  <a:cubicBezTo>
                    <a:pt x="608" y="1227"/>
                    <a:pt x="608" y="1227"/>
                    <a:pt x="608" y="1227"/>
                  </a:cubicBezTo>
                  <a:moveTo>
                    <a:pt x="653" y="1227"/>
                  </a:moveTo>
                  <a:cubicBezTo>
                    <a:pt x="644" y="1227"/>
                    <a:pt x="634" y="1231"/>
                    <a:pt x="631" y="1237"/>
                  </a:cubicBezTo>
                  <a:cubicBezTo>
                    <a:pt x="628" y="1242"/>
                    <a:pt x="632" y="1247"/>
                    <a:pt x="641" y="1247"/>
                  </a:cubicBezTo>
                  <a:cubicBezTo>
                    <a:pt x="650" y="1247"/>
                    <a:pt x="659" y="1242"/>
                    <a:pt x="663" y="1237"/>
                  </a:cubicBezTo>
                  <a:cubicBezTo>
                    <a:pt x="666" y="1231"/>
                    <a:pt x="661" y="1227"/>
                    <a:pt x="653" y="1227"/>
                  </a:cubicBezTo>
                  <a:cubicBezTo>
                    <a:pt x="653" y="1227"/>
                    <a:pt x="653" y="1227"/>
                    <a:pt x="653" y="1227"/>
                  </a:cubicBezTo>
                  <a:moveTo>
                    <a:pt x="698" y="1226"/>
                  </a:moveTo>
                  <a:cubicBezTo>
                    <a:pt x="689" y="1226"/>
                    <a:pt x="680" y="1231"/>
                    <a:pt x="676" y="1237"/>
                  </a:cubicBezTo>
                  <a:cubicBezTo>
                    <a:pt x="673" y="1242"/>
                    <a:pt x="678" y="1247"/>
                    <a:pt x="687" y="1247"/>
                  </a:cubicBezTo>
                  <a:cubicBezTo>
                    <a:pt x="695" y="1247"/>
                    <a:pt x="705" y="1242"/>
                    <a:pt x="708" y="1237"/>
                  </a:cubicBezTo>
                  <a:cubicBezTo>
                    <a:pt x="711" y="1231"/>
                    <a:pt x="707" y="1226"/>
                    <a:pt x="698" y="1226"/>
                  </a:cubicBezTo>
                  <a:cubicBezTo>
                    <a:pt x="698" y="1226"/>
                    <a:pt x="698" y="1226"/>
                    <a:pt x="698" y="1226"/>
                  </a:cubicBezTo>
                  <a:moveTo>
                    <a:pt x="743" y="1226"/>
                  </a:moveTo>
                  <a:cubicBezTo>
                    <a:pt x="734" y="1226"/>
                    <a:pt x="725" y="1231"/>
                    <a:pt x="722" y="1237"/>
                  </a:cubicBezTo>
                  <a:cubicBezTo>
                    <a:pt x="719" y="1242"/>
                    <a:pt x="723" y="1247"/>
                    <a:pt x="732" y="1247"/>
                  </a:cubicBezTo>
                  <a:cubicBezTo>
                    <a:pt x="741" y="1247"/>
                    <a:pt x="750" y="1242"/>
                    <a:pt x="754" y="1236"/>
                  </a:cubicBezTo>
                  <a:cubicBezTo>
                    <a:pt x="757" y="1231"/>
                    <a:pt x="752" y="1226"/>
                    <a:pt x="743" y="1226"/>
                  </a:cubicBezTo>
                  <a:cubicBezTo>
                    <a:pt x="743" y="1226"/>
                    <a:pt x="743" y="1226"/>
                    <a:pt x="743" y="1226"/>
                  </a:cubicBezTo>
                  <a:moveTo>
                    <a:pt x="789" y="1226"/>
                  </a:moveTo>
                  <a:cubicBezTo>
                    <a:pt x="780" y="1226"/>
                    <a:pt x="770" y="1231"/>
                    <a:pt x="767" y="1236"/>
                  </a:cubicBezTo>
                  <a:cubicBezTo>
                    <a:pt x="764" y="1242"/>
                    <a:pt x="769" y="1247"/>
                    <a:pt x="778" y="1247"/>
                  </a:cubicBezTo>
                  <a:cubicBezTo>
                    <a:pt x="787" y="1247"/>
                    <a:pt x="796" y="1242"/>
                    <a:pt x="799" y="1236"/>
                  </a:cubicBezTo>
                  <a:cubicBezTo>
                    <a:pt x="802" y="1231"/>
                    <a:pt x="798" y="1226"/>
                    <a:pt x="789" y="1226"/>
                  </a:cubicBezTo>
                  <a:cubicBezTo>
                    <a:pt x="789" y="1226"/>
                    <a:pt x="789" y="1226"/>
                    <a:pt x="789" y="1226"/>
                  </a:cubicBezTo>
                  <a:moveTo>
                    <a:pt x="835" y="1226"/>
                  </a:moveTo>
                  <a:cubicBezTo>
                    <a:pt x="826" y="1226"/>
                    <a:pt x="816" y="1231"/>
                    <a:pt x="813" y="1236"/>
                  </a:cubicBezTo>
                  <a:cubicBezTo>
                    <a:pt x="810" y="1242"/>
                    <a:pt x="815" y="1246"/>
                    <a:pt x="824" y="1246"/>
                  </a:cubicBezTo>
                  <a:cubicBezTo>
                    <a:pt x="833" y="1246"/>
                    <a:pt x="842" y="1242"/>
                    <a:pt x="845" y="1236"/>
                  </a:cubicBezTo>
                  <a:cubicBezTo>
                    <a:pt x="848" y="1231"/>
                    <a:pt x="843" y="1226"/>
                    <a:pt x="835" y="1226"/>
                  </a:cubicBezTo>
                  <a:cubicBezTo>
                    <a:pt x="835" y="1226"/>
                    <a:pt x="835" y="1226"/>
                    <a:pt x="835" y="1226"/>
                  </a:cubicBezTo>
                  <a:moveTo>
                    <a:pt x="880" y="1226"/>
                  </a:moveTo>
                  <a:cubicBezTo>
                    <a:pt x="871" y="1226"/>
                    <a:pt x="862" y="1231"/>
                    <a:pt x="859" y="1236"/>
                  </a:cubicBezTo>
                  <a:cubicBezTo>
                    <a:pt x="856" y="1242"/>
                    <a:pt x="861" y="1246"/>
                    <a:pt x="869" y="1246"/>
                  </a:cubicBezTo>
                  <a:cubicBezTo>
                    <a:pt x="878" y="1246"/>
                    <a:pt x="888" y="1242"/>
                    <a:pt x="891" y="1236"/>
                  </a:cubicBezTo>
                  <a:cubicBezTo>
                    <a:pt x="893" y="1231"/>
                    <a:pt x="889" y="1226"/>
                    <a:pt x="880" y="1226"/>
                  </a:cubicBezTo>
                  <a:cubicBezTo>
                    <a:pt x="880" y="1226"/>
                    <a:pt x="880" y="1226"/>
                    <a:pt x="880" y="1226"/>
                  </a:cubicBezTo>
                  <a:moveTo>
                    <a:pt x="925" y="1226"/>
                  </a:moveTo>
                  <a:cubicBezTo>
                    <a:pt x="916" y="1226"/>
                    <a:pt x="907" y="1230"/>
                    <a:pt x="904" y="1236"/>
                  </a:cubicBezTo>
                  <a:cubicBezTo>
                    <a:pt x="901" y="1242"/>
                    <a:pt x="906" y="1246"/>
                    <a:pt x="915" y="1246"/>
                  </a:cubicBezTo>
                  <a:cubicBezTo>
                    <a:pt x="924" y="1246"/>
                    <a:pt x="933" y="1242"/>
                    <a:pt x="936" y="1236"/>
                  </a:cubicBezTo>
                  <a:cubicBezTo>
                    <a:pt x="939" y="1230"/>
                    <a:pt x="934" y="1226"/>
                    <a:pt x="925" y="1226"/>
                  </a:cubicBezTo>
                  <a:cubicBezTo>
                    <a:pt x="925" y="1226"/>
                    <a:pt x="925" y="1226"/>
                    <a:pt x="925" y="1226"/>
                  </a:cubicBezTo>
                  <a:moveTo>
                    <a:pt x="970" y="1226"/>
                  </a:moveTo>
                  <a:cubicBezTo>
                    <a:pt x="962" y="1226"/>
                    <a:pt x="952" y="1230"/>
                    <a:pt x="950" y="1236"/>
                  </a:cubicBezTo>
                  <a:cubicBezTo>
                    <a:pt x="947" y="1242"/>
                    <a:pt x="952" y="1246"/>
                    <a:pt x="961" y="1246"/>
                  </a:cubicBezTo>
                  <a:cubicBezTo>
                    <a:pt x="969" y="1246"/>
                    <a:pt x="979" y="1241"/>
                    <a:pt x="981" y="1236"/>
                  </a:cubicBezTo>
                  <a:cubicBezTo>
                    <a:pt x="984" y="1230"/>
                    <a:pt x="979" y="1226"/>
                    <a:pt x="970" y="1226"/>
                  </a:cubicBezTo>
                  <a:cubicBezTo>
                    <a:pt x="970" y="1226"/>
                    <a:pt x="970" y="1226"/>
                    <a:pt x="970" y="1226"/>
                  </a:cubicBezTo>
                  <a:moveTo>
                    <a:pt x="1016" y="1226"/>
                  </a:moveTo>
                  <a:cubicBezTo>
                    <a:pt x="1007" y="1226"/>
                    <a:pt x="998" y="1230"/>
                    <a:pt x="995" y="1236"/>
                  </a:cubicBezTo>
                  <a:cubicBezTo>
                    <a:pt x="993" y="1241"/>
                    <a:pt x="998" y="1246"/>
                    <a:pt x="1006" y="1246"/>
                  </a:cubicBezTo>
                  <a:cubicBezTo>
                    <a:pt x="1015" y="1246"/>
                    <a:pt x="1025" y="1241"/>
                    <a:pt x="1027" y="1236"/>
                  </a:cubicBezTo>
                  <a:cubicBezTo>
                    <a:pt x="1030" y="1230"/>
                    <a:pt x="1025" y="1226"/>
                    <a:pt x="1016" y="1226"/>
                  </a:cubicBezTo>
                  <a:cubicBezTo>
                    <a:pt x="1016" y="1226"/>
                    <a:pt x="1016" y="1226"/>
                    <a:pt x="1016" y="1226"/>
                  </a:cubicBezTo>
                  <a:moveTo>
                    <a:pt x="1062" y="1226"/>
                  </a:moveTo>
                  <a:cubicBezTo>
                    <a:pt x="1053" y="1226"/>
                    <a:pt x="1044" y="1230"/>
                    <a:pt x="1041" y="1236"/>
                  </a:cubicBezTo>
                  <a:cubicBezTo>
                    <a:pt x="1039" y="1241"/>
                    <a:pt x="1044" y="1246"/>
                    <a:pt x="1053" y="1246"/>
                  </a:cubicBezTo>
                  <a:cubicBezTo>
                    <a:pt x="1061" y="1246"/>
                    <a:pt x="1071" y="1241"/>
                    <a:pt x="1073" y="1236"/>
                  </a:cubicBezTo>
                  <a:cubicBezTo>
                    <a:pt x="1076" y="1230"/>
                    <a:pt x="1071" y="1226"/>
                    <a:pt x="1062" y="1226"/>
                  </a:cubicBezTo>
                  <a:cubicBezTo>
                    <a:pt x="1062" y="1226"/>
                    <a:pt x="1062" y="1226"/>
                    <a:pt x="1062" y="1226"/>
                  </a:cubicBezTo>
                  <a:moveTo>
                    <a:pt x="1103" y="1225"/>
                  </a:moveTo>
                  <a:cubicBezTo>
                    <a:pt x="1094" y="1225"/>
                    <a:pt x="1085" y="1230"/>
                    <a:pt x="1082" y="1236"/>
                  </a:cubicBezTo>
                  <a:cubicBezTo>
                    <a:pt x="1080" y="1241"/>
                    <a:pt x="1085" y="1246"/>
                    <a:pt x="1094" y="1246"/>
                  </a:cubicBezTo>
                  <a:cubicBezTo>
                    <a:pt x="1103" y="1246"/>
                    <a:pt x="1112" y="1241"/>
                    <a:pt x="1114" y="1236"/>
                  </a:cubicBezTo>
                  <a:cubicBezTo>
                    <a:pt x="1117" y="1230"/>
                    <a:pt x="1112" y="1225"/>
                    <a:pt x="1103" y="1225"/>
                  </a:cubicBezTo>
                  <a:cubicBezTo>
                    <a:pt x="1103" y="1225"/>
                    <a:pt x="1103" y="1225"/>
                    <a:pt x="1103" y="1225"/>
                  </a:cubicBezTo>
                  <a:moveTo>
                    <a:pt x="1152" y="1225"/>
                  </a:moveTo>
                  <a:cubicBezTo>
                    <a:pt x="1143" y="1225"/>
                    <a:pt x="1134" y="1230"/>
                    <a:pt x="1132" y="1235"/>
                  </a:cubicBezTo>
                  <a:cubicBezTo>
                    <a:pt x="1130" y="1241"/>
                    <a:pt x="1135" y="1246"/>
                    <a:pt x="1144" y="1246"/>
                  </a:cubicBezTo>
                  <a:cubicBezTo>
                    <a:pt x="1152" y="1246"/>
                    <a:pt x="1161" y="1241"/>
                    <a:pt x="1164" y="1235"/>
                  </a:cubicBezTo>
                  <a:cubicBezTo>
                    <a:pt x="1166" y="1230"/>
                    <a:pt x="1161" y="1225"/>
                    <a:pt x="1152" y="1225"/>
                  </a:cubicBezTo>
                  <a:cubicBezTo>
                    <a:pt x="1152" y="1225"/>
                    <a:pt x="1152" y="1225"/>
                    <a:pt x="1152" y="1225"/>
                  </a:cubicBezTo>
                  <a:moveTo>
                    <a:pt x="2195" y="1224"/>
                  </a:moveTo>
                  <a:cubicBezTo>
                    <a:pt x="2186" y="1224"/>
                    <a:pt x="2178" y="1229"/>
                    <a:pt x="2178" y="1234"/>
                  </a:cubicBezTo>
                  <a:cubicBezTo>
                    <a:pt x="2177" y="1240"/>
                    <a:pt x="2184" y="1244"/>
                    <a:pt x="2193" y="1244"/>
                  </a:cubicBezTo>
                  <a:cubicBezTo>
                    <a:pt x="2202" y="1244"/>
                    <a:pt x="2209" y="1240"/>
                    <a:pt x="2210" y="1234"/>
                  </a:cubicBezTo>
                  <a:cubicBezTo>
                    <a:pt x="2210" y="1228"/>
                    <a:pt x="2204" y="1224"/>
                    <a:pt x="2195" y="1224"/>
                  </a:cubicBezTo>
                  <a:cubicBezTo>
                    <a:pt x="2195" y="1224"/>
                    <a:pt x="2195" y="1224"/>
                    <a:pt x="2195" y="1224"/>
                  </a:cubicBezTo>
                  <a:moveTo>
                    <a:pt x="2240" y="1224"/>
                  </a:moveTo>
                  <a:cubicBezTo>
                    <a:pt x="2231" y="1224"/>
                    <a:pt x="2224" y="1228"/>
                    <a:pt x="2223" y="1234"/>
                  </a:cubicBezTo>
                  <a:cubicBezTo>
                    <a:pt x="2223" y="1240"/>
                    <a:pt x="2230" y="1244"/>
                    <a:pt x="2238" y="1244"/>
                  </a:cubicBezTo>
                  <a:cubicBezTo>
                    <a:pt x="2247" y="1244"/>
                    <a:pt x="2255" y="1240"/>
                    <a:pt x="2255" y="1234"/>
                  </a:cubicBezTo>
                  <a:cubicBezTo>
                    <a:pt x="2255" y="1228"/>
                    <a:pt x="2249" y="1224"/>
                    <a:pt x="2240" y="1224"/>
                  </a:cubicBezTo>
                  <a:cubicBezTo>
                    <a:pt x="2240" y="1224"/>
                    <a:pt x="2240" y="1224"/>
                    <a:pt x="2240" y="1224"/>
                  </a:cubicBezTo>
                  <a:moveTo>
                    <a:pt x="2285" y="1224"/>
                  </a:moveTo>
                  <a:cubicBezTo>
                    <a:pt x="2277" y="1224"/>
                    <a:pt x="2269" y="1228"/>
                    <a:pt x="2269" y="1234"/>
                  </a:cubicBezTo>
                  <a:cubicBezTo>
                    <a:pt x="2268" y="1240"/>
                    <a:pt x="2275" y="1244"/>
                    <a:pt x="2284" y="1244"/>
                  </a:cubicBezTo>
                  <a:cubicBezTo>
                    <a:pt x="2293" y="1244"/>
                    <a:pt x="2300" y="1240"/>
                    <a:pt x="2301" y="1234"/>
                  </a:cubicBezTo>
                  <a:cubicBezTo>
                    <a:pt x="2301" y="1228"/>
                    <a:pt x="2294" y="1224"/>
                    <a:pt x="2285" y="1224"/>
                  </a:cubicBezTo>
                  <a:cubicBezTo>
                    <a:pt x="2285" y="1224"/>
                    <a:pt x="2285" y="1224"/>
                    <a:pt x="2285" y="1224"/>
                  </a:cubicBezTo>
                  <a:moveTo>
                    <a:pt x="2330" y="1224"/>
                  </a:moveTo>
                  <a:cubicBezTo>
                    <a:pt x="2321" y="1224"/>
                    <a:pt x="2314" y="1228"/>
                    <a:pt x="2314" y="1234"/>
                  </a:cubicBezTo>
                  <a:cubicBezTo>
                    <a:pt x="2313" y="1239"/>
                    <a:pt x="2320" y="1244"/>
                    <a:pt x="2329" y="1244"/>
                  </a:cubicBezTo>
                  <a:cubicBezTo>
                    <a:pt x="2338" y="1244"/>
                    <a:pt x="2345" y="1239"/>
                    <a:pt x="2346" y="1234"/>
                  </a:cubicBezTo>
                  <a:cubicBezTo>
                    <a:pt x="2346" y="1228"/>
                    <a:pt x="2339" y="1224"/>
                    <a:pt x="2330" y="1224"/>
                  </a:cubicBezTo>
                  <a:cubicBezTo>
                    <a:pt x="2330" y="1224"/>
                    <a:pt x="2330" y="1224"/>
                    <a:pt x="2330" y="1224"/>
                  </a:cubicBezTo>
                  <a:moveTo>
                    <a:pt x="2375" y="1223"/>
                  </a:moveTo>
                  <a:cubicBezTo>
                    <a:pt x="2366" y="1223"/>
                    <a:pt x="2359" y="1228"/>
                    <a:pt x="2359" y="1234"/>
                  </a:cubicBezTo>
                  <a:cubicBezTo>
                    <a:pt x="2359" y="1239"/>
                    <a:pt x="2366" y="1244"/>
                    <a:pt x="2375" y="1244"/>
                  </a:cubicBezTo>
                  <a:cubicBezTo>
                    <a:pt x="2383" y="1244"/>
                    <a:pt x="2391" y="1239"/>
                    <a:pt x="2391" y="1234"/>
                  </a:cubicBezTo>
                  <a:cubicBezTo>
                    <a:pt x="2391" y="1228"/>
                    <a:pt x="2384" y="1223"/>
                    <a:pt x="2375" y="1223"/>
                  </a:cubicBezTo>
                  <a:cubicBezTo>
                    <a:pt x="2375" y="1223"/>
                    <a:pt x="2375" y="1223"/>
                    <a:pt x="2375" y="1223"/>
                  </a:cubicBezTo>
                  <a:moveTo>
                    <a:pt x="2421" y="1223"/>
                  </a:moveTo>
                  <a:cubicBezTo>
                    <a:pt x="2412" y="1223"/>
                    <a:pt x="2405" y="1228"/>
                    <a:pt x="2405" y="1234"/>
                  </a:cubicBezTo>
                  <a:cubicBezTo>
                    <a:pt x="2405" y="1239"/>
                    <a:pt x="2412" y="1244"/>
                    <a:pt x="2420" y="1244"/>
                  </a:cubicBezTo>
                  <a:cubicBezTo>
                    <a:pt x="2429" y="1244"/>
                    <a:pt x="2436" y="1239"/>
                    <a:pt x="2436" y="1234"/>
                  </a:cubicBezTo>
                  <a:cubicBezTo>
                    <a:pt x="2437" y="1228"/>
                    <a:pt x="2430" y="1223"/>
                    <a:pt x="2421" y="1223"/>
                  </a:cubicBezTo>
                  <a:cubicBezTo>
                    <a:pt x="2421" y="1223"/>
                    <a:pt x="2421" y="1223"/>
                    <a:pt x="2421" y="1223"/>
                  </a:cubicBezTo>
                  <a:moveTo>
                    <a:pt x="2468" y="1223"/>
                  </a:moveTo>
                  <a:cubicBezTo>
                    <a:pt x="2459" y="1223"/>
                    <a:pt x="2452" y="1228"/>
                    <a:pt x="2452" y="1233"/>
                  </a:cubicBezTo>
                  <a:cubicBezTo>
                    <a:pt x="2452" y="1239"/>
                    <a:pt x="2459" y="1244"/>
                    <a:pt x="2468" y="1244"/>
                  </a:cubicBezTo>
                  <a:cubicBezTo>
                    <a:pt x="2476" y="1244"/>
                    <a:pt x="2484" y="1239"/>
                    <a:pt x="2483" y="1233"/>
                  </a:cubicBezTo>
                  <a:cubicBezTo>
                    <a:pt x="2483" y="1228"/>
                    <a:pt x="2476" y="1223"/>
                    <a:pt x="2468" y="1223"/>
                  </a:cubicBezTo>
                  <a:cubicBezTo>
                    <a:pt x="2468" y="1223"/>
                    <a:pt x="2468" y="1223"/>
                    <a:pt x="2468" y="1223"/>
                  </a:cubicBezTo>
                  <a:moveTo>
                    <a:pt x="2513" y="1223"/>
                  </a:moveTo>
                  <a:cubicBezTo>
                    <a:pt x="2504" y="1223"/>
                    <a:pt x="2497" y="1228"/>
                    <a:pt x="2497" y="1233"/>
                  </a:cubicBezTo>
                  <a:cubicBezTo>
                    <a:pt x="2497" y="1239"/>
                    <a:pt x="2504" y="1244"/>
                    <a:pt x="2513" y="1244"/>
                  </a:cubicBezTo>
                  <a:cubicBezTo>
                    <a:pt x="2522" y="1244"/>
                    <a:pt x="2529" y="1239"/>
                    <a:pt x="2529" y="1233"/>
                  </a:cubicBezTo>
                  <a:cubicBezTo>
                    <a:pt x="2529" y="1228"/>
                    <a:pt x="2521" y="1223"/>
                    <a:pt x="2513" y="1223"/>
                  </a:cubicBezTo>
                  <a:cubicBezTo>
                    <a:pt x="2513" y="1223"/>
                    <a:pt x="2513" y="1223"/>
                    <a:pt x="2513" y="1223"/>
                  </a:cubicBezTo>
                  <a:moveTo>
                    <a:pt x="2558" y="1223"/>
                  </a:moveTo>
                  <a:cubicBezTo>
                    <a:pt x="2549" y="1223"/>
                    <a:pt x="2542" y="1228"/>
                    <a:pt x="2542" y="1233"/>
                  </a:cubicBezTo>
                  <a:cubicBezTo>
                    <a:pt x="2543" y="1239"/>
                    <a:pt x="2550" y="1243"/>
                    <a:pt x="2559" y="1243"/>
                  </a:cubicBezTo>
                  <a:cubicBezTo>
                    <a:pt x="2568" y="1243"/>
                    <a:pt x="2575" y="1239"/>
                    <a:pt x="2574" y="1233"/>
                  </a:cubicBezTo>
                  <a:cubicBezTo>
                    <a:pt x="2574" y="1228"/>
                    <a:pt x="2567" y="1223"/>
                    <a:pt x="2558" y="1223"/>
                  </a:cubicBezTo>
                  <a:cubicBezTo>
                    <a:pt x="2558" y="1223"/>
                    <a:pt x="2558" y="1223"/>
                    <a:pt x="2558" y="1223"/>
                  </a:cubicBezTo>
                  <a:moveTo>
                    <a:pt x="2604" y="1223"/>
                  </a:moveTo>
                  <a:cubicBezTo>
                    <a:pt x="2595" y="1223"/>
                    <a:pt x="2588" y="1227"/>
                    <a:pt x="2589" y="1233"/>
                  </a:cubicBezTo>
                  <a:cubicBezTo>
                    <a:pt x="2589" y="1239"/>
                    <a:pt x="2596" y="1243"/>
                    <a:pt x="2605" y="1243"/>
                  </a:cubicBezTo>
                  <a:cubicBezTo>
                    <a:pt x="2614" y="1243"/>
                    <a:pt x="2621" y="1239"/>
                    <a:pt x="2620" y="1233"/>
                  </a:cubicBezTo>
                  <a:cubicBezTo>
                    <a:pt x="2620" y="1227"/>
                    <a:pt x="2613" y="1223"/>
                    <a:pt x="2604" y="1223"/>
                  </a:cubicBezTo>
                  <a:cubicBezTo>
                    <a:pt x="2604" y="1223"/>
                    <a:pt x="2604" y="1223"/>
                    <a:pt x="2604" y="1223"/>
                  </a:cubicBezTo>
                  <a:moveTo>
                    <a:pt x="2649" y="1223"/>
                  </a:moveTo>
                  <a:cubicBezTo>
                    <a:pt x="2640" y="1223"/>
                    <a:pt x="2633" y="1227"/>
                    <a:pt x="2634" y="1233"/>
                  </a:cubicBezTo>
                  <a:cubicBezTo>
                    <a:pt x="2634" y="1239"/>
                    <a:pt x="2641" y="1243"/>
                    <a:pt x="2650" y="1243"/>
                  </a:cubicBezTo>
                  <a:cubicBezTo>
                    <a:pt x="2659" y="1243"/>
                    <a:pt x="2666" y="1239"/>
                    <a:pt x="2666" y="1233"/>
                  </a:cubicBezTo>
                  <a:cubicBezTo>
                    <a:pt x="2665" y="1227"/>
                    <a:pt x="2658" y="1223"/>
                    <a:pt x="2649" y="1223"/>
                  </a:cubicBezTo>
                  <a:cubicBezTo>
                    <a:pt x="2649" y="1223"/>
                    <a:pt x="2649" y="1223"/>
                    <a:pt x="2649" y="1223"/>
                  </a:cubicBezTo>
                  <a:moveTo>
                    <a:pt x="2695" y="1223"/>
                  </a:moveTo>
                  <a:cubicBezTo>
                    <a:pt x="2686" y="1223"/>
                    <a:pt x="2679" y="1227"/>
                    <a:pt x="2680" y="1233"/>
                  </a:cubicBezTo>
                  <a:cubicBezTo>
                    <a:pt x="2680" y="1239"/>
                    <a:pt x="2688" y="1243"/>
                    <a:pt x="2696" y="1243"/>
                  </a:cubicBezTo>
                  <a:cubicBezTo>
                    <a:pt x="2705" y="1243"/>
                    <a:pt x="2712" y="1238"/>
                    <a:pt x="2712" y="1233"/>
                  </a:cubicBezTo>
                  <a:cubicBezTo>
                    <a:pt x="2711" y="1227"/>
                    <a:pt x="2704" y="1223"/>
                    <a:pt x="2695" y="1223"/>
                  </a:cubicBezTo>
                  <a:cubicBezTo>
                    <a:pt x="2695" y="1223"/>
                    <a:pt x="2695" y="1223"/>
                    <a:pt x="2695" y="1223"/>
                  </a:cubicBezTo>
                  <a:moveTo>
                    <a:pt x="4145" y="1219"/>
                  </a:moveTo>
                  <a:cubicBezTo>
                    <a:pt x="4137" y="1219"/>
                    <a:pt x="4132" y="1223"/>
                    <a:pt x="4135" y="1229"/>
                  </a:cubicBezTo>
                  <a:cubicBezTo>
                    <a:pt x="4138" y="1235"/>
                    <a:pt x="4148" y="1239"/>
                    <a:pt x="4156" y="1239"/>
                  </a:cubicBezTo>
                  <a:cubicBezTo>
                    <a:pt x="4165" y="1239"/>
                    <a:pt x="4170" y="1235"/>
                    <a:pt x="4167" y="1229"/>
                  </a:cubicBezTo>
                  <a:cubicBezTo>
                    <a:pt x="4164" y="1223"/>
                    <a:pt x="4154" y="1219"/>
                    <a:pt x="4145" y="1219"/>
                  </a:cubicBezTo>
                  <a:cubicBezTo>
                    <a:pt x="4145" y="1219"/>
                    <a:pt x="4145" y="1219"/>
                    <a:pt x="4145" y="1219"/>
                  </a:cubicBezTo>
                  <a:moveTo>
                    <a:pt x="4825" y="1215"/>
                  </a:moveTo>
                  <a:cubicBezTo>
                    <a:pt x="4816" y="1215"/>
                    <a:pt x="4813" y="1220"/>
                    <a:pt x="4817" y="1225"/>
                  </a:cubicBezTo>
                  <a:cubicBezTo>
                    <a:pt x="4821" y="1231"/>
                    <a:pt x="4832" y="1236"/>
                    <a:pt x="4840" y="1236"/>
                  </a:cubicBezTo>
                  <a:cubicBezTo>
                    <a:pt x="4849" y="1236"/>
                    <a:pt x="4853" y="1231"/>
                    <a:pt x="4849" y="1225"/>
                  </a:cubicBezTo>
                  <a:cubicBezTo>
                    <a:pt x="4844" y="1220"/>
                    <a:pt x="4834" y="1215"/>
                    <a:pt x="4825" y="1215"/>
                  </a:cubicBezTo>
                  <a:cubicBezTo>
                    <a:pt x="4825" y="1215"/>
                    <a:pt x="4825" y="1215"/>
                    <a:pt x="4825" y="1215"/>
                  </a:cubicBezTo>
                  <a:moveTo>
                    <a:pt x="4869" y="1215"/>
                  </a:moveTo>
                  <a:cubicBezTo>
                    <a:pt x="4860" y="1215"/>
                    <a:pt x="4857" y="1220"/>
                    <a:pt x="4861" y="1225"/>
                  </a:cubicBezTo>
                  <a:cubicBezTo>
                    <a:pt x="4865" y="1231"/>
                    <a:pt x="4876" y="1236"/>
                    <a:pt x="4885" y="1236"/>
                  </a:cubicBezTo>
                  <a:cubicBezTo>
                    <a:pt x="4894" y="1236"/>
                    <a:pt x="4897" y="1231"/>
                    <a:pt x="4893" y="1225"/>
                  </a:cubicBezTo>
                  <a:cubicBezTo>
                    <a:pt x="4888" y="1220"/>
                    <a:pt x="4878" y="1215"/>
                    <a:pt x="4869" y="1215"/>
                  </a:cubicBezTo>
                  <a:cubicBezTo>
                    <a:pt x="4869" y="1215"/>
                    <a:pt x="4869" y="1215"/>
                    <a:pt x="4869" y="1215"/>
                  </a:cubicBezTo>
                  <a:moveTo>
                    <a:pt x="4914" y="1215"/>
                  </a:moveTo>
                  <a:cubicBezTo>
                    <a:pt x="4906" y="1215"/>
                    <a:pt x="4902" y="1220"/>
                    <a:pt x="4907" y="1225"/>
                  </a:cubicBezTo>
                  <a:cubicBezTo>
                    <a:pt x="4911" y="1231"/>
                    <a:pt x="4922" y="1236"/>
                    <a:pt x="4930" y="1236"/>
                  </a:cubicBezTo>
                  <a:cubicBezTo>
                    <a:pt x="4939" y="1235"/>
                    <a:pt x="4943" y="1231"/>
                    <a:pt x="4938" y="1225"/>
                  </a:cubicBezTo>
                  <a:cubicBezTo>
                    <a:pt x="4934" y="1219"/>
                    <a:pt x="4923" y="1215"/>
                    <a:pt x="4915" y="1215"/>
                  </a:cubicBezTo>
                  <a:cubicBezTo>
                    <a:pt x="4914" y="1215"/>
                    <a:pt x="4914" y="1215"/>
                    <a:pt x="4914" y="1215"/>
                  </a:cubicBezTo>
                  <a:moveTo>
                    <a:pt x="4960" y="1215"/>
                  </a:moveTo>
                  <a:cubicBezTo>
                    <a:pt x="4952" y="1215"/>
                    <a:pt x="4948" y="1219"/>
                    <a:pt x="4953" y="1225"/>
                  </a:cubicBezTo>
                  <a:cubicBezTo>
                    <a:pt x="4957" y="1231"/>
                    <a:pt x="4968" y="1235"/>
                    <a:pt x="4977" y="1235"/>
                  </a:cubicBezTo>
                  <a:cubicBezTo>
                    <a:pt x="4986" y="1235"/>
                    <a:pt x="4989" y="1231"/>
                    <a:pt x="4984" y="1225"/>
                  </a:cubicBezTo>
                  <a:cubicBezTo>
                    <a:pt x="4980" y="1219"/>
                    <a:pt x="4969" y="1215"/>
                    <a:pt x="4960" y="1215"/>
                  </a:cubicBezTo>
                  <a:cubicBezTo>
                    <a:pt x="4960" y="1215"/>
                    <a:pt x="4960" y="1215"/>
                    <a:pt x="4960" y="1215"/>
                  </a:cubicBezTo>
                  <a:moveTo>
                    <a:pt x="264" y="1198"/>
                  </a:moveTo>
                  <a:cubicBezTo>
                    <a:pt x="255" y="1198"/>
                    <a:pt x="245" y="1203"/>
                    <a:pt x="241" y="1209"/>
                  </a:cubicBezTo>
                  <a:cubicBezTo>
                    <a:pt x="237" y="1214"/>
                    <a:pt x="240" y="1219"/>
                    <a:pt x="249" y="1219"/>
                  </a:cubicBezTo>
                  <a:cubicBezTo>
                    <a:pt x="258" y="1219"/>
                    <a:pt x="268" y="1214"/>
                    <a:pt x="272" y="1208"/>
                  </a:cubicBezTo>
                  <a:cubicBezTo>
                    <a:pt x="276" y="1203"/>
                    <a:pt x="272" y="1198"/>
                    <a:pt x="264" y="1198"/>
                  </a:cubicBezTo>
                  <a:cubicBezTo>
                    <a:pt x="264" y="1198"/>
                    <a:pt x="264" y="1198"/>
                    <a:pt x="264" y="1198"/>
                  </a:cubicBezTo>
                  <a:moveTo>
                    <a:pt x="308" y="1198"/>
                  </a:moveTo>
                  <a:cubicBezTo>
                    <a:pt x="300" y="1198"/>
                    <a:pt x="289" y="1203"/>
                    <a:pt x="285" y="1208"/>
                  </a:cubicBezTo>
                  <a:cubicBezTo>
                    <a:pt x="282" y="1214"/>
                    <a:pt x="285" y="1218"/>
                    <a:pt x="294" y="1218"/>
                  </a:cubicBezTo>
                  <a:cubicBezTo>
                    <a:pt x="303" y="1218"/>
                    <a:pt x="313" y="1214"/>
                    <a:pt x="317" y="1208"/>
                  </a:cubicBezTo>
                  <a:cubicBezTo>
                    <a:pt x="321" y="1203"/>
                    <a:pt x="317" y="1198"/>
                    <a:pt x="308" y="1198"/>
                  </a:cubicBezTo>
                  <a:cubicBezTo>
                    <a:pt x="308" y="1198"/>
                    <a:pt x="308" y="1198"/>
                    <a:pt x="308" y="1198"/>
                  </a:cubicBezTo>
                  <a:moveTo>
                    <a:pt x="353" y="1198"/>
                  </a:moveTo>
                  <a:cubicBezTo>
                    <a:pt x="345" y="1198"/>
                    <a:pt x="334" y="1203"/>
                    <a:pt x="331" y="1208"/>
                  </a:cubicBezTo>
                  <a:cubicBezTo>
                    <a:pt x="327" y="1214"/>
                    <a:pt x="331" y="1218"/>
                    <a:pt x="339" y="1218"/>
                  </a:cubicBezTo>
                  <a:cubicBezTo>
                    <a:pt x="348" y="1218"/>
                    <a:pt x="358" y="1214"/>
                    <a:pt x="362" y="1208"/>
                  </a:cubicBezTo>
                  <a:cubicBezTo>
                    <a:pt x="366" y="1203"/>
                    <a:pt x="362" y="1198"/>
                    <a:pt x="353" y="1198"/>
                  </a:cubicBezTo>
                  <a:cubicBezTo>
                    <a:pt x="353" y="1198"/>
                    <a:pt x="353" y="1198"/>
                    <a:pt x="353" y="1198"/>
                  </a:cubicBezTo>
                  <a:moveTo>
                    <a:pt x="398" y="1198"/>
                  </a:moveTo>
                  <a:cubicBezTo>
                    <a:pt x="389" y="1198"/>
                    <a:pt x="379" y="1203"/>
                    <a:pt x="375" y="1208"/>
                  </a:cubicBezTo>
                  <a:cubicBezTo>
                    <a:pt x="372" y="1214"/>
                    <a:pt x="376" y="1218"/>
                    <a:pt x="385" y="1218"/>
                  </a:cubicBezTo>
                  <a:cubicBezTo>
                    <a:pt x="393" y="1218"/>
                    <a:pt x="403" y="1214"/>
                    <a:pt x="407" y="1208"/>
                  </a:cubicBezTo>
                  <a:cubicBezTo>
                    <a:pt x="411" y="1202"/>
                    <a:pt x="407" y="1198"/>
                    <a:pt x="398" y="1198"/>
                  </a:cubicBezTo>
                  <a:cubicBezTo>
                    <a:pt x="398" y="1198"/>
                    <a:pt x="398" y="1198"/>
                    <a:pt x="398" y="1198"/>
                  </a:cubicBezTo>
                  <a:moveTo>
                    <a:pt x="443" y="1198"/>
                  </a:moveTo>
                  <a:cubicBezTo>
                    <a:pt x="434" y="1198"/>
                    <a:pt x="424" y="1202"/>
                    <a:pt x="421" y="1208"/>
                  </a:cubicBezTo>
                  <a:cubicBezTo>
                    <a:pt x="417" y="1214"/>
                    <a:pt x="421" y="1218"/>
                    <a:pt x="430" y="1218"/>
                  </a:cubicBezTo>
                  <a:cubicBezTo>
                    <a:pt x="439" y="1218"/>
                    <a:pt x="449" y="1214"/>
                    <a:pt x="452" y="1208"/>
                  </a:cubicBezTo>
                  <a:cubicBezTo>
                    <a:pt x="456" y="1202"/>
                    <a:pt x="452" y="1198"/>
                    <a:pt x="443" y="1198"/>
                  </a:cubicBezTo>
                  <a:cubicBezTo>
                    <a:pt x="443" y="1198"/>
                    <a:pt x="443" y="1198"/>
                    <a:pt x="443" y="1198"/>
                  </a:cubicBezTo>
                  <a:moveTo>
                    <a:pt x="490" y="1198"/>
                  </a:moveTo>
                  <a:cubicBezTo>
                    <a:pt x="481" y="1198"/>
                    <a:pt x="471" y="1202"/>
                    <a:pt x="467" y="1208"/>
                  </a:cubicBezTo>
                  <a:cubicBezTo>
                    <a:pt x="464" y="1214"/>
                    <a:pt x="468" y="1218"/>
                    <a:pt x="477" y="1218"/>
                  </a:cubicBezTo>
                  <a:cubicBezTo>
                    <a:pt x="485" y="1218"/>
                    <a:pt x="495" y="1213"/>
                    <a:pt x="499" y="1208"/>
                  </a:cubicBezTo>
                  <a:cubicBezTo>
                    <a:pt x="502" y="1202"/>
                    <a:pt x="498" y="1198"/>
                    <a:pt x="490" y="1198"/>
                  </a:cubicBezTo>
                  <a:cubicBezTo>
                    <a:pt x="490" y="1198"/>
                    <a:pt x="490" y="1198"/>
                    <a:pt x="490" y="1198"/>
                  </a:cubicBezTo>
                  <a:moveTo>
                    <a:pt x="534" y="1198"/>
                  </a:moveTo>
                  <a:cubicBezTo>
                    <a:pt x="526" y="1198"/>
                    <a:pt x="516" y="1202"/>
                    <a:pt x="512" y="1208"/>
                  </a:cubicBezTo>
                  <a:cubicBezTo>
                    <a:pt x="509" y="1213"/>
                    <a:pt x="513" y="1218"/>
                    <a:pt x="522" y="1218"/>
                  </a:cubicBezTo>
                  <a:cubicBezTo>
                    <a:pt x="530" y="1218"/>
                    <a:pt x="540" y="1213"/>
                    <a:pt x="544" y="1208"/>
                  </a:cubicBezTo>
                  <a:cubicBezTo>
                    <a:pt x="547" y="1202"/>
                    <a:pt x="543" y="1198"/>
                    <a:pt x="534" y="1198"/>
                  </a:cubicBezTo>
                  <a:cubicBezTo>
                    <a:pt x="534" y="1198"/>
                    <a:pt x="534" y="1198"/>
                    <a:pt x="534" y="1198"/>
                  </a:cubicBezTo>
                  <a:moveTo>
                    <a:pt x="579" y="1197"/>
                  </a:moveTo>
                  <a:cubicBezTo>
                    <a:pt x="571" y="1197"/>
                    <a:pt x="561" y="1202"/>
                    <a:pt x="557" y="1208"/>
                  </a:cubicBezTo>
                  <a:cubicBezTo>
                    <a:pt x="554" y="1213"/>
                    <a:pt x="558" y="1218"/>
                    <a:pt x="567" y="1218"/>
                  </a:cubicBezTo>
                  <a:cubicBezTo>
                    <a:pt x="576" y="1218"/>
                    <a:pt x="586" y="1213"/>
                    <a:pt x="589" y="1208"/>
                  </a:cubicBezTo>
                  <a:cubicBezTo>
                    <a:pt x="592" y="1202"/>
                    <a:pt x="588" y="1197"/>
                    <a:pt x="579" y="1197"/>
                  </a:cubicBezTo>
                  <a:cubicBezTo>
                    <a:pt x="579" y="1197"/>
                    <a:pt x="579" y="1197"/>
                    <a:pt x="579" y="1197"/>
                  </a:cubicBezTo>
                  <a:moveTo>
                    <a:pt x="625" y="1197"/>
                  </a:moveTo>
                  <a:cubicBezTo>
                    <a:pt x="616" y="1197"/>
                    <a:pt x="606" y="1202"/>
                    <a:pt x="603" y="1208"/>
                  </a:cubicBezTo>
                  <a:cubicBezTo>
                    <a:pt x="600" y="1213"/>
                    <a:pt x="604" y="1218"/>
                    <a:pt x="613" y="1218"/>
                  </a:cubicBezTo>
                  <a:cubicBezTo>
                    <a:pt x="622" y="1218"/>
                    <a:pt x="631" y="1213"/>
                    <a:pt x="635" y="1207"/>
                  </a:cubicBezTo>
                  <a:cubicBezTo>
                    <a:pt x="638" y="1202"/>
                    <a:pt x="634" y="1197"/>
                    <a:pt x="625" y="1197"/>
                  </a:cubicBezTo>
                  <a:cubicBezTo>
                    <a:pt x="625" y="1197"/>
                    <a:pt x="625" y="1197"/>
                    <a:pt x="625" y="1197"/>
                  </a:cubicBezTo>
                  <a:moveTo>
                    <a:pt x="670" y="1197"/>
                  </a:moveTo>
                  <a:cubicBezTo>
                    <a:pt x="661" y="1197"/>
                    <a:pt x="651" y="1202"/>
                    <a:pt x="648" y="1207"/>
                  </a:cubicBezTo>
                  <a:cubicBezTo>
                    <a:pt x="645" y="1213"/>
                    <a:pt x="649" y="1218"/>
                    <a:pt x="658" y="1218"/>
                  </a:cubicBezTo>
                  <a:cubicBezTo>
                    <a:pt x="667" y="1218"/>
                    <a:pt x="676" y="1213"/>
                    <a:pt x="680" y="1207"/>
                  </a:cubicBezTo>
                  <a:cubicBezTo>
                    <a:pt x="683" y="1202"/>
                    <a:pt x="678" y="1197"/>
                    <a:pt x="670" y="1197"/>
                  </a:cubicBezTo>
                  <a:cubicBezTo>
                    <a:pt x="670" y="1197"/>
                    <a:pt x="670" y="1197"/>
                    <a:pt x="670" y="1197"/>
                  </a:cubicBezTo>
                  <a:moveTo>
                    <a:pt x="715" y="1197"/>
                  </a:moveTo>
                  <a:cubicBezTo>
                    <a:pt x="706" y="1197"/>
                    <a:pt x="696" y="1202"/>
                    <a:pt x="693" y="1207"/>
                  </a:cubicBezTo>
                  <a:cubicBezTo>
                    <a:pt x="690" y="1213"/>
                    <a:pt x="694" y="1217"/>
                    <a:pt x="703" y="1217"/>
                  </a:cubicBezTo>
                  <a:cubicBezTo>
                    <a:pt x="712" y="1217"/>
                    <a:pt x="722" y="1213"/>
                    <a:pt x="725" y="1207"/>
                  </a:cubicBezTo>
                  <a:cubicBezTo>
                    <a:pt x="728" y="1202"/>
                    <a:pt x="723" y="1197"/>
                    <a:pt x="715" y="1197"/>
                  </a:cubicBezTo>
                  <a:cubicBezTo>
                    <a:pt x="715" y="1197"/>
                    <a:pt x="715" y="1197"/>
                    <a:pt x="715" y="1197"/>
                  </a:cubicBezTo>
                  <a:moveTo>
                    <a:pt x="759" y="1197"/>
                  </a:moveTo>
                  <a:cubicBezTo>
                    <a:pt x="751" y="1197"/>
                    <a:pt x="741" y="1202"/>
                    <a:pt x="738" y="1207"/>
                  </a:cubicBezTo>
                  <a:cubicBezTo>
                    <a:pt x="735" y="1213"/>
                    <a:pt x="739" y="1217"/>
                    <a:pt x="748" y="1217"/>
                  </a:cubicBezTo>
                  <a:cubicBezTo>
                    <a:pt x="757" y="1217"/>
                    <a:pt x="767" y="1213"/>
                    <a:pt x="770" y="1207"/>
                  </a:cubicBezTo>
                  <a:cubicBezTo>
                    <a:pt x="773" y="1202"/>
                    <a:pt x="768" y="1197"/>
                    <a:pt x="759" y="1197"/>
                  </a:cubicBezTo>
                  <a:cubicBezTo>
                    <a:pt x="759" y="1197"/>
                    <a:pt x="759" y="1197"/>
                    <a:pt x="759" y="1197"/>
                  </a:cubicBezTo>
                  <a:moveTo>
                    <a:pt x="804" y="1197"/>
                  </a:moveTo>
                  <a:cubicBezTo>
                    <a:pt x="796" y="1197"/>
                    <a:pt x="786" y="1201"/>
                    <a:pt x="783" y="1207"/>
                  </a:cubicBezTo>
                  <a:cubicBezTo>
                    <a:pt x="780" y="1213"/>
                    <a:pt x="785" y="1217"/>
                    <a:pt x="794" y="1217"/>
                  </a:cubicBezTo>
                  <a:cubicBezTo>
                    <a:pt x="802" y="1217"/>
                    <a:pt x="812" y="1213"/>
                    <a:pt x="815" y="1207"/>
                  </a:cubicBezTo>
                  <a:cubicBezTo>
                    <a:pt x="818" y="1201"/>
                    <a:pt x="813" y="1197"/>
                    <a:pt x="805" y="1197"/>
                  </a:cubicBezTo>
                  <a:cubicBezTo>
                    <a:pt x="804" y="1197"/>
                    <a:pt x="804" y="1197"/>
                    <a:pt x="804" y="1197"/>
                  </a:cubicBezTo>
                  <a:moveTo>
                    <a:pt x="850" y="1197"/>
                  </a:moveTo>
                  <a:cubicBezTo>
                    <a:pt x="841" y="1197"/>
                    <a:pt x="832" y="1201"/>
                    <a:pt x="829" y="1207"/>
                  </a:cubicBezTo>
                  <a:cubicBezTo>
                    <a:pt x="826" y="1213"/>
                    <a:pt x="831" y="1217"/>
                    <a:pt x="839" y="1217"/>
                  </a:cubicBezTo>
                  <a:cubicBezTo>
                    <a:pt x="848" y="1217"/>
                    <a:pt x="858" y="1212"/>
                    <a:pt x="860" y="1207"/>
                  </a:cubicBezTo>
                  <a:cubicBezTo>
                    <a:pt x="863" y="1201"/>
                    <a:pt x="859" y="1197"/>
                    <a:pt x="850" y="1197"/>
                  </a:cubicBezTo>
                  <a:cubicBezTo>
                    <a:pt x="850" y="1197"/>
                    <a:pt x="850" y="1197"/>
                    <a:pt x="850" y="1197"/>
                  </a:cubicBezTo>
                  <a:moveTo>
                    <a:pt x="895" y="1197"/>
                  </a:moveTo>
                  <a:cubicBezTo>
                    <a:pt x="886" y="1197"/>
                    <a:pt x="877" y="1201"/>
                    <a:pt x="874" y="1207"/>
                  </a:cubicBezTo>
                  <a:cubicBezTo>
                    <a:pt x="871" y="1212"/>
                    <a:pt x="876" y="1217"/>
                    <a:pt x="884" y="1217"/>
                  </a:cubicBezTo>
                  <a:cubicBezTo>
                    <a:pt x="893" y="1217"/>
                    <a:pt x="903" y="1212"/>
                    <a:pt x="905" y="1207"/>
                  </a:cubicBezTo>
                  <a:cubicBezTo>
                    <a:pt x="908" y="1201"/>
                    <a:pt x="903" y="1197"/>
                    <a:pt x="895" y="1197"/>
                  </a:cubicBezTo>
                  <a:cubicBezTo>
                    <a:pt x="895" y="1197"/>
                    <a:pt x="895" y="1197"/>
                    <a:pt x="895" y="1197"/>
                  </a:cubicBezTo>
                  <a:moveTo>
                    <a:pt x="940" y="1196"/>
                  </a:moveTo>
                  <a:cubicBezTo>
                    <a:pt x="931" y="1197"/>
                    <a:pt x="922" y="1201"/>
                    <a:pt x="919" y="1207"/>
                  </a:cubicBezTo>
                  <a:cubicBezTo>
                    <a:pt x="916" y="1212"/>
                    <a:pt x="921" y="1217"/>
                    <a:pt x="930" y="1217"/>
                  </a:cubicBezTo>
                  <a:cubicBezTo>
                    <a:pt x="938" y="1217"/>
                    <a:pt x="948" y="1212"/>
                    <a:pt x="950" y="1207"/>
                  </a:cubicBezTo>
                  <a:cubicBezTo>
                    <a:pt x="953" y="1201"/>
                    <a:pt x="948" y="1196"/>
                    <a:pt x="940" y="1196"/>
                  </a:cubicBezTo>
                  <a:cubicBezTo>
                    <a:pt x="940" y="1196"/>
                    <a:pt x="940" y="1196"/>
                    <a:pt x="940" y="1196"/>
                  </a:cubicBezTo>
                  <a:moveTo>
                    <a:pt x="984" y="1196"/>
                  </a:moveTo>
                  <a:cubicBezTo>
                    <a:pt x="976" y="1196"/>
                    <a:pt x="966" y="1201"/>
                    <a:pt x="964" y="1207"/>
                  </a:cubicBezTo>
                  <a:cubicBezTo>
                    <a:pt x="961" y="1212"/>
                    <a:pt x="966" y="1217"/>
                    <a:pt x="975" y="1217"/>
                  </a:cubicBezTo>
                  <a:cubicBezTo>
                    <a:pt x="983" y="1217"/>
                    <a:pt x="993" y="1212"/>
                    <a:pt x="995" y="1206"/>
                  </a:cubicBezTo>
                  <a:cubicBezTo>
                    <a:pt x="998" y="1201"/>
                    <a:pt x="993" y="1196"/>
                    <a:pt x="984" y="1196"/>
                  </a:cubicBezTo>
                  <a:cubicBezTo>
                    <a:pt x="984" y="1196"/>
                    <a:pt x="984" y="1196"/>
                    <a:pt x="984" y="1196"/>
                  </a:cubicBezTo>
                  <a:moveTo>
                    <a:pt x="1029" y="1196"/>
                  </a:moveTo>
                  <a:cubicBezTo>
                    <a:pt x="1021" y="1196"/>
                    <a:pt x="1012" y="1201"/>
                    <a:pt x="1009" y="1206"/>
                  </a:cubicBezTo>
                  <a:cubicBezTo>
                    <a:pt x="1006" y="1212"/>
                    <a:pt x="1011" y="1217"/>
                    <a:pt x="1020" y="1217"/>
                  </a:cubicBezTo>
                  <a:cubicBezTo>
                    <a:pt x="1029" y="1217"/>
                    <a:pt x="1038" y="1212"/>
                    <a:pt x="1041" y="1206"/>
                  </a:cubicBezTo>
                  <a:cubicBezTo>
                    <a:pt x="1043" y="1201"/>
                    <a:pt x="1038" y="1196"/>
                    <a:pt x="1030" y="1196"/>
                  </a:cubicBezTo>
                  <a:cubicBezTo>
                    <a:pt x="1029" y="1196"/>
                    <a:pt x="1029" y="1196"/>
                    <a:pt x="1029" y="1196"/>
                  </a:cubicBezTo>
                  <a:moveTo>
                    <a:pt x="1075" y="1196"/>
                  </a:moveTo>
                  <a:cubicBezTo>
                    <a:pt x="1066" y="1196"/>
                    <a:pt x="1057" y="1201"/>
                    <a:pt x="1055" y="1206"/>
                  </a:cubicBezTo>
                  <a:cubicBezTo>
                    <a:pt x="1052" y="1212"/>
                    <a:pt x="1057" y="1216"/>
                    <a:pt x="1066" y="1216"/>
                  </a:cubicBezTo>
                  <a:cubicBezTo>
                    <a:pt x="1075" y="1216"/>
                    <a:pt x="1084" y="1212"/>
                    <a:pt x="1086" y="1206"/>
                  </a:cubicBezTo>
                  <a:cubicBezTo>
                    <a:pt x="1089" y="1201"/>
                    <a:pt x="1084" y="1196"/>
                    <a:pt x="1075" y="1196"/>
                  </a:cubicBezTo>
                  <a:cubicBezTo>
                    <a:pt x="1075" y="1196"/>
                    <a:pt x="1075" y="1196"/>
                    <a:pt x="1075" y="1196"/>
                  </a:cubicBezTo>
                  <a:moveTo>
                    <a:pt x="1116" y="1196"/>
                  </a:moveTo>
                  <a:cubicBezTo>
                    <a:pt x="1107" y="1196"/>
                    <a:pt x="1098" y="1201"/>
                    <a:pt x="1095" y="1206"/>
                  </a:cubicBezTo>
                  <a:cubicBezTo>
                    <a:pt x="1093" y="1212"/>
                    <a:pt x="1098" y="1216"/>
                    <a:pt x="1107" y="1216"/>
                  </a:cubicBezTo>
                  <a:cubicBezTo>
                    <a:pt x="1116" y="1216"/>
                    <a:pt x="1125" y="1212"/>
                    <a:pt x="1127" y="1206"/>
                  </a:cubicBezTo>
                  <a:cubicBezTo>
                    <a:pt x="1129" y="1201"/>
                    <a:pt x="1124" y="1196"/>
                    <a:pt x="1116" y="1196"/>
                  </a:cubicBezTo>
                  <a:cubicBezTo>
                    <a:pt x="1116" y="1196"/>
                    <a:pt x="1116" y="1196"/>
                    <a:pt x="1116" y="1196"/>
                  </a:cubicBezTo>
                  <a:moveTo>
                    <a:pt x="2153" y="1195"/>
                  </a:moveTo>
                  <a:cubicBezTo>
                    <a:pt x="2144" y="1195"/>
                    <a:pt x="2137" y="1199"/>
                    <a:pt x="2136" y="1205"/>
                  </a:cubicBezTo>
                  <a:cubicBezTo>
                    <a:pt x="2135" y="1211"/>
                    <a:pt x="2142" y="1215"/>
                    <a:pt x="2151" y="1215"/>
                  </a:cubicBezTo>
                  <a:cubicBezTo>
                    <a:pt x="2160" y="1215"/>
                    <a:pt x="2167" y="1211"/>
                    <a:pt x="2168" y="1205"/>
                  </a:cubicBezTo>
                  <a:cubicBezTo>
                    <a:pt x="2168" y="1199"/>
                    <a:pt x="2162" y="1195"/>
                    <a:pt x="2153" y="1195"/>
                  </a:cubicBezTo>
                  <a:cubicBezTo>
                    <a:pt x="2153" y="1195"/>
                    <a:pt x="2153" y="1195"/>
                    <a:pt x="2153" y="1195"/>
                  </a:cubicBezTo>
                  <a:moveTo>
                    <a:pt x="2198" y="1195"/>
                  </a:moveTo>
                  <a:cubicBezTo>
                    <a:pt x="2190" y="1195"/>
                    <a:pt x="2182" y="1199"/>
                    <a:pt x="2182" y="1205"/>
                  </a:cubicBezTo>
                  <a:cubicBezTo>
                    <a:pt x="2181" y="1211"/>
                    <a:pt x="2188" y="1215"/>
                    <a:pt x="2197" y="1215"/>
                  </a:cubicBezTo>
                  <a:cubicBezTo>
                    <a:pt x="2205" y="1215"/>
                    <a:pt x="2213" y="1210"/>
                    <a:pt x="2213" y="1205"/>
                  </a:cubicBezTo>
                  <a:cubicBezTo>
                    <a:pt x="2214" y="1199"/>
                    <a:pt x="2207" y="1195"/>
                    <a:pt x="2198" y="1195"/>
                  </a:cubicBezTo>
                  <a:cubicBezTo>
                    <a:pt x="2198" y="1195"/>
                    <a:pt x="2198" y="1195"/>
                    <a:pt x="2198" y="1195"/>
                  </a:cubicBezTo>
                  <a:moveTo>
                    <a:pt x="2243" y="1195"/>
                  </a:moveTo>
                  <a:cubicBezTo>
                    <a:pt x="2234" y="1195"/>
                    <a:pt x="2227" y="1199"/>
                    <a:pt x="2226" y="1205"/>
                  </a:cubicBezTo>
                  <a:cubicBezTo>
                    <a:pt x="2226" y="1210"/>
                    <a:pt x="2232" y="1215"/>
                    <a:pt x="2241" y="1215"/>
                  </a:cubicBezTo>
                  <a:cubicBezTo>
                    <a:pt x="2250" y="1215"/>
                    <a:pt x="2257" y="1210"/>
                    <a:pt x="2258" y="1205"/>
                  </a:cubicBezTo>
                  <a:cubicBezTo>
                    <a:pt x="2258" y="1199"/>
                    <a:pt x="2251" y="1195"/>
                    <a:pt x="2243" y="1195"/>
                  </a:cubicBezTo>
                  <a:cubicBezTo>
                    <a:pt x="2243" y="1195"/>
                    <a:pt x="2243" y="1195"/>
                    <a:pt x="2243" y="1195"/>
                  </a:cubicBezTo>
                  <a:moveTo>
                    <a:pt x="2287" y="1194"/>
                  </a:moveTo>
                  <a:cubicBezTo>
                    <a:pt x="2279" y="1194"/>
                    <a:pt x="2271" y="1199"/>
                    <a:pt x="2271" y="1205"/>
                  </a:cubicBezTo>
                  <a:cubicBezTo>
                    <a:pt x="2271" y="1210"/>
                    <a:pt x="2277" y="1215"/>
                    <a:pt x="2286" y="1215"/>
                  </a:cubicBezTo>
                  <a:cubicBezTo>
                    <a:pt x="2295" y="1215"/>
                    <a:pt x="2302" y="1210"/>
                    <a:pt x="2303" y="1205"/>
                  </a:cubicBezTo>
                  <a:cubicBezTo>
                    <a:pt x="2303" y="1199"/>
                    <a:pt x="2296" y="1194"/>
                    <a:pt x="2287" y="1194"/>
                  </a:cubicBezTo>
                  <a:cubicBezTo>
                    <a:pt x="2287" y="1194"/>
                    <a:pt x="2287" y="1194"/>
                    <a:pt x="2287" y="1194"/>
                  </a:cubicBezTo>
                  <a:moveTo>
                    <a:pt x="2332" y="1194"/>
                  </a:moveTo>
                  <a:cubicBezTo>
                    <a:pt x="2324" y="1194"/>
                    <a:pt x="2316" y="1199"/>
                    <a:pt x="2316" y="1205"/>
                  </a:cubicBezTo>
                  <a:cubicBezTo>
                    <a:pt x="2316" y="1210"/>
                    <a:pt x="2323" y="1215"/>
                    <a:pt x="2332" y="1215"/>
                  </a:cubicBezTo>
                  <a:cubicBezTo>
                    <a:pt x="2340" y="1215"/>
                    <a:pt x="2348" y="1210"/>
                    <a:pt x="2348" y="1204"/>
                  </a:cubicBezTo>
                  <a:cubicBezTo>
                    <a:pt x="2348" y="1199"/>
                    <a:pt x="2341" y="1194"/>
                    <a:pt x="2333" y="1194"/>
                  </a:cubicBezTo>
                  <a:cubicBezTo>
                    <a:pt x="2333" y="1194"/>
                    <a:pt x="2332" y="1194"/>
                    <a:pt x="2332" y="1194"/>
                  </a:cubicBezTo>
                  <a:moveTo>
                    <a:pt x="2378" y="1194"/>
                  </a:moveTo>
                  <a:cubicBezTo>
                    <a:pt x="2369" y="1194"/>
                    <a:pt x="2362" y="1199"/>
                    <a:pt x="2362" y="1204"/>
                  </a:cubicBezTo>
                  <a:cubicBezTo>
                    <a:pt x="2362" y="1210"/>
                    <a:pt x="2369" y="1215"/>
                    <a:pt x="2377" y="1215"/>
                  </a:cubicBezTo>
                  <a:cubicBezTo>
                    <a:pt x="2386" y="1215"/>
                    <a:pt x="2393" y="1210"/>
                    <a:pt x="2393" y="1204"/>
                  </a:cubicBezTo>
                  <a:cubicBezTo>
                    <a:pt x="2394" y="1199"/>
                    <a:pt x="2387" y="1194"/>
                    <a:pt x="2378" y="1194"/>
                  </a:cubicBezTo>
                  <a:cubicBezTo>
                    <a:pt x="2378" y="1194"/>
                    <a:pt x="2378" y="1194"/>
                    <a:pt x="2378" y="1194"/>
                  </a:cubicBezTo>
                  <a:moveTo>
                    <a:pt x="2423" y="1194"/>
                  </a:moveTo>
                  <a:cubicBezTo>
                    <a:pt x="2414" y="1194"/>
                    <a:pt x="2407" y="1199"/>
                    <a:pt x="2407" y="1204"/>
                  </a:cubicBezTo>
                  <a:cubicBezTo>
                    <a:pt x="2407" y="1210"/>
                    <a:pt x="2414" y="1214"/>
                    <a:pt x="2422" y="1214"/>
                  </a:cubicBezTo>
                  <a:cubicBezTo>
                    <a:pt x="2431" y="1214"/>
                    <a:pt x="2438" y="1210"/>
                    <a:pt x="2438" y="1204"/>
                  </a:cubicBezTo>
                  <a:cubicBezTo>
                    <a:pt x="2438" y="1199"/>
                    <a:pt x="2431" y="1194"/>
                    <a:pt x="2423" y="1194"/>
                  </a:cubicBezTo>
                  <a:cubicBezTo>
                    <a:pt x="2423" y="1194"/>
                    <a:pt x="2423" y="1194"/>
                    <a:pt x="2423" y="1194"/>
                  </a:cubicBezTo>
                  <a:moveTo>
                    <a:pt x="2468" y="1194"/>
                  </a:moveTo>
                  <a:cubicBezTo>
                    <a:pt x="2459" y="1194"/>
                    <a:pt x="2452" y="1199"/>
                    <a:pt x="2452" y="1204"/>
                  </a:cubicBezTo>
                  <a:cubicBezTo>
                    <a:pt x="2452" y="1210"/>
                    <a:pt x="2459" y="1214"/>
                    <a:pt x="2468" y="1214"/>
                  </a:cubicBezTo>
                  <a:cubicBezTo>
                    <a:pt x="2476" y="1214"/>
                    <a:pt x="2483" y="1210"/>
                    <a:pt x="2483" y="1204"/>
                  </a:cubicBezTo>
                  <a:cubicBezTo>
                    <a:pt x="2483" y="1198"/>
                    <a:pt x="2476" y="1194"/>
                    <a:pt x="2468" y="1194"/>
                  </a:cubicBezTo>
                  <a:cubicBezTo>
                    <a:pt x="2468" y="1194"/>
                    <a:pt x="2468" y="1194"/>
                    <a:pt x="2468" y="1194"/>
                  </a:cubicBezTo>
                  <a:moveTo>
                    <a:pt x="2512" y="1194"/>
                  </a:moveTo>
                  <a:cubicBezTo>
                    <a:pt x="2504" y="1194"/>
                    <a:pt x="2497" y="1198"/>
                    <a:pt x="2497" y="1204"/>
                  </a:cubicBezTo>
                  <a:cubicBezTo>
                    <a:pt x="2497" y="1210"/>
                    <a:pt x="2504" y="1214"/>
                    <a:pt x="2512" y="1214"/>
                  </a:cubicBezTo>
                  <a:cubicBezTo>
                    <a:pt x="2521" y="1214"/>
                    <a:pt x="2528" y="1210"/>
                    <a:pt x="2528" y="1204"/>
                  </a:cubicBezTo>
                  <a:cubicBezTo>
                    <a:pt x="2528" y="1198"/>
                    <a:pt x="2521" y="1194"/>
                    <a:pt x="2512" y="1194"/>
                  </a:cubicBezTo>
                  <a:cubicBezTo>
                    <a:pt x="2512" y="1194"/>
                    <a:pt x="2512" y="1194"/>
                    <a:pt x="2512" y="1194"/>
                  </a:cubicBezTo>
                  <a:moveTo>
                    <a:pt x="2557" y="1194"/>
                  </a:moveTo>
                  <a:cubicBezTo>
                    <a:pt x="2549" y="1194"/>
                    <a:pt x="2542" y="1198"/>
                    <a:pt x="2542" y="1204"/>
                  </a:cubicBezTo>
                  <a:cubicBezTo>
                    <a:pt x="2542" y="1210"/>
                    <a:pt x="2549" y="1214"/>
                    <a:pt x="2558" y="1214"/>
                  </a:cubicBezTo>
                  <a:cubicBezTo>
                    <a:pt x="2567" y="1214"/>
                    <a:pt x="2574" y="1209"/>
                    <a:pt x="2573" y="1204"/>
                  </a:cubicBezTo>
                  <a:cubicBezTo>
                    <a:pt x="2573" y="1198"/>
                    <a:pt x="2566" y="1194"/>
                    <a:pt x="2557" y="1194"/>
                  </a:cubicBezTo>
                  <a:cubicBezTo>
                    <a:pt x="2557" y="1194"/>
                    <a:pt x="2557" y="1194"/>
                    <a:pt x="2557" y="1194"/>
                  </a:cubicBezTo>
                  <a:moveTo>
                    <a:pt x="2603" y="1194"/>
                  </a:moveTo>
                  <a:cubicBezTo>
                    <a:pt x="2594" y="1194"/>
                    <a:pt x="2587" y="1198"/>
                    <a:pt x="2587" y="1204"/>
                  </a:cubicBezTo>
                  <a:cubicBezTo>
                    <a:pt x="2588" y="1209"/>
                    <a:pt x="2595" y="1214"/>
                    <a:pt x="2604" y="1214"/>
                  </a:cubicBezTo>
                  <a:cubicBezTo>
                    <a:pt x="2612" y="1214"/>
                    <a:pt x="2619" y="1209"/>
                    <a:pt x="2619" y="1204"/>
                  </a:cubicBezTo>
                  <a:cubicBezTo>
                    <a:pt x="2619" y="1198"/>
                    <a:pt x="2611" y="1194"/>
                    <a:pt x="2603" y="1194"/>
                  </a:cubicBezTo>
                  <a:cubicBezTo>
                    <a:pt x="2603" y="1194"/>
                    <a:pt x="2603" y="1194"/>
                    <a:pt x="2603" y="1194"/>
                  </a:cubicBezTo>
                  <a:moveTo>
                    <a:pt x="2647" y="1193"/>
                  </a:moveTo>
                  <a:cubicBezTo>
                    <a:pt x="2639" y="1193"/>
                    <a:pt x="2632" y="1198"/>
                    <a:pt x="2632" y="1204"/>
                  </a:cubicBezTo>
                  <a:cubicBezTo>
                    <a:pt x="2632" y="1209"/>
                    <a:pt x="2640" y="1214"/>
                    <a:pt x="2649" y="1214"/>
                  </a:cubicBezTo>
                  <a:cubicBezTo>
                    <a:pt x="2657" y="1214"/>
                    <a:pt x="2664" y="1209"/>
                    <a:pt x="2664" y="1204"/>
                  </a:cubicBezTo>
                  <a:cubicBezTo>
                    <a:pt x="2663" y="1198"/>
                    <a:pt x="2656" y="1193"/>
                    <a:pt x="2647" y="1193"/>
                  </a:cubicBezTo>
                  <a:cubicBezTo>
                    <a:pt x="2647" y="1193"/>
                    <a:pt x="2647" y="1193"/>
                    <a:pt x="2647" y="1193"/>
                  </a:cubicBezTo>
                  <a:moveTo>
                    <a:pt x="2693" y="1193"/>
                  </a:moveTo>
                  <a:cubicBezTo>
                    <a:pt x="2684" y="1193"/>
                    <a:pt x="2677" y="1198"/>
                    <a:pt x="2678" y="1204"/>
                  </a:cubicBezTo>
                  <a:cubicBezTo>
                    <a:pt x="2678" y="1209"/>
                    <a:pt x="2685" y="1214"/>
                    <a:pt x="2694" y="1214"/>
                  </a:cubicBezTo>
                  <a:cubicBezTo>
                    <a:pt x="2703" y="1214"/>
                    <a:pt x="2710" y="1209"/>
                    <a:pt x="2709" y="1203"/>
                  </a:cubicBezTo>
                  <a:cubicBezTo>
                    <a:pt x="2709" y="1198"/>
                    <a:pt x="2701" y="1193"/>
                    <a:pt x="2693" y="1193"/>
                  </a:cubicBezTo>
                  <a:cubicBezTo>
                    <a:pt x="2693" y="1193"/>
                    <a:pt x="2693" y="1193"/>
                    <a:pt x="2693" y="1193"/>
                  </a:cubicBezTo>
                  <a:moveTo>
                    <a:pt x="4040" y="1188"/>
                  </a:moveTo>
                  <a:cubicBezTo>
                    <a:pt x="4031" y="1188"/>
                    <a:pt x="4026" y="1193"/>
                    <a:pt x="4029" y="1199"/>
                  </a:cubicBezTo>
                  <a:cubicBezTo>
                    <a:pt x="4032" y="1204"/>
                    <a:pt x="4041" y="1209"/>
                    <a:pt x="4050" y="1209"/>
                  </a:cubicBezTo>
                  <a:cubicBezTo>
                    <a:pt x="4059" y="1209"/>
                    <a:pt x="4064" y="1204"/>
                    <a:pt x="4061" y="1198"/>
                  </a:cubicBezTo>
                  <a:cubicBezTo>
                    <a:pt x="4058" y="1193"/>
                    <a:pt x="4049" y="1188"/>
                    <a:pt x="4040" y="1188"/>
                  </a:cubicBezTo>
                  <a:cubicBezTo>
                    <a:pt x="4040" y="1188"/>
                    <a:pt x="4040" y="1188"/>
                    <a:pt x="4040" y="1188"/>
                  </a:cubicBezTo>
                  <a:moveTo>
                    <a:pt x="4083" y="1188"/>
                  </a:moveTo>
                  <a:cubicBezTo>
                    <a:pt x="4075" y="1188"/>
                    <a:pt x="4070" y="1193"/>
                    <a:pt x="4073" y="1198"/>
                  </a:cubicBezTo>
                  <a:cubicBezTo>
                    <a:pt x="4076" y="1204"/>
                    <a:pt x="4085" y="1209"/>
                    <a:pt x="4094" y="1209"/>
                  </a:cubicBezTo>
                  <a:cubicBezTo>
                    <a:pt x="4103" y="1209"/>
                    <a:pt x="4107" y="1204"/>
                    <a:pt x="4104" y="1198"/>
                  </a:cubicBezTo>
                  <a:cubicBezTo>
                    <a:pt x="4102" y="1193"/>
                    <a:pt x="4092" y="1188"/>
                    <a:pt x="4084" y="1188"/>
                  </a:cubicBezTo>
                  <a:cubicBezTo>
                    <a:pt x="4083" y="1188"/>
                    <a:pt x="4083" y="1188"/>
                    <a:pt x="4083" y="1188"/>
                  </a:cubicBezTo>
                  <a:moveTo>
                    <a:pt x="4397" y="1186"/>
                  </a:moveTo>
                  <a:cubicBezTo>
                    <a:pt x="4388" y="1187"/>
                    <a:pt x="4384" y="1191"/>
                    <a:pt x="4387" y="1197"/>
                  </a:cubicBezTo>
                  <a:cubicBezTo>
                    <a:pt x="4391" y="1203"/>
                    <a:pt x="4401" y="1207"/>
                    <a:pt x="4409" y="1207"/>
                  </a:cubicBezTo>
                  <a:cubicBezTo>
                    <a:pt x="4418" y="1207"/>
                    <a:pt x="4422" y="1202"/>
                    <a:pt x="4419" y="1197"/>
                  </a:cubicBezTo>
                  <a:cubicBezTo>
                    <a:pt x="4415" y="1191"/>
                    <a:pt x="4405" y="1186"/>
                    <a:pt x="4397" y="1186"/>
                  </a:cubicBezTo>
                  <a:cubicBezTo>
                    <a:pt x="4397" y="1186"/>
                    <a:pt x="4397" y="1186"/>
                    <a:pt x="4397" y="1186"/>
                  </a:cubicBezTo>
                  <a:moveTo>
                    <a:pt x="4442" y="1186"/>
                  </a:moveTo>
                  <a:cubicBezTo>
                    <a:pt x="4433" y="1186"/>
                    <a:pt x="4429" y="1191"/>
                    <a:pt x="4433" y="1197"/>
                  </a:cubicBezTo>
                  <a:cubicBezTo>
                    <a:pt x="4436" y="1202"/>
                    <a:pt x="4446" y="1207"/>
                    <a:pt x="4455" y="1207"/>
                  </a:cubicBezTo>
                  <a:cubicBezTo>
                    <a:pt x="4464" y="1207"/>
                    <a:pt x="4468" y="1202"/>
                    <a:pt x="4464" y="1197"/>
                  </a:cubicBezTo>
                  <a:cubicBezTo>
                    <a:pt x="4461" y="1191"/>
                    <a:pt x="4451" y="1186"/>
                    <a:pt x="4442" y="1186"/>
                  </a:cubicBezTo>
                  <a:cubicBezTo>
                    <a:pt x="4442" y="1186"/>
                    <a:pt x="4442" y="1186"/>
                    <a:pt x="4442" y="1186"/>
                  </a:cubicBezTo>
                  <a:moveTo>
                    <a:pt x="4712" y="1186"/>
                  </a:moveTo>
                  <a:cubicBezTo>
                    <a:pt x="4703" y="1186"/>
                    <a:pt x="4700" y="1190"/>
                    <a:pt x="4704" y="1196"/>
                  </a:cubicBezTo>
                  <a:cubicBezTo>
                    <a:pt x="4708" y="1202"/>
                    <a:pt x="4718" y="1206"/>
                    <a:pt x="4727" y="1206"/>
                  </a:cubicBezTo>
                  <a:cubicBezTo>
                    <a:pt x="4736" y="1206"/>
                    <a:pt x="4739" y="1202"/>
                    <a:pt x="4735" y="1196"/>
                  </a:cubicBezTo>
                  <a:cubicBezTo>
                    <a:pt x="4731" y="1190"/>
                    <a:pt x="4721" y="1186"/>
                    <a:pt x="4712" y="1186"/>
                  </a:cubicBezTo>
                  <a:cubicBezTo>
                    <a:pt x="4712" y="1186"/>
                    <a:pt x="4712" y="1186"/>
                    <a:pt x="4712" y="1186"/>
                  </a:cubicBezTo>
                  <a:moveTo>
                    <a:pt x="4757" y="1186"/>
                  </a:moveTo>
                  <a:cubicBezTo>
                    <a:pt x="4749" y="1186"/>
                    <a:pt x="4745" y="1190"/>
                    <a:pt x="4749" y="1196"/>
                  </a:cubicBezTo>
                  <a:cubicBezTo>
                    <a:pt x="4753" y="1202"/>
                    <a:pt x="4764" y="1206"/>
                    <a:pt x="4772" y="1206"/>
                  </a:cubicBezTo>
                  <a:cubicBezTo>
                    <a:pt x="4781" y="1206"/>
                    <a:pt x="4785" y="1201"/>
                    <a:pt x="4781" y="1196"/>
                  </a:cubicBezTo>
                  <a:cubicBezTo>
                    <a:pt x="4776" y="1190"/>
                    <a:pt x="4766" y="1186"/>
                    <a:pt x="4757" y="1186"/>
                  </a:cubicBezTo>
                  <a:cubicBezTo>
                    <a:pt x="4757" y="1186"/>
                    <a:pt x="4757" y="1186"/>
                    <a:pt x="4757" y="1186"/>
                  </a:cubicBezTo>
                  <a:moveTo>
                    <a:pt x="4803" y="1185"/>
                  </a:moveTo>
                  <a:cubicBezTo>
                    <a:pt x="4794" y="1185"/>
                    <a:pt x="4791" y="1190"/>
                    <a:pt x="4795" y="1196"/>
                  </a:cubicBezTo>
                  <a:cubicBezTo>
                    <a:pt x="4799" y="1201"/>
                    <a:pt x="4809" y="1206"/>
                    <a:pt x="4818" y="1206"/>
                  </a:cubicBezTo>
                  <a:cubicBezTo>
                    <a:pt x="4827" y="1206"/>
                    <a:pt x="4831" y="1201"/>
                    <a:pt x="4826" y="1196"/>
                  </a:cubicBezTo>
                  <a:cubicBezTo>
                    <a:pt x="4822" y="1190"/>
                    <a:pt x="4812" y="1185"/>
                    <a:pt x="4803" y="1185"/>
                  </a:cubicBezTo>
                  <a:cubicBezTo>
                    <a:pt x="4803" y="1185"/>
                    <a:pt x="4803" y="1185"/>
                    <a:pt x="4803" y="1185"/>
                  </a:cubicBezTo>
                  <a:moveTo>
                    <a:pt x="4846" y="1185"/>
                  </a:moveTo>
                  <a:cubicBezTo>
                    <a:pt x="4838" y="1185"/>
                    <a:pt x="4834" y="1190"/>
                    <a:pt x="4838" y="1196"/>
                  </a:cubicBezTo>
                  <a:cubicBezTo>
                    <a:pt x="4843" y="1201"/>
                    <a:pt x="4853" y="1206"/>
                    <a:pt x="4862" y="1206"/>
                  </a:cubicBezTo>
                  <a:cubicBezTo>
                    <a:pt x="4871" y="1206"/>
                    <a:pt x="4874" y="1201"/>
                    <a:pt x="4870" y="1196"/>
                  </a:cubicBezTo>
                  <a:cubicBezTo>
                    <a:pt x="4866" y="1190"/>
                    <a:pt x="4855" y="1185"/>
                    <a:pt x="4846" y="1185"/>
                  </a:cubicBezTo>
                  <a:cubicBezTo>
                    <a:pt x="4846" y="1185"/>
                    <a:pt x="4846" y="1185"/>
                    <a:pt x="4846" y="1185"/>
                  </a:cubicBezTo>
                  <a:moveTo>
                    <a:pt x="4891" y="1185"/>
                  </a:moveTo>
                  <a:cubicBezTo>
                    <a:pt x="4883" y="1185"/>
                    <a:pt x="4879" y="1190"/>
                    <a:pt x="4884" y="1195"/>
                  </a:cubicBezTo>
                  <a:cubicBezTo>
                    <a:pt x="4888" y="1201"/>
                    <a:pt x="4899" y="1206"/>
                    <a:pt x="4907" y="1206"/>
                  </a:cubicBezTo>
                  <a:cubicBezTo>
                    <a:pt x="4916" y="1206"/>
                    <a:pt x="4920" y="1201"/>
                    <a:pt x="4915" y="1195"/>
                  </a:cubicBezTo>
                  <a:cubicBezTo>
                    <a:pt x="4911" y="1190"/>
                    <a:pt x="4900" y="1185"/>
                    <a:pt x="4891" y="1185"/>
                  </a:cubicBezTo>
                  <a:cubicBezTo>
                    <a:pt x="4891" y="1185"/>
                    <a:pt x="4891" y="1185"/>
                    <a:pt x="4891" y="1185"/>
                  </a:cubicBezTo>
                  <a:moveTo>
                    <a:pt x="285" y="1168"/>
                  </a:moveTo>
                  <a:cubicBezTo>
                    <a:pt x="276" y="1168"/>
                    <a:pt x="266" y="1172"/>
                    <a:pt x="262" y="1178"/>
                  </a:cubicBezTo>
                  <a:cubicBezTo>
                    <a:pt x="258" y="1184"/>
                    <a:pt x="262" y="1188"/>
                    <a:pt x="271" y="1188"/>
                  </a:cubicBezTo>
                  <a:cubicBezTo>
                    <a:pt x="279" y="1188"/>
                    <a:pt x="290" y="1183"/>
                    <a:pt x="294" y="1178"/>
                  </a:cubicBezTo>
                  <a:cubicBezTo>
                    <a:pt x="298" y="1172"/>
                    <a:pt x="294" y="1168"/>
                    <a:pt x="285" y="1168"/>
                  </a:cubicBezTo>
                  <a:cubicBezTo>
                    <a:pt x="285" y="1168"/>
                    <a:pt x="285" y="1168"/>
                    <a:pt x="285" y="1168"/>
                  </a:cubicBezTo>
                  <a:moveTo>
                    <a:pt x="329" y="1168"/>
                  </a:moveTo>
                  <a:cubicBezTo>
                    <a:pt x="321" y="1168"/>
                    <a:pt x="311" y="1172"/>
                    <a:pt x="307" y="1178"/>
                  </a:cubicBezTo>
                  <a:cubicBezTo>
                    <a:pt x="303" y="1183"/>
                    <a:pt x="307" y="1188"/>
                    <a:pt x="315" y="1188"/>
                  </a:cubicBezTo>
                  <a:cubicBezTo>
                    <a:pt x="324" y="1188"/>
                    <a:pt x="334" y="1183"/>
                    <a:pt x="338" y="1178"/>
                  </a:cubicBezTo>
                  <a:cubicBezTo>
                    <a:pt x="342" y="1172"/>
                    <a:pt x="338" y="1168"/>
                    <a:pt x="329" y="1168"/>
                  </a:cubicBezTo>
                  <a:cubicBezTo>
                    <a:pt x="329" y="1168"/>
                    <a:pt x="329" y="1168"/>
                    <a:pt x="329" y="1168"/>
                  </a:cubicBezTo>
                  <a:moveTo>
                    <a:pt x="374" y="1168"/>
                  </a:moveTo>
                  <a:cubicBezTo>
                    <a:pt x="365" y="1168"/>
                    <a:pt x="355" y="1172"/>
                    <a:pt x="351" y="1178"/>
                  </a:cubicBezTo>
                  <a:cubicBezTo>
                    <a:pt x="348" y="1183"/>
                    <a:pt x="352" y="1188"/>
                    <a:pt x="360" y="1188"/>
                  </a:cubicBezTo>
                  <a:cubicBezTo>
                    <a:pt x="369" y="1188"/>
                    <a:pt x="379" y="1183"/>
                    <a:pt x="383" y="1178"/>
                  </a:cubicBezTo>
                  <a:cubicBezTo>
                    <a:pt x="387" y="1172"/>
                    <a:pt x="383" y="1168"/>
                    <a:pt x="374" y="1168"/>
                  </a:cubicBezTo>
                  <a:cubicBezTo>
                    <a:pt x="374" y="1168"/>
                    <a:pt x="374" y="1168"/>
                    <a:pt x="374" y="1168"/>
                  </a:cubicBezTo>
                  <a:moveTo>
                    <a:pt x="418" y="1167"/>
                  </a:moveTo>
                  <a:cubicBezTo>
                    <a:pt x="410" y="1167"/>
                    <a:pt x="400" y="1172"/>
                    <a:pt x="396" y="1178"/>
                  </a:cubicBezTo>
                  <a:cubicBezTo>
                    <a:pt x="392" y="1183"/>
                    <a:pt x="396" y="1188"/>
                    <a:pt x="405" y="1188"/>
                  </a:cubicBezTo>
                  <a:cubicBezTo>
                    <a:pt x="413" y="1188"/>
                    <a:pt x="424" y="1183"/>
                    <a:pt x="427" y="1178"/>
                  </a:cubicBezTo>
                  <a:cubicBezTo>
                    <a:pt x="431" y="1172"/>
                    <a:pt x="427" y="1167"/>
                    <a:pt x="418" y="1167"/>
                  </a:cubicBezTo>
                  <a:cubicBezTo>
                    <a:pt x="418" y="1167"/>
                    <a:pt x="418" y="1167"/>
                    <a:pt x="418" y="1167"/>
                  </a:cubicBezTo>
                  <a:moveTo>
                    <a:pt x="463" y="1167"/>
                  </a:moveTo>
                  <a:cubicBezTo>
                    <a:pt x="454" y="1167"/>
                    <a:pt x="444" y="1172"/>
                    <a:pt x="441" y="1177"/>
                  </a:cubicBezTo>
                  <a:cubicBezTo>
                    <a:pt x="437" y="1183"/>
                    <a:pt x="441" y="1188"/>
                    <a:pt x="450" y="1188"/>
                  </a:cubicBezTo>
                  <a:cubicBezTo>
                    <a:pt x="458" y="1188"/>
                    <a:pt x="468" y="1183"/>
                    <a:pt x="472" y="1177"/>
                  </a:cubicBezTo>
                  <a:cubicBezTo>
                    <a:pt x="476" y="1172"/>
                    <a:pt x="472" y="1167"/>
                    <a:pt x="463" y="1167"/>
                  </a:cubicBezTo>
                  <a:cubicBezTo>
                    <a:pt x="463" y="1167"/>
                    <a:pt x="463" y="1167"/>
                    <a:pt x="463" y="1167"/>
                  </a:cubicBezTo>
                  <a:moveTo>
                    <a:pt x="509" y="1167"/>
                  </a:moveTo>
                  <a:cubicBezTo>
                    <a:pt x="500" y="1167"/>
                    <a:pt x="490" y="1172"/>
                    <a:pt x="487" y="1177"/>
                  </a:cubicBezTo>
                  <a:cubicBezTo>
                    <a:pt x="483" y="1183"/>
                    <a:pt x="487" y="1187"/>
                    <a:pt x="496" y="1187"/>
                  </a:cubicBezTo>
                  <a:cubicBezTo>
                    <a:pt x="505" y="1187"/>
                    <a:pt x="515" y="1183"/>
                    <a:pt x="518" y="1177"/>
                  </a:cubicBezTo>
                  <a:cubicBezTo>
                    <a:pt x="522" y="1172"/>
                    <a:pt x="518" y="1167"/>
                    <a:pt x="509" y="1167"/>
                  </a:cubicBezTo>
                  <a:cubicBezTo>
                    <a:pt x="509" y="1167"/>
                    <a:pt x="509" y="1167"/>
                    <a:pt x="509" y="1167"/>
                  </a:cubicBezTo>
                  <a:moveTo>
                    <a:pt x="553" y="1167"/>
                  </a:moveTo>
                  <a:cubicBezTo>
                    <a:pt x="545" y="1167"/>
                    <a:pt x="535" y="1172"/>
                    <a:pt x="531" y="1177"/>
                  </a:cubicBezTo>
                  <a:cubicBezTo>
                    <a:pt x="528" y="1183"/>
                    <a:pt x="532" y="1187"/>
                    <a:pt x="541" y="1187"/>
                  </a:cubicBezTo>
                  <a:cubicBezTo>
                    <a:pt x="549" y="1187"/>
                    <a:pt x="559" y="1183"/>
                    <a:pt x="563" y="1177"/>
                  </a:cubicBezTo>
                  <a:cubicBezTo>
                    <a:pt x="566" y="1172"/>
                    <a:pt x="562" y="1167"/>
                    <a:pt x="553" y="1167"/>
                  </a:cubicBezTo>
                  <a:cubicBezTo>
                    <a:pt x="553" y="1167"/>
                    <a:pt x="553" y="1167"/>
                    <a:pt x="553" y="1167"/>
                  </a:cubicBezTo>
                  <a:moveTo>
                    <a:pt x="598" y="1167"/>
                  </a:moveTo>
                  <a:cubicBezTo>
                    <a:pt x="589" y="1167"/>
                    <a:pt x="580" y="1171"/>
                    <a:pt x="576" y="1177"/>
                  </a:cubicBezTo>
                  <a:cubicBezTo>
                    <a:pt x="573" y="1183"/>
                    <a:pt x="577" y="1187"/>
                    <a:pt x="586" y="1187"/>
                  </a:cubicBezTo>
                  <a:cubicBezTo>
                    <a:pt x="594" y="1187"/>
                    <a:pt x="604" y="1183"/>
                    <a:pt x="607" y="1177"/>
                  </a:cubicBezTo>
                  <a:cubicBezTo>
                    <a:pt x="611" y="1171"/>
                    <a:pt x="607" y="1167"/>
                    <a:pt x="598" y="1167"/>
                  </a:cubicBezTo>
                  <a:cubicBezTo>
                    <a:pt x="598" y="1167"/>
                    <a:pt x="598" y="1167"/>
                    <a:pt x="598" y="1167"/>
                  </a:cubicBezTo>
                  <a:moveTo>
                    <a:pt x="643" y="1167"/>
                  </a:moveTo>
                  <a:cubicBezTo>
                    <a:pt x="634" y="1167"/>
                    <a:pt x="625" y="1171"/>
                    <a:pt x="621" y="1177"/>
                  </a:cubicBezTo>
                  <a:cubicBezTo>
                    <a:pt x="618" y="1183"/>
                    <a:pt x="622" y="1187"/>
                    <a:pt x="631" y="1187"/>
                  </a:cubicBezTo>
                  <a:cubicBezTo>
                    <a:pt x="640" y="1187"/>
                    <a:pt x="649" y="1182"/>
                    <a:pt x="653" y="1177"/>
                  </a:cubicBezTo>
                  <a:cubicBezTo>
                    <a:pt x="656" y="1171"/>
                    <a:pt x="652" y="1167"/>
                    <a:pt x="643" y="1167"/>
                  </a:cubicBezTo>
                  <a:cubicBezTo>
                    <a:pt x="643" y="1167"/>
                    <a:pt x="643" y="1167"/>
                    <a:pt x="643" y="1167"/>
                  </a:cubicBezTo>
                  <a:moveTo>
                    <a:pt x="687" y="1167"/>
                  </a:moveTo>
                  <a:cubicBezTo>
                    <a:pt x="679" y="1167"/>
                    <a:pt x="669" y="1171"/>
                    <a:pt x="666" y="1177"/>
                  </a:cubicBezTo>
                  <a:cubicBezTo>
                    <a:pt x="663" y="1182"/>
                    <a:pt x="667" y="1187"/>
                    <a:pt x="676" y="1187"/>
                  </a:cubicBezTo>
                  <a:cubicBezTo>
                    <a:pt x="684" y="1187"/>
                    <a:pt x="694" y="1182"/>
                    <a:pt x="697" y="1177"/>
                  </a:cubicBezTo>
                  <a:cubicBezTo>
                    <a:pt x="700" y="1171"/>
                    <a:pt x="696" y="1167"/>
                    <a:pt x="687" y="1167"/>
                  </a:cubicBezTo>
                  <a:cubicBezTo>
                    <a:pt x="687" y="1167"/>
                    <a:pt x="687" y="1167"/>
                    <a:pt x="687" y="1167"/>
                  </a:cubicBezTo>
                  <a:moveTo>
                    <a:pt x="732" y="1167"/>
                  </a:moveTo>
                  <a:cubicBezTo>
                    <a:pt x="723" y="1167"/>
                    <a:pt x="714" y="1171"/>
                    <a:pt x="710" y="1177"/>
                  </a:cubicBezTo>
                  <a:cubicBezTo>
                    <a:pt x="707" y="1182"/>
                    <a:pt x="712" y="1187"/>
                    <a:pt x="720" y="1187"/>
                  </a:cubicBezTo>
                  <a:cubicBezTo>
                    <a:pt x="729" y="1187"/>
                    <a:pt x="739" y="1182"/>
                    <a:pt x="742" y="1177"/>
                  </a:cubicBezTo>
                  <a:cubicBezTo>
                    <a:pt x="745" y="1171"/>
                    <a:pt x="740" y="1167"/>
                    <a:pt x="732" y="1167"/>
                  </a:cubicBezTo>
                  <a:cubicBezTo>
                    <a:pt x="732" y="1167"/>
                    <a:pt x="732" y="1167"/>
                    <a:pt x="732" y="1167"/>
                  </a:cubicBezTo>
                  <a:moveTo>
                    <a:pt x="776" y="1166"/>
                  </a:moveTo>
                  <a:cubicBezTo>
                    <a:pt x="767" y="1166"/>
                    <a:pt x="758" y="1171"/>
                    <a:pt x="755" y="1177"/>
                  </a:cubicBezTo>
                  <a:cubicBezTo>
                    <a:pt x="752" y="1182"/>
                    <a:pt x="756" y="1187"/>
                    <a:pt x="765" y="1187"/>
                  </a:cubicBezTo>
                  <a:cubicBezTo>
                    <a:pt x="774" y="1187"/>
                    <a:pt x="783" y="1182"/>
                    <a:pt x="786" y="1176"/>
                  </a:cubicBezTo>
                  <a:cubicBezTo>
                    <a:pt x="789" y="1171"/>
                    <a:pt x="785" y="1166"/>
                    <a:pt x="776" y="1166"/>
                  </a:cubicBezTo>
                  <a:cubicBezTo>
                    <a:pt x="776" y="1166"/>
                    <a:pt x="776" y="1166"/>
                    <a:pt x="776" y="1166"/>
                  </a:cubicBezTo>
                  <a:moveTo>
                    <a:pt x="821" y="1166"/>
                  </a:moveTo>
                  <a:cubicBezTo>
                    <a:pt x="812" y="1166"/>
                    <a:pt x="803" y="1171"/>
                    <a:pt x="800" y="1176"/>
                  </a:cubicBezTo>
                  <a:cubicBezTo>
                    <a:pt x="797" y="1182"/>
                    <a:pt x="801" y="1187"/>
                    <a:pt x="810" y="1187"/>
                  </a:cubicBezTo>
                  <a:cubicBezTo>
                    <a:pt x="819" y="1187"/>
                    <a:pt x="828" y="1182"/>
                    <a:pt x="831" y="1176"/>
                  </a:cubicBezTo>
                  <a:cubicBezTo>
                    <a:pt x="834" y="1171"/>
                    <a:pt x="829" y="1166"/>
                    <a:pt x="821" y="1166"/>
                  </a:cubicBezTo>
                  <a:cubicBezTo>
                    <a:pt x="821" y="1166"/>
                    <a:pt x="821" y="1166"/>
                    <a:pt x="821" y="1166"/>
                  </a:cubicBezTo>
                  <a:moveTo>
                    <a:pt x="866" y="1166"/>
                  </a:moveTo>
                  <a:cubicBezTo>
                    <a:pt x="857" y="1166"/>
                    <a:pt x="848" y="1171"/>
                    <a:pt x="845" y="1176"/>
                  </a:cubicBezTo>
                  <a:cubicBezTo>
                    <a:pt x="842" y="1182"/>
                    <a:pt x="847" y="1186"/>
                    <a:pt x="855" y="1186"/>
                  </a:cubicBezTo>
                  <a:cubicBezTo>
                    <a:pt x="864" y="1186"/>
                    <a:pt x="873" y="1182"/>
                    <a:pt x="876" y="1176"/>
                  </a:cubicBezTo>
                  <a:cubicBezTo>
                    <a:pt x="879" y="1171"/>
                    <a:pt x="874" y="1166"/>
                    <a:pt x="866" y="1166"/>
                  </a:cubicBezTo>
                  <a:cubicBezTo>
                    <a:pt x="866" y="1166"/>
                    <a:pt x="866" y="1166"/>
                    <a:pt x="866" y="1166"/>
                  </a:cubicBezTo>
                  <a:moveTo>
                    <a:pt x="910" y="1166"/>
                  </a:moveTo>
                  <a:cubicBezTo>
                    <a:pt x="901" y="1166"/>
                    <a:pt x="892" y="1171"/>
                    <a:pt x="889" y="1176"/>
                  </a:cubicBezTo>
                  <a:cubicBezTo>
                    <a:pt x="886" y="1182"/>
                    <a:pt x="891" y="1186"/>
                    <a:pt x="900" y="1186"/>
                  </a:cubicBezTo>
                  <a:cubicBezTo>
                    <a:pt x="909" y="1186"/>
                    <a:pt x="918" y="1182"/>
                    <a:pt x="921" y="1176"/>
                  </a:cubicBezTo>
                  <a:cubicBezTo>
                    <a:pt x="923" y="1171"/>
                    <a:pt x="919" y="1166"/>
                    <a:pt x="910" y="1166"/>
                  </a:cubicBezTo>
                  <a:cubicBezTo>
                    <a:pt x="910" y="1166"/>
                    <a:pt x="910" y="1166"/>
                    <a:pt x="910" y="1166"/>
                  </a:cubicBezTo>
                  <a:moveTo>
                    <a:pt x="955" y="1166"/>
                  </a:moveTo>
                  <a:cubicBezTo>
                    <a:pt x="946" y="1166"/>
                    <a:pt x="937" y="1170"/>
                    <a:pt x="934" y="1176"/>
                  </a:cubicBezTo>
                  <a:cubicBezTo>
                    <a:pt x="931" y="1182"/>
                    <a:pt x="936" y="1186"/>
                    <a:pt x="945" y="1186"/>
                  </a:cubicBezTo>
                  <a:cubicBezTo>
                    <a:pt x="953" y="1186"/>
                    <a:pt x="963" y="1182"/>
                    <a:pt x="965" y="1176"/>
                  </a:cubicBezTo>
                  <a:cubicBezTo>
                    <a:pt x="968" y="1170"/>
                    <a:pt x="963" y="1166"/>
                    <a:pt x="955" y="1166"/>
                  </a:cubicBezTo>
                  <a:cubicBezTo>
                    <a:pt x="955" y="1166"/>
                    <a:pt x="955" y="1166"/>
                    <a:pt x="955" y="1166"/>
                  </a:cubicBezTo>
                  <a:moveTo>
                    <a:pt x="999" y="1166"/>
                  </a:moveTo>
                  <a:cubicBezTo>
                    <a:pt x="990" y="1166"/>
                    <a:pt x="981" y="1170"/>
                    <a:pt x="978" y="1176"/>
                  </a:cubicBezTo>
                  <a:cubicBezTo>
                    <a:pt x="976" y="1182"/>
                    <a:pt x="981" y="1186"/>
                    <a:pt x="989" y="1186"/>
                  </a:cubicBezTo>
                  <a:cubicBezTo>
                    <a:pt x="998" y="1186"/>
                    <a:pt x="1007" y="1182"/>
                    <a:pt x="1010" y="1176"/>
                  </a:cubicBezTo>
                  <a:cubicBezTo>
                    <a:pt x="1012" y="1170"/>
                    <a:pt x="1008" y="1166"/>
                    <a:pt x="999" y="1166"/>
                  </a:cubicBezTo>
                  <a:cubicBezTo>
                    <a:pt x="999" y="1166"/>
                    <a:pt x="999" y="1166"/>
                    <a:pt x="999" y="1166"/>
                  </a:cubicBezTo>
                  <a:moveTo>
                    <a:pt x="2111" y="1165"/>
                  </a:moveTo>
                  <a:cubicBezTo>
                    <a:pt x="2103" y="1165"/>
                    <a:pt x="2095" y="1170"/>
                    <a:pt x="2094" y="1176"/>
                  </a:cubicBezTo>
                  <a:cubicBezTo>
                    <a:pt x="2094" y="1181"/>
                    <a:pt x="2100" y="1186"/>
                    <a:pt x="2109" y="1186"/>
                  </a:cubicBezTo>
                  <a:cubicBezTo>
                    <a:pt x="2118" y="1186"/>
                    <a:pt x="2125" y="1181"/>
                    <a:pt x="2126" y="1176"/>
                  </a:cubicBezTo>
                  <a:cubicBezTo>
                    <a:pt x="2126" y="1170"/>
                    <a:pt x="2120" y="1165"/>
                    <a:pt x="2111" y="1165"/>
                  </a:cubicBezTo>
                  <a:cubicBezTo>
                    <a:pt x="2111" y="1165"/>
                    <a:pt x="2111" y="1165"/>
                    <a:pt x="2111" y="1165"/>
                  </a:cubicBezTo>
                  <a:moveTo>
                    <a:pt x="2156" y="1165"/>
                  </a:moveTo>
                  <a:cubicBezTo>
                    <a:pt x="2147" y="1165"/>
                    <a:pt x="2140" y="1170"/>
                    <a:pt x="2139" y="1175"/>
                  </a:cubicBezTo>
                  <a:cubicBezTo>
                    <a:pt x="2139" y="1181"/>
                    <a:pt x="2145" y="1186"/>
                    <a:pt x="2154" y="1186"/>
                  </a:cubicBezTo>
                  <a:cubicBezTo>
                    <a:pt x="2162" y="1186"/>
                    <a:pt x="2170" y="1181"/>
                    <a:pt x="2170" y="1175"/>
                  </a:cubicBezTo>
                  <a:cubicBezTo>
                    <a:pt x="2171" y="1170"/>
                    <a:pt x="2164" y="1165"/>
                    <a:pt x="2156" y="1165"/>
                  </a:cubicBezTo>
                  <a:cubicBezTo>
                    <a:pt x="2156" y="1165"/>
                    <a:pt x="2156" y="1165"/>
                    <a:pt x="2156" y="1165"/>
                  </a:cubicBezTo>
                  <a:moveTo>
                    <a:pt x="2201" y="1165"/>
                  </a:moveTo>
                  <a:cubicBezTo>
                    <a:pt x="2192" y="1165"/>
                    <a:pt x="2185" y="1170"/>
                    <a:pt x="2184" y="1175"/>
                  </a:cubicBezTo>
                  <a:cubicBezTo>
                    <a:pt x="2184" y="1181"/>
                    <a:pt x="2190" y="1186"/>
                    <a:pt x="2199" y="1186"/>
                  </a:cubicBezTo>
                  <a:cubicBezTo>
                    <a:pt x="2208" y="1186"/>
                    <a:pt x="2215" y="1181"/>
                    <a:pt x="2216" y="1175"/>
                  </a:cubicBezTo>
                  <a:cubicBezTo>
                    <a:pt x="2216" y="1170"/>
                    <a:pt x="2210" y="1165"/>
                    <a:pt x="2201" y="1165"/>
                  </a:cubicBezTo>
                  <a:cubicBezTo>
                    <a:pt x="2201" y="1165"/>
                    <a:pt x="2201" y="1165"/>
                    <a:pt x="2201" y="1165"/>
                  </a:cubicBezTo>
                  <a:moveTo>
                    <a:pt x="2245" y="1165"/>
                  </a:moveTo>
                  <a:cubicBezTo>
                    <a:pt x="2236" y="1165"/>
                    <a:pt x="2229" y="1170"/>
                    <a:pt x="2228" y="1175"/>
                  </a:cubicBezTo>
                  <a:cubicBezTo>
                    <a:pt x="2228" y="1181"/>
                    <a:pt x="2235" y="1185"/>
                    <a:pt x="2243" y="1185"/>
                  </a:cubicBezTo>
                  <a:cubicBezTo>
                    <a:pt x="2252" y="1185"/>
                    <a:pt x="2259" y="1181"/>
                    <a:pt x="2260" y="1175"/>
                  </a:cubicBezTo>
                  <a:cubicBezTo>
                    <a:pt x="2260" y="1170"/>
                    <a:pt x="2253" y="1165"/>
                    <a:pt x="2245" y="1165"/>
                  </a:cubicBezTo>
                  <a:cubicBezTo>
                    <a:pt x="2245" y="1165"/>
                    <a:pt x="2245" y="1165"/>
                    <a:pt x="2245" y="1165"/>
                  </a:cubicBezTo>
                  <a:moveTo>
                    <a:pt x="2289" y="1165"/>
                  </a:moveTo>
                  <a:cubicBezTo>
                    <a:pt x="2280" y="1165"/>
                    <a:pt x="2273" y="1169"/>
                    <a:pt x="2273" y="1175"/>
                  </a:cubicBezTo>
                  <a:cubicBezTo>
                    <a:pt x="2273" y="1181"/>
                    <a:pt x="2279" y="1185"/>
                    <a:pt x="2288" y="1185"/>
                  </a:cubicBezTo>
                  <a:cubicBezTo>
                    <a:pt x="2297" y="1185"/>
                    <a:pt x="2304" y="1181"/>
                    <a:pt x="2304" y="1175"/>
                  </a:cubicBezTo>
                  <a:cubicBezTo>
                    <a:pt x="2304" y="1169"/>
                    <a:pt x="2298" y="1165"/>
                    <a:pt x="2289" y="1165"/>
                  </a:cubicBezTo>
                  <a:cubicBezTo>
                    <a:pt x="2289" y="1165"/>
                    <a:pt x="2289" y="1165"/>
                    <a:pt x="2289" y="1165"/>
                  </a:cubicBezTo>
                  <a:moveTo>
                    <a:pt x="2334" y="1165"/>
                  </a:moveTo>
                  <a:cubicBezTo>
                    <a:pt x="2325" y="1165"/>
                    <a:pt x="2318" y="1169"/>
                    <a:pt x="2318" y="1175"/>
                  </a:cubicBezTo>
                  <a:cubicBezTo>
                    <a:pt x="2317" y="1181"/>
                    <a:pt x="2324" y="1185"/>
                    <a:pt x="2333" y="1185"/>
                  </a:cubicBezTo>
                  <a:cubicBezTo>
                    <a:pt x="2342" y="1185"/>
                    <a:pt x="2349" y="1181"/>
                    <a:pt x="2349" y="1175"/>
                  </a:cubicBezTo>
                  <a:cubicBezTo>
                    <a:pt x="2349" y="1169"/>
                    <a:pt x="2342" y="1165"/>
                    <a:pt x="2334" y="1165"/>
                  </a:cubicBezTo>
                  <a:cubicBezTo>
                    <a:pt x="2334" y="1165"/>
                    <a:pt x="2334" y="1165"/>
                    <a:pt x="2334" y="1165"/>
                  </a:cubicBezTo>
                  <a:moveTo>
                    <a:pt x="2379" y="1165"/>
                  </a:moveTo>
                  <a:cubicBezTo>
                    <a:pt x="2370" y="1165"/>
                    <a:pt x="2363" y="1169"/>
                    <a:pt x="2363" y="1175"/>
                  </a:cubicBezTo>
                  <a:cubicBezTo>
                    <a:pt x="2363" y="1181"/>
                    <a:pt x="2370" y="1185"/>
                    <a:pt x="2378" y="1185"/>
                  </a:cubicBezTo>
                  <a:cubicBezTo>
                    <a:pt x="2387" y="1185"/>
                    <a:pt x="2394" y="1180"/>
                    <a:pt x="2394" y="1175"/>
                  </a:cubicBezTo>
                  <a:cubicBezTo>
                    <a:pt x="2394" y="1169"/>
                    <a:pt x="2387" y="1165"/>
                    <a:pt x="2379" y="1165"/>
                  </a:cubicBezTo>
                  <a:cubicBezTo>
                    <a:pt x="2379" y="1165"/>
                    <a:pt x="2379" y="1165"/>
                    <a:pt x="2379" y="1165"/>
                  </a:cubicBezTo>
                  <a:moveTo>
                    <a:pt x="2423" y="1164"/>
                  </a:moveTo>
                  <a:cubicBezTo>
                    <a:pt x="2414" y="1165"/>
                    <a:pt x="2407" y="1169"/>
                    <a:pt x="2407" y="1175"/>
                  </a:cubicBezTo>
                  <a:cubicBezTo>
                    <a:pt x="2407" y="1180"/>
                    <a:pt x="2414" y="1185"/>
                    <a:pt x="2423" y="1185"/>
                  </a:cubicBezTo>
                  <a:cubicBezTo>
                    <a:pt x="2431" y="1185"/>
                    <a:pt x="2438" y="1180"/>
                    <a:pt x="2439" y="1175"/>
                  </a:cubicBezTo>
                  <a:cubicBezTo>
                    <a:pt x="2439" y="1169"/>
                    <a:pt x="2432" y="1164"/>
                    <a:pt x="2423" y="1164"/>
                  </a:cubicBezTo>
                  <a:cubicBezTo>
                    <a:pt x="2423" y="1164"/>
                    <a:pt x="2423" y="1164"/>
                    <a:pt x="2423" y="1164"/>
                  </a:cubicBezTo>
                  <a:moveTo>
                    <a:pt x="2468" y="1164"/>
                  </a:moveTo>
                  <a:cubicBezTo>
                    <a:pt x="2459" y="1164"/>
                    <a:pt x="2452" y="1169"/>
                    <a:pt x="2452" y="1175"/>
                  </a:cubicBezTo>
                  <a:cubicBezTo>
                    <a:pt x="2452" y="1180"/>
                    <a:pt x="2459" y="1185"/>
                    <a:pt x="2468" y="1185"/>
                  </a:cubicBezTo>
                  <a:cubicBezTo>
                    <a:pt x="2476" y="1185"/>
                    <a:pt x="2483" y="1180"/>
                    <a:pt x="2483" y="1175"/>
                  </a:cubicBezTo>
                  <a:cubicBezTo>
                    <a:pt x="2483" y="1169"/>
                    <a:pt x="2476" y="1164"/>
                    <a:pt x="2468" y="1164"/>
                  </a:cubicBezTo>
                  <a:cubicBezTo>
                    <a:pt x="2468" y="1164"/>
                    <a:pt x="2468" y="1164"/>
                    <a:pt x="2468" y="1164"/>
                  </a:cubicBezTo>
                  <a:moveTo>
                    <a:pt x="2512" y="1164"/>
                  </a:moveTo>
                  <a:cubicBezTo>
                    <a:pt x="2503" y="1164"/>
                    <a:pt x="2496" y="1169"/>
                    <a:pt x="2496" y="1174"/>
                  </a:cubicBezTo>
                  <a:cubicBezTo>
                    <a:pt x="2496" y="1180"/>
                    <a:pt x="2503" y="1185"/>
                    <a:pt x="2512" y="1185"/>
                  </a:cubicBezTo>
                  <a:cubicBezTo>
                    <a:pt x="2521" y="1185"/>
                    <a:pt x="2528" y="1180"/>
                    <a:pt x="2528" y="1174"/>
                  </a:cubicBezTo>
                  <a:cubicBezTo>
                    <a:pt x="2527" y="1169"/>
                    <a:pt x="2520" y="1164"/>
                    <a:pt x="2512" y="1164"/>
                  </a:cubicBezTo>
                  <a:cubicBezTo>
                    <a:pt x="2512" y="1164"/>
                    <a:pt x="2512" y="1164"/>
                    <a:pt x="2512" y="1164"/>
                  </a:cubicBezTo>
                  <a:moveTo>
                    <a:pt x="2556" y="1164"/>
                  </a:moveTo>
                  <a:cubicBezTo>
                    <a:pt x="2548" y="1164"/>
                    <a:pt x="2541" y="1169"/>
                    <a:pt x="2541" y="1174"/>
                  </a:cubicBezTo>
                  <a:cubicBezTo>
                    <a:pt x="2541" y="1180"/>
                    <a:pt x="2548" y="1185"/>
                    <a:pt x="2557" y="1185"/>
                  </a:cubicBezTo>
                  <a:cubicBezTo>
                    <a:pt x="2566" y="1185"/>
                    <a:pt x="2573" y="1180"/>
                    <a:pt x="2572" y="1174"/>
                  </a:cubicBezTo>
                  <a:cubicBezTo>
                    <a:pt x="2572" y="1169"/>
                    <a:pt x="2565" y="1164"/>
                    <a:pt x="2556" y="1164"/>
                  </a:cubicBezTo>
                  <a:cubicBezTo>
                    <a:pt x="2556" y="1164"/>
                    <a:pt x="2556" y="1164"/>
                    <a:pt x="2556" y="1164"/>
                  </a:cubicBezTo>
                  <a:moveTo>
                    <a:pt x="2601" y="1164"/>
                  </a:moveTo>
                  <a:cubicBezTo>
                    <a:pt x="2593" y="1164"/>
                    <a:pt x="2586" y="1169"/>
                    <a:pt x="2586" y="1174"/>
                  </a:cubicBezTo>
                  <a:cubicBezTo>
                    <a:pt x="2586" y="1180"/>
                    <a:pt x="2594" y="1184"/>
                    <a:pt x="2602" y="1184"/>
                  </a:cubicBezTo>
                  <a:cubicBezTo>
                    <a:pt x="2611" y="1184"/>
                    <a:pt x="2618" y="1180"/>
                    <a:pt x="2618" y="1174"/>
                  </a:cubicBezTo>
                  <a:cubicBezTo>
                    <a:pt x="2617" y="1169"/>
                    <a:pt x="2610" y="1164"/>
                    <a:pt x="2602" y="1164"/>
                  </a:cubicBezTo>
                  <a:cubicBezTo>
                    <a:pt x="2601" y="1164"/>
                    <a:pt x="2601" y="1164"/>
                    <a:pt x="2601" y="1164"/>
                  </a:cubicBezTo>
                  <a:moveTo>
                    <a:pt x="2646" y="1164"/>
                  </a:moveTo>
                  <a:cubicBezTo>
                    <a:pt x="2637" y="1164"/>
                    <a:pt x="2630" y="1168"/>
                    <a:pt x="2631" y="1174"/>
                  </a:cubicBezTo>
                  <a:cubicBezTo>
                    <a:pt x="2631" y="1180"/>
                    <a:pt x="2638" y="1184"/>
                    <a:pt x="2647" y="1184"/>
                  </a:cubicBezTo>
                  <a:cubicBezTo>
                    <a:pt x="2656" y="1184"/>
                    <a:pt x="2662" y="1180"/>
                    <a:pt x="2662" y="1174"/>
                  </a:cubicBezTo>
                  <a:cubicBezTo>
                    <a:pt x="2662" y="1168"/>
                    <a:pt x="2654" y="1164"/>
                    <a:pt x="2646" y="1164"/>
                  </a:cubicBezTo>
                  <a:cubicBezTo>
                    <a:pt x="2646" y="1164"/>
                    <a:pt x="2646" y="1164"/>
                    <a:pt x="2646" y="1164"/>
                  </a:cubicBezTo>
                  <a:moveTo>
                    <a:pt x="2691" y="1164"/>
                  </a:moveTo>
                  <a:cubicBezTo>
                    <a:pt x="2682" y="1164"/>
                    <a:pt x="2675" y="1168"/>
                    <a:pt x="2676" y="1174"/>
                  </a:cubicBezTo>
                  <a:cubicBezTo>
                    <a:pt x="2676" y="1180"/>
                    <a:pt x="2683" y="1184"/>
                    <a:pt x="2692" y="1184"/>
                  </a:cubicBezTo>
                  <a:cubicBezTo>
                    <a:pt x="2701" y="1184"/>
                    <a:pt x="2707" y="1180"/>
                    <a:pt x="2707" y="1174"/>
                  </a:cubicBezTo>
                  <a:cubicBezTo>
                    <a:pt x="2707" y="1168"/>
                    <a:pt x="2699" y="1164"/>
                    <a:pt x="2691" y="1164"/>
                  </a:cubicBezTo>
                  <a:cubicBezTo>
                    <a:pt x="2691" y="1164"/>
                    <a:pt x="2691" y="1164"/>
                    <a:pt x="2691" y="1164"/>
                  </a:cubicBezTo>
                  <a:moveTo>
                    <a:pt x="2734" y="1164"/>
                  </a:moveTo>
                  <a:cubicBezTo>
                    <a:pt x="2725" y="1164"/>
                    <a:pt x="2718" y="1168"/>
                    <a:pt x="2719" y="1174"/>
                  </a:cubicBezTo>
                  <a:cubicBezTo>
                    <a:pt x="2719" y="1180"/>
                    <a:pt x="2727" y="1184"/>
                    <a:pt x="2735" y="1184"/>
                  </a:cubicBezTo>
                  <a:cubicBezTo>
                    <a:pt x="2744" y="1184"/>
                    <a:pt x="2751" y="1179"/>
                    <a:pt x="2750" y="1174"/>
                  </a:cubicBezTo>
                  <a:cubicBezTo>
                    <a:pt x="2750" y="1168"/>
                    <a:pt x="2742" y="1164"/>
                    <a:pt x="2734" y="1164"/>
                  </a:cubicBezTo>
                  <a:cubicBezTo>
                    <a:pt x="2734" y="1164"/>
                    <a:pt x="2734" y="1164"/>
                    <a:pt x="2734" y="1164"/>
                  </a:cubicBezTo>
                  <a:moveTo>
                    <a:pt x="4380" y="1159"/>
                  </a:moveTo>
                  <a:cubicBezTo>
                    <a:pt x="4371" y="1159"/>
                    <a:pt x="4367" y="1164"/>
                    <a:pt x="4370" y="1169"/>
                  </a:cubicBezTo>
                  <a:cubicBezTo>
                    <a:pt x="4374" y="1175"/>
                    <a:pt x="4384" y="1180"/>
                    <a:pt x="4392" y="1180"/>
                  </a:cubicBezTo>
                  <a:cubicBezTo>
                    <a:pt x="4401" y="1180"/>
                    <a:pt x="4405" y="1175"/>
                    <a:pt x="4402" y="1169"/>
                  </a:cubicBezTo>
                  <a:cubicBezTo>
                    <a:pt x="4398" y="1164"/>
                    <a:pt x="4388" y="1159"/>
                    <a:pt x="4380" y="1159"/>
                  </a:cubicBezTo>
                  <a:cubicBezTo>
                    <a:pt x="4380" y="1159"/>
                    <a:pt x="4380" y="1159"/>
                    <a:pt x="4380" y="1159"/>
                  </a:cubicBezTo>
                  <a:moveTo>
                    <a:pt x="4422" y="1159"/>
                  </a:moveTo>
                  <a:cubicBezTo>
                    <a:pt x="4413" y="1159"/>
                    <a:pt x="4409" y="1164"/>
                    <a:pt x="4412" y="1169"/>
                  </a:cubicBezTo>
                  <a:cubicBezTo>
                    <a:pt x="4416" y="1175"/>
                    <a:pt x="4426" y="1180"/>
                    <a:pt x="4434" y="1179"/>
                  </a:cubicBezTo>
                  <a:cubicBezTo>
                    <a:pt x="4443" y="1179"/>
                    <a:pt x="4447" y="1175"/>
                    <a:pt x="4444" y="1169"/>
                  </a:cubicBezTo>
                  <a:cubicBezTo>
                    <a:pt x="4440" y="1163"/>
                    <a:pt x="4430" y="1159"/>
                    <a:pt x="4422" y="1159"/>
                  </a:cubicBezTo>
                  <a:cubicBezTo>
                    <a:pt x="4422" y="1159"/>
                    <a:pt x="4422" y="1159"/>
                    <a:pt x="4422" y="1159"/>
                  </a:cubicBezTo>
                  <a:moveTo>
                    <a:pt x="4024" y="1157"/>
                  </a:moveTo>
                  <a:cubicBezTo>
                    <a:pt x="4016" y="1157"/>
                    <a:pt x="4011" y="1162"/>
                    <a:pt x="4014" y="1168"/>
                  </a:cubicBezTo>
                  <a:cubicBezTo>
                    <a:pt x="4017" y="1173"/>
                    <a:pt x="4026" y="1178"/>
                    <a:pt x="4035" y="1178"/>
                  </a:cubicBezTo>
                  <a:cubicBezTo>
                    <a:pt x="4043" y="1178"/>
                    <a:pt x="4048" y="1173"/>
                    <a:pt x="4045" y="1167"/>
                  </a:cubicBezTo>
                  <a:cubicBezTo>
                    <a:pt x="4042" y="1162"/>
                    <a:pt x="4033" y="1157"/>
                    <a:pt x="4024" y="1157"/>
                  </a:cubicBezTo>
                  <a:cubicBezTo>
                    <a:pt x="4024" y="1157"/>
                    <a:pt x="4024" y="1157"/>
                    <a:pt x="4024" y="1157"/>
                  </a:cubicBezTo>
                  <a:moveTo>
                    <a:pt x="4067" y="1157"/>
                  </a:moveTo>
                  <a:cubicBezTo>
                    <a:pt x="4059" y="1157"/>
                    <a:pt x="4054" y="1162"/>
                    <a:pt x="4057" y="1167"/>
                  </a:cubicBezTo>
                  <a:cubicBezTo>
                    <a:pt x="4060" y="1173"/>
                    <a:pt x="4069" y="1178"/>
                    <a:pt x="4078" y="1178"/>
                  </a:cubicBezTo>
                  <a:cubicBezTo>
                    <a:pt x="4087" y="1178"/>
                    <a:pt x="4091" y="1173"/>
                    <a:pt x="4088" y="1167"/>
                  </a:cubicBezTo>
                  <a:cubicBezTo>
                    <a:pt x="4085" y="1162"/>
                    <a:pt x="4076" y="1157"/>
                    <a:pt x="4068" y="1157"/>
                  </a:cubicBezTo>
                  <a:cubicBezTo>
                    <a:pt x="4068" y="1157"/>
                    <a:pt x="4067" y="1157"/>
                    <a:pt x="4067" y="1157"/>
                  </a:cubicBezTo>
                  <a:moveTo>
                    <a:pt x="4201" y="1157"/>
                  </a:moveTo>
                  <a:cubicBezTo>
                    <a:pt x="4192" y="1157"/>
                    <a:pt x="4188" y="1162"/>
                    <a:pt x="4191" y="1167"/>
                  </a:cubicBezTo>
                  <a:cubicBezTo>
                    <a:pt x="4194" y="1173"/>
                    <a:pt x="4204" y="1178"/>
                    <a:pt x="4212" y="1178"/>
                  </a:cubicBezTo>
                  <a:cubicBezTo>
                    <a:pt x="4221" y="1178"/>
                    <a:pt x="4225" y="1173"/>
                    <a:pt x="4222" y="1167"/>
                  </a:cubicBezTo>
                  <a:cubicBezTo>
                    <a:pt x="4219" y="1162"/>
                    <a:pt x="4209" y="1157"/>
                    <a:pt x="4201" y="1157"/>
                  </a:cubicBezTo>
                  <a:cubicBezTo>
                    <a:pt x="4201" y="1157"/>
                    <a:pt x="4201" y="1157"/>
                    <a:pt x="4201" y="1157"/>
                  </a:cubicBezTo>
                  <a:moveTo>
                    <a:pt x="4245" y="1157"/>
                  </a:moveTo>
                  <a:cubicBezTo>
                    <a:pt x="4236" y="1157"/>
                    <a:pt x="4232" y="1162"/>
                    <a:pt x="4235" y="1167"/>
                  </a:cubicBezTo>
                  <a:cubicBezTo>
                    <a:pt x="4238" y="1173"/>
                    <a:pt x="4248" y="1177"/>
                    <a:pt x="4256" y="1177"/>
                  </a:cubicBezTo>
                  <a:cubicBezTo>
                    <a:pt x="4265" y="1177"/>
                    <a:pt x="4269" y="1173"/>
                    <a:pt x="4266" y="1167"/>
                  </a:cubicBezTo>
                  <a:cubicBezTo>
                    <a:pt x="4263" y="1161"/>
                    <a:pt x="4253" y="1157"/>
                    <a:pt x="4245" y="1157"/>
                  </a:cubicBezTo>
                  <a:cubicBezTo>
                    <a:pt x="4245" y="1157"/>
                    <a:pt x="4245" y="1157"/>
                    <a:pt x="4245" y="1157"/>
                  </a:cubicBezTo>
                  <a:moveTo>
                    <a:pt x="4289" y="1157"/>
                  </a:moveTo>
                  <a:cubicBezTo>
                    <a:pt x="4280" y="1157"/>
                    <a:pt x="4276" y="1161"/>
                    <a:pt x="4279" y="1167"/>
                  </a:cubicBezTo>
                  <a:cubicBezTo>
                    <a:pt x="4283" y="1173"/>
                    <a:pt x="4292" y="1177"/>
                    <a:pt x="4301" y="1177"/>
                  </a:cubicBezTo>
                  <a:cubicBezTo>
                    <a:pt x="4309" y="1177"/>
                    <a:pt x="4314" y="1173"/>
                    <a:pt x="4310" y="1167"/>
                  </a:cubicBezTo>
                  <a:cubicBezTo>
                    <a:pt x="4307" y="1161"/>
                    <a:pt x="4297" y="1157"/>
                    <a:pt x="4289" y="1157"/>
                  </a:cubicBezTo>
                  <a:cubicBezTo>
                    <a:pt x="4289" y="1157"/>
                    <a:pt x="4289" y="1157"/>
                    <a:pt x="4289" y="1157"/>
                  </a:cubicBezTo>
                  <a:moveTo>
                    <a:pt x="4648" y="1156"/>
                  </a:moveTo>
                  <a:cubicBezTo>
                    <a:pt x="4639" y="1156"/>
                    <a:pt x="4635" y="1161"/>
                    <a:pt x="4639" y="1166"/>
                  </a:cubicBezTo>
                  <a:cubicBezTo>
                    <a:pt x="4643" y="1172"/>
                    <a:pt x="4653" y="1177"/>
                    <a:pt x="4662" y="1177"/>
                  </a:cubicBezTo>
                  <a:cubicBezTo>
                    <a:pt x="4671" y="1177"/>
                    <a:pt x="4674" y="1172"/>
                    <a:pt x="4670" y="1166"/>
                  </a:cubicBezTo>
                  <a:cubicBezTo>
                    <a:pt x="4666" y="1161"/>
                    <a:pt x="4656" y="1156"/>
                    <a:pt x="4648" y="1156"/>
                  </a:cubicBezTo>
                  <a:cubicBezTo>
                    <a:pt x="4648" y="1156"/>
                    <a:pt x="4648" y="1156"/>
                    <a:pt x="4648" y="1156"/>
                  </a:cubicBezTo>
                  <a:moveTo>
                    <a:pt x="4736" y="1156"/>
                  </a:moveTo>
                  <a:cubicBezTo>
                    <a:pt x="4727" y="1156"/>
                    <a:pt x="4723" y="1160"/>
                    <a:pt x="4728" y="1166"/>
                  </a:cubicBezTo>
                  <a:cubicBezTo>
                    <a:pt x="4732" y="1172"/>
                    <a:pt x="4742" y="1176"/>
                    <a:pt x="4751" y="1176"/>
                  </a:cubicBezTo>
                  <a:cubicBezTo>
                    <a:pt x="4759" y="1176"/>
                    <a:pt x="4763" y="1172"/>
                    <a:pt x="4759" y="1166"/>
                  </a:cubicBezTo>
                  <a:cubicBezTo>
                    <a:pt x="4755" y="1160"/>
                    <a:pt x="4744" y="1156"/>
                    <a:pt x="4736" y="1156"/>
                  </a:cubicBezTo>
                  <a:cubicBezTo>
                    <a:pt x="4736" y="1156"/>
                    <a:pt x="4736" y="1156"/>
                    <a:pt x="4736" y="1156"/>
                  </a:cubicBezTo>
                  <a:moveTo>
                    <a:pt x="4781" y="1156"/>
                  </a:moveTo>
                  <a:cubicBezTo>
                    <a:pt x="4772" y="1156"/>
                    <a:pt x="4769" y="1160"/>
                    <a:pt x="4773" y="1166"/>
                  </a:cubicBezTo>
                  <a:cubicBezTo>
                    <a:pt x="4777" y="1172"/>
                    <a:pt x="4787" y="1176"/>
                    <a:pt x="4796" y="1176"/>
                  </a:cubicBezTo>
                  <a:cubicBezTo>
                    <a:pt x="4805" y="1176"/>
                    <a:pt x="4808" y="1172"/>
                    <a:pt x="4804" y="1166"/>
                  </a:cubicBezTo>
                  <a:cubicBezTo>
                    <a:pt x="4800" y="1160"/>
                    <a:pt x="4789" y="1156"/>
                    <a:pt x="4781" y="1156"/>
                  </a:cubicBezTo>
                  <a:cubicBezTo>
                    <a:pt x="4781" y="1156"/>
                    <a:pt x="4781" y="1156"/>
                    <a:pt x="4781" y="1156"/>
                  </a:cubicBezTo>
                  <a:moveTo>
                    <a:pt x="306" y="1138"/>
                  </a:moveTo>
                  <a:cubicBezTo>
                    <a:pt x="297" y="1139"/>
                    <a:pt x="287" y="1143"/>
                    <a:pt x="283" y="1149"/>
                  </a:cubicBezTo>
                  <a:cubicBezTo>
                    <a:pt x="279" y="1154"/>
                    <a:pt x="283" y="1159"/>
                    <a:pt x="291" y="1159"/>
                  </a:cubicBezTo>
                  <a:cubicBezTo>
                    <a:pt x="300" y="1159"/>
                    <a:pt x="310" y="1154"/>
                    <a:pt x="314" y="1149"/>
                  </a:cubicBezTo>
                  <a:cubicBezTo>
                    <a:pt x="318" y="1143"/>
                    <a:pt x="314" y="1138"/>
                    <a:pt x="306" y="1138"/>
                  </a:cubicBezTo>
                  <a:cubicBezTo>
                    <a:pt x="306" y="1138"/>
                    <a:pt x="306" y="1138"/>
                    <a:pt x="306" y="1138"/>
                  </a:cubicBezTo>
                  <a:moveTo>
                    <a:pt x="350" y="1138"/>
                  </a:moveTo>
                  <a:cubicBezTo>
                    <a:pt x="341" y="1138"/>
                    <a:pt x="331" y="1143"/>
                    <a:pt x="327" y="1149"/>
                  </a:cubicBezTo>
                  <a:cubicBezTo>
                    <a:pt x="323" y="1154"/>
                    <a:pt x="327" y="1159"/>
                    <a:pt x="336" y="1159"/>
                  </a:cubicBezTo>
                  <a:cubicBezTo>
                    <a:pt x="344" y="1159"/>
                    <a:pt x="354" y="1154"/>
                    <a:pt x="358" y="1148"/>
                  </a:cubicBezTo>
                  <a:cubicBezTo>
                    <a:pt x="362" y="1143"/>
                    <a:pt x="358" y="1138"/>
                    <a:pt x="350" y="1138"/>
                  </a:cubicBezTo>
                  <a:cubicBezTo>
                    <a:pt x="350" y="1138"/>
                    <a:pt x="350" y="1138"/>
                    <a:pt x="350" y="1138"/>
                  </a:cubicBezTo>
                  <a:moveTo>
                    <a:pt x="394" y="1138"/>
                  </a:moveTo>
                  <a:cubicBezTo>
                    <a:pt x="385" y="1138"/>
                    <a:pt x="375" y="1143"/>
                    <a:pt x="371" y="1148"/>
                  </a:cubicBezTo>
                  <a:cubicBezTo>
                    <a:pt x="368" y="1154"/>
                    <a:pt x="372" y="1159"/>
                    <a:pt x="380" y="1159"/>
                  </a:cubicBezTo>
                  <a:cubicBezTo>
                    <a:pt x="389" y="1158"/>
                    <a:pt x="399" y="1154"/>
                    <a:pt x="402" y="1148"/>
                  </a:cubicBezTo>
                  <a:cubicBezTo>
                    <a:pt x="406" y="1143"/>
                    <a:pt x="402" y="1138"/>
                    <a:pt x="394" y="1138"/>
                  </a:cubicBezTo>
                  <a:cubicBezTo>
                    <a:pt x="394" y="1138"/>
                    <a:pt x="394" y="1138"/>
                    <a:pt x="394" y="1138"/>
                  </a:cubicBezTo>
                  <a:moveTo>
                    <a:pt x="438" y="1138"/>
                  </a:moveTo>
                  <a:cubicBezTo>
                    <a:pt x="429" y="1138"/>
                    <a:pt x="419" y="1143"/>
                    <a:pt x="415" y="1148"/>
                  </a:cubicBezTo>
                  <a:cubicBezTo>
                    <a:pt x="412" y="1154"/>
                    <a:pt x="416" y="1158"/>
                    <a:pt x="424" y="1158"/>
                  </a:cubicBezTo>
                  <a:cubicBezTo>
                    <a:pt x="433" y="1158"/>
                    <a:pt x="443" y="1154"/>
                    <a:pt x="446" y="1148"/>
                  </a:cubicBezTo>
                  <a:cubicBezTo>
                    <a:pt x="450" y="1143"/>
                    <a:pt x="446" y="1138"/>
                    <a:pt x="438" y="1138"/>
                  </a:cubicBezTo>
                  <a:cubicBezTo>
                    <a:pt x="438" y="1138"/>
                    <a:pt x="438" y="1138"/>
                    <a:pt x="438" y="1138"/>
                  </a:cubicBezTo>
                  <a:moveTo>
                    <a:pt x="482" y="1138"/>
                  </a:moveTo>
                  <a:cubicBezTo>
                    <a:pt x="473" y="1138"/>
                    <a:pt x="464" y="1143"/>
                    <a:pt x="460" y="1148"/>
                  </a:cubicBezTo>
                  <a:cubicBezTo>
                    <a:pt x="456" y="1154"/>
                    <a:pt x="460" y="1158"/>
                    <a:pt x="469" y="1158"/>
                  </a:cubicBezTo>
                  <a:cubicBezTo>
                    <a:pt x="477" y="1158"/>
                    <a:pt x="487" y="1154"/>
                    <a:pt x="491" y="1148"/>
                  </a:cubicBezTo>
                  <a:cubicBezTo>
                    <a:pt x="494" y="1142"/>
                    <a:pt x="490" y="1138"/>
                    <a:pt x="482" y="1138"/>
                  </a:cubicBezTo>
                  <a:cubicBezTo>
                    <a:pt x="482" y="1138"/>
                    <a:pt x="482" y="1138"/>
                    <a:pt x="482" y="1138"/>
                  </a:cubicBezTo>
                  <a:moveTo>
                    <a:pt x="527" y="1138"/>
                  </a:moveTo>
                  <a:cubicBezTo>
                    <a:pt x="519" y="1138"/>
                    <a:pt x="509" y="1142"/>
                    <a:pt x="506" y="1148"/>
                  </a:cubicBezTo>
                  <a:cubicBezTo>
                    <a:pt x="502" y="1154"/>
                    <a:pt x="506" y="1158"/>
                    <a:pt x="515" y="1158"/>
                  </a:cubicBezTo>
                  <a:cubicBezTo>
                    <a:pt x="523" y="1158"/>
                    <a:pt x="533" y="1154"/>
                    <a:pt x="537" y="1148"/>
                  </a:cubicBezTo>
                  <a:cubicBezTo>
                    <a:pt x="540" y="1142"/>
                    <a:pt x="536" y="1138"/>
                    <a:pt x="528" y="1138"/>
                  </a:cubicBezTo>
                  <a:cubicBezTo>
                    <a:pt x="528" y="1138"/>
                    <a:pt x="527" y="1138"/>
                    <a:pt x="527" y="1138"/>
                  </a:cubicBezTo>
                  <a:moveTo>
                    <a:pt x="571" y="1138"/>
                  </a:moveTo>
                  <a:cubicBezTo>
                    <a:pt x="563" y="1138"/>
                    <a:pt x="553" y="1142"/>
                    <a:pt x="550" y="1148"/>
                  </a:cubicBezTo>
                  <a:cubicBezTo>
                    <a:pt x="546" y="1154"/>
                    <a:pt x="550" y="1158"/>
                    <a:pt x="559" y="1158"/>
                  </a:cubicBezTo>
                  <a:cubicBezTo>
                    <a:pt x="567" y="1158"/>
                    <a:pt x="577" y="1153"/>
                    <a:pt x="581" y="1148"/>
                  </a:cubicBezTo>
                  <a:cubicBezTo>
                    <a:pt x="584" y="1142"/>
                    <a:pt x="580" y="1138"/>
                    <a:pt x="571" y="1138"/>
                  </a:cubicBezTo>
                  <a:cubicBezTo>
                    <a:pt x="571" y="1138"/>
                    <a:pt x="571" y="1138"/>
                    <a:pt x="571" y="1138"/>
                  </a:cubicBezTo>
                  <a:moveTo>
                    <a:pt x="616" y="1138"/>
                  </a:moveTo>
                  <a:cubicBezTo>
                    <a:pt x="607" y="1138"/>
                    <a:pt x="597" y="1142"/>
                    <a:pt x="594" y="1148"/>
                  </a:cubicBezTo>
                  <a:cubicBezTo>
                    <a:pt x="591" y="1153"/>
                    <a:pt x="595" y="1158"/>
                    <a:pt x="603" y="1158"/>
                  </a:cubicBezTo>
                  <a:cubicBezTo>
                    <a:pt x="612" y="1158"/>
                    <a:pt x="622" y="1153"/>
                    <a:pt x="625" y="1148"/>
                  </a:cubicBezTo>
                  <a:cubicBezTo>
                    <a:pt x="628" y="1142"/>
                    <a:pt x="624" y="1138"/>
                    <a:pt x="616" y="1138"/>
                  </a:cubicBezTo>
                  <a:cubicBezTo>
                    <a:pt x="616" y="1138"/>
                    <a:pt x="616" y="1138"/>
                    <a:pt x="616" y="1138"/>
                  </a:cubicBezTo>
                  <a:moveTo>
                    <a:pt x="660" y="1137"/>
                  </a:moveTo>
                  <a:cubicBezTo>
                    <a:pt x="652" y="1137"/>
                    <a:pt x="642" y="1142"/>
                    <a:pt x="639" y="1148"/>
                  </a:cubicBezTo>
                  <a:cubicBezTo>
                    <a:pt x="635" y="1153"/>
                    <a:pt x="640" y="1158"/>
                    <a:pt x="648" y="1158"/>
                  </a:cubicBezTo>
                  <a:cubicBezTo>
                    <a:pt x="657" y="1158"/>
                    <a:pt x="666" y="1153"/>
                    <a:pt x="670" y="1148"/>
                  </a:cubicBezTo>
                  <a:cubicBezTo>
                    <a:pt x="673" y="1142"/>
                    <a:pt x="669" y="1137"/>
                    <a:pt x="660" y="1137"/>
                  </a:cubicBezTo>
                  <a:cubicBezTo>
                    <a:pt x="660" y="1137"/>
                    <a:pt x="660" y="1137"/>
                    <a:pt x="660" y="1137"/>
                  </a:cubicBezTo>
                  <a:moveTo>
                    <a:pt x="704" y="1137"/>
                  </a:moveTo>
                  <a:cubicBezTo>
                    <a:pt x="696" y="1137"/>
                    <a:pt x="686" y="1142"/>
                    <a:pt x="683" y="1148"/>
                  </a:cubicBezTo>
                  <a:cubicBezTo>
                    <a:pt x="680" y="1153"/>
                    <a:pt x="684" y="1158"/>
                    <a:pt x="692" y="1158"/>
                  </a:cubicBezTo>
                  <a:cubicBezTo>
                    <a:pt x="701" y="1158"/>
                    <a:pt x="711" y="1153"/>
                    <a:pt x="714" y="1147"/>
                  </a:cubicBezTo>
                  <a:cubicBezTo>
                    <a:pt x="717" y="1142"/>
                    <a:pt x="713" y="1137"/>
                    <a:pt x="704" y="1137"/>
                  </a:cubicBezTo>
                  <a:cubicBezTo>
                    <a:pt x="704" y="1137"/>
                    <a:pt x="704" y="1137"/>
                    <a:pt x="704" y="1137"/>
                  </a:cubicBezTo>
                  <a:moveTo>
                    <a:pt x="748" y="1137"/>
                  </a:moveTo>
                  <a:cubicBezTo>
                    <a:pt x="740" y="1137"/>
                    <a:pt x="730" y="1142"/>
                    <a:pt x="727" y="1147"/>
                  </a:cubicBezTo>
                  <a:cubicBezTo>
                    <a:pt x="724" y="1153"/>
                    <a:pt x="728" y="1158"/>
                    <a:pt x="737" y="1157"/>
                  </a:cubicBezTo>
                  <a:cubicBezTo>
                    <a:pt x="745" y="1157"/>
                    <a:pt x="755" y="1153"/>
                    <a:pt x="758" y="1147"/>
                  </a:cubicBezTo>
                  <a:cubicBezTo>
                    <a:pt x="761" y="1142"/>
                    <a:pt x="757" y="1137"/>
                    <a:pt x="748" y="1137"/>
                  </a:cubicBezTo>
                  <a:cubicBezTo>
                    <a:pt x="748" y="1137"/>
                    <a:pt x="748" y="1137"/>
                    <a:pt x="748" y="1137"/>
                  </a:cubicBezTo>
                  <a:moveTo>
                    <a:pt x="792" y="1137"/>
                  </a:moveTo>
                  <a:cubicBezTo>
                    <a:pt x="784" y="1137"/>
                    <a:pt x="774" y="1142"/>
                    <a:pt x="771" y="1147"/>
                  </a:cubicBezTo>
                  <a:cubicBezTo>
                    <a:pt x="768" y="1153"/>
                    <a:pt x="772" y="1157"/>
                    <a:pt x="781" y="1157"/>
                  </a:cubicBezTo>
                  <a:cubicBezTo>
                    <a:pt x="790" y="1157"/>
                    <a:pt x="799" y="1153"/>
                    <a:pt x="802" y="1147"/>
                  </a:cubicBezTo>
                  <a:cubicBezTo>
                    <a:pt x="805" y="1142"/>
                    <a:pt x="801" y="1137"/>
                    <a:pt x="792" y="1137"/>
                  </a:cubicBezTo>
                  <a:cubicBezTo>
                    <a:pt x="792" y="1137"/>
                    <a:pt x="792" y="1137"/>
                    <a:pt x="792" y="1137"/>
                  </a:cubicBezTo>
                  <a:moveTo>
                    <a:pt x="836" y="1137"/>
                  </a:moveTo>
                  <a:cubicBezTo>
                    <a:pt x="828" y="1137"/>
                    <a:pt x="818" y="1141"/>
                    <a:pt x="815" y="1147"/>
                  </a:cubicBezTo>
                  <a:cubicBezTo>
                    <a:pt x="812" y="1153"/>
                    <a:pt x="817" y="1157"/>
                    <a:pt x="826" y="1157"/>
                  </a:cubicBezTo>
                  <a:cubicBezTo>
                    <a:pt x="834" y="1157"/>
                    <a:pt x="843" y="1153"/>
                    <a:pt x="846" y="1147"/>
                  </a:cubicBezTo>
                  <a:cubicBezTo>
                    <a:pt x="849" y="1141"/>
                    <a:pt x="845" y="1137"/>
                    <a:pt x="836" y="1137"/>
                  </a:cubicBezTo>
                  <a:cubicBezTo>
                    <a:pt x="836" y="1137"/>
                    <a:pt x="836" y="1137"/>
                    <a:pt x="836" y="1137"/>
                  </a:cubicBezTo>
                  <a:moveTo>
                    <a:pt x="881" y="1137"/>
                  </a:moveTo>
                  <a:cubicBezTo>
                    <a:pt x="872" y="1137"/>
                    <a:pt x="863" y="1141"/>
                    <a:pt x="860" y="1147"/>
                  </a:cubicBezTo>
                  <a:cubicBezTo>
                    <a:pt x="857" y="1153"/>
                    <a:pt x="862" y="1157"/>
                    <a:pt x="870" y="1157"/>
                  </a:cubicBezTo>
                  <a:cubicBezTo>
                    <a:pt x="879" y="1157"/>
                    <a:pt x="888" y="1153"/>
                    <a:pt x="891" y="1147"/>
                  </a:cubicBezTo>
                  <a:cubicBezTo>
                    <a:pt x="894" y="1141"/>
                    <a:pt x="890" y="1137"/>
                    <a:pt x="881" y="1137"/>
                  </a:cubicBezTo>
                  <a:cubicBezTo>
                    <a:pt x="881" y="1137"/>
                    <a:pt x="881" y="1137"/>
                    <a:pt x="881" y="1137"/>
                  </a:cubicBezTo>
                  <a:moveTo>
                    <a:pt x="925" y="1137"/>
                  </a:moveTo>
                  <a:cubicBezTo>
                    <a:pt x="916" y="1137"/>
                    <a:pt x="907" y="1141"/>
                    <a:pt x="904" y="1147"/>
                  </a:cubicBezTo>
                  <a:cubicBezTo>
                    <a:pt x="901" y="1152"/>
                    <a:pt x="906" y="1157"/>
                    <a:pt x="915" y="1157"/>
                  </a:cubicBezTo>
                  <a:cubicBezTo>
                    <a:pt x="923" y="1157"/>
                    <a:pt x="932" y="1152"/>
                    <a:pt x="935" y="1147"/>
                  </a:cubicBezTo>
                  <a:cubicBezTo>
                    <a:pt x="938" y="1141"/>
                    <a:pt x="933" y="1137"/>
                    <a:pt x="925" y="1137"/>
                  </a:cubicBezTo>
                  <a:cubicBezTo>
                    <a:pt x="925" y="1137"/>
                    <a:pt x="925" y="1137"/>
                    <a:pt x="925" y="1137"/>
                  </a:cubicBezTo>
                  <a:moveTo>
                    <a:pt x="2115" y="1136"/>
                  </a:moveTo>
                  <a:cubicBezTo>
                    <a:pt x="2106" y="1136"/>
                    <a:pt x="2099" y="1140"/>
                    <a:pt x="2098" y="1146"/>
                  </a:cubicBezTo>
                  <a:cubicBezTo>
                    <a:pt x="2097" y="1152"/>
                    <a:pt x="2104" y="1156"/>
                    <a:pt x="2112" y="1156"/>
                  </a:cubicBezTo>
                  <a:cubicBezTo>
                    <a:pt x="2121" y="1156"/>
                    <a:pt x="2128" y="1152"/>
                    <a:pt x="2129" y="1146"/>
                  </a:cubicBezTo>
                  <a:cubicBezTo>
                    <a:pt x="2130" y="1140"/>
                    <a:pt x="2123" y="1136"/>
                    <a:pt x="2115" y="1136"/>
                  </a:cubicBezTo>
                  <a:cubicBezTo>
                    <a:pt x="2115" y="1136"/>
                    <a:pt x="2115" y="1136"/>
                    <a:pt x="2115" y="1136"/>
                  </a:cubicBezTo>
                  <a:moveTo>
                    <a:pt x="2159" y="1136"/>
                  </a:moveTo>
                  <a:cubicBezTo>
                    <a:pt x="2150" y="1136"/>
                    <a:pt x="2143" y="1140"/>
                    <a:pt x="2142" y="1146"/>
                  </a:cubicBezTo>
                  <a:cubicBezTo>
                    <a:pt x="2142" y="1152"/>
                    <a:pt x="2148" y="1156"/>
                    <a:pt x="2157" y="1156"/>
                  </a:cubicBezTo>
                  <a:cubicBezTo>
                    <a:pt x="2165" y="1156"/>
                    <a:pt x="2173" y="1152"/>
                    <a:pt x="2173" y="1146"/>
                  </a:cubicBezTo>
                  <a:cubicBezTo>
                    <a:pt x="2174" y="1140"/>
                    <a:pt x="2167" y="1136"/>
                    <a:pt x="2159" y="1136"/>
                  </a:cubicBezTo>
                  <a:cubicBezTo>
                    <a:pt x="2159" y="1136"/>
                    <a:pt x="2159" y="1136"/>
                    <a:pt x="2159" y="1136"/>
                  </a:cubicBezTo>
                  <a:moveTo>
                    <a:pt x="2203" y="1136"/>
                  </a:moveTo>
                  <a:cubicBezTo>
                    <a:pt x="2195" y="1136"/>
                    <a:pt x="2188" y="1140"/>
                    <a:pt x="2187" y="1146"/>
                  </a:cubicBezTo>
                  <a:cubicBezTo>
                    <a:pt x="2187" y="1152"/>
                    <a:pt x="2193" y="1156"/>
                    <a:pt x="2202" y="1156"/>
                  </a:cubicBezTo>
                  <a:cubicBezTo>
                    <a:pt x="2210" y="1156"/>
                    <a:pt x="2218" y="1151"/>
                    <a:pt x="2218" y="1146"/>
                  </a:cubicBezTo>
                  <a:cubicBezTo>
                    <a:pt x="2219" y="1140"/>
                    <a:pt x="2212" y="1136"/>
                    <a:pt x="2203" y="1136"/>
                  </a:cubicBezTo>
                  <a:cubicBezTo>
                    <a:pt x="2203" y="1136"/>
                    <a:pt x="2203" y="1136"/>
                    <a:pt x="2203" y="1136"/>
                  </a:cubicBezTo>
                  <a:moveTo>
                    <a:pt x="2247" y="1135"/>
                  </a:moveTo>
                  <a:cubicBezTo>
                    <a:pt x="2238" y="1135"/>
                    <a:pt x="2231" y="1140"/>
                    <a:pt x="2231" y="1146"/>
                  </a:cubicBezTo>
                  <a:cubicBezTo>
                    <a:pt x="2230" y="1151"/>
                    <a:pt x="2237" y="1156"/>
                    <a:pt x="2245" y="1156"/>
                  </a:cubicBezTo>
                  <a:cubicBezTo>
                    <a:pt x="2254" y="1156"/>
                    <a:pt x="2261" y="1151"/>
                    <a:pt x="2262" y="1146"/>
                  </a:cubicBezTo>
                  <a:cubicBezTo>
                    <a:pt x="2262" y="1140"/>
                    <a:pt x="2256" y="1135"/>
                    <a:pt x="2247" y="1135"/>
                  </a:cubicBezTo>
                  <a:cubicBezTo>
                    <a:pt x="2247" y="1135"/>
                    <a:pt x="2247" y="1135"/>
                    <a:pt x="2247" y="1135"/>
                  </a:cubicBezTo>
                  <a:moveTo>
                    <a:pt x="2291" y="1135"/>
                  </a:moveTo>
                  <a:cubicBezTo>
                    <a:pt x="2282" y="1135"/>
                    <a:pt x="2275" y="1140"/>
                    <a:pt x="2275" y="1146"/>
                  </a:cubicBezTo>
                  <a:cubicBezTo>
                    <a:pt x="2274" y="1151"/>
                    <a:pt x="2281" y="1156"/>
                    <a:pt x="2290" y="1156"/>
                  </a:cubicBezTo>
                  <a:cubicBezTo>
                    <a:pt x="2298" y="1156"/>
                    <a:pt x="2305" y="1151"/>
                    <a:pt x="2306" y="1146"/>
                  </a:cubicBezTo>
                  <a:cubicBezTo>
                    <a:pt x="2306" y="1140"/>
                    <a:pt x="2299" y="1135"/>
                    <a:pt x="2291" y="1135"/>
                  </a:cubicBezTo>
                  <a:cubicBezTo>
                    <a:pt x="2291" y="1135"/>
                    <a:pt x="2291" y="1135"/>
                    <a:pt x="2291" y="1135"/>
                  </a:cubicBezTo>
                  <a:moveTo>
                    <a:pt x="2335" y="1135"/>
                  </a:moveTo>
                  <a:cubicBezTo>
                    <a:pt x="2327" y="1135"/>
                    <a:pt x="2319" y="1140"/>
                    <a:pt x="2319" y="1145"/>
                  </a:cubicBezTo>
                  <a:cubicBezTo>
                    <a:pt x="2319" y="1151"/>
                    <a:pt x="2326" y="1156"/>
                    <a:pt x="2334" y="1156"/>
                  </a:cubicBezTo>
                  <a:cubicBezTo>
                    <a:pt x="2343" y="1156"/>
                    <a:pt x="2350" y="1151"/>
                    <a:pt x="2350" y="1145"/>
                  </a:cubicBezTo>
                  <a:cubicBezTo>
                    <a:pt x="2350" y="1140"/>
                    <a:pt x="2344" y="1135"/>
                    <a:pt x="2335" y="1135"/>
                  </a:cubicBezTo>
                  <a:cubicBezTo>
                    <a:pt x="2335" y="1135"/>
                    <a:pt x="2335" y="1135"/>
                    <a:pt x="2335" y="1135"/>
                  </a:cubicBezTo>
                  <a:moveTo>
                    <a:pt x="2380" y="1135"/>
                  </a:moveTo>
                  <a:cubicBezTo>
                    <a:pt x="2371" y="1135"/>
                    <a:pt x="2364" y="1140"/>
                    <a:pt x="2364" y="1145"/>
                  </a:cubicBezTo>
                  <a:cubicBezTo>
                    <a:pt x="2364" y="1151"/>
                    <a:pt x="2370" y="1156"/>
                    <a:pt x="2379" y="1156"/>
                  </a:cubicBezTo>
                  <a:cubicBezTo>
                    <a:pt x="2388" y="1156"/>
                    <a:pt x="2395" y="1151"/>
                    <a:pt x="2395" y="1145"/>
                  </a:cubicBezTo>
                  <a:cubicBezTo>
                    <a:pt x="2395" y="1140"/>
                    <a:pt x="2388" y="1135"/>
                    <a:pt x="2380" y="1135"/>
                  </a:cubicBezTo>
                  <a:cubicBezTo>
                    <a:pt x="2380" y="1135"/>
                    <a:pt x="2380" y="1135"/>
                    <a:pt x="2380" y="1135"/>
                  </a:cubicBezTo>
                  <a:moveTo>
                    <a:pt x="2423" y="1135"/>
                  </a:moveTo>
                  <a:cubicBezTo>
                    <a:pt x="2415" y="1135"/>
                    <a:pt x="2408" y="1140"/>
                    <a:pt x="2408" y="1145"/>
                  </a:cubicBezTo>
                  <a:cubicBezTo>
                    <a:pt x="2408" y="1151"/>
                    <a:pt x="2415" y="1155"/>
                    <a:pt x="2423" y="1155"/>
                  </a:cubicBezTo>
                  <a:cubicBezTo>
                    <a:pt x="2432" y="1155"/>
                    <a:pt x="2439" y="1151"/>
                    <a:pt x="2439" y="1145"/>
                  </a:cubicBezTo>
                  <a:cubicBezTo>
                    <a:pt x="2439" y="1139"/>
                    <a:pt x="2432" y="1135"/>
                    <a:pt x="2424" y="1135"/>
                  </a:cubicBezTo>
                  <a:cubicBezTo>
                    <a:pt x="2424" y="1135"/>
                    <a:pt x="2423" y="1135"/>
                    <a:pt x="2423" y="1135"/>
                  </a:cubicBezTo>
                  <a:moveTo>
                    <a:pt x="2468" y="1135"/>
                  </a:moveTo>
                  <a:cubicBezTo>
                    <a:pt x="2459" y="1135"/>
                    <a:pt x="2452" y="1139"/>
                    <a:pt x="2452" y="1145"/>
                  </a:cubicBezTo>
                  <a:cubicBezTo>
                    <a:pt x="2452" y="1151"/>
                    <a:pt x="2459" y="1155"/>
                    <a:pt x="2468" y="1155"/>
                  </a:cubicBezTo>
                  <a:cubicBezTo>
                    <a:pt x="2476" y="1155"/>
                    <a:pt x="2483" y="1151"/>
                    <a:pt x="2483" y="1145"/>
                  </a:cubicBezTo>
                  <a:cubicBezTo>
                    <a:pt x="2483" y="1139"/>
                    <a:pt x="2476" y="1135"/>
                    <a:pt x="2468" y="1135"/>
                  </a:cubicBezTo>
                  <a:cubicBezTo>
                    <a:pt x="2468" y="1135"/>
                    <a:pt x="2468" y="1135"/>
                    <a:pt x="2468" y="1135"/>
                  </a:cubicBezTo>
                  <a:moveTo>
                    <a:pt x="2511" y="1135"/>
                  </a:moveTo>
                  <a:cubicBezTo>
                    <a:pt x="2503" y="1135"/>
                    <a:pt x="2496" y="1139"/>
                    <a:pt x="2496" y="1145"/>
                  </a:cubicBezTo>
                  <a:cubicBezTo>
                    <a:pt x="2496" y="1151"/>
                    <a:pt x="2503" y="1155"/>
                    <a:pt x="2512" y="1155"/>
                  </a:cubicBezTo>
                  <a:cubicBezTo>
                    <a:pt x="2520" y="1155"/>
                    <a:pt x="2527" y="1151"/>
                    <a:pt x="2527" y="1145"/>
                  </a:cubicBezTo>
                  <a:cubicBezTo>
                    <a:pt x="2527" y="1139"/>
                    <a:pt x="2520" y="1135"/>
                    <a:pt x="2511" y="1135"/>
                  </a:cubicBezTo>
                  <a:cubicBezTo>
                    <a:pt x="2511" y="1135"/>
                    <a:pt x="2511" y="1135"/>
                    <a:pt x="2511" y="1135"/>
                  </a:cubicBezTo>
                  <a:moveTo>
                    <a:pt x="2556" y="1135"/>
                  </a:moveTo>
                  <a:cubicBezTo>
                    <a:pt x="2547" y="1135"/>
                    <a:pt x="2540" y="1139"/>
                    <a:pt x="2540" y="1145"/>
                  </a:cubicBezTo>
                  <a:cubicBezTo>
                    <a:pt x="2541" y="1150"/>
                    <a:pt x="2548" y="1155"/>
                    <a:pt x="2556" y="1155"/>
                  </a:cubicBezTo>
                  <a:cubicBezTo>
                    <a:pt x="2565" y="1155"/>
                    <a:pt x="2572" y="1150"/>
                    <a:pt x="2571" y="1145"/>
                  </a:cubicBezTo>
                  <a:cubicBezTo>
                    <a:pt x="2571" y="1139"/>
                    <a:pt x="2564" y="1135"/>
                    <a:pt x="2556" y="1135"/>
                  </a:cubicBezTo>
                  <a:cubicBezTo>
                    <a:pt x="2556" y="1135"/>
                    <a:pt x="2556" y="1135"/>
                    <a:pt x="2556" y="1135"/>
                  </a:cubicBezTo>
                  <a:moveTo>
                    <a:pt x="2600" y="1134"/>
                  </a:moveTo>
                  <a:cubicBezTo>
                    <a:pt x="2592" y="1134"/>
                    <a:pt x="2585" y="1139"/>
                    <a:pt x="2585" y="1145"/>
                  </a:cubicBezTo>
                  <a:cubicBezTo>
                    <a:pt x="2585" y="1150"/>
                    <a:pt x="2592" y="1155"/>
                    <a:pt x="2601" y="1155"/>
                  </a:cubicBezTo>
                  <a:cubicBezTo>
                    <a:pt x="2610" y="1155"/>
                    <a:pt x="2616" y="1150"/>
                    <a:pt x="2616" y="1145"/>
                  </a:cubicBezTo>
                  <a:cubicBezTo>
                    <a:pt x="2616" y="1139"/>
                    <a:pt x="2609" y="1134"/>
                    <a:pt x="2600" y="1134"/>
                  </a:cubicBezTo>
                  <a:cubicBezTo>
                    <a:pt x="2600" y="1134"/>
                    <a:pt x="2600" y="1134"/>
                    <a:pt x="2600" y="1134"/>
                  </a:cubicBezTo>
                  <a:moveTo>
                    <a:pt x="2644" y="1134"/>
                  </a:moveTo>
                  <a:cubicBezTo>
                    <a:pt x="2635" y="1134"/>
                    <a:pt x="2629" y="1139"/>
                    <a:pt x="2629" y="1145"/>
                  </a:cubicBezTo>
                  <a:cubicBezTo>
                    <a:pt x="2629" y="1150"/>
                    <a:pt x="2637" y="1155"/>
                    <a:pt x="2645" y="1155"/>
                  </a:cubicBezTo>
                  <a:cubicBezTo>
                    <a:pt x="2654" y="1155"/>
                    <a:pt x="2660" y="1150"/>
                    <a:pt x="2660" y="1144"/>
                  </a:cubicBezTo>
                  <a:cubicBezTo>
                    <a:pt x="2660" y="1139"/>
                    <a:pt x="2653" y="1134"/>
                    <a:pt x="2644" y="1134"/>
                  </a:cubicBezTo>
                  <a:cubicBezTo>
                    <a:pt x="2644" y="1134"/>
                    <a:pt x="2644" y="1134"/>
                    <a:pt x="2644" y="1134"/>
                  </a:cubicBezTo>
                  <a:moveTo>
                    <a:pt x="2689" y="1134"/>
                  </a:moveTo>
                  <a:cubicBezTo>
                    <a:pt x="2680" y="1134"/>
                    <a:pt x="2673" y="1139"/>
                    <a:pt x="2674" y="1144"/>
                  </a:cubicBezTo>
                  <a:cubicBezTo>
                    <a:pt x="2674" y="1150"/>
                    <a:pt x="2681" y="1155"/>
                    <a:pt x="2690" y="1155"/>
                  </a:cubicBezTo>
                  <a:cubicBezTo>
                    <a:pt x="2699" y="1155"/>
                    <a:pt x="2705" y="1150"/>
                    <a:pt x="2705" y="1144"/>
                  </a:cubicBezTo>
                  <a:cubicBezTo>
                    <a:pt x="2704" y="1139"/>
                    <a:pt x="2697" y="1134"/>
                    <a:pt x="2689" y="1134"/>
                  </a:cubicBezTo>
                  <a:cubicBezTo>
                    <a:pt x="2689" y="1134"/>
                    <a:pt x="2689" y="1134"/>
                    <a:pt x="2689" y="1134"/>
                  </a:cubicBezTo>
                  <a:moveTo>
                    <a:pt x="2731" y="1134"/>
                  </a:moveTo>
                  <a:cubicBezTo>
                    <a:pt x="2723" y="1134"/>
                    <a:pt x="2716" y="1139"/>
                    <a:pt x="2716" y="1144"/>
                  </a:cubicBezTo>
                  <a:cubicBezTo>
                    <a:pt x="2717" y="1150"/>
                    <a:pt x="2724" y="1155"/>
                    <a:pt x="2733" y="1155"/>
                  </a:cubicBezTo>
                  <a:cubicBezTo>
                    <a:pt x="2741" y="1154"/>
                    <a:pt x="2748" y="1150"/>
                    <a:pt x="2747" y="1144"/>
                  </a:cubicBezTo>
                  <a:cubicBezTo>
                    <a:pt x="2747" y="1139"/>
                    <a:pt x="2740" y="1134"/>
                    <a:pt x="2731" y="1134"/>
                  </a:cubicBezTo>
                  <a:cubicBezTo>
                    <a:pt x="2731" y="1134"/>
                    <a:pt x="2731" y="1134"/>
                    <a:pt x="2731" y="1134"/>
                  </a:cubicBezTo>
                  <a:moveTo>
                    <a:pt x="2776" y="1134"/>
                  </a:moveTo>
                  <a:cubicBezTo>
                    <a:pt x="2767" y="1134"/>
                    <a:pt x="2761" y="1139"/>
                    <a:pt x="2761" y="1144"/>
                  </a:cubicBezTo>
                  <a:cubicBezTo>
                    <a:pt x="2762" y="1150"/>
                    <a:pt x="2769" y="1154"/>
                    <a:pt x="2778" y="1154"/>
                  </a:cubicBezTo>
                  <a:cubicBezTo>
                    <a:pt x="2786" y="1154"/>
                    <a:pt x="2793" y="1150"/>
                    <a:pt x="2792" y="1144"/>
                  </a:cubicBezTo>
                  <a:cubicBezTo>
                    <a:pt x="2791" y="1138"/>
                    <a:pt x="2784" y="1134"/>
                    <a:pt x="2776" y="1134"/>
                  </a:cubicBezTo>
                  <a:cubicBezTo>
                    <a:pt x="2776" y="1134"/>
                    <a:pt x="2776" y="1134"/>
                    <a:pt x="2776" y="1134"/>
                  </a:cubicBezTo>
                  <a:moveTo>
                    <a:pt x="4186" y="1131"/>
                  </a:moveTo>
                  <a:cubicBezTo>
                    <a:pt x="4178" y="1131"/>
                    <a:pt x="4173" y="1136"/>
                    <a:pt x="4177" y="1141"/>
                  </a:cubicBezTo>
                  <a:cubicBezTo>
                    <a:pt x="4180" y="1147"/>
                    <a:pt x="4189" y="1152"/>
                    <a:pt x="4198" y="1152"/>
                  </a:cubicBezTo>
                  <a:cubicBezTo>
                    <a:pt x="4206" y="1151"/>
                    <a:pt x="4211" y="1147"/>
                    <a:pt x="4208" y="1141"/>
                  </a:cubicBezTo>
                  <a:cubicBezTo>
                    <a:pt x="4204" y="1136"/>
                    <a:pt x="4195" y="1131"/>
                    <a:pt x="4186" y="1131"/>
                  </a:cubicBezTo>
                  <a:cubicBezTo>
                    <a:pt x="4186" y="1131"/>
                    <a:pt x="4186" y="1131"/>
                    <a:pt x="4186" y="1131"/>
                  </a:cubicBezTo>
                  <a:moveTo>
                    <a:pt x="4230" y="1131"/>
                  </a:moveTo>
                  <a:cubicBezTo>
                    <a:pt x="4221" y="1131"/>
                    <a:pt x="4217" y="1135"/>
                    <a:pt x="4220" y="1141"/>
                  </a:cubicBezTo>
                  <a:cubicBezTo>
                    <a:pt x="4223" y="1147"/>
                    <a:pt x="4233" y="1151"/>
                    <a:pt x="4242" y="1151"/>
                  </a:cubicBezTo>
                  <a:cubicBezTo>
                    <a:pt x="4250" y="1151"/>
                    <a:pt x="4254" y="1147"/>
                    <a:pt x="4251" y="1141"/>
                  </a:cubicBezTo>
                  <a:cubicBezTo>
                    <a:pt x="4248" y="1135"/>
                    <a:pt x="4238" y="1131"/>
                    <a:pt x="4230" y="1131"/>
                  </a:cubicBezTo>
                  <a:cubicBezTo>
                    <a:pt x="4230" y="1131"/>
                    <a:pt x="4230" y="1131"/>
                    <a:pt x="4230" y="1131"/>
                  </a:cubicBezTo>
                  <a:moveTo>
                    <a:pt x="4274" y="1131"/>
                  </a:moveTo>
                  <a:cubicBezTo>
                    <a:pt x="4265" y="1131"/>
                    <a:pt x="4261" y="1135"/>
                    <a:pt x="4264" y="1141"/>
                  </a:cubicBezTo>
                  <a:cubicBezTo>
                    <a:pt x="4267" y="1147"/>
                    <a:pt x="4277" y="1151"/>
                    <a:pt x="4286" y="1151"/>
                  </a:cubicBezTo>
                  <a:cubicBezTo>
                    <a:pt x="4294" y="1151"/>
                    <a:pt x="4298" y="1147"/>
                    <a:pt x="4295" y="1141"/>
                  </a:cubicBezTo>
                  <a:cubicBezTo>
                    <a:pt x="4292" y="1135"/>
                    <a:pt x="4282" y="1131"/>
                    <a:pt x="4274" y="1131"/>
                  </a:cubicBezTo>
                  <a:cubicBezTo>
                    <a:pt x="4274" y="1131"/>
                    <a:pt x="4274" y="1131"/>
                    <a:pt x="4274" y="1131"/>
                  </a:cubicBezTo>
                  <a:moveTo>
                    <a:pt x="4318" y="1131"/>
                  </a:moveTo>
                  <a:cubicBezTo>
                    <a:pt x="4309" y="1131"/>
                    <a:pt x="4305" y="1135"/>
                    <a:pt x="4308" y="1141"/>
                  </a:cubicBezTo>
                  <a:cubicBezTo>
                    <a:pt x="4312" y="1147"/>
                    <a:pt x="4322" y="1151"/>
                    <a:pt x="4330" y="1151"/>
                  </a:cubicBezTo>
                  <a:cubicBezTo>
                    <a:pt x="4339" y="1151"/>
                    <a:pt x="4343" y="1146"/>
                    <a:pt x="4339" y="1141"/>
                  </a:cubicBezTo>
                  <a:cubicBezTo>
                    <a:pt x="4336" y="1135"/>
                    <a:pt x="4326" y="1131"/>
                    <a:pt x="4318" y="1131"/>
                  </a:cubicBezTo>
                  <a:cubicBezTo>
                    <a:pt x="4318" y="1131"/>
                    <a:pt x="4318" y="1131"/>
                    <a:pt x="4318" y="1131"/>
                  </a:cubicBezTo>
                  <a:moveTo>
                    <a:pt x="4362" y="1130"/>
                  </a:moveTo>
                  <a:cubicBezTo>
                    <a:pt x="4354" y="1130"/>
                    <a:pt x="4350" y="1135"/>
                    <a:pt x="4353" y="1141"/>
                  </a:cubicBezTo>
                  <a:cubicBezTo>
                    <a:pt x="4357" y="1146"/>
                    <a:pt x="4366" y="1151"/>
                    <a:pt x="4375" y="1151"/>
                  </a:cubicBezTo>
                  <a:cubicBezTo>
                    <a:pt x="4383" y="1151"/>
                    <a:pt x="4388" y="1146"/>
                    <a:pt x="4384" y="1141"/>
                  </a:cubicBezTo>
                  <a:cubicBezTo>
                    <a:pt x="4381" y="1135"/>
                    <a:pt x="4371" y="1130"/>
                    <a:pt x="4362" y="1130"/>
                  </a:cubicBezTo>
                  <a:cubicBezTo>
                    <a:pt x="4362" y="1130"/>
                    <a:pt x="4362" y="1130"/>
                    <a:pt x="4362" y="1130"/>
                  </a:cubicBezTo>
                  <a:moveTo>
                    <a:pt x="3965" y="1128"/>
                  </a:moveTo>
                  <a:cubicBezTo>
                    <a:pt x="3957" y="1128"/>
                    <a:pt x="3952" y="1132"/>
                    <a:pt x="3955" y="1138"/>
                  </a:cubicBezTo>
                  <a:cubicBezTo>
                    <a:pt x="3958" y="1144"/>
                    <a:pt x="3967" y="1148"/>
                    <a:pt x="3975" y="1148"/>
                  </a:cubicBezTo>
                  <a:cubicBezTo>
                    <a:pt x="3984" y="1148"/>
                    <a:pt x="3989" y="1144"/>
                    <a:pt x="3986" y="1138"/>
                  </a:cubicBezTo>
                  <a:cubicBezTo>
                    <a:pt x="3983" y="1132"/>
                    <a:pt x="3974" y="1128"/>
                    <a:pt x="3965" y="1128"/>
                  </a:cubicBezTo>
                  <a:cubicBezTo>
                    <a:pt x="3965" y="1128"/>
                    <a:pt x="3965" y="1128"/>
                    <a:pt x="3965" y="1128"/>
                  </a:cubicBezTo>
                  <a:moveTo>
                    <a:pt x="4010" y="1128"/>
                  </a:moveTo>
                  <a:cubicBezTo>
                    <a:pt x="4001" y="1128"/>
                    <a:pt x="3996" y="1132"/>
                    <a:pt x="3999" y="1138"/>
                  </a:cubicBezTo>
                  <a:cubicBezTo>
                    <a:pt x="4002" y="1144"/>
                    <a:pt x="4011" y="1148"/>
                    <a:pt x="4020" y="1148"/>
                  </a:cubicBezTo>
                  <a:cubicBezTo>
                    <a:pt x="4028" y="1148"/>
                    <a:pt x="4033" y="1143"/>
                    <a:pt x="4030" y="1138"/>
                  </a:cubicBezTo>
                  <a:cubicBezTo>
                    <a:pt x="4027" y="1132"/>
                    <a:pt x="4018" y="1128"/>
                    <a:pt x="4010" y="1128"/>
                  </a:cubicBezTo>
                  <a:cubicBezTo>
                    <a:pt x="4010" y="1128"/>
                    <a:pt x="4010" y="1128"/>
                    <a:pt x="4010" y="1128"/>
                  </a:cubicBezTo>
                  <a:moveTo>
                    <a:pt x="4534" y="1122"/>
                  </a:moveTo>
                  <a:cubicBezTo>
                    <a:pt x="4525" y="1122"/>
                    <a:pt x="4521" y="1127"/>
                    <a:pt x="4525" y="1133"/>
                  </a:cubicBezTo>
                  <a:cubicBezTo>
                    <a:pt x="4529" y="1138"/>
                    <a:pt x="4539" y="1143"/>
                    <a:pt x="4548" y="1143"/>
                  </a:cubicBezTo>
                  <a:cubicBezTo>
                    <a:pt x="4556" y="1143"/>
                    <a:pt x="4560" y="1138"/>
                    <a:pt x="4556" y="1132"/>
                  </a:cubicBezTo>
                  <a:cubicBezTo>
                    <a:pt x="4552" y="1127"/>
                    <a:pt x="4542" y="1122"/>
                    <a:pt x="4534" y="1122"/>
                  </a:cubicBezTo>
                  <a:cubicBezTo>
                    <a:pt x="4534" y="1122"/>
                    <a:pt x="4534" y="1122"/>
                    <a:pt x="4534" y="1122"/>
                  </a:cubicBezTo>
                  <a:moveTo>
                    <a:pt x="325" y="1111"/>
                  </a:moveTo>
                  <a:cubicBezTo>
                    <a:pt x="317" y="1111"/>
                    <a:pt x="307" y="1115"/>
                    <a:pt x="303" y="1121"/>
                  </a:cubicBezTo>
                  <a:cubicBezTo>
                    <a:pt x="299" y="1127"/>
                    <a:pt x="302" y="1131"/>
                    <a:pt x="311" y="1131"/>
                  </a:cubicBezTo>
                  <a:cubicBezTo>
                    <a:pt x="319" y="1131"/>
                    <a:pt x="329" y="1127"/>
                    <a:pt x="333" y="1121"/>
                  </a:cubicBezTo>
                  <a:cubicBezTo>
                    <a:pt x="337" y="1115"/>
                    <a:pt x="334" y="1111"/>
                    <a:pt x="325" y="1111"/>
                  </a:cubicBezTo>
                  <a:cubicBezTo>
                    <a:pt x="325" y="1111"/>
                    <a:pt x="325" y="1111"/>
                    <a:pt x="325" y="1111"/>
                  </a:cubicBezTo>
                  <a:moveTo>
                    <a:pt x="369" y="1111"/>
                  </a:moveTo>
                  <a:cubicBezTo>
                    <a:pt x="360" y="1111"/>
                    <a:pt x="350" y="1115"/>
                    <a:pt x="346" y="1121"/>
                  </a:cubicBezTo>
                  <a:cubicBezTo>
                    <a:pt x="342" y="1127"/>
                    <a:pt x="346" y="1131"/>
                    <a:pt x="355" y="1131"/>
                  </a:cubicBezTo>
                  <a:cubicBezTo>
                    <a:pt x="363" y="1131"/>
                    <a:pt x="373" y="1126"/>
                    <a:pt x="377" y="1121"/>
                  </a:cubicBezTo>
                  <a:cubicBezTo>
                    <a:pt x="381" y="1115"/>
                    <a:pt x="377" y="1111"/>
                    <a:pt x="369" y="1111"/>
                  </a:cubicBezTo>
                  <a:cubicBezTo>
                    <a:pt x="369" y="1111"/>
                    <a:pt x="369" y="1111"/>
                    <a:pt x="369" y="1111"/>
                  </a:cubicBezTo>
                  <a:moveTo>
                    <a:pt x="412" y="1111"/>
                  </a:moveTo>
                  <a:cubicBezTo>
                    <a:pt x="404" y="1111"/>
                    <a:pt x="394" y="1115"/>
                    <a:pt x="390" y="1121"/>
                  </a:cubicBezTo>
                  <a:cubicBezTo>
                    <a:pt x="386" y="1126"/>
                    <a:pt x="390" y="1131"/>
                    <a:pt x="399" y="1131"/>
                  </a:cubicBezTo>
                  <a:cubicBezTo>
                    <a:pt x="407" y="1131"/>
                    <a:pt x="417" y="1126"/>
                    <a:pt x="421" y="1121"/>
                  </a:cubicBezTo>
                  <a:cubicBezTo>
                    <a:pt x="425" y="1115"/>
                    <a:pt x="421" y="1111"/>
                    <a:pt x="412" y="1111"/>
                  </a:cubicBezTo>
                  <a:cubicBezTo>
                    <a:pt x="412" y="1111"/>
                    <a:pt x="412" y="1111"/>
                    <a:pt x="412" y="1111"/>
                  </a:cubicBezTo>
                  <a:moveTo>
                    <a:pt x="456" y="1110"/>
                  </a:moveTo>
                  <a:cubicBezTo>
                    <a:pt x="447" y="1111"/>
                    <a:pt x="437" y="1115"/>
                    <a:pt x="434" y="1121"/>
                  </a:cubicBezTo>
                  <a:cubicBezTo>
                    <a:pt x="430" y="1126"/>
                    <a:pt x="434" y="1131"/>
                    <a:pt x="442" y="1131"/>
                  </a:cubicBezTo>
                  <a:cubicBezTo>
                    <a:pt x="451" y="1131"/>
                    <a:pt x="461" y="1126"/>
                    <a:pt x="465" y="1121"/>
                  </a:cubicBezTo>
                  <a:cubicBezTo>
                    <a:pt x="468" y="1115"/>
                    <a:pt x="464" y="1110"/>
                    <a:pt x="456" y="1110"/>
                  </a:cubicBezTo>
                  <a:cubicBezTo>
                    <a:pt x="456" y="1110"/>
                    <a:pt x="456" y="1110"/>
                    <a:pt x="456" y="1110"/>
                  </a:cubicBezTo>
                  <a:moveTo>
                    <a:pt x="500" y="1110"/>
                  </a:moveTo>
                  <a:cubicBezTo>
                    <a:pt x="491" y="1110"/>
                    <a:pt x="481" y="1115"/>
                    <a:pt x="478" y="1121"/>
                  </a:cubicBezTo>
                  <a:cubicBezTo>
                    <a:pt x="474" y="1126"/>
                    <a:pt x="478" y="1131"/>
                    <a:pt x="487" y="1131"/>
                  </a:cubicBezTo>
                  <a:cubicBezTo>
                    <a:pt x="495" y="1131"/>
                    <a:pt x="505" y="1126"/>
                    <a:pt x="509" y="1120"/>
                  </a:cubicBezTo>
                  <a:cubicBezTo>
                    <a:pt x="512" y="1115"/>
                    <a:pt x="508" y="1110"/>
                    <a:pt x="500" y="1110"/>
                  </a:cubicBezTo>
                  <a:cubicBezTo>
                    <a:pt x="500" y="1110"/>
                    <a:pt x="500" y="1110"/>
                    <a:pt x="500" y="1110"/>
                  </a:cubicBezTo>
                  <a:moveTo>
                    <a:pt x="545" y="1110"/>
                  </a:moveTo>
                  <a:cubicBezTo>
                    <a:pt x="536" y="1110"/>
                    <a:pt x="527" y="1115"/>
                    <a:pt x="523" y="1120"/>
                  </a:cubicBezTo>
                  <a:cubicBezTo>
                    <a:pt x="520" y="1126"/>
                    <a:pt x="524" y="1131"/>
                    <a:pt x="532" y="1131"/>
                  </a:cubicBezTo>
                  <a:cubicBezTo>
                    <a:pt x="541" y="1130"/>
                    <a:pt x="550" y="1126"/>
                    <a:pt x="554" y="1120"/>
                  </a:cubicBezTo>
                  <a:cubicBezTo>
                    <a:pt x="557" y="1115"/>
                    <a:pt x="553" y="1110"/>
                    <a:pt x="545" y="1110"/>
                  </a:cubicBezTo>
                  <a:cubicBezTo>
                    <a:pt x="545" y="1110"/>
                    <a:pt x="545" y="1110"/>
                    <a:pt x="545" y="1110"/>
                  </a:cubicBezTo>
                  <a:moveTo>
                    <a:pt x="588" y="1110"/>
                  </a:moveTo>
                  <a:cubicBezTo>
                    <a:pt x="580" y="1110"/>
                    <a:pt x="570" y="1115"/>
                    <a:pt x="567" y="1120"/>
                  </a:cubicBezTo>
                  <a:cubicBezTo>
                    <a:pt x="563" y="1126"/>
                    <a:pt x="567" y="1130"/>
                    <a:pt x="576" y="1130"/>
                  </a:cubicBezTo>
                  <a:cubicBezTo>
                    <a:pt x="584" y="1130"/>
                    <a:pt x="594" y="1126"/>
                    <a:pt x="597" y="1120"/>
                  </a:cubicBezTo>
                  <a:cubicBezTo>
                    <a:pt x="601" y="1115"/>
                    <a:pt x="597" y="1110"/>
                    <a:pt x="588" y="1110"/>
                  </a:cubicBezTo>
                  <a:cubicBezTo>
                    <a:pt x="588" y="1110"/>
                    <a:pt x="588" y="1110"/>
                    <a:pt x="588" y="1110"/>
                  </a:cubicBezTo>
                  <a:moveTo>
                    <a:pt x="632" y="1110"/>
                  </a:moveTo>
                  <a:cubicBezTo>
                    <a:pt x="624" y="1110"/>
                    <a:pt x="614" y="1115"/>
                    <a:pt x="611" y="1120"/>
                  </a:cubicBezTo>
                  <a:cubicBezTo>
                    <a:pt x="607" y="1126"/>
                    <a:pt x="611" y="1130"/>
                    <a:pt x="620" y="1130"/>
                  </a:cubicBezTo>
                  <a:cubicBezTo>
                    <a:pt x="629" y="1130"/>
                    <a:pt x="638" y="1126"/>
                    <a:pt x="641" y="1120"/>
                  </a:cubicBezTo>
                  <a:cubicBezTo>
                    <a:pt x="645" y="1114"/>
                    <a:pt x="641" y="1110"/>
                    <a:pt x="632" y="1110"/>
                  </a:cubicBezTo>
                  <a:cubicBezTo>
                    <a:pt x="632" y="1110"/>
                    <a:pt x="632" y="1110"/>
                    <a:pt x="632" y="1110"/>
                  </a:cubicBezTo>
                  <a:moveTo>
                    <a:pt x="676" y="1110"/>
                  </a:moveTo>
                  <a:cubicBezTo>
                    <a:pt x="668" y="1110"/>
                    <a:pt x="658" y="1114"/>
                    <a:pt x="655" y="1120"/>
                  </a:cubicBezTo>
                  <a:cubicBezTo>
                    <a:pt x="652" y="1126"/>
                    <a:pt x="656" y="1130"/>
                    <a:pt x="665" y="1130"/>
                  </a:cubicBezTo>
                  <a:cubicBezTo>
                    <a:pt x="673" y="1130"/>
                    <a:pt x="683" y="1126"/>
                    <a:pt x="686" y="1120"/>
                  </a:cubicBezTo>
                  <a:cubicBezTo>
                    <a:pt x="689" y="1114"/>
                    <a:pt x="685" y="1110"/>
                    <a:pt x="676" y="1110"/>
                  </a:cubicBezTo>
                  <a:cubicBezTo>
                    <a:pt x="676" y="1110"/>
                    <a:pt x="676" y="1110"/>
                    <a:pt x="676" y="1110"/>
                  </a:cubicBezTo>
                  <a:moveTo>
                    <a:pt x="720" y="1110"/>
                  </a:moveTo>
                  <a:cubicBezTo>
                    <a:pt x="711" y="1110"/>
                    <a:pt x="702" y="1114"/>
                    <a:pt x="699" y="1120"/>
                  </a:cubicBezTo>
                  <a:cubicBezTo>
                    <a:pt x="695" y="1125"/>
                    <a:pt x="700" y="1130"/>
                    <a:pt x="708" y="1130"/>
                  </a:cubicBezTo>
                  <a:cubicBezTo>
                    <a:pt x="717" y="1130"/>
                    <a:pt x="726" y="1125"/>
                    <a:pt x="729" y="1120"/>
                  </a:cubicBezTo>
                  <a:cubicBezTo>
                    <a:pt x="733" y="1114"/>
                    <a:pt x="728" y="1110"/>
                    <a:pt x="720" y="1110"/>
                  </a:cubicBezTo>
                  <a:cubicBezTo>
                    <a:pt x="720" y="1110"/>
                    <a:pt x="720" y="1110"/>
                    <a:pt x="720" y="1110"/>
                  </a:cubicBezTo>
                  <a:moveTo>
                    <a:pt x="764" y="1110"/>
                  </a:moveTo>
                  <a:cubicBezTo>
                    <a:pt x="755" y="1110"/>
                    <a:pt x="746" y="1114"/>
                    <a:pt x="743" y="1120"/>
                  </a:cubicBezTo>
                  <a:cubicBezTo>
                    <a:pt x="739" y="1125"/>
                    <a:pt x="744" y="1130"/>
                    <a:pt x="752" y="1130"/>
                  </a:cubicBezTo>
                  <a:cubicBezTo>
                    <a:pt x="761" y="1130"/>
                    <a:pt x="770" y="1125"/>
                    <a:pt x="773" y="1120"/>
                  </a:cubicBezTo>
                  <a:cubicBezTo>
                    <a:pt x="776" y="1114"/>
                    <a:pt x="772" y="1110"/>
                    <a:pt x="764" y="1110"/>
                  </a:cubicBezTo>
                  <a:cubicBezTo>
                    <a:pt x="764" y="1110"/>
                    <a:pt x="764" y="1110"/>
                    <a:pt x="764" y="1110"/>
                  </a:cubicBezTo>
                  <a:moveTo>
                    <a:pt x="807" y="1109"/>
                  </a:moveTo>
                  <a:cubicBezTo>
                    <a:pt x="799" y="1109"/>
                    <a:pt x="789" y="1114"/>
                    <a:pt x="786" y="1120"/>
                  </a:cubicBezTo>
                  <a:cubicBezTo>
                    <a:pt x="783" y="1125"/>
                    <a:pt x="788" y="1130"/>
                    <a:pt x="796" y="1130"/>
                  </a:cubicBezTo>
                  <a:cubicBezTo>
                    <a:pt x="805" y="1130"/>
                    <a:pt x="814" y="1125"/>
                    <a:pt x="817" y="1120"/>
                  </a:cubicBezTo>
                  <a:cubicBezTo>
                    <a:pt x="820" y="1114"/>
                    <a:pt x="816" y="1109"/>
                    <a:pt x="807" y="1109"/>
                  </a:cubicBezTo>
                  <a:cubicBezTo>
                    <a:pt x="807" y="1109"/>
                    <a:pt x="807" y="1109"/>
                    <a:pt x="807" y="1109"/>
                  </a:cubicBezTo>
                  <a:moveTo>
                    <a:pt x="851" y="1109"/>
                  </a:moveTo>
                  <a:cubicBezTo>
                    <a:pt x="842" y="1109"/>
                    <a:pt x="833" y="1114"/>
                    <a:pt x="830" y="1119"/>
                  </a:cubicBezTo>
                  <a:cubicBezTo>
                    <a:pt x="827" y="1125"/>
                    <a:pt x="832" y="1130"/>
                    <a:pt x="840" y="1130"/>
                  </a:cubicBezTo>
                  <a:cubicBezTo>
                    <a:pt x="849" y="1130"/>
                    <a:pt x="858" y="1125"/>
                    <a:pt x="861" y="1119"/>
                  </a:cubicBezTo>
                  <a:cubicBezTo>
                    <a:pt x="864" y="1114"/>
                    <a:pt x="859" y="1109"/>
                    <a:pt x="851" y="1109"/>
                  </a:cubicBezTo>
                  <a:cubicBezTo>
                    <a:pt x="851" y="1109"/>
                    <a:pt x="851" y="1109"/>
                    <a:pt x="851" y="1109"/>
                  </a:cubicBezTo>
                  <a:moveTo>
                    <a:pt x="895" y="1109"/>
                  </a:moveTo>
                  <a:cubicBezTo>
                    <a:pt x="887" y="1109"/>
                    <a:pt x="878" y="1114"/>
                    <a:pt x="875" y="1119"/>
                  </a:cubicBezTo>
                  <a:cubicBezTo>
                    <a:pt x="872" y="1125"/>
                    <a:pt x="876" y="1129"/>
                    <a:pt x="885" y="1129"/>
                  </a:cubicBezTo>
                  <a:cubicBezTo>
                    <a:pt x="893" y="1129"/>
                    <a:pt x="902" y="1125"/>
                    <a:pt x="905" y="1119"/>
                  </a:cubicBezTo>
                  <a:cubicBezTo>
                    <a:pt x="908" y="1114"/>
                    <a:pt x="904" y="1109"/>
                    <a:pt x="895" y="1109"/>
                  </a:cubicBezTo>
                  <a:cubicBezTo>
                    <a:pt x="895" y="1109"/>
                    <a:pt x="895" y="1109"/>
                    <a:pt x="895" y="1109"/>
                  </a:cubicBezTo>
                  <a:moveTo>
                    <a:pt x="2162" y="1106"/>
                  </a:moveTo>
                  <a:cubicBezTo>
                    <a:pt x="2153" y="1106"/>
                    <a:pt x="2146" y="1111"/>
                    <a:pt x="2145" y="1116"/>
                  </a:cubicBezTo>
                  <a:cubicBezTo>
                    <a:pt x="2145" y="1122"/>
                    <a:pt x="2151" y="1127"/>
                    <a:pt x="2160" y="1127"/>
                  </a:cubicBezTo>
                  <a:cubicBezTo>
                    <a:pt x="2168" y="1127"/>
                    <a:pt x="2176" y="1122"/>
                    <a:pt x="2176" y="1116"/>
                  </a:cubicBezTo>
                  <a:cubicBezTo>
                    <a:pt x="2177" y="1111"/>
                    <a:pt x="2170" y="1106"/>
                    <a:pt x="2162" y="1106"/>
                  </a:cubicBezTo>
                  <a:cubicBezTo>
                    <a:pt x="2162" y="1106"/>
                    <a:pt x="2162" y="1106"/>
                    <a:pt x="2162" y="1106"/>
                  </a:cubicBezTo>
                  <a:moveTo>
                    <a:pt x="2206" y="1106"/>
                  </a:moveTo>
                  <a:cubicBezTo>
                    <a:pt x="2198" y="1106"/>
                    <a:pt x="2190" y="1111"/>
                    <a:pt x="2190" y="1116"/>
                  </a:cubicBezTo>
                  <a:cubicBezTo>
                    <a:pt x="2189" y="1122"/>
                    <a:pt x="2196" y="1127"/>
                    <a:pt x="2204" y="1127"/>
                  </a:cubicBezTo>
                  <a:cubicBezTo>
                    <a:pt x="2213" y="1127"/>
                    <a:pt x="2220" y="1122"/>
                    <a:pt x="2220" y="1116"/>
                  </a:cubicBezTo>
                  <a:cubicBezTo>
                    <a:pt x="2221" y="1111"/>
                    <a:pt x="2214" y="1106"/>
                    <a:pt x="2206" y="1106"/>
                  </a:cubicBezTo>
                  <a:cubicBezTo>
                    <a:pt x="2206" y="1106"/>
                    <a:pt x="2206" y="1106"/>
                    <a:pt x="2206" y="1106"/>
                  </a:cubicBezTo>
                  <a:moveTo>
                    <a:pt x="2249" y="1106"/>
                  </a:moveTo>
                  <a:cubicBezTo>
                    <a:pt x="2241" y="1106"/>
                    <a:pt x="2233" y="1111"/>
                    <a:pt x="2233" y="1116"/>
                  </a:cubicBezTo>
                  <a:cubicBezTo>
                    <a:pt x="2233" y="1122"/>
                    <a:pt x="2239" y="1126"/>
                    <a:pt x="2248" y="1126"/>
                  </a:cubicBezTo>
                  <a:cubicBezTo>
                    <a:pt x="2256" y="1126"/>
                    <a:pt x="2263" y="1122"/>
                    <a:pt x="2264" y="1116"/>
                  </a:cubicBezTo>
                  <a:cubicBezTo>
                    <a:pt x="2264" y="1111"/>
                    <a:pt x="2258" y="1106"/>
                    <a:pt x="2249" y="1106"/>
                  </a:cubicBezTo>
                  <a:cubicBezTo>
                    <a:pt x="2249" y="1106"/>
                    <a:pt x="2249" y="1106"/>
                    <a:pt x="2249" y="1106"/>
                  </a:cubicBezTo>
                  <a:moveTo>
                    <a:pt x="2293" y="1106"/>
                  </a:moveTo>
                  <a:cubicBezTo>
                    <a:pt x="2284" y="1106"/>
                    <a:pt x="2277" y="1110"/>
                    <a:pt x="2277" y="1116"/>
                  </a:cubicBezTo>
                  <a:cubicBezTo>
                    <a:pt x="2276" y="1122"/>
                    <a:pt x="2283" y="1126"/>
                    <a:pt x="2291" y="1126"/>
                  </a:cubicBezTo>
                  <a:cubicBezTo>
                    <a:pt x="2300" y="1126"/>
                    <a:pt x="2307" y="1122"/>
                    <a:pt x="2307" y="1116"/>
                  </a:cubicBezTo>
                  <a:cubicBezTo>
                    <a:pt x="2308" y="1110"/>
                    <a:pt x="2301" y="1106"/>
                    <a:pt x="2293" y="1106"/>
                  </a:cubicBezTo>
                  <a:cubicBezTo>
                    <a:pt x="2293" y="1106"/>
                    <a:pt x="2293" y="1106"/>
                    <a:pt x="2293" y="1106"/>
                  </a:cubicBezTo>
                  <a:moveTo>
                    <a:pt x="2336" y="1106"/>
                  </a:moveTo>
                  <a:cubicBezTo>
                    <a:pt x="2328" y="1106"/>
                    <a:pt x="2321" y="1110"/>
                    <a:pt x="2321" y="1116"/>
                  </a:cubicBezTo>
                  <a:cubicBezTo>
                    <a:pt x="2320" y="1122"/>
                    <a:pt x="2327" y="1126"/>
                    <a:pt x="2335" y="1126"/>
                  </a:cubicBezTo>
                  <a:cubicBezTo>
                    <a:pt x="2344" y="1126"/>
                    <a:pt x="2351" y="1122"/>
                    <a:pt x="2351" y="1116"/>
                  </a:cubicBezTo>
                  <a:cubicBezTo>
                    <a:pt x="2351" y="1110"/>
                    <a:pt x="2345" y="1106"/>
                    <a:pt x="2336" y="1106"/>
                  </a:cubicBezTo>
                  <a:cubicBezTo>
                    <a:pt x="2336" y="1106"/>
                    <a:pt x="2336" y="1106"/>
                    <a:pt x="2336" y="1106"/>
                  </a:cubicBezTo>
                  <a:moveTo>
                    <a:pt x="2380" y="1106"/>
                  </a:moveTo>
                  <a:cubicBezTo>
                    <a:pt x="2372" y="1106"/>
                    <a:pt x="2365" y="1110"/>
                    <a:pt x="2365" y="1116"/>
                  </a:cubicBezTo>
                  <a:cubicBezTo>
                    <a:pt x="2365" y="1121"/>
                    <a:pt x="2371" y="1126"/>
                    <a:pt x="2380" y="1126"/>
                  </a:cubicBezTo>
                  <a:cubicBezTo>
                    <a:pt x="2388" y="1126"/>
                    <a:pt x="2395" y="1121"/>
                    <a:pt x="2396" y="1116"/>
                  </a:cubicBezTo>
                  <a:cubicBezTo>
                    <a:pt x="2396" y="1110"/>
                    <a:pt x="2389" y="1106"/>
                    <a:pt x="2381" y="1106"/>
                  </a:cubicBezTo>
                  <a:cubicBezTo>
                    <a:pt x="2381" y="1106"/>
                    <a:pt x="2381" y="1106"/>
                    <a:pt x="2380" y="1106"/>
                  </a:cubicBezTo>
                  <a:moveTo>
                    <a:pt x="2424" y="1105"/>
                  </a:moveTo>
                  <a:cubicBezTo>
                    <a:pt x="2415" y="1105"/>
                    <a:pt x="2409" y="1110"/>
                    <a:pt x="2408" y="1116"/>
                  </a:cubicBezTo>
                  <a:cubicBezTo>
                    <a:pt x="2408" y="1121"/>
                    <a:pt x="2415" y="1126"/>
                    <a:pt x="2424" y="1126"/>
                  </a:cubicBezTo>
                  <a:cubicBezTo>
                    <a:pt x="2432" y="1126"/>
                    <a:pt x="2439" y="1121"/>
                    <a:pt x="2439" y="1116"/>
                  </a:cubicBezTo>
                  <a:cubicBezTo>
                    <a:pt x="2439" y="1110"/>
                    <a:pt x="2432" y="1105"/>
                    <a:pt x="2424" y="1105"/>
                  </a:cubicBezTo>
                  <a:cubicBezTo>
                    <a:pt x="2424" y="1105"/>
                    <a:pt x="2424" y="1105"/>
                    <a:pt x="2424" y="1105"/>
                  </a:cubicBezTo>
                  <a:moveTo>
                    <a:pt x="2468" y="1105"/>
                  </a:moveTo>
                  <a:cubicBezTo>
                    <a:pt x="2459" y="1105"/>
                    <a:pt x="2452" y="1110"/>
                    <a:pt x="2452" y="1116"/>
                  </a:cubicBezTo>
                  <a:cubicBezTo>
                    <a:pt x="2452" y="1121"/>
                    <a:pt x="2459" y="1126"/>
                    <a:pt x="2468" y="1126"/>
                  </a:cubicBezTo>
                  <a:cubicBezTo>
                    <a:pt x="2476" y="1126"/>
                    <a:pt x="2483" y="1121"/>
                    <a:pt x="2483" y="1115"/>
                  </a:cubicBezTo>
                  <a:cubicBezTo>
                    <a:pt x="2483" y="1110"/>
                    <a:pt x="2476" y="1105"/>
                    <a:pt x="2468" y="1105"/>
                  </a:cubicBezTo>
                  <a:cubicBezTo>
                    <a:pt x="2468" y="1105"/>
                    <a:pt x="2468" y="1105"/>
                    <a:pt x="2468" y="1105"/>
                  </a:cubicBezTo>
                  <a:moveTo>
                    <a:pt x="2511" y="1105"/>
                  </a:moveTo>
                  <a:cubicBezTo>
                    <a:pt x="2503" y="1105"/>
                    <a:pt x="2496" y="1110"/>
                    <a:pt x="2496" y="1115"/>
                  </a:cubicBezTo>
                  <a:cubicBezTo>
                    <a:pt x="2496" y="1121"/>
                    <a:pt x="2503" y="1126"/>
                    <a:pt x="2511" y="1126"/>
                  </a:cubicBezTo>
                  <a:cubicBezTo>
                    <a:pt x="2520" y="1126"/>
                    <a:pt x="2527" y="1121"/>
                    <a:pt x="2526" y="1115"/>
                  </a:cubicBezTo>
                  <a:cubicBezTo>
                    <a:pt x="2526" y="1110"/>
                    <a:pt x="2519" y="1105"/>
                    <a:pt x="2511" y="1105"/>
                  </a:cubicBezTo>
                  <a:cubicBezTo>
                    <a:pt x="2511" y="1105"/>
                    <a:pt x="2511" y="1105"/>
                    <a:pt x="2511" y="1105"/>
                  </a:cubicBezTo>
                  <a:moveTo>
                    <a:pt x="2555" y="1105"/>
                  </a:moveTo>
                  <a:cubicBezTo>
                    <a:pt x="2546" y="1105"/>
                    <a:pt x="2540" y="1110"/>
                    <a:pt x="2540" y="1115"/>
                  </a:cubicBezTo>
                  <a:cubicBezTo>
                    <a:pt x="2540" y="1121"/>
                    <a:pt x="2547" y="1126"/>
                    <a:pt x="2555" y="1125"/>
                  </a:cubicBezTo>
                  <a:cubicBezTo>
                    <a:pt x="2564" y="1125"/>
                    <a:pt x="2571" y="1121"/>
                    <a:pt x="2570" y="1115"/>
                  </a:cubicBezTo>
                  <a:cubicBezTo>
                    <a:pt x="2570" y="1110"/>
                    <a:pt x="2563" y="1105"/>
                    <a:pt x="2555" y="1105"/>
                  </a:cubicBezTo>
                  <a:cubicBezTo>
                    <a:pt x="2555" y="1105"/>
                    <a:pt x="2555" y="1105"/>
                    <a:pt x="2555" y="1105"/>
                  </a:cubicBezTo>
                  <a:moveTo>
                    <a:pt x="2599" y="1105"/>
                  </a:moveTo>
                  <a:cubicBezTo>
                    <a:pt x="2591" y="1105"/>
                    <a:pt x="2584" y="1110"/>
                    <a:pt x="2584" y="1115"/>
                  </a:cubicBezTo>
                  <a:cubicBezTo>
                    <a:pt x="2584" y="1121"/>
                    <a:pt x="2591" y="1125"/>
                    <a:pt x="2600" y="1125"/>
                  </a:cubicBezTo>
                  <a:cubicBezTo>
                    <a:pt x="2608" y="1125"/>
                    <a:pt x="2615" y="1121"/>
                    <a:pt x="2615" y="1115"/>
                  </a:cubicBezTo>
                  <a:cubicBezTo>
                    <a:pt x="2614" y="1109"/>
                    <a:pt x="2607" y="1105"/>
                    <a:pt x="2599" y="1105"/>
                  </a:cubicBezTo>
                  <a:cubicBezTo>
                    <a:pt x="2599" y="1105"/>
                    <a:pt x="2599" y="1105"/>
                    <a:pt x="2599" y="1105"/>
                  </a:cubicBezTo>
                  <a:moveTo>
                    <a:pt x="2642" y="1105"/>
                  </a:moveTo>
                  <a:cubicBezTo>
                    <a:pt x="2634" y="1105"/>
                    <a:pt x="2627" y="1109"/>
                    <a:pt x="2628" y="1115"/>
                  </a:cubicBezTo>
                  <a:cubicBezTo>
                    <a:pt x="2628" y="1121"/>
                    <a:pt x="2635" y="1125"/>
                    <a:pt x="2644" y="1125"/>
                  </a:cubicBezTo>
                  <a:cubicBezTo>
                    <a:pt x="2652" y="1125"/>
                    <a:pt x="2659" y="1121"/>
                    <a:pt x="2658" y="1115"/>
                  </a:cubicBezTo>
                  <a:cubicBezTo>
                    <a:pt x="2658" y="1109"/>
                    <a:pt x="2651" y="1105"/>
                    <a:pt x="2642" y="1105"/>
                  </a:cubicBezTo>
                  <a:cubicBezTo>
                    <a:pt x="2642" y="1105"/>
                    <a:pt x="2642" y="1105"/>
                    <a:pt x="2642" y="1105"/>
                  </a:cubicBezTo>
                  <a:moveTo>
                    <a:pt x="2686" y="1105"/>
                  </a:moveTo>
                  <a:cubicBezTo>
                    <a:pt x="2678" y="1105"/>
                    <a:pt x="2671" y="1109"/>
                    <a:pt x="2672" y="1115"/>
                  </a:cubicBezTo>
                  <a:cubicBezTo>
                    <a:pt x="2672" y="1121"/>
                    <a:pt x="2679" y="1125"/>
                    <a:pt x="2688" y="1125"/>
                  </a:cubicBezTo>
                  <a:cubicBezTo>
                    <a:pt x="2696" y="1125"/>
                    <a:pt x="2703" y="1120"/>
                    <a:pt x="2703" y="1115"/>
                  </a:cubicBezTo>
                  <a:cubicBezTo>
                    <a:pt x="2702" y="1109"/>
                    <a:pt x="2695" y="1105"/>
                    <a:pt x="2687" y="1105"/>
                  </a:cubicBezTo>
                  <a:cubicBezTo>
                    <a:pt x="2687" y="1105"/>
                    <a:pt x="2686" y="1105"/>
                    <a:pt x="2686" y="1105"/>
                  </a:cubicBezTo>
                  <a:moveTo>
                    <a:pt x="2729" y="1104"/>
                  </a:moveTo>
                  <a:cubicBezTo>
                    <a:pt x="2720" y="1105"/>
                    <a:pt x="2714" y="1109"/>
                    <a:pt x="2714" y="1115"/>
                  </a:cubicBezTo>
                  <a:cubicBezTo>
                    <a:pt x="2714" y="1120"/>
                    <a:pt x="2722" y="1125"/>
                    <a:pt x="2730" y="1125"/>
                  </a:cubicBezTo>
                  <a:cubicBezTo>
                    <a:pt x="2739" y="1125"/>
                    <a:pt x="2745" y="1120"/>
                    <a:pt x="2745" y="1115"/>
                  </a:cubicBezTo>
                  <a:cubicBezTo>
                    <a:pt x="2744" y="1109"/>
                    <a:pt x="2737" y="1104"/>
                    <a:pt x="2729" y="1104"/>
                  </a:cubicBezTo>
                  <a:cubicBezTo>
                    <a:pt x="2729" y="1104"/>
                    <a:pt x="2729" y="1104"/>
                    <a:pt x="2729" y="1104"/>
                  </a:cubicBezTo>
                  <a:moveTo>
                    <a:pt x="2773" y="1104"/>
                  </a:moveTo>
                  <a:cubicBezTo>
                    <a:pt x="2764" y="1104"/>
                    <a:pt x="2758" y="1109"/>
                    <a:pt x="2758" y="1115"/>
                  </a:cubicBezTo>
                  <a:cubicBezTo>
                    <a:pt x="2759" y="1120"/>
                    <a:pt x="2766" y="1125"/>
                    <a:pt x="2775" y="1125"/>
                  </a:cubicBezTo>
                  <a:cubicBezTo>
                    <a:pt x="2783" y="1125"/>
                    <a:pt x="2790" y="1120"/>
                    <a:pt x="2789" y="1115"/>
                  </a:cubicBezTo>
                  <a:cubicBezTo>
                    <a:pt x="2788" y="1109"/>
                    <a:pt x="2781" y="1104"/>
                    <a:pt x="2773" y="1104"/>
                  </a:cubicBezTo>
                  <a:cubicBezTo>
                    <a:pt x="2773" y="1104"/>
                    <a:pt x="2773" y="1104"/>
                    <a:pt x="2773" y="1104"/>
                  </a:cubicBezTo>
                  <a:moveTo>
                    <a:pt x="2815" y="1104"/>
                  </a:moveTo>
                  <a:cubicBezTo>
                    <a:pt x="2806" y="1104"/>
                    <a:pt x="2800" y="1109"/>
                    <a:pt x="2801" y="1114"/>
                  </a:cubicBezTo>
                  <a:cubicBezTo>
                    <a:pt x="2801" y="1120"/>
                    <a:pt x="2808" y="1125"/>
                    <a:pt x="2817" y="1125"/>
                  </a:cubicBezTo>
                  <a:cubicBezTo>
                    <a:pt x="2826" y="1125"/>
                    <a:pt x="2832" y="1120"/>
                    <a:pt x="2831" y="1114"/>
                  </a:cubicBezTo>
                  <a:cubicBezTo>
                    <a:pt x="2831" y="1109"/>
                    <a:pt x="2823" y="1104"/>
                    <a:pt x="2815" y="1104"/>
                  </a:cubicBezTo>
                  <a:cubicBezTo>
                    <a:pt x="2815" y="1104"/>
                    <a:pt x="2815" y="1104"/>
                    <a:pt x="2815" y="1104"/>
                  </a:cubicBezTo>
                  <a:moveTo>
                    <a:pt x="3909" y="1102"/>
                  </a:moveTo>
                  <a:cubicBezTo>
                    <a:pt x="3901" y="1102"/>
                    <a:pt x="3896" y="1106"/>
                    <a:pt x="3899" y="1112"/>
                  </a:cubicBezTo>
                  <a:cubicBezTo>
                    <a:pt x="3902" y="1118"/>
                    <a:pt x="3911" y="1122"/>
                    <a:pt x="3919" y="1122"/>
                  </a:cubicBezTo>
                  <a:cubicBezTo>
                    <a:pt x="3928" y="1122"/>
                    <a:pt x="3932" y="1118"/>
                    <a:pt x="3930" y="1112"/>
                  </a:cubicBezTo>
                  <a:cubicBezTo>
                    <a:pt x="3927" y="1106"/>
                    <a:pt x="3918" y="1102"/>
                    <a:pt x="3910" y="1102"/>
                  </a:cubicBezTo>
                  <a:cubicBezTo>
                    <a:pt x="3910" y="1102"/>
                    <a:pt x="3910" y="1102"/>
                    <a:pt x="3909" y="1102"/>
                  </a:cubicBezTo>
                  <a:moveTo>
                    <a:pt x="3953" y="1102"/>
                  </a:moveTo>
                  <a:cubicBezTo>
                    <a:pt x="3944" y="1102"/>
                    <a:pt x="3940" y="1106"/>
                    <a:pt x="3942" y="1112"/>
                  </a:cubicBezTo>
                  <a:cubicBezTo>
                    <a:pt x="3945" y="1118"/>
                    <a:pt x="3954" y="1122"/>
                    <a:pt x="3963" y="1122"/>
                  </a:cubicBezTo>
                  <a:cubicBezTo>
                    <a:pt x="3971" y="1122"/>
                    <a:pt x="3976" y="1118"/>
                    <a:pt x="3973" y="1112"/>
                  </a:cubicBezTo>
                  <a:cubicBezTo>
                    <a:pt x="3970" y="1106"/>
                    <a:pt x="3961" y="1102"/>
                    <a:pt x="3953" y="1102"/>
                  </a:cubicBezTo>
                  <a:cubicBezTo>
                    <a:pt x="3953" y="1102"/>
                    <a:pt x="3953" y="1102"/>
                    <a:pt x="3953" y="1102"/>
                  </a:cubicBezTo>
                  <a:moveTo>
                    <a:pt x="3997" y="1102"/>
                  </a:moveTo>
                  <a:cubicBezTo>
                    <a:pt x="3988" y="1102"/>
                    <a:pt x="3984" y="1106"/>
                    <a:pt x="3986" y="1112"/>
                  </a:cubicBezTo>
                  <a:cubicBezTo>
                    <a:pt x="3989" y="1118"/>
                    <a:pt x="3998" y="1122"/>
                    <a:pt x="4007" y="1122"/>
                  </a:cubicBezTo>
                  <a:cubicBezTo>
                    <a:pt x="4015" y="1122"/>
                    <a:pt x="4020" y="1117"/>
                    <a:pt x="4017" y="1112"/>
                  </a:cubicBezTo>
                  <a:cubicBezTo>
                    <a:pt x="4014" y="1106"/>
                    <a:pt x="4005" y="1102"/>
                    <a:pt x="3997" y="1102"/>
                  </a:cubicBezTo>
                  <a:cubicBezTo>
                    <a:pt x="3997" y="1102"/>
                    <a:pt x="3997" y="1102"/>
                    <a:pt x="3997" y="1102"/>
                  </a:cubicBezTo>
                  <a:moveTo>
                    <a:pt x="4170" y="1101"/>
                  </a:moveTo>
                  <a:cubicBezTo>
                    <a:pt x="4162" y="1101"/>
                    <a:pt x="4157" y="1106"/>
                    <a:pt x="4160" y="1112"/>
                  </a:cubicBezTo>
                  <a:cubicBezTo>
                    <a:pt x="4163" y="1117"/>
                    <a:pt x="4173" y="1122"/>
                    <a:pt x="4181" y="1122"/>
                  </a:cubicBezTo>
                  <a:cubicBezTo>
                    <a:pt x="4190" y="1122"/>
                    <a:pt x="4194" y="1117"/>
                    <a:pt x="4191" y="1112"/>
                  </a:cubicBezTo>
                  <a:cubicBezTo>
                    <a:pt x="4188" y="1106"/>
                    <a:pt x="4179" y="1101"/>
                    <a:pt x="4170" y="1101"/>
                  </a:cubicBezTo>
                  <a:cubicBezTo>
                    <a:pt x="4170" y="1101"/>
                    <a:pt x="4170" y="1101"/>
                    <a:pt x="4170" y="1101"/>
                  </a:cubicBezTo>
                  <a:moveTo>
                    <a:pt x="4213" y="1101"/>
                  </a:moveTo>
                  <a:cubicBezTo>
                    <a:pt x="4205" y="1101"/>
                    <a:pt x="4200" y="1106"/>
                    <a:pt x="4204" y="1111"/>
                  </a:cubicBezTo>
                  <a:cubicBezTo>
                    <a:pt x="4207" y="1117"/>
                    <a:pt x="4216" y="1122"/>
                    <a:pt x="4225" y="1122"/>
                  </a:cubicBezTo>
                  <a:cubicBezTo>
                    <a:pt x="4233" y="1122"/>
                    <a:pt x="4237" y="1117"/>
                    <a:pt x="4234" y="1111"/>
                  </a:cubicBezTo>
                  <a:cubicBezTo>
                    <a:pt x="4231" y="1106"/>
                    <a:pt x="4222" y="1101"/>
                    <a:pt x="4213" y="1101"/>
                  </a:cubicBezTo>
                  <a:cubicBezTo>
                    <a:pt x="4213" y="1101"/>
                    <a:pt x="4213" y="1101"/>
                    <a:pt x="4213" y="1101"/>
                  </a:cubicBezTo>
                  <a:moveTo>
                    <a:pt x="4256" y="1101"/>
                  </a:moveTo>
                  <a:cubicBezTo>
                    <a:pt x="4248" y="1101"/>
                    <a:pt x="4244" y="1106"/>
                    <a:pt x="4247" y="1111"/>
                  </a:cubicBezTo>
                  <a:cubicBezTo>
                    <a:pt x="4250" y="1117"/>
                    <a:pt x="4260" y="1122"/>
                    <a:pt x="4268" y="1122"/>
                  </a:cubicBezTo>
                  <a:cubicBezTo>
                    <a:pt x="4277" y="1122"/>
                    <a:pt x="4281" y="1117"/>
                    <a:pt x="4278" y="1111"/>
                  </a:cubicBezTo>
                  <a:cubicBezTo>
                    <a:pt x="4274" y="1106"/>
                    <a:pt x="4265" y="1101"/>
                    <a:pt x="4257" y="1101"/>
                  </a:cubicBezTo>
                  <a:cubicBezTo>
                    <a:pt x="4256" y="1101"/>
                    <a:pt x="4256" y="1101"/>
                    <a:pt x="4256" y="1101"/>
                  </a:cubicBezTo>
                  <a:moveTo>
                    <a:pt x="4300" y="1101"/>
                  </a:moveTo>
                  <a:cubicBezTo>
                    <a:pt x="4292" y="1101"/>
                    <a:pt x="4288" y="1106"/>
                    <a:pt x="4291" y="1111"/>
                  </a:cubicBezTo>
                  <a:cubicBezTo>
                    <a:pt x="4294" y="1117"/>
                    <a:pt x="4304" y="1121"/>
                    <a:pt x="4312" y="1121"/>
                  </a:cubicBezTo>
                  <a:cubicBezTo>
                    <a:pt x="4321" y="1121"/>
                    <a:pt x="4325" y="1117"/>
                    <a:pt x="4322" y="1111"/>
                  </a:cubicBezTo>
                  <a:cubicBezTo>
                    <a:pt x="4318" y="1105"/>
                    <a:pt x="4309" y="1101"/>
                    <a:pt x="4300" y="1101"/>
                  </a:cubicBezTo>
                  <a:cubicBezTo>
                    <a:pt x="4300" y="1101"/>
                    <a:pt x="4300" y="1101"/>
                    <a:pt x="4300" y="1101"/>
                  </a:cubicBezTo>
                  <a:moveTo>
                    <a:pt x="4516" y="1096"/>
                  </a:moveTo>
                  <a:cubicBezTo>
                    <a:pt x="4508" y="1096"/>
                    <a:pt x="4504" y="1100"/>
                    <a:pt x="4508" y="1106"/>
                  </a:cubicBezTo>
                  <a:cubicBezTo>
                    <a:pt x="4512" y="1112"/>
                    <a:pt x="4521" y="1116"/>
                    <a:pt x="4530" y="1116"/>
                  </a:cubicBezTo>
                  <a:cubicBezTo>
                    <a:pt x="4538" y="1116"/>
                    <a:pt x="4542" y="1112"/>
                    <a:pt x="4538" y="1106"/>
                  </a:cubicBezTo>
                  <a:cubicBezTo>
                    <a:pt x="4535" y="1100"/>
                    <a:pt x="4525" y="1096"/>
                    <a:pt x="4516" y="1096"/>
                  </a:cubicBezTo>
                  <a:cubicBezTo>
                    <a:pt x="4516" y="1096"/>
                    <a:pt x="4516" y="1096"/>
                    <a:pt x="4516" y="1096"/>
                  </a:cubicBezTo>
                  <a:moveTo>
                    <a:pt x="389" y="1082"/>
                  </a:moveTo>
                  <a:cubicBezTo>
                    <a:pt x="380" y="1082"/>
                    <a:pt x="370" y="1086"/>
                    <a:pt x="366" y="1092"/>
                  </a:cubicBezTo>
                  <a:cubicBezTo>
                    <a:pt x="363" y="1097"/>
                    <a:pt x="366" y="1102"/>
                    <a:pt x="375" y="1102"/>
                  </a:cubicBezTo>
                  <a:cubicBezTo>
                    <a:pt x="383" y="1102"/>
                    <a:pt x="393" y="1097"/>
                    <a:pt x="397" y="1092"/>
                  </a:cubicBezTo>
                  <a:cubicBezTo>
                    <a:pt x="401" y="1086"/>
                    <a:pt x="397" y="1082"/>
                    <a:pt x="389" y="1082"/>
                  </a:cubicBezTo>
                  <a:cubicBezTo>
                    <a:pt x="389" y="1082"/>
                    <a:pt x="389" y="1082"/>
                    <a:pt x="389" y="1082"/>
                  </a:cubicBezTo>
                  <a:moveTo>
                    <a:pt x="432" y="1081"/>
                  </a:moveTo>
                  <a:cubicBezTo>
                    <a:pt x="424" y="1081"/>
                    <a:pt x="414" y="1086"/>
                    <a:pt x="410" y="1092"/>
                  </a:cubicBezTo>
                  <a:cubicBezTo>
                    <a:pt x="406" y="1097"/>
                    <a:pt x="410" y="1102"/>
                    <a:pt x="418" y="1102"/>
                  </a:cubicBezTo>
                  <a:cubicBezTo>
                    <a:pt x="427" y="1102"/>
                    <a:pt x="437" y="1097"/>
                    <a:pt x="440" y="1091"/>
                  </a:cubicBezTo>
                  <a:cubicBezTo>
                    <a:pt x="444" y="1086"/>
                    <a:pt x="440" y="1081"/>
                    <a:pt x="432" y="1081"/>
                  </a:cubicBezTo>
                  <a:cubicBezTo>
                    <a:pt x="432" y="1081"/>
                    <a:pt x="432" y="1081"/>
                    <a:pt x="432" y="1081"/>
                  </a:cubicBezTo>
                  <a:moveTo>
                    <a:pt x="475" y="1081"/>
                  </a:moveTo>
                  <a:cubicBezTo>
                    <a:pt x="467" y="1081"/>
                    <a:pt x="457" y="1086"/>
                    <a:pt x="453" y="1091"/>
                  </a:cubicBezTo>
                  <a:cubicBezTo>
                    <a:pt x="449" y="1097"/>
                    <a:pt x="453" y="1102"/>
                    <a:pt x="462" y="1102"/>
                  </a:cubicBezTo>
                  <a:cubicBezTo>
                    <a:pt x="470" y="1101"/>
                    <a:pt x="480" y="1097"/>
                    <a:pt x="484" y="1091"/>
                  </a:cubicBezTo>
                  <a:cubicBezTo>
                    <a:pt x="487" y="1086"/>
                    <a:pt x="483" y="1081"/>
                    <a:pt x="475" y="1081"/>
                  </a:cubicBezTo>
                  <a:cubicBezTo>
                    <a:pt x="475" y="1081"/>
                    <a:pt x="475" y="1081"/>
                    <a:pt x="475" y="1081"/>
                  </a:cubicBezTo>
                  <a:moveTo>
                    <a:pt x="518" y="1081"/>
                  </a:moveTo>
                  <a:cubicBezTo>
                    <a:pt x="510" y="1081"/>
                    <a:pt x="500" y="1086"/>
                    <a:pt x="497" y="1091"/>
                  </a:cubicBezTo>
                  <a:cubicBezTo>
                    <a:pt x="493" y="1097"/>
                    <a:pt x="497" y="1101"/>
                    <a:pt x="505" y="1101"/>
                  </a:cubicBezTo>
                  <a:cubicBezTo>
                    <a:pt x="514" y="1101"/>
                    <a:pt x="524" y="1097"/>
                    <a:pt x="527" y="1091"/>
                  </a:cubicBezTo>
                  <a:cubicBezTo>
                    <a:pt x="531" y="1086"/>
                    <a:pt x="527" y="1081"/>
                    <a:pt x="519" y="1081"/>
                  </a:cubicBezTo>
                  <a:cubicBezTo>
                    <a:pt x="519" y="1081"/>
                    <a:pt x="518" y="1081"/>
                    <a:pt x="518" y="1081"/>
                  </a:cubicBezTo>
                  <a:moveTo>
                    <a:pt x="563" y="1081"/>
                  </a:moveTo>
                  <a:cubicBezTo>
                    <a:pt x="555" y="1081"/>
                    <a:pt x="545" y="1086"/>
                    <a:pt x="542" y="1091"/>
                  </a:cubicBezTo>
                  <a:cubicBezTo>
                    <a:pt x="538" y="1097"/>
                    <a:pt x="542" y="1101"/>
                    <a:pt x="550" y="1101"/>
                  </a:cubicBezTo>
                  <a:cubicBezTo>
                    <a:pt x="559" y="1101"/>
                    <a:pt x="569" y="1097"/>
                    <a:pt x="572" y="1091"/>
                  </a:cubicBezTo>
                  <a:cubicBezTo>
                    <a:pt x="575" y="1085"/>
                    <a:pt x="572" y="1081"/>
                    <a:pt x="563" y="1081"/>
                  </a:cubicBezTo>
                  <a:cubicBezTo>
                    <a:pt x="563" y="1081"/>
                    <a:pt x="563" y="1081"/>
                    <a:pt x="563" y="1081"/>
                  </a:cubicBezTo>
                  <a:moveTo>
                    <a:pt x="606" y="1081"/>
                  </a:moveTo>
                  <a:cubicBezTo>
                    <a:pt x="598" y="1081"/>
                    <a:pt x="588" y="1085"/>
                    <a:pt x="585" y="1091"/>
                  </a:cubicBezTo>
                  <a:cubicBezTo>
                    <a:pt x="581" y="1097"/>
                    <a:pt x="585" y="1101"/>
                    <a:pt x="594" y="1101"/>
                  </a:cubicBezTo>
                  <a:cubicBezTo>
                    <a:pt x="602" y="1101"/>
                    <a:pt x="612" y="1097"/>
                    <a:pt x="615" y="1091"/>
                  </a:cubicBezTo>
                  <a:cubicBezTo>
                    <a:pt x="619" y="1085"/>
                    <a:pt x="615" y="1081"/>
                    <a:pt x="606" y="1081"/>
                  </a:cubicBezTo>
                  <a:cubicBezTo>
                    <a:pt x="606" y="1081"/>
                    <a:pt x="606" y="1081"/>
                    <a:pt x="606" y="1081"/>
                  </a:cubicBezTo>
                  <a:moveTo>
                    <a:pt x="650" y="1081"/>
                  </a:moveTo>
                  <a:cubicBezTo>
                    <a:pt x="641" y="1081"/>
                    <a:pt x="632" y="1085"/>
                    <a:pt x="628" y="1091"/>
                  </a:cubicBezTo>
                  <a:cubicBezTo>
                    <a:pt x="625" y="1096"/>
                    <a:pt x="629" y="1101"/>
                    <a:pt x="638" y="1101"/>
                  </a:cubicBezTo>
                  <a:cubicBezTo>
                    <a:pt x="646" y="1101"/>
                    <a:pt x="656" y="1096"/>
                    <a:pt x="659" y="1091"/>
                  </a:cubicBezTo>
                  <a:cubicBezTo>
                    <a:pt x="662" y="1085"/>
                    <a:pt x="658" y="1081"/>
                    <a:pt x="650" y="1081"/>
                  </a:cubicBezTo>
                  <a:cubicBezTo>
                    <a:pt x="650" y="1081"/>
                    <a:pt x="650" y="1081"/>
                    <a:pt x="650" y="1081"/>
                  </a:cubicBezTo>
                  <a:moveTo>
                    <a:pt x="694" y="1081"/>
                  </a:moveTo>
                  <a:cubicBezTo>
                    <a:pt x="685" y="1081"/>
                    <a:pt x="676" y="1085"/>
                    <a:pt x="672" y="1091"/>
                  </a:cubicBezTo>
                  <a:cubicBezTo>
                    <a:pt x="669" y="1096"/>
                    <a:pt x="673" y="1101"/>
                    <a:pt x="682" y="1101"/>
                  </a:cubicBezTo>
                  <a:cubicBezTo>
                    <a:pt x="690" y="1101"/>
                    <a:pt x="700" y="1096"/>
                    <a:pt x="703" y="1091"/>
                  </a:cubicBezTo>
                  <a:cubicBezTo>
                    <a:pt x="706" y="1085"/>
                    <a:pt x="702" y="1081"/>
                    <a:pt x="694" y="1081"/>
                  </a:cubicBezTo>
                  <a:cubicBezTo>
                    <a:pt x="694" y="1081"/>
                    <a:pt x="694" y="1081"/>
                    <a:pt x="694" y="1081"/>
                  </a:cubicBezTo>
                  <a:moveTo>
                    <a:pt x="737" y="1080"/>
                  </a:moveTo>
                  <a:cubicBezTo>
                    <a:pt x="728" y="1080"/>
                    <a:pt x="719" y="1085"/>
                    <a:pt x="716" y="1091"/>
                  </a:cubicBezTo>
                  <a:cubicBezTo>
                    <a:pt x="712" y="1096"/>
                    <a:pt x="717" y="1101"/>
                    <a:pt x="725" y="1101"/>
                  </a:cubicBezTo>
                  <a:cubicBezTo>
                    <a:pt x="733" y="1101"/>
                    <a:pt x="743" y="1096"/>
                    <a:pt x="746" y="1090"/>
                  </a:cubicBezTo>
                  <a:cubicBezTo>
                    <a:pt x="749" y="1085"/>
                    <a:pt x="745" y="1080"/>
                    <a:pt x="737" y="1080"/>
                  </a:cubicBezTo>
                  <a:cubicBezTo>
                    <a:pt x="737" y="1080"/>
                    <a:pt x="737" y="1080"/>
                    <a:pt x="737" y="1080"/>
                  </a:cubicBezTo>
                  <a:moveTo>
                    <a:pt x="780" y="1080"/>
                  </a:moveTo>
                  <a:cubicBezTo>
                    <a:pt x="772" y="1080"/>
                    <a:pt x="762" y="1085"/>
                    <a:pt x="759" y="1090"/>
                  </a:cubicBezTo>
                  <a:cubicBezTo>
                    <a:pt x="756" y="1096"/>
                    <a:pt x="760" y="1101"/>
                    <a:pt x="769" y="1101"/>
                  </a:cubicBezTo>
                  <a:cubicBezTo>
                    <a:pt x="777" y="1101"/>
                    <a:pt x="786" y="1096"/>
                    <a:pt x="789" y="1090"/>
                  </a:cubicBezTo>
                  <a:cubicBezTo>
                    <a:pt x="793" y="1085"/>
                    <a:pt x="788" y="1080"/>
                    <a:pt x="780" y="1080"/>
                  </a:cubicBezTo>
                  <a:cubicBezTo>
                    <a:pt x="780" y="1080"/>
                    <a:pt x="780" y="1080"/>
                    <a:pt x="780" y="1080"/>
                  </a:cubicBezTo>
                  <a:moveTo>
                    <a:pt x="823" y="1080"/>
                  </a:moveTo>
                  <a:cubicBezTo>
                    <a:pt x="815" y="1080"/>
                    <a:pt x="805" y="1085"/>
                    <a:pt x="802" y="1090"/>
                  </a:cubicBezTo>
                  <a:cubicBezTo>
                    <a:pt x="799" y="1096"/>
                    <a:pt x="804" y="1100"/>
                    <a:pt x="812" y="1100"/>
                  </a:cubicBezTo>
                  <a:cubicBezTo>
                    <a:pt x="820" y="1100"/>
                    <a:pt x="830" y="1096"/>
                    <a:pt x="833" y="1090"/>
                  </a:cubicBezTo>
                  <a:cubicBezTo>
                    <a:pt x="836" y="1085"/>
                    <a:pt x="831" y="1080"/>
                    <a:pt x="823" y="1080"/>
                  </a:cubicBezTo>
                  <a:cubicBezTo>
                    <a:pt x="823" y="1080"/>
                    <a:pt x="823" y="1080"/>
                    <a:pt x="823" y="1080"/>
                  </a:cubicBezTo>
                  <a:moveTo>
                    <a:pt x="866" y="1080"/>
                  </a:moveTo>
                  <a:cubicBezTo>
                    <a:pt x="858" y="1080"/>
                    <a:pt x="849" y="1085"/>
                    <a:pt x="846" y="1090"/>
                  </a:cubicBezTo>
                  <a:cubicBezTo>
                    <a:pt x="843" y="1096"/>
                    <a:pt x="847" y="1100"/>
                    <a:pt x="856" y="1100"/>
                  </a:cubicBezTo>
                  <a:cubicBezTo>
                    <a:pt x="864" y="1100"/>
                    <a:pt x="873" y="1096"/>
                    <a:pt x="876" y="1090"/>
                  </a:cubicBezTo>
                  <a:cubicBezTo>
                    <a:pt x="879" y="1084"/>
                    <a:pt x="875" y="1080"/>
                    <a:pt x="866" y="1080"/>
                  </a:cubicBezTo>
                  <a:cubicBezTo>
                    <a:pt x="866" y="1080"/>
                    <a:pt x="866" y="1080"/>
                    <a:pt x="866" y="1080"/>
                  </a:cubicBezTo>
                  <a:moveTo>
                    <a:pt x="910" y="1080"/>
                  </a:moveTo>
                  <a:cubicBezTo>
                    <a:pt x="902" y="1080"/>
                    <a:pt x="893" y="1084"/>
                    <a:pt x="890" y="1090"/>
                  </a:cubicBezTo>
                  <a:cubicBezTo>
                    <a:pt x="887" y="1096"/>
                    <a:pt x="891" y="1100"/>
                    <a:pt x="900" y="1100"/>
                  </a:cubicBezTo>
                  <a:cubicBezTo>
                    <a:pt x="908" y="1100"/>
                    <a:pt x="917" y="1096"/>
                    <a:pt x="920" y="1090"/>
                  </a:cubicBezTo>
                  <a:cubicBezTo>
                    <a:pt x="923" y="1084"/>
                    <a:pt x="919" y="1080"/>
                    <a:pt x="910" y="1080"/>
                  </a:cubicBezTo>
                  <a:cubicBezTo>
                    <a:pt x="910" y="1080"/>
                    <a:pt x="910" y="1080"/>
                    <a:pt x="910" y="1080"/>
                  </a:cubicBezTo>
                  <a:moveTo>
                    <a:pt x="2121" y="1077"/>
                  </a:moveTo>
                  <a:cubicBezTo>
                    <a:pt x="2113" y="1077"/>
                    <a:pt x="2105" y="1082"/>
                    <a:pt x="2105" y="1087"/>
                  </a:cubicBezTo>
                  <a:cubicBezTo>
                    <a:pt x="2104" y="1093"/>
                    <a:pt x="2110" y="1098"/>
                    <a:pt x="2119" y="1098"/>
                  </a:cubicBezTo>
                  <a:cubicBezTo>
                    <a:pt x="2127" y="1097"/>
                    <a:pt x="2135" y="1093"/>
                    <a:pt x="2135" y="1087"/>
                  </a:cubicBezTo>
                  <a:cubicBezTo>
                    <a:pt x="2136" y="1082"/>
                    <a:pt x="2130" y="1077"/>
                    <a:pt x="2121" y="1077"/>
                  </a:cubicBezTo>
                  <a:cubicBezTo>
                    <a:pt x="2121" y="1077"/>
                    <a:pt x="2121" y="1077"/>
                    <a:pt x="2121" y="1077"/>
                  </a:cubicBezTo>
                  <a:moveTo>
                    <a:pt x="2165" y="1077"/>
                  </a:moveTo>
                  <a:cubicBezTo>
                    <a:pt x="2157" y="1077"/>
                    <a:pt x="2149" y="1082"/>
                    <a:pt x="2149" y="1087"/>
                  </a:cubicBezTo>
                  <a:cubicBezTo>
                    <a:pt x="2148" y="1093"/>
                    <a:pt x="2154" y="1097"/>
                    <a:pt x="2163" y="1097"/>
                  </a:cubicBezTo>
                  <a:cubicBezTo>
                    <a:pt x="2171" y="1097"/>
                    <a:pt x="2179" y="1093"/>
                    <a:pt x="2179" y="1087"/>
                  </a:cubicBezTo>
                  <a:cubicBezTo>
                    <a:pt x="2180" y="1081"/>
                    <a:pt x="2173" y="1077"/>
                    <a:pt x="2165" y="1077"/>
                  </a:cubicBezTo>
                  <a:cubicBezTo>
                    <a:pt x="2165" y="1077"/>
                    <a:pt x="2165" y="1077"/>
                    <a:pt x="2165" y="1077"/>
                  </a:cubicBezTo>
                  <a:moveTo>
                    <a:pt x="2208" y="1077"/>
                  </a:moveTo>
                  <a:cubicBezTo>
                    <a:pt x="2200" y="1077"/>
                    <a:pt x="2192" y="1081"/>
                    <a:pt x="2192" y="1087"/>
                  </a:cubicBezTo>
                  <a:cubicBezTo>
                    <a:pt x="2191" y="1093"/>
                    <a:pt x="2198" y="1097"/>
                    <a:pt x="2206" y="1097"/>
                  </a:cubicBezTo>
                  <a:cubicBezTo>
                    <a:pt x="2215" y="1097"/>
                    <a:pt x="2222" y="1093"/>
                    <a:pt x="2222" y="1087"/>
                  </a:cubicBezTo>
                  <a:cubicBezTo>
                    <a:pt x="2223" y="1081"/>
                    <a:pt x="2216" y="1077"/>
                    <a:pt x="2208" y="1077"/>
                  </a:cubicBezTo>
                  <a:cubicBezTo>
                    <a:pt x="2208" y="1077"/>
                    <a:pt x="2208" y="1077"/>
                    <a:pt x="2208" y="1077"/>
                  </a:cubicBezTo>
                  <a:moveTo>
                    <a:pt x="2251" y="1077"/>
                  </a:moveTo>
                  <a:cubicBezTo>
                    <a:pt x="2243" y="1077"/>
                    <a:pt x="2236" y="1081"/>
                    <a:pt x="2235" y="1087"/>
                  </a:cubicBezTo>
                  <a:cubicBezTo>
                    <a:pt x="2235" y="1093"/>
                    <a:pt x="2241" y="1097"/>
                    <a:pt x="2250" y="1097"/>
                  </a:cubicBezTo>
                  <a:cubicBezTo>
                    <a:pt x="2258" y="1097"/>
                    <a:pt x="2265" y="1092"/>
                    <a:pt x="2266" y="1087"/>
                  </a:cubicBezTo>
                  <a:cubicBezTo>
                    <a:pt x="2266" y="1081"/>
                    <a:pt x="2260" y="1077"/>
                    <a:pt x="2251" y="1077"/>
                  </a:cubicBezTo>
                  <a:cubicBezTo>
                    <a:pt x="2251" y="1077"/>
                    <a:pt x="2251" y="1077"/>
                    <a:pt x="2251" y="1077"/>
                  </a:cubicBezTo>
                  <a:moveTo>
                    <a:pt x="2294" y="1077"/>
                  </a:moveTo>
                  <a:cubicBezTo>
                    <a:pt x="2286" y="1077"/>
                    <a:pt x="2279" y="1081"/>
                    <a:pt x="2278" y="1087"/>
                  </a:cubicBezTo>
                  <a:cubicBezTo>
                    <a:pt x="2278" y="1092"/>
                    <a:pt x="2285" y="1097"/>
                    <a:pt x="2293" y="1097"/>
                  </a:cubicBezTo>
                  <a:cubicBezTo>
                    <a:pt x="2301" y="1097"/>
                    <a:pt x="2309" y="1092"/>
                    <a:pt x="2309" y="1087"/>
                  </a:cubicBezTo>
                  <a:cubicBezTo>
                    <a:pt x="2309" y="1081"/>
                    <a:pt x="2303" y="1077"/>
                    <a:pt x="2294" y="1077"/>
                  </a:cubicBezTo>
                  <a:cubicBezTo>
                    <a:pt x="2294" y="1077"/>
                    <a:pt x="2294" y="1077"/>
                    <a:pt x="2294" y="1077"/>
                  </a:cubicBezTo>
                  <a:moveTo>
                    <a:pt x="2338" y="1076"/>
                  </a:moveTo>
                  <a:cubicBezTo>
                    <a:pt x="2329" y="1076"/>
                    <a:pt x="2322" y="1081"/>
                    <a:pt x="2322" y="1087"/>
                  </a:cubicBezTo>
                  <a:cubicBezTo>
                    <a:pt x="2322" y="1092"/>
                    <a:pt x="2328" y="1097"/>
                    <a:pt x="2337" y="1097"/>
                  </a:cubicBezTo>
                  <a:cubicBezTo>
                    <a:pt x="2345" y="1097"/>
                    <a:pt x="2352" y="1092"/>
                    <a:pt x="2352" y="1087"/>
                  </a:cubicBezTo>
                  <a:cubicBezTo>
                    <a:pt x="2353" y="1081"/>
                    <a:pt x="2346" y="1076"/>
                    <a:pt x="2338" y="1076"/>
                  </a:cubicBezTo>
                  <a:cubicBezTo>
                    <a:pt x="2338" y="1076"/>
                    <a:pt x="2338" y="1076"/>
                    <a:pt x="2338" y="1076"/>
                  </a:cubicBezTo>
                  <a:moveTo>
                    <a:pt x="2381" y="1076"/>
                  </a:moveTo>
                  <a:cubicBezTo>
                    <a:pt x="2373" y="1076"/>
                    <a:pt x="2366" y="1081"/>
                    <a:pt x="2366" y="1087"/>
                  </a:cubicBezTo>
                  <a:cubicBezTo>
                    <a:pt x="2366" y="1092"/>
                    <a:pt x="2372" y="1097"/>
                    <a:pt x="2381" y="1097"/>
                  </a:cubicBezTo>
                  <a:cubicBezTo>
                    <a:pt x="2389" y="1097"/>
                    <a:pt x="2396" y="1092"/>
                    <a:pt x="2396" y="1086"/>
                  </a:cubicBezTo>
                  <a:cubicBezTo>
                    <a:pt x="2396" y="1081"/>
                    <a:pt x="2390" y="1076"/>
                    <a:pt x="2381" y="1076"/>
                  </a:cubicBezTo>
                  <a:cubicBezTo>
                    <a:pt x="2381" y="1076"/>
                    <a:pt x="2381" y="1076"/>
                    <a:pt x="2381" y="1076"/>
                  </a:cubicBezTo>
                  <a:moveTo>
                    <a:pt x="2424" y="1076"/>
                  </a:moveTo>
                  <a:cubicBezTo>
                    <a:pt x="2416" y="1076"/>
                    <a:pt x="2409" y="1081"/>
                    <a:pt x="2409" y="1086"/>
                  </a:cubicBezTo>
                  <a:cubicBezTo>
                    <a:pt x="2409" y="1092"/>
                    <a:pt x="2416" y="1097"/>
                    <a:pt x="2424" y="1097"/>
                  </a:cubicBezTo>
                  <a:cubicBezTo>
                    <a:pt x="2432" y="1097"/>
                    <a:pt x="2439" y="1092"/>
                    <a:pt x="2439" y="1086"/>
                  </a:cubicBezTo>
                  <a:cubicBezTo>
                    <a:pt x="2439" y="1081"/>
                    <a:pt x="2433" y="1076"/>
                    <a:pt x="2424" y="1076"/>
                  </a:cubicBezTo>
                  <a:cubicBezTo>
                    <a:pt x="2424" y="1076"/>
                    <a:pt x="2424" y="1076"/>
                    <a:pt x="2424" y="1076"/>
                  </a:cubicBezTo>
                  <a:moveTo>
                    <a:pt x="2468" y="1076"/>
                  </a:moveTo>
                  <a:cubicBezTo>
                    <a:pt x="2459" y="1076"/>
                    <a:pt x="2452" y="1081"/>
                    <a:pt x="2452" y="1086"/>
                  </a:cubicBezTo>
                  <a:cubicBezTo>
                    <a:pt x="2452" y="1092"/>
                    <a:pt x="2459" y="1096"/>
                    <a:pt x="2468" y="1096"/>
                  </a:cubicBezTo>
                  <a:cubicBezTo>
                    <a:pt x="2476" y="1096"/>
                    <a:pt x="2483" y="1092"/>
                    <a:pt x="2483" y="1086"/>
                  </a:cubicBezTo>
                  <a:cubicBezTo>
                    <a:pt x="2483" y="1081"/>
                    <a:pt x="2476" y="1076"/>
                    <a:pt x="2468" y="1076"/>
                  </a:cubicBezTo>
                  <a:cubicBezTo>
                    <a:pt x="2468" y="1076"/>
                    <a:pt x="2468" y="1076"/>
                    <a:pt x="2468" y="1076"/>
                  </a:cubicBezTo>
                  <a:moveTo>
                    <a:pt x="2511" y="1076"/>
                  </a:moveTo>
                  <a:cubicBezTo>
                    <a:pt x="2502" y="1076"/>
                    <a:pt x="2496" y="1080"/>
                    <a:pt x="2496" y="1086"/>
                  </a:cubicBezTo>
                  <a:cubicBezTo>
                    <a:pt x="2496" y="1092"/>
                    <a:pt x="2502" y="1096"/>
                    <a:pt x="2511" y="1096"/>
                  </a:cubicBezTo>
                  <a:cubicBezTo>
                    <a:pt x="2519" y="1096"/>
                    <a:pt x="2526" y="1092"/>
                    <a:pt x="2526" y="1086"/>
                  </a:cubicBezTo>
                  <a:cubicBezTo>
                    <a:pt x="2526" y="1080"/>
                    <a:pt x="2519" y="1076"/>
                    <a:pt x="2511" y="1076"/>
                  </a:cubicBezTo>
                  <a:cubicBezTo>
                    <a:pt x="2511" y="1076"/>
                    <a:pt x="2511" y="1076"/>
                    <a:pt x="2511" y="1076"/>
                  </a:cubicBezTo>
                  <a:moveTo>
                    <a:pt x="2554" y="1076"/>
                  </a:moveTo>
                  <a:cubicBezTo>
                    <a:pt x="2546" y="1076"/>
                    <a:pt x="2539" y="1080"/>
                    <a:pt x="2539" y="1086"/>
                  </a:cubicBezTo>
                  <a:cubicBezTo>
                    <a:pt x="2539" y="1092"/>
                    <a:pt x="2546" y="1096"/>
                    <a:pt x="2555" y="1096"/>
                  </a:cubicBezTo>
                  <a:cubicBezTo>
                    <a:pt x="2563" y="1096"/>
                    <a:pt x="2570" y="1091"/>
                    <a:pt x="2569" y="1086"/>
                  </a:cubicBezTo>
                  <a:cubicBezTo>
                    <a:pt x="2569" y="1080"/>
                    <a:pt x="2562" y="1076"/>
                    <a:pt x="2554" y="1076"/>
                  </a:cubicBezTo>
                  <a:cubicBezTo>
                    <a:pt x="2554" y="1076"/>
                    <a:pt x="2554" y="1076"/>
                    <a:pt x="2554" y="1076"/>
                  </a:cubicBezTo>
                  <a:moveTo>
                    <a:pt x="2598" y="1076"/>
                  </a:moveTo>
                  <a:cubicBezTo>
                    <a:pt x="2589" y="1076"/>
                    <a:pt x="2583" y="1080"/>
                    <a:pt x="2583" y="1086"/>
                  </a:cubicBezTo>
                  <a:cubicBezTo>
                    <a:pt x="2583" y="1091"/>
                    <a:pt x="2590" y="1096"/>
                    <a:pt x="2599" y="1096"/>
                  </a:cubicBezTo>
                  <a:cubicBezTo>
                    <a:pt x="2607" y="1096"/>
                    <a:pt x="2614" y="1091"/>
                    <a:pt x="2613" y="1086"/>
                  </a:cubicBezTo>
                  <a:cubicBezTo>
                    <a:pt x="2613" y="1080"/>
                    <a:pt x="2606" y="1076"/>
                    <a:pt x="2598" y="1076"/>
                  </a:cubicBezTo>
                  <a:cubicBezTo>
                    <a:pt x="2598" y="1076"/>
                    <a:pt x="2598" y="1076"/>
                    <a:pt x="2598" y="1076"/>
                  </a:cubicBezTo>
                  <a:moveTo>
                    <a:pt x="2641" y="1075"/>
                  </a:moveTo>
                  <a:cubicBezTo>
                    <a:pt x="2632" y="1075"/>
                    <a:pt x="2626" y="1080"/>
                    <a:pt x="2626" y="1086"/>
                  </a:cubicBezTo>
                  <a:cubicBezTo>
                    <a:pt x="2626" y="1091"/>
                    <a:pt x="2633" y="1096"/>
                    <a:pt x="2642" y="1096"/>
                  </a:cubicBezTo>
                  <a:cubicBezTo>
                    <a:pt x="2650" y="1096"/>
                    <a:pt x="2657" y="1091"/>
                    <a:pt x="2657" y="1086"/>
                  </a:cubicBezTo>
                  <a:cubicBezTo>
                    <a:pt x="2656" y="1080"/>
                    <a:pt x="2649" y="1075"/>
                    <a:pt x="2641" y="1075"/>
                  </a:cubicBezTo>
                  <a:cubicBezTo>
                    <a:pt x="2641" y="1075"/>
                    <a:pt x="2641" y="1075"/>
                    <a:pt x="2641" y="1075"/>
                  </a:cubicBezTo>
                  <a:moveTo>
                    <a:pt x="2684" y="1075"/>
                  </a:moveTo>
                  <a:cubicBezTo>
                    <a:pt x="2676" y="1075"/>
                    <a:pt x="2670" y="1080"/>
                    <a:pt x="2670" y="1086"/>
                  </a:cubicBezTo>
                  <a:cubicBezTo>
                    <a:pt x="2670" y="1091"/>
                    <a:pt x="2677" y="1096"/>
                    <a:pt x="2686" y="1096"/>
                  </a:cubicBezTo>
                  <a:cubicBezTo>
                    <a:pt x="2694" y="1096"/>
                    <a:pt x="2701" y="1091"/>
                    <a:pt x="2700" y="1085"/>
                  </a:cubicBezTo>
                  <a:cubicBezTo>
                    <a:pt x="2700" y="1080"/>
                    <a:pt x="2693" y="1075"/>
                    <a:pt x="2685" y="1075"/>
                  </a:cubicBezTo>
                  <a:cubicBezTo>
                    <a:pt x="2684" y="1075"/>
                    <a:pt x="2684" y="1075"/>
                    <a:pt x="2684" y="1075"/>
                  </a:cubicBezTo>
                  <a:moveTo>
                    <a:pt x="2726" y="1075"/>
                  </a:moveTo>
                  <a:cubicBezTo>
                    <a:pt x="2718" y="1075"/>
                    <a:pt x="2711" y="1080"/>
                    <a:pt x="2712" y="1085"/>
                  </a:cubicBezTo>
                  <a:cubicBezTo>
                    <a:pt x="2712" y="1091"/>
                    <a:pt x="2719" y="1096"/>
                    <a:pt x="2728" y="1096"/>
                  </a:cubicBezTo>
                  <a:cubicBezTo>
                    <a:pt x="2736" y="1096"/>
                    <a:pt x="2743" y="1091"/>
                    <a:pt x="2742" y="1085"/>
                  </a:cubicBezTo>
                  <a:cubicBezTo>
                    <a:pt x="2742" y="1080"/>
                    <a:pt x="2735" y="1075"/>
                    <a:pt x="2726" y="1075"/>
                  </a:cubicBezTo>
                  <a:cubicBezTo>
                    <a:pt x="2726" y="1075"/>
                    <a:pt x="2726" y="1075"/>
                    <a:pt x="2726" y="1075"/>
                  </a:cubicBezTo>
                  <a:moveTo>
                    <a:pt x="2770" y="1075"/>
                  </a:moveTo>
                  <a:cubicBezTo>
                    <a:pt x="2761" y="1075"/>
                    <a:pt x="2755" y="1080"/>
                    <a:pt x="2756" y="1085"/>
                  </a:cubicBezTo>
                  <a:cubicBezTo>
                    <a:pt x="2756" y="1091"/>
                    <a:pt x="2763" y="1095"/>
                    <a:pt x="2772" y="1095"/>
                  </a:cubicBezTo>
                  <a:cubicBezTo>
                    <a:pt x="2780" y="1095"/>
                    <a:pt x="2787" y="1091"/>
                    <a:pt x="2786" y="1085"/>
                  </a:cubicBezTo>
                  <a:cubicBezTo>
                    <a:pt x="2785" y="1080"/>
                    <a:pt x="2778" y="1075"/>
                    <a:pt x="2770" y="1075"/>
                  </a:cubicBezTo>
                  <a:cubicBezTo>
                    <a:pt x="2770" y="1075"/>
                    <a:pt x="2770" y="1075"/>
                    <a:pt x="2770" y="1075"/>
                  </a:cubicBezTo>
                  <a:moveTo>
                    <a:pt x="2811" y="1075"/>
                  </a:moveTo>
                  <a:cubicBezTo>
                    <a:pt x="2803" y="1075"/>
                    <a:pt x="2797" y="1079"/>
                    <a:pt x="2797" y="1085"/>
                  </a:cubicBezTo>
                  <a:cubicBezTo>
                    <a:pt x="2798" y="1091"/>
                    <a:pt x="2805" y="1095"/>
                    <a:pt x="2814" y="1095"/>
                  </a:cubicBezTo>
                  <a:cubicBezTo>
                    <a:pt x="2822" y="1095"/>
                    <a:pt x="2828" y="1091"/>
                    <a:pt x="2828" y="1085"/>
                  </a:cubicBezTo>
                  <a:cubicBezTo>
                    <a:pt x="2827" y="1079"/>
                    <a:pt x="2820" y="1075"/>
                    <a:pt x="2812" y="1075"/>
                  </a:cubicBezTo>
                  <a:cubicBezTo>
                    <a:pt x="2811" y="1075"/>
                    <a:pt x="2811" y="1075"/>
                    <a:pt x="2811" y="1075"/>
                  </a:cubicBezTo>
                  <a:moveTo>
                    <a:pt x="2857" y="1075"/>
                  </a:moveTo>
                  <a:cubicBezTo>
                    <a:pt x="2849" y="1075"/>
                    <a:pt x="2843" y="1079"/>
                    <a:pt x="2843" y="1085"/>
                  </a:cubicBezTo>
                  <a:cubicBezTo>
                    <a:pt x="2844" y="1091"/>
                    <a:pt x="2851" y="1095"/>
                    <a:pt x="2860" y="1095"/>
                  </a:cubicBezTo>
                  <a:cubicBezTo>
                    <a:pt x="2868" y="1095"/>
                    <a:pt x="2874" y="1091"/>
                    <a:pt x="2874" y="1085"/>
                  </a:cubicBezTo>
                  <a:cubicBezTo>
                    <a:pt x="2873" y="1079"/>
                    <a:pt x="2866" y="1075"/>
                    <a:pt x="2857" y="1075"/>
                  </a:cubicBezTo>
                  <a:cubicBezTo>
                    <a:pt x="2857" y="1075"/>
                    <a:pt x="2857" y="1075"/>
                    <a:pt x="2857" y="1075"/>
                  </a:cubicBezTo>
                  <a:moveTo>
                    <a:pt x="3895" y="1074"/>
                  </a:moveTo>
                  <a:cubicBezTo>
                    <a:pt x="3886" y="1074"/>
                    <a:pt x="3882" y="1079"/>
                    <a:pt x="3884" y="1084"/>
                  </a:cubicBezTo>
                  <a:cubicBezTo>
                    <a:pt x="3887" y="1090"/>
                    <a:pt x="3896" y="1094"/>
                    <a:pt x="3904" y="1094"/>
                  </a:cubicBezTo>
                  <a:cubicBezTo>
                    <a:pt x="3913" y="1094"/>
                    <a:pt x="3917" y="1090"/>
                    <a:pt x="3915" y="1084"/>
                  </a:cubicBezTo>
                  <a:cubicBezTo>
                    <a:pt x="3912" y="1078"/>
                    <a:pt x="3903" y="1074"/>
                    <a:pt x="3895" y="1074"/>
                  </a:cubicBezTo>
                  <a:cubicBezTo>
                    <a:pt x="3895" y="1074"/>
                    <a:pt x="3895" y="1074"/>
                    <a:pt x="3895" y="1074"/>
                  </a:cubicBezTo>
                  <a:moveTo>
                    <a:pt x="3984" y="1074"/>
                  </a:moveTo>
                  <a:cubicBezTo>
                    <a:pt x="3976" y="1074"/>
                    <a:pt x="3971" y="1078"/>
                    <a:pt x="3974" y="1084"/>
                  </a:cubicBezTo>
                  <a:cubicBezTo>
                    <a:pt x="3977" y="1090"/>
                    <a:pt x="3986" y="1094"/>
                    <a:pt x="3994" y="1094"/>
                  </a:cubicBezTo>
                  <a:cubicBezTo>
                    <a:pt x="4003" y="1094"/>
                    <a:pt x="4007" y="1089"/>
                    <a:pt x="4004" y="1084"/>
                  </a:cubicBezTo>
                  <a:cubicBezTo>
                    <a:pt x="4002" y="1078"/>
                    <a:pt x="3992" y="1074"/>
                    <a:pt x="3984" y="1074"/>
                  </a:cubicBezTo>
                  <a:cubicBezTo>
                    <a:pt x="3984" y="1074"/>
                    <a:pt x="3984" y="1074"/>
                    <a:pt x="3984" y="1074"/>
                  </a:cubicBezTo>
                  <a:moveTo>
                    <a:pt x="4196" y="1071"/>
                  </a:moveTo>
                  <a:cubicBezTo>
                    <a:pt x="4188" y="1072"/>
                    <a:pt x="4184" y="1076"/>
                    <a:pt x="4187" y="1082"/>
                  </a:cubicBezTo>
                  <a:cubicBezTo>
                    <a:pt x="4190" y="1087"/>
                    <a:pt x="4200" y="1092"/>
                    <a:pt x="4208" y="1092"/>
                  </a:cubicBezTo>
                  <a:cubicBezTo>
                    <a:pt x="4216" y="1092"/>
                    <a:pt x="4221" y="1087"/>
                    <a:pt x="4217" y="1082"/>
                  </a:cubicBezTo>
                  <a:cubicBezTo>
                    <a:pt x="4214" y="1076"/>
                    <a:pt x="4205" y="1071"/>
                    <a:pt x="4196" y="1071"/>
                  </a:cubicBezTo>
                  <a:cubicBezTo>
                    <a:pt x="4196" y="1071"/>
                    <a:pt x="4196" y="1071"/>
                    <a:pt x="4196" y="1071"/>
                  </a:cubicBezTo>
                  <a:moveTo>
                    <a:pt x="4239" y="1071"/>
                  </a:moveTo>
                  <a:cubicBezTo>
                    <a:pt x="4231" y="1071"/>
                    <a:pt x="4227" y="1076"/>
                    <a:pt x="4230" y="1082"/>
                  </a:cubicBezTo>
                  <a:cubicBezTo>
                    <a:pt x="4233" y="1087"/>
                    <a:pt x="4243" y="1092"/>
                    <a:pt x="4251" y="1092"/>
                  </a:cubicBezTo>
                  <a:cubicBezTo>
                    <a:pt x="4260" y="1092"/>
                    <a:pt x="4264" y="1087"/>
                    <a:pt x="4260" y="1082"/>
                  </a:cubicBezTo>
                  <a:cubicBezTo>
                    <a:pt x="4257" y="1076"/>
                    <a:pt x="4248" y="1071"/>
                    <a:pt x="4239" y="1071"/>
                  </a:cubicBezTo>
                  <a:cubicBezTo>
                    <a:pt x="4239" y="1071"/>
                    <a:pt x="4239" y="1071"/>
                    <a:pt x="4239" y="1071"/>
                  </a:cubicBezTo>
                  <a:moveTo>
                    <a:pt x="4283" y="1071"/>
                  </a:moveTo>
                  <a:cubicBezTo>
                    <a:pt x="4274" y="1071"/>
                    <a:pt x="4270" y="1076"/>
                    <a:pt x="4274" y="1082"/>
                  </a:cubicBezTo>
                  <a:cubicBezTo>
                    <a:pt x="4277" y="1087"/>
                    <a:pt x="4286" y="1092"/>
                    <a:pt x="4295" y="1092"/>
                  </a:cubicBezTo>
                  <a:cubicBezTo>
                    <a:pt x="4303" y="1092"/>
                    <a:pt x="4307" y="1087"/>
                    <a:pt x="4304" y="1081"/>
                  </a:cubicBezTo>
                  <a:cubicBezTo>
                    <a:pt x="4301" y="1076"/>
                    <a:pt x="4291" y="1071"/>
                    <a:pt x="4283" y="1071"/>
                  </a:cubicBezTo>
                  <a:cubicBezTo>
                    <a:pt x="4283" y="1071"/>
                    <a:pt x="4283" y="1071"/>
                    <a:pt x="4283" y="1071"/>
                  </a:cubicBezTo>
                  <a:moveTo>
                    <a:pt x="408" y="1054"/>
                  </a:moveTo>
                  <a:cubicBezTo>
                    <a:pt x="399" y="1054"/>
                    <a:pt x="389" y="1058"/>
                    <a:pt x="386" y="1064"/>
                  </a:cubicBezTo>
                  <a:cubicBezTo>
                    <a:pt x="382" y="1069"/>
                    <a:pt x="385" y="1074"/>
                    <a:pt x="394" y="1074"/>
                  </a:cubicBezTo>
                  <a:cubicBezTo>
                    <a:pt x="402" y="1074"/>
                    <a:pt x="412" y="1069"/>
                    <a:pt x="416" y="1064"/>
                  </a:cubicBezTo>
                  <a:cubicBezTo>
                    <a:pt x="420" y="1058"/>
                    <a:pt x="416" y="1054"/>
                    <a:pt x="408" y="1054"/>
                  </a:cubicBezTo>
                  <a:cubicBezTo>
                    <a:pt x="408" y="1054"/>
                    <a:pt x="408" y="1054"/>
                    <a:pt x="408" y="1054"/>
                  </a:cubicBezTo>
                  <a:moveTo>
                    <a:pt x="451" y="1053"/>
                  </a:moveTo>
                  <a:cubicBezTo>
                    <a:pt x="442" y="1053"/>
                    <a:pt x="432" y="1058"/>
                    <a:pt x="429" y="1064"/>
                  </a:cubicBezTo>
                  <a:cubicBezTo>
                    <a:pt x="425" y="1069"/>
                    <a:pt x="429" y="1074"/>
                    <a:pt x="437" y="1074"/>
                  </a:cubicBezTo>
                  <a:cubicBezTo>
                    <a:pt x="445" y="1074"/>
                    <a:pt x="455" y="1069"/>
                    <a:pt x="459" y="1064"/>
                  </a:cubicBezTo>
                  <a:cubicBezTo>
                    <a:pt x="463" y="1058"/>
                    <a:pt x="459" y="1053"/>
                    <a:pt x="451" y="1053"/>
                  </a:cubicBezTo>
                  <a:cubicBezTo>
                    <a:pt x="451" y="1053"/>
                    <a:pt x="451" y="1053"/>
                    <a:pt x="451" y="1053"/>
                  </a:cubicBezTo>
                  <a:moveTo>
                    <a:pt x="493" y="1053"/>
                  </a:moveTo>
                  <a:cubicBezTo>
                    <a:pt x="485" y="1053"/>
                    <a:pt x="475" y="1058"/>
                    <a:pt x="472" y="1064"/>
                  </a:cubicBezTo>
                  <a:cubicBezTo>
                    <a:pt x="468" y="1069"/>
                    <a:pt x="472" y="1074"/>
                    <a:pt x="480" y="1074"/>
                  </a:cubicBezTo>
                  <a:cubicBezTo>
                    <a:pt x="488" y="1074"/>
                    <a:pt x="498" y="1069"/>
                    <a:pt x="502" y="1063"/>
                  </a:cubicBezTo>
                  <a:cubicBezTo>
                    <a:pt x="505" y="1058"/>
                    <a:pt x="502" y="1053"/>
                    <a:pt x="493" y="1053"/>
                  </a:cubicBezTo>
                  <a:cubicBezTo>
                    <a:pt x="493" y="1053"/>
                    <a:pt x="493" y="1053"/>
                    <a:pt x="493" y="1053"/>
                  </a:cubicBezTo>
                  <a:moveTo>
                    <a:pt x="536" y="1053"/>
                  </a:moveTo>
                  <a:cubicBezTo>
                    <a:pt x="528" y="1053"/>
                    <a:pt x="518" y="1058"/>
                    <a:pt x="515" y="1063"/>
                  </a:cubicBezTo>
                  <a:cubicBezTo>
                    <a:pt x="511" y="1069"/>
                    <a:pt x="515" y="1073"/>
                    <a:pt x="523" y="1073"/>
                  </a:cubicBezTo>
                  <a:cubicBezTo>
                    <a:pt x="532" y="1073"/>
                    <a:pt x="541" y="1069"/>
                    <a:pt x="545" y="1063"/>
                  </a:cubicBezTo>
                  <a:cubicBezTo>
                    <a:pt x="548" y="1058"/>
                    <a:pt x="545" y="1053"/>
                    <a:pt x="536" y="1053"/>
                  </a:cubicBezTo>
                  <a:cubicBezTo>
                    <a:pt x="536" y="1053"/>
                    <a:pt x="536" y="1053"/>
                    <a:pt x="536" y="1053"/>
                  </a:cubicBezTo>
                  <a:moveTo>
                    <a:pt x="581" y="1053"/>
                  </a:moveTo>
                  <a:cubicBezTo>
                    <a:pt x="572" y="1053"/>
                    <a:pt x="563" y="1058"/>
                    <a:pt x="559" y="1063"/>
                  </a:cubicBezTo>
                  <a:cubicBezTo>
                    <a:pt x="556" y="1069"/>
                    <a:pt x="560" y="1073"/>
                    <a:pt x="568" y="1073"/>
                  </a:cubicBezTo>
                  <a:cubicBezTo>
                    <a:pt x="576" y="1073"/>
                    <a:pt x="586" y="1069"/>
                    <a:pt x="589" y="1063"/>
                  </a:cubicBezTo>
                  <a:cubicBezTo>
                    <a:pt x="593" y="1058"/>
                    <a:pt x="589" y="1053"/>
                    <a:pt x="581" y="1053"/>
                  </a:cubicBezTo>
                  <a:cubicBezTo>
                    <a:pt x="581" y="1053"/>
                    <a:pt x="581" y="1053"/>
                    <a:pt x="581" y="1053"/>
                  </a:cubicBezTo>
                  <a:moveTo>
                    <a:pt x="623" y="1053"/>
                  </a:moveTo>
                  <a:cubicBezTo>
                    <a:pt x="615" y="1053"/>
                    <a:pt x="605" y="1057"/>
                    <a:pt x="602" y="1063"/>
                  </a:cubicBezTo>
                  <a:cubicBezTo>
                    <a:pt x="599" y="1069"/>
                    <a:pt x="603" y="1073"/>
                    <a:pt x="611" y="1073"/>
                  </a:cubicBezTo>
                  <a:cubicBezTo>
                    <a:pt x="619" y="1073"/>
                    <a:pt x="629" y="1069"/>
                    <a:pt x="632" y="1063"/>
                  </a:cubicBezTo>
                  <a:cubicBezTo>
                    <a:pt x="636" y="1057"/>
                    <a:pt x="632" y="1053"/>
                    <a:pt x="623" y="1053"/>
                  </a:cubicBezTo>
                  <a:cubicBezTo>
                    <a:pt x="623" y="1053"/>
                    <a:pt x="623" y="1053"/>
                    <a:pt x="623" y="1053"/>
                  </a:cubicBezTo>
                  <a:moveTo>
                    <a:pt x="666" y="1053"/>
                  </a:moveTo>
                  <a:cubicBezTo>
                    <a:pt x="658" y="1053"/>
                    <a:pt x="649" y="1057"/>
                    <a:pt x="645" y="1063"/>
                  </a:cubicBezTo>
                  <a:cubicBezTo>
                    <a:pt x="642" y="1069"/>
                    <a:pt x="646" y="1073"/>
                    <a:pt x="654" y="1073"/>
                  </a:cubicBezTo>
                  <a:cubicBezTo>
                    <a:pt x="663" y="1073"/>
                    <a:pt x="672" y="1068"/>
                    <a:pt x="675" y="1063"/>
                  </a:cubicBezTo>
                  <a:cubicBezTo>
                    <a:pt x="679" y="1057"/>
                    <a:pt x="675" y="1053"/>
                    <a:pt x="666" y="1053"/>
                  </a:cubicBezTo>
                  <a:cubicBezTo>
                    <a:pt x="666" y="1053"/>
                    <a:pt x="666" y="1053"/>
                    <a:pt x="666" y="1053"/>
                  </a:cubicBezTo>
                  <a:moveTo>
                    <a:pt x="710" y="1053"/>
                  </a:moveTo>
                  <a:cubicBezTo>
                    <a:pt x="701" y="1053"/>
                    <a:pt x="692" y="1057"/>
                    <a:pt x="689" y="1063"/>
                  </a:cubicBezTo>
                  <a:cubicBezTo>
                    <a:pt x="685" y="1068"/>
                    <a:pt x="690" y="1073"/>
                    <a:pt x="698" y="1073"/>
                  </a:cubicBezTo>
                  <a:cubicBezTo>
                    <a:pt x="706" y="1073"/>
                    <a:pt x="716" y="1068"/>
                    <a:pt x="719" y="1063"/>
                  </a:cubicBezTo>
                  <a:cubicBezTo>
                    <a:pt x="722" y="1057"/>
                    <a:pt x="718" y="1053"/>
                    <a:pt x="710" y="1053"/>
                  </a:cubicBezTo>
                  <a:cubicBezTo>
                    <a:pt x="710" y="1053"/>
                    <a:pt x="710" y="1053"/>
                    <a:pt x="710" y="1053"/>
                  </a:cubicBezTo>
                  <a:moveTo>
                    <a:pt x="752" y="1052"/>
                  </a:moveTo>
                  <a:cubicBezTo>
                    <a:pt x="744" y="1052"/>
                    <a:pt x="735" y="1057"/>
                    <a:pt x="732" y="1063"/>
                  </a:cubicBezTo>
                  <a:cubicBezTo>
                    <a:pt x="728" y="1068"/>
                    <a:pt x="733" y="1073"/>
                    <a:pt x="741" y="1073"/>
                  </a:cubicBezTo>
                  <a:cubicBezTo>
                    <a:pt x="749" y="1073"/>
                    <a:pt x="759" y="1068"/>
                    <a:pt x="762" y="1063"/>
                  </a:cubicBezTo>
                  <a:cubicBezTo>
                    <a:pt x="765" y="1057"/>
                    <a:pt x="761" y="1052"/>
                    <a:pt x="752" y="1052"/>
                  </a:cubicBezTo>
                  <a:cubicBezTo>
                    <a:pt x="752" y="1052"/>
                    <a:pt x="752" y="1052"/>
                    <a:pt x="752" y="1052"/>
                  </a:cubicBezTo>
                  <a:moveTo>
                    <a:pt x="796" y="1052"/>
                  </a:moveTo>
                  <a:cubicBezTo>
                    <a:pt x="787" y="1052"/>
                    <a:pt x="778" y="1057"/>
                    <a:pt x="775" y="1062"/>
                  </a:cubicBezTo>
                  <a:cubicBezTo>
                    <a:pt x="772" y="1068"/>
                    <a:pt x="776" y="1072"/>
                    <a:pt x="784" y="1072"/>
                  </a:cubicBezTo>
                  <a:cubicBezTo>
                    <a:pt x="793" y="1072"/>
                    <a:pt x="802" y="1068"/>
                    <a:pt x="805" y="1062"/>
                  </a:cubicBezTo>
                  <a:cubicBezTo>
                    <a:pt x="808" y="1056"/>
                    <a:pt x="804" y="1052"/>
                    <a:pt x="796" y="1052"/>
                  </a:cubicBezTo>
                  <a:cubicBezTo>
                    <a:pt x="796" y="1052"/>
                    <a:pt x="796" y="1052"/>
                    <a:pt x="796" y="1052"/>
                  </a:cubicBezTo>
                  <a:moveTo>
                    <a:pt x="838" y="1052"/>
                  </a:moveTo>
                  <a:cubicBezTo>
                    <a:pt x="830" y="1052"/>
                    <a:pt x="821" y="1056"/>
                    <a:pt x="818" y="1062"/>
                  </a:cubicBezTo>
                  <a:cubicBezTo>
                    <a:pt x="815" y="1068"/>
                    <a:pt x="819" y="1072"/>
                    <a:pt x="827" y="1072"/>
                  </a:cubicBezTo>
                  <a:cubicBezTo>
                    <a:pt x="836" y="1072"/>
                    <a:pt x="845" y="1068"/>
                    <a:pt x="848" y="1062"/>
                  </a:cubicBezTo>
                  <a:cubicBezTo>
                    <a:pt x="851" y="1056"/>
                    <a:pt x="847" y="1052"/>
                    <a:pt x="838" y="1052"/>
                  </a:cubicBezTo>
                  <a:cubicBezTo>
                    <a:pt x="838" y="1052"/>
                    <a:pt x="838" y="1052"/>
                    <a:pt x="838" y="1052"/>
                  </a:cubicBezTo>
                  <a:moveTo>
                    <a:pt x="882" y="1050"/>
                  </a:moveTo>
                  <a:cubicBezTo>
                    <a:pt x="874" y="1050"/>
                    <a:pt x="865" y="1054"/>
                    <a:pt x="862" y="1060"/>
                  </a:cubicBezTo>
                  <a:cubicBezTo>
                    <a:pt x="859" y="1066"/>
                    <a:pt x="863" y="1070"/>
                    <a:pt x="872" y="1070"/>
                  </a:cubicBezTo>
                  <a:cubicBezTo>
                    <a:pt x="880" y="1070"/>
                    <a:pt x="889" y="1066"/>
                    <a:pt x="892" y="1060"/>
                  </a:cubicBezTo>
                  <a:cubicBezTo>
                    <a:pt x="895" y="1054"/>
                    <a:pt x="891" y="1050"/>
                    <a:pt x="882" y="1050"/>
                  </a:cubicBezTo>
                  <a:cubicBezTo>
                    <a:pt x="882" y="1050"/>
                    <a:pt x="882" y="1050"/>
                    <a:pt x="882" y="1050"/>
                  </a:cubicBezTo>
                  <a:moveTo>
                    <a:pt x="1737" y="1049"/>
                  </a:moveTo>
                  <a:cubicBezTo>
                    <a:pt x="1729" y="1049"/>
                    <a:pt x="1721" y="1053"/>
                    <a:pt x="1720" y="1059"/>
                  </a:cubicBezTo>
                  <a:cubicBezTo>
                    <a:pt x="1718" y="1065"/>
                    <a:pt x="1724" y="1069"/>
                    <a:pt x="1732" y="1069"/>
                  </a:cubicBezTo>
                  <a:cubicBezTo>
                    <a:pt x="1741" y="1069"/>
                    <a:pt x="1749" y="1065"/>
                    <a:pt x="1750" y="1059"/>
                  </a:cubicBezTo>
                  <a:cubicBezTo>
                    <a:pt x="1751" y="1053"/>
                    <a:pt x="1746" y="1049"/>
                    <a:pt x="1737" y="1049"/>
                  </a:cubicBezTo>
                  <a:cubicBezTo>
                    <a:pt x="1737" y="1049"/>
                    <a:pt x="1737" y="1049"/>
                    <a:pt x="1737" y="1049"/>
                  </a:cubicBezTo>
                  <a:moveTo>
                    <a:pt x="1780" y="1049"/>
                  </a:moveTo>
                  <a:cubicBezTo>
                    <a:pt x="1772" y="1049"/>
                    <a:pt x="1764" y="1053"/>
                    <a:pt x="1763" y="1059"/>
                  </a:cubicBezTo>
                  <a:cubicBezTo>
                    <a:pt x="1762" y="1065"/>
                    <a:pt x="1767" y="1069"/>
                    <a:pt x="1776" y="1069"/>
                  </a:cubicBezTo>
                  <a:cubicBezTo>
                    <a:pt x="1784" y="1069"/>
                    <a:pt x="1792" y="1064"/>
                    <a:pt x="1793" y="1059"/>
                  </a:cubicBezTo>
                  <a:cubicBezTo>
                    <a:pt x="1794" y="1053"/>
                    <a:pt x="1789" y="1049"/>
                    <a:pt x="1780" y="1049"/>
                  </a:cubicBezTo>
                  <a:cubicBezTo>
                    <a:pt x="1780" y="1049"/>
                    <a:pt x="1780" y="1049"/>
                    <a:pt x="1780" y="1049"/>
                  </a:cubicBezTo>
                  <a:moveTo>
                    <a:pt x="1824" y="1049"/>
                  </a:moveTo>
                  <a:cubicBezTo>
                    <a:pt x="1815" y="1049"/>
                    <a:pt x="1808" y="1053"/>
                    <a:pt x="1806" y="1059"/>
                  </a:cubicBezTo>
                  <a:cubicBezTo>
                    <a:pt x="1805" y="1064"/>
                    <a:pt x="1811" y="1069"/>
                    <a:pt x="1819" y="1069"/>
                  </a:cubicBezTo>
                  <a:cubicBezTo>
                    <a:pt x="1828" y="1069"/>
                    <a:pt x="1835" y="1064"/>
                    <a:pt x="1836" y="1059"/>
                  </a:cubicBezTo>
                  <a:cubicBezTo>
                    <a:pt x="1838" y="1053"/>
                    <a:pt x="1832" y="1049"/>
                    <a:pt x="1824" y="1049"/>
                  </a:cubicBezTo>
                  <a:cubicBezTo>
                    <a:pt x="1824" y="1049"/>
                    <a:pt x="1824" y="1049"/>
                    <a:pt x="1824" y="1049"/>
                  </a:cubicBezTo>
                  <a:moveTo>
                    <a:pt x="1866" y="1048"/>
                  </a:moveTo>
                  <a:cubicBezTo>
                    <a:pt x="1858" y="1048"/>
                    <a:pt x="1850" y="1053"/>
                    <a:pt x="1849" y="1059"/>
                  </a:cubicBezTo>
                  <a:cubicBezTo>
                    <a:pt x="1848" y="1064"/>
                    <a:pt x="1854" y="1069"/>
                    <a:pt x="1862" y="1069"/>
                  </a:cubicBezTo>
                  <a:cubicBezTo>
                    <a:pt x="1870" y="1069"/>
                    <a:pt x="1878" y="1064"/>
                    <a:pt x="1879" y="1059"/>
                  </a:cubicBezTo>
                  <a:cubicBezTo>
                    <a:pt x="1880" y="1053"/>
                    <a:pt x="1875" y="1048"/>
                    <a:pt x="1866" y="1048"/>
                  </a:cubicBezTo>
                  <a:cubicBezTo>
                    <a:pt x="1866" y="1048"/>
                    <a:pt x="1866" y="1048"/>
                    <a:pt x="1866" y="1048"/>
                  </a:cubicBezTo>
                  <a:moveTo>
                    <a:pt x="1909" y="1048"/>
                  </a:moveTo>
                  <a:cubicBezTo>
                    <a:pt x="1901" y="1048"/>
                    <a:pt x="1893" y="1053"/>
                    <a:pt x="1892" y="1059"/>
                  </a:cubicBezTo>
                  <a:cubicBezTo>
                    <a:pt x="1891" y="1064"/>
                    <a:pt x="1897" y="1069"/>
                    <a:pt x="1905" y="1069"/>
                  </a:cubicBezTo>
                  <a:cubicBezTo>
                    <a:pt x="1914" y="1069"/>
                    <a:pt x="1921" y="1064"/>
                    <a:pt x="1922" y="1058"/>
                  </a:cubicBezTo>
                  <a:cubicBezTo>
                    <a:pt x="1923" y="1053"/>
                    <a:pt x="1917" y="1048"/>
                    <a:pt x="1909" y="1048"/>
                  </a:cubicBezTo>
                  <a:cubicBezTo>
                    <a:pt x="1909" y="1048"/>
                    <a:pt x="1909" y="1048"/>
                    <a:pt x="1909" y="1048"/>
                  </a:cubicBezTo>
                  <a:moveTo>
                    <a:pt x="2039" y="1048"/>
                  </a:moveTo>
                  <a:cubicBezTo>
                    <a:pt x="2031" y="1048"/>
                    <a:pt x="2023" y="1052"/>
                    <a:pt x="2022" y="1058"/>
                  </a:cubicBezTo>
                  <a:cubicBezTo>
                    <a:pt x="2022" y="1064"/>
                    <a:pt x="2028" y="1068"/>
                    <a:pt x="2036" y="1068"/>
                  </a:cubicBezTo>
                  <a:cubicBezTo>
                    <a:pt x="2044" y="1068"/>
                    <a:pt x="2052" y="1064"/>
                    <a:pt x="2053" y="1058"/>
                  </a:cubicBezTo>
                  <a:cubicBezTo>
                    <a:pt x="2053" y="1052"/>
                    <a:pt x="2047" y="1048"/>
                    <a:pt x="2039" y="1048"/>
                  </a:cubicBezTo>
                  <a:cubicBezTo>
                    <a:pt x="2039" y="1048"/>
                    <a:pt x="2039" y="1048"/>
                    <a:pt x="2039" y="1048"/>
                  </a:cubicBezTo>
                  <a:moveTo>
                    <a:pt x="2082" y="1048"/>
                  </a:moveTo>
                  <a:cubicBezTo>
                    <a:pt x="2073" y="1048"/>
                    <a:pt x="2066" y="1052"/>
                    <a:pt x="2065" y="1058"/>
                  </a:cubicBezTo>
                  <a:cubicBezTo>
                    <a:pt x="2064" y="1064"/>
                    <a:pt x="2071" y="1068"/>
                    <a:pt x="2079" y="1068"/>
                  </a:cubicBezTo>
                  <a:cubicBezTo>
                    <a:pt x="2087" y="1068"/>
                    <a:pt x="2095" y="1064"/>
                    <a:pt x="2095" y="1058"/>
                  </a:cubicBezTo>
                  <a:cubicBezTo>
                    <a:pt x="2096" y="1052"/>
                    <a:pt x="2090" y="1048"/>
                    <a:pt x="2082" y="1048"/>
                  </a:cubicBezTo>
                  <a:cubicBezTo>
                    <a:pt x="2082" y="1048"/>
                    <a:pt x="2082" y="1048"/>
                    <a:pt x="2082" y="1048"/>
                  </a:cubicBezTo>
                  <a:moveTo>
                    <a:pt x="2125" y="1048"/>
                  </a:moveTo>
                  <a:cubicBezTo>
                    <a:pt x="2116" y="1048"/>
                    <a:pt x="2109" y="1052"/>
                    <a:pt x="2108" y="1058"/>
                  </a:cubicBezTo>
                  <a:cubicBezTo>
                    <a:pt x="2108" y="1063"/>
                    <a:pt x="2114" y="1068"/>
                    <a:pt x="2122" y="1068"/>
                  </a:cubicBezTo>
                  <a:cubicBezTo>
                    <a:pt x="2131" y="1068"/>
                    <a:pt x="2138" y="1063"/>
                    <a:pt x="2138" y="1058"/>
                  </a:cubicBezTo>
                  <a:cubicBezTo>
                    <a:pt x="2139" y="1052"/>
                    <a:pt x="2133" y="1048"/>
                    <a:pt x="2125" y="1048"/>
                  </a:cubicBezTo>
                  <a:cubicBezTo>
                    <a:pt x="2125" y="1048"/>
                    <a:pt x="2125" y="1048"/>
                    <a:pt x="2125" y="1048"/>
                  </a:cubicBezTo>
                  <a:moveTo>
                    <a:pt x="2168" y="1047"/>
                  </a:moveTo>
                  <a:cubicBezTo>
                    <a:pt x="2160" y="1047"/>
                    <a:pt x="2152" y="1052"/>
                    <a:pt x="2152" y="1058"/>
                  </a:cubicBezTo>
                  <a:cubicBezTo>
                    <a:pt x="2151" y="1063"/>
                    <a:pt x="2157" y="1068"/>
                    <a:pt x="2166" y="1068"/>
                  </a:cubicBezTo>
                  <a:cubicBezTo>
                    <a:pt x="2174" y="1068"/>
                    <a:pt x="2181" y="1063"/>
                    <a:pt x="2182" y="1058"/>
                  </a:cubicBezTo>
                  <a:cubicBezTo>
                    <a:pt x="2182" y="1052"/>
                    <a:pt x="2176" y="1047"/>
                    <a:pt x="2168" y="1047"/>
                  </a:cubicBezTo>
                  <a:cubicBezTo>
                    <a:pt x="2168" y="1047"/>
                    <a:pt x="2168" y="1047"/>
                    <a:pt x="2168" y="1047"/>
                  </a:cubicBezTo>
                  <a:moveTo>
                    <a:pt x="2210" y="1047"/>
                  </a:moveTo>
                  <a:cubicBezTo>
                    <a:pt x="2202" y="1047"/>
                    <a:pt x="2195" y="1052"/>
                    <a:pt x="2195" y="1058"/>
                  </a:cubicBezTo>
                  <a:cubicBezTo>
                    <a:pt x="2194" y="1063"/>
                    <a:pt x="2200" y="1068"/>
                    <a:pt x="2209" y="1068"/>
                  </a:cubicBezTo>
                  <a:cubicBezTo>
                    <a:pt x="2217" y="1068"/>
                    <a:pt x="2224" y="1063"/>
                    <a:pt x="2225" y="1057"/>
                  </a:cubicBezTo>
                  <a:cubicBezTo>
                    <a:pt x="2225" y="1052"/>
                    <a:pt x="2219" y="1047"/>
                    <a:pt x="2211" y="1047"/>
                  </a:cubicBezTo>
                  <a:cubicBezTo>
                    <a:pt x="2211" y="1047"/>
                    <a:pt x="2211" y="1047"/>
                    <a:pt x="2210" y="1047"/>
                  </a:cubicBezTo>
                  <a:moveTo>
                    <a:pt x="2253" y="1047"/>
                  </a:moveTo>
                  <a:cubicBezTo>
                    <a:pt x="2245" y="1047"/>
                    <a:pt x="2238" y="1052"/>
                    <a:pt x="2238" y="1057"/>
                  </a:cubicBezTo>
                  <a:cubicBezTo>
                    <a:pt x="2237" y="1063"/>
                    <a:pt x="2244" y="1068"/>
                    <a:pt x="2252" y="1068"/>
                  </a:cubicBezTo>
                  <a:cubicBezTo>
                    <a:pt x="2260" y="1068"/>
                    <a:pt x="2267" y="1063"/>
                    <a:pt x="2268" y="1057"/>
                  </a:cubicBezTo>
                  <a:cubicBezTo>
                    <a:pt x="2268" y="1052"/>
                    <a:pt x="2262" y="1047"/>
                    <a:pt x="2253" y="1047"/>
                  </a:cubicBezTo>
                  <a:cubicBezTo>
                    <a:pt x="2253" y="1047"/>
                    <a:pt x="2253" y="1047"/>
                    <a:pt x="2253" y="1047"/>
                  </a:cubicBezTo>
                  <a:moveTo>
                    <a:pt x="2296" y="1047"/>
                  </a:moveTo>
                  <a:cubicBezTo>
                    <a:pt x="2288" y="1047"/>
                    <a:pt x="2281" y="1052"/>
                    <a:pt x="2280" y="1057"/>
                  </a:cubicBezTo>
                  <a:cubicBezTo>
                    <a:pt x="2280" y="1063"/>
                    <a:pt x="2286" y="1067"/>
                    <a:pt x="2295" y="1067"/>
                  </a:cubicBezTo>
                  <a:cubicBezTo>
                    <a:pt x="2303" y="1067"/>
                    <a:pt x="2310" y="1063"/>
                    <a:pt x="2310" y="1057"/>
                  </a:cubicBezTo>
                  <a:cubicBezTo>
                    <a:pt x="2311" y="1052"/>
                    <a:pt x="2304" y="1047"/>
                    <a:pt x="2296" y="1047"/>
                  </a:cubicBezTo>
                  <a:cubicBezTo>
                    <a:pt x="2296" y="1047"/>
                    <a:pt x="2296" y="1047"/>
                    <a:pt x="2296" y="1047"/>
                  </a:cubicBezTo>
                  <a:moveTo>
                    <a:pt x="2339" y="1047"/>
                  </a:moveTo>
                  <a:cubicBezTo>
                    <a:pt x="2331" y="1047"/>
                    <a:pt x="2324" y="1051"/>
                    <a:pt x="2323" y="1057"/>
                  </a:cubicBezTo>
                  <a:cubicBezTo>
                    <a:pt x="2323" y="1063"/>
                    <a:pt x="2330" y="1067"/>
                    <a:pt x="2338" y="1067"/>
                  </a:cubicBezTo>
                  <a:cubicBezTo>
                    <a:pt x="2346" y="1067"/>
                    <a:pt x="2353" y="1063"/>
                    <a:pt x="2353" y="1057"/>
                  </a:cubicBezTo>
                  <a:cubicBezTo>
                    <a:pt x="2354" y="1051"/>
                    <a:pt x="2347" y="1047"/>
                    <a:pt x="2339" y="1047"/>
                  </a:cubicBezTo>
                  <a:cubicBezTo>
                    <a:pt x="2339" y="1047"/>
                    <a:pt x="2339" y="1047"/>
                    <a:pt x="2339" y="1047"/>
                  </a:cubicBezTo>
                  <a:moveTo>
                    <a:pt x="2382" y="1047"/>
                  </a:moveTo>
                  <a:cubicBezTo>
                    <a:pt x="2374" y="1047"/>
                    <a:pt x="2367" y="1051"/>
                    <a:pt x="2367" y="1057"/>
                  </a:cubicBezTo>
                  <a:cubicBezTo>
                    <a:pt x="2367" y="1063"/>
                    <a:pt x="2373" y="1067"/>
                    <a:pt x="2382" y="1067"/>
                  </a:cubicBezTo>
                  <a:cubicBezTo>
                    <a:pt x="2390" y="1067"/>
                    <a:pt x="2397" y="1063"/>
                    <a:pt x="2397" y="1057"/>
                  </a:cubicBezTo>
                  <a:cubicBezTo>
                    <a:pt x="2397" y="1051"/>
                    <a:pt x="2391" y="1047"/>
                    <a:pt x="2382" y="1047"/>
                  </a:cubicBezTo>
                  <a:cubicBezTo>
                    <a:pt x="2382" y="1047"/>
                    <a:pt x="2382" y="1047"/>
                    <a:pt x="2382" y="1047"/>
                  </a:cubicBezTo>
                  <a:moveTo>
                    <a:pt x="2425" y="1047"/>
                  </a:moveTo>
                  <a:cubicBezTo>
                    <a:pt x="2417" y="1047"/>
                    <a:pt x="2410" y="1051"/>
                    <a:pt x="2410" y="1057"/>
                  </a:cubicBezTo>
                  <a:cubicBezTo>
                    <a:pt x="2410" y="1062"/>
                    <a:pt x="2416" y="1067"/>
                    <a:pt x="2425" y="1067"/>
                  </a:cubicBezTo>
                  <a:cubicBezTo>
                    <a:pt x="2433" y="1067"/>
                    <a:pt x="2440" y="1062"/>
                    <a:pt x="2440" y="1057"/>
                  </a:cubicBezTo>
                  <a:cubicBezTo>
                    <a:pt x="2440" y="1051"/>
                    <a:pt x="2433" y="1047"/>
                    <a:pt x="2425" y="1047"/>
                  </a:cubicBezTo>
                  <a:cubicBezTo>
                    <a:pt x="2425" y="1047"/>
                    <a:pt x="2425" y="1047"/>
                    <a:pt x="2425" y="1047"/>
                  </a:cubicBezTo>
                  <a:moveTo>
                    <a:pt x="2468" y="1046"/>
                  </a:moveTo>
                  <a:cubicBezTo>
                    <a:pt x="2459" y="1046"/>
                    <a:pt x="2453" y="1051"/>
                    <a:pt x="2453" y="1057"/>
                  </a:cubicBezTo>
                  <a:cubicBezTo>
                    <a:pt x="2453" y="1062"/>
                    <a:pt x="2459" y="1067"/>
                    <a:pt x="2468" y="1067"/>
                  </a:cubicBezTo>
                  <a:cubicBezTo>
                    <a:pt x="2476" y="1067"/>
                    <a:pt x="2483" y="1062"/>
                    <a:pt x="2483" y="1057"/>
                  </a:cubicBezTo>
                  <a:cubicBezTo>
                    <a:pt x="2483" y="1051"/>
                    <a:pt x="2476" y="1046"/>
                    <a:pt x="2468" y="1046"/>
                  </a:cubicBezTo>
                  <a:cubicBezTo>
                    <a:pt x="2468" y="1046"/>
                    <a:pt x="2468" y="1046"/>
                    <a:pt x="2468" y="1046"/>
                  </a:cubicBezTo>
                  <a:moveTo>
                    <a:pt x="2510" y="1046"/>
                  </a:moveTo>
                  <a:cubicBezTo>
                    <a:pt x="2502" y="1046"/>
                    <a:pt x="2495" y="1051"/>
                    <a:pt x="2495" y="1057"/>
                  </a:cubicBezTo>
                  <a:cubicBezTo>
                    <a:pt x="2495" y="1062"/>
                    <a:pt x="2502" y="1067"/>
                    <a:pt x="2511" y="1067"/>
                  </a:cubicBezTo>
                  <a:cubicBezTo>
                    <a:pt x="2519" y="1067"/>
                    <a:pt x="2526" y="1062"/>
                    <a:pt x="2525" y="1056"/>
                  </a:cubicBezTo>
                  <a:cubicBezTo>
                    <a:pt x="2525" y="1051"/>
                    <a:pt x="2519" y="1046"/>
                    <a:pt x="2510" y="1046"/>
                  </a:cubicBezTo>
                  <a:cubicBezTo>
                    <a:pt x="2510" y="1046"/>
                    <a:pt x="2510" y="1046"/>
                    <a:pt x="2510" y="1046"/>
                  </a:cubicBezTo>
                  <a:moveTo>
                    <a:pt x="2553" y="1046"/>
                  </a:moveTo>
                  <a:cubicBezTo>
                    <a:pt x="2545" y="1046"/>
                    <a:pt x="2538" y="1051"/>
                    <a:pt x="2538" y="1056"/>
                  </a:cubicBezTo>
                  <a:cubicBezTo>
                    <a:pt x="2539" y="1062"/>
                    <a:pt x="2545" y="1067"/>
                    <a:pt x="2554" y="1067"/>
                  </a:cubicBezTo>
                  <a:cubicBezTo>
                    <a:pt x="2562" y="1067"/>
                    <a:pt x="2569" y="1062"/>
                    <a:pt x="2569" y="1056"/>
                  </a:cubicBezTo>
                  <a:cubicBezTo>
                    <a:pt x="2568" y="1051"/>
                    <a:pt x="2562" y="1046"/>
                    <a:pt x="2553" y="1046"/>
                  </a:cubicBezTo>
                  <a:cubicBezTo>
                    <a:pt x="2553" y="1046"/>
                    <a:pt x="2553" y="1046"/>
                    <a:pt x="2553" y="1046"/>
                  </a:cubicBezTo>
                  <a:moveTo>
                    <a:pt x="2597" y="1046"/>
                  </a:moveTo>
                  <a:cubicBezTo>
                    <a:pt x="2588" y="1046"/>
                    <a:pt x="2582" y="1051"/>
                    <a:pt x="2582" y="1056"/>
                  </a:cubicBezTo>
                  <a:cubicBezTo>
                    <a:pt x="2582" y="1062"/>
                    <a:pt x="2589" y="1066"/>
                    <a:pt x="2597" y="1066"/>
                  </a:cubicBezTo>
                  <a:cubicBezTo>
                    <a:pt x="2606" y="1066"/>
                    <a:pt x="2612" y="1062"/>
                    <a:pt x="2612" y="1056"/>
                  </a:cubicBezTo>
                  <a:cubicBezTo>
                    <a:pt x="2612" y="1051"/>
                    <a:pt x="2605" y="1046"/>
                    <a:pt x="2597" y="1046"/>
                  </a:cubicBezTo>
                  <a:cubicBezTo>
                    <a:pt x="2597" y="1046"/>
                    <a:pt x="2597" y="1046"/>
                    <a:pt x="2597" y="1046"/>
                  </a:cubicBezTo>
                  <a:moveTo>
                    <a:pt x="2639" y="1046"/>
                  </a:moveTo>
                  <a:cubicBezTo>
                    <a:pt x="2631" y="1046"/>
                    <a:pt x="2624" y="1050"/>
                    <a:pt x="2625" y="1056"/>
                  </a:cubicBezTo>
                  <a:cubicBezTo>
                    <a:pt x="2625" y="1062"/>
                    <a:pt x="2632" y="1066"/>
                    <a:pt x="2640" y="1066"/>
                  </a:cubicBezTo>
                  <a:cubicBezTo>
                    <a:pt x="2649" y="1066"/>
                    <a:pt x="2655" y="1062"/>
                    <a:pt x="2655" y="1056"/>
                  </a:cubicBezTo>
                  <a:cubicBezTo>
                    <a:pt x="2654" y="1050"/>
                    <a:pt x="2647" y="1046"/>
                    <a:pt x="2639" y="1046"/>
                  </a:cubicBezTo>
                  <a:cubicBezTo>
                    <a:pt x="2639" y="1046"/>
                    <a:pt x="2639" y="1046"/>
                    <a:pt x="2639" y="1046"/>
                  </a:cubicBezTo>
                  <a:moveTo>
                    <a:pt x="2682" y="1046"/>
                  </a:moveTo>
                  <a:cubicBezTo>
                    <a:pt x="2674" y="1046"/>
                    <a:pt x="2668" y="1050"/>
                    <a:pt x="2668" y="1056"/>
                  </a:cubicBezTo>
                  <a:cubicBezTo>
                    <a:pt x="2668" y="1062"/>
                    <a:pt x="2675" y="1066"/>
                    <a:pt x="2684" y="1066"/>
                  </a:cubicBezTo>
                  <a:cubicBezTo>
                    <a:pt x="2692" y="1066"/>
                    <a:pt x="2699" y="1062"/>
                    <a:pt x="2698" y="1056"/>
                  </a:cubicBezTo>
                  <a:cubicBezTo>
                    <a:pt x="2698" y="1050"/>
                    <a:pt x="2691" y="1046"/>
                    <a:pt x="2682" y="1046"/>
                  </a:cubicBezTo>
                  <a:cubicBezTo>
                    <a:pt x="2682" y="1046"/>
                    <a:pt x="2682" y="1046"/>
                    <a:pt x="2682" y="1046"/>
                  </a:cubicBezTo>
                  <a:moveTo>
                    <a:pt x="2724" y="1046"/>
                  </a:moveTo>
                  <a:cubicBezTo>
                    <a:pt x="2715" y="1046"/>
                    <a:pt x="2709" y="1050"/>
                    <a:pt x="2709" y="1056"/>
                  </a:cubicBezTo>
                  <a:cubicBezTo>
                    <a:pt x="2710" y="1062"/>
                    <a:pt x="2717" y="1066"/>
                    <a:pt x="2725" y="1066"/>
                  </a:cubicBezTo>
                  <a:cubicBezTo>
                    <a:pt x="2734" y="1066"/>
                    <a:pt x="2740" y="1061"/>
                    <a:pt x="2740" y="1056"/>
                  </a:cubicBezTo>
                  <a:cubicBezTo>
                    <a:pt x="2739" y="1050"/>
                    <a:pt x="2732" y="1046"/>
                    <a:pt x="2724" y="1046"/>
                  </a:cubicBezTo>
                  <a:cubicBezTo>
                    <a:pt x="2724" y="1046"/>
                    <a:pt x="2724" y="1046"/>
                    <a:pt x="2724" y="1046"/>
                  </a:cubicBezTo>
                  <a:moveTo>
                    <a:pt x="2767" y="1045"/>
                  </a:moveTo>
                  <a:cubicBezTo>
                    <a:pt x="2759" y="1045"/>
                    <a:pt x="2752" y="1050"/>
                    <a:pt x="2753" y="1056"/>
                  </a:cubicBezTo>
                  <a:cubicBezTo>
                    <a:pt x="2753" y="1061"/>
                    <a:pt x="2761" y="1066"/>
                    <a:pt x="2769" y="1066"/>
                  </a:cubicBezTo>
                  <a:cubicBezTo>
                    <a:pt x="2777" y="1066"/>
                    <a:pt x="2784" y="1061"/>
                    <a:pt x="2783" y="1056"/>
                  </a:cubicBezTo>
                  <a:cubicBezTo>
                    <a:pt x="2782" y="1050"/>
                    <a:pt x="2775" y="1045"/>
                    <a:pt x="2767" y="1045"/>
                  </a:cubicBezTo>
                  <a:cubicBezTo>
                    <a:pt x="2767" y="1045"/>
                    <a:pt x="2767" y="1045"/>
                    <a:pt x="2767" y="1045"/>
                  </a:cubicBezTo>
                  <a:moveTo>
                    <a:pt x="2808" y="1045"/>
                  </a:moveTo>
                  <a:cubicBezTo>
                    <a:pt x="2800" y="1045"/>
                    <a:pt x="2794" y="1050"/>
                    <a:pt x="2794" y="1056"/>
                  </a:cubicBezTo>
                  <a:cubicBezTo>
                    <a:pt x="2795" y="1061"/>
                    <a:pt x="2802" y="1066"/>
                    <a:pt x="2810" y="1066"/>
                  </a:cubicBezTo>
                  <a:cubicBezTo>
                    <a:pt x="2819" y="1066"/>
                    <a:pt x="2825" y="1061"/>
                    <a:pt x="2824" y="1055"/>
                  </a:cubicBezTo>
                  <a:cubicBezTo>
                    <a:pt x="2824" y="1050"/>
                    <a:pt x="2817" y="1045"/>
                    <a:pt x="2808" y="1045"/>
                  </a:cubicBezTo>
                  <a:cubicBezTo>
                    <a:pt x="2808" y="1045"/>
                    <a:pt x="2808" y="1045"/>
                    <a:pt x="2808" y="1045"/>
                  </a:cubicBezTo>
                  <a:moveTo>
                    <a:pt x="2853" y="1045"/>
                  </a:moveTo>
                  <a:cubicBezTo>
                    <a:pt x="2845" y="1045"/>
                    <a:pt x="2839" y="1050"/>
                    <a:pt x="2840" y="1055"/>
                  </a:cubicBezTo>
                  <a:cubicBezTo>
                    <a:pt x="2840" y="1061"/>
                    <a:pt x="2848" y="1066"/>
                    <a:pt x="2856" y="1066"/>
                  </a:cubicBezTo>
                  <a:cubicBezTo>
                    <a:pt x="2864" y="1066"/>
                    <a:pt x="2870" y="1061"/>
                    <a:pt x="2870" y="1055"/>
                  </a:cubicBezTo>
                  <a:cubicBezTo>
                    <a:pt x="2869" y="1050"/>
                    <a:pt x="2862" y="1045"/>
                    <a:pt x="2853" y="1045"/>
                  </a:cubicBezTo>
                  <a:cubicBezTo>
                    <a:pt x="2853" y="1045"/>
                    <a:pt x="2853" y="1045"/>
                    <a:pt x="2853" y="1045"/>
                  </a:cubicBezTo>
                  <a:moveTo>
                    <a:pt x="2897" y="1045"/>
                  </a:moveTo>
                  <a:cubicBezTo>
                    <a:pt x="2888" y="1045"/>
                    <a:pt x="2882" y="1050"/>
                    <a:pt x="2883" y="1055"/>
                  </a:cubicBezTo>
                  <a:cubicBezTo>
                    <a:pt x="2884" y="1061"/>
                    <a:pt x="2891" y="1065"/>
                    <a:pt x="2899" y="1065"/>
                  </a:cubicBezTo>
                  <a:cubicBezTo>
                    <a:pt x="2908" y="1065"/>
                    <a:pt x="2914" y="1061"/>
                    <a:pt x="2913" y="1055"/>
                  </a:cubicBezTo>
                  <a:cubicBezTo>
                    <a:pt x="2912" y="1050"/>
                    <a:pt x="2905" y="1045"/>
                    <a:pt x="2897" y="1045"/>
                  </a:cubicBezTo>
                  <a:cubicBezTo>
                    <a:pt x="2897" y="1045"/>
                    <a:pt x="2897" y="1045"/>
                    <a:pt x="2897" y="1045"/>
                  </a:cubicBezTo>
                  <a:moveTo>
                    <a:pt x="3924" y="1044"/>
                  </a:moveTo>
                  <a:cubicBezTo>
                    <a:pt x="3916" y="1044"/>
                    <a:pt x="3911" y="1049"/>
                    <a:pt x="3914" y="1054"/>
                  </a:cubicBezTo>
                  <a:cubicBezTo>
                    <a:pt x="3917" y="1060"/>
                    <a:pt x="3926" y="1065"/>
                    <a:pt x="3934" y="1065"/>
                  </a:cubicBezTo>
                  <a:cubicBezTo>
                    <a:pt x="3942" y="1065"/>
                    <a:pt x="3947" y="1060"/>
                    <a:pt x="3944" y="1054"/>
                  </a:cubicBezTo>
                  <a:cubicBezTo>
                    <a:pt x="3941" y="1049"/>
                    <a:pt x="3932" y="1044"/>
                    <a:pt x="3924" y="1044"/>
                  </a:cubicBezTo>
                  <a:cubicBezTo>
                    <a:pt x="3924" y="1044"/>
                    <a:pt x="3924" y="1044"/>
                    <a:pt x="3924" y="1044"/>
                  </a:cubicBezTo>
                  <a:moveTo>
                    <a:pt x="3970" y="1044"/>
                  </a:moveTo>
                  <a:cubicBezTo>
                    <a:pt x="3961" y="1044"/>
                    <a:pt x="3957" y="1049"/>
                    <a:pt x="3960" y="1054"/>
                  </a:cubicBezTo>
                  <a:cubicBezTo>
                    <a:pt x="3962" y="1060"/>
                    <a:pt x="3971" y="1065"/>
                    <a:pt x="3980" y="1064"/>
                  </a:cubicBezTo>
                  <a:cubicBezTo>
                    <a:pt x="3988" y="1064"/>
                    <a:pt x="3992" y="1060"/>
                    <a:pt x="3990" y="1054"/>
                  </a:cubicBezTo>
                  <a:cubicBezTo>
                    <a:pt x="3987" y="1048"/>
                    <a:pt x="3978" y="1044"/>
                    <a:pt x="3970" y="1044"/>
                  </a:cubicBezTo>
                  <a:cubicBezTo>
                    <a:pt x="3970" y="1044"/>
                    <a:pt x="3970" y="1044"/>
                    <a:pt x="3970" y="1044"/>
                  </a:cubicBezTo>
                  <a:moveTo>
                    <a:pt x="4266" y="1043"/>
                  </a:moveTo>
                  <a:cubicBezTo>
                    <a:pt x="4258" y="1043"/>
                    <a:pt x="4254" y="1047"/>
                    <a:pt x="4257" y="1053"/>
                  </a:cubicBezTo>
                  <a:cubicBezTo>
                    <a:pt x="4260" y="1059"/>
                    <a:pt x="4270" y="1063"/>
                    <a:pt x="4278" y="1063"/>
                  </a:cubicBezTo>
                  <a:cubicBezTo>
                    <a:pt x="4286" y="1063"/>
                    <a:pt x="4290" y="1059"/>
                    <a:pt x="4287" y="1053"/>
                  </a:cubicBezTo>
                  <a:cubicBezTo>
                    <a:pt x="4284" y="1047"/>
                    <a:pt x="4274" y="1043"/>
                    <a:pt x="4266" y="1043"/>
                  </a:cubicBezTo>
                  <a:cubicBezTo>
                    <a:pt x="4266" y="1043"/>
                    <a:pt x="4266" y="1043"/>
                    <a:pt x="4266" y="1043"/>
                  </a:cubicBezTo>
                  <a:moveTo>
                    <a:pt x="727" y="1023"/>
                  </a:moveTo>
                  <a:cubicBezTo>
                    <a:pt x="718" y="1023"/>
                    <a:pt x="709" y="1028"/>
                    <a:pt x="706" y="1034"/>
                  </a:cubicBezTo>
                  <a:cubicBezTo>
                    <a:pt x="703" y="1039"/>
                    <a:pt x="707" y="1044"/>
                    <a:pt x="715" y="1044"/>
                  </a:cubicBezTo>
                  <a:cubicBezTo>
                    <a:pt x="723" y="1044"/>
                    <a:pt x="732" y="1039"/>
                    <a:pt x="736" y="1033"/>
                  </a:cubicBezTo>
                  <a:cubicBezTo>
                    <a:pt x="739" y="1028"/>
                    <a:pt x="735" y="1023"/>
                    <a:pt x="727" y="1023"/>
                  </a:cubicBezTo>
                  <a:cubicBezTo>
                    <a:pt x="727" y="1023"/>
                    <a:pt x="727" y="1023"/>
                    <a:pt x="727" y="1023"/>
                  </a:cubicBezTo>
                  <a:moveTo>
                    <a:pt x="346" y="1023"/>
                  </a:moveTo>
                  <a:cubicBezTo>
                    <a:pt x="337" y="1023"/>
                    <a:pt x="328" y="1028"/>
                    <a:pt x="324" y="1033"/>
                  </a:cubicBezTo>
                  <a:cubicBezTo>
                    <a:pt x="320" y="1039"/>
                    <a:pt x="323" y="1044"/>
                    <a:pt x="331" y="1044"/>
                  </a:cubicBezTo>
                  <a:cubicBezTo>
                    <a:pt x="340" y="1044"/>
                    <a:pt x="349" y="1039"/>
                    <a:pt x="353" y="1033"/>
                  </a:cubicBezTo>
                  <a:cubicBezTo>
                    <a:pt x="357" y="1028"/>
                    <a:pt x="354" y="1023"/>
                    <a:pt x="346" y="1023"/>
                  </a:cubicBezTo>
                  <a:cubicBezTo>
                    <a:pt x="346" y="1023"/>
                    <a:pt x="346" y="1023"/>
                    <a:pt x="346" y="1023"/>
                  </a:cubicBezTo>
                  <a:moveTo>
                    <a:pt x="769" y="1023"/>
                  </a:moveTo>
                  <a:cubicBezTo>
                    <a:pt x="761" y="1023"/>
                    <a:pt x="751" y="1028"/>
                    <a:pt x="748" y="1033"/>
                  </a:cubicBezTo>
                  <a:cubicBezTo>
                    <a:pt x="745" y="1039"/>
                    <a:pt x="749" y="1044"/>
                    <a:pt x="757" y="1044"/>
                  </a:cubicBezTo>
                  <a:cubicBezTo>
                    <a:pt x="766" y="1044"/>
                    <a:pt x="775" y="1039"/>
                    <a:pt x="778" y="1033"/>
                  </a:cubicBezTo>
                  <a:cubicBezTo>
                    <a:pt x="781" y="1028"/>
                    <a:pt x="777" y="1023"/>
                    <a:pt x="769" y="1023"/>
                  </a:cubicBezTo>
                  <a:cubicBezTo>
                    <a:pt x="769" y="1023"/>
                    <a:pt x="769" y="1023"/>
                    <a:pt x="769" y="1023"/>
                  </a:cubicBezTo>
                  <a:moveTo>
                    <a:pt x="390" y="1023"/>
                  </a:moveTo>
                  <a:cubicBezTo>
                    <a:pt x="382" y="1023"/>
                    <a:pt x="372" y="1028"/>
                    <a:pt x="368" y="1033"/>
                  </a:cubicBezTo>
                  <a:cubicBezTo>
                    <a:pt x="364" y="1039"/>
                    <a:pt x="368" y="1043"/>
                    <a:pt x="376" y="1043"/>
                  </a:cubicBezTo>
                  <a:cubicBezTo>
                    <a:pt x="384" y="1043"/>
                    <a:pt x="394" y="1039"/>
                    <a:pt x="398" y="1033"/>
                  </a:cubicBezTo>
                  <a:cubicBezTo>
                    <a:pt x="402" y="1028"/>
                    <a:pt x="398" y="1023"/>
                    <a:pt x="390" y="1023"/>
                  </a:cubicBezTo>
                  <a:cubicBezTo>
                    <a:pt x="390" y="1023"/>
                    <a:pt x="390" y="1023"/>
                    <a:pt x="390" y="1023"/>
                  </a:cubicBezTo>
                  <a:moveTo>
                    <a:pt x="428" y="1023"/>
                  </a:moveTo>
                  <a:cubicBezTo>
                    <a:pt x="420" y="1023"/>
                    <a:pt x="410" y="1028"/>
                    <a:pt x="407" y="1033"/>
                  </a:cubicBezTo>
                  <a:cubicBezTo>
                    <a:pt x="403" y="1039"/>
                    <a:pt x="406" y="1043"/>
                    <a:pt x="415" y="1043"/>
                  </a:cubicBezTo>
                  <a:cubicBezTo>
                    <a:pt x="423" y="1043"/>
                    <a:pt x="433" y="1039"/>
                    <a:pt x="436" y="1033"/>
                  </a:cubicBezTo>
                  <a:cubicBezTo>
                    <a:pt x="440" y="1028"/>
                    <a:pt x="437" y="1023"/>
                    <a:pt x="428" y="1023"/>
                  </a:cubicBezTo>
                  <a:cubicBezTo>
                    <a:pt x="428" y="1023"/>
                    <a:pt x="428" y="1023"/>
                    <a:pt x="428" y="1023"/>
                  </a:cubicBezTo>
                  <a:moveTo>
                    <a:pt x="471" y="1023"/>
                  </a:moveTo>
                  <a:cubicBezTo>
                    <a:pt x="463" y="1023"/>
                    <a:pt x="453" y="1027"/>
                    <a:pt x="449" y="1033"/>
                  </a:cubicBezTo>
                  <a:cubicBezTo>
                    <a:pt x="445" y="1039"/>
                    <a:pt x="449" y="1043"/>
                    <a:pt x="457" y="1043"/>
                  </a:cubicBezTo>
                  <a:cubicBezTo>
                    <a:pt x="466" y="1043"/>
                    <a:pt x="475" y="1039"/>
                    <a:pt x="479" y="1033"/>
                  </a:cubicBezTo>
                  <a:cubicBezTo>
                    <a:pt x="483" y="1027"/>
                    <a:pt x="479" y="1023"/>
                    <a:pt x="471" y="1023"/>
                  </a:cubicBezTo>
                  <a:cubicBezTo>
                    <a:pt x="471" y="1023"/>
                    <a:pt x="471" y="1023"/>
                    <a:pt x="471" y="1023"/>
                  </a:cubicBezTo>
                  <a:moveTo>
                    <a:pt x="513" y="1023"/>
                  </a:moveTo>
                  <a:cubicBezTo>
                    <a:pt x="505" y="1023"/>
                    <a:pt x="495" y="1027"/>
                    <a:pt x="492" y="1033"/>
                  </a:cubicBezTo>
                  <a:cubicBezTo>
                    <a:pt x="488" y="1038"/>
                    <a:pt x="492" y="1043"/>
                    <a:pt x="500" y="1043"/>
                  </a:cubicBezTo>
                  <a:cubicBezTo>
                    <a:pt x="508" y="1043"/>
                    <a:pt x="518" y="1038"/>
                    <a:pt x="521" y="1033"/>
                  </a:cubicBezTo>
                  <a:cubicBezTo>
                    <a:pt x="525" y="1027"/>
                    <a:pt x="521" y="1023"/>
                    <a:pt x="513" y="1023"/>
                  </a:cubicBezTo>
                  <a:cubicBezTo>
                    <a:pt x="513" y="1023"/>
                    <a:pt x="513" y="1023"/>
                    <a:pt x="513" y="1023"/>
                  </a:cubicBezTo>
                  <a:moveTo>
                    <a:pt x="556" y="1023"/>
                  </a:moveTo>
                  <a:cubicBezTo>
                    <a:pt x="548" y="1023"/>
                    <a:pt x="538" y="1027"/>
                    <a:pt x="534" y="1033"/>
                  </a:cubicBezTo>
                  <a:cubicBezTo>
                    <a:pt x="531" y="1038"/>
                    <a:pt x="535" y="1043"/>
                    <a:pt x="543" y="1043"/>
                  </a:cubicBezTo>
                  <a:cubicBezTo>
                    <a:pt x="551" y="1043"/>
                    <a:pt x="561" y="1038"/>
                    <a:pt x="564" y="1033"/>
                  </a:cubicBezTo>
                  <a:cubicBezTo>
                    <a:pt x="568" y="1027"/>
                    <a:pt x="564" y="1023"/>
                    <a:pt x="556" y="1023"/>
                  </a:cubicBezTo>
                  <a:cubicBezTo>
                    <a:pt x="556" y="1023"/>
                    <a:pt x="556" y="1023"/>
                    <a:pt x="556" y="1023"/>
                  </a:cubicBezTo>
                  <a:moveTo>
                    <a:pt x="600" y="1022"/>
                  </a:moveTo>
                  <a:cubicBezTo>
                    <a:pt x="591" y="1022"/>
                    <a:pt x="582" y="1027"/>
                    <a:pt x="578" y="1033"/>
                  </a:cubicBezTo>
                  <a:cubicBezTo>
                    <a:pt x="575" y="1038"/>
                    <a:pt x="579" y="1043"/>
                    <a:pt x="587" y="1043"/>
                  </a:cubicBezTo>
                  <a:cubicBezTo>
                    <a:pt x="595" y="1043"/>
                    <a:pt x="605" y="1038"/>
                    <a:pt x="608" y="1033"/>
                  </a:cubicBezTo>
                  <a:cubicBezTo>
                    <a:pt x="612" y="1027"/>
                    <a:pt x="608" y="1022"/>
                    <a:pt x="600" y="1022"/>
                  </a:cubicBezTo>
                  <a:cubicBezTo>
                    <a:pt x="600" y="1022"/>
                    <a:pt x="600" y="1022"/>
                    <a:pt x="600" y="1022"/>
                  </a:cubicBezTo>
                  <a:moveTo>
                    <a:pt x="642" y="1022"/>
                  </a:moveTo>
                  <a:cubicBezTo>
                    <a:pt x="634" y="1022"/>
                    <a:pt x="624" y="1027"/>
                    <a:pt x="621" y="1032"/>
                  </a:cubicBezTo>
                  <a:cubicBezTo>
                    <a:pt x="617" y="1038"/>
                    <a:pt x="621" y="1043"/>
                    <a:pt x="630" y="1043"/>
                  </a:cubicBezTo>
                  <a:cubicBezTo>
                    <a:pt x="638" y="1043"/>
                    <a:pt x="647" y="1038"/>
                    <a:pt x="651" y="1032"/>
                  </a:cubicBezTo>
                  <a:cubicBezTo>
                    <a:pt x="654" y="1027"/>
                    <a:pt x="650" y="1022"/>
                    <a:pt x="642" y="1022"/>
                  </a:cubicBezTo>
                  <a:cubicBezTo>
                    <a:pt x="642" y="1022"/>
                    <a:pt x="642" y="1022"/>
                    <a:pt x="642" y="1022"/>
                  </a:cubicBezTo>
                  <a:moveTo>
                    <a:pt x="684" y="1022"/>
                  </a:moveTo>
                  <a:cubicBezTo>
                    <a:pt x="676" y="1022"/>
                    <a:pt x="667" y="1027"/>
                    <a:pt x="664" y="1032"/>
                  </a:cubicBezTo>
                  <a:cubicBezTo>
                    <a:pt x="660" y="1038"/>
                    <a:pt x="664" y="1042"/>
                    <a:pt x="672" y="1042"/>
                  </a:cubicBezTo>
                  <a:cubicBezTo>
                    <a:pt x="681" y="1042"/>
                    <a:pt x="690" y="1038"/>
                    <a:pt x="693" y="1032"/>
                  </a:cubicBezTo>
                  <a:cubicBezTo>
                    <a:pt x="697" y="1027"/>
                    <a:pt x="693" y="1022"/>
                    <a:pt x="685" y="1022"/>
                  </a:cubicBezTo>
                  <a:cubicBezTo>
                    <a:pt x="685" y="1022"/>
                    <a:pt x="684" y="1022"/>
                    <a:pt x="684" y="1022"/>
                  </a:cubicBezTo>
                  <a:moveTo>
                    <a:pt x="1702" y="1020"/>
                  </a:moveTo>
                  <a:cubicBezTo>
                    <a:pt x="1694" y="1020"/>
                    <a:pt x="1686" y="1024"/>
                    <a:pt x="1685" y="1030"/>
                  </a:cubicBezTo>
                  <a:cubicBezTo>
                    <a:pt x="1683" y="1035"/>
                    <a:pt x="1689" y="1040"/>
                    <a:pt x="1697" y="1040"/>
                  </a:cubicBezTo>
                  <a:cubicBezTo>
                    <a:pt x="1705" y="1040"/>
                    <a:pt x="1713" y="1035"/>
                    <a:pt x="1714" y="1030"/>
                  </a:cubicBezTo>
                  <a:cubicBezTo>
                    <a:pt x="1716" y="1024"/>
                    <a:pt x="1710" y="1020"/>
                    <a:pt x="1702" y="1020"/>
                  </a:cubicBezTo>
                  <a:cubicBezTo>
                    <a:pt x="1702" y="1020"/>
                    <a:pt x="1702" y="1020"/>
                    <a:pt x="1702" y="1020"/>
                  </a:cubicBezTo>
                  <a:moveTo>
                    <a:pt x="1744" y="1019"/>
                  </a:moveTo>
                  <a:cubicBezTo>
                    <a:pt x="1736" y="1019"/>
                    <a:pt x="1728" y="1024"/>
                    <a:pt x="1727" y="1030"/>
                  </a:cubicBezTo>
                  <a:cubicBezTo>
                    <a:pt x="1726" y="1035"/>
                    <a:pt x="1731" y="1040"/>
                    <a:pt x="1739" y="1040"/>
                  </a:cubicBezTo>
                  <a:cubicBezTo>
                    <a:pt x="1748" y="1040"/>
                    <a:pt x="1755" y="1035"/>
                    <a:pt x="1757" y="1030"/>
                  </a:cubicBezTo>
                  <a:cubicBezTo>
                    <a:pt x="1758" y="1024"/>
                    <a:pt x="1753" y="1019"/>
                    <a:pt x="1744" y="1019"/>
                  </a:cubicBezTo>
                  <a:cubicBezTo>
                    <a:pt x="1744" y="1019"/>
                    <a:pt x="1744" y="1019"/>
                    <a:pt x="1744" y="1019"/>
                  </a:cubicBezTo>
                  <a:moveTo>
                    <a:pt x="1787" y="1019"/>
                  </a:moveTo>
                  <a:cubicBezTo>
                    <a:pt x="1779" y="1019"/>
                    <a:pt x="1771" y="1024"/>
                    <a:pt x="1770" y="1030"/>
                  </a:cubicBezTo>
                  <a:cubicBezTo>
                    <a:pt x="1768" y="1035"/>
                    <a:pt x="1774" y="1040"/>
                    <a:pt x="1782" y="1040"/>
                  </a:cubicBezTo>
                  <a:cubicBezTo>
                    <a:pt x="1791" y="1040"/>
                    <a:pt x="1798" y="1035"/>
                    <a:pt x="1800" y="1029"/>
                  </a:cubicBezTo>
                  <a:cubicBezTo>
                    <a:pt x="1801" y="1024"/>
                    <a:pt x="1795" y="1019"/>
                    <a:pt x="1787" y="1019"/>
                  </a:cubicBezTo>
                  <a:cubicBezTo>
                    <a:pt x="1787" y="1019"/>
                    <a:pt x="1787" y="1019"/>
                    <a:pt x="1787" y="1019"/>
                  </a:cubicBezTo>
                  <a:moveTo>
                    <a:pt x="1830" y="1019"/>
                  </a:moveTo>
                  <a:cubicBezTo>
                    <a:pt x="1822" y="1019"/>
                    <a:pt x="1814" y="1024"/>
                    <a:pt x="1813" y="1029"/>
                  </a:cubicBezTo>
                  <a:cubicBezTo>
                    <a:pt x="1812" y="1035"/>
                    <a:pt x="1817" y="1040"/>
                    <a:pt x="1826" y="1040"/>
                  </a:cubicBezTo>
                  <a:cubicBezTo>
                    <a:pt x="1834" y="1040"/>
                    <a:pt x="1841" y="1035"/>
                    <a:pt x="1843" y="1029"/>
                  </a:cubicBezTo>
                  <a:cubicBezTo>
                    <a:pt x="1844" y="1024"/>
                    <a:pt x="1838" y="1019"/>
                    <a:pt x="1830" y="1019"/>
                  </a:cubicBezTo>
                  <a:cubicBezTo>
                    <a:pt x="1830" y="1019"/>
                    <a:pt x="1830" y="1019"/>
                    <a:pt x="1830" y="1019"/>
                  </a:cubicBezTo>
                  <a:moveTo>
                    <a:pt x="1872" y="1019"/>
                  </a:moveTo>
                  <a:cubicBezTo>
                    <a:pt x="1864" y="1019"/>
                    <a:pt x="1856" y="1024"/>
                    <a:pt x="1855" y="1029"/>
                  </a:cubicBezTo>
                  <a:cubicBezTo>
                    <a:pt x="1854" y="1035"/>
                    <a:pt x="1860" y="1039"/>
                    <a:pt x="1868" y="1039"/>
                  </a:cubicBezTo>
                  <a:cubicBezTo>
                    <a:pt x="1876" y="1039"/>
                    <a:pt x="1884" y="1035"/>
                    <a:pt x="1885" y="1029"/>
                  </a:cubicBezTo>
                  <a:cubicBezTo>
                    <a:pt x="1886" y="1024"/>
                    <a:pt x="1880" y="1019"/>
                    <a:pt x="1872" y="1019"/>
                  </a:cubicBezTo>
                  <a:cubicBezTo>
                    <a:pt x="1872" y="1019"/>
                    <a:pt x="1872" y="1019"/>
                    <a:pt x="1872" y="1019"/>
                  </a:cubicBezTo>
                  <a:moveTo>
                    <a:pt x="1915" y="1019"/>
                  </a:moveTo>
                  <a:cubicBezTo>
                    <a:pt x="1906" y="1019"/>
                    <a:pt x="1899" y="1023"/>
                    <a:pt x="1898" y="1029"/>
                  </a:cubicBezTo>
                  <a:cubicBezTo>
                    <a:pt x="1897" y="1035"/>
                    <a:pt x="1902" y="1039"/>
                    <a:pt x="1911" y="1039"/>
                  </a:cubicBezTo>
                  <a:cubicBezTo>
                    <a:pt x="1919" y="1039"/>
                    <a:pt x="1927" y="1035"/>
                    <a:pt x="1928" y="1029"/>
                  </a:cubicBezTo>
                  <a:cubicBezTo>
                    <a:pt x="1929" y="1023"/>
                    <a:pt x="1923" y="1019"/>
                    <a:pt x="1915" y="1019"/>
                  </a:cubicBezTo>
                  <a:cubicBezTo>
                    <a:pt x="1915" y="1019"/>
                    <a:pt x="1915" y="1019"/>
                    <a:pt x="1915" y="1019"/>
                  </a:cubicBezTo>
                  <a:moveTo>
                    <a:pt x="1957" y="1019"/>
                  </a:moveTo>
                  <a:cubicBezTo>
                    <a:pt x="1949" y="1019"/>
                    <a:pt x="1941" y="1023"/>
                    <a:pt x="1940" y="1029"/>
                  </a:cubicBezTo>
                  <a:cubicBezTo>
                    <a:pt x="1939" y="1035"/>
                    <a:pt x="1945" y="1039"/>
                    <a:pt x="1953" y="1039"/>
                  </a:cubicBezTo>
                  <a:cubicBezTo>
                    <a:pt x="1962" y="1039"/>
                    <a:pt x="1969" y="1034"/>
                    <a:pt x="1970" y="1029"/>
                  </a:cubicBezTo>
                  <a:cubicBezTo>
                    <a:pt x="1971" y="1023"/>
                    <a:pt x="1965" y="1019"/>
                    <a:pt x="1957" y="1019"/>
                  </a:cubicBezTo>
                  <a:cubicBezTo>
                    <a:pt x="1957" y="1019"/>
                    <a:pt x="1957" y="1019"/>
                    <a:pt x="1957" y="1019"/>
                  </a:cubicBezTo>
                  <a:moveTo>
                    <a:pt x="1999" y="1019"/>
                  </a:moveTo>
                  <a:cubicBezTo>
                    <a:pt x="1991" y="1019"/>
                    <a:pt x="1984" y="1023"/>
                    <a:pt x="1983" y="1029"/>
                  </a:cubicBezTo>
                  <a:cubicBezTo>
                    <a:pt x="1982" y="1034"/>
                    <a:pt x="1988" y="1039"/>
                    <a:pt x="1996" y="1039"/>
                  </a:cubicBezTo>
                  <a:cubicBezTo>
                    <a:pt x="2004" y="1039"/>
                    <a:pt x="2012" y="1034"/>
                    <a:pt x="2013" y="1029"/>
                  </a:cubicBezTo>
                  <a:cubicBezTo>
                    <a:pt x="2013" y="1023"/>
                    <a:pt x="2008" y="1019"/>
                    <a:pt x="1999" y="1019"/>
                  </a:cubicBezTo>
                  <a:cubicBezTo>
                    <a:pt x="1999" y="1019"/>
                    <a:pt x="1999" y="1019"/>
                    <a:pt x="1999" y="1019"/>
                  </a:cubicBezTo>
                  <a:moveTo>
                    <a:pt x="2043" y="1018"/>
                  </a:moveTo>
                  <a:cubicBezTo>
                    <a:pt x="2035" y="1018"/>
                    <a:pt x="2028" y="1023"/>
                    <a:pt x="2027" y="1029"/>
                  </a:cubicBezTo>
                  <a:cubicBezTo>
                    <a:pt x="2026" y="1034"/>
                    <a:pt x="2032" y="1039"/>
                    <a:pt x="2040" y="1039"/>
                  </a:cubicBezTo>
                  <a:cubicBezTo>
                    <a:pt x="2048" y="1039"/>
                    <a:pt x="2056" y="1034"/>
                    <a:pt x="2057" y="1029"/>
                  </a:cubicBezTo>
                  <a:cubicBezTo>
                    <a:pt x="2057" y="1023"/>
                    <a:pt x="2051" y="1018"/>
                    <a:pt x="2043" y="1018"/>
                  </a:cubicBezTo>
                  <a:cubicBezTo>
                    <a:pt x="2043" y="1018"/>
                    <a:pt x="2043" y="1018"/>
                    <a:pt x="2043" y="1018"/>
                  </a:cubicBezTo>
                  <a:moveTo>
                    <a:pt x="2085" y="1018"/>
                  </a:moveTo>
                  <a:cubicBezTo>
                    <a:pt x="2077" y="1018"/>
                    <a:pt x="2070" y="1023"/>
                    <a:pt x="2069" y="1029"/>
                  </a:cubicBezTo>
                  <a:cubicBezTo>
                    <a:pt x="2068" y="1034"/>
                    <a:pt x="2074" y="1039"/>
                    <a:pt x="2083" y="1039"/>
                  </a:cubicBezTo>
                  <a:cubicBezTo>
                    <a:pt x="2091" y="1039"/>
                    <a:pt x="2098" y="1034"/>
                    <a:pt x="2099" y="1028"/>
                  </a:cubicBezTo>
                  <a:cubicBezTo>
                    <a:pt x="2100" y="1023"/>
                    <a:pt x="2094" y="1018"/>
                    <a:pt x="2085" y="1018"/>
                  </a:cubicBezTo>
                  <a:cubicBezTo>
                    <a:pt x="2085" y="1018"/>
                    <a:pt x="2085" y="1018"/>
                    <a:pt x="2085" y="1018"/>
                  </a:cubicBezTo>
                  <a:moveTo>
                    <a:pt x="2128" y="1018"/>
                  </a:moveTo>
                  <a:cubicBezTo>
                    <a:pt x="2120" y="1018"/>
                    <a:pt x="2112" y="1023"/>
                    <a:pt x="2112" y="1028"/>
                  </a:cubicBezTo>
                  <a:cubicBezTo>
                    <a:pt x="2111" y="1034"/>
                    <a:pt x="2117" y="1039"/>
                    <a:pt x="2126" y="1039"/>
                  </a:cubicBezTo>
                  <a:cubicBezTo>
                    <a:pt x="2134" y="1038"/>
                    <a:pt x="2141" y="1034"/>
                    <a:pt x="2142" y="1028"/>
                  </a:cubicBezTo>
                  <a:cubicBezTo>
                    <a:pt x="2142" y="1023"/>
                    <a:pt x="2136" y="1018"/>
                    <a:pt x="2128" y="1018"/>
                  </a:cubicBezTo>
                  <a:cubicBezTo>
                    <a:pt x="2128" y="1018"/>
                    <a:pt x="2128" y="1018"/>
                    <a:pt x="2128" y="1018"/>
                  </a:cubicBezTo>
                  <a:moveTo>
                    <a:pt x="2171" y="1018"/>
                  </a:moveTo>
                  <a:cubicBezTo>
                    <a:pt x="2163" y="1018"/>
                    <a:pt x="2155" y="1023"/>
                    <a:pt x="2155" y="1028"/>
                  </a:cubicBezTo>
                  <a:cubicBezTo>
                    <a:pt x="2154" y="1034"/>
                    <a:pt x="2161" y="1038"/>
                    <a:pt x="2169" y="1038"/>
                  </a:cubicBezTo>
                  <a:cubicBezTo>
                    <a:pt x="2177" y="1038"/>
                    <a:pt x="2184" y="1034"/>
                    <a:pt x="2185" y="1028"/>
                  </a:cubicBezTo>
                  <a:cubicBezTo>
                    <a:pt x="2185" y="1022"/>
                    <a:pt x="2179" y="1018"/>
                    <a:pt x="2171" y="1018"/>
                  </a:cubicBezTo>
                  <a:cubicBezTo>
                    <a:pt x="2171" y="1018"/>
                    <a:pt x="2171" y="1018"/>
                    <a:pt x="2171" y="1018"/>
                  </a:cubicBezTo>
                  <a:moveTo>
                    <a:pt x="2213" y="1018"/>
                  </a:moveTo>
                  <a:cubicBezTo>
                    <a:pt x="2205" y="1018"/>
                    <a:pt x="2198" y="1022"/>
                    <a:pt x="2197" y="1028"/>
                  </a:cubicBezTo>
                  <a:cubicBezTo>
                    <a:pt x="2197" y="1034"/>
                    <a:pt x="2203" y="1038"/>
                    <a:pt x="2211" y="1038"/>
                  </a:cubicBezTo>
                  <a:cubicBezTo>
                    <a:pt x="2220" y="1038"/>
                    <a:pt x="2227" y="1034"/>
                    <a:pt x="2227" y="1028"/>
                  </a:cubicBezTo>
                  <a:cubicBezTo>
                    <a:pt x="2228" y="1022"/>
                    <a:pt x="2221" y="1018"/>
                    <a:pt x="2213" y="1018"/>
                  </a:cubicBezTo>
                  <a:cubicBezTo>
                    <a:pt x="2213" y="1018"/>
                    <a:pt x="2213" y="1018"/>
                    <a:pt x="2213" y="1018"/>
                  </a:cubicBezTo>
                  <a:moveTo>
                    <a:pt x="2255" y="1018"/>
                  </a:moveTo>
                  <a:cubicBezTo>
                    <a:pt x="2247" y="1018"/>
                    <a:pt x="2240" y="1022"/>
                    <a:pt x="2240" y="1028"/>
                  </a:cubicBezTo>
                  <a:cubicBezTo>
                    <a:pt x="2239" y="1034"/>
                    <a:pt x="2246" y="1038"/>
                    <a:pt x="2254" y="1038"/>
                  </a:cubicBezTo>
                  <a:cubicBezTo>
                    <a:pt x="2262" y="1038"/>
                    <a:pt x="2269" y="1033"/>
                    <a:pt x="2270" y="1028"/>
                  </a:cubicBezTo>
                  <a:cubicBezTo>
                    <a:pt x="2270" y="1022"/>
                    <a:pt x="2264" y="1018"/>
                    <a:pt x="2256" y="1018"/>
                  </a:cubicBezTo>
                  <a:cubicBezTo>
                    <a:pt x="2256" y="1018"/>
                    <a:pt x="2255" y="1018"/>
                    <a:pt x="2255" y="1018"/>
                  </a:cubicBezTo>
                  <a:moveTo>
                    <a:pt x="2298" y="1017"/>
                  </a:moveTo>
                  <a:cubicBezTo>
                    <a:pt x="2289" y="1018"/>
                    <a:pt x="2283" y="1022"/>
                    <a:pt x="2282" y="1028"/>
                  </a:cubicBezTo>
                  <a:cubicBezTo>
                    <a:pt x="2282" y="1033"/>
                    <a:pt x="2288" y="1038"/>
                    <a:pt x="2296" y="1038"/>
                  </a:cubicBezTo>
                  <a:cubicBezTo>
                    <a:pt x="2305" y="1038"/>
                    <a:pt x="2312" y="1033"/>
                    <a:pt x="2312" y="1028"/>
                  </a:cubicBezTo>
                  <a:cubicBezTo>
                    <a:pt x="2312" y="1022"/>
                    <a:pt x="2306" y="1017"/>
                    <a:pt x="2298" y="1017"/>
                  </a:cubicBezTo>
                  <a:cubicBezTo>
                    <a:pt x="2298" y="1017"/>
                    <a:pt x="2298" y="1017"/>
                    <a:pt x="2298" y="1017"/>
                  </a:cubicBezTo>
                  <a:moveTo>
                    <a:pt x="2340" y="1017"/>
                  </a:moveTo>
                  <a:cubicBezTo>
                    <a:pt x="2332" y="1017"/>
                    <a:pt x="2325" y="1022"/>
                    <a:pt x="2325" y="1028"/>
                  </a:cubicBezTo>
                  <a:cubicBezTo>
                    <a:pt x="2325" y="1033"/>
                    <a:pt x="2331" y="1038"/>
                    <a:pt x="2339" y="1038"/>
                  </a:cubicBezTo>
                  <a:cubicBezTo>
                    <a:pt x="2348" y="1038"/>
                    <a:pt x="2354" y="1033"/>
                    <a:pt x="2355" y="1028"/>
                  </a:cubicBezTo>
                  <a:cubicBezTo>
                    <a:pt x="2355" y="1022"/>
                    <a:pt x="2348" y="1017"/>
                    <a:pt x="2340" y="1017"/>
                  </a:cubicBezTo>
                  <a:cubicBezTo>
                    <a:pt x="2340" y="1017"/>
                    <a:pt x="2340" y="1017"/>
                    <a:pt x="2340" y="1017"/>
                  </a:cubicBezTo>
                  <a:moveTo>
                    <a:pt x="2383" y="1017"/>
                  </a:moveTo>
                  <a:cubicBezTo>
                    <a:pt x="2375" y="1017"/>
                    <a:pt x="2368" y="1022"/>
                    <a:pt x="2368" y="1027"/>
                  </a:cubicBezTo>
                  <a:cubicBezTo>
                    <a:pt x="2368" y="1033"/>
                    <a:pt x="2374" y="1038"/>
                    <a:pt x="2383" y="1038"/>
                  </a:cubicBezTo>
                  <a:cubicBezTo>
                    <a:pt x="2391" y="1038"/>
                    <a:pt x="2398" y="1033"/>
                    <a:pt x="2398" y="1027"/>
                  </a:cubicBezTo>
                  <a:cubicBezTo>
                    <a:pt x="2398" y="1022"/>
                    <a:pt x="2391" y="1017"/>
                    <a:pt x="2383" y="1017"/>
                  </a:cubicBezTo>
                  <a:cubicBezTo>
                    <a:pt x="2383" y="1017"/>
                    <a:pt x="2383" y="1017"/>
                    <a:pt x="2383" y="1017"/>
                  </a:cubicBezTo>
                  <a:moveTo>
                    <a:pt x="2425" y="1017"/>
                  </a:moveTo>
                  <a:cubicBezTo>
                    <a:pt x="2417" y="1017"/>
                    <a:pt x="2410" y="1022"/>
                    <a:pt x="2410" y="1027"/>
                  </a:cubicBezTo>
                  <a:cubicBezTo>
                    <a:pt x="2410" y="1033"/>
                    <a:pt x="2417" y="1038"/>
                    <a:pt x="2425" y="1037"/>
                  </a:cubicBezTo>
                  <a:cubicBezTo>
                    <a:pt x="2433" y="1037"/>
                    <a:pt x="2440" y="1033"/>
                    <a:pt x="2440" y="1027"/>
                  </a:cubicBezTo>
                  <a:cubicBezTo>
                    <a:pt x="2440" y="1022"/>
                    <a:pt x="2434" y="1017"/>
                    <a:pt x="2425" y="1017"/>
                  </a:cubicBezTo>
                  <a:cubicBezTo>
                    <a:pt x="2425" y="1017"/>
                    <a:pt x="2425" y="1017"/>
                    <a:pt x="2425" y="1017"/>
                  </a:cubicBezTo>
                  <a:moveTo>
                    <a:pt x="2468" y="1017"/>
                  </a:moveTo>
                  <a:cubicBezTo>
                    <a:pt x="2460" y="1017"/>
                    <a:pt x="2453" y="1022"/>
                    <a:pt x="2453" y="1027"/>
                  </a:cubicBezTo>
                  <a:cubicBezTo>
                    <a:pt x="2453" y="1033"/>
                    <a:pt x="2459" y="1037"/>
                    <a:pt x="2468" y="1037"/>
                  </a:cubicBezTo>
                  <a:cubicBezTo>
                    <a:pt x="2476" y="1037"/>
                    <a:pt x="2483" y="1033"/>
                    <a:pt x="2483" y="1027"/>
                  </a:cubicBezTo>
                  <a:cubicBezTo>
                    <a:pt x="2483" y="1021"/>
                    <a:pt x="2476" y="1017"/>
                    <a:pt x="2468" y="1017"/>
                  </a:cubicBezTo>
                  <a:cubicBezTo>
                    <a:pt x="2468" y="1017"/>
                    <a:pt x="2468" y="1017"/>
                    <a:pt x="2468" y="1017"/>
                  </a:cubicBezTo>
                  <a:moveTo>
                    <a:pt x="2510" y="1017"/>
                  </a:moveTo>
                  <a:cubicBezTo>
                    <a:pt x="2502" y="1017"/>
                    <a:pt x="2495" y="1021"/>
                    <a:pt x="2495" y="1027"/>
                  </a:cubicBezTo>
                  <a:cubicBezTo>
                    <a:pt x="2495" y="1033"/>
                    <a:pt x="2502" y="1037"/>
                    <a:pt x="2510" y="1037"/>
                  </a:cubicBezTo>
                  <a:cubicBezTo>
                    <a:pt x="2518" y="1037"/>
                    <a:pt x="2525" y="1033"/>
                    <a:pt x="2525" y="1027"/>
                  </a:cubicBezTo>
                  <a:cubicBezTo>
                    <a:pt x="2525" y="1021"/>
                    <a:pt x="2518" y="1017"/>
                    <a:pt x="2510" y="1017"/>
                  </a:cubicBezTo>
                  <a:cubicBezTo>
                    <a:pt x="2510" y="1017"/>
                    <a:pt x="2510" y="1017"/>
                    <a:pt x="2510" y="1017"/>
                  </a:cubicBezTo>
                  <a:moveTo>
                    <a:pt x="2552" y="1017"/>
                  </a:moveTo>
                  <a:cubicBezTo>
                    <a:pt x="2544" y="1017"/>
                    <a:pt x="2538" y="1021"/>
                    <a:pt x="2538" y="1027"/>
                  </a:cubicBezTo>
                  <a:cubicBezTo>
                    <a:pt x="2538" y="1033"/>
                    <a:pt x="2545" y="1037"/>
                    <a:pt x="2553" y="1037"/>
                  </a:cubicBezTo>
                  <a:cubicBezTo>
                    <a:pt x="2561" y="1037"/>
                    <a:pt x="2568" y="1032"/>
                    <a:pt x="2568" y="1027"/>
                  </a:cubicBezTo>
                  <a:cubicBezTo>
                    <a:pt x="2567" y="1021"/>
                    <a:pt x="2561" y="1017"/>
                    <a:pt x="2553" y="1017"/>
                  </a:cubicBezTo>
                  <a:cubicBezTo>
                    <a:pt x="2553" y="1017"/>
                    <a:pt x="2552" y="1017"/>
                    <a:pt x="2552" y="1017"/>
                  </a:cubicBezTo>
                  <a:moveTo>
                    <a:pt x="2595" y="1016"/>
                  </a:moveTo>
                  <a:cubicBezTo>
                    <a:pt x="2587" y="1016"/>
                    <a:pt x="2581" y="1021"/>
                    <a:pt x="2581" y="1027"/>
                  </a:cubicBezTo>
                  <a:cubicBezTo>
                    <a:pt x="2581" y="1032"/>
                    <a:pt x="2588" y="1037"/>
                    <a:pt x="2596" y="1037"/>
                  </a:cubicBezTo>
                  <a:cubicBezTo>
                    <a:pt x="2604" y="1037"/>
                    <a:pt x="2611" y="1032"/>
                    <a:pt x="2611" y="1027"/>
                  </a:cubicBezTo>
                  <a:cubicBezTo>
                    <a:pt x="2610" y="1021"/>
                    <a:pt x="2604" y="1016"/>
                    <a:pt x="2595" y="1016"/>
                  </a:cubicBezTo>
                  <a:cubicBezTo>
                    <a:pt x="2595" y="1016"/>
                    <a:pt x="2595" y="1016"/>
                    <a:pt x="2595" y="1016"/>
                  </a:cubicBezTo>
                  <a:moveTo>
                    <a:pt x="2638" y="1016"/>
                  </a:moveTo>
                  <a:cubicBezTo>
                    <a:pt x="2629" y="1016"/>
                    <a:pt x="2623" y="1021"/>
                    <a:pt x="2623" y="1027"/>
                  </a:cubicBezTo>
                  <a:cubicBezTo>
                    <a:pt x="2623" y="1032"/>
                    <a:pt x="2630" y="1037"/>
                    <a:pt x="2639" y="1037"/>
                  </a:cubicBezTo>
                  <a:cubicBezTo>
                    <a:pt x="2647" y="1037"/>
                    <a:pt x="2653" y="1032"/>
                    <a:pt x="2653" y="1026"/>
                  </a:cubicBezTo>
                  <a:cubicBezTo>
                    <a:pt x="2653" y="1021"/>
                    <a:pt x="2646" y="1016"/>
                    <a:pt x="2638" y="1016"/>
                  </a:cubicBezTo>
                  <a:cubicBezTo>
                    <a:pt x="2638" y="1016"/>
                    <a:pt x="2638" y="1016"/>
                    <a:pt x="2638" y="1016"/>
                  </a:cubicBezTo>
                  <a:moveTo>
                    <a:pt x="2680" y="1016"/>
                  </a:moveTo>
                  <a:cubicBezTo>
                    <a:pt x="2672" y="1016"/>
                    <a:pt x="2666" y="1021"/>
                    <a:pt x="2666" y="1026"/>
                  </a:cubicBezTo>
                  <a:cubicBezTo>
                    <a:pt x="2667" y="1032"/>
                    <a:pt x="2674" y="1037"/>
                    <a:pt x="2682" y="1037"/>
                  </a:cubicBezTo>
                  <a:cubicBezTo>
                    <a:pt x="2690" y="1037"/>
                    <a:pt x="2696" y="1032"/>
                    <a:pt x="2696" y="1026"/>
                  </a:cubicBezTo>
                  <a:cubicBezTo>
                    <a:pt x="2696" y="1021"/>
                    <a:pt x="2689" y="1016"/>
                    <a:pt x="2680" y="1016"/>
                  </a:cubicBezTo>
                  <a:cubicBezTo>
                    <a:pt x="2680" y="1016"/>
                    <a:pt x="2680" y="1016"/>
                    <a:pt x="2680" y="1016"/>
                  </a:cubicBezTo>
                  <a:moveTo>
                    <a:pt x="2721" y="1016"/>
                  </a:moveTo>
                  <a:cubicBezTo>
                    <a:pt x="2713" y="1016"/>
                    <a:pt x="2707" y="1021"/>
                    <a:pt x="2707" y="1026"/>
                  </a:cubicBezTo>
                  <a:cubicBezTo>
                    <a:pt x="2708" y="1032"/>
                    <a:pt x="2715" y="1036"/>
                    <a:pt x="2723" y="1036"/>
                  </a:cubicBezTo>
                  <a:cubicBezTo>
                    <a:pt x="2731" y="1036"/>
                    <a:pt x="2737" y="1032"/>
                    <a:pt x="2737" y="1026"/>
                  </a:cubicBezTo>
                  <a:cubicBezTo>
                    <a:pt x="2737" y="1021"/>
                    <a:pt x="2730" y="1016"/>
                    <a:pt x="2721" y="1016"/>
                  </a:cubicBezTo>
                  <a:cubicBezTo>
                    <a:pt x="2721" y="1016"/>
                    <a:pt x="2721" y="1016"/>
                    <a:pt x="2721" y="1016"/>
                  </a:cubicBezTo>
                  <a:moveTo>
                    <a:pt x="2764" y="1016"/>
                  </a:moveTo>
                  <a:cubicBezTo>
                    <a:pt x="2756" y="1016"/>
                    <a:pt x="2750" y="1020"/>
                    <a:pt x="2750" y="1026"/>
                  </a:cubicBezTo>
                  <a:cubicBezTo>
                    <a:pt x="2751" y="1032"/>
                    <a:pt x="2758" y="1036"/>
                    <a:pt x="2766" y="1036"/>
                  </a:cubicBezTo>
                  <a:cubicBezTo>
                    <a:pt x="2774" y="1036"/>
                    <a:pt x="2781" y="1032"/>
                    <a:pt x="2780" y="1026"/>
                  </a:cubicBezTo>
                  <a:cubicBezTo>
                    <a:pt x="2779" y="1020"/>
                    <a:pt x="2772" y="1016"/>
                    <a:pt x="2764" y="1016"/>
                  </a:cubicBezTo>
                  <a:cubicBezTo>
                    <a:pt x="2764" y="1016"/>
                    <a:pt x="2764" y="1016"/>
                    <a:pt x="2764" y="1016"/>
                  </a:cubicBezTo>
                  <a:moveTo>
                    <a:pt x="2805" y="1016"/>
                  </a:moveTo>
                  <a:cubicBezTo>
                    <a:pt x="2797" y="1016"/>
                    <a:pt x="2791" y="1020"/>
                    <a:pt x="2791" y="1026"/>
                  </a:cubicBezTo>
                  <a:cubicBezTo>
                    <a:pt x="2792" y="1032"/>
                    <a:pt x="2799" y="1036"/>
                    <a:pt x="2807" y="1036"/>
                  </a:cubicBezTo>
                  <a:cubicBezTo>
                    <a:pt x="2815" y="1036"/>
                    <a:pt x="2822" y="1032"/>
                    <a:pt x="2821" y="1026"/>
                  </a:cubicBezTo>
                  <a:cubicBezTo>
                    <a:pt x="2820" y="1020"/>
                    <a:pt x="2813" y="1016"/>
                    <a:pt x="2805" y="1016"/>
                  </a:cubicBezTo>
                  <a:cubicBezTo>
                    <a:pt x="2805" y="1016"/>
                    <a:pt x="2805" y="1016"/>
                    <a:pt x="2805" y="1016"/>
                  </a:cubicBezTo>
                  <a:moveTo>
                    <a:pt x="2850" y="1016"/>
                  </a:moveTo>
                  <a:cubicBezTo>
                    <a:pt x="2842" y="1016"/>
                    <a:pt x="2835" y="1020"/>
                    <a:pt x="2836" y="1026"/>
                  </a:cubicBezTo>
                  <a:cubicBezTo>
                    <a:pt x="2837" y="1031"/>
                    <a:pt x="2844" y="1036"/>
                    <a:pt x="2852" y="1036"/>
                  </a:cubicBezTo>
                  <a:cubicBezTo>
                    <a:pt x="2861" y="1036"/>
                    <a:pt x="2867" y="1031"/>
                    <a:pt x="2866" y="1026"/>
                  </a:cubicBezTo>
                  <a:cubicBezTo>
                    <a:pt x="2865" y="1020"/>
                    <a:pt x="2858" y="1016"/>
                    <a:pt x="2850" y="1016"/>
                  </a:cubicBezTo>
                  <a:cubicBezTo>
                    <a:pt x="2850" y="1016"/>
                    <a:pt x="2850" y="1016"/>
                    <a:pt x="2850" y="1016"/>
                  </a:cubicBezTo>
                  <a:moveTo>
                    <a:pt x="2893" y="1015"/>
                  </a:moveTo>
                  <a:cubicBezTo>
                    <a:pt x="2884" y="1015"/>
                    <a:pt x="2878" y="1020"/>
                    <a:pt x="2879" y="1026"/>
                  </a:cubicBezTo>
                  <a:cubicBezTo>
                    <a:pt x="2880" y="1031"/>
                    <a:pt x="2887" y="1036"/>
                    <a:pt x="2895" y="1036"/>
                  </a:cubicBezTo>
                  <a:cubicBezTo>
                    <a:pt x="2904" y="1036"/>
                    <a:pt x="2910" y="1031"/>
                    <a:pt x="2909" y="1026"/>
                  </a:cubicBezTo>
                  <a:cubicBezTo>
                    <a:pt x="2908" y="1020"/>
                    <a:pt x="2901" y="1015"/>
                    <a:pt x="2893" y="1015"/>
                  </a:cubicBezTo>
                  <a:cubicBezTo>
                    <a:pt x="2893" y="1015"/>
                    <a:pt x="2893" y="1015"/>
                    <a:pt x="2893" y="1015"/>
                  </a:cubicBezTo>
                  <a:moveTo>
                    <a:pt x="3527" y="1015"/>
                  </a:moveTo>
                  <a:cubicBezTo>
                    <a:pt x="3518" y="1015"/>
                    <a:pt x="3513" y="1020"/>
                    <a:pt x="3515" y="1025"/>
                  </a:cubicBezTo>
                  <a:cubicBezTo>
                    <a:pt x="3517" y="1031"/>
                    <a:pt x="3526" y="1035"/>
                    <a:pt x="3534" y="1035"/>
                  </a:cubicBezTo>
                  <a:cubicBezTo>
                    <a:pt x="3542" y="1035"/>
                    <a:pt x="3547" y="1031"/>
                    <a:pt x="3545" y="1025"/>
                  </a:cubicBezTo>
                  <a:cubicBezTo>
                    <a:pt x="3543" y="1019"/>
                    <a:pt x="3535" y="1015"/>
                    <a:pt x="3527" y="1015"/>
                  </a:cubicBezTo>
                  <a:cubicBezTo>
                    <a:pt x="3527" y="1015"/>
                    <a:pt x="3527" y="1015"/>
                    <a:pt x="3527" y="1015"/>
                  </a:cubicBezTo>
                  <a:moveTo>
                    <a:pt x="3910" y="1014"/>
                  </a:moveTo>
                  <a:cubicBezTo>
                    <a:pt x="3902" y="1014"/>
                    <a:pt x="3897" y="1019"/>
                    <a:pt x="3900" y="1025"/>
                  </a:cubicBezTo>
                  <a:cubicBezTo>
                    <a:pt x="3903" y="1030"/>
                    <a:pt x="3912" y="1035"/>
                    <a:pt x="3920" y="1035"/>
                  </a:cubicBezTo>
                  <a:cubicBezTo>
                    <a:pt x="3928" y="1035"/>
                    <a:pt x="3933" y="1030"/>
                    <a:pt x="3930" y="1025"/>
                  </a:cubicBezTo>
                  <a:cubicBezTo>
                    <a:pt x="3927" y="1019"/>
                    <a:pt x="3918" y="1014"/>
                    <a:pt x="3910" y="1014"/>
                  </a:cubicBezTo>
                  <a:cubicBezTo>
                    <a:pt x="3910" y="1014"/>
                    <a:pt x="3910" y="1014"/>
                    <a:pt x="3910" y="1014"/>
                  </a:cubicBezTo>
                  <a:moveTo>
                    <a:pt x="4376" y="1010"/>
                  </a:moveTo>
                  <a:cubicBezTo>
                    <a:pt x="4368" y="1010"/>
                    <a:pt x="4364" y="1015"/>
                    <a:pt x="4367" y="1021"/>
                  </a:cubicBezTo>
                  <a:cubicBezTo>
                    <a:pt x="4371" y="1026"/>
                    <a:pt x="4380" y="1031"/>
                    <a:pt x="4389" y="1031"/>
                  </a:cubicBezTo>
                  <a:cubicBezTo>
                    <a:pt x="4397" y="1031"/>
                    <a:pt x="4401" y="1026"/>
                    <a:pt x="4397" y="1021"/>
                  </a:cubicBezTo>
                  <a:cubicBezTo>
                    <a:pt x="4394" y="1015"/>
                    <a:pt x="4384" y="1010"/>
                    <a:pt x="4376" y="1010"/>
                  </a:cubicBezTo>
                  <a:cubicBezTo>
                    <a:pt x="4376" y="1010"/>
                    <a:pt x="4376" y="1010"/>
                    <a:pt x="4376" y="1010"/>
                  </a:cubicBezTo>
                  <a:moveTo>
                    <a:pt x="4412" y="1010"/>
                  </a:moveTo>
                  <a:cubicBezTo>
                    <a:pt x="4404" y="1010"/>
                    <a:pt x="4400" y="1015"/>
                    <a:pt x="4404" y="1021"/>
                  </a:cubicBezTo>
                  <a:cubicBezTo>
                    <a:pt x="4408" y="1026"/>
                    <a:pt x="4417" y="1031"/>
                    <a:pt x="4425" y="1031"/>
                  </a:cubicBezTo>
                  <a:cubicBezTo>
                    <a:pt x="4434" y="1031"/>
                    <a:pt x="4437" y="1026"/>
                    <a:pt x="4434" y="1020"/>
                  </a:cubicBezTo>
                  <a:cubicBezTo>
                    <a:pt x="4430" y="1015"/>
                    <a:pt x="4420" y="1010"/>
                    <a:pt x="4412" y="1010"/>
                  </a:cubicBezTo>
                  <a:cubicBezTo>
                    <a:pt x="4412" y="1010"/>
                    <a:pt x="4412" y="1010"/>
                    <a:pt x="4412" y="1010"/>
                  </a:cubicBezTo>
                  <a:moveTo>
                    <a:pt x="321" y="996"/>
                  </a:moveTo>
                  <a:cubicBezTo>
                    <a:pt x="313" y="996"/>
                    <a:pt x="303" y="1001"/>
                    <a:pt x="299" y="1006"/>
                  </a:cubicBezTo>
                  <a:cubicBezTo>
                    <a:pt x="295" y="1012"/>
                    <a:pt x="299" y="1017"/>
                    <a:pt x="307" y="1017"/>
                  </a:cubicBezTo>
                  <a:cubicBezTo>
                    <a:pt x="315" y="1016"/>
                    <a:pt x="325" y="1012"/>
                    <a:pt x="329" y="1006"/>
                  </a:cubicBezTo>
                  <a:cubicBezTo>
                    <a:pt x="333" y="1001"/>
                    <a:pt x="330" y="996"/>
                    <a:pt x="322" y="996"/>
                  </a:cubicBezTo>
                  <a:cubicBezTo>
                    <a:pt x="321" y="996"/>
                    <a:pt x="321" y="996"/>
                    <a:pt x="321" y="996"/>
                  </a:cubicBezTo>
                  <a:moveTo>
                    <a:pt x="490" y="994"/>
                  </a:moveTo>
                  <a:cubicBezTo>
                    <a:pt x="482" y="994"/>
                    <a:pt x="472" y="999"/>
                    <a:pt x="468" y="1004"/>
                  </a:cubicBezTo>
                  <a:cubicBezTo>
                    <a:pt x="465" y="1010"/>
                    <a:pt x="468" y="1014"/>
                    <a:pt x="477" y="1014"/>
                  </a:cubicBezTo>
                  <a:cubicBezTo>
                    <a:pt x="485" y="1014"/>
                    <a:pt x="494" y="1010"/>
                    <a:pt x="498" y="1004"/>
                  </a:cubicBezTo>
                  <a:cubicBezTo>
                    <a:pt x="502" y="999"/>
                    <a:pt x="498" y="994"/>
                    <a:pt x="490" y="994"/>
                  </a:cubicBezTo>
                  <a:cubicBezTo>
                    <a:pt x="490" y="994"/>
                    <a:pt x="490" y="994"/>
                    <a:pt x="490" y="994"/>
                  </a:cubicBezTo>
                  <a:moveTo>
                    <a:pt x="532" y="994"/>
                  </a:moveTo>
                  <a:cubicBezTo>
                    <a:pt x="524" y="994"/>
                    <a:pt x="514" y="998"/>
                    <a:pt x="510" y="1004"/>
                  </a:cubicBezTo>
                  <a:cubicBezTo>
                    <a:pt x="507" y="1010"/>
                    <a:pt x="510" y="1014"/>
                    <a:pt x="519" y="1014"/>
                  </a:cubicBezTo>
                  <a:cubicBezTo>
                    <a:pt x="527" y="1014"/>
                    <a:pt x="536" y="1010"/>
                    <a:pt x="540" y="1004"/>
                  </a:cubicBezTo>
                  <a:cubicBezTo>
                    <a:pt x="544" y="998"/>
                    <a:pt x="540" y="994"/>
                    <a:pt x="532" y="994"/>
                  </a:cubicBezTo>
                  <a:cubicBezTo>
                    <a:pt x="532" y="994"/>
                    <a:pt x="532" y="994"/>
                    <a:pt x="532" y="994"/>
                  </a:cubicBezTo>
                  <a:moveTo>
                    <a:pt x="574" y="994"/>
                  </a:moveTo>
                  <a:cubicBezTo>
                    <a:pt x="566" y="994"/>
                    <a:pt x="556" y="998"/>
                    <a:pt x="553" y="1004"/>
                  </a:cubicBezTo>
                  <a:cubicBezTo>
                    <a:pt x="549" y="1010"/>
                    <a:pt x="553" y="1014"/>
                    <a:pt x="561" y="1014"/>
                  </a:cubicBezTo>
                  <a:cubicBezTo>
                    <a:pt x="569" y="1014"/>
                    <a:pt x="579" y="1009"/>
                    <a:pt x="582" y="1004"/>
                  </a:cubicBezTo>
                  <a:cubicBezTo>
                    <a:pt x="586" y="998"/>
                    <a:pt x="582" y="994"/>
                    <a:pt x="574" y="994"/>
                  </a:cubicBezTo>
                  <a:cubicBezTo>
                    <a:pt x="574" y="994"/>
                    <a:pt x="574" y="994"/>
                    <a:pt x="574" y="994"/>
                  </a:cubicBezTo>
                  <a:moveTo>
                    <a:pt x="617" y="994"/>
                  </a:moveTo>
                  <a:cubicBezTo>
                    <a:pt x="609" y="994"/>
                    <a:pt x="600" y="998"/>
                    <a:pt x="596" y="1004"/>
                  </a:cubicBezTo>
                  <a:cubicBezTo>
                    <a:pt x="593" y="1009"/>
                    <a:pt x="597" y="1014"/>
                    <a:pt x="605" y="1014"/>
                  </a:cubicBezTo>
                  <a:cubicBezTo>
                    <a:pt x="613" y="1014"/>
                    <a:pt x="623" y="1009"/>
                    <a:pt x="626" y="1004"/>
                  </a:cubicBezTo>
                  <a:cubicBezTo>
                    <a:pt x="629" y="998"/>
                    <a:pt x="626" y="994"/>
                    <a:pt x="618" y="994"/>
                  </a:cubicBezTo>
                  <a:cubicBezTo>
                    <a:pt x="618" y="994"/>
                    <a:pt x="617" y="994"/>
                    <a:pt x="617" y="994"/>
                  </a:cubicBezTo>
                  <a:moveTo>
                    <a:pt x="659" y="993"/>
                  </a:moveTo>
                  <a:cubicBezTo>
                    <a:pt x="651" y="993"/>
                    <a:pt x="642" y="998"/>
                    <a:pt x="638" y="1004"/>
                  </a:cubicBezTo>
                  <a:cubicBezTo>
                    <a:pt x="635" y="1009"/>
                    <a:pt x="639" y="1014"/>
                    <a:pt x="647" y="1014"/>
                  </a:cubicBezTo>
                  <a:cubicBezTo>
                    <a:pt x="655" y="1014"/>
                    <a:pt x="665" y="1009"/>
                    <a:pt x="668" y="1003"/>
                  </a:cubicBezTo>
                  <a:cubicBezTo>
                    <a:pt x="671" y="998"/>
                    <a:pt x="668" y="993"/>
                    <a:pt x="659" y="993"/>
                  </a:cubicBezTo>
                  <a:cubicBezTo>
                    <a:pt x="659" y="993"/>
                    <a:pt x="659" y="993"/>
                    <a:pt x="659" y="993"/>
                  </a:cubicBezTo>
                  <a:moveTo>
                    <a:pt x="702" y="993"/>
                  </a:moveTo>
                  <a:cubicBezTo>
                    <a:pt x="693" y="993"/>
                    <a:pt x="684" y="998"/>
                    <a:pt x="681" y="1003"/>
                  </a:cubicBezTo>
                  <a:cubicBezTo>
                    <a:pt x="677" y="1009"/>
                    <a:pt x="681" y="1014"/>
                    <a:pt x="690" y="1014"/>
                  </a:cubicBezTo>
                  <a:cubicBezTo>
                    <a:pt x="698" y="1014"/>
                    <a:pt x="707" y="1009"/>
                    <a:pt x="710" y="1003"/>
                  </a:cubicBezTo>
                  <a:cubicBezTo>
                    <a:pt x="714" y="998"/>
                    <a:pt x="710" y="993"/>
                    <a:pt x="702" y="993"/>
                  </a:cubicBezTo>
                  <a:cubicBezTo>
                    <a:pt x="702" y="993"/>
                    <a:pt x="702" y="993"/>
                    <a:pt x="702" y="993"/>
                  </a:cubicBezTo>
                  <a:moveTo>
                    <a:pt x="740" y="993"/>
                  </a:moveTo>
                  <a:cubicBezTo>
                    <a:pt x="731" y="993"/>
                    <a:pt x="722" y="998"/>
                    <a:pt x="719" y="1003"/>
                  </a:cubicBezTo>
                  <a:cubicBezTo>
                    <a:pt x="716" y="1009"/>
                    <a:pt x="720" y="1013"/>
                    <a:pt x="728" y="1013"/>
                  </a:cubicBezTo>
                  <a:cubicBezTo>
                    <a:pt x="736" y="1013"/>
                    <a:pt x="745" y="1009"/>
                    <a:pt x="749" y="1003"/>
                  </a:cubicBezTo>
                  <a:cubicBezTo>
                    <a:pt x="752" y="998"/>
                    <a:pt x="748" y="993"/>
                    <a:pt x="740" y="993"/>
                  </a:cubicBezTo>
                  <a:cubicBezTo>
                    <a:pt x="740" y="993"/>
                    <a:pt x="740" y="993"/>
                    <a:pt x="740" y="993"/>
                  </a:cubicBezTo>
                  <a:moveTo>
                    <a:pt x="1710" y="990"/>
                  </a:moveTo>
                  <a:cubicBezTo>
                    <a:pt x="1701" y="990"/>
                    <a:pt x="1694" y="995"/>
                    <a:pt x="1692" y="1000"/>
                  </a:cubicBezTo>
                  <a:cubicBezTo>
                    <a:pt x="1691" y="1006"/>
                    <a:pt x="1696" y="1011"/>
                    <a:pt x="1704" y="1011"/>
                  </a:cubicBezTo>
                  <a:cubicBezTo>
                    <a:pt x="1713" y="1011"/>
                    <a:pt x="1720" y="1006"/>
                    <a:pt x="1722" y="1000"/>
                  </a:cubicBezTo>
                  <a:cubicBezTo>
                    <a:pt x="1723" y="995"/>
                    <a:pt x="1718" y="990"/>
                    <a:pt x="1710" y="990"/>
                  </a:cubicBezTo>
                  <a:cubicBezTo>
                    <a:pt x="1710" y="990"/>
                    <a:pt x="1710" y="990"/>
                    <a:pt x="1710" y="990"/>
                  </a:cubicBezTo>
                  <a:moveTo>
                    <a:pt x="1751" y="990"/>
                  </a:moveTo>
                  <a:cubicBezTo>
                    <a:pt x="1743" y="990"/>
                    <a:pt x="1736" y="995"/>
                    <a:pt x="1734" y="1000"/>
                  </a:cubicBezTo>
                  <a:cubicBezTo>
                    <a:pt x="1733" y="1006"/>
                    <a:pt x="1738" y="1010"/>
                    <a:pt x="1747" y="1010"/>
                  </a:cubicBezTo>
                  <a:cubicBezTo>
                    <a:pt x="1755" y="1010"/>
                    <a:pt x="1762" y="1006"/>
                    <a:pt x="1764" y="1000"/>
                  </a:cubicBezTo>
                  <a:cubicBezTo>
                    <a:pt x="1765" y="995"/>
                    <a:pt x="1760" y="990"/>
                    <a:pt x="1752" y="990"/>
                  </a:cubicBezTo>
                  <a:cubicBezTo>
                    <a:pt x="1751" y="990"/>
                    <a:pt x="1751" y="990"/>
                    <a:pt x="1751" y="990"/>
                  </a:cubicBezTo>
                  <a:moveTo>
                    <a:pt x="1794" y="990"/>
                  </a:moveTo>
                  <a:cubicBezTo>
                    <a:pt x="1785" y="990"/>
                    <a:pt x="1778" y="994"/>
                    <a:pt x="1777" y="1000"/>
                  </a:cubicBezTo>
                  <a:cubicBezTo>
                    <a:pt x="1775" y="1006"/>
                    <a:pt x="1781" y="1010"/>
                    <a:pt x="1789" y="1010"/>
                  </a:cubicBezTo>
                  <a:cubicBezTo>
                    <a:pt x="1797" y="1010"/>
                    <a:pt x="1805" y="1006"/>
                    <a:pt x="1806" y="1000"/>
                  </a:cubicBezTo>
                  <a:cubicBezTo>
                    <a:pt x="1807" y="994"/>
                    <a:pt x="1802" y="990"/>
                    <a:pt x="1794" y="990"/>
                  </a:cubicBezTo>
                  <a:cubicBezTo>
                    <a:pt x="1794" y="990"/>
                    <a:pt x="1794" y="990"/>
                    <a:pt x="1794" y="990"/>
                  </a:cubicBezTo>
                  <a:moveTo>
                    <a:pt x="1836" y="990"/>
                  </a:moveTo>
                  <a:cubicBezTo>
                    <a:pt x="1828" y="990"/>
                    <a:pt x="1820" y="994"/>
                    <a:pt x="1819" y="1000"/>
                  </a:cubicBezTo>
                  <a:cubicBezTo>
                    <a:pt x="1818" y="1006"/>
                    <a:pt x="1824" y="1010"/>
                    <a:pt x="1832" y="1010"/>
                  </a:cubicBezTo>
                  <a:cubicBezTo>
                    <a:pt x="1840" y="1010"/>
                    <a:pt x="1848" y="1005"/>
                    <a:pt x="1849" y="1000"/>
                  </a:cubicBezTo>
                  <a:cubicBezTo>
                    <a:pt x="1850" y="994"/>
                    <a:pt x="1844" y="990"/>
                    <a:pt x="1836" y="990"/>
                  </a:cubicBezTo>
                  <a:cubicBezTo>
                    <a:pt x="1836" y="990"/>
                    <a:pt x="1836" y="990"/>
                    <a:pt x="1836" y="990"/>
                  </a:cubicBezTo>
                  <a:moveTo>
                    <a:pt x="1878" y="990"/>
                  </a:moveTo>
                  <a:cubicBezTo>
                    <a:pt x="1870" y="990"/>
                    <a:pt x="1862" y="994"/>
                    <a:pt x="1861" y="1000"/>
                  </a:cubicBezTo>
                  <a:cubicBezTo>
                    <a:pt x="1860" y="1005"/>
                    <a:pt x="1866" y="1010"/>
                    <a:pt x="1874" y="1010"/>
                  </a:cubicBezTo>
                  <a:cubicBezTo>
                    <a:pt x="1882" y="1010"/>
                    <a:pt x="1890" y="1005"/>
                    <a:pt x="1891" y="1000"/>
                  </a:cubicBezTo>
                  <a:cubicBezTo>
                    <a:pt x="1892" y="994"/>
                    <a:pt x="1886" y="990"/>
                    <a:pt x="1878" y="990"/>
                  </a:cubicBezTo>
                  <a:cubicBezTo>
                    <a:pt x="1878" y="990"/>
                    <a:pt x="1878" y="990"/>
                    <a:pt x="1878" y="990"/>
                  </a:cubicBezTo>
                  <a:moveTo>
                    <a:pt x="1920" y="989"/>
                  </a:moveTo>
                  <a:cubicBezTo>
                    <a:pt x="1912" y="989"/>
                    <a:pt x="1904" y="994"/>
                    <a:pt x="1903" y="1000"/>
                  </a:cubicBezTo>
                  <a:cubicBezTo>
                    <a:pt x="1902" y="1005"/>
                    <a:pt x="1908" y="1010"/>
                    <a:pt x="1916" y="1010"/>
                  </a:cubicBezTo>
                  <a:cubicBezTo>
                    <a:pt x="1924" y="1010"/>
                    <a:pt x="1932" y="1005"/>
                    <a:pt x="1933" y="1000"/>
                  </a:cubicBezTo>
                  <a:cubicBezTo>
                    <a:pt x="1934" y="994"/>
                    <a:pt x="1928" y="989"/>
                    <a:pt x="1920" y="989"/>
                  </a:cubicBezTo>
                  <a:cubicBezTo>
                    <a:pt x="1920" y="989"/>
                    <a:pt x="1920" y="989"/>
                    <a:pt x="1920" y="989"/>
                  </a:cubicBezTo>
                  <a:moveTo>
                    <a:pt x="1962" y="989"/>
                  </a:moveTo>
                  <a:cubicBezTo>
                    <a:pt x="1954" y="989"/>
                    <a:pt x="1946" y="994"/>
                    <a:pt x="1945" y="999"/>
                  </a:cubicBezTo>
                  <a:cubicBezTo>
                    <a:pt x="1944" y="1005"/>
                    <a:pt x="1950" y="1010"/>
                    <a:pt x="1958" y="1010"/>
                  </a:cubicBezTo>
                  <a:cubicBezTo>
                    <a:pt x="1966" y="1010"/>
                    <a:pt x="1974" y="1005"/>
                    <a:pt x="1975" y="999"/>
                  </a:cubicBezTo>
                  <a:cubicBezTo>
                    <a:pt x="1976" y="994"/>
                    <a:pt x="1970" y="989"/>
                    <a:pt x="1962" y="989"/>
                  </a:cubicBezTo>
                  <a:cubicBezTo>
                    <a:pt x="1962" y="989"/>
                    <a:pt x="1962" y="989"/>
                    <a:pt x="1962" y="989"/>
                  </a:cubicBezTo>
                  <a:moveTo>
                    <a:pt x="2004" y="989"/>
                  </a:moveTo>
                  <a:cubicBezTo>
                    <a:pt x="1996" y="989"/>
                    <a:pt x="1988" y="994"/>
                    <a:pt x="1988" y="999"/>
                  </a:cubicBezTo>
                  <a:cubicBezTo>
                    <a:pt x="1987" y="1005"/>
                    <a:pt x="1993" y="1010"/>
                    <a:pt x="2001" y="1009"/>
                  </a:cubicBezTo>
                  <a:cubicBezTo>
                    <a:pt x="2009" y="1009"/>
                    <a:pt x="2016" y="1005"/>
                    <a:pt x="2017" y="999"/>
                  </a:cubicBezTo>
                  <a:cubicBezTo>
                    <a:pt x="2018" y="994"/>
                    <a:pt x="2012" y="989"/>
                    <a:pt x="2004" y="989"/>
                  </a:cubicBezTo>
                  <a:cubicBezTo>
                    <a:pt x="2004" y="989"/>
                    <a:pt x="2004" y="989"/>
                    <a:pt x="2004" y="989"/>
                  </a:cubicBezTo>
                  <a:moveTo>
                    <a:pt x="2047" y="989"/>
                  </a:moveTo>
                  <a:cubicBezTo>
                    <a:pt x="2039" y="989"/>
                    <a:pt x="2032" y="994"/>
                    <a:pt x="2031" y="999"/>
                  </a:cubicBezTo>
                  <a:cubicBezTo>
                    <a:pt x="2030" y="1005"/>
                    <a:pt x="2036" y="1009"/>
                    <a:pt x="2044" y="1009"/>
                  </a:cubicBezTo>
                  <a:cubicBezTo>
                    <a:pt x="2053" y="1009"/>
                    <a:pt x="2060" y="1005"/>
                    <a:pt x="2061" y="999"/>
                  </a:cubicBezTo>
                  <a:cubicBezTo>
                    <a:pt x="2061" y="993"/>
                    <a:pt x="2055" y="989"/>
                    <a:pt x="2047" y="989"/>
                  </a:cubicBezTo>
                  <a:cubicBezTo>
                    <a:pt x="2047" y="989"/>
                    <a:pt x="2047" y="989"/>
                    <a:pt x="2047" y="989"/>
                  </a:cubicBezTo>
                  <a:moveTo>
                    <a:pt x="2089" y="989"/>
                  </a:moveTo>
                  <a:cubicBezTo>
                    <a:pt x="2081" y="989"/>
                    <a:pt x="2074" y="993"/>
                    <a:pt x="2073" y="999"/>
                  </a:cubicBezTo>
                  <a:cubicBezTo>
                    <a:pt x="2072" y="1005"/>
                    <a:pt x="2078" y="1009"/>
                    <a:pt x="2087" y="1009"/>
                  </a:cubicBezTo>
                  <a:cubicBezTo>
                    <a:pt x="2095" y="1009"/>
                    <a:pt x="2102" y="1005"/>
                    <a:pt x="2103" y="999"/>
                  </a:cubicBezTo>
                  <a:cubicBezTo>
                    <a:pt x="2103" y="993"/>
                    <a:pt x="2097" y="989"/>
                    <a:pt x="2089" y="989"/>
                  </a:cubicBezTo>
                  <a:cubicBezTo>
                    <a:pt x="2089" y="989"/>
                    <a:pt x="2089" y="989"/>
                    <a:pt x="2089" y="989"/>
                  </a:cubicBezTo>
                  <a:moveTo>
                    <a:pt x="2131" y="989"/>
                  </a:moveTo>
                  <a:cubicBezTo>
                    <a:pt x="2123" y="989"/>
                    <a:pt x="2116" y="993"/>
                    <a:pt x="2115" y="999"/>
                  </a:cubicBezTo>
                  <a:cubicBezTo>
                    <a:pt x="2115" y="1004"/>
                    <a:pt x="2121" y="1009"/>
                    <a:pt x="2129" y="1009"/>
                  </a:cubicBezTo>
                  <a:cubicBezTo>
                    <a:pt x="2137" y="1009"/>
                    <a:pt x="2144" y="1004"/>
                    <a:pt x="2145" y="999"/>
                  </a:cubicBezTo>
                  <a:cubicBezTo>
                    <a:pt x="2145" y="993"/>
                    <a:pt x="2139" y="989"/>
                    <a:pt x="2131" y="989"/>
                  </a:cubicBezTo>
                  <a:cubicBezTo>
                    <a:pt x="2131" y="989"/>
                    <a:pt x="2131" y="989"/>
                    <a:pt x="2131" y="989"/>
                  </a:cubicBezTo>
                  <a:moveTo>
                    <a:pt x="2174" y="988"/>
                  </a:moveTo>
                  <a:cubicBezTo>
                    <a:pt x="2166" y="988"/>
                    <a:pt x="2159" y="993"/>
                    <a:pt x="2158" y="999"/>
                  </a:cubicBezTo>
                  <a:cubicBezTo>
                    <a:pt x="2157" y="1004"/>
                    <a:pt x="2164" y="1009"/>
                    <a:pt x="2172" y="1009"/>
                  </a:cubicBezTo>
                  <a:cubicBezTo>
                    <a:pt x="2180" y="1009"/>
                    <a:pt x="2187" y="1004"/>
                    <a:pt x="2188" y="999"/>
                  </a:cubicBezTo>
                  <a:cubicBezTo>
                    <a:pt x="2188" y="993"/>
                    <a:pt x="2182" y="988"/>
                    <a:pt x="2174" y="988"/>
                  </a:cubicBezTo>
                  <a:cubicBezTo>
                    <a:pt x="2174" y="988"/>
                    <a:pt x="2174" y="988"/>
                    <a:pt x="2174" y="988"/>
                  </a:cubicBezTo>
                  <a:moveTo>
                    <a:pt x="2216" y="988"/>
                  </a:moveTo>
                  <a:cubicBezTo>
                    <a:pt x="2207" y="988"/>
                    <a:pt x="2200" y="993"/>
                    <a:pt x="2200" y="999"/>
                  </a:cubicBezTo>
                  <a:cubicBezTo>
                    <a:pt x="2199" y="1004"/>
                    <a:pt x="2206" y="1009"/>
                    <a:pt x="2214" y="1009"/>
                  </a:cubicBezTo>
                  <a:cubicBezTo>
                    <a:pt x="2222" y="1009"/>
                    <a:pt x="2229" y="1004"/>
                    <a:pt x="2229" y="998"/>
                  </a:cubicBezTo>
                  <a:cubicBezTo>
                    <a:pt x="2230" y="993"/>
                    <a:pt x="2224" y="988"/>
                    <a:pt x="2216" y="988"/>
                  </a:cubicBezTo>
                  <a:cubicBezTo>
                    <a:pt x="2216" y="988"/>
                    <a:pt x="2216" y="988"/>
                    <a:pt x="2216" y="988"/>
                  </a:cubicBezTo>
                  <a:moveTo>
                    <a:pt x="2258" y="988"/>
                  </a:moveTo>
                  <a:cubicBezTo>
                    <a:pt x="2249" y="988"/>
                    <a:pt x="2243" y="993"/>
                    <a:pt x="2242" y="998"/>
                  </a:cubicBezTo>
                  <a:cubicBezTo>
                    <a:pt x="2242" y="1004"/>
                    <a:pt x="2248" y="1009"/>
                    <a:pt x="2256" y="1009"/>
                  </a:cubicBezTo>
                  <a:cubicBezTo>
                    <a:pt x="2264" y="1009"/>
                    <a:pt x="2271" y="1004"/>
                    <a:pt x="2272" y="998"/>
                  </a:cubicBezTo>
                  <a:cubicBezTo>
                    <a:pt x="2272" y="993"/>
                    <a:pt x="2266" y="988"/>
                    <a:pt x="2258" y="988"/>
                  </a:cubicBezTo>
                  <a:cubicBezTo>
                    <a:pt x="2258" y="988"/>
                    <a:pt x="2258" y="988"/>
                    <a:pt x="2258" y="988"/>
                  </a:cubicBezTo>
                  <a:moveTo>
                    <a:pt x="2299" y="988"/>
                  </a:moveTo>
                  <a:cubicBezTo>
                    <a:pt x="2291" y="988"/>
                    <a:pt x="2284" y="993"/>
                    <a:pt x="2284" y="998"/>
                  </a:cubicBezTo>
                  <a:cubicBezTo>
                    <a:pt x="2284" y="1004"/>
                    <a:pt x="2290" y="1008"/>
                    <a:pt x="2298" y="1008"/>
                  </a:cubicBezTo>
                  <a:cubicBezTo>
                    <a:pt x="2306" y="1008"/>
                    <a:pt x="2313" y="1004"/>
                    <a:pt x="2314" y="998"/>
                  </a:cubicBezTo>
                  <a:cubicBezTo>
                    <a:pt x="2314" y="993"/>
                    <a:pt x="2308" y="988"/>
                    <a:pt x="2299" y="988"/>
                  </a:cubicBezTo>
                  <a:cubicBezTo>
                    <a:pt x="2299" y="988"/>
                    <a:pt x="2299" y="988"/>
                    <a:pt x="2299" y="988"/>
                  </a:cubicBezTo>
                  <a:moveTo>
                    <a:pt x="2342" y="988"/>
                  </a:moveTo>
                  <a:cubicBezTo>
                    <a:pt x="2333" y="988"/>
                    <a:pt x="2327" y="992"/>
                    <a:pt x="2326" y="998"/>
                  </a:cubicBezTo>
                  <a:cubicBezTo>
                    <a:pt x="2326" y="1004"/>
                    <a:pt x="2332" y="1008"/>
                    <a:pt x="2341" y="1008"/>
                  </a:cubicBezTo>
                  <a:cubicBezTo>
                    <a:pt x="2349" y="1008"/>
                    <a:pt x="2356" y="1004"/>
                    <a:pt x="2356" y="998"/>
                  </a:cubicBezTo>
                  <a:cubicBezTo>
                    <a:pt x="2356" y="992"/>
                    <a:pt x="2350" y="988"/>
                    <a:pt x="2342" y="988"/>
                  </a:cubicBezTo>
                  <a:cubicBezTo>
                    <a:pt x="2342" y="988"/>
                    <a:pt x="2342" y="988"/>
                    <a:pt x="2342" y="988"/>
                  </a:cubicBezTo>
                  <a:moveTo>
                    <a:pt x="2384" y="988"/>
                  </a:moveTo>
                  <a:cubicBezTo>
                    <a:pt x="2376" y="988"/>
                    <a:pt x="2369" y="992"/>
                    <a:pt x="2369" y="998"/>
                  </a:cubicBezTo>
                  <a:cubicBezTo>
                    <a:pt x="2369" y="1004"/>
                    <a:pt x="2375" y="1008"/>
                    <a:pt x="2383" y="1008"/>
                  </a:cubicBezTo>
                  <a:cubicBezTo>
                    <a:pt x="2392" y="1008"/>
                    <a:pt x="2398" y="1003"/>
                    <a:pt x="2398" y="998"/>
                  </a:cubicBezTo>
                  <a:cubicBezTo>
                    <a:pt x="2399" y="992"/>
                    <a:pt x="2392" y="988"/>
                    <a:pt x="2384" y="988"/>
                  </a:cubicBezTo>
                  <a:cubicBezTo>
                    <a:pt x="2384" y="988"/>
                    <a:pt x="2384" y="988"/>
                    <a:pt x="2384" y="988"/>
                  </a:cubicBezTo>
                  <a:moveTo>
                    <a:pt x="2426" y="988"/>
                  </a:moveTo>
                  <a:cubicBezTo>
                    <a:pt x="2418" y="988"/>
                    <a:pt x="2411" y="992"/>
                    <a:pt x="2411" y="998"/>
                  </a:cubicBezTo>
                  <a:cubicBezTo>
                    <a:pt x="2411" y="1003"/>
                    <a:pt x="2417" y="1008"/>
                    <a:pt x="2425" y="1008"/>
                  </a:cubicBezTo>
                  <a:cubicBezTo>
                    <a:pt x="2434" y="1008"/>
                    <a:pt x="2440" y="1003"/>
                    <a:pt x="2440" y="998"/>
                  </a:cubicBezTo>
                  <a:cubicBezTo>
                    <a:pt x="2440" y="992"/>
                    <a:pt x="2434" y="988"/>
                    <a:pt x="2426" y="988"/>
                  </a:cubicBezTo>
                  <a:cubicBezTo>
                    <a:pt x="2426" y="988"/>
                    <a:pt x="2426" y="988"/>
                    <a:pt x="2426" y="988"/>
                  </a:cubicBezTo>
                  <a:moveTo>
                    <a:pt x="2468" y="987"/>
                  </a:moveTo>
                  <a:cubicBezTo>
                    <a:pt x="2460" y="987"/>
                    <a:pt x="2453" y="992"/>
                    <a:pt x="2453" y="998"/>
                  </a:cubicBezTo>
                  <a:cubicBezTo>
                    <a:pt x="2453" y="1003"/>
                    <a:pt x="2460" y="1008"/>
                    <a:pt x="2468" y="1008"/>
                  </a:cubicBezTo>
                  <a:cubicBezTo>
                    <a:pt x="2476" y="1008"/>
                    <a:pt x="2483" y="1003"/>
                    <a:pt x="2483" y="998"/>
                  </a:cubicBezTo>
                  <a:cubicBezTo>
                    <a:pt x="2483" y="992"/>
                    <a:pt x="2476" y="987"/>
                    <a:pt x="2468" y="987"/>
                  </a:cubicBezTo>
                  <a:cubicBezTo>
                    <a:pt x="2468" y="987"/>
                    <a:pt x="2468" y="987"/>
                    <a:pt x="2468" y="987"/>
                  </a:cubicBezTo>
                  <a:moveTo>
                    <a:pt x="2510" y="987"/>
                  </a:moveTo>
                  <a:cubicBezTo>
                    <a:pt x="2501" y="987"/>
                    <a:pt x="2495" y="992"/>
                    <a:pt x="2495" y="997"/>
                  </a:cubicBezTo>
                  <a:cubicBezTo>
                    <a:pt x="2495" y="1003"/>
                    <a:pt x="2502" y="1008"/>
                    <a:pt x="2510" y="1008"/>
                  </a:cubicBezTo>
                  <a:cubicBezTo>
                    <a:pt x="2518" y="1008"/>
                    <a:pt x="2525" y="1003"/>
                    <a:pt x="2524" y="997"/>
                  </a:cubicBezTo>
                  <a:cubicBezTo>
                    <a:pt x="2524" y="992"/>
                    <a:pt x="2518" y="987"/>
                    <a:pt x="2510" y="987"/>
                  </a:cubicBezTo>
                  <a:cubicBezTo>
                    <a:pt x="2510" y="987"/>
                    <a:pt x="2510" y="987"/>
                    <a:pt x="2510" y="987"/>
                  </a:cubicBezTo>
                  <a:moveTo>
                    <a:pt x="3433" y="987"/>
                  </a:moveTo>
                  <a:cubicBezTo>
                    <a:pt x="3425" y="987"/>
                    <a:pt x="3420" y="992"/>
                    <a:pt x="3422" y="997"/>
                  </a:cubicBezTo>
                  <a:cubicBezTo>
                    <a:pt x="3424" y="1003"/>
                    <a:pt x="3432" y="1008"/>
                    <a:pt x="3440" y="1008"/>
                  </a:cubicBezTo>
                  <a:cubicBezTo>
                    <a:pt x="3448" y="1008"/>
                    <a:pt x="3453" y="1003"/>
                    <a:pt x="3451" y="997"/>
                  </a:cubicBezTo>
                  <a:cubicBezTo>
                    <a:pt x="3450" y="992"/>
                    <a:pt x="3442" y="987"/>
                    <a:pt x="3434" y="987"/>
                  </a:cubicBezTo>
                  <a:cubicBezTo>
                    <a:pt x="3433" y="987"/>
                    <a:pt x="3433" y="987"/>
                    <a:pt x="3433" y="987"/>
                  </a:cubicBezTo>
                  <a:moveTo>
                    <a:pt x="2552" y="987"/>
                  </a:moveTo>
                  <a:cubicBezTo>
                    <a:pt x="2544" y="987"/>
                    <a:pt x="2537" y="992"/>
                    <a:pt x="2537" y="997"/>
                  </a:cubicBezTo>
                  <a:cubicBezTo>
                    <a:pt x="2537" y="1003"/>
                    <a:pt x="2544" y="1008"/>
                    <a:pt x="2552" y="1008"/>
                  </a:cubicBezTo>
                  <a:cubicBezTo>
                    <a:pt x="2560" y="1007"/>
                    <a:pt x="2567" y="1003"/>
                    <a:pt x="2567" y="997"/>
                  </a:cubicBezTo>
                  <a:cubicBezTo>
                    <a:pt x="2567" y="992"/>
                    <a:pt x="2560" y="987"/>
                    <a:pt x="2552" y="987"/>
                  </a:cubicBezTo>
                  <a:cubicBezTo>
                    <a:pt x="2552" y="987"/>
                    <a:pt x="2552" y="987"/>
                    <a:pt x="2552" y="987"/>
                  </a:cubicBezTo>
                  <a:moveTo>
                    <a:pt x="3476" y="987"/>
                  </a:moveTo>
                  <a:cubicBezTo>
                    <a:pt x="3467" y="987"/>
                    <a:pt x="3462" y="992"/>
                    <a:pt x="3464" y="997"/>
                  </a:cubicBezTo>
                  <a:cubicBezTo>
                    <a:pt x="3466" y="1003"/>
                    <a:pt x="3474" y="1008"/>
                    <a:pt x="3482" y="1007"/>
                  </a:cubicBezTo>
                  <a:cubicBezTo>
                    <a:pt x="3490" y="1007"/>
                    <a:pt x="3496" y="1003"/>
                    <a:pt x="3494" y="997"/>
                  </a:cubicBezTo>
                  <a:cubicBezTo>
                    <a:pt x="3492" y="992"/>
                    <a:pt x="3484" y="987"/>
                    <a:pt x="3476" y="987"/>
                  </a:cubicBezTo>
                  <a:cubicBezTo>
                    <a:pt x="3476" y="987"/>
                    <a:pt x="3476" y="987"/>
                    <a:pt x="3476" y="987"/>
                  </a:cubicBezTo>
                  <a:moveTo>
                    <a:pt x="2594" y="987"/>
                  </a:moveTo>
                  <a:cubicBezTo>
                    <a:pt x="2586" y="987"/>
                    <a:pt x="2580" y="992"/>
                    <a:pt x="2580" y="997"/>
                  </a:cubicBezTo>
                  <a:cubicBezTo>
                    <a:pt x="2580" y="1003"/>
                    <a:pt x="2587" y="1007"/>
                    <a:pt x="2595" y="1007"/>
                  </a:cubicBezTo>
                  <a:cubicBezTo>
                    <a:pt x="2603" y="1007"/>
                    <a:pt x="2610" y="1003"/>
                    <a:pt x="2609" y="997"/>
                  </a:cubicBezTo>
                  <a:cubicBezTo>
                    <a:pt x="2609" y="991"/>
                    <a:pt x="2602" y="987"/>
                    <a:pt x="2594" y="987"/>
                  </a:cubicBezTo>
                  <a:cubicBezTo>
                    <a:pt x="2594" y="987"/>
                    <a:pt x="2594" y="987"/>
                    <a:pt x="2594" y="987"/>
                  </a:cubicBezTo>
                  <a:moveTo>
                    <a:pt x="2636" y="987"/>
                  </a:moveTo>
                  <a:cubicBezTo>
                    <a:pt x="2628" y="987"/>
                    <a:pt x="2621" y="991"/>
                    <a:pt x="2622" y="997"/>
                  </a:cubicBezTo>
                  <a:cubicBezTo>
                    <a:pt x="2622" y="1003"/>
                    <a:pt x="2629" y="1007"/>
                    <a:pt x="2637" y="1007"/>
                  </a:cubicBezTo>
                  <a:cubicBezTo>
                    <a:pt x="2645" y="1007"/>
                    <a:pt x="2652" y="1003"/>
                    <a:pt x="2651" y="997"/>
                  </a:cubicBezTo>
                  <a:cubicBezTo>
                    <a:pt x="2651" y="991"/>
                    <a:pt x="2644" y="987"/>
                    <a:pt x="2636" y="987"/>
                  </a:cubicBezTo>
                  <a:cubicBezTo>
                    <a:pt x="2636" y="987"/>
                    <a:pt x="2636" y="987"/>
                    <a:pt x="2636" y="987"/>
                  </a:cubicBezTo>
                  <a:moveTo>
                    <a:pt x="2678" y="987"/>
                  </a:moveTo>
                  <a:cubicBezTo>
                    <a:pt x="2670" y="987"/>
                    <a:pt x="2664" y="991"/>
                    <a:pt x="2664" y="997"/>
                  </a:cubicBezTo>
                  <a:cubicBezTo>
                    <a:pt x="2665" y="1003"/>
                    <a:pt x="2672" y="1007"/>
                    <a:pt x="2680" y="1007"/>
                  </a:cubicBezTo>
                  <a:cubicBezTo>
                    <a:pt x="2688" y="1007"/>
                    <a:pt x="2694" y="1002"/>
                    <a:pt x="2694" y="997"/>
                  </a:cubicBezTo>
                  <a:cubicBezTo>
                    <a:pt x="2693" y="991"/>
                    <a:pt x="2687" y="987"/>
                    <a:pt x="2678" y="987"/>
                  </a:cubicBezTo>
                  <a:cubicBezTo>
                    <a:pt x="2678" y="987"/>
                    <a:pt x="2678" y="987"/>
                    <a:pt x="2678" y="987"/>
                  </a:cubicBezTo>
                  <a:moveTo>
                    <a:pt x="2719" y="986"/>
                  </a:moveTo>
                  <a:cubicBezTo>
                    <a:pt x="2711" y="986"/>
                    <a:pt x="2705" y="991"/>
                    <a:pt x="2705" y="997"/>
                  </a:cubicBezTo>
                  <a:cubicBezTo>
                    <a:pt x="2705" y="1002"/>
                    <a:pt x="2712" y="1007"/>
                    <a:pt x="2721" y="1007"/>
                  </a:cubicBezTo>
                  <a:cubicBezTo>
                    <a:pt x="2729" y="1007"/>
                    <a:pt x="2735" y="1002"/>
                    <a:pt x="2734" y="997"/>
                  </a:cubicBezTo>
                  <a:cubicBezTo>
                    <a:pt x="2734" y="991"/>
                    <a:pt x="2727" y="986"/>
                    <a:pt x="2719" y="986"/>
                  </a:cubicBezTo>
                  <a:cubicBezTo>
                    <a:pt x="2719" y="986"/>
                    <a:pt x="2719" y="986"/>
                    <a:pt x="2719" y="986"/>
                  </a:cubicBezTo>
                  <a:moveTo>
                    <a:pt x="2761" y="986"/>
                  </a:moveTo>
                  <a:cubicBezTo>
                    <a:pt x="2753" y="986"/>
                    <a:pt x="2747" y="991"/>
                    <a:pt x="2747" y="997"/>
                  </a:cubicBezTo>
                  <a:cubicBezTo>
                    <a:pt x="2748" y="1002"/>
                    <a:pt x="2755" y="1007"/>
                    <a:pt x="2763" y="1007"/>
                  </a:cubicBezTo>
                  <a:cubicBezTo>
                    <a:pt x="2771" y="1007"/>
                    <a:pt x="2778" y="1002"/>
                    <a:pt x="2777" y="996"/>
                  </a:cubicBezTo>
                  <a:cubicBezTo>
                    <a:pt x="2776" y="991"/>
                    <a:pt x="2769" y="986"/>
                    <a:pt x="2761" y="986"/>
                  </a:cubicBezTo>
                  <a:cubicBezTo>
                    <a:pt x="2761" y="986"/>
                    <a:pt x="2761" y="986"/>
                    <a:pt x="2761" y="986"/>
                  </a:cubicBezTo>
                  <a:moveTo>
                    <a:pt x="2802" y="986"/>
                  </a:moveTo>
                  <a:cubicBezTo>
                    <a:pt x="2794" y="986"/>
                    <a:pt x="2788" y="991"/>
                    <a:pt x="2788" y="996"/>
                  </a:cubicBezTo>
                  <a:cubicBezTo>
                    <a:pt x="2789" y="1002"/>
                    <a:pt x="2796" y="1007"/>
                    <a:pt x="2804" y="1007"/>
                  </a:cubicBezTo>
                  <a:cubicBezTo>
                    <a:pt x="2812" y="1007"/>
                    <a:pt x="2818" y="1002"/>
                    <a:pt x="2818" y="996"/>
                  </a:cubicBezTo>
                  <a:cubicBezTo>
                    <a:pt x="2817" y="991"/>
                    <a:pt x="2810" y="986"/>
                    <a:pt x="2802" y="986"/>
                  </a:cubicBezTo>
                  <a:cubicBezTo>
                    <a:pt x="2802" y="986"/>
                    <a:pt x="2802" y="986"/>
                    <a:pt x="2802" y="986"/>
                  </a:cubicBezTo>
                  <a:moveTo>
                    <a:pt x="2846" y="986"/>
                  </a:moveTo>
                  <a:cubicBezTo>
                    <a:pt x="2838" y="986"/>
                    <a:pt x="2832" y="991"/>
                    <a:pt x="2833" y="996"/>
                  </a:cubicBezTo>
                  <a:cubicBezTo>
                    <a:pt x="2833" y="1002"/>
                    <a:pt x="2840" y="1006"/>
                    <a:pt x="2849" y="1006"/>
                  </a:cubicBezTo>
                  <a:cubicBezTo>
                    <a:pt x="2857" y="1006"/>
                    <a:pt x="2863" y="1002"/>
                    <a:pt x="2862" y="996"/>
                  </a:cubicBezTo>
                  <a:cubicBezTo>
                    <a:pt x="2861" y="991"/>
                    <a:pt x="2854" y="986"/>
                    <a:pt x="2846" y="986"/>
                  </a:cubicBezTo>
                  <a:cubicBezTo>
                    <a:pt x="2846" y="986"/>
                    <a:pt x="2846" y="986"/>
                    <a:pt x="2846" y="986"/>
                  </a:cubicBezTo>
                  <a:moveTo>
                    <a:pt x="2889" y="986"/>
                  </a:moveTo>
                  <a:cubicBezTo>
                    <a:pt x="2880" y="986"/>
                    <a:pt x="2874" y="990"/>
                    <a:pt x="2875" y="996"/>
                  </a:cubicBezTo>
                  <a:cubicBezTo>
                    <a:pt x="2876" y="1002"/>
                    <a:pt x="2883" y="1006"/>
                    <a:pt x="2891" y="1006"/>
                  </a:cubicBezTo>
                  <a:cubicBezTo>
                    <a:pt x="2899" y="1006"/>
                    <a:pt x="2905" y="1002"/>
                    <a:pt x="2905" y="996"/>
                  </a:cubicBezTo>
                  <a:cubicBezTo>
                    <a:pt x="2904" y="990"/>
                    <a:pt x="2897" y="986"/>
                    <a:pt x="2889" y="986"/>
                  </a:cubicBezTo>
                  <a:cubicBezTo>
                    <a:pt x="2889" y="986"/>
                    <a:pt x="2889" y="986"/>
                    <a:pt x="2889" y="986"/>
                  </a:cubicBezTo>
                  <a:moveTo>
                    <a:pt x="2931" y="986"/>
                  </a:moveTo>
                  <a:cubicBezTo>
                    <a:pt x="2923" y="986"/>
                    <a:pt x="2917" y="990"/>
                    <a:pt x="2918" y="996"/>
                  </a:cubicBezTo>
                  <a:cubicBezTo>
                    <a:pt x="2919" y="1002"/>
                    <a:pt x="2926" y="1006"/>
                    <a:pt x="2935" y="1006"/>
                  </a:cubicBezTo>
                  <a:cubicBezTo>
                    <a:pt x="2943" y="1006"/>
                    <a:pt x="2949" y="1001"/>
                    <a:pt x="2948" y="996"/>
                  </a:cubicBezTo>
                  <a:cubicBezTo>
                    <a:pt x="2947" y="990"/>
                    <a:pt x="2940" y="986"/>
                    <a:pt x="2932" y="986"/>
                  </a:cubicBezTo>
                  <a:cubicBezTo>
                    <a:pt x="2932" y="986"/>
                    <a:pt x="2931" y="986"/>
                    <a:pt x="2931" y="986"/>
                  </a:cubicBezTo>
                  <a:moveTo>
                    <a:pt x="3854" y="985"/>
                  </a:moveTo>
                  <a:cubicBezTo>
                    <a:pt x="3846" y="985"/>
                    <a:pt x="3841" y="990"/>
                    <a:pt x="3844" y="995"/>
                  </a:cubicBezTo>
                  <a:cubicBezTo>
                    <a:pt x="3847" y="1001"/>
                    <a:pt x="3855" y="1006"/>
                    <a:pt x="3863" y="1006"/>
                  </a:cubicBezTo>
                  <a:cubicBezTo>
                    <a:pt x="3872" y="1005"/>
                    <a:pt x="3876" y="1001"/>
                    <a:pt x="3873" y="995"/>
                  </a:cubicBezTo>
                  <a:cubicBezTo>
                    <a:pt x="3871" y="990"/>
                    <a:pt x="3862" y="985"/>
                    <a:pt x="3854" y="985"/>
                  </a:cubicBezTo>
                  <a:cubicBezTo>
                    <a:pt x="3854" y="985"/>
                    <a:pt x="3854" y="985"/>
                    <a:pt x="3854" y="985"/>
                  </a:cubicBezTo>
                  <a:moveTo>
                    <a:pt x="3982" y="983"/>
                  </a:moveTo>
                  <a:cubicBezTo>
                    <a:pt x="3973" y="983"/>
                    <a:pt x="3969" y="988"/>
                    <a:pt x="3972" y="994"/>
                  </a:cubicBezTo>
                  <a:cubicBezTo>
                    <a:pt x="3975" y="999"/>
                    <a:pt x="3984" y="1004"/>
                    <a:pt x="3992" y="1004"/>
                  </a:cubicBezTo>
                  <a:cubicBezTo>
                    <a:pt x="4000" y="1004"/>
                    <a:pt x="4004" y="999"/>
                    <a:pt x="4001" y="994"/>
                  </a:cubicBezTo>
                  <a:cubicBezTo>
                    <a:pt x="3999" y="988"/>
                    <a:pt x="3990" y="983"/>
                    <a:pt x="3982" y="983"/>
                  </a:cubicBezTo>
                  <a:cubicBezTo>
                    <a:pt x="3982" y="983"/>
                    <a:pt x="3982" y="983"/>
                    <a:pt x="3982" y="983"/>
                  </a:cubicBezTo>
                  <a:moveTo>
                    <a:pt x="4232" y="981"/>
                  </a:moveTo>
                  <a:cubicBezTo>
                    <a:pt x="4224" y="981"/>
                    <a:pt x="4220" y="986"/>
                    <a:pt x="4223" y="991"/>
                  </a:cubicBezTo>
                  <a:cubicBezTo>
                    <a:pt x="4226" y="997"/>
                    <a:pt x="4236" y="1002"/>
                    <a:pt x="4244" y="1002"/>
                  </a:cubicBezTo>
                  <a:cubicBezTo>
                    <a:pt x="4252" y="1002"/>
                    <a:pt x="4256" y="997"/>
                    <a:pt x="4253" y="991"/>
                  </a:cubicBezTo>
                  <a:cubicBezTo>
                    <a:pt x="4249" y="986"/>
                    <a:pt x="4240" y="981"/>
                    <a:pt x="4232" y="981"/>
                  </a:cubicBezTo>
                  <a:cubicBezTo>
                    <a:pt x="4232" y="981"/>
                    <a:pt x="4232" y="981"/>
                    <a:pt x="4232" y="981"/>
                  </a:cubicBezTo>
                  <a:moveTo>
                    <a:pt x="4323" y="981"/>
                  </a:moveTo>
                  <a:cubicBezTo>
                    <a:pt x="4315" y="981"/>
                    <a:pt x="4311" y="985"/>
                    <a:pt x="4314" y="991"/>
                  </a:cubicBezTo>
                  <a:cubicBezTo>
                    <a:pt x="4318" y="997"/>
                    <a:pt x="4327" y="1001"/>
                    <a:pt x="4335" y="1001"/>
                  </a:cubicBezTo>
                  <a:cubicBezTo>
                    <a:pt x="4344" y="1001"/>
                    <a:pt x="4347" y="997"/>
                    <a:pt x="4344" y="991"/>
                  </a:cubicBezTo>
                  <a:cubicBezTo>
                    <a:pt x="4340" y="985"/>
                    <a:pt x="4331" y="981"/>
                    <a:pt x="4323" y="981"/>
                  </a:cubicBezTo>
                  <a:cubicBezTo>
                    <a:pt x="4323" y="981"/>
                    <a:pt x="4323" y="981"/>
                    <a:pt x="4323" y="981"/>
                  </a:cubicBezTo>
                  <a:moveTo>
                    <a:pt x="301" y="967"/>
                  </a:moveTo>
                  <a:cubicBezTo>
                    <a:pt x="293" y="967"/>
                    <a:pt x="283" y="972"/>
                    <a:pt x="279" y="977"/>
                  </a:cubicBezTo>
                  <a:cubicBezTo>
                    <a:pt x="275" y="983"/>
                    <a:pt x="278" y="987"/>
                    <a:pt x="286" y="987"/>
                  </a:cubicBezTo>
                  <a:cubicBezTo>
                    <a:pt x="294" y="987"/>
                    <a:pt x="304" y="983"/>
                    <a:pt x="308" y="977"/>
                  </a:cubicBezTo>
                  <a:cubicBezTo>
                    <a:pt x="312" y="972"/>
                    <a:pt x="309" y="967"/>
                    <a:pt x="301" y="967"/>
                  </a:cubicBezTo>
                  <a:cubicBezTo>
                    <a:pt x="301" y="967"/>
                    <a:pt x="301" y="967"/>
                    <a:pt x="301" y="967"/>
                  </a:cubicBezTo>
                  <a:moveTo>
                    <a:pt x="342" y="967"/>
                  </a:moveTo>
                  <a:cubicBezTo>
                    <a:pt x="334" y="967"/>
                    <a:pt x="324" y="972"/>
                    <a:pt x="320" y="977"/>
                  </a:cubicBezTo>
                  <a:cubicBezTo>
                    <a:pt x="316" y="983"/>
                    <a:pt x="320" y="987"/>
                    <a:pt x="328" y="987"/>
                  </a:cubicBezTo>
                  <a:cubicBezTo>
                    <a:pt x="336" y="987"/>
                    <a:pt x="346" y="983"/>
                    <a:pt x="350" y="977"/>
                  </a:cubicBezTo>
                  <a:cubicBezTo>
                    <a:pt x="354" y="971"/>
                    <a:pt x="350" y="967"/>
                    <a:pt x="342" y="967"/>
                  </a:cubicBezTo>
                  <a:cubicBezTo>
                    <a:pt x="342" y="967"/>
                    <a:pt x="342" y="967"/>
                    <a:pt x="342" y="967"/>
                  </a:cubicBezTo>
                  <a:moveTo>
                    <a:pt x="550" y="965"/>
                  </a:moveTo>
                  <a:cubicBezTo>
                    <a:pt x="542" y="965"/>
                    <a:pt x="533" y="970"/>
                    <a:pt x="529" y="975"/>
                  </a:cubicBezTo>
                  <a:cubicBezTo>
                    <a:pt x="526" y="981"/>
                    <a:pt x="529" y="985"/>
                    <a:pt x="537" y="985"/>
                  </a:cubicBezTo>
                  <a:cubicBezTo>
                    <a:pt x="545" y="985"/>
                    <a:pt x="555" y="981"/>
                    <a:pt x="558" y="975"/>
                  </a:cubicBezTo>
                  <a:cubicBezTo>
                    <a:pt x="562" y="970"/>
                    <a:pt x="558" y="965"/>
                    <a:pt x="550" y="965"/>
                  </a:cubicBezTo>
                  <a:cubicBezTo>
                    <a:pt x="550" y="965"/>
                    <a:pt x="550" y="965"/>
                    <a:pt x="550" y="965"/>
                  </a:cubicBezTo>
                  <a:moveTo>
                    <a:pt x="635" y="965"/>
                  </a:moveTo>
                  <a:cubicBezTo>
                    <a:pt x="627" y="965"/>
                    <a:pt x="618" y="969"/>
                    <a:pt x="614" y="975"/>
                  </a:cubicBezTo>
                  <a:cubicBezTo>
                    <a:pt x="611" y="980"/>
                    <a:pt x="615" y="985"/>
                    <a:pt x="623" y="985"/>
                  </a:cubicBezTo>
                  <a:cubicBezTo>
                    <a:pt x="631" y="985"/>
                    <a:pt x="640" y="980"/>
                    <a:pt x="644" y="975"/>
                  </a:cubicBezTo>
                  <a:cubicBezTo>
                    <a:pt x="647" y="969"/>
                    <a:pt x="643" y="965"/>
                    <a:pt x="635" y="965"/>
                  </a:cubicBezTo>
                  <a:cubicBezTo>
                    <a:pt x="635" y="965"/>
                    <a:pt x="635" y="965"/>
                    <a:pt x="635" y="965"/>
                  </a:cubicBezTo>
                  <a:moveTo>
                    <a:pt x="1677" y="962"/>
                  </a:moveTo>
                  <a:cubicBezTo>
                    <a:pt x="1669" y="962"/>
                    <a:pt x="1662" y="967"/>
                    <a:pt x="1660" y="973"/>
                  </a:cubicBezTo>
                  <a:cubicBezTo>
                    <a:pt x="1659" y="978"/>
                    <a:pt x="1664" y="983"/>
                    <a:pt x="1672" y="983"/>
                  </a:cubicBezTo>
                  <a:cubicBezTo>
                    <a:pt x="1680" y="983"/>
                    <a:pt x="1688" y="978"/>
                    <a:pt x="1689" y="973"/>
                  </a:cubicBezTo>
                  <a:cubicBezTo>
                    <a:pt x="1691" y="967"/>
                    <a:pt x="1686" y="962"/>
                    <a:pt x="1678" y="962"/>
                  </a:cubicBezTo>
                  <a:cubicBezTo>
                    <a:pt x="1678" y="962"/>
                    <a:pt x="1678" y="962"/>
                    <a:pt x="1677" y="962"/>
                  </a:cubicBezTo>
                  <a:moveTo>
                    <a:pt x="1717" y="962"/>
                  </a:moveTo>
                  <a:cubicBezTo>
                    <a:pt x="1709" y="962"/>
                    <a:pt x="1701" y="967"/>
                    <a:pt x="1699" y="972"/>
                  </a:cubicBezTo>
                  <a:cubicBezTo>
                    <a:pt x="1698" y="978"/>
                    <a:pt x="1703" y="983"/>
                    <a:pt x="1712" y="983"/>
                  </a:cubicBezTo>
                  <a:cubicBezTo>
                    <a:pt x="1720" y="983"/>
                    <a:pt x="1727" y="978"/>
                    <a:pt x="1729" y="972"/>
                  </a:cubicBezTo>
                  <a:cubicBezTo>
                    <a:pt x="1730" y="967"/>
                    <a:pt x="1725" y="962"/>
                    <a:pt x="1717" y="962"/>
                  </a:cubicBezTo>
                  <a:cubicBezTo>
                    <a:pt x="1717" y="962"/>
                    <a:pt x="1717" y="962"/>
                    <a:pt x="1717" y="962"/>
                  </a:cubicBezTo>
                  <a:moveTo>
                    <a:pt x="1758" y="962"/>
                  </a:moveTo>
                  <a:cubicBezTo>
                    <a:pt x="1750" y="962"/>
                    <a:pt x="1742" y="967"/>
                    <a:pt x="1741" y="972"/>
                  </a:cubicBezTo>
                  <a:cubicBezTo>
                    <a:pt x="1740" y="978"/>
                    <a:pt x="1745" y="983"/>
                    <a:pt x="1753" y="982"/>
                  </a:cubicBezTo>
                  <a:cubicBezTo>
                    <a:pt x="1761" y="982"/>
                    <a:pt x="1769" y="978"/>
                    <a:pt x="1770" y="972"/>
                  </a:cubicBezTo>
                  <a:cubicBezTo>
                    <a:pt x="1772" y="967"/>
                    <a:pt x="1766" y="962"/>
                    <a:pt x="1758" y="962"/>
                  </a:cubicBezTo>
                  <a:cubicBezTo>
                    <a:pt x="1758" y="962"/>
                    <a:pt x="1758" y="962"/>
                    <a:pt x="1758" y="962"/>
                  </a:cubicBezTo>
                  <a:moveTo>
                    <a:pt x="1800" y="962"/>
                  </a:moveTo>
                  <a:cubicBezTo>
                    <a:pt x="1792" y="962"/>
                    <a:pt x="1784" y="967"/>
                    <a:pt x="1783" y="972"/>
                  </a:cubicBezTo>
                  <a:cubicBezTo>
                    <a:pt x="1782" y="978"/>
                    <a:pt x="1787" y="982"/>
                    <a:pt x="1795" y="982"/>
                  </a:cubicBezTo>
                  <a:cubicBezTo>
                    <a:pt x="1803" y="982"/>
                    <a:pt x="1811" y="978"/>
                    <a:pt x="1812" y="972"/>
                  </a:cubicBezTo>
                  <a:cubicBezTo>
                    <a:pt x="1813" y="966"/>
                    <a:pt x="1808" y="962"/>
                    <a:pt x="1800" y="962"/>
                  </a:cubicBezTo>
                  <a:cubicBezTo>
                    <a:pt x="1800" y="962"/>
                    <a:pt x="1800" y="962"/>
                    <a:pt x="1800" y="962"/>
                  </a:cubicBezTo>
                  <a:moveTo>
                    <a:pt x="1842" y="962"/>
                  </a:moveTo>
                  <a:cubicBezTo>
                    <a:pt x="1834" y="962"/>
                    <a:pt x="1826" y="966"/>
                    <a:pt x="1825" y="972"/>
                  </a:cubicBezTo>
                  <a:cubicBezTo>
                    <a:pt x="1824" y="978"/>
                    <a:pt x="1830" y="982"/>
                    <a:pt x="1838" y="982"/>
                  </a:cubicBezTo>
                  <a:cubicBezTo>
                    <a:pt x="1846" y="982"/>
                    <a:pt x="1853" y="978"/>
                    <a:pt x="1855" y="972"/>
                  </a:cubicBezTo>
                  <a:cubicBezTo>
                    <a:pt x="1856" y="966"/>
                    <a:pt x="1850" y="962"/>
                    <a:pt x="1842" y="962"/>
                  </a:cubicBezTo>
                  <a:cubicBezTo>
                    <a:pt x="1842" y="962"/>
                    <a:pt x="1842" y="962"/>
                    <a:pt x="1842" y="962"/>
                  </a:cubicBezTo>
                  <a:moveTo>
                    <a:pt x="1883" y="962"/>
                  </a:moveTo>
                  <a:cubicBezTo>
                    <a:pt x="1875" y="962"/>
                    <a:pt x="1868" y="966"/>
                    <a:pt x="1867" y="972"/>
                  </a:cubicBezTo>
                  <a:cubicBezTo>
                    <a:pt x="1866" y="977"/>
                    <a:pt x="1871" y="982"/>
                    <a:pt x="1879" y="982"/>
                  </a:cubicBezTo>
                  <a:cubicBezTo>
                    <a:pt x="1888" y="982"/>
                    <a:pt x="1895" y="977"/>
                    <a:pt x="1896" y="972"/>
                  </a:cubicBezTo>
                  <a:cubicBezTo>
                    <a:pt x="1897" y="966"/>
                    <a:pt x="1892" y="962"/>
                    <a:pt x="1884" y="962"/>
                  </a:cubicBezTo>
                  <a:cubicBezTo>
                    <a:pt x="1884" y="962"/>
                    <a:pt x="1883" y="962"/>
                    <a:pt x="1883" y="962"/>
                  </a:cubicBezTo>
                  <a:moveTo>
                    <a:pt x="1925" y="961"/>
                  </a:moveTo>
                  <a:cubicBezTo>
                    <a:pt x="1917" y="961"/>
                    <a:pt x="1910" y="966"/>
                    <a:pt x="1909" y="972"/>
                  </a:cubicBezTo>
                  <a:cubicBezTo>
                    <a:pt x="1908" y="977"/>
                    <a:pt x="1913" y="982"/>
                    <a:pt x="1921" y="982"/>
                  </a:cubicBezTo>
                  <a:cubicBezTo>
                    <a:pt x="1929" y="982"/>
                    <a:pt x="1937" y="977"/>
                    <a:pt x="1938" y="972"/>
                  </a:cubicBezTo>
                  <a:cubicBezTo>
                    <a:pt x="1939" y="966"/>
                    <a:pt x="1933" y="961"/>
                    <a:pt x="1925" y="961"/>
                  </a:cubicBezTo>
                  <a:cubicBezTo>
                    <a:pt x="1925" y="961"/>
                    <a:pt x="1925" y="961"/>
                    <a:pt x="1925" y="961"/>
                  </a:cubicBezTo>
                  <a:moveTo>
                    <a:pt x="1967" y="961"/>
                  </a:moveTo>
                  <a:cubicBezTo>
                    <a:pt x="1958" y="961"/>
                    <a:pt x="1951" y="966"/>
                    <a:pt x="1950" y="972"/>
                  </a:cubicBezTo>
                  <a:cubicBezTo>
                    <a:pt x="1949" y="977"/>
                    <a:pt x="1955" y="982"/>
                    <a:pt x="1963" y="982"/>
                  </a:cubicBezTo>
                  <a:cubicBezTo>
                    <a:pt x="1971" y="982"/>
                    <a:pt x="1979" y="977"/>
                    <a:pt x="1979" y="971"/>
                  </a:cubicBezTo>
                  <a:cubicBezTo>
                    <a:pt x="1980" y="966"/>
                    <a:pt x="1975" y="961"/>
                    <a:pt x="1967" y="961"/>
                  </a:cubicBezTo>
                  <a:cubicBezTo>
                    <a:pt x="1967" y="961"/>
                    <a:pt x="1967" y="961"/>
                    <a:pt x="1967" y="961"/>
                  </a:cubicBezTo>
                  <a:moveTo>
                    <a:pt x="2008" y="961"/>
                  </a:moveTo>
                  <a:cubicBezTo>
                    <a:pt x="2000" y="961"/>
                    <a:pt x="1993" y="966"/>
                    <a:pt x="1992" y="971"/>
                  </a:cubicBezTo>
                  <a:cubicBezTo>
                    <a:pt x="1991" y="977"/>
                    <a:pt x="1997" y="982"/>
                    <a:pt x="2005" y="982"/>
                  </a:cubicBezTo>
                  <a:cubicBezTo>
                    <a:pt x="2013" y="982"/>
                    <a:pt x="2020" y="977"/>
                    <a:pt x="2021" y="971"/>
                  </a:cubicBezTo>
                  <a:cubicBezTo>
                    <a:pt x="2022" y="966"/>
                    <a:pt x="2016" y="961"/>
                    <a:pt x="2008" y="961"/>
                  </a:cubicBezTo>
                  <a:cubicBezTo>
                    <a:pt x="2008" y="961"/>
                    <a:pt x="2008" y="961"/>
                    <a:pt x="2008" y="961"/>
                  </a:cubicBezTo>
                  <a:moveTo>
                    <a:pt x="2051" y="961"/>
                  </a:moveTo>
                  <a:cubicBezTo>
                    <a:pt x="2043" y="961"/>
                    <a:pt x="2036" y="966"/>
                    <a:pt x="2035" y="971"/>
                  </a:cubicBezTo>
                  <a:cubicBezTo>
                    <a:pt x="2034" y="977"/>
                    <a:pt x="2040" y="981"/>
                    <a:pt x="2048" y="981"/>
                  </a:cubicBezTo>
                  <a:cubicBezTo>
                    <a:pt x="2057" y="981"/>
                    <a:pt x="2064" y="977"/>
                    <a:pt x="2064" y="971"/>
                  </a:cubicBezTo>
                  <a:cubicBezTo>
                    <a:pt x="2065" y="965"/>
                    <a:pt x="2059" y="961"/>
                    <a:pt x="2051" y="961"/>
                  </a:cubicBezTo>
                  <a:cubicBezTo>
                    <a:pt x="2051" y="961"/>
                    <a:pt x="2051" y="961"/>
                    <a:pt x="2051" y="961"/>
                  </a:cubicBezTo>
                  <a:moveTo>
                    <a:pt x="2093" y="961"/>
                  </a:moveTo>
                  <a:cubicBezTo>
                    <a:pt x="2085" y="961"/>
                    <a:pt x="2078" y="965"/>
                    <a:pt x="2077" y="971"/>
                  </a:cubicBezTo>
                  <a:cubicBezTo>
                    <a:pt x="2076" y="977"/>
                    <a:pt x="2082" y="981"/>
                    <a:pt x="2090" y="981"/>
                  </a:cubicBezTo>
                  <a:cubicBezTo>
                    <a:pt x="2098" y="981"/>
                    <a:pt x="2105" y="977"/>
                    <a:pt x="2106" y="971"/>
                  </a:cubicBezTo>
                  <a:cubicBezTo>
                    <a:pt x="2107" y="965"/>
                    <a:pt x="2101" y="961"/>
                    <a:pt x="2093" y="961"/>
                  </a:cubicBezTo>
                  <a:cubicBezTo>
                    <a:pt x="2093" y="961"/>
                    <a:pt x="2093" y="961"/>
                    <a:pt x="2093" y="961"/>
                  </a:cubicBezTo>
                  <a:moveTo>
                    <a:pt x="2134" y="961"/>
                  </a:moveTo>
                  <a:cubicBezTo>
                    <a:pt x="2126" y="961"/>
                    <a:pt x="2119" y="965"/>
                    <a:pt x="2119" y="971"/>
                  </a:cubicBezTo>
                  <a:cubicBezTo>
                    <a:pt x="2118" y="977"/>
                    <a:pt x="2124" y="981"/>
                    <a:pt x="2132" y="981"/>
                  </a:cubicBezTo>
                  <a:cubicBezTo>
                    <a:pt x="2140" y="981"/>
                    <a:pt x="2147" y="976"/>
                    <a:pt x="2148" y="971"/>
                  </a:cubicBezTo>
                  <a:cubicBezTo>
                    <a:pt x="2149" y="965"/>
                    <a:pt x="2143" y="961"/>
                    <a:pt x="2135" y="961"/>
                  </a:cubicBezTo>
                  <a:cubicBezTo>
                    <a:pt x="2135" y="961"/>
                    <a:pt x="2134" y="961"/>
                    <a:pt x="2134" y="961"/>
                  </a:cubicBezTo>
                  <a:moveTo>
                    <a:pt x="2177" y="960"/>
                  </a:moveTo>
                  <a:cubicBezTo>
                    <a:pt x="2169" y="961"/>
                    <a:pt x="2162" y="965"/>
                    <a:pt x="2161" y="971"/>
                  </a:cubicBezTo>
                  <a:cubicBezTo>
                    <a:pt x="2160" y="976"/>
                    <a:pt x="2166" y="981"/>
                    <a:pt x="2175" y="981"/>
                  </a:cubicBezTo>
                  <a:cubicBezTo>
                    <a:pt x="2183" y="981"/>
                    <a:pt x="2190" y="976"/>
                    <a:pt x="2190" y="971"/>
                  </a:cubicBezTo>
                  <a:cubicBezTo>
                    <a:pt x="2191" y="965"/>
                    <a:pt x="2185" y="960"/>
                    <a:pt x="2177" y="960"/>
                  </a:cubicBezTo>
                  <a:cubicBezTo>
                    <a:pt x="2177" y="960"/>
                    <a:pt x="2177" y="960"/>
                    <a:pt x="2177" y="960"/>
                  </a:cubicBezTo>
                  <a:moveTo>
                    <a:pt x="2218" y="960"/>
                  </a:moveTo>
                  <a:cubicBezTo>
                    <a:pt x="2210" y="960"/>
                    <a:pt x="2203" y="965"/>
                    <a:pt x="2202" y="971"/>
                  </a:cubicBezTo>
                  <a:cubicBezTo>
                    <a:pt x="2202" y="976"/>
                    <a:pt x="2208" y="981"/>
                    <a:pt x="2216" y="981"/>
                  </a:cubicBezTo>
                  <a:cubicBezTo>
                    <a:pt x="2224" y="981"/>
                    <a:pt x="2231" y="976"/>
                    <a:pt x="2232" y="970"/>
                  </a:cubicBezTo>
                  <a:cubicBezTo>
                    <a:pt x="2232" y="965"/>
                    <a:pt x="2226" y="960"/>
                    <a:pt x="2218" y="960"/>
                  </a:cubicBezTo>
                  <a:cubicBezTo>
                    <a:pt x="2218" y="960"/>
                    <a:pt x="2218" y="960"/>
                    <a:pt x="2218" y="960"/>
                  </a:cubicBezTo>
                  <a:moveTo>
                    <a:pt x="2260" y="960"/>
                  </a:moveTo>
                  <a:cubicBezTo>
                    <a:pt x="2252" y="960"/>
                    <a:pt x="2245" y="965"/>
                    <a:pt x="2244" y="970"/>
                  </a:cubicBezTo>
                  <a:cubicBezTo>
                    <a:pt x="2244" y="976"/>
                    <a:pt x="2250" y="981"/>
                    <a:pt x="2258" y="981"/>
                  </a:cubicBezTo>
                  <a:cubicBezTo>
                    <a:pt x="2266" y="981"/>
                    <a:pt x="2273" y="976"/>
                    <a:pt x="2273" y="970"/>
                  </a:cubicBezTo>
                  <a:cubicBezTo>
                    <a:pt x="2274" y="965"/>
                    <a:pt x="2268" y="960"/>
                    <a:pt x="2260" y="960"/>
                  </a:cubicBezTo>
                  <a:cubicBezTo>
                    <a:pt x="2260" y="960"/>
                    <a:pt x="2260" y="960"/>
                    <a:pt x="2260" y="960"/>
                  </a:cubicBezTo>
                  <a:moveTo>
                    <a:pt x="2301" y="960"/>
                  </a:moveTo>
                  <a:cubicBezTo>
                    <a:pt x="2293" y="960"/>
                    <a:pt x="2286" y="965"/>
                    <a:pt x="2286" y="970"/>
                  </a:cubicBezTo>
                  <a:cubicBezTo>
                    <a:pt x="2285" y="976"/>
                    <a:pt x="2292" y="980"/>
                    <a:pt x="2300" y="980"/>
                  </a:cubicBezTo>
                  <a:cubicBezTo>
                    <a:pt x="2308" y="980"/>
                    <a:pt x="2315" y="976"/>
                    <a:pt x="2315" y="970"/>
                  </a:cubicBezTo>
                  <a:cubicBezTo>
                    <a:pt x="2315" y="965"/>
                    <a:pt x="2309" y="960"/>
                    <a:pt x="2301" y="960"/>
                  </a:cubicBezTo>
                  <a:cubicBezTo>
                    <a:pt x="2301" y="960"/>
                    <a:pt x="2301" y="960"/>
                    <a:pt x="2301" y="960"/>
                  </a:cubicBezTo>
                  <a:moveTo>
                    <a:pt x="2343" y="960"/>
                  </a:moveTo>
                  <a:cubicBezTo>
                    <a:pt x="2335" y="960"/>
                    <a:pt x="2328" y="964"/>
                    <a:pt x="2328" y="970"/>
                  </a:cubicBezTo>
                  <a:cubicBezTo>
                    <a:pt x="2327" y="976"/>
                    <a:pt x="2334" y="980"/>
                    <a:pt x="2342" y="980"/>
                  </a:cubicBezTo>
                  <a:cubicBezTo>
                    <a:pt x="2350" y="980"/>
                    <a:pt x="2357" y="976"/>
                    <a:pt x="2357" y="970"/>
                  </a:cubicBezTo>
                  <a:cubicBezTo>
                    <a:pt x="2357" y="964"/>
                    <a:pt x="2351" y="960"/>
                    <a:pt x="2343" y="960"/>
                  </a:cubicBezTo>
                  <a:cubicBezTo>
                    <a:pt x="2343" y="960"/>
                    <a:pt x="2343" y="960"/>
                    <a:pt x="2343" y="960"/>
                  </a:cubicBezTo>
                  <a:moveTo>
                    <a:pt x="2385" y="960"/>
                  </a:moveTo>
                  <a:cubicBezTo>
                    <a:pt x="2377" y="960"/>
                    <a:pt x="2370" y="964"/>
                    <a:pt x="2370" y="970"/>
                  </a:cubicBezTo>
                  <a:cubicBezTo>
                    <a:pt x="2370" y="976"/>
                    <a:pt x="2376" y="980"/>
                    <a:pt x="2384" y="980"/>
                  </a:cubicBezTo>
                  <a:cubicBezTo>
                    <a:pt x="2392" y="980"/>
                    <a:pt x="2399" y="976"/>
                    <a:pt x="2399" y="970"/>
                  </a:cubicBezTo>
                  <a:cubicBezTo>
                    <a:pt x="2399" y="964"/>
                    <a:pt x="2393" y="960"/>
                    <a:pt x="2385" y="960"/>
                  </a:cubicBezTo>
                  <a:cubicBezTo>
                    <a:pt x="2385" y="960"/>
                    <a:pt x="2385" y="960"/>
                    <a:pt x="2385" y="960"/>
                  </a:cubicBezTo>
                  <a:moveTo>
                    <a:pt x="2426" y="960"/>
                  </a:moveTo>
                  <a:cubicBezTo>
                    <a:pt x="2418" y="960"/>
                    <a:pt x="2412" y="964"/>
                    <a:pt x="2411" y="970"/>
                  </a:cubicBezTo>
                  <a:cubicBezTo>
                    <a:pt x="2411" y="975"/>
                    <a:pt x="2418" y="980"/>
                    <a:pt x="2426" y="980"/>
                  </a:cubicBezTo>
                  <a:cubicBezTo>
                    <a:pt x="2434" y="980"/>
                    <a:pt x="2441" y="975"/>
                    <a:pt x="2441" y="970"/>
                  </a:cubicBezTo>
                  <a:cubicBezTo>
                    <a:pt x="2441" y="964"/>
                    <a:pt x="2434" y="960"/>
                    <a:pt x="2426" y="960"/>
                  </a:cubicBezTo>
                  <a:cubicBezTo>
                    <a:pt x="2426" y="960"/>
                    <a:pt x="2426" y="960"/>
                    <a:pt x="2426" y="960"/>
                  </a:cubicBezTo>
                  <a:moveTo>
                    <a:pt x="2468" y="959"/>
                  </a:moveTo>
                  <a:cubicBezTo>
                    <a:pt x="2460" y="959"/>
                    <a:pt x="2453" y="964"/>
                    <a:pt x="2453" y="970"/>
                  </a:cubicBezTo>
                  <a:cubicBezTo>
                    <a:pt x="2453" y="975"/>
                    <a:pt x="2460" y="980"/>
                    <a:pt x="2468" y="980"/>
                  </a:cubicBezTo>
                  <a:cubicBezTo>
                    <a:pt x="2476" y="980"/>
                    <a:pt x="2483" y="975"/>
                    <a:pt x="2483" y="970"/>
                  </a:cubicBezTo>
                  <a:cubicBezTo>
                    <a:pt x="2482" y="964"/>
                    <a:pt x="2476" y="959"/>
                    <a:pt x="2468" y="959"/>
                  </a:cubicBezTo>
                  <a:cubicBezTo>
                    <a:pt x="2468" y="959"/>
                    <a:pt x="2468" y="959"/>
                    <a:pt x="2468" y="959"/>
                  </a:cubicBezTo>
                  <a:moveTo>
                    <a:pt x="2509" y="959"/>
                  </a:moveTo>
                  <a:cubicBezTo>
                    <a:pt x="2501" y="959"/>
                    <a:pt x="2495" y="964"/>
                    <a:pt x="2495" y="969"/>
                  </a:cubicBezTo>
                  <a:cubicBezTo>
                    <a:pt x="2495" y="975"/>
                    <a:pt x="2501" y="980"/>
                    <a:pt x="2509" y="980"/>
                  </a:cubicBezTo>
                  <a:cubicBezTo>
                    <a:pt x="2518" y="980"/>
                    <a:pt x="2524" y="975"/>
                    <a:pt x="2524" y="969"/>
                  </a:cubicBezTo>
                  <a:cubicBezTo>
                    <a:pt x="2524" y="964"/>
                    <a:pt x="2517" y="959"/>
                    <a:pt x="2509" y="959"/>
                  </a:cubicBezTo>
                  <a:cubicBezTo>
                    <a:pt x="2509" y="959"/>
                    <a:pt x="2509" y="959"/>
                    <a:pt x="2509" y="959"/>
                  </a:cubicBezTo>
                  <a:moveTo>
                    <a:pt x="2551" y="959"/>
                  </a:moveTo>
                  <a:cubicBezTo>
                    <a:pt x="2543" y="959"/>
                    <a:pt x="2537" y="964"/>
                    <a:pt x="2537" y="969"/>
                  </a:cubicBezTo>
                  <a:cubicBezTo>
                    <a:pt x="2537" y="975"/>
                    <a:pt x="2543" y="980"/>
                    <a:pt x="2552" y="980"/>
                  </a:cubicBezTo>
                  <a:cubicBezTo>
                    <a:pt x="2560" y="979"/>
                    <a:pt x="2566" y="975"/>
                    <a:pt x="2566" y="969"/>
                  </a:cubicBezTo>
                  <a:cubicBezTo>
                    <a:pt x="2566" y="964"/>
                    <a:pt x="2559" y="959"/>
                    <a:pt x="2551" y="959"/>
                  </a:cubicBezTo>
                  <a:cubicBezTo>
                    <a:pt x="2551" y="959"/>
                    <a:pt x="2551" y="959"/>
                    <a:pt x="2551" y="959"/>
                  </a:cubicBezTo>
                  <a:moveTo>
                    <a:pt x="2593" y="959"/>
                  </a:moveTo>
                  <a:cubicBezTo>
                    <a:pt x="2585" y="959"/>
                    <a:pt x="2579" y="964"/>
                    <a:pt x="2579" y="969"/>
                  </a:cubicBezTo>
                  <a:cubicBezTo>
                    <a:pt x="2579" y="975"/>
                    <a:pt x="2586" y="979"/>
                    <a:pt x="2594" y="979"/>
                  </a:cubicBezTo>
                  <a:cubicBezTo>
                    <a:pt x="2602" y="979"/>
                    <a:pt x="2608" y="975"/>
                    <a:pt x="2608" y="969"/>
                  </a:cubicBezTo>
                  <a:cubicBezTo>
                    <a:pt x="2608" y="963"/>
                    <a:pt x="2601" y="959"/>
                    <a:pt x="2593" y="959"/>
                  </a:cubicBezTo>
                  <a:cubicBezTo>
                    <a:pt x="2593" y="959"/>
                    <a:pt x="2593" y="959"/>
                    <a:pt x="2593" y="959"/>
                  </a:cubicBezTo>
                  <a:moveTo>
                    <a:pt x="2635" y="959"/>
                  </a:moveTo>
                  <a:cubicBezTo>
                    <a:pt x="2626" y="959"/>
                    <a:pt x="2620" y="963"/>
                    <a:pt x="2620" y="969"/>
                  </a:cubicBezTo>
                  <a:cubicBezTo>
                    <a:pt x="2621" y="975"/>
                    <a:pt x="2627" y="979"/>
                    <a:pt x="2636" y="979"/>
                  </a:cubicBezTo>
                  <a:cubicBezTo>
                    <a:pt x="2644" y="979"/>
                    <a:pt x="2650" y="975"/>
                    <a:pt x="2650" y="969"/>
                  </a:cubicBezTo>
                  <a:cubicBezTo>
                    <a:pt x="2649" y="963"/>
                    <a:pt x="2643" y="959"/>
                    <a:pt x="2635" y="959"/>
                  </a:cubicBezTo>
                  <a:cubicBezTo>
                    <a:pt x="2635" y="959"/>
                    <a:pt x="2635" y="959"/>
                    <a:pt x="2635" y="959"/>
                  </a:cubicBezTo>
                  <a:moveTo>
                    <a:pt x="2677" y="959"/>
                  </a:moveTo>
                  <a:cubicBezTo>
                    <a:pt x="2668" y="959"/>
                    <a:pt x="2662" y="963"/>
                    <a:pt x="2663" y="969"/>
                  </a:cubicBezTo>
                  <a:cubicBezTo>
                    <a:pt x="2663" y="975"/>
                    <a:pt x="2670" y="979"/>
                    <a:pt x="2678" y="979"/>
                  </a:cubicBezTo>
                  <a:cubicBezTo>
                    <a:pt x="2686" y="979"/>
                    <a:pt x="2692" y="974"/>
                    <a:pt x="2692" y="969"/>
                  </a:cubicBezTo>
                  <a:cubicBezTo>
                    <a:pt x="2691" y="963"/>
                    <a:pt x="2685" y="959"/>
                    <a:pt x="2677" y="959"/>
                  </a:cubicBezTo>
                  <a:cubicBezTo>
                    <a:pt x="2677" y="959"/>
                    <a:pt x="2677" y="959"/>
                    <a:pt x="2677" y="959"/>
                  </a:cubicBezTo>
                  <a:moveTo>
                    <a:pt x="2717" y="958"/>
                  </a:moveTo>
                  <a:cubicBezTo>
                    <a:pt x="2709" y="958"/>
                    <a:pt x="2702" y="963"/>
                    <a:pt x="2703" y="969"/>
                  </a:cubicBezTo>
                  <a:cubicBezTo>
                    <a:pt x="2703" y="974"/>
                    <a:pt x="2710" y="979"/>
                    <a:pt x="2718" y="979"/>
                  </a:cubicBezTo>
                  <a:cubicBezTo>
                    <a:pt x="2726" y="979"/>
                    <a:pt x="2733" y="974"/>
                    <a:pt x="2732" y="969"/>
                  </a:cubicBezTo>
                  <a:cubicBezTo>
                    <a:pt x="2732" y="963"/>
                    <a:pt x="2725" y="958"/>
                    <a:pt x="2717" y="958"/>
                  </a:cubicBezTo>
                  <a:cubicBezTo>
                    <a:pt x="2717" y="958"/>
                    <a:pt x="2717" y="958"/>
                    <a:pt x="2717" y="958"/>
                  </a:cubicBezTo>
                  <a:moveTo>
                    <a:pt x="2759" y="958"/>
                  </a:moveTo>
                  <a:cubicBezTo>
                    <a:pt x="2751" y="958"/>
                    <a:pt x="2744" y="963"/>
                    <a:pt x="2745" y="969"/>
                  </a:cubicBezTo>
                  <a:cubicBezTo>
                    <a:pt x="2745" y="974"/>
                    <a:pt x="2752" y="979"/>
                    <a:pt x="2761" y="979"/>
                  </a:cubicBezTo>
                  <a:cubicBezTo>
                    <a:pt x="2769" y="979"/>
                    <a:pt x="2775" y="974"/>
                    <a:pt x="2774" y="968"/>
                  </a:cubicBezTo>
                  <a:cubicBezTo>
                    <a:pt x="2774" y="963"/>
                    <a:pt x="2767" y="958"/>
                    <a:pt x="2759" y="958"/>
                  </a:cubicBezTo>
                  <a:cubicBezTo>
                    <a:pt x="2759" y="958"/>
                    <a:pt x="2759" y="958"/>
                    <a:pt x="2759" y="958"/>
                  </a:cubicBezTo>
                  <a:moveTo>
                    <a:pt x="3424" y="957"/>
                  </a:moveTo>
                  <a:cubicBezTo>
                    <a:pt x="3416" y="958"/>
                    <a:pt x="3411" y="962"/>
                    <a:pt x="3413" y="968"/>
                  </a:cubicBezTo>
                  <a:cubicBezTo>
                    <a:pt x="3414" y="973"/>
                    <a:pt x="3422" y="978"/>
                    <a:pt x="3431" y="978"/>
                  </a:cubicBezTo>
                  <a:cubicBezTo>
                    <a:pt x="3439" y="978"/>
                    <a:pt x="3444" y="973"/>
                    <a:pt x="3442" y="968"/>
                  </a:cubicBezTo>
                  <a:cubicBezTo>
                    <a:pt x="3440" y="962"/>
                    <a:pt x="3432" y="957"/>
                    <a:pt x="3424" y="957"/>
                  </a:cubicBezTo>
                  <a:cubicBezTo>
                    <a:pt x="3424" y="957"/>
                    <a:pt x="3424" y="957"/>
                    <a:pt x="3424" y="957"/>
                  </a:cubicBezTo>
                  <a:moveTo>
                    <a:pt x="3466" y="957"/>
                  </a:moveTo>
                  <a:cubicBezTo>
                    <a:pt x="3458" y="957"/>
                    <a:pt x="3453" y="962"/>
                    <a:pt x="3455" y="968"/>
                  </a:cubicBezTo>
                  <a:cubicBezTo>
                    <a:pt x="3456" y="973"/>
                    <a:pt x="3464" y="978"/>
                    <a:pt x="3473" y="978"/>
                  </a:cubicBezTo>
                  <a:cubicBezTo>
                    <a:pt x="3481" y="978"/>
                    <a:pt x="3486" y="973"/>
                    <a:pt x="3484" y="968"/>
                  </a:cubicBezTo>
                  <a:cubicBezTo>
                    <a:pt x="3482" y="962"/>
                    <a:pt x="3474" y="957"/>
                    <a:pt x="3466" y="957"/>
                  </a:cubicBezTo>
                  <a:cubicBezTo>
                    <a:pt x="3466" y="957"/>
                    <a:pt x="3466" y="957"/>
                    <a:pt x="3466" y="957"/>
                  </a:cubicBezTo>
                  <a:moveTo>
                    <a:pt x="3840" y="954"/>
                  </a:moveTo>
                  <a:cubicBezTo>
                    <a:pt x="3832" y="954"/>
                    <a:pt x="3827" y="959"/>
                    <a:pt x="3830" y="964"/>
                  </a:cubicBezTo>
                  <a:cubicBezTo>
                    <a:pt x="3833" y="970"/>
                    <a:pt x="3841" y="974"/>
                    <a:pt x="3849" y="974"/>
                  </a:cubicBezTo>
                  <a:cubicBezTo>
                    <a:pt x="3857" y="974"/>
                    <a:pt x="3862" y="970"/>
                    <a:pt x="3859" y="964"/>
                  </a:cubicBezTo>
                  <a:cubicBezTo>
                    <a:pt x="3857" y="958"/>
                    <a:pt x="3848" y="954"/>
                    <a:pt x="3840" y="954"/>
                  </a:cubicBezTo>
                  <a:cubicBezTo>
                    <a:pt x="3840" y="954"/>
                    <a:pt x="3840" y="954"/>
                    <a:pt x="3840" y="954"/>
                  </a:cubicBezTo>
                  <a:moveTo>
                    <a:pt x="3926" y="954"/>
                  </a:moveTo>
                  <a:cubicBezTo>
                    <a:pt x="3918" y="954"/>
                    <a:pt x="3913" y="958"/>
                    <a:pt x="3916" y="964"/>
                  </a:cubicBezTo>
                  <a:cubicBezTo>
                    <a:pt x="3919" y="970"/>
                    <a:pt x="3928" y="974"/>
                    <a:pt x="3936" y="974"/>
                  </a:cubicBezTo>
                  <a:cubicBezTo>
                    <a:pt x="3944" y="974"/>
                    <a:pt x="3948" y="969"/>
                    <a:pt x="3945" y="964"/>
                  </a:cubicBezTo>
                  <a:cubicBezTo>
                    <a:pt x="3943" y="958"/>
                    <a:pt x="3934" y="954"/>
                    <a:pt x="3926" y="954"/>
                  </a:cubicBezTo>
                  <a:cubicBezTo>
                    <a:pt x="3926" y="954"/>
                    <a:pt x="3926" y="954"/>
                    <a:pt x="3926" y="954"/>
                  </a:cubicBezTo>
                  <a:moveTo>
                    <a:pt x="3967" y="953"/>
                  </a:moveTo>
                  <a:cubicBezTo>
                    <a:pt x="3959" y="953"/>
                    <a:pt x="3954" y="958"/>
                    <a:pt x="3957" y="964"/>
                  </a:cubicBezTo>
                  <a:cubicBezTo>
                    <a:pt x="3960" y="969"/>
                    <a:pt x="3969" y="974"/>
                    <a:pt x="3977" y="974"/>
                  </a:cubicBezTo>
                  <a:cubicBezTo>
                    <a:pt x="3985" y="974"/>
                    <a:pt x="3989" y="969"/>
                    <a:pt x="3986" y="964"/>
                  </a:cubicBezTo>
                  <a:cubicBezTo>
                    <a:pt x="3984" y="958"/>
                    <a:pt x="3975" y="953"/>
                    <a:pt x="3967" y="953"/>
                  </a:cubicBezTo>
                  <a:cubicBezTo>
                    <a:pt x="3967" y="953"/>
                    <a:pt x="3967" y="953"/>
                    <a:pt x="3967" y="953"/>
                  </a:cubicBezTo>
                  <a:moveTo>
                    <a:pt x="4008" y="953"/>
                  </a:moveTo>
                  <a:cubicBezTo>
                    <a:pt x="4000" y="953"/>
                    <a:pt x="3996" y="958"/>
                    <a:pt x="3999" y="964"/>
                  </a:cubicBezTo>
                  <a:cubicBezTo>
                    <a:pt x="4002" y="969"/>
                    <a:pt x="4010" y="974"/>
                    <a:pt x="4019" y="974"/>
                  </a:cubicBezTo>
                  <a:cubicBezTo>
                    <a:pt x="4027" y="974"/>
                    <a:pt x="4031" y="969"/>
                    <a:pt x="4028" y="963"/>
                  </a:cubicBezTo>
                  <a:cubicBezTo>
                    <a:pt x="4025" y="958"/>
                    <a:pt x="4016" y="953"/>
                    <a:pt x="4008" y="953"/>
                  </a:cubicBezTo>
                  <a:cubicBezTo>
                    <a:pt x="4008" y="953"/>
                    <a:pt x="4008" y="953"/>
                    <a:pt x="4008" y="953"/>
                  </a:cubicBezTo>
                  <a:moveTo>
                    <a:pt x="4050" y="953"/>
                  </a:moveTo>
                  <a:cubicBezTo>
                    <a:pt x="4042" y="953"/>
                    <a:pt x="4038" y="958"/>
                    <a:pt x="4040" y="963"/>
                  </a:cubicBezTo>
                  <a:cubicBezTo>
                    <a:pt x="4043" y="969"/>
                    <a:pt x="4052" y="974"/>
                    <a:pt x="4060" y="974"/>
                  </a:cubicBezTo>
                  <a:cubicBezTo>
                    <a:pt x="4069" y="974"/>
                    <a:pt x="4073" y="969"/>
                    <a:pt x="4070" y="963"/>
                  </a:cubicBezTo>
                  <a:cubicBezTo>
                    <a:pt x="4067" y="958"/>
                    <a:pt x="4058" y="953"/>
                    <a:pt x="4050" y="953"/>
                  </a:cubicBezTo>
                  <a:cubicBezTo>
                    <a:pt x="4050" y="953"/>
                    <a:pt x="4050" y="953"/>
                    <a:pt x="4050" y="953"/>
                  </a:cubicBezTo>
                  <a:moveTo>
                    <a:pt x="4341" y="951"/>
                  </a:moveTo>
                  <a:cubicBezTo>
                    <a:pt x="4332" y="951"/>
                    <a:pt x="4329" y="956"/>
                    <a:pt x="4332" y="961"/>
                  </a:cubicBezTo>
                  <a:cubicBezTo>
                    <a:pt x="4336" y="967"/>
                    <a:pt x="4345" y="972"/>
                    <a:pt x="4353" y="971"/>
                  </a:cubicBezTo>
                  <a:cubicBezTo>
                    <a:pt x="4361" y="971"/>
                    <a:pt x="4365" y="967"/>
                    <a:pt x="4361" y="961"/>
                  </a:cubicBezTo>
                  <a:cubicBezTo>
                    <a:pt x="4358" y="955"/>
                    <a:pt x="4349" y="951"/>
                    <a:pt x="4341" y="951"/>
                  </a:cubicBezTo>
                  <a:cubicBezTo>
                    <a:pt x="4341" y="951"/>
                    <a:pt x="4341" y="951"/>
                    <a:pt x="4341" y="951"/>
                  </a:cubicBezTo>
                  <a:moveTo>
                    <a:pt x="238" y="940"/>
                  </a:moveTo>
                  <a:cubicBezTo>
                    <a:pt x="230" y="940"/>
                    <a:pt x="220" y="945"/>
                    <a:pt x="216" y="950"/>
                  </a:cubicBezTo>
                  <a:cubicBezTo>
                    <a:pt x="211" y="956"/>
                    <a:pt x="214" y="960"/>
                    <a:pt x="222" y="960"/>
                  </a:cubicBezTo>
                  <a:cubicBezTo>
                    <a:pt x="230" y="960"/>
                    <a:pt x="240" y="956"/>
                    <a:pt x="245" y="950"/>
                  </a:cubicBezTo>
                  <a:cubicBezTo>
                    <a:pt x="249" y="944"/>
                    <a:pt x="246" y="940"/>
                    <a:pt x="238" y="940"/>
                  </a:cubicBezTo>
                  <a:cubicBezTo>
                    <a:pt x="238" y="940"/>
                    <a:pt x="238" y="940"/>
                    <a:pt x="238" y="940"/>
                  </a:cubicBezTo>
                  <a:moveTo>
                    <a:pt x="279" y="940"/>
                  </a:moveTo>
                  <a:cubicBezTo>
                    <a:pt x="271" y="940"/>
                    <a:pt x="261" y="944"/>
                    <a:pt x="257" y="950"/>
                  </a:cubicBezTo>
                  <a:cubicBezTo>
                    <a:pt x="253" y="956"/>
                    <a:pt x="256" y="960"/>
                    <a:pt x="264" y="960"/>
                  </a:cubicBezTo>
                  <a:cubicBezTo>
                    <a:pt x="272" y="960"/>
                    <a:pt x="282" y="955"/>
                    <a:pt x="286" y="950"/>
                  </a:cubicBezTo>
                  <a:cubicBezTo>
                    <a:pt x="290" y="944"/>
                    <a:pt x="287" y="940"/>
                    <a:pt x="279" y="940"/>
                  </a:cubicBezTo>
                  <a:cubicBezTo>
                    <a:pt x="279" y="940"/>
                    <a:pt x="279" y="940"/>
                    <a:pt x="279" y="940"/>
                  </a:cubicBezTo>
                  <a:moveTo>
                    <a:pt x="321" y="940"/>
                  </a:moveTo>
                  <a:cubicBezTo>
                    <a:pt x="313" y="940"/>
                    <a:pt x="303" y="944"/>
                    <a:pt x="299" y="950"/>
                  </a:cubicBezTo>
                  <a:cubicBezTo>
                    <a:pt x="295" y="955"/>
                    <a:pt x="298" y="960"/>
                    <a:pt x="306" y="960"/>
                  </a:cubicBezTo>
                  <a:cubicBezTo>
                    <a:pt x="314" y="960"/>
                    <a:pt x="324" y="955"/>
                    <a:pt x="328" y="950"/>
                  </a:cubicBezTo>
                  <a:cubicBezTo>
                    <a:pt x="332" y="944"/>
                    <a:pt x="329" y="940"/>
                    <a:pt x="321" y="940"/>
                  </a:cubicBezTo>
                  <a:cubicBezTo>
                    <a:pt x="321" y="940"/>
                    <a:pt x="321" y="940"/>
                    <a:pt x="321" y="940"/>
                  </a:cubicBezTo>
                  <a:moveTo>
                    <a:pt x="362" y="939"/>
                  </a:moveTo>
                  <a:cubicBezTo>
                    <a:pt x="354" y="939"/>
                    <a:pt x="344" y="944"/>
                    <a:pt x="340" y="950"/>
                  </a:cubicBezTo>
                  <a:cubicBezTo>
                    <a:pt x="336" y="955"/>
                    <a:pt x="339" y="960"/>
                    <a:pt x="347" y="960"/>
                  </a:cubicBezTo>
                  <a:cubicBezTo>
                    <a:pt x="356" y="960"/>
                    <a:pt x="365" y="955"/>
                    <a:pt x="369" y="950"/>
                  </a:cubicBezTo>
                  <a:cubicBezTo>
                    <a:pt x="373" y="944"/>
                    <a:pt x="370" y="939"/>
                    <a:pt x="362" y="939"/>
                  </a:cubicBezTo>
                  <a:cubicBezTo>
                    <a:pt x="362" y="939"/>
                    <a:pt x="362" y="939"/>
                    <a:pt x="362" y="939"/>
                  </a:cubicBezTo>
                  <a:moveTo>
                    <a:pt x="1685" y="933"/>
                  </a:moveTo>
                  <a:cubicBezTo>
                    <a:pt x="1677" y="933"/>
                    <a:pt x="1670" y="938"/>
                    <a:pt x="1668" y="943"/>
                  </a:cubicBezTo>
                  <a:cubicBezTo>
                    <a:pt x="1667" y="949"/>
                    <a:pt x="1672" y="953"/>
                    <a:pt x="1680" y="953"/>
                  </a:cubicBezTo>
                  <a:cubicBezTo>
                    <a:pt x="1688" y="953"/>
                    <a:pt x="1696" y="949"/>
                    <a:pt x="1697" y="943"/>
                  </a:cubicBezTo>
                  <a:cubicBezTo>
                    <a:pt x="1699" y="937"/>
                    <a:pt x="1693" y="933"/>
                    <a:pt x="1685" y="933"/>
                  </a:cubicBezTo>
                  <a:cubicBezTo>
                    <a:pt x="1685" y="933"/>
                    <a:pt x="1685" y="933"/>
                    <a:pt x="1685" y="933"/>
                  </a:cubicBezTo>
                  <a:moveTo>
                    <a:pt x="1724" y="933"/>
                  </a:moveTo>
                  <a:cubicBezTo>
                    <a:pt x="1716" y="933"/>
                    <a:pt x="1709" y="937"/>
                    <a:pt x="1707" y="943"/>
                  </a:cubicBezTo>
                  <a:cubicBezTo>
                    <a:pt x="1706" y="949"/>
                    <a:pt x="1711" y="953"/>
                    <a:pt x="1719" y="953"/>
                  </a:cubicBezTo>
                  <a:cubicBezTo>
                    <a:pt x="1727" y="953"/>
                    <a:pt x="1735" y="949"/>
                    <a:pt x="1736" y="943"/>
                  </a:cubicBezTo>
                  <a:cubicBezTo>
                    <a:pt x="1737" y="937"/>
                    <a:pt x="1732" y="933"/>
                    <a:pt x="1724" y="933"/>
                  </a:cubicBezTo>
                  <a:cubicBezTo>
                    <a:pt x="1724" y="933"/>
                    <a:pt x="1724" y="933"/>
                    <a:pt x="1724" y="933"/>
                  </a:cubicBezTo>
                  <a:moveTo>
                    <a:pt x="1765" y="933"/>
                  </a:moveTo>
                  <a:cubicBezTo>
                    <a:pt x="1757" y="933"/>
                    <a:pt x="1750" y="937"/>
                    <a:pt x="1748" y="943"/>
                  </a:cubicBezTo>
                  <a:cubicBezTo>
                    <a:pt x="1747" y="949"/>
                    <a:pt x="1752" y="953"/>
                    <a:pt x="1760" y="953"/>
                  </a:cubicBezTo>
                  <a:cubicBezTo>
                    <a:pt x="1768" y="953"/>
                    <a:pt x="1776" y="948"/>
                    <a:pt x="1777" y="943"/>
                  </a:cubicBezTo>
                  <a:cubicBezTo>
                    <a:pt x="1779" y="937"/>
                    <a:pt x="1773" y="933"/>
                    <a:pt x="1765" y="933"/>
                  </a:cubicBezTo>
                  <a:cubicBezTo>
                    <a:pt x="1765" y="933"/>
                    <a:pt x="1765" y="933"/>
                    <a:pt x="1765" y="933"/>
                  </a:cubicBezTo>
                  <a:moveTo>
                    <a:pt x="1807" y="932"/>
                  </a:moveTo>
                  <a:cubicBezTo>
                    <a:pt x="1799" y="933"/>
                    <a:pt x="1791" y="937"/>
                    <a:pt x="1790" y="943"/>
                  </a:cubicBezTo>
                  <a:cubicBezTo>
                    <a:pt x="1788" y="948"/>
                    <a:pt x="1794" y="953"/>
                    <a:pt x="1802" y="953"/>
                  </a:cubicBezTo>
                  <a:cubicBezTo>
                    <a:pt x="1810" y="953"/>
                    <a:pt x="1817" y="948"/>
                    <a:pt x="1819" y="943"/>
                  </a:cubicBezTo>
                  <a:cubicBezTo>
                    <a:pt x="1820" y="937"/>
                    <a:pt x="1815" y="932"/>
                    <a:pt x="1807" y="932"/>
                  </a:cubicBezTo>
                  <a:cubicBezTo>
                    <a:pt x="1807" y="932"/>
                    <a:pt x="1807" y="932"/>
                    <a:pt x="1807" y="932"/>
                  </a:cubicBezTo>
                  <a:moveTo>
                    <a:pt x="1848" y="932"/>
                  </a:moveTo>
                  <a:cubicBezTo>
                    <a:pt x="1840" y="932"/>
                    <a:pt x="1833" y="937"/>
                    <a:pt x="1832" y="943"/>
                  </a:cubicBezTo>
                  <a:cubicBezTo>
                    <a:pt x="1830" y="948"/>
                    <a:pt x="1836" y="953"/>
                    <a:pt x="1844" y="953"/>
                  </a:cubicBezTo>
                  <a:cubicBezTo>
                    <a:pt x="1852" y="953"/>
                    <a:pt x="1859" y="948"/>
                    <a:pt x="1861" y="942"/>
                  </a:cubicBezTo>
                  <a:cubicBezTo>
                    <a:pt x="1862" y="937"/>
                    <a:pt x="1856" y="932"/>
                    <a:pt x="1848" y="932"/>
                  </a:cubicBezTo>
                  <a:cubicBezTo>
                    <a:pt x="1848" y="932"/>
                    <a:pt x="1848" y="932"/>
                    <a:pt x="1848" y="932"/>
                  </a:cubicBezTo>
                  <a:moveTo>
                    <a:pt x="1889" y="932"/>
                  </a:moveTo>
                  <a:cubicBezTo>
                    <a:pt x="1881" y="932"/>
                    <a:pt x="1874" y="937"/>
                    <a:pt x="1873" y="942"/>
                  </a:cubicBezTo>
                  <a:cubicBezTo>
                    <a:pt x="1872" y="948"/>
                    <a:pt x="1877" y="953"/>
                    <a:pt x="1885" y="953"/>
                  </a:cubicBezTo>
                  <a:cubicBezTo>
                    <a:pt x="1893" y="953"/>
                    <a:pt x="1901" y="948"/>
                    <a:pt x="1902" y="942"/>
                  </a:cubicBezTo>
                  <a:cubicBezTo>
                    <a:pt x="1903" y="937"/>
                    <a:pt x="1897" y="932"/>
                    <a:pt x="1889" y="932"/>
                  </a:cubicBezTo>
                  <a:cubicBezTo>
                    <a:pt x="1889" y="932"/>
                    <a:pt x="1889" y="932"/>
                    <a:pt x="1889" y="932"/>
                  </a:cubicBezTo>
                  <a:moveTo>
                    <a:pt x="1931" y="932"/>
                  </a:moveTo>
                  <a:cubicBezTo>
                    <a:pt x="1923" y="932"/>
                    <a:pt x="1915" y="937"/>
                    <a:pt x="1914" y="942"/>
                  </a:cubicBezTo>
                  <a:cubicBezTo>
                    <a:pt x="1913" y="948"/>
                    <a:pt x="1919" y="952"/>
                    <a:pt x="1927" y="952"/>
                  </a:cubicBezTo>
                  <a:cubicBezTo>
                    <a:pt x="1935" y="952"/>
                    <a:pt x="1942" y="948"/>
                    <a:pt x="1943" y="942"/>
                  </a:cubicBezTo>
                  <a:cubicBezTo>
                    <a:pt x="1944" y="937"/>
                    <a:pt x="1939" y="932"/>
                    <a:pt x="1931" y="932"/>
                  </a:cubicBezTo>
                  <a:cubicBezTo>
                    <a:pt x="1931" y="932"/>
                    <a:pt x="1931" y="932"/>
                    <a:pt x="1931" y="932"/>
                  </a:cubicBezTo>
                  <a:moveTo>
                    <a:pt x="1972" y="932"/>
                  </a:moveTo>
                  <a:cubicBezTo>
                    <a:pt x="1964" y="932"/>
                    <a:pt x="1956" y="936"/>
                    <a:pt x="1955" y="942"/>
                  </a:cubicBezTo>
                  <a:cubicBezTo>
                    <a:pt x="1954" y="948"/>
                    <a:pt x="1960" y="952"/>
                    <a:pt x="1968" y="952"/>
                  </a:cubicBezTo>
                  <a:cubicBezTo>
                    <a:pt x="1976" y="952"/>
                    <a:pt x="1983" y="948"/>
                    <a:pt x="1984" y="942"/>
                  </a:cubicBezTo>
                  <a:cubicBezTo>
                    <a:pt x="1985" y="936"/>
                    <a:pt x="1980" y="932"/>
                    <a:pt x="1972" y="932"/>
                  </a:cubicBezTo>
                  <a:cubicBezTo>
                    <a:pt x="1972" y="932"/>
                    <a:pt x="1972" y="932"/>
                    <a:pt x="1972" y="932"/>
                  </a:cubicBezTo>
                  <a:moveTo>
                    <a:pt x="2013" y="932"/>
                  </a:moveTo>
                  <a:cubicBezTo>
                    <a:pt x="2005" y="932"/>
                    <a:pt x="1998" y="936"/>
                    <a:pt x="1997" y="942"/>
                  </a:cubicBezTo>
                  <a:cubicBezTo>
                    <a:pt x="1996" y="948"/>
                    <a:pt x="2002" y="952"/>
                    <a:pt x="2010" y="952"/>
                  </a:cubicBezTo>
                  <a:cubicBezTo>
                    <a:pt x="2018" y="952"/>
                    <a:pt x="2025" y="947"/>
                    <a:pt x="2026" y="942"/>
                  </a:cubicBezTo>
                  <a:cubicBezTo>
                    <a:pt x="2027" y="936"/>
                    <a:pt x="2021" y="932"/>
                    <a:pt x="2013" y="932"/>
                  </a:cubicBezTo>
                  <a:cubicBezTo>
                    <a:pt x="2013" y="932"/>
                    <a:pt x="2013" y="932"/>
                    <a:pt x="2013" y="932"/>
                  </a:cubicBezTo>
                  <a:moveTo>
                    <a:pt x="2055" y="931"/>
                  </a:moveTo>
                  <a:cubicBezTo>
                    <a:pt x="2047" y="932"/>
                    <a:pt x="2040" y="936"/>
                    <a:pt x="2040" y="942"/>
                  </a:cubicBezTo>
                  <a:cubicBezTo>
                    <a:pt x="2039" y="947"/>
                    <a:pt x="2045" y="952"/>
                    <a:pt x="2053" y="952"/>
                  </a:cubicBezTo>
                  <a:cubicBezTo>
                    <a:pt x="2061" y="952"/>
                    <a:pt x="2068" y="947"/>
                    <a:pt x="2069" y="942"/>
                  </a:cubicBezTo>
                  <a:cubicBezTo>
                    <a:pt x="2069" y="936"/>
                    <a:pt x="2063" y="931"/>
                    <a:pt x="2056" y="931"/>
                  </a:cubicBezTo>
                  <a:cubicBezTo>
                    <a:pt x="2056" y="931"/>
                    <a:pt x="2055" y="931"/>
                    <a:pt x="2055" y="931"/>
                  </a:cubicBezTo>
                  <a:moveTo>
                    <a:pt x="2096" y="931"/>
                  </a:moveTo>
                  <a:cubicBezTo>
                    <a:pt x="2088" y="931"/>
                    <a:pt x="2081" y="936"/>
                    <a:pt x="2081" y="942"/>
                  </a:cubicBezTo>
                  <a:cubicBezTo>
                    <a:pt x="2080" y="947"/>
                    <a:pt x="2086" y="952"/>
                    <a:pt x="2094" y="952"/>
                  </a:cubicBezTo>
                  <a:cubicBezTo>
                    <a:pt x="2102" y="952"/>
                    <a:pt x="2109" y="947"/>
                    <a:pt x="2110" y="941"/>
                  </a:cubicBezTo>
                  <a:cubicBezTo>
                    <a:pt x="2110" y="936"/>
                    <a:pt x="2104" y="931"/>
                    <a:pt x="2097" y="931"/>
                  </a:cubicBezTo>
                  <a:cubicBezTo>
                    <a:pt x="2097" y="931"/>
                    <a:pt x="2096" y="931"/>
                    <a:pt x="2096" y="931"/>
                  </a:cubicBezTo>
                  <a:moveTo>
                    <a:pt x="2138" y="931"/>
                  </a:moveTo>
                  <a:cubicBezTo>
                    <a:pt x="2130" y="931"/>
                    <a:pt x="2123" y="936"/>
                    <a:pt x="2122" y="941"/>
                  </a:cubicBezTo>
                  <a:cubicBezTo>
                    <a:pt x="2121" y="947"/>
                    <a:pt x="2127" y="952"/>
                    <a:pt x="2135" y="952"/>
                  </a:cubicBezTo>
                  <a:cubicBezTo>
                    <a:pt x="2144" y="952"/>
                    <a:pt x="2151" y="947"/>
                    <a:pt x="2151" y="941"/>
                  </a:cubicBezTo>
                  <a:cubicBezTo>
                    <a:pt x="2152" y="936"/>
                    <a:pt x="2146" y="931"/>
                    <a:pt x="2138" y="931"/>
                  </a:cubicBezTo>
                  <a:cubicBezTo>
                    <a:pt x="2138" y="931"/>
                    <a:pt x="2138" y="931"/>
                    <a:pt x="2138" y="931"/>
                  </a:cubicBezTo>
                  <a:moveTo>
                    <a:pt x="2180" y="931"/>
                  </a:moveTo>
                  <a:cubicBezTo>
                    <a:pt x="2172" y="931"/>
                    <a:pt x="2165" y="936"/>
                    <a:pt x="2164" y="941"/>
                  </a:cubicBezTo>
                  <a:cubicBezTo>
                    <a:pt x="2163" y="947"/>
                    <a:pt x="2169" y="951"/>
                    <a:pt x="2177" y="951"/>
                  </a:cubicBezTo>
                  <a:cubicBezTo>
                    <a:pt x="2186" y="951"/>
                    <a:pt x="2192" y="947"/>
                    <a:pt x="2193" y="941"/>
                  </a:cubicBezTo>
                  <a:cubicBezTo>
                    <a:pt x="2194" y="936"/>
                    <a:pt x="2188" y="931"/>
                    <a:pt x="2180" y="931"/>
                  </a:cubicBezTo>
                  <a:cubicBezTo>
                    <a:pt x="2180" y="931"/>
                    <a:pt x="2180" y="931"/>
                    <a:pt x="2180" y="931"/>
                  </a:cubicBezTo>
                  <a:moveTo>
                    <a:pt x="2221" y="931"/>
                  </a:moveTo>
                  <a:cubicBezTo>
                    <a:pt x="2213" y="931"/>
                    <a:pt x="2206" y="935"/>
                    <a:pt x="2205" y="941"/>
                  </a:cubicBezTo>
                  <a:cubicBezTo>
                    <a:pt x="2205" y="947"/>
                    <a:pt x="2211" y="951"/>
                    <a:pt x="2219" y="951"/>
                  </a:cubicBezTo>
                  <a:cubicBezTo>
                    <a:pt x="2227" y="951"/>
                    <a:pt x="2234" y="947"/>
                    <a:pt x="2234" y="941"/>
                  </a:cubicBezTo>
                  <a:cubicBezTo>
                    <a:pt x="2235" y="935"/>
                    <a:pt x="2229" y="931"/>
                    <a:pt x="2221" y="931"/>
                  </a:cubicBezTo>
                  <a:cubicBezTo>
                    <a:pt x="2221" y="931"/>
                    <a:pt x="2221" y="931"/>
                    <a:pt x="2221" y="931"/>
                  </a:cubicBezTo>
                  <a:moveTo>
                    <a:pt x="2262" y="931"/>
                  </a:moveTo>
                  <a:cubicBezTo>
                    <a:pt x="2254" y="931"/>
                    <a:pt x="2247" y="935"/>
                    <a:pt x="2247" y="941"/>
                  </a:cubicBezTo>
                  <a:cubicBezTo>
                    <a:pt x="2246" y="947"/>
                    <a:pt x="2252" y="951"/>
                    <a:pt x="2260" y="951"/>
                  </a:cubicBezTo>
                  <a:cubicBezTo>
                    <a:pt x="2268" y="951"/>
                    <a:pt x="2275" y="946"/>
                    <a:pt x="2275" y="941"/>
                  </a:cubicBezTo>
                  <a:cubicBezTo>
                    <a:pt x="2276" y="935"/>
                    <a:pt x="2270" y="931"/>
                    <a:pt x="2262" y="931"/>
                  </a:cubicBezTo>
                  <a:cubicBezTo>
                    <a:pt x="2262" y="931"/>
                    <a:pt x="2262" y="931"/>
                    <a:pt x="2262" y="931"/>
                  </a:cubicBezTo>
                  <a:moveTo>
                    <a:pt x="2303" y="931"/>
                  </a:moveTo>
                  <a:cubicBezTo>
                    <a:pt x="2295" y="931"/>
                    <a:pt x="2288" y="935"/>
                    <a:pt x="2288" y="941"/>
                  </a:cubicBezTo>
                  <a:cubicBezTo>
                    <a:pt x="2287" y="946"/>
                    <a:pt x="2294" y="951"/>
                    <a:pt x="2302" y="951"/>
                  </a:cubicBezTo>
                  <a:cubicBezTo>
                    <a:pt x="2310" y="951"/>
                    <a:pt x="2316" y="946"/>
                    <a:pt x="2317" y="941"/>
                  </a:cubicBezTo>
                  <a:cubicBezTo>
                    <a:pt x="2317" y="935"/>
                    <a:pt x="2311" y="931"/>
                    <a:pt x="2303" y="931"/>
                  </a:cubicBezTo>
                  <a:cubicBezTo>
                    <a:pt x="2303" y="931"/>
                    <a:pt x="2303" y="931"/>
                    <a:pt x="2303" y="931"/>
                  </a:cubicBezTo>
                  <a:moveTo>
                    <a:pt x="2344" y="930"/>
                  </a:moveTo>
                  <a:cubicBezTo>
                    <a:pt x="2336" y="930"/>
                    <a:pt x="2329" y="935"/>
                    <a:pt x="2329" y="941"/>
                  </a:cubicBezTo>
                  <a:cubicBezTo>
                    <a:pt x="2329" y="946"/>
                    <a:pt x="2335" y="951"/>
                    <a:pt x="2343" y="951"/>
                  </a:cubicBezTo>
                  <a:cubicBezTo>
                    <a:pt x="2351" y="951"/>
                    <a:pt x="2358" y="946"/>
                    <a:pt x="2358" y="940"/>
                  </a:cubicBezTo>
                  <a:cubicBezTo>
                    <a:pt x="2358" y="935"/>
                    <a:pt x="2352" y="930"/>
                    <a:pt x="2344" y="930"/>
                  </a:cubicBezTo>
                  <a:cubicBezTo>
                    <a:pt x="2344" y="930"/>
                    <a:pt x="2344" y="930"/>
                    <a:pt x="2344" y="930"/>
                  </a:cubicBezTo>
                  <a:moveTo>
                    <a:pt x="2386" y="930"/>
                  </a:moveTo>
                  <a:cubicBezTo>
                    <a:pt x="2378" y="930"/>
                    <a:pt x="2371" y="935"/>
                    <a:pt x="2371" y="940"/>
                  </a:cubicBezTo>
                  <a:cubicBezTo>
                    <a:pt x="2371" y="946"/>
                    <a:pt x="2377" y="951"/>
                    <a:pt x="2385" y="951"/>
                  </a:cubicBezTo>
                  <a:cubicBezTo>
                    <a:pt x="2393" y="951"/>
                    <a:pt x="2400" y="946"/>
                    <a:pt x="2400" y="940"/>
                  </a:cubicBezTo>
                  <a:cubicBezTo>
                    <a:pt x="2400" y="935"/>
                    <a:pt x="2394" y="930"/>
                    <a:pt x="2386" y="930"/>
                  </a:cubicBezTo>
                  <a:cubicBezTo>
                    <a:pt x="2386" y="930"/>
                    <a:pt x="2386" y="930"/>
                    <a:pt x="2386" y="930"/>
                  </a:cubicBezTo>
                  <a:moveTo>
                    <a:pt x="2427" y="930"/>
                  </a:moveTo>
                  <a:cubicBezTo>
                    <a:pt x="2419" y="930"/>
                    <a:pt x="2412" y="935"/>
                    <a:pt x="2412" y="940"/>
                  </a:cubicBezTo>
                  <a:cubicBezTo>
                    <a:pt x="2412" y="946"/>
                    <a:pt x="2418" y="950"/>
                    <a:pt x="2426" y="950"/>
                  </a:cubicBezTo>
                  <a:cubicBezTo>
                    <a:pt x="2434" y="950"/>
                    <a:pt x="2441" y="946"/>
                    <a:pt x="2441" y="940"/>
                  </a:cubicBezTo>
                  <a:cubicBezTo>
                    <a:pt x="2441" y="935"/>
                    <a:pt x="2435" y="930"/>
                    <a:pt x="2427" y="930"/>
                  </a:cubicBezTo>
                  <a:cubicBezTo>
                    <a:pt x="2427" y="930"/>
                    <a:pt x="2427" y="930"/>
                    <a:pt x="2427" y="930"/>
                  </a:cubicBezTo>
                  <a:moveTo>
                    <a:pt x="2468" y="930"/>
                  </a:moveTo>
                  <a:cubicBezTo>
                    <a:pt x="2460" y="930"/>
                    <a:pt x="2454" y="934"/>
                    <a:pt x="2453" y="940"/>
                  </a:cubicBezTo>
                  <a:cubicBezTo>
                    <a:pt x="2453" y="946"/>
                    <a:pt x="2460" y="950"/>
                    <a:pt x="2468" y="950"/>
                  </a:cubicBezTo>
                  <a:cubicBezTo>
                    <a:pt x="2476" y="950"/>
                    <a:pt x="2482" y="946"/>
                    <a:pt x="2482" y="940"/>
                  </a:cubicBezTo>
                  <a:cubicBezTo>
                    <a:pt x="2482" y="934"/>
                    <a:pt x="2476" y="930"/>
                    <a:pt x="2468" y="930"/>
                  </a:cubicBezTo>
                  <a:cubicBezTo>
                    <a:pt x="2468" y="930"/>
                    <a:pt x="2468" y="930"/>
                    <a:pt x="2468" y="930"/>
                  </a:cubicBezTo>
                  <a:moveTo>
                    <a:pt x="2509" y="930"/>
                  </a:moveTo>
                  <a:cubicBezTo>
                    <a:pt x="2501" y="930"/>
                    <a:pt x="2495" y="934"/>
                    <a:pt x="2495" y="940"/>
                  </a:cubicBezTo>
                  <a:cubicBezTo>
                    <a:pt x="2495" y="946"/>
                    <a:pt x="2501" y="950"/>
                    <a:pt x="2509" y="950"/>
                  </a:cubicBezTo>
                  <a:cubicBezTo>
                    <a:pt x="2517" y="950"/>
                    <a:pt x="2524" y="945"/>
                    <a:pt x="2524" y="940"/>
                  </a:cubicBezTo>
                  <a:cubicBezTo>
                    <a:pt x="2523" y="934"/>
                    <a:pt x="2517" y="930"/>
                    <a:pt x="2509" y="930"/>
                  </a:cubicBezTo>
                  <a:cubicBezTo>
                    <a:pt x="2509" y="930"/>
                    <a:pt x="2509" y="930"/>
                    <a:pt x="2509" y="930"/>
                  </a:cubicBezTo>
                  <a:moveTo>
                    <a:pt x="2550" y="930"/>
                  </a:moveTo>
                  <a:cubicBezTo>
                    <a:pt x="2542" y="930"/>
                    <a:pt x="2536" y="934"/>
                    <a:pt x="2536" y="940"/>
                  </a:cubicBezTo>
                  <a:cubicBezTo>
                    <a:pt x="2536" y="945"/>
                    <a:pt x="2543" y="950"/>
                    <a:pt x="2551" y="950"/>
                  </a:cubicBezTo>
                  <a:cubicBezTo>
                    <a:pt x="2559" y="950"/>
                    <a:pt x="2565" y="945"/>
                    <a:pt x="2565" y="940"/>
                  </a:cubicBezTo>
                  <a:cubicBezTo>
                    <a:pt x="2565" y="934"/>
                    <a:pt x="2558" y="930"/>
                    <a:pt x="2550" y="930"/>
                  </a:cubicBezTo>
                  <a:cubicBezTo>
                    <a:pt x="2550" y="930"/>
                    <a:pt x="2550" y="930"/>
                    <a:pt x="2550" y="930"/>
                  </a:cubicBezTo>
                  <a:moveTo>
                    <a:pt x="2592" y="929"/>
                  </a:moveTo>
                  <a:cubicBezTo>
                    <a:pt x="2584" y="929"/>
                    <a:pt x="2578" y="934"/>
                    <a:pt x="2578" y="940"/>
                  </a:cubicBezTo>
                  <a:cubicBezTo>
                    <a:pt x="2578" y="945"/>
                    <a:pt x="2585" y="950"/>
                    <a:pt x="2593" y="950"/>
                  </a:cubicBezTo>
                  <a:cubicBezTo>
                    <a:pt x="2601" y="950"/>
                    <a:pt x="2607" y="945"/>
                    <a:pt x="2607" y="940"/>
                  </a:cubicBezTo>
                  <a:cubicBezTo>
                    <a:pt x="2607" y="934"/>
                    <a:pt x="2600" y="929"/>
                    <a:pt x="2592" y="929"/>
                  </a:cubicBezTo>
                  <a:cubicBezTo>
                    <a:pt x="2592" y="929"/>
                    <a:pt x="2592" y="929"/>
                    <a:pt x="2592" y="929"/>
                  </a:cubicBezTo>
                  <a:moveTo>
                    <a:pt x="2633" y="929"/>
                  </a:moveTo>
                  <a:cubicBezTo>
                    <a:pt x="2625" y="929"/>
                    <a:pt x="2619" y="934"/>
                    <a:pt x="2619" y="939"/>
                  </a:cubicBezTo>
                  <a:cubicBezTo>
                    <a:pt x="2619" y="945"/>
                    <a:pt x="2626" y="950"/>
                    <a:pt x="2634" y="950"/>
                  </a:cubicBezTo>
                  <a:cubicBezTo>
                    <a:pt x="2642" y="950"/>
                    <a:pt x="2648" y="945"/>
                    <a:pt x="2648" y="939"/>
                  </a:cubicBezTo>
                  <a:cubicBezTo>
                    <a:pt x="2648" y="934"/>
                    <a:pt x="2641" y="929"/>
                    <a:pt x="2633" y="929"/>
                  </a:cubicBezTo>
                  <a:cubicBezTo>
                    <a:pt x="2633" y="929"/>
                    <a:pt x="2633" y="929"/>
                    <a:pt x="2633" y="929"/>
                  </a:cubicBezTo>
                  <a:moveTo>
                    <a:pt x="2675" y="929"/>
                  </a:moveTo>
                  <a:cubicBezTo>
                    <a:pt x="2667" y="929"/>
                    <a:pt x="2660" y="934"/>
                    <a:pt x="2661" y="939"/>
                  </a:cubicBezTo>
                  <a:cubicBezTo>
                    <a:pt x="2661" y="945"/>
                    <a:pt x="2668" y="950"/>
                    <a:pt x="2676" y="949"/>
                  </a:cubicBezTo>
                  <a:cubicBezTo>
                    <a:pt x="2684" y="949"/>
                    <a:pt x="2690" y="945"/>
                    <a:pt x="2690" y="939"/>
                  </a:cubicBezTo>
                  <a:cubicBezTo>
                    <a:pt x="2689" y="934"/>
                    <a:pt x="2683" y="929"/>
                    <a:pt x="2675" y="929"/>
                  </a:cubicBezTo>
                  <a:cubicBezTo>
                    <a:pt x="2675" y="929"/>
                    <a:pt x="2675" y="929"/>
                    <a:pt x="2675" y="929"/>
                  </a:cubicBezTo>
                  <a:moveTo>
                    <a:pt x="2714" y="929"/>
                  </a:moveTo>
                  <a:cubicBezTo>
                    <a:pt x="2706" y="929"/>
                    <a:pt x="2700" y="933"/>
                    <a:pt x="2701" y="939"/>
                  </a:cubicBezTo>
                  <a:cubicBezTo>
                    <a:pt x="2701" y="945"/>
                    <a:pt x="2708" y="949"/>
                    <a:pt x="2716" y="949"/>
                  </a:cubicBezTo>
                  <a:cubicBezTo>
                    <a:pt x="2724" y="949"/>
                    <a:pt x="2730" y="945"/>
                    <a:pt x="2730" y="939"/>
                  </a:cubicBezTo>
                  <a:cubicBezTo>
                    <a:pt x="2729" y="933"/>
                    <a:pt x="2722" y="929"/>
                    <a:pt x="2714" y="929"/>
                  </a:cubicBezTo>
                  <a:cubicBezTo>
                    <a:pt x="2714" y="929"/>
                    <a:pt x="2714" y="929"/>
                    <a:pt x="2714" y="929"/>
                  </a:cubicBezTo>
                  <a:moveTo>
                    <a:pt x="2756" y="929"/>
                  </a:moveTo>
                  <a:cubicBezTo>
                    <a:pt x="2748" y="929"/>
                    <a:pt x="2742" y="933"/>
                    <a:pt x="2742" y="939"/>
                  </a:cubicBezTo>
                  <a:cubicBezTo>
                    <a:pt x="2743" y="945"/>
                    <a:pt x="2750" y="949"/>
                    <a:pt x="2758" y="949"/>
                  </a:cubicBezTo>
                  <a:cubicBezTo>
                    <a:pt x="2766" y="949"/>
                    <a:pt x="2772" y="945"/>
                    <a:pt x="2771" y="939"/>
                  </a:cubicBezTo>
                  <a:cubicBezTo>
                    <a:pt x="2771" y="933"/>
                    <a:pt x="2764" y="929"/>
                    <a:pt x="2756" y="929"/>
                  </a:cubicBezTo>
                  <a:cubicBezTo>
                    <a:pt x="2756" y="929"/>
                    <a:pt x="2756" y="929"/>
                    <a:pt x="2756" y="929"/>
                  </a:cubicBezTo>
                  <a:moveTo>
                    <a:pt x="2796" y="929"/>
                  </a:moveTo>
                  <a:cubicBezTo>
                    <a:pt x="2788" y="929"/>
                    <a:pt x="2782" y="933"/>
                    <a:pt x="2782" y="939"/>
                  </a:cubicBezTo>
                  <a:cubicBezTo>
                    <a:pt x="2783" y="944"/>
                    <a:pt x="2790" y="949"/>
                    <a:pt x="2798" y="949"/>
                  </a:cubicBezTo>
                  <a:cubicBezTo>
                    <a:pt x="2806" y="949"/>
                    <a:pt x="2812" y="944"/>
                    <a:pt x="2811" y="939"/>
                  </a:cubicBezTo>
                  <a:cubicBezTo>
                    <a:pt x="2811" y="933"/>
                    <a:pt x="2804" y="929"/>
                    <a:pt x="2796" y="929"/>
                  </a:cubicBezTo>
                  <a:cubicBezTo>
                    <a:pt x="2796" y="929"/>
                    <a:pt x="2796" y="929"/>
                    <a:pt x="2796" y="929"/>
                  </a:cubicBezTo>
                  <a:moveTo>
                    <a:pt x="2839" y="928"/>
                  </a:moveTo>
                  <a:cubicBezTo>
                    <a:pt x="2831" y="928"/>
                    <a:pt x="2825" y="933"/>
                    <a:pt x="2826" y="939"/>
                  </a:cubicBezTo>
                  <a:cubicBezTo>
                    <a:pt x="2827" y="944"/>
                    <a:pt x="2834" y="949"/>
                    <a:pt x="2842" y="949"/>
                  </a:cubicBezTo>
                  <a:cubicBezTo>
                    <a:pt x="2850" y="949"/>
                    <a:pt x="2856" y="944"/>
                    <a:pt x="2855" y="939"/>
                  </a:cubicBezTo>
                  <a:cubicBezTo>
                    <a:pt x="2854" y="933"/>
                    <a:pt x="2847" y="928"/>
                    <a:pt x="2839" y="928"/>
                  </a:cubicBezTo>
                  <a:cubicBezTo>
                    <a:pt x="2839" y="928"/>
                    <a:pt x="2839" y="928"/>
                    <a:pt x="2839" y="928"/>
                  </a:cubicBezTo>
                  <a:moveTo>
                    <a:pt x="3374" y="928"/>
                  </a:moveTo>
                  <a:cubicBezTo>
                    <a:pt x="3366" y="928"/>
                    <a:pt x="3361" y="933"/>
                    <a:pt x="3362" y="938"/>
                  </a:cubicBezTo>
                  <a:cubicBezTo>
                    <a:pt x="3364" y="944"/>
                    <a:pt x="3372" y="949"/>
                    <a:pt x="3380" y="949"/>
                  </a:cubicBezTo>
                  <a:cubicBezTo>
                    <a:pt x="3388" y="948"/>
                    <a:pt x="3393" y="944"/>
                    <a:pt x="3391" y="938"/>
                  </a:cubicBezTo>
                  <a:cubicBezTo>
                    <a:pt x="3390" y="933"/>
                    <a:pt x="3382" y="928"/>
                    <a:pt x="3374" y="928"/>
                  </a:cubicBezTo>
                  <a:cubicBezTo>
                    <a:pt x="3374" y="928"/>
                    <a:pt x="3374" y="928"/>
                    <a:pt x="3374" y="928"/>
                  </a:cubicBezTo>
                  <a:moveTo>
                    <a:pt x="3415" y="928"/>
                  </a:moveTo>
                  <a:cubicBezTo>
                    <a:pt x="3407" y="928"/>
                    <a:pt x="3402" y="932"/>
                    <a:pt x="3403" y="938"/>
                  </a:cubicBezTo>
                  <a:cubicBezTo>
                    <a:pt x="3405" y="944"/>
                    <a:pt x="3413" y="948"/>
                    <a:pt x="3421" y="948"/>
                  </a:cubicBezTo>
                  <a:cubicBezTo>
                    <a:pt x="3429" y="948"/>
                    <a:pt x="3434" y="944"/>
                    <a:pt x="3432" y="938"/>
                  </a:cubicBezTo>
                  <a:cubicBezTo>
                    <a:pt x="3431" y="932"/>
                    <a:pt x="3423" y="928"/>
                    <a:pt x="3415" y="928"/>
                  </a:cubicBezTo>
                  <a:cubicBezTo>
                    <a:pt x="3415" y="928"/>
                    <a:pt x="3415" y="928"/>
                    <a:pt x="3415" y="928"/>
                  </a:cubicBezTo>
                  <a:moveTo>
                    <a:pt x="3456" y="928"/>
                  </a:moveTo>
                  <a:cubicBezTo>
                    <a:pt x="3448" y="928"/>
                    <a:pt x="3443" y="932"/>
                    <a:pt x="3445" y="938"/>
                  </a:cubicBezTo>
                  <a:cubicBezTo>
                    <a:pt x="3447" y="944"/>
                    <a:pt x="3455" y="948"/>
                    <a:pt x="3463" y="948"/>
                  </a:cubicBezTo>
                  <a:cubicBezTo>
                    <a:pt x="3471" y="948"/>
                    <a:pt x="3476" y="944"/>
                    <a:pt x="3474" y="938"/>
                  </a:cubicBezTo>
                  <a:cubicBezTo>
                    <a:pt x="3472" y="932"/>
                    <a:pt x="3464" y="928"/>
                    <a:pt x="3456" y="928"/>
                  </a:cubicBezTo>
                  <a:cubicBezTo>
                    <a:pt x="3456" y="928"/>
                    <a:pt x="3456" y="928"/>
                    <a:pt x="3456" y="928"/>
                  </a:cubicBezTo>
                  <a:moveTo>
                    <a:pt x="3828" y="926"/>
                  </a:moveTo>
                  <a:cubicBezTo>
                    <a:pt x="3820" y="926"/>
                    <a:pt x="3815" y="931"/>
                    <a:pt x="3818" y="937"/>
                  </a:cubicBezTo>
                  <a:cubicBezTo>
                    <a:pt x="3820" y="942"/>
                    <a:pt x="3829" y="947"/>
                    <a:pt x="3837" y="947"/>
                  </a:cubicBezTo>
                  <a:cubicBezTo>
                    <a:pt x="3845" y="947"/>
                    <a:pt x="3849" y="942"/>
                    <a:pt x="3847" y="937"/>
                  </a:cubicBezTo>
                  <a:cubicBezTo>
                    <a:pt x="3844" y="931"/>
                    <a:pt x="3836" y="926"/>
                    <a:pt x="3828" y="926"/>
                  </a:cubicBezTo>
                  <a:cubicBezTo>
                    <a:pt x="3828" y="926"/>
                    <a:pt x="3828" y="926"/>
                    <a:pt x="3828" y="926"/>
                  </a:cubicBezTo>
                  <a:moveTo>
                    <a:pt x="3869" y="926"/>
                  </a:moveTo>
                  <a:cubicBezTo>
                    <a:pt x="3861" y="926"/>
                    <a:pt x="3857" y="931"/>
                    <a:pt x="3859" y="937"/>
                  </a:cubicBezTo>
                  <a:cubicBezTo>
                    <a:pt x="3862" y="942"/>
                    <a:pt x="3870" y="947"/>
                    <a:pt x="3878" y="947"/>
                  </a:cubicBezTo>
                  <a:cubicBezTo>
                    <a:pt x="3886" y="947"/>
                    <a:pt x="3891" y="942"/>
                    <a:pt x="3888" y="937"/>
                  </a:cubicBezTo>
                  <a:cubicBezTo>
                    <a:pt x="3885" y="931"/>
                    <a:pt x="3877" y="926"/>
                    <a:pt x="3869" y="926"/>
                  </a:cubicBezTo>
                  <a:cubicBezTo>
                    <a:pt x="3869" y="926"/>
                    <a:pt x="3869" y="926"/>
                    <a:pt x="3869" y="926"/>
                  </a:cubicBezTo>
                  <a:moveTo>
                    <a:pt x="3913" y="926"/>
                  </a:moveTo>
                  <a:cubicBezTo>
                    <a:pt x="3905" y="926"/>
                    <a:pt x="3900" y="931"/>
                    <a:pt x="3903" y="936"/>
                  </a:cubicBezTo>
                  <a:cubicBezTo>
                    <a:pt x="3906" y="942"/>
                    <a:pt x="3914" y="947"/>
                    <a:pt x="3922" y="947"/>
                  </a:cubicBezTo>
                  <a:cubicBezTo>
                    <a:pt x="3930" y="947"/>
                    <a:pt x="3935" y="942"/>
                    <a:pt x="3932" y="936"/>
                  </a:cubicBezTo>
                  <a:cubicBezTo>
                    <a:pt x="3929" y="931"/>
                    <a:pt x="3921" y="926"/>
                    <a:pt x="3913" y="926"/>
                  </a:cubicBezTo>
                  <a:cubicBezTo>
                    <a:pt x="3913" y="926"/>
                    <a:pt x="3913" y="926"/>
                    <a:pt x="3913" y="926"/>
                  </a:cubicBezTo>
                  <a:moveTo>
                    <a:pt x="3953" y="926"/>
                  </a:moveTo>
                  <a:cubicBezTo>
                    <a:pt x="3945" y="926"/>
                    <a:pt x="3941" y="931"/>
                    <a:pt x="3944" y="936"/>
                  </a:cubicBezTo>
                  <a:cubicBezTo>
                    <a:pt x="3947" y="942"/>
                    <a:pt x="3955" y="947"/>
                    <a:pt x="3963" y="947"/>
                  </a:cubicBezTo>
                  <a:cubicBezTo>
                    <a:pt x="3971" y="947"/>
                    <a:pt x="3976" y="942"/>
                    <a:pt x="3973" y="936"/>
                  </a:cubicBezTo>
                  <a:cubicBezTo>
                    <a:pt x="3970" y="931"/>
                    <a:pt x="3961" y="926"/>
                    <a:pt x="3953" y="926"/>
                  </a:cubicBezTo>
                  <a:cubicBezTo>
                    <a:pt x="3953" y="926"/>
                    <a:pt x="3953" y="926"/>
                    <a:pt x="3953" y="926"/>
                  </a:cubicBezTo>
                  <a:moveTo>
                    <a:pt x="3994" y="926"/>
                  </a:moveTo>
                  <a:cubicBezTo>
                    <a:pt x="3986" y="926"/>
                    <a:pt x="3982" y="930"/>
                    <a:pt x="3985" y="936"/>
                  </a:cubicBezTo>
                  <a:cubicBezTo>
                    <a:pt x="3988" y="942"/>
                    <a:pt x="3997" y="946"/>
                    <a:pt x="4005" y="946"/>
                  </a:cubicBezTo>
                  <a:cubicBezTo>
                    <a:pt x="4013" y="946"/>
                    <a:pt x="4017" y="942"/>
                    <a:pt x="4014" y="936"/>
                  </a:cubicBezTo>
                  <a:cubicBezTo>
                    <a:pt x="4011" y="930"/>
                    <a:pt x="4002" y="926"/>
                    <a:pt x="3994" y="926"/>
                  </a:cubicBezTo>
                  <a:cubicBezTo>
                    <a:pt x="3994" y="926"/>
                    <a:pt x="3994" y="926"/>
                    <a:pt x="3994" y="926"/>
                  </a:cubicBezTo>
                  <a:moveTo>
                    <a:pt x="4282" y="925"/>
                  </a:moveTo>
                  <a:cubicBezTo>
                    <a:pt x="4274" y="925"/>
                    <a:pt x="4270" y="930"/>
                    <a:pt x="4273" y="936"/>
                  </a:cubicBezTo>
                  <a:cubicBezTo>
                    <a:pt x="4277" y="941"/>
                    <a:pt x="4286" y="946"/>
                    <a:pt x="4294" y="946"/>
                  </a:cubicBezTo>
                  <a:cubicBezTo>
                    <a:pt x="4302" y="946"/>
                    <a:pt x="4306" y="941"/>
                    <a:pt x="4302" y="936"/>
                  </a:cubicBezTo>
                  <a:cubicBezTo>
                    <a:pt x="4299" y="930"/>
                    <a:pt x="4290" y="925"/>
                    <a:pt x="4282" y="925"/>
                  </a:cubicBezTo>
                  <a:cubicBezTo>
                    <a:pt x="4282" y="925"/>
                    <a:pt x="4282" y="925"/>
                    <a:pt x="4282" y="925"/>
                  </a:cubicBezTo>
                  <a:moveTo>
                    <a:pt x="218" y="911"/>
                  </a:moveTo>
                  <a:cubicBezTo>
                    <a:pt x="210" y="911"/>
                    <a:pt x="200" y="915"/>
                    <a:pt x="196" y="921"/>
                  </a:cubicBezTo>
                  <a:cubicBezTo>
                    <a:pt x="191" y="927"/>
                    <a:pt x="194" y="931"/>
                    <a:pt x="202" y="931"/>
                  </a:cubicBezTo>
                  <a:cubicBezTo>
                    <a:pt x="210" y="931"/>
                    <a:pt x="220" y="927"/>
                    <a:pt x="225" y="921"/>
                  </a:cubicBezTo>
                  <a:cubicBezTo>
                    <a:pt x="229" y="915"/>
                    <a:pt x="226" y="911"/>
                    <a:pt x="218" y="911"/>
                  </a:cubicBezTo>
                  <a:cubicBezTo>
                    <a:pt x="218" y="911"/>
                    <a:pt x="218" y="911"/>
                    <a:pt x="218" y="911"/>
                  </a:cubicBezTo>
                  <a:moveTo>
                    <a:pt x="260" y="911"/>
                  </a:moveTo>
                  <a:cubicBezTo>
                    <a:pt x="252" y="911"/>
                    <a:pt x="242" y="915"/>
                    <a:pt x="238" y="921"/>
                  </a:cubicBezTo>
                  <a:cubicBezTo>
                    <a:pt x="233" y="926"/>
                    <a:pt x="236" y="931"/>
                    <a:pt x="244" y="931"/>
                  </a:cubicBezTo>
                  <a:cubicBezTo>
                    <a:pt x="252" y="931"/>
                    <a:pt x="262" y="926"/>
                    <a:pt x="266" y="921"/>
                  </a:cubicBezTo>
                  <a:cubicBezTo>
                    <a:pt x="271" y="915"/>
                    <a:pt x="268" y="911"/>
                    <a:pt x="260" y="911"/>
                  </a:cubicBezTo>
                  <a:cubicBezTo>
                    <a:pt x="260" y="911"/>
                    <a:pt x="260" y="911"/>
                    <a:pt x="260" y="911"/>
                  </a:cubicBezTo>
                  <a:moveTo>
                    <a:pt x="300" y="911"/>
                  </a:moveTo>
                  <a:cubicBezTo>
                    <a:pt x="292" y="911"/>
                    <a:pt x="283" y="915"/>
                    <a:pt x="278" y="921"/>
                  </a:cubicBezTo>
                  <a:cubicBezTo>
                    <a:pt x="274" y="926"/>
                    <a:pt x="277" y="931"/>
                    <a:pt x="285" y="931"/>
                  </a:cubicBezTo>
                  <a:cubicBezTo>
                    <a:pt x="293" y="931"/>
                    <a:pt x="303" y="926"/>
                    <a:pt x="307" y="921"/>
                  </a:cubicBezTo>
                  <a:cubicBezTo>
                    <a:pt x="311" y="915"/>
                    <a:pt x="308" y="911"/>
                    <a:pt x="300" y="911"/>
                  </a:cubicBezTo>
                  <a:cubicBezTo>
                    <a:pt x="300" y="911"/>
                    <a:pt x="300" y="911"/>
                    <a:pt x="300" y="911"/>
                  </a:cubicBezTo>
                  <a:moveTo>
                    <a:pt x="342" y="910"/>
                  </a:moveTo>
                  <a:cubicBezTo>
                    <a:pt x="334" y="910"/>
                    <a:pt x="324" y="915"/>
                    <a:pt x="320" y="921"/>
                  </a:cubicBezTo>
                  <a:cubicBezTo>
                    <a:pt x="316" y="926"/>
                    <a:pt x="319" y="931"/>
                    <a:pt x="327" y="931"/>
                  </a:cubicBezTo>
                  <a:cubicBezTo>
                    <a:pt x="335" y="931"/>
                    <a:pt x="345" y="926"/>
                    <a:pt x="349" y="920"/>
                  </a:cubicBezTo>
                  <a:cubicBezTo>
                    <a:pt x="353" y="915"/>
                    <a:pt x="350" y="910"/>
                    <a:pt x="342" y="910"/>
                  </a:cubicBezTo>
                  <a:cubicBezTo>
                    <a:pt x="342" y="910"/>
                    <a:pt x="342" y="910"/>
                    <a:pt x="342" y="910"/>
                  </a:cubicBezTo>
                  <a:moveTo>
                    <a:pt x="383" y="910"/>
                  </a:moveTo>
                  <a:cubicBezTo>
                    <a:pt x="375" y="910"/>
                    <a:pt x="365" y="915"/>
                    <a:pt x="361" y="920"/>
                  </a:cubicBezTo>
                  <a:cubicBezTo>
                    <a:pt x="357" y="926"/>
                    <a:pt x="360" y="930"/>
                    <a:pt x="368" y="930"/>
                  </a:cubicBezTo>
                  <a:cubicBezTo>
                    <a:pt x="376" y="930"/>
                    <a:pt x="386" y="926"/>
                    <a:pt x="390" y="920"/>
                  </a:cubicBezTo>
                  <a:cubicBezTo>
                    <a:pt x="394" y="915"/>
                    <a:pt x="391" y="910"/>
                    <a:pt x="383" y="910"/>
                  </a:cubicBezTo>
                  <a:cubicBezTo>
                    <a:pt x="383" y="910"/>
                    <a:pt x="383" y="910"/>
                    <a:pt x="383" y="910"/>
                  </a:cubicBezTo>
                  <a:moveTo>
                    <a:pt x="1646" y="904"/>
                  </a:moveTo>
                  <a:cubicBezTo>
                    <a:pt x="1638" y="904"/>
                    <a:pt x="1631" y="908"/>
                    <a:pt x="1629" y="914"/>
                  </a:cubicBezTo>
                  <a:cubicBezTo>
                    <a:pt x="1627" y="920"/>
                    <a:pt x="1633" y="924"/>
                    <a:pt x="1641" y="924"/>
                  </a:cubicBezTo>
                  <a:cubicBezTo>
                    <a:pt x="1648" y="924"/>
                    <a:pt x="1656" y="919"/>
                    <a:pt x="1658" y="914"/>
                  </a:cubicBezTo>
                  <a:cubicBezTo>
                    <a:pt x="1659" y="908"/>
                    <a:pt x="1654" y="904"/>
                    <a:pt x="1646" y="904"/>
                  </a:cubicBezTo>
                  <a:cubicBezTo>
                    <a:pt x="1646" y="904"/>
                    <a:pt x="1646" y="904"/>
                    <a:pt x="1646" y="904"/>
                  </a:cubicBezTo>
                  <a:moveTo>
                    <a:pt x="1693" y="904"/>
                  </a:moveTo>
                  <a:cubicBezTo>
                    <a:pt x="1685" y="904"/>
                    <a:pt x="1678" y="908"/>
                    <a:pt x="1676" y="914"/>
                  </a:cubicBezTo>
                  <a:cubicBezTo>
                    <a:pt x="1675" y="919"/>
                    <a:pt x="1680" y="924"/>
                    <a:pt x="1688" y="924"/>
                  </a:cubicBezTo>
                  <a:cubicBezTo>
                    <a:pt x="1696" y="924"/>
                    <a:pt x="1703" y="919"/>
                    <a:pt x="1705" y="914"/>
                  </a:cubicBezTo>
                  <a:cubicBezTo>
                    <a:pt x="1706" y="908"/>
                    <a:pt x="1701" y="904"/>
                    <a:pt x="1693" y="904"/>
                  </a:cubicBezTo>
                  <a:cubicBezTo>
                    <a:pt x="1693" y="904"/>
                    <a:pt x="1693" y="904"/>
                    <a:pt x="1693" y="904"/>
                  </a:cubicBezTo>
                  <a:moveTo>
                    <a:pt x="1732" y="903"/>
                  </a:moveTo>
                  <a:cubicBezTo>
                    <a:pt x="1724" y="903"/>
                    <a:pt x="1716" y="908"/>
                    <a:pt x="1715" y="914"/>
                  </a:cubicBezTo>
                  <a:cubicBezTo>
                    <a:pt x="1713" y="919"/>
                    <a:pt x="1718" y="924"/>
                    <a:pt x="1726" y="924"/>
                  </a:cubicBezTo>
                  <a:cubicBezTo>
                    <a:pt x="1734" y="924"/>
                    <a:pt x="1742" y="919"/>
                    <a:pt x="1743" y="913"/>
                  </a:cubicBezTo>
                  <a:cubicBezTo>
                    <a:pt x="1745" y="908"/>
                    <a:pt x="1739" y="903"/>
                    <a:pt x="1732" y="903"/>
                  </a:cubicBezTo>
                  <a:cubicBezTo>
                    <a:pt x="1732" y="903"/>
                    <a:pt x="1732" y="903"/>
                    <a:pt x="1732" y="903"/>
                  </a:cubicBezTo>
                  <a:moveTo>
                    <a:pt x="1772" y="903"/>
                  </a:moveTo>
                  <a:cubicBezTo>
                    <a:pt x="1764" y="903"/>
                    <a:pt x="1757" y="908"/>
                    <a:pt x="1755" y="913"/>
                  </a:cubicBezTo>
                  <a:cubicBezTo>
                    <a:pt x="1754" y="919"/>
                    <a:pt x="1759" y="924"/>
                    <a:pt x="1767" y="924"/>
                  </a:cubicBezTo>
                  <a:cubicBezTo>
                    <a:pt x="1775" y="924"/>
                    <a:pt x="1783" y="919"/>
                    <a:pt x="1784" y="913"/>
                  </a:cubicBezTo>
                  <a:cubicBezTo>
                    <a:pt x="1785" y="908"/>
                    <a:pt x="1780" y="903"/>
                    <a:pt x="1772" y="903"/>
                  </a:cubicBezTo>
                  <a:cubicBezTo>
                    <a:pt x="1772" y="903"/>
                    <a:pt x="1772" y="903"/>
                    <a:pt x="1772" y="903"/>
                  </a:cubicBezTo>
                  <a:moveTo>
                    <a:pt x="1813" y="903"/>
                  </a:moveTo>
                  <a:cubicBezTo>
                    <a:pt x="1805" y="903"/>
                    <a:pt x="1798" y="908"/>
                    <a:pt x="1797" y="913"/>
                  </a:cubicBezTo>
                  <a:cubicBezTo>
                    <a:pt x="1795" y="919"/>
                    <a:pt x="1801" y="923"/>
                    <a:pt x="1809" y="923"/>
                  </a:cubicBezTo>
                  <a:cubicBezTo>
                    <a:pt x="1817" y="923"/>
                    <a:pt x="1824" y="919"/>
                    <a:pt x="1825" y="913"/>
                  </a:cubicBezTo>
                  <a:cubicBezTo>
                    <a:pt x="1826" y="908"/>
                    <a:pt x="1821" y="903"/>
                    <a:pt x="1813" y="903"/>
                  </a:cubicBezTo>
                  <a:cubicBezTo>
                    <a:pt x="1813" y="903"/>
                    <a:pt x="1813" y="903"/>
                    <a:pt x="1813" y="903"/>
                  </a:cubicBezTo>
                  <a:moveTo>
                    <a:pt x="1854" y="903"/>
                  </a:moveTo>
                  <a:cubicBezTo>
                    <a:pt x="1847" y="903"/>
                    <a:pt x="1839" y="907"/>
                    <a:pt x="1838" y="913"/>
                  </a:cubicBezTo>
                  <a:cubicBezTo>
                    <a:pt x="1837" y="919"/>
                    <a:pt x="1842" y="923"/>
                    <a:pt x="1850" y="923"/>
                  </a:cubicBezTo>
                  <a:cubicBezTo>
                    <a:pt x="1858" y="923"/>
                    <a:pt x="1865" y="919"/>
                    <a:pt x="1867" y="913"/>
                  </a:cubicBezTo>
                  <a:cubicBezTo>
                    <a:pt x="1868" y="907"/>
                    <a:pt x="1862" y="903"/>
                    <a:pt x="1855" y="903"/>
                  </a:cubicBezTo>
                  <a:cubicBezTo>
                    <a:pt x="1855" y="903"/>
                    <a:pt x="1854" y="903"/>
                    <a:pt x="1854" y="903"/>
                  </a:cubicBezTo>
                  <a:moveTo>
                    <a:pt x="1895" y="903"/>
                  </a:moveTo>
                  <a:cubicBezTo>
                    <a:pt x="1887" y="903"/>
                    <a:pt x="1880" y="907"/>
                    <a:pt x="1879" y="913"/>
                  </a:cubicBezTo>
                  <a:cubicBezTo>
                    <a:pt x="1878" y="919"/>
                    <a:pt x="1883" y="923"/>
                    <a:pt x="1891" y="923"/>
                  </a:cubicBezTo>
                  <a:cubicBezTo>
                    <a:pt x="1899" y="923"/>
                    <a:pt x="1906" y="918"/>
                    <a:pt x="1907" y="913"/>
                  </a:cubicBezTo>
                  <a:cubicBezTo>
                    <a:pt x="1908" y="907"/>
                    <a:pt x="1903" y="903"/>
                    <a:pt x="1895" y="903"/>
                  </a:cubicBezTo>
                  <a:cubicBezTo>
                    <a:pt x="1895" y="903"/>
                    <a:pt x="1895" y="903"/>
                    <a:pt x="1895" y="903"/>
                  </a:cubicBezTo>
                  <a:moveTo>
                    <a:pt x="1936" y="903"/>
                  </a:moveTo>
                  <a:cubicBezTo>
                    <a:pt x="1928" y="903"/>
                    <a:pt x="1921" y="907"/>
                    <a:pt x="1920" y="913"/>
                  </a:cubicBezTo>
                  <a:cubicBezTo>
                    <a:pt x="1919" y="918"/>
                    <a:pt x="1924" y="923"/>
                    <a:pt x="1932" y="923"/>
                  </a:cubicBezTo>
                  <a:cubicBezTo>
                    <a:pt x="1940" y="923"/>
                    <a:pt x="1947" y="918"/>
                    <a:pt x="1948" y="913"/>
                  </a:cubicBezTo>
                  <a:cubicBezTo>
                    <a:pt x="1949" y="907"/>
                    <a:pt x="1944" y="903"/>
                    <a:pt x="1936" y="903"/>
                  </a:cubicBezTo>
                  <a:cubicBezTo>
                    <a:pt x="1936" y="903"/>
                    <a:pt x="1936" y="903"/>
                    <a:pt x="1936" y="903"/>
                  </a:cubicBezTo>
                  <a:moveTo>
                    <a:pt x="1977" y="902"/>
                  </a:moveTo>
                  <a:cubicBezTo>
                    <a:pt x="1969" y="902"/>
                    <a:pt x="1961" y="907"/>
                    <a:pt x="1960" y="913"/>
                  </a:cubicBezTo>
                  <a:cubicBezTo>
                    <a:pt x="1959" y="918"/>
                    <a:pt x="1965" y="923"/>
                    <a:pt x="1973" y="923"/>
                  </a:cubicBezTo>
                  <a:cubicBezTo>
                    <a:pt x="1981" y="923"/>
                    <a:pt x="1988" y="918"/>
                    <a:pt x="1989" y="912"/>
                  </a:cubicBezTo>
                  <a:cubicBezTo>
                    <a:pt x="1990" y="907"/>
                    <a:pt x="1984" y="902"/>
                    <a:pt x="1977" y="902"/>
                  </a:cubicBezTo>
                  <a:cubicBezTo>
                    <a:pt x="1977" y="902"/>
                    <a:pt x="1977" y="902"/>
                    <a:pt x="1977" y="902"/>
                  </a:cubicBezTo>
                  <a:moveTo>
                    <a:pt x="2017" y="902"/>
                  </a:moveTo>
                  <a:cubicBezTo>
                    <a:pt x="2010" y="902"/>
                    <a:pt x="2002" y="907"/>
                    <a:pt x="2002" y="912"/>
                  </a:cubicBezTo>
                  <a:cubicBezTo>
                    <a:pt x="2001" y="918"/>
                    <a:pt x="2006" y="923"/>
                    <a:pt x="2014" y="923"/>
                  </a:cubicBezTo>
                  <a:cubicBezTo>
                    <a:pt x="2022" y="923"/>
                    <a:pt x="2029" y="918"/>
                    <a:pt x="2030" y="912"/>
                  </a:cubicBezTo>
                  <a:cubicBezTo>
                    <a:pt x="2031" y="907"/>
                    <a:pt x="2025" y="902"/>
                    <a:pt x="2018" y="902"/>
                  </a:cubicBezTo>
                  <a:cubicBezTo>
                    <a:pt x="2018" y="902"/>
                    <a:pt x="2018" y="902"/>
                    <a:pt x="2017" y="902"/>
                  </a:cubicBezTo>
                  <a:moveTo>
                    <a:pt x="2060" y="902"/>
                  </a:moveTo>
                  <a:cubicBezTo>
                    <a:pt x="2052" y="902"/>
                    <a:pt x="2045" y="907"/>
                    <a:pt x="2044" y="912"/>
                  </a:cubicBezTo>
                  <a:cubicBezTo>
                    <a:pt x="2043" y="918"/>
                    <a:pt x="2049" y="922"/>
                    <a:pt x="2057" y="922"/>
                  </a:cubicBezTo>
                  <a:cubicBezTo>
                    <a:pt x="2065" y="922"/>
                    <a:pt x="2072" y="918"/>
                    <a:pt x="2073" y="912"/>
                  </a:cubicBezTo>
                  <a:cubicBezTo>
                    <a:pt x="2073" y="907"/>
                    <a:pt x="2068" y="902"/>
                    <a:pt x="2060" y="902"/>
                  </a:cubicBezTo>
                  <a:cubicBezTo>
                    <a:pt x="2060" y="902"/>
                    <a:pt x="2060" y="902"/>
                    <a:pt x="2060" y="902"/>
                  </a:cubicBezTo>
                  <a:moveTo>
                    <a:pt x="2100" y="902"/>
                  </a:moveTo>
                  <a:cubicBezTo>
                    <a:pt x="2092" y="902"/>
                    <a:pt x="2085" y="906"/>
                    <a:pt x="2085" y="912"/>
                  </a:cubicBezTo>
                  <a:cubicBezTo>
                    <a:pt x="2084" y="918"/>
                    <a:pt x="2090" y="922"/>
                    <a:pt x="2098" y="922"/>
                  </a:cubicBezTo>
                  <a:cubicBezTo>
                    <a:pt x="2106" y="922"/>
                    <a:pt x="2113" y="918"/>
                    <a:pt x="2113" y="912"/>
                  </a:cubicBezTo>
                  <a:cubicBezTo>
                    <a:pt x="2114" y="906"/>
                    <a:pt x="2108" y="902"/>
                    <a:pt x="2100" y="902"/>
                  </a:cubicBezTo>
                  <a:cubicBezTo>
                    <a:pt x="2100" y="902"/>
                    <a:pt x="2100" y="902"/>
                    <a:pt x="2100" y="902"/>
                  </a:cubicBezTo>
                  <a:moveTo>
                    <a:pt x="2141" y="902"/>
                  </a:moveTo>
                  <a:cubicBezTo>
                    <a:pt x="2133" y="902"/>
                    <a:pt x="2126" y="906"/>
                    <a:pt x="2126" y="912"/>
                  </a:cubicBezTo>
                  <a:cubicBezTo>
                    <a:pt x="2125" y="918"/>
                    <a:pt x="2131" y="922"/>
                    <a:pt x="2139" y="922"/>
                  </a:cubicBezTo>
                  <a:cubicBezTo>
                    <a:pt x="2147" y="922"/>
                    <a:pt x="2154" y="917"/>
                    <a:pt x="2154" y="912"/>
                  </a:cubicBezTo>
                  <a:cubicBezTo>
                    <a:pt x="2155" y="906"/>
                    <a:pt x="2149" y="902"/>
                    <a:pt x="2141" y="902"/>
                  </a:cubicBezTo>
                  <a:cubicBezTo>
                    <a:pt x="2141" y="902"/>
                    <a:pt x="2141" y="902"/>
                    <a:pt x="2141" y="902"/>
                  </a:cubicBezTo>
                  <a:moveTo>
                    <a:pt x="2182" y="901"/>
                  </a:moveTo>
                  <a:cubicBezTo>
                    <a:pt x="2175" y="902"/>
                    <a:pt x="2168" y="906"/>
                    <a:pt x="2167" y="912"/>
                  </a:cubicBezTo>
                  <a:cubicBezTo>
                    <a:pt x="2167" y="917"/>
                    <a:pt x="2172" y="922"/>
                    <a:pt x="2180" y="922"/>
                  </a:cubicBezTo>
                  <a:cubicBezTo>
                    <a:pt x="2188" y="922"/>
                    <a:pt x="2195" y="917"/>
                    <a:pt x="2196" y="912"/>
                  </a:cubicBezTo>
                  <a:cubicBezTo>
                    <a:pt x="2196" y="906"/>
                    <a:pt x="2190" y="901"/>
                    <a:pt x="2183" y="901"/>
                  </a:cubicBezTo>
                  <a:cubicBezTo>
                    <a:pt x="2183" y="901"/>
                    <a:pt x="2183" y="901"/>
                    <a:pt x="2182" y="901"/>
                  </a:cubicBezTo>
                  <a:moveTo>
                    <a:pt x="2223" y="901"/>
                  </a:moveTo>
                  <a:cubicBezTo>
                    <a:pt x="2215" y="901"/>
                    <a:pt x="2208" y="906"/>
                    <a:pt x="2208" y="912"/>
                  </a:cubicBezTo>
                  <a:cubicBezTo>
                    <a:pt x="2207" y="917"/>
                    <a:pt x="2213" y="922"/>
                    <a:pt x="2221" y="922"/>
                  </a:cubicBezTo>
                  <a:cubicBezTo>
                    <a:pt x="2229" y="922"/>
                    <a:pt x="2236" y="917"/>
                    <a:pt x="2237" y="911"/>
                  </a:cubicBezTo>
                  <a:cubicBezTo>
                    <a:pt x="2237" y="906"/>
                    <a:pt x="2231" y="901"/>
                    <a:pt x="2223" y="901"/>
                  </a:cubicBezTo>
                  <a:cubicBezTo>
                    <a:pt x="2223" y="901"/>
                    <a:pt x="2223" y="901"/>
                    <a:pt x="2223" y="901"/>
                  </a:cubicBezTo>
                  <a:moveTo>
                    <a:pt x="2836" y="901"/>
                  </a:moveTo>
                  <a:cubicBezTo>
                    <a:pt x="2828" y="901"/>
                    <a:pt x="2822" y="906"/>
                    <a:pt x="2823" y="911"/>
                  </a:cubicBezTo>
                  <a:cubicBezTo>
                    <a:pt x="2824" y="917"/>
                    <a:pt x="2831" y="922"/>
                    <a:pt x="2838" y="922"/>
                  </a:cubicBezTo>
                  <a:cubicBezTo>
                    <a:pt x="2846" y="922"/>
                    <a:pt x="2852" y="917"/>
                    <a:pt x="2852" y="911"/>
                  </a:cubicBezTo>
                  <a:cubicBezTo>
                    <a:pt x="2851" y="906"/>
                    <a:pt x="2844" y="901"/>
                    <a:pt x="2836" y="901"/>
                  </a:cubicBezTo>
                  <a:cubicBezTo>
                    <a:pt x="2836" y="901"/>
                    <a:pt x="2836" y="901"/>
                    <a:pt x="2836" y="901"/>
                  </a:cubicBezTo>
                  <a:moveTo>
                    <a:pt x="2264" y="901"/>
                  </a:moveTo>
                  <a:cubicBezTo>
                    <a:pt x="2256" y="901"/>
                    <a:pt x="2249" y="906"/>
                    <a:pt x="2249" y="911"/>
                  </a:cubicBezTo>
                  <a:cubicBezTo>
                    <a:pt x="2248" y="917"/>
                    <a:pt x="2254" y="922"/>
                    <a:pt x="2262" y="922"/>
                  </a:cubicBezTo>
                  <a:cubicBezTo>
                    <a:pt x="2270" y="922"/>
                    <a:pt x="2277" y="917"/>
                    <a:pt x="2277" y="911"/>
                  </a:cubicBezTo>
                  <a:cubicBezTo>
                    <a:pt x="2278" y="906"/>
                    <a:pt x="2272" y="901"/>
                    <a:pt x="2264" y="901"/>
                  </a:cubicBezTo>
                  <a:cubicBezTo>
                    <a:pt x="2264" y="901"/>
                    <a:pt x="2264" y="901"/>
                    <a:pt x="2264" y="901"/>
                  </a:cubicBezTo>
                  <a:moveTo>
                    <a:pt x="2304" y="901"/>
                  </a:moveTo>
                  <a:cubicBezTo>
                    <a:pt x="2297" y="901"/>
                    <a:pt x="2290" y="906"/>
                    <a:pt x="2290" y="911"/>
                  </a:cubicBezTo>
                  <a:cubicBezTo>
                    <a:pt x="2289" y="917"/>
                    <a:pt x="2295" y="921"/>
                    <a:pt x="2303" y="921"/>
                  </a:cubicBezTo>
                  <a:cubicBezTo>
                    <a:pt x="2311" y="921"/>
                    <a:pt x="2318" y="917"/>
                    <a:pt x="2318" y="911"/>
                  </a:cubicBezTo>
                  <a:cubicBezTo>
                    <a:pt x="2319" y="906"/>
                    <a:pt x="2312" y="901"/>
                    <a:pt x="2305" y="901"/>
                  </a:cubicBezTo>
                  <a:cubicBezTo>
                    <a:pt x="2305" y="901"/>
                    <a:pt x="2305" y="901"/>
                    <a:pt x="2304" y="901"/>
                  </a:cubicBezTo>
                  <a:moveTo>
                    <a:pt x="2917" y="901"/>
                  </a:moveTo>
                  <a:cubicBezTo>
                    <a:pt x="2909" y="901"/>
                    <a:pt x="2904" y="906"/>
                    <a:pt x="2904" y="911"/>
                  </a:cubicBezTo>
                  <a:cubicBezTo>
                    <a:pt x="2905" y="917"/>
                    <a:pt x="2912" y="921"/>
                    <a:pt x="2920" y="921"/>
                  </a:cubicBezTo>
                  <a:cubicBezTo>
                    <a:pt x="2928" y="921"/>
                    <a:pt x="2934" y="917"/>
                    <a:pt x="2933" y="911"/>
                  </a:cubicBezTo>
                  <a:cubicBezTo>
                    <a:pt x="2932" y="905"/>
                    <a:pt x="2925" y="901"/>
                    <a:pt x="2917" y="901"/>
                  </a:cubicBezTo>
                  <a:cubicBezTo>
                    <a:pt x="2917" y="901"/>
                    <a:pt x="2917" y="901"/>
                    <a:pt x="2917" y="901"/>
                  </a:cubicBezTo>
                  <a:moveTo>
                    <a:pt x="2345" y="901"/>
                  </a:moveTo>
                  <a:cubicBezTo>
                    <a:pt x="2338" y="901"/>
                    <a:pt x="2331" y="905"/>
                    <a:pt x="2331" y="911"/>
                  </a:cubicBezTo>
                  <a:cubicBezTo>
                    <a:pt x="2330" y="917"/>
                    <a:pt x="2337" y="921"/>
                    <a:pt x="2344" y="921"/>
                  </a:cubicBezTo>
                  <a:cubicBezTo>
                    <a:pt x="2352" y="921"/>
                    <a:pt x="2359" y="917"/>
                    <a:pt x="2359" y="911"/>
                  </a:cubicBezTo>
                  <a:cubicBezTo>
                    <a:pt x="2360" y="905"/>
                    <a:pt x="2353" y="901"/>
                    <a:pt x="2346" y="901"/>
                  </a:cubicBezTo>
                  <a:cubicBezTo>
                    <a:pt x="2345" y="901"/>
                    <a:pt x="2345" y="901"/>
                    <a:pt x="2345" y="901"/>
                  </a:cubicBezTo>
                  <a:moveTo>
                    <a:pt x="2387" y="901"/>
                  </a:moveTo>
                  <a:cubicBezTo>
                    <a:pt x="2379" y="901"/>
                    <a:pt x="2372" y="905"/>
                    <a:pt x="2372" y="911"/>
                  </a:cubicBezTo>
                  <a:cubicBezTo>
                    <a:pt x="2372" y="917"/>
                    <a:pt x="2378" y="921"/>
                    <a:pt x="2386" y="921"/>
                  </a:cubicBezTo>
                  <a:cubicBezTo>
                    <a:pt x="2394" y="921"/>
                    <a:pt x="2401" y="916"/>
                    <a:pt x="2401" y="911"/>
                  </a:cubicBezTo>
                  <a:cubicBezTo>
                    <a:pt x="2401" y="905"/>
                    <a:pt x="2395" y="901"/>
                    <a:pt x="2387" y="901"/>
                  </a:cubicBezTo>
                  <a:cubicBezTo>
                    <a:pt x="2387" y="901"/>
                    <a:pt x="2387" y="901"/>
                    <a:pt x="2387" y="901"/>
                  </a:cubicBezTo>
                  <a:moveTo>
                    <a:pt x="2427" y="900"/>
                  </a:moveTo>
                  <a:cubicBezTo>
                    <a:pt x="2419" y="901"/>
                    <a:pt x="2413" y="905"/>
                    <a:pt x="2413" y="911"/>
                  </a:cubicBezTo>
                  <a:cubicBezTo>
                    <a:pt x="2413" y="916"/>
                    <a:pt x="2419" y="921"/>
                    <a:pt x="2427" y="921"/>
                  </a:cubicBezTo>
                  <a:cubicBezTo>
                    <a:pt x="2435" y="921"/>
                    <a:pt x="2441" y="916"/>
                    <a:pt x="2441" y="911"/>
                  </a:cubicBezTo>
                  <a:cubicBezTo>
                    <a:pt x="2442" y="905"/>
                    <a:pt x="2435" y="900"/>
                    <a:pt x="2427" y="900"/>
                  </a:cubicBezTo>
                  <a:cubicBezTo>
                    <a:pt x="2427" y="900"/>
                    <a:pt x="2427" y="900"/>
                    <a:pt x="2427" y="900"/>
                  </a:cubicBezTo>
                  <a:moveTo>
                    <a:pt x="2468" y="900"/>
                  </a:moveTo>
                  <a:cubicBezTo>
                    <a:pt x="2460" y="900"/>
                    <a:pt x="2454" y="905"/>
                    <a:pt x="2454" y="911"/>
                  </a:cubicBezTo>
                  <a:cubicBezTo>
                    <a:pt x="2454" y="916"/>
                    <a:pt x="2460" y="921"/>
                    <a:pt x="2468" y="921"/>
                  </a:cubicBezTo>
                  <a:cubicBezTo>
                    <a:pt x="2476" y="921"/>
                    <a:pt x="2482" y="916"/>
                    <a:pt x="2482" y="910"/>
                  </a:cubicBezTo>
                  <a:cubicBezTo>
                    <a:pt x="2482" y="905"/>
                    <a:pt x="2476" y="900"/>
                    <a:pt x="2468" y="900"/>
                  </a:cubicBezTo>
                  <a:cubicBezTo>
                    <a:pt x="2468" y="900"/>
                    <a:pt x="2468" y="900"/>
                    <a:pt x="2468" y="900"/>
                  </a:cubicBezTo>
                  <a:moveTo>
                    <a:pt x="2509" y="900"/>
                  </a:moveTo>
                  <a:cubicBezTo>
                    <a:pt x="2501" y="900"/>
                    <a:pt x="2494" y="905"/>
                    <a:pt x="2494" y="910"/>
                  </a:cubicBezTo>
                  <a:cubicBezTo>
                    <a:pt x="2494" y="916"/>
                    <a:pt x="2501" y="921"/>
                    <a:pt x="2509" y="921"/>
                  </a:cubicBezTo>
                  <a:cubicBezTo>
                    <a:pt x="2517" y="921"/>
                    <a:pt x="2523" y="916"/>
                    <a:pt x="2523" y="910"/>
                  </a:cubicBezTo>
                  <a:cubicBezTo>
                    <a:pt x="2523" y="905"/>
                    <a:pt x="2517" y="900"/>
                    <a:pt x="2509" y="900"/>
                  </a:cubicBezTo>
                  <a:cubicBezTo>
                    <a:pt x="2509" y="900"/>
                    <a:pt x="2509" y="900"/>
                    <a:pt x="2509" y="900"/>
                  </a:cubicBezTo>
                  <a:moveTo>
                    <a:pt x="2550" y="900"/>
                  </a:moveTo>
                  <a:cubicBezTo>
                    <a:pt x="2542" y="900"/>
                    <a:pt x="2535" y="905"/>
                    <a:pt x="2536" y="910"/>
                  </a:cubicBezTo>
                  <a:cubicBezTo>
                    <a:pt x="2536" y="916"/>
                    <a:pt x="2542" y="920"/>
                    <a:pt x="2550" y="920"/>
                  </a:cubicBezTo>
                  <a:cubicBezTo>
                    <a:pt x="2558" y="920"/>
                    <a:pt x="2564" y="916"/>
                    <a:pt x="2564" y="910"/>
                  </a:cubicBezTo>
                  <a:cubicBezTo>
                    <a:pt x="2564" y="905"/>
                    <a:pt x="2558" y="900"/>
                    <a:pt x="2550" y="900"/>
                  </a:cubicBezTo>
                  <a:cubicBezTo>
                    <a:pt x="2550" y="900"/>
                    <a:pt x="2550" y="900"/>
                    <a:pt x="2550" y="900"/>
                  </a:cubicBezTo>
                  <a:moveTo>
                    <a:pt x="2591" y="900"/>
                  </a:moveTo>
                  <a:cubicBezTo>
                    <a:pt x="2583" y="900"/>
                    <a:pt x="2577" y="904"/>
                    <a:pt x="2577" y="910"/>
                  </a:cubicBezTo>
                  <a:cubicBezTo>
                    <a:pt x="2577" y="916"/>
                    <a:pt x="2584" y="920"/>
                    <a:pt x="2592" y="920"/>
                  </a:cubicBezTo>
                  <a:cubicBezTo>
                    <a:pt x="2600" y="920"/>
                    <a:pt x="2606" y="916"/>
                    <a:pt x="2606" y="910"/>
                  </a:cubicBezTo>
                  <a:cubicBezTo>
                    <a:pt x="2605" y="904"/>
                    <a:pt x="2599" y="900"/>
                    <a:pt x="2591" y="900"/>
                  </a:cubicBezTo>
                  <a:cubicBezTo>
                    <a:pt x="2591" y="900"/>
                    <a:pt x="2591" y="900"/>
                    <a:pt x="2591" y="900"/>
                  </a:cubicBezTo>
                  <a:moveTo>
                    <a:pt x="2874" y="900"/>
                  </a:moveTo>
                  <a:cubicBezTo>
                    <a:pt x="2866" y="900"/>
                    <a:pt x="2861" y="904"/>
                    <a:pt x="2861" y="910"/>
                  </a:cubicBezTo>
                  <a:cubicBezTo>
                    <a:pt x="2862" y="916"/>
                    <a:pt x="2869" y="920"/>
                    <a:pt x="2877" y="920"/>
                  </a:cubicBezTo>
                  <a:cubicBezTo>
                    <a:pt x="2885" y="920"/>
                    <a:pt x="2891" y="916"/>
                    <a:pt x="2890" y="910"/>
                  </a:cubicBezTo>
                  <a:cubicBezTo>
                    <a:pt x="2889" y="904"/>
                    <a:pt x="2882" y="900"/>
                    <a:pt x="2874" y="900"/>
                  </a:cubicBezTo>
                  <a:cubicBezTo>
                    <a:pt x="2874" y="900"/>
                    <a:pt x="2874" y="900"/>
                    <a:pt x="2874" y="900"/>
                  </a:cubicBezTo>
                  <a:moveTo>
                    <a:pt x="2631" y="900"/>
                  </a:moveTo>
                  <a:cubicBezTo>
                    <a:pt x="2624" y="900"/>
                    <a:pt x="2617" y="904"/>
                    <a:pt x="2618" y="910"/>
                  </a:cubicBezTo>
                  <a:cubicBezTo>
                    <a:pt x="2618" y="916"/>
                    <a:pt x="2625" y="920"/>
                    <a:pt x="2632" y="920"/>
                  </a:cubicBezTo>
                  <a:cubicBezTo>
                    <a:pt x="2640" y="920"/>
                    <a:pt x="2647" y="915"/>
                    <a:pt x="2646" y="910"/>
                  </a:cubicBezTo>
                  <a:cubicBezTo>
                    <a:pt x="2646" y="904"/>
                    <a:pt x="2639" y="900"/>
                    <a:pt x="2632" y="900"/>
                  </a:cubicBezTo>
                  <a:cubicBezTo>
                    <a:pt x="2632" y="900"/>
                    <a:pt x="2631" y="900"/>
                    <a:pt x="2631" y="900"/>
                  </a:cubicBezTo>
                  <a:moveTo>
                    <a:pt x="2673" y="899"/>
                  </a:moveTo>
                  <a:cubicBezTo>
                    <a:pt x="2665" y="899"/>
                    <a:pt x="2659" y="904"/>
                    <a:pt x="2659" y="910"/>
                  </a:cubicBezTo>
                  <a:cubicBezTo>
                    <a:pt x="2659" y="915"/>
                    <a:pt x="2666" y="920"/>
                    <a:pt x="2674" y="920"/>
                  </a:cubicBezTo>
                  <a:cubicBezTo>
                    <a:pt x="2682" y="920"/>
                    <a:pt x="2688" y="915"/>
                    <a:pt x="2688" y="910"/>
                  </a:cubicBezTo>
                  <a:cubicBezTo>
                    <a:pt x="2687" y="904"/>
                    <a:pt x="2681" y="899"/>
                    <a:pt x="2673" y="899"/>
                  </a:cubicBezTo>
                  <a:cubicBezTo>
                    <a:pt x="2673" y="899"/>
                    <a:pt x="2673" y="899"/>
                    <a:pt x="2673" y="899"/>
                  </a:cubicBezTo>
                  <a:moveTo>
                    <a:pt x="2955" y="899"/>
                  </a:moveTo>
                  <a:cubicBezTo>
                    <a:pt x="2948" y="899"/>
                    <a:pt x="2942" y="904"/>
                    <a:pt x="2943" y="910"/>
                  </a:cubicBezTo>
                  <a:cubicBezTo>
                    <a:pt x="2944" y="915"/>
                    <a:pt x="2951" y="920"/>
                    <a:pt x="2959" y="920"/>
                  </a:cubicBezTo>
                  <a:cubicBezTo>
                    <a:pt x="2967" y="920"/>
                    <a:pt x="2972" y="915"/>
                    <a:pt x="2971" y="910"/>
                  </a:cubicBezTo>
                  <a:cubicBezTo>
                    <a:pt x="2971" y="904"/>
                    <a:pt x="2963" y="899"/>
                    <a:pt x="2956" y="899"/>
                  </a:cubicBezTo>
                  <a:cubicBezTo>
                    <a:pt x="2956" y="899"/>
                    <a:pt x="2955" y="899"/>
                    <a:pt x="2955" y="899"/>
                  </a:cubicBezTo>
                  <a:moveTo>
                    <a:pt x="3365" y="898"/>
                  </a:moveTo>
                  <a:cubicBezTo>
                    <a:pt x="3357" y="898"/>
                    <a:pt x="3352" y="903"/>
                    <a:pt x="3354" y="909"/>
                  </a:cubicBezTo>
                  <a:cubicBezTo>
                    <a:pt x="3355" y="914"/>
                    <a:pt x="3363" y="919"/>
                    <a:pt x="3371" y="919"/>
                  </a:cubicBezTo>
                  <a:cubicBezTo>
                    <a:pt x="3379" y="919"/>
                    <a:pt x="3384" y="914"/>
                    <a:pt x="3382" y="909"/>
                  </a:cubicBezTo>
                  <a:cubicBezTo>
                    <a:pt x="3381" y="903"/>
                    <a:pt x="3373" y="898"/>
                    <a:pt x="3365" y="898"/>
                  </a:cubicBezTo>
                  <a:cubicBezTo>
                    <a:pt x="3365" y="898"/>
                    <a:pt x="3365" y="898"/>
                    <a:pt x="3365" y="898"/>
                  </a:cubicBezTo>
                  <a:moveTo>
                    <a:pt x="3405" y="898"/>
                  </a:moveTo>
                  <a:cubicBezTo>
                    <a:pt x="3398" y="898"/>
                    <a:pt x="3393" y="903"/>
                    <a:pt x="3394" y="909"/>
                  </a:cubicBezTo>
                  <a:cubicBezTo>
                    <a:pt x="3396" y="914"/>
                    <a:pt x="3404" y="919"/>
                    <a:pt x="3412" y="919"/>
                  </a:cubicBezTo>
                  <a:cubicBezTo>
                    <a:pt x="3420" y="919"/>
                    <a:pt x="3425" y="914"/>
                    <a:pt x="3423" y="908"/>
                  </a:cubicBezTo>
                  <a:cubicBezTo>
                    <a:pt x="3421" y="903"/>
                    <a:pt x="3413" y="898"/>
                    <a:pt x="3406" y="898"/>
                  </a:cubicBezTo>
                  <a:cubicBezTo>
                    <a:pt x="3406" y="898"/>
                    <a:pt x="3406" y="898"/>
                    <a:pt x="3405" y="898"/>
                  </a:cubicBezTo>
                  <a:moveTo>
                    <a:pt x="3446" y="898"/>
                  </a:moveTo>
                  <a:cubicBezTo>
                    <a:pt x="3439" y="898"/>
                    <a:pt x="3434" y="903"/>
                    <a:pt x="3435" y="908"/>
                  </a:cubicBezTo>
                  <a:cubicBezTo>
                    <a:pt x="3437" y="914"/>
                    <a:pt x="3445" y="919"/>
                    <a:pt x="3453" y="919"/>
                  </a:cubicBezTo>
                  <a:cubicBezTo>
                    <a:pt x="3461" y="919"/>
                    <a:pt x="3466" y="914"/>
                    <a:pt x="3464" y="908"/>
                  </a:cubicBezTo>
                  <a:cubicBezTo>
                    <a:pt x="3462" y="903"/>
                    <a:pt x="3454" y="898"/>
                    <a:pt x="3446" y="898"/>
                  </a:cubicBezTo>
                  <a:cubicBezTo>
                    <a:pt x="3446" y="898"/>
                    <a:pt x="3446" y="898"/>
                    <a:pt x="3446" y="898"/>
                  </a:cubicBezTo>
                  <a:moveTo>
                    <a:pt x="2794" y="898"/>
                  </a:moveTo>
                  <a:cubicBezTo>
                    <a:pt x="2786" y="898"/>
                    <a:pt x="2781" y="902"/>
                    <a:pt x="2781" y="908"/>
                  </a:cubicBezTo>
                  <a:cubicBezTo>
                    <a:pt x="2782" y="913"/>
                    <a:pt x="2789" y="918"/>
                    <a:pt x="2797" y="918"/>
                  </a:cubicBezTo>
                  <a:cubicBezTo>
                    <a:pt x="2804" y="918"/>
                    <a:pt x="2810" y="913"/>
                    <a:pt x="2810" y="908"/>
                  </a:cubicBezTo>
                  <a:cubicBezTo>
                    <a:pt x="2809" y="902"/>
                    <a:pt x="2802" y="898"/>
                    <a:pt x="2794" y="898"/>
                  </a:cubicBezTo>
                  <a:cubicBezTo>
                    <a:pt x="2794" y="898"/>
                    <a:pt x="2794" y="898"/>
                    <a:pt x="2794" y="898"/>
                  </a:cubicBezTo>
                  <a:moveTo>
                    <a:pt x="3814" y="897"/>
                  </a:moveTo>
                  <a:cubicBezTo>
                    <a:pt x="3806" y="897"/>
                    <a:pt x="3802" y="901"/>
                    <a:pt x="3805" y="907"/>
                  </a:cubicBezTo>
                  <a:cubicBezTo>
                    <a:pt x="3807" y="913"/>
                    <a:pt x="3816" y="917"/>
                    <a:pt x="3823" y="917"/>
                  </a:cubicBezTo>
                  <a:cubicBezTo>
                    <a:pt x="3831" y="917"/>
                    <a:pt x="3836" y="913"/>
                    <a:pt x="3833" y="907"/>
                  </a:cubicBezTo>
                  <a:cubicBezTo>
                    <a:pt x="3831" y="901"/>
                    <a:pt x="3822" y="897"/>
                    <a:pt x="3814" y="897"/>
                  </a:cubicBezTo>
                  <a:cubicBezTo>
                    <a:pt x="3814" y="897"/>
                    <a:pt x="3814" y="897"/>
                    <a:pt x="3814" y="897"/>
                  </a:cubicBezTo>
                  <a:moveTo>
                    <a:pt x="3855" y="897"/>
                  </a:moveTo>
                  <a:cubicBezTo>
                    <a:pt x="3847" y="897"/>
                    <a:pt x="3843" y="901"/>
                    <a:pt x="3846" y="907"/>
                  </a:cubicBezTo>
                  <a:cubicBezTo>
                    <a:pt x="3848" y="913"/>
                    <a:pt x="3857" y="917"/>
                    <a:pt x="3865" y="917"/>
                  </a:cubicBezTo>
                  <a:cubicBezTo>
                    <a:pt x="3873" y="917"/>
                    <a:pt x="3877" y="913"/>
                    <a:pt x="3874" y="907"/>
                  </a:cubicBezTo>
                  <a:cubicBezTo>
                    <a:pt x="3872" y="901"/>
                    <a:pt x="3863" y="897"/>
                    <a:pt x="3855" y="897"/>
                  </a:cubicBezTo>
                  <a:cubicBezTo>
                    <a:pt x="3855" y="897"/>
                    <a:pt x="3855" y="897"/>
                    <a:pt x="3855" y="897"/>
                  </a:cubicBezTo>
                  <a:moveTo>
                    <a:pt x="3898" y="896"/>
                  </a:moveTo>
                  <a:cubicBezTo>
                    <a:pt x="3891" y="897"/>
                    <a:pt x="3886" y="901"/>
                    <a:pt x="3889" y="907"/>
                  </a:cubicBezTo>
                  <a:cubicBezTo>
                    <a:pt x="3892" y="912"/>
                    <a:pt x="3900" y="917"/>
                    <a:pt x="3908" y="917"/>
                  </a:cubicBezTo>
                  <a:cubicBezTo>
                    <a:pt x="3916" y="917"/>
                    <a:pt x="3920" y="912"/>
                    <a:pt x="3918" y="907"/>
                  </a:cubicBezTo>
                  <a:cubicBezTo>
                    <a:pt x="3915" y="901"/>
                    <a:pt x="3906" y="896"/>
                    <a:pt x="3899" y="896"/>
                  </a:cubicBezTo>
                  <a:cubicBezTo>
                    <a:pt x="3899" y="896"/>
                    <a:pt x="3898" y="896"/>
                    <a:pt x="3898" y="896"/>
                  </a:cubicBezTo>
                  <a:moveTo>
                    <a:pt x="3939" y="896"/>
                  </a:moveTo>
                  <a:cubicBezTo>
                    <a:pt x="3931" y="896"/>
                    <a:pt x="3927" y="901"/>
                    <a:pt x="3929" y="907"/>
                  </a:cubicBezTo>
                  <a:cubicBezTo>
                    <a:pt x="3932" y="912"/>
                    <a:pt x="3941" y="917"/>
                    <a:pt x="3949" y="917"/>
                  </a:cubicBezTo>
                  <a:cubicBezTo>
                    <a:pt x="3957" y="917"/>
                    <a:pt x="3961" y="912"/>
                    <a:pt x="3958" y="907"/>
                  </a:cubicBezTo>
                  <a:cubicBezTo>
                    <a:pt x="3955" y="901"/>
                    <a:pt x="3947" y="896"/>
                    <a:pt x="3939" y="896"/>
                  </a:cubicBezTo>
                  <a:cubicBezTo>
                    <a:pt x="3939" y="896"/>
                    <a:pt x="3939" y="896"/>
                    <a:pt x="3939" y="896"/>
                  </a:cubicBezTo>
                  <a:moveTo>
                    <a:pt x="3979" y="896"/>
                  </a:moveTo>
                  <a:cubicBezTo>
                    <a:pt x="3971" y="896"/>
                    <a:pt x="3967" y="901"/>
                    <a:pt x="3970" y="906"/>
                  </a:cubicBezTo>
                  <a:cubicBezTo>
                    <a:pt x="3973" y="912"/>
                    <a:pt x="3982" y="917"/>
                    <a:pt x="3990" y="917"/>
                  </a:cubicBezTo>
                  <a:cubicBezTo>
                    <a:pt x="3997" y="917"/>
                    <a:pt x="4002" y="912"/>
                    <a:pt x="3999" y="906"/>
                  </a:cubicBezTo>
                  <a:cubicBezTo>
                    <a:pt x="3996" y="901"/>
                    <a:pt x="3987" y="896"/>
                    <a:pt x="3979" y="896"/>
                  </a:cubicBezTo>
                  <a:cubicBezTo>
                    <a:pt x="3979" y="896"/>
                    <a:pt x="3979" y="896"/>
                    <a:pt x="3979" y="896"/>
                  </a:cubicBezTo>
                  <a:moveTo>
                    <a:pt x="4223" y="894"/>
                  </a:moveTo>
                  <a:cubicBezTo>
                    <a:pt x="4215" y="894"/>
                    <a:pt x="4211" y="898"/>
                    <a:pt x="4215" y="904"/>
                  </a:cubicBezTo>
                  <a:cubicBezTo>
                    <a:pt x="4218" y="910"/>
                    <a:pt x="4227" y="914"/>
                    <a:pt x="4235" y="914"/>
                  </a:cubicBezTo>
                  <a:cubicBezTo>
                    <a:pt x="4243" y="914"/>
                    <a:pt x="4247" y="910"/>
                    <a:pt x="4243" y="904"/>
                  </a:cubicBezTo>
                  <a:cubicBezTo>
                    <a:pt x="4240" y="898"/>
                    <a:pt x="4231" y="894"/>
                    <a:pt x="4223" y="894"/>
                  </a:cubicBezTo>
                  <a:cubicBezTo>
                    <a:pt x="4223" y="894"/>
                    <a:pt x="4223" y="894"/>
                    <a:pt x="4223" y="894"/>
                  </a:cubicBezTo>
                  <a:moveTo>
                    <a:pt x="118" y="883"/>
                  </a:moveTo>
                  <a:cubicBezTo>
                    <a:pt x="110" y="883"/>
                    <a:pt x="100" y="888"/>
                    <a:pt x="95" y="894"/>
                  </a:cubicBezTo>
                  <a:cubicBezTo>
                    <a:pt x="91" y="899"/>
                    <a:pt x="94" y="904"/>
                    <a:pt x="101" y="904"/>
                  </a:cubicBezTo>
                  <a:cubicBezTo>
                    <a:pt x="109" y="904"/>
                    <a:pt x="119" y="899"/>
                    <a:pt x="124" y="894"/>
                  </a:cubicBezTo>
                  <a:cubicBezTo>
                    <a:pt x="128" y="888"/>
                    <a:pt x="126" y="883"/>
                    <a:pt x="118" y="883"/>
                  </a:cubicBezTo>
                  <a:cubicBezTo>
                    <a:pt x="118" y="883"/>
                    <a:pt x="118" y="883"/>
                    <a:pt x="118" y="883"/>
                  </a:cubicBezTo>
                  <a:moveTo>
                    <a:pt x="160" y="883"/>
                  </a:moveTo>
                  <a:cubicBezTo>
                    <a:pt x="152" y="883"/>
                    <a:pt x="142" y="888"/>
                    <a:pt x="137" y="893"/>
                  </a:cubicBezTo>
                  <a:cubicBezTo>
                    <a:pt x="133" y="899"/>
                    <a:pt x="136" y="904"/>
                    <a:pt x="144" y="904"/>
                  </a:cubicBezTo>
                  <a:cubicBezTo>
                    <a:pt x="152" y="903"/>
                    <a:pt x="161" y="899"/>
                    <a:pt x="166" y="893"/>
                  </a:cubicBezTo>
                  <a:cubicBezTo>
                    <a:pt x="170" y="888"/>
                    <a:pt x="167" y="883"/>
                    <a:pt x="160" y="883"/>
                  </a:cubicBezTo>
                  <a:cubicBezTo>
                    <a:pt x="160" y="883"/>
                    <a:pt x="160" y="883"/>
                    <a:pt x="160" y="883"/>
                  </a:cubicBezTo>
                  <a:moveTo>
                    <a:pt x="199" y="882"/>
                  </a:moveTo>
                  <a:cubicBezTo>
                    <a:pt x="191" y="882"/>
                    <a:pt x="181" y="887"/>
                    <a:pt x="177" y="892"/>
                  </a:cubicBezTo>
                  <a:cubicBezTo>
                    <a:pt x="172" y="898"/>
                    <a:pt x="175" y="902"/>
                    <a:pt x="183" y="902"/>
                  </a:cubicBezTo>
                  <a:cubicBezTo>
                    <a:pt x="191" y="902"/>
                    <a:pt x="201" y="898"/>
                    <a:pt x="205" y="892"/>
                  </a:cubicBezTo>
                  <a:cubicBezTo>
                    <a:pt x="209" y="887"/>
                    <a:pt x="206" y="882"/>
                    <a:pt x="199" y="882"/>
                  </a:cubicBezTo>
                  <a:cubicBezTo>
                    <a:pt x="199" y="882"/>
                    <a:pt x="199" y="882"/>
                    <a:pt x="199" y="882"/>
                  </a:cubicBezTo>
                  <a:moveTo>
                    <a:pt x="239" y="882"/>
                  </a:moveTo>
                  <a:cubicBezTo>
                    <a:pt x="231" y="882"/>
                    <a:pt x="221" y="887"/>
                    <a:pt x="217" y="892"/>
                  </a:cubicBezTo>
                  <a:cubicBezTo>
                    <a:pt x="213" y="898"/>
                    <a:pt x="216" y="902"/>
                    <a:pt x="224" y="902"/>
                  </a:cubicBezTo>
                  <a:cubicBezTo>
                    <a:pt x="231" y="902"/>
                    <a:pt x="241" y="898"/>
                    <a:pt x="246" y="892"/>
                  </a:cubicBezTo>
                  <a:cubicBezTo>
                    <a:pt x="250" y="886"/>
                    <a:pt x="247" y="882"/>
                    <a:pt x="239" y="882"/>
                  </a:cubicBezTo>
                  <a:cubicBezTo>
                    <a:pt x="239" y="882"/>
                    <a:pt x="239" y="882"/>
                    <a:pt x="239" y="882"/>
                  </a:cubicBezTo>
                  <a:moveTo>
                    <a:pt x="280" y="882"/>
                  </a:moveTo>
                  <a:cubicBezTo>
                    <a:pt x="272" y="882"/>
                    <a:pt x="262" y="886"/>
                    <a:pt x="258" y="892"/>
                  </a:cubicBezTo>
                  <a:cubicBezTo>
                    <a:pt x="254" y="898"/>
                    <a:pt x="257" y="902"/>
                    <a:pt x="264" y="902"/>
                  </a:cubicBezTo>
                  <a:cubicBezTo>
                    <a:pt x="272" y="902"/>
                    <a:pt x="282" y="897"/>
                    <a:pt x="286" y="892"/>
                  </a:cubicBezTo>
                  <a:cubicBezTo>
                    <a:pt x="290" y="886"/>
                    <a:pt x="287" y="882"/>
                    <a:pt x="280" y="882"/>
                  </a:cubicBezTo>
                  <a:cubicBezTo>
                    <a:pt x="280" y="882"/>
                    <a:pt x="280" y="882"/>
                    <a:pt x="280" y="882"/>
                  </a:cubicBezTo>
                  <a:moveTo>
                    <a:pt x="321" y="882"/>
                  </a:moveTo>
                  <a:cubicBezTo>
                    <a:pt x="314" y="882"/>
                    <a:pt x="304" y="886"/>
                    <a:pt x="300" y="892"/>
                  </a:cubicBezTo>
                  <a:cubicBezTo>
                    <a:pt x="296" y="897"/>
                    <a:pt x="299" y="902"/>
                    <a:pt x="307" y="902"/>
                  </a:cubicBezTo>
                  <a:cubicBezTo>
                    <a:pt x="315" y="902"/>
                    <a:pt x="324" y="897"/>
                    <a:pt x="328" y="892"/>
                  </a:cubicBezTo>
                  <a:cubicBezTo>
                    <a:pt x="332" y="886"/>
                    <a:pt x="329" y="882"/>
                    <a:pt x="322" y="882"/>
                  </a:cubicBezTo>
                  <a:cubicBezTo>
                    <a:pt x="322" y="882"/>
                    <a:pt x="322" y="882"/>
                    <a:pt x="321" y="882"/>
                  </a:cubicBezTo>
                  <a:moveTo>
                    <a:pt x="1701" y="874"/>
                  </a:moveTo>
                  <a:cubicBezTo>
                    <a:pt x="1693" y="874"/>
                    <a:pt x="1685" y="879"/>
                    <a:pt x="1684" y="884"/>
                  </a:cubicBezTo>
                  <a:cubicBezTo>
                    <a:pt x="1682" y="890"/>
                    <a:pt x="1688" y="894"/>
                    <a:pt x="1696" y="894"/>
                  </a:cubicBezTo>
                  <a:cubicBezTo>
                    <a:pt x="1703" y="894"/>
                    <a:pt x="1711" y="890"/>
                    <a:pt x="1712" y="884"/>
                  </a:cubicBezTo>
                  <a:cubicBezTo>
                    <a:pt x="1714" y="879"/>
                    <a:pt x="1709" y="874"/>
                    <a:pt x="1701" y="874"/>
                  </a:cubicBezTo>
                  <a:cubicBezTo>
                    <a:pt x="1701" y="874"/>
                    <a:pt x="1701" y="874"/>
                    <a:pt x="1701" y="874"/>
                  </a:cubicBezTo>
                  <a:moveTo>
                    <a:pt x="1739" y="874"/>
                  </a:moveTo>
                  <a:cubicBezTo>
                    <a:pt x="1731" y="874"/>
                    <a:pt x="1724" y="879"/>
                    <a:pt x="1722" y="884"/>
                  </a:cubicBezTo>
                  <a:cubicBezTo>
                    <a:pt x="1721" y="890"/>
                    <a:pt x="1726" y="894"/>
                    <a:pt x="1734" y="894"/>
                  </a:cubicBezTo>
                  <a:cubicBezTo>
                    <a:pt x="1742" y="894"/>
                    <a:pt x="1749" y="890"/>
                    <a:pt x="1751" y="884"/>
                  </a:cubicBezTo>
                  <a:cubicBezTo>
                    <a:pt x="1752" y="878"/>
                    <a:pt x="1747" y="874"/>
                    <a:pt x="1739" y="874"/>
                  </a:cubicBezTo>
                  <a:cubicBezTo>
                    <a:pt x="1739" y="874"/>
                    <a:pt x="1739" y="874"/>
                    <a:pt x="1739" y="874"/>
                  </a:cubicBezTo>
                  <a:moveTo>
                    <a:pt x="1779" y="874"/>
                  </a:moveTo>
                  <a:cubicBezTo>
                    <a:pt x="1771" y="874"/>
                    <a:pt x="1764" y="878"/>
                    <a:pt x="1763" y="884"/>
                  </a:cubicBezTo>
                  <a:cubicBezTo>
                    <a:pt x="1761" y="890"/>
                    <a:pt x="1766" y="894"/>
                    <a:pt x="1774" y="894"/>
                  </a:cubicBezTo>
                  <a:cubicBezTo>
                    <a:pt x="1782" y="894"/>
                    <a:pt x="1790" y="889"/>
                    <a:pt x="1791" y="884"/>
                  </a:cubicBezTo>
                  <a:cubicBezTo>
                    <a:pt x="1792" y="878"/>
                    <a:pt x="1787" y="874"/>
                    <a:pt x="1779" y="874"/>
                  </a:cubicBezTo>
                  <a:cubicBezTo>
                    <a:pt x="1779" y="874"/>
                    <a:pt x="1779" y="874"/>
                    <a:pt x="1779" y="874"/>
                  </a:cubicBezTo>
                  <a:moveTo>
                    <a:pt x="1820" y="874"/>
                  </a:moveTo>
                  <a:cubicBezTo>
                    <a:pt x="1812" y="874"/>
                    <a:pt x="1805" y="878"/>
                    <a:pt x="1803" y="884"/>
                  </a:cubicBezTo>
                  <a:cubicBezTo>
                    <a:pt x="1802" y="889"/>
                    <a:pt x="1807" y="894"/>
                    <a:pt x="1815" y="894"/>
                  </a:cubicBezTo>
                  <a:cubicBezTo>
                    <a:pt x="1823" y="894"/>
                    <a:pt x="1830" y="889"/>
                    <a:pt x="1832" y="884"/>
                  </a:cubicBezTo>
                  <a:cubicBezTo>
                    <a:pt x="1833" y="878"/>
                    <a:pt x="1828" y="874"/>
                    <a:pt x="1820" y="874"/>
                  </a:cubicBezTo>
                  <a:cubicBezTo>
                    <a:pt x="1820" y="874"/>
                    <a:pt x="1820" y="874"/>
                    <a:pt x="1820" y="874"/>
                  </a:cubicBezTo>
                  <a:moveTo>
                    <a:pt x="1861" y="873"/>
                  </a:moveTo>
                  <a:cubicBezTo>
                    <a:pt x="1853" y="873"/>
                    <a:pt x="1845" y="878"/>
                    <a:pt x="1844" y="884"/>
                  </a:cubicBezTo>
                  <a:cubicBezTo>
                    <a:pt x="1843" y="889"/>
                    <a:pt x="1848" y="894"/>
                    <a:pt x="1856" y="894"/>
                  </a:cubicBezTo>
                  <a:cubicBezTo>
                    <a:pt x="1864" y="894"/>
                    <a:pt x="1872" y="889"/>
                    <a:pt x="1873" y="884"/>
                  </a:cubicBezTo>
                  <a:cubicBezTo>
                    <a:pt x="1874" y="878"/>
                    <a:pt x="1868" y="873"/>
                    <a:pt x="1861" y="873"/>
                  </a:cubicBezTo>
                  <a:cubicBezTo>
                    <a:pt x="1861" y="873"/>
                    <a:pt x="1861" y="873"/>
                    <a:pt x="1861" y="873"/>
                  </a:cubicBezTo>
                  <a:moveTo>
                    <a:pt x="1901" y="873"/>
                  </a:moveTo>
                  <a:cubicBezTo>
                    <a:pt x="1893" y="873"/>
                    <a:pt x="1886" y="878"/>
                    <a:pt x="1885" y="883"/>
                  </a:cubicBezTo>
                  <a:cubicBezTo>
                    <a:pt x="1883" y="889"/>
                    <a:pt x="1889" y="894"/>
                    <a:pt x="1897" y="894"/>
                  </a:cubicBezTo>
                  <a:cubicBezTo>
                    <a:pt x="1905" y="894"/>
                    <a:pt x="1912" y="889"/>
                    <a:pt x="1913" y="883"/>
                  </a:cubicBezTo>
                  <a:cubicBezTo>
                    <a:pt x="1914" y="878"/>
                    <a:pt x="1909" y="873"/>
                    <a:pt x="1901" y="873"/>
                  </a:cubicBezTo>
                  <a:cubicBezTo>
                    <a:pt x="1901" y="873"/>
                    <a:pt x="1901" y="873"/>
                    <a:pt x="1901" y="873"/>
                  </a:cubicBezTo>
                  <a:moveTo>
                    <a:pt x="1941" y="873"/>
                  </a:moveTo>
                  <a:cubicBezTo>
                    <a:pt x="1933" y="873"/>
                    <a:pt x="1926" y="878"/>
                    <a:pt x="1925" y="883"/>
                  </a:cubicBezTo>
                  <a:cubicBezTo>
                    <a:pt x="1924" y="889"/>
                    <a:pt x="1930" y="893"/>
                    <a:pt x="1938" y="893"/>
                  </a:cubicBezTo>
                  <a:cubicBezTo>
                    <a:pt x="1945" y="893"/>
                    <a:pt x="1953" y="889"/>
                    <a:pt x="1954" y="883"/>
                  </a:cubicBezTo>
                  <a:cubicBezTo>
                    <a:pt x="1955" y="878"/>
                    <a:pt x="1949" y="873"/>
                    <a:pt x="1941" y="873"/>
                  </a:cubicBezTo>
                  <a:cubicBezTo>
                    <a:pt x="1941" y="873"/>
                    <a:pt x="1941" y="873"/>
                    <a:pt x="1941" y="873"/>
                  </a:cubicBezTo>
                  <a:moveTo>
                    <a:pt x="1981" y="873"/>
                  </a:moveTo>
                  <a:cubicBezTo>
                    <a:pt x="1974" y="873"/>
                    <a:pt x="1967" y="877"/>
                    <a:pt x="1966" y="883"/>
                  </a:cubicBezTo>
                  <a:cubicBezTo>
                    <a:pt x="1965" y="889"/>
                    <a:pt x="1970" y="893"/>
                    <a:pt x="1978" y="893"/>
                  </a:cubicBezTo>
                  <a:cubicBezTo>
                    <a:pt x="1986" y="893"/>
                    <a:pt x="1993" y="889"/>
                    <a:pt x="1994" y="883"/>
                  </a:cubicBezTo>
                  <a:cubicBezTo>
                    <a:pt x="1995" y="877"/>
                    <a:pt x="1989" y="873"/>
                    <a:pt x="1982" y="873"/>
                  </a:cubicBezTo>
                  <a:cubicBezTo>
                    <a:pt x="1982" y="873"/>
                    <a:pt x="1982" y="873"/>
                    <a:pt x="1981" y="873"/>
                  </a:cubicBezTo>
                  <a:moveTo>
                    <a:pt x="2022" y="873"/>
                  </a:moveTo>
                  <a:cubicBezTo>
                    <a:pt x="2014" y="873"/>
                    <a:pt x="2007" y="877"/>
                    <a:pt x="2006" y="883"/>
                  </a:cubicBezTo>
                  <a:cubicBezTo>
                    <a:pt x="2005" y="889"/>
                    <a:pt x="2011" y="893"/>
                    <a:pt x="2019" y="893"/>
                  </a:cubicBezTo>
                  <a:cubicBezTo>
                    <a:pt x="2027" y="893"/>
                    <a:pt x="2034" y="888"/>
                    <a:pt x="2035" y="883"/>
                  </a:cubicBezTo>
                  <a:cubicBezTo>
                    <a:pt x="2036" y="877"/>
                    <a:pt x="2030" y="873"/>
                    <a:pt x="2022" y="873"/>
                  </a:cubicBezTo>
                  <a:cubicBezTo>
                    <a:pt x="2022" y="873"/>
                    <a:pt x="2022" y="873"/>
                    <a:pt x="2022" y="873"/>
                  </a:cubicBezTo>
                  <a:moveTo>
                    <a:pt x="2064" y="873"/>
                  </a:moveTo>
                  <a:cubicBezTo>
                    <a:pt x="2056" y="873"/>
                    <a:pt x="2049" y="877"/>
                    <a:pt x="2048" y="883"/>
                  </a:cubicBezTo>
                  <a:cubicBezTo>
                    <a:pt x="2047" y="888"/>
                    <a:pt x="2053" y="893"/>
                    <a:pt x="2061" y="893"/>
                  </a:cubicBezTo>
                  <a:cubicBezTo>
                    <a:pt x="2069" y="893"/>
                    <a:pt x="2076" y="888"/>
                    <a:pt x="2077" y="883"/>
                  </a:cubicBezTo>
                  <a:cubicBezTo>
                    <a:pt x="2077" y="877"/>
                    <a:pt x="2072" y="873"/>
                    <a:pt x="2064" y="873"/>
                  </a:cubicBezTo>
                  <a:cubicBezTo>
                    <a:pt x="2064" y="873"/>
                    <a:pt x="2064" y="873"/>
                    <a:pt x="2064" y="873"/>
                  </a:cubicBezTo>
                  <a:moveTo>
                    <a:pt x="2104" y="872"/>
                  </a:moveTo>
                  <a:cubicBezTo>
                    <a:pt x="2096" y="872"/>
                    <a:pt x="2089" y="877"/>
                    <a:pt x="2088" y="883"/>
                  </a:cubicBezTo>
                  <a:cubicBezTo>
                    <a:pt x="2088" y="888"/>
                    <a:pt x="2093" y="893"/>
                    <a:pt x="2101" y="893"/>
                  </a:cubicBezTo>
                  <a:cubicBezTo>
                    <a:pt x="2109" y="893"/>
                    <a:pt x="2116" y="888"/>
                    <a:pt x="2117" y="882"/>
                  </a:cubicBezTo>
                  <a:cubicBezTo>
                    <a:pt x="2118" y="877"/>
                    <a:pt x="2112" y="872"/>
                    <a:pt x="2104" y="872"/>
                  </a:cubicBezTo>
                  <a:cubicBezTo>
                    <a:pt x="2104" y="872"/>
                    <a:pt x="2104" y="872"/>
                    <a:pt x="2104" y="872"/>
                  </a:cubicBezTo>
                  <a:moveTo>
                    <a:pt x="2145" y="872"/>
                  </a:moveTo>
                  <a:cubicBezTo>
                    <a:pt x="2137" y="872"/>
                    <a:pt x="2130" y="877"/>
                    <a:pt x="2129" y="882"/>
                  </a:cubicBezTo>
                  <a:cubicBezTo>
                    <a:pt x="2128" y="888"/>
                    <a:pt x="2134" y="893"/>
                    <a:pt x="2142" y="893"/>
                  </a:cubicBezTo>
                  <a:cubicBezTo>
                    <a:pt x="2150" y="893"/>
                    <a:pt x="2157" y="888"/>
                    <a:pt x="2158" y="882"/>
                  </a:cubicBezTo>
                  <a:cubicBezTo>
                    <a:pt x="2158" y="877"/>
                    <a:pt x="2152" y="872"/>
                    <a:pt x="2145" y="872"/>
                  </a:cubicBezTo>
                  <a:cubicBezTo>
                    <a:pt x="2145" y="872"/>
                    <a:pt x="2145" y="872"/>
                    <a:pt x="2145" y="872"/>
                  </a:cubicBezTo>
                  <a:moveTo>
                    <a:pt x="2833" y="872"/>
                  </a:moveTo>
                  <a:cubicBezTo>
                    <a:pt x="2825" y="872"/>
                    <a:pt x="2819" y="877"/>
                    <a:pt x="2820" y="882"/>
                  </a:cubicBezTo>
                  <a:cubicBezTo>
                    <a:pt x="2820" y="888"/>
                    <a:pt x="2827" y="893"/>
                    <a:pt x="2835" y="893"/>
                  </a:cubicBezTo>
                  <a:cubicBezTo>
                    <a:pt x="2843" y="893"/>
                    <a:pt x="2849" y="888"/>
                    <a:pt x="2848" y="882"/>
                  </a:cubicBezTo>
                  <a:cubicBezTo>
                    <a:pt x="2847" y="877"/>
                    <a:pt x="2840" y="872"/>
                    <a:pt x="2833" y="872"/>
                  </a:cubicBezTo>
                  <a:cubicBezTo>
                    <a:pt x="2833" y="872"/>
                    <a:pt x="2833" y="872"/>
                    <a:pt x="2833" y="872"/>
                  </a:cubicBezTo>
                  <a:moveTo>
                    <a:pt x="2185" y="872"/>
                  </a:moveTo>
                  <a:cubicBezTo>
                    <a:pt x="2178" y="872"/>
                    <a:pt x="2171" y="877"/>
                    <a:pt x="2170" y="882"/>
                  </a:cubicBezTo>
                  <a:cubicBezTo>
                    <a:pt x="2170" y="888"/>
                    <a:pt x="2175" y="892"/>
                    <a:pt x="2183" y="892"/>
                  </a:cubicBezTo>
                  <a:cubicBezTo>
                    <a:pt x="2191" y="892"/>
                    <a:pt x="2198" y="888"/>
                    <a:pt x="2199" y="882"/>
                  </a:cubicBezTo>
                  <a:cubicBezTo>
                    <a:pt x="2199" y="877"/>
                    <a:pt x="2193" y="872"/>
                    <a:pt x="2185" y="872"/>
                  </a:cubicBezTo>
                  <a:cubicBezTo>
                    <a:pt x="2185" y="872"/>
                    <a:pt x="2185" y="872"/>
                    <a:pt x="2185" y="872"/>
                  </a:cubicBezTo>
                  <a:moveTo>
                    <a:pt x="2226" y="872"/>
                  </a:moveTo>
                  <a:cubicBezTo>
                    <a:pt x="2218" y="872"/>
                    <a:pt x="2211" y="876"/>
                    <a:pt x="2211" y="882"/>
                  </a:cubicBezTo>
                  <a:cubicBezTo>
                    <a:pt x="2210" y="888"/>
                    <a:pt x="2216" y="892"/>
                    <a:pt x="2224" y="892"/>
                  </a:cubicBezTo>
                  <a:cubicBezTo>
                    <a:pt x="2232" y="892"/>
                    <a:pt x="2238" y="888"/>
                    <a:pt x="2239" y="882"/>
                  </a:cubicBezTo>
                  <a:cubicBezTo>
                    <a:pt x="2239" y="876"/>
                    <a:pt x="2233" y="872"/>
                    <a:pt x="2226" y="872"/>
                  </a:cubicBezTo>
                  <a:cubicBezTo>
                    <a:pt x="2226" y="872"/>
                    <a:pt x="2226" y="872"/>
                    <a:pt x="2226" y="872"/>
                  </a:cubicBezTo>
                  <a:moveTo>
                    <a:pt x="2913" y="872"/>
                  </a:moveTo>
                  <a:cubicBezTo>
                    <a:pt x="2905" y="872"/>
                    <a:pt x="2900" y="876"/>
                    <a:pt x="2900" y="882"/>
                  </a:cubicBezTo>
                  <a:cubicBezTo>
                    <a:pt x="2901" y="888"/>
                    <a:pt x="2908" y="892"/>
                    <a:pt x="2916" y="892"/>
                  </a:cubicBezTo>
                  <a:cubicBezTo>
                    <a:pt x="2924" y="892"/>
                    <a:pt x="2930" y="888"/>
                    <a:pt x="2929" y="882"/>
                  </a:cubicBezTo>
                  <a:cubicBezTo>
                    <a:pt x="2928" y="876"/>
                    <a:pt x="2921" y="872"/>
                    <a:pt x="2913" y="872"/>
                  </a:cubicBezTo>
                  <a:cubicBezTo>
                    <a:pt x="2913" y="872"/>
                    <a:pt x="2913" y="872"/>
                    <a:pt x="2913" y="872"/>
                  </a:cubicBezTo>
                  <a:moveTo>
                    <a:pt x="2871" y="872"/>
                  </a:moveTo>
                  <a:cubicBezTo>
                    <a:pt x="2863" y="872"/>
                    <a:pt x="2857" y="876"/>
                    <a:pt x="2858" y="882"/>
                  </a:cubicBezTo>
                  <a:cubicBezTo>
                    <a:pt x="2858" y="888"/>
                    <a:pt x="2865" y="892"/>
                    <a:pt x="2873" y="892"/>
                  </a:cubicBezTo>
                  <a:cubicBezTo>
                    <a:pt x="2881" y="892"/>
                    <a:pt x="2887" y="887"/>
                    <a:pt x="2886" y="882"/>
                  </a:cubicBezTo>
                  <a:cubicBezTo>
                    <a:pt x="2885" y="876"/>
                    <a:pt x="2878" y="872"/>
                    <a:pt x="2871" y="872"/>
                  </a:cubicBezTo>
                  <a:cubicBezTo>
                    <a:pt x="2871" y="872"/>
                    <a:pt x="2871" y="872"/>
                    <a:pt x="2871" y="872"/>
                  </a:cubicBezTo>
                  <a:moveTo>
                    <a:pt x="2266" y="872"/>
                  </a:moveTo>
                  <a:cubicBezTo>
                    <a:pt x="2258" y="872"/>
                    <a:pt x="2252" y="876"/>
                    <a:pt x="2251" y="882"/>
                  </a:cubicBezTo>
                  <a:cubicBezTo>
                    <a:pt x="2251" y="888"/>
                    <a:pt x="2257" y="892"/>
                    <a:pt x="2265" y="892"/>
                  </a:cubicBezTo>
                  <a:cubicBezTo>
                    <a:pt x="2272" y="892"/>
                    <a:pt x="2279" y="887"/>
                    <a:pt x="2279" y="882"/>
                  </a:cubicBezTo>
                  <a:cubicBezTo>
                    <a:pt x="2280" y="876"/>
                    <a:pt x="2274" y="872"/>
                    <a:pt x="2266" y="872"/>
                  </a:cubicBezTo>
                  <a:cubicBezTo>
                    <a:pt x="2266" y="872"/>
                    <a:pt x="2266" y="872"/>
                    <a:pt x="2266" y="872"/>
                  </a:cubicBezTo>
                  <a:moveTo>
                    <a:pt x="2306" y="871"/>
                  </a:moveTo>
                  <a:cubicBezTo>
                    <a:pt x="2298" y="871"/>
                    <a:pt x="2292" y="876"/>
                    <a:pt x="2291" y="882"/>
                  </a:cubicBezTo>
                  <a:cubicBezTo>
                    <a:pt x="2291" y="887"/>
                    <a:pt x="2297" y="892"/>
                    <a:pt x="2305" y="892"/>
                  </a:cubicBezTo>
                  <a:cubicBezTo>
                    <a:pt x="2313" y="892"/>
                    <a:pt x="2320" y="887"/>
                    <a:pt x="2320" y="882"/>
                  </a:cubicBezTo>
                  <a:cubicBezTo>
                    <a:pt x="2320" y="876"/>
                    <a:pt x="2314" y="871"/>
                    <a:pt x="2306" y="871"/>
                  </a:cubicBezTo>
                  <a:cubicBezTo>
                    <a:pt x="2306" y="871"/>
                    <a:pt x="2306" y="871"/>
                    <a:pt x="2306" y="871"/>
                  </a:cubicBezTo>
                  <a:moveTo>
                    <a:pt x="2995" y="871"/>
                  </a:moveTo>
                  <a:cubicBezTo>
                    <a:pt x="2988" y="871"/>
                    <a:pt x="2982" y="876"/>
                    <a:pt x="2983" y="882"/>
                  </a:cubicBezTo>
                  <a:cubicBezTo>
                    <a:pt x="2984" y="887"/>
                    <a:pt x="2991" y="892"/>
                    <a:pt x="2999" y="892"/>
                  </a:cubicBezTo>
                  <a:cubicBezTo>
                    <a:pt x="3007" y="892"/>
                    <a:pt x="3012" y="887"/>
                    <a:pt x="3011" y="882"/>
                  </a:cubicBezTo>
                  <a:cubicBezTo>
                    <a:pt x="3010" y="876"/>
                    <a:pt x="3003" y="871"/>
                    <a:pt x="2995" y="871"/>
                  </a:cubicBezTo>
                  <a:cubicBezTo>
                    <a:pt x="2995" y="871"/>
                    <a:pt x="2995" y="871"/>
                    <a:pt x="2995" y="871"/>
                  </a:cubicBezTo>
                  <a:moveTo>
                    <a:pt x="2951" y="871"/>
                  </a:moveTo>
                  <a:cubicBezTo>
                    <a:pt x="2943" y="871"/>
                    <a:pt x="2938" y="876"/>
                    <a:pt x="2938" y="882"/>
                  </a:cubicBezTo>
                  <a:cubicBezTo>
                    <a:pt x="2939" y="887"/>
                    <a:pt x="2946" y="892"/>
                    <a:pt x="2954" y="892"/>
                  </a:cubicBezTo>
                  <a:cubicBezTo>
                    <a:pt x="2962" y="892"/>
                    <a:pt x="2968" y="887"/>
                    <a:pt x="2967" y="882"/>
                  </a:cubicBezTo>
                  <a:cubicBezTo>
                    <a:pt x="2966" y="876"/>
                    <a:pt x="2959" y="871"/>
                    <a:pt x="2951" y="871"/>
                  </a:cubicBezTo>
                  <a:cubicBezTo>
                    <a:pt x="2951" y="871"/>
                    <a:pt x="2951" y="871"/>
                    <a:pt x="2951" y="871"/>
                  </a:cubicBezTo>
                  <a:moveTo>
                    <a:pt x="2347" y="871"/>
                  </a:moveTo>
                  <a:cubicBezTo>
                    <a:pt x="2339" y="871"/>
                    <a:pt x="2332" y="876"/>
                    <a:pt x="2332" y="882"/>
                  </a:cubicBezTo>
                  <a:cubicBezTo>
                    <a:pt x="2332" y="887"/>
                    <a:pt x="2338" y="892"/>
                    <a:pt x="2346" y="892"/>
                  </a:cubicBezTo>
                  <a:cubicBezTo>
                    <a:pt x="2354" y="892"/>
                    <a:pt x="2360" y="887"/>
                    <a:pt x="2360" y="881"/>
                  </a:cubicBezTo>
                  <a:cubicBezTo>
                    <a:pt x="2361" y="876"/>
                    <a:pt x="2355" y="871"/>
                    <a:pt x="2347" y="871"/>
                  </a:cubicBezTo>
                  <a:cubicBezTo>
                    <a:pt x="2347" y="871"/>
                    <a:pt x="2347" y="871"/>
                    <a:pt x="2347" y="871"/>
                  </a:cubicBezTo>
                  <a:moveTo>
                    <a:pt x="2388" y="871"/>
                  </a:moveTo>
                  <a:cubicBezTo>
                    <a:pt x="2380" y="871"/>
                    <a:pt x="2373" y="876"/>
                    <a:pt x="2373" y="881"/>
                  </a:cubicBezTo>
                  <a:cubicBezTo>
                    <a:pt x="2373" y="887"/>
                    <a:pt x="2379" y="892"/>
                    <a:pt x="2387" y="892"/>
                  </a:cubicBezTo>
                  <a:cubicBezTo>
                    <a:pt x="2395" y="892"/>
                    <a:pt x="2401" y="887"/>
                    <a:pt x="2402" y="881"/>
                  </a:cubicBezTo>
                  <a:cubicBezTo>
                    <a:pt x="2402" y="876"/>
                    <a:pt x="2395" y="871"/>
                    <a:pt x="2388" y="871"/>
                  </a:cubicBezTo>
                  <a:cubicBezTo>
                    <a:pt x="2388" y="871"/>
                    <a:pt x="2388" y="871"/>
                    <a:pt x="2388" y="871"/>
                  </a:cubicBezTo>
                  <a:moveTo>
                    <a:pt x="2428" y="871"/>
                  </a:moveTo>
                  <a:cubicBezTo>
                    <a:pt x="2420" y="871"/>
                    <a:pt x="2414" y="876"/>
                    <a:pt x="2413" y="881"/>
                  </a:cubicBezTo>
                  <a:cubicBezTo>
                    <a:pt x="2413" y="887"/>
                    <a:pt x="2420" y="891"/>
                    <a:pt x="2427" y="891"/>
                  </a:cubicBezTo>
                  <a:cubicBezTo>
                    <a:pt x="2435" y="891"/>
                    <a:pt x="2442" y="887"/>
                    <a:pt x="2442" y="881"/>
                  </a:cubicBezTo>
                  <a:cubicBezTo>
                    <a:pt x="2442" y="875"/>
                    <a:pt x="2436" y="871"/>
                    <a:pt x="2428" y="871"/>
                  </a:cubicBezTo>
                  <a:cubicBezTo>
                    <a:pt x="2428" y="871"/>
                    <a:pt x="2428" y="871"/>
                    <a:pt x="2428" y="871"/>
                  </a:cubicBezTo>
                  <a:moveTo>
                    <a:pt x="2468" y="871"/>
                  </a:moveTo>
                  <a:cubicBezTo>
                    <a:pt x="2460" y="871"/>
                    <a:pt x="2454" y="875"/>
                    <a:pt x="2454" y="881"/>
                  </a:cubicBezTo>
                  <a:cubicBezTo>
                    <a:pt x="2454" y="887"/>
                    <a:pt x="2460" y="891"/>
                    <a:pt x="2468" y="891"/>
                  </a:cubicBezTo>
                  <a:cubicBezTo>
                    <a:pt x="2476" y="891"/>
                    <a:pt x="2482" y="887"/>
                    <a:pt x="2482" y="881"/>
                  </a:cubicBezTo>
                  <a:cubicBezTo>
                    <a:pt x="2482" y="875"/>
                    <a:pt x="2476" y="871"/>
                    <a:pt x="2468" y="871"/>
                  </a:cubicBezTo>
                  <a:cubicBezTo>
                    <a:pt x="2468" y="871"/>
                    <a:pt x="2468" y="871"/>
                    <a:pt x="2468" y="871"/>
                  </a:cubicBezTo>
                  <a:moveTo>
                    <a:pt x="2508" y="871"/>
                  </a:moveTo>
                  <a:cubicBezTo>
                    <a:pt x="2501" y="871"/>
                    <a:pt x="2494" y="875"/>
                    <a:pt x="2494" y="881"/>
                  </a:cubicBezTo>
                  <a:cubicBezTo>
                    <a:pt x="2494" y="887"/>
                    <a:pt x="2501" y="891"/>
                    <a:pt x="2509" y="891"/>
                  </a:cubicBezTo>
                  <a:cubicBezTo>
                    <a:pt x="2516" y="891"/>
                    <a:pt x="2523" y="886"/>
                    <a:pt x="2523" y="881"/>
                  </a:cubicBezTo>
                  <a:cubicBezTo>
                    <a:pt x="2523" y="875"/>
                    <a:pt x="2516" y="871"/>
                    <a:pt x="2508" y="871"/>
                  </a:cubicBezTo>
                  <a:cubicBezTo>
                    <a:pt x="2508" y="871"/>
                    <a:pt x="2508" y="871"/>
                    <a:pt x="2508" y="871"/>
                  </a:cubicBezTo>
                  <a:moveTo>
                    <a:pt x="2549" y="870"/>
                  </a:moveTo>
                  <a:cubicBezTo>
                    <a:pt x="2541" y="870"/>
                    <a:pt x="2535" y="875"/>
                    <a:pt x="2535" y="881"/>
                  </a:cubicBezTo>
                  <a:cubicBezTo>
                    <a:pt x="2535" y="886"/>
                    <a:pt x="2542" y="891"/>
                    <a:pt x="2549" y="891"/>
                  </a:cubicBezTo>
                  <a:cubicBezTo>
                    <a:pt x="2557" y="891"/>
                    <a:pt x="2563" y="886"/>
                    <a:pt x="2563" y="881"/>
                  </a:cubicBezTo>
                  <a:cubicBezTo>
                    <a:pt x="2563" y="875"/>
                    <a:pt x="2557" y="870"/>
                    <a:pt x="2549" y="870"/>
                  </a:cubicBezTo>
                  <a:cubicBezTo>
                    <a:pt x="2549" y="870"/>
                    <a:pt x="2549" y="870"/>
                    <a:pt x="2549" y="870"/>
                  </a:cubicBezTo>
                  <a:moveTo>
                    <a:pt x="2590" y="870"/>
                  </a:moveTo>
                  <a:cubicBezTo>
                    <a:pt x="2582" y="870"/>
                    <a:pt x="2576" y="875"/>
                    <a:pt x="2576" y="881"/>
                  </a:cubicBezTo>
                  <a:cubicBezTo>
                    <a:pt x="2576" y="886"/>
                    <a:pt x="2583" y="891"/>
                    <a:pt x="2591" y="891"/>
                  </a:cubicBezTo>
                  <a:cubicBezTo>
                    <a:pt x="2598" y="891"/>
                    <a:pt x="2605" y="886"/>
                    <a:pt x="2604" y="880"/>
                  </a:cubicBezTo>
                  <a:cubicBezTo>
                    <a:pt x="2604" y="875"/>
                    <a:pt x="2598" y="870"/>
                    <a:pt x="2590" y="870"/>
                  </a:cubicBezTo>
                  <a:cubicBezTo>
                    <a:pt x="2590" y="870"/>
                    <a:pt x="2590" y="870"/>
                    <a:pt x="2590" y="870"/>
                  </a:cubicBezTo>
                  <a:moveTo>
                    <a:pt x="2630" y="870"/>
                  </a:moveTo>
                  <a:cubicBezTo>
                    <a:pt x="2622" y="870"/>
                    <a:pt x="2616" y="875"/>
                    <a:pt x="2616" y="880"/>
                  </a:cubicBezTo>
                  <a:cubicBezTo>
                    <a:pt x="2617" y="886"/>
                    <a:pt x="2623" y="891"/>
                    <a:pt x="2631" y="891"/>
                  </a:cubicBezTo>
                  <a:cubicBezTo>
                    <a:pt x="2639" y="890"/>
                    <a:pt x="2645" y="886"/>
                    <a:pt x="2645" y="880"/>
                  </a:cubicBezTo>
                  <a:cubicBezTo>
                    <a:pt x="2644" y="875"/>
                    <a:pt x="2638" y="870"/>
                    <a:pt x="2630" y="870"/>
                  </a:cubicBezTo>
                  <a:cubicBezTo>
                    <a:pt x="2630" y="870"/>
                    <a:pt x="2630" y="870"/>
                    <a:pt x="2630" y="870"/>
                  </a:cubicBezTo>
                  <a:moveTo>
                    <a:pt x="2671" y="870"/>
                  </a:moveTo>
                  <a:cubicBezTo>
                    <a:pt x="2663" y="870"/>
                    <a:pt x="2657" y="875"/>
                    <a:pt x="2657" y="880"/>
                  </a:cubicBezTo>
                  <a:cubicBezTo>
                    <a:pt x="2658" y="886"/>
                    <a:pt x="2664" y="890"/>
                    <a:pt x="2672" y="890"/>
                  </a:cubicBezTo>
                  <a:cubicBezTo>
                    <a:pt x="2680" y="890"/>
                    <a:pt x="2686" y="886"/>
                    <a:pt x="2686" y="880"/>
                  </a:cubicBezTo>
                  <a:cubicBezTo>
                    <a:pt x="2685" y="874"/>
                    <a:pt x="2679" y="870"/>
                    <a:pt x="2671" y="870"/>
                  </a:cubicBezTo>
                  <a:cubicBezTo>
                    <a:pt x="2671" y="870"/>
                    <a:pt x="2671" y="870"/>
                    <a:pt x="2671" y="870"/>
                  </a:cubicBezTo>
                  <a:moveTo>
                    <a:pt x="3316" y="869"/>
                  </a:moveTo>
                  <a:cubicBezTo>
                    <a:pt x="3309" y="869"/>
                    <a:pt x="3303" y="874"/>
                    <a:pt x="3305" y="879"/>
                  </a:cubicBezTo>
                  <a:cubicBezTo>
                    <a:pt x="3307" y="885"/>
                    <a:pt x="3314" y="890"/>
                    <a:pt x="3322" y="890"/>
                  </a:cubicBezTo>
                  <a:cubicBezTo>
                    <a:pt x="3330" y="890"/>
                    <a:pt x="3335" y="885"/>
                    <a:pt x="3333" y="879"/>
                  </a:cubicBezTo>
                  <a:cubicBezTo>
                    <a:pt x="3332" y="874"/>
                    <a:pt x="3324" y="869"/>
                    <a:pt x="3316" y="869"/>
                  </a:cubicBezTo>
                  <a:cubicBezTo>
                    <a:pt x="3316" y="869"/>
                    <a:pt x="3316" y="869"/>
                    <a:pt x="3316" y="869"/>
                  </a:cubicBezTo>
                  <a:moveTo>
                    <a:pt x="3357" y="869"/>
                  </a:moveTo>
                  <a:cubicBezTo>
                    <a:pt x="3349" y="869"/>
                    <a:pt x="3344" y="874"/>
                    <a:pt x="3346" y="879"/>
                  </a:cubicBezTo>
                  <a:cubicBezTo>
                    <a:pt x="3348" y="885"/>
                    <a:pt x="3355" y="889"/>
                    <a:pt x="3363" y="889"/>
                  </a:cubicBezTo>
                  <a:cubicBezTo>
                    <a:pt x="3371" y="889"/>
                    <a:pt x="3376" y="885"/>
                    <a:pt x="3374" y="879"/>
                  </a:cubicBezTo>
                  <a:cubicBezTo>
                    <a:pt x="3373" y="873"/>
                    <a:pt x="3365" y="869"/>
                    <a:pt x="3357" y="869"/>
                  </a:cubicBezTo>
                  <a:cubicBezTo>
                    <a:pt x="3357" y="869"/>
                    <a:pt x="3357" y="869"/>
                    <a:pt x="3357" y="869"/>
                  </a:cubicBezTo>
                  <a:moveTo>
                    <a:pt x="3397" y="869"/>
                  </a:moveTo>
                  <a:cubicBezTo>
                    <a:pt x="3389" y="869"/>
                    <a:pt x="3384" y="873"/>
                    <a:pt x="3386" y="879"/>
                  </a:cubicBezTo>
                  <a:cubicBezTo>
                    <a:pt x="3388" y="885"/>
                    <a:pt x="3396" y="889"/>
                    <a:pt x="3403" y="889"/>
                  </a:cubicBezTo>
                  <a:cubicBezTo>
                    <a:pt x="3411" y="889"/>
                    <a:pt x="3416" y="885"/>
                    <a:pt x="3414" y="879"/>
                  </a:cubicBezTo>
                  <a:cubicBezTo>
                    <a:pt x="3413" y="873"/>
                    <a:pt x="3405" y="869"/>
                    <a:pt x="3397" y="869"/>
                  </a:cubicBezTo>
                  <a:cubicBezTo>
                    <a:pt x="3397" y="869"/>
                    <a:pt x="3397" y="869"/>
                    <a:pt x="3397" y="869"/>
                  </a:cubicBezTo>
                  <a:moveTo>
                    <a:pt x="2749" y="869"/>
                  </a:moveTo>
                  <a:cubicBezTo>
                    <a:pt x="2741" y="869"/>
                    <a:pt x="2735" y="873"/>
                    <a:pt x="2736" y="879"/>
                  </a:cubicBezTo>
                  <a:cubicBezTo>
                    <a:pt x="2736" y="885"/>
                    <a:pt x="2743" y="889"/>
                    <a:pt x="2751" y="889"/>
                  </a:cubicBezTo>
                  <a:cubicBezTo>
                    <a:pt x="2759" y="889"/>
                    <a:pt x="2765" y="884"/>
                    <a:pt x="2764" y="879"/>
                  </a:cubicBezTo>
                  <a:cubicBezTo>
                    <a:pt x="2763" y="873"/>
                    <a:pt x="2757" y="869"/>
                    <a:pt x="2749" y="869"/>
                  </a:cubicBezTo>
                  <a:cubicBezTo>
                    <a:pt x="2749" y="869"/>
                    <a:pt x="2749" y="869"/>
                    <a:pt x="2749" y="869"/>
                  </a:cubicBezTo>
                  <a:moveTo>
                    <a:pt x="3437" y="869"/>
                  </a:moveTo>
                  <a:cubicBezTo>
                    <a:pt x="3429" y="869"/>
                    <a:pt x="3425" y="873"/>
                    <a:pt x="3426" y="879"/>
                  </a:cubicBezTo>
                  <a:cubicBezTo>
                    <a:pt x="3428" y="885"/>
                    <a:pt x="3436" y="889"/>
                    <a:pt x="3444" y="889"/>
                  </a:cubicBezTo>
                  <a:cubicBezTo>
                    <a:pt x="3452" y="889"/>
                    <a:pt x="3457" y="884"/>
                    <a:pt x="3455" y="879"/>
                  </a:cubicBezTo>
                  <a:cubicBezTo>
                    <a:pt x="3453" y="873"/>
                    <a:pt x="3445" y="869"/>
                    <a:pt x="3437" y="869"/>
                  </a:cubicBezTo>
                  <a:cubicBezTo>
                    <a:pt x="3437" y="869"/>
                    <a:pt x="3437" y="869"/>
                    <a:pt x="3437" y="869"/>
                  </a:cubicBezTo>
                  <a:moveTo>
                    <a:pt x="2791" y="868"/>
                  </a:moveTo>
                  <a:cubicBezTo>
                    <a:pt x="2783" y="868"/>
                    <a:pt x="2778" y="873"/>
                    <a:pt x="2778" y="879"/>
                  </a:cubicBezTo>
                  <a:cubicBezTo>
                    <a:pt x="2779" y="884"/>
                    <a:pt x="2786" y="889"/>
                    <a:pt x="2793" y="889"/>
                  </a:cubicBezTo>
                  <a:cubicBezTo>
                    <a:pt x="2801" y="889"/>
                    <a:pt x="2807" y="884"/>
                    <a:pt x="2807" y="879"/>
                  </a:cubicBezTo>
                  <a:cubicBezTo>
                    <a:pt x="2806" y="873"/>
                    <a:pt x="2799" y="868"/>
                    <a:pt x="2791" y="868"/>
                  </a:cubicBezTo>
                  <a:cubicBezTo>
                    <a:pt x="2791" y="868"/>
                    <a:pt x="2791" y="868"/>
                    <a:pt x="2791" y="868"/>
                  </a:cubicBezTo>
                  <a:moveTo>
                    <a:pt x="3478" y="868"/>
                  </a:moveTo>
                  <a:cubicBezTo>
                    <a:pt x="3470" y="868"/>
                    <a:pt x="3465" y="873"/>
                    <a:pt x="3467" y="879"/>
                  </a:cubicBezTo>
                  <a:cubicBezTo>
                    <a:pt x="3469" y="884"/>
                    <a:pt x="3477" y="889"/>
                    <a:pt x="3485" y="889"/>
                  </a:cubicBezTo>
                  <a:cubicBezTo>
                    <a:pt x="3492" y="889"/>
                    <a:pt x="3497" y="884"/>
                    <a:pt x="3495" y="879"/>
                  </a:cubicBezTo>
                  <a:cubicBezTo>
                    <a:pt x="3493" y="873"/>
                    <a:pt x="3486" y="868"/>
                    <a:pt x="3478" y="868"/>
                  </a:cubicBezTo>
                  <a:cubicBezTo>
                    <a:pt x="3478" y="868"/>
                    <a:pt x="3478" y="868"/>
                    <a:pt x="3478" y="868"/>
                  </a:cubicBezTo>
                  <a:moveTo>
                    <a:pt x="3720" y="867"/>
                  </a:moveTo>
                  <a:cubicBezTo>
                    <a:pt x="3713" y="867"/>
                    <a:pt x="3708" y="872"/>
                    <a:pt x="3711" y="878"/>
                  </a:cubicBezTo>
                  <a:cubicBezTo>
                    <a:pt x="3713" y="883"/>
                    <a:pt x="3721" y="888"/>
                    <a:pt x="3729" y="888"/>
                  </a:cubicBezTo>
                  <a:cubicBezTo>
                    <a:pt x="3737" y="888"/>
                    <a:pt x="3741" y="883"/>
                    <a:pt x="3739" y="878"/>
                  </a:cubicBezTo>
                  <a:cubicBezTo>
                    <a:pt x="3737" y="872"/>
                    <a:pt x="3728" y="867"/>
                    <a:pt x="3721" y="867"/>
                  </a:cubicBezTo>
                  <a:cubicBezTo>
                    <a:pt x="3721" y="867"/>
                    <a:pt x="3721" y="867"/>
                    <a:pt x="3720" y="867"/>
                  </a:cubicBezTo>
                  <a:moveTo>
                    <a:pt x="3761" y="867"/>
                  </a:moveTo>
                  <a:cubicBezTo>
                    <a:pt x="3753" y="867"/>
                    <a:pt x="3749" y="872"/>
                    <a:pt x="3751" y="878"/>
                  </a:cubicBezTo>
                  <a:cubicBezTo>
                    <a:pt x="3754" y="883"/>
                    <a:pt x="3762" y="888"/>
                    <a:pt x="3770" y="888"/>
                  </a:cubicBezTo>
                  <a:cubicBezTo>
                    <a:pt x="3778" y="888"/>
                    <a:pt x="3782" y="883"/>
                    <a:pt x="3780" y="878"/>
                  </a:cubicBezTo>
                  <a:cubicBezTo>
                    <a:pt x="3777" y="872"/>
                    <a:pt x="3769" y="867"/>
                    <a:pt x="3761" y="867"/>
                  </a:cubicBezTo>
                  <a:cubicBezTo>
                    <a:pt x="3761" y="867"/>
                    <a:pt x="3761" y="867"/>
                    <a:pt x="3761" y="867"/>
                  </a:cubicBezTo>
                  <a:moveTo>
                    <a:pt x="3801" y="867"/>
                  </a:moveTo>
                  <a:cubicBezTo>
                    <a:pt x="3793" y="867"/>
                    <a:pt x="3789" y="872"/>
                    <a:pt x="3791" y="878"/>
                  </a:cubicBezTo>
                  <a:cubicBezTo>
                    <a:pt x="3794" y="883"/>
                    <a:pt x="3802" y="888"/>
                    <a:pt x="3810" y="888"/>
                  </a:cubicBezTo>
                  <a:cubicBezTo>
                    <a:pt x="3818" y="888"/>
                    <a:pt x="3822" y="883"/>
                    <a:pt x="3820" y="877"/>
                  </a:cubicBezTo>
                  <a:cubicBezTo>
                    <a:pt x="3817" y="872"/>
                    <a:pt x="3809" y="867"/>
                    <a:pt x="3801" y="867"/>
                  </a:cubicBezTo>
                  <a:cubicBezTo>
                    <a:pt x="3801" y="867"/>
                    <a:pt x="3801" y="867"/>
                    <a:pt x="3801" y="867"/>
                  </a:cubicBezTo>
                  <a:moveTo>
                    <a:pt x="3842" y="867"/>
                  </a:moveTo>
                  <a:cubicBezTo>
                    <a:pt x="3834" y="867"/>
                    <a:pt x="3829" y="872"/>
                    <a:pt x="3832" y="877"/>
                  </a:cubicBezTo>
                  <a:cubicBezTo>
                    <a:pt x="3835" y="883"/>
                    <a:pt x="3843" y="888"/>
                    <a:pt x="3851" y="888"/>
                  </a:cubicBezTo>
                  <a:cubicBezTo>
                    <a:pt x="3859" y="888"/>
                    <a:pt x="3863" y="883"/>
                    <a:pt x="3860" y="877"/>
                  </a:cubicBezTo>
                  <a:cubicBezTo>
                    <a:pt x="3858" y="872"/>
                    <a:pt x="3849" y="867"/>
                    <a:pt x="3842" y="867"/>
                  </a:cubicBezTo>
                  <a:cubicBezTo>
                    <a:pt x="3842" y="867"/>
                    <a:pt x="3842" y="867"/>
                    <a:pt x="3842" y="867"/>
                  </a:cubicBezTo>
                  <a:moveTo>
                    <a:pt x="3884" y="867"/>
                  </a:moveTo>
                  <a:cubicBezTo>
                    <a:pt x="3877" y="867"/>
                    <a:pt x="3872" y="872"/>
                    <a:pt x="3875" y="877"/>
                  </a:cubicBezTo>
                  <a:cubicBezTo>
                    <a:pt x="3878" y="883"/>
                    <a:pt x="3886" y="887"/>
                    <a:pt x="3894" y="887"/>
                  </a:cubicBezTo>
                  <a:cubicBezTo>
                    <a:pt x="3902" y="887"/>
                    <a:pt x="3906" y="883"/>
                    <a:pt x="3903" y="877"/>
                  </a:cubicBezTo>
                  <a:cubicBezTo>
                    <a:pt x="3901" y="871"/>
                    <a:pt x="3892" y="867"/>
                    <a:pt x="3884" y="867"/>
                  </a:cubicBezTo>
                  <a:cubicBezTo>
                    <a:pt x="3884" y="867"/>
                    <a:pt x="3884" y="867"/>
                    <a:pt x="3884" y="867"/>
                  </a:cubicBezTo>
                  <a:moveTo>
                    <a:pt x="3924" y="867"/>
                  </a:moveTo>
                  <a:cubicBezTo>
                    <a:pt x="3916" y="867"/>
                    <a:pt x="3912" y="871"/>
                    <a:pt x="3915" y="877"/>
                  </a:cubicBezTo>
                  <a:cubicBezTo>
                    <a:pt x="3918" y="883"/>
                    <a:pt x="3926" y="887"/>
                    <a:pt x="3934" y="887"/>
                  </a:cubicBezTo>
                  <a:cubicBezTo>
                    <a:pt x="3942" y="887"/>
                    <a:pt x="3946" y="883"/>
                    <a:pt x="3943" y="877"/>
                  </a:cubicBezTo>
                  <a:cubicBezTo>
                    <a:pt x="3941" y="871"/>
                    <a:pt x="3932" y="867"/>
                    <a:pt x="3924" y="867"/>
                  </a:cubicBezTo>
                  <a:cubicBezTo>
                    <a:pt x="3924" y="867"/>
                    <a:pt x="3924" y="867"/>
                    <a:pt x="3924" y="867"/>
                  </a:cubicBezTo>
                  <a:moveTo>
                    <a:pt x="4205" y="863"/>
                  </a:moveTo>
                  <a:cubicBezTo>
                    <a:pt x="4197" y="863"/>
                    <a:pt x="4193" y="868"/>
                    <a:pt x="4197" y="873"/>
                  </a:cubicBezTo>
                  <a:cubicBezTo>
                    <a:pt x="4200" y="879"/>
                    <a:pt x="4209" y="883"/>
                    <a:pt x="4217" y="883"/>
                  </a:cubicBezTo>
                  <a:cubicBezTo>
                    <a:pt x="4225" y="883"/>
                    <a:pt x="4228" y="879"/>
                    <a:pt x="4225" y="873"/>
                  </a:cubicBezTo>
                  <a:cubicBezTo>
                    <a:pt x="4222" y="867"/>
                    <a:pt x="4213" y="863"/>
                    <a:pt x="4205" y="863"/>
                  </a:cubicBezTo>
                  <a:cubicBezTo>
                    <a:pt x="4205" y="863"/>
                    <a:pt x="4205" y="863"/>
                    <a:pt x="4205" y="863"/>
                  </a:cubicBezTo>
                  <a:moveTo>
                    <a:pt x="62" y="853"/>
                  </a:moveTo>
                  <a:cubicBezTo>
                    <a:pt x="54" y="853"/>
                    <a:pt x="44" y="858"/>
                    <a:pt x="39" y="863"/>
                  </a:cubicBezTo>
                  <a:cubicBezTo>
                    <a:pt x="35" y="869"/>
                    <a:pt x="37" y="874"/>
                    <a:pt x="45" y="874"/>
                  </a:cubicBezTo>
                  <a:cubicBezTo>
                    <a:pt x="53" y="874"/>
                    <a:pt x="63" y="869"/>
                    <a:pt x="68" y="863"/>
                  </a:cubicBezTo>
                  <a:cubicBezTo>
                    <a:pt x="72" y="858"/>
                    <a:pt x="70" y="853"/>
                    <a:pt x="62" y="853"/>
                  </a:cubicBezTo>
                  <a:cubicBezTo>
                    <a:pt x="62" y="853"/>
                    <a:pt x="62" y="853"/>
                    <a:pt x="62" y="853"/>
                  </a:cubicBezTo>
                  <a:moveTo>
                    <a:pt x="102" y="853"/>
                  </a:moveTo>
                  <a:cubicBezTo>
                    <a:pt x="94" y="853"/>
                    <a:pt x="84" y="858"/>
                    <a:pt x="79" y="863"/>
                  </a:cubicBezTo>
                  <a:cubicBezTo>
                    <a:pt x="75" y="869"/>
                    <a:pt x="78" y="873"/>
                    <a:pt x="85" y="873"/>
                  </a:cubicBezTo>
                  <a:cubicBezTo>
                    <a:pt x="93" y="873"/>
                    <a:pt x="103" y="869"/>
                    <a:pt x="108" y="863"/>
                  </a:cubicBezTo>
                  <a:cubicBezTo>
                    <a:pt x="112" y="858"/>
                    <a:pt x="110" y="853"/>
                    <a:pt x="102" y="853"/>
                  </a:cubicBezTo>
                  <a:cubicBezTo>
                    <a:pt x="102" y="853"/>
                    <a:pt x="102" y="853"/>
                    <a:pt x="102" y="853"/>
                  </a:cubicBezTo>
                  <a:moveTo>
                    <a:pt x="142" y="853"/>
                  </a:moveTo>
                  <a:cubicBezTo>
                    <a:pt x="134" y="853"/>
                    <a:pt x="124" y="858"/>
                    <a:pt x="120" y="863"/>
                  </a:cubicBezTo>
                  <a:cubicBezTo>
                    <a:pt x="115" y="869"/>
                    <a:pt x="118" y="873"/>
                    <a:pt x="126" y="873"/>
                  </a:cubicBezTo>
                  <a:cubicBezTo>
                    <a:pt x="134" y="873"/>
                    <a:pt x="144" y="869"/>
                    <a:pt x="148" y="863"/>
                  </a:cubicBezTo>
                  <a:cubicBezTo>
                    <a:pt x="153" y="857"/>
                    <a:pt x="150" y="853"/>
                    <a:pt x="142" y="853"/>
                  </a:cubicBezTo>
                  <a:cubicBezTo>
                    <a:pt x="142" y="853"/>
                    <a:pt x="142" y="853"/>
                    <a:pt x="142" y="853"/>
                  </a:cubicBezTo>
                  <a:moveTo>
                    <a:pt x="221" y="853"/>
                  </a:moveTo>
                  <a:cubicBezTo>
                    <a:pt x="213" y="853"/>
                    <a:pt x="204" y="857"/>
                    <a:pt x="199" y="863"/>
                  </a:cubicBezTo>
                  <a:cubicBezTo>
                    <a:pt x="195" y="869"/>
                    <a:pt x="198" y="873"/>
                    <a:pt x="206" y="873"/>
                  </a:cubicBezTo>
                  <a:cubicBezTo>
                    <a:pt x="213" y="873"/>
                    <a:pt x="223" y="868"/>
                    <a:pt x="228" y="863"/>
                  </a:cubicBezTo>
                  <a:cubicBezTo>
                    <a:pt x="232" y="857"/>
                    <a:pt x="229" y="853"/>
                    <a:pt x="221" y="853"/>
                  </a:cubicBezTo>
                  <a:cubicBezTo>
                    <a:pt x="221" y="853"/>
                    <a:pt x="221" y="853"/>
                    <a:pt x="221" y="853"/>
                  </a:cubicBezTo>
                  <a:moveTo>
                    <a:pt x="184" y="853"/>
                  </a:moveTo>
                  <a:cubicBezTo>
                    <a:pt x="176" y="853"/>
                    <a:pt x="166" y="857"/>
                    <a:pt x="161" y="863"/>
                  </a:cubicBezTo>
                  <a:cubicBezTo>
                    <a:pt x="157" y="869"/>
                    <a:pt x="160" y="873"/>
                    <a:pt x="168" y="873"/>
                  </a:cubicBezTo>
                  <a:cubicBezTo>
                    <a:pt x="175" y="873"/>
                    <a:pt x="185" y="868"/>
                    <a:pt x="190" y="863"/>
                  </a:cubicBezTo>
                  <a:cubicBezTo>
                    <a:pt x="194" y="857"/>
                    <a:pt x="191" y="853"/>
                    <a:pt x="184" y="853"/>
                  </a:cubicBezTo>
                  <a:cubicBezTo>
                    <a:pt x="184" y="853"/>
                    <a:pt x="184" y="853"/>
                    <a:pt x="184" y="853"/>
                  </a:cubicBezTo>
                  <a:moveTo>
                    <a:pt x="343" y="852"/>
                  </a:moveTo>
                  <a:cubicBezTo>
                    <a:pt x="335" y="852"/>
                    <a:pt x="325" y="857"/>
                    <a:pt x="321" y="862"/>
                  </a:cubicBezTo>
                  <a:cubicBezTo>
                    <a:pt x="317" y="868"/>
                    <a:pt x="320" y="873"/>
                    <a:pt x="328" y="873"/>
                  </a:cubicBezTo>
                  <a:cubicBezTo>
                    <a:pt x="336" y="873"/>
                    <a:pt x="346" y="868"/>
                    <a:pt x="350" y="862"/>
                  </a:cubicBezTo>
                  <a:cubicBezTo>
                    <a:pt x="354" y="857"/>
                    <a:pt x="351" y="852"/>
                    <a:pt x="343" y="852"/>
                  </a:cubicBezTo>
                  <a:cubicBezTo>
                    <a:pt x="343" y="852"/>
                    <a:pt x="343" y="852"/>
                    <a:pt x="343" y="852"/>
                  </a:cubicBezTo>
                  <a:moveTo>
                    <a:pt x="378" y="852"/>
                  </a:moveTo>
                  <a:cubicBezTo>
                    <a:pt x="370" y="852"/>
                    <a:pt x="360" y="857"/>
                    <a:pt x="356" y="862"/>
                  </a:cubicBezTo>
                  <a:cubicBezTo>
                    <a:pt x="352" y="868"/>
                    <a:pt x="355" y="872"/>
                    <a:pt x="363" y="872"/>
                  </a:cubicBezTo>
                  <a:cubicBezTo>
                    <a:pt x="371" y="872"/>
                    <a:pt x="380" y="868"/>
                    <a:pt x="384" y="862"/>
                  </a:cubicBezTo>
                  <a:cubicBezTo>
                    <a:pt x="388" y="857"/>
                    <a:pt x="385" y="852"/>
                    <a:pt x="378" y="852"/>
                  </a:cubicBezTo>
                  <a:cubicBezTo>
                    <a:pt x="378" y="852"/>
                    <a:pt x="378" y="852"/>
                    <a:pt x="378" y="852"/>
                  </a:cubicBezTo>
                  <a:moveTo>
                    <a:pt x="662" y="850"/>
                  </a:moveTo>
                  <a:cubicBezTo>
                    <a:pt x="654" y="850"/>
                    <a:pt x="645" y="855"/>
                    <a:pt x="641" y="860"/>
                  </a:cubicBezTo>
                  <a:cubicBezTo>
                    <a:pt x="638" y="866"/>
                    <a:pt x="641" y="870"/>
                    <a:pt x="649" y="870"/>
                  </a:cubicBezTo>
                  <a:cubicBezTo>
                    <a:pt x="657" y="870"/>
                    <a:pt x="666" y="866"/>
                    <a:pt x="670" y="860"/>
                  </a:cubicBezTo>
                  <a:cubicBezTo>
                    <a:pt x="673" y="855"/>
                    <a:pt x="670" y="850"/>
                    <a:pt x="662" y="850"/>
                  </a:cubicBezTo>
                  <a:cubicBezTo>
                    <a:pt x="662" y="850"/>
                    <a:pt x="662" y="850"/>
                    <a:pt x="662" y="850"/>
                  </a:cubicBezTo>
                  <a:moveTo>
                    <a:pt x="1708" y="846"/>
                  </a:moveTo>
                  <a:cubicBezTo>
                    <a:pt x="1700" y="846"/>
                    <a:pt x="1693" y="851"/>
                    <a:pt x="1691" y="856"/>
                  </a:cubicBezTo>
                  <a:cubicBezTo>
                    <a:pt x="1690" y="862"/>
                    <a:pt x="1695" y="866"/>
                    <a:pt x="1703" y="866"/>
                  </a:cubicBezTo>
                  <a:cubicBezTo>
                    <a:pt x="1711" y="866"/>
                    <a:pt x="1718" y="862"/>
                    <a:pt x="1720" y="856"/>
                  </a:cubicBezTo>
                  <a:cubicBezTo>
                    <a:pt x="1721" y="851"/>
                    <a:pt x="1716" y="846"/>
                    <a:pt x="1708" y="846"/>
                  </a:cubicBezTo>
                  <a:cubicBezTo>
                    <a:pt x="1708" y="846"/>
                    <a:pt x="1708" y="846"/>
                    <a:pt x="1708" y="846"/>
                  </a:cubicBezTo>
                  <a:moveTo>
                    <a:pt x="1746" y="846"/>
                  </a:moveTo>
                  <a:cubicBezTo>
                    <a:pt x="1738" y="846"/>
                    <a:pt x="1731" y="851"/>
                    <a:pt x="1729" y="856"/>
                  </a:cubicBezTo>
                  <a:cubicBezTo>
                    <a:pt x="1728" y="862"/>
                    <a:pt x="1733" y="866"/>
                    <a:pt x="1741" y="866"/>
                  </a:cubicBezTo>
                  <a:cubicBezTo>
                    <a:pt x="1749" y="866"/>
                    <a:pt x="1756" y="862"/>
                    <a:pt x="1757" y="856"/>
                  </a:cubicBezTo>
                  <a:cubicBezTo>
                    <a:pt x="1759" y="850"/>
                    <a:pt x="1754" y="846"/>
                    <a:pt x="1746" y="846"/>
                  </a:cubicBezTo>
                  <a:cubicBezTo>
                    <a:pt x="1746" y="846"/>
                    <a:pt x="1746" y="846"/>
                    <a:pt x="1746" y="846"/>
                  </a:cubicBezTo>
                  <a:moveTo>
                    <a:pt x="1786" y="846"/>
                  </a:moveTo>
                  <a:cubicBezTo>
                    <a:pt x="1778" y="846"/>
                    <a:pt x="1771" y="850"/>
                    <a:pt x="1769" y="856"/>
                  </a:cubicBezTo>
                  <a:cubicBezTo>
                    <a:pt x="1768" y="862"/>
                    <a:pt x="1773" y="866"/>
                    <a:pt x="1781" y="866"/>
                  </a:cubicBezTo>
                  <a:cubicBezTo>
                    <a:pt x="1789" y="866"/>
                    <a:pt x="1796" y="861"/>
                    <a:pt x="1797" y="856"/>
                  </a:cubicBezTo>
                  <a:cubicBezTo>
                    <a:pt x="1799" y="850"/>
                    <a:pt x="1794" y="846"/>
                    <a:pt x="1786" y="846"/>
                  </a:cubicBezTo>
                  <a:cubicBezTo>
                    <a:pt x="1786" y="846"/>
                    <a:pt x="1786" y="846"/>
                    <a:pt x="1786" y="846"/>
                  </a:cubicBezTo>
                  <a:moveTo>
                    <a:pt x="1826" y="846"/>
                  </a:moveTo>
                  <a:cubicBezTo>
                    <a:pt x="1818" y="846"/>
                    <a:pt x="1811" y="850"/>
                    <a:pt x="1810" y="856"/>
                  </a:cubicBezTo>
                  <a:cubicBezTo>
                    <a:pt x="1808" y="861"/>
                    <a:pt x="1814" y="866"/>
                    <a:pt x="1821" y="866"/>
                  </a:cubicBezTo>
                  <a:cubicBezTo>
                    <a:pt x="1829" y="866"/>
                    <a:pt x="1837" y="861"/>
                    <a:pt x="1838" y="856"/>
                  </a:cubicBezTo>
                  <a:cubicBezTo>
                    <a:pt x="1839" y="850"/>
                    <a:pt x="1834" y="846"/>
                    <a:pt x="1826" y="846"/>
                  </a:cubicBezTo>
                  <a:cubicBezTo>
                    <a:pt x="1826" y="846"/>
                    <a:pt x="1826" y="846"/>
                    <a:pt x="1826" y="846"/>
                  </a:cubicBezTo>
                  <a:moveTo>
                    <a:pt x="1866" y="845"/>
                  </a:moveTo>
                  <a:cubicBezTo>
                    <a:pt x="1859" y="845"/>
                    <a:pt x="1851" y="850"/>
                    <a:pt x="1850" y="856"/>
                  </a:cubicBezTo>
                  <a:cubicBezTo>
                    <a:pt x="1849" y="861"/>
                    <a:pt x="1854" y="866"/>
                    <a:pt x="1862" y="866"/>
                  </a:cubicBezTo>
                  <a:cubicBezTo>
                    <a:pt x="1870" y="866"/>
                    <a:pt x="1877" y="861"/>
                    <a:pt x="1878" y="855"/>
                  </a:cubicBezTo>
                  <a:cubicBezTo>
                    <a:pt x="1880" y="850"/>
                    <a:pt x="1874" y="845"/>
                    <a:pt x="1867" y="845"/>
                  </a:cubicBezTo>
                  <a:cubicBezTo>
                    <a:pt x="1867" y="845"/>
                    <a:pt x="1867" y="845"/>
                    <a:pt x="1866" y="845"/>
                  </a:cubicBezTo>
                  <a:moveTo>
                    <a:pt x="1906" y="845"/>
                  </a:moveTo>
                  <a:cubicBezTo>
                    <a:pt x="1899" y="845"/>
                    <a:pt x="1891" y="850"/>
                    <a:pt x="1890" y="855"/>
                  </a:cubicBezTo>
                  <a:cubicBezTo>
                    <a:pt x="1889" y="861"/>
                    <a:pt x="1895" y="866"/>
                    <a:pt x="1902" y="866"/>
                  </a:cubicBezTo>
                  <a:cubicBezTo>
                    <a:pt x="1910" y="866"/>
                    <a:pt x="1917" y="861"/>
                    <a:pt x="1918" y="855"/>
                  </a:cubicBezTo>
                  <a:cubicBezTo>
                    <a:pt x="1919" y="850"/>
                    <a:pt x="1914" y="845"/>
                    <a:pt x="1906" y="845"/>
                  </a:cubicBezTo>
                  <a:cubicBezTo>
                    <a:pt x="1906" y="845"/>
                    <a:pt x="1906" y="845"/>
                    <a:pt x="1906" y="845"/>
                  </a:cubicBezTo>
                  <a:moveTo>
                    <a:pt x="1946" y="845"/>
                  </a:moveTo>
                  <a:cubicBezTo>
                    <a:pt x="1939" y="845"/>
                    <a:pt x="1932" y="850"/>
                    <a:pt x="1930" y="855"/>
                  </a:cubicBezTo>
                  <a:cubicBezTo>
                    <a:pt x="1929" y="861"/>
                    <a:pt x="1935" y="865"/>
                    <a:pt x="1943" y="865"/>
                  </a:cubicBezTo>
                  <a:cubicBezTo>
                    <a:pt x="1950" y="865"/>
                    <a:pt x="1958" y="861"/>
                    <a:pt x="1959" y="855"/>
                  </a:cubicBezTo>
                  <a:cubicBezTo>
                    <a:pt x="1960" y="850"/>
                    <a:pt x="1954" y="845"/>
                    <a:pt x="1946" y="845"/>
                  </a:cubicBezTo>
                  <a:cubicBezTo>
                    <a:pt x="1946" y="845"/>
                    <a:pt x="1946" y="845"/>
                    <a:pt x="1946" y="845"/>
                  </a:cubicBezTo>
                  <a:moveTo>
                    <a:pt x="1986" y="845"/>
                  </a:moveTo>
                  <a:cubicBezTo>
                    <a:pt x="1978" y="845"/>
                    <a:pt x="1971" y="849"/>
                    <a:pt x="1970" y="855"/>
                  </a:cubicBezTo>
                  <a:cubicBezTo>
                    <a:pt x="1969" y="861"/>
                    <a:pt x="1975" y="865"/>
                    <a:pt x="1983" y="865"/>
                  </a:cubicBezTo>
                  <a:cubicBezTo>
                    <a:pt x="1991" y="865"/>
                    <a:pt x="1998" y="861"/>
                    <a:pt x="1999" y="855"/>
                  </a:cubicBezTo>
                  <a:cubicBezTo>
                    <a:pt x="1999" y="849"/>
                    <a:pt x="1994" y="845"/>
                    <a:pt x="1986" y="845"/>
                  </a:cubicBezTo>
                  <a:cubicBezTo>
                    <a:pt x="1986" y="845"/>
                    <a:pt x="1986" y="845"/>
                    <a:pt x="1986" y="845"/>
                  </a:cubicBezTo>
                  <a:moveTo>
                    <a:pt x="2026" y="845"/>
                  </a:moveTo>
                  <a:cubicBezTo>
                    <a:pt x="2019" y="845"/>
                    <a:pt x="2012" y="849"/>
                    <a:pt x="2011" y="855"/>
                  </a:cubicBezTo>
                  <a:cubicBezTo>
                    <a:pt x="2010" y="861"/>
                    <a:pt x="2015" y="865"/>
                    <a:pt x="2023" y="865"/>
                  </a:cubicBezTo>
                  <a:cubicBezTo>
                    <a:pt x="2031" y="865"/>
                    <a:pt x="2038" y="860"/>
                    <a:pt x="2039" y="855"/>
                  </a:cubicBezTo>
                  <a:cubicBezTo>
                    <a:pt x="2040" y="849"/>
                    <a:pt x="2034" y="845"/>
                    <a:pt x="2026" y="845"/>
                  </a:cubicBezTo>
                  <a:cubicBezTo>
                    <a:pt x="2026" y="845"/>
                    <a:pt x="2026" y="845"/>
                    <a:pt x="2026" y="845"/>
                  </a:cubicBezTo>
                  <a:moveTo>
                    <a:pt x="2068" y="844"/>
                  </a:moveTo>
                  <a:cubicBezTo>
                    <a:pt x="2060" y="844"/>
                    <a:pt x="2053" y="849"/>
                    <a:pt x="2052" y="855"/>
                  </a:cubicBezTo>
                  <a:cubicBezTo>
                    <a:pt x="2051" y="860"/>
                    <a:pt x="2057" y="865"/>
                    <a:pt x="2065" y="865"/>
                  </a:cubicBezTo>
                  <a:cubicBezTo>
                    <a:pt x="2073" y="865"/>
                    <a:pt x="2080" y="860"/>
                    <a:pt x="2080" y="855"/>
                  </a:cubicBezTo>
                  <a:cubicBezTo>
                    <a:pt x="2081" y="849"/>
                    <a:pt x="2076" y="844"/>
                    <a:pt x="2068" y="844"/>
                  </a:cubicBezTo>
                  <a:cubicBezTo>
                    <a:pt x="2068" y="844"/>
                    <a:pt x="2068" y="844"/>
                    <a:pt x="2068" y="844"/>
                  </a:cubicBezTo>
                  <a:moveTo>
                    <a:pt x="2108" y="844"/>
                  </a:moveTo>
                  <a:cubicBezTo>
                    <a:pt x="2100" y="844"/>
                    <a:pt x="2093" y="849"/>
                    <a:pt x="2092" y="855"/>
                  </a:cubicBezTo>
                  <a:cubicBezTo>
                    <a:pt x="2091" y="860"/>
                    <a:pt x="2097" y="865"/>
                    <a:pt x="2105" y="865"/>
                  </a:cubicBezTo>
                  <a:cubicBezTo>
                    <a:pt x="2113" y="865"/>
                    <a:pt x="2120" y="860"/>
                    <a:pt x="2120" y="854"/>
                  </a:cubicBezTo>
                  <a:cubicBezTo>
                    <a:pt x="2121" y="849"/>
                    <a:pt x="2115" y="844"/>
                    <a:pt x="2108" y="844"/>
                  </a:cubicBezTo>
                  <a:cubicBezTo>
                    <a:pt x="2108" y="844"/>
                    <a:pt x="2108" y="844"/>
                    <a:pt x="2108" y="844"/>
                  </a:cubicBezTo>
                  <a:moveTo>
                    <a:pt x="2148" y="844"/>
                  </a:moveTo>
                  <a:cubicBezTo>
                    <a:pt x="2140" y="844"/>
                    <a:pt x="2133" y="849"/>
                    <a:pt x="2132" y="854"/>
                  </a:cubicBezTo>
                  <a:cubicBezTo>
                    <a:pt x="2132" y="860"/>
                    <a:pt x="2138" y="865"/>
                    <a:pt x="2145" y="865"/>
                  </a:cubicBezTo>
                  <a:cubicBezTo>
                    <a:pt x="2153" y="864"/>
                    <a:pt x="2160" y="860"/>
                    <a:pt x="2161" y="854"/>
                  </a:cubicBezTo>
                  <a:cubicBezTo>
                    <a:pt x="2161" y="849"/>
                    <a:pt x="2155" y="844"/>
                    <a:pt x="2148" y="844"/>
                  </a:cubicBezTo>
                  <a:cubicBezTo>
                    <a:pt x="2148" y="844"/>
                    <a:pt x="2148" y="844"/>
                    <a:pt x="2148" y="844"/>
                  </a:cubicBezTo>
                  <a:moveTo>
                    <a:pt x="2188" y="844"/>
                  </a:moveTo>
                  <a:cubicBezTo>
                    <a:pt x="2180" y="844"/>
                    <a:pt x="2174" y="849"/>
                    <a:pt x="2173" y="854"/>
                  </a:cubicBezTo>
                  <a:cubicBezTo>
                    <a:pt x="2173" y="860"/>
                    <a:pt x="2178" y="864"/>
                    <a:pt x="2186" y="864"/>
                  </a:cubicBezTo>
                  <a:cubicBezTo>
                    <a:pt x="2194" y="864"/>
                    <a:pt x="2201" y="860"/>
                    <a:pt x="2201" y="854"/>
                  </a:cubicBezTo>
                  <a:cubicBezTo>
                    <a:pt x="2202" y="848"/>
                    <a:pt x="2196" y="844"/>
                    <a:pt x="2188" y="844"/>
                  </a:cubicBezTo>
                  <a:cubicBezTo>
                    <a:pt x="2188" y="844"/>
                    <a:pt x="2188" y="844"/>
                    <a:pt x="2188" y="844"/>
                  </a:cubicBezTo>
                  <a:moveTo>
                    <a:pt x="2228" y="844"/>
                  </a:moveTo>
                  <a:cubicBezTo>
                    <a:pt x="2220" y="844"/>
                    <a:pt x="2214" y="848"/>
                    <a:pt x="2213" y="854"/>
                  </a:cubicBezTo>
                  <a:cubicBezTo>
                    <a:pt x="2213" y="860"/>
                    <a:pt x="2218" y="864"/>
                    <a:pt x="2226" y="864"/>
                  </a:cubicBezTo>
                  <a:cubicBezTo>
                    <a:pt x="2234" y="864"/>
                    <a:pt x="2241" y="860"/>
                    <a:pt x="2241" y="854"/>
                  </a:cubicBezTo>
                  <a:cubicBezTo>
                    <a:pt x="2242" y="848"/>
                    <a:pt x="2236" y="844"/>
                    <a:pt x="2228" y="844"/>
                  </a:cubicBezTo>
                  <a:cubicBezTo>
                    <a:pt x="2228" y="844"/>
                    <a:pt x="2228" y="844"/>
                    <a:pt x="2228" y="844"/>
                  </a:cubicBezTo>
                  <a:moveTo>
                    <a:pt x="2268" y="844"/>
                  </a:moveTo>
                  <a:cubicBezTo>
                    <a:pt x="2260" y="844"/>
                    <a:pt x="2254" y="848"/>
                    <a:pt x="2253" y="854"/>
                  </a:cubicBezTo>
                  <a:cubicBezTo>
                    <a:pt x="2253" y="859"/>
                    <a:pt x="2259" y="864"/>
                    <a:pt x="2267" y="864"/>
                  </a:cubicBezTo>
                  <a:cubicBezTo>
                    <a:pt x="2274" y="864"/>
                    <a:pt x="2281" y="859"/>
                    <a:pt x="2281" y="854"/>
                  </a:cubicBezTo>
                  <a:cubicBezTo>
                    <a:pt x="2282" y="848"/>
                    <a:pt x="2276" y="844"/>
                    <a:pt x="2268" y="844"/>
                  </a:cubicBezTo>
                  <a:cubicBezTo>
                    <a:pt x="2268" y="844"/>
                    <a:pt x="2268" y="844"/>
                    <a:pt x="2268" y="844"/>
                  </a:cubicBezTo>
                  <a:moveTo>
                    <a:pt x="2308" y="843"/>
                  </a:moveTo>
                  <a:cubicBezTo>
                    <a:pt x="2300" y="843"/>
                    <a:pt x="2294" y="848"/>
                    <a:pt x="2293" y="854"/>
                  </a:cubicBezTo>
                  <a:cubicBezTo>
                    <a:pt x="2293" y="859"/>
                    <a:pt x="2299" y="864"/>
                    <a:pt x="2307" y="864"/>
                  </a:cubicBezTo>
                  <a:cubicBezTo>
                    <a:pt x="2314" y="864"/>
                    <a:pt x="2321" y="859"/>
                    <a:pt x="2321" y="854"/>
                  </a:cubicBezTo>
                  <a:cubicBezTo>
                    <a:pt x="2322" y="848"/>
                    <a:pt x="2316" y="843"/>
                    <a:pt x="2308" y="843"/>
                  </a:cubicBezTo>
                  <a:cubicBezTo>
                    <a:pt x="2308" y="843"/>
                    <a:pt x="2308" y="843"/>
                    <a:pt x="2308" y="843"/>
                  </a:cubicBezTo>
                  <a:moveTo>
                    <a:pt x="2348" y="843"/>
                  </a:moveTo>
                  <a:cubicBezTo>
                    <a:pt x="2340" y="843"/>
                    <a:pt x="2334" y="848"/>
                    <a:pt x="2333" y="853"/>
                  </a:cubicBezTo>
                  <a:cubicBezTo>
                    <a:pt x="2333" y="859"/>
                    <a:pt x="2339" y="864"/>
                    <a:pt x="2347" y="864"/>
                  </a:cubicBezTo>
                  <a:cubicBezTo>
                    <a:pt x="2355" y="864"/>
                    <a:pt x="2361" y="859"/>
                    <a:pt x="2362" y="853"/>
                  </a:cubicBezTo>
                  <a:cubicBezTo>
                    <a:pt x="2362" y="848"/>
                    <a:pt x="2356" y="843"/>
                    <a:pt x="2348" y="843"/>
                  </a:cubicBezTo>
                  <a:cubicBezTo>
                    <a:pt x="2348" y="843"/>
                    <a:pt x="2348" y="843"/>
                    <a:pt x="2348" y="843"/>
                  </a:cubicBezTo>
                  <a:moveTo>
                    <a:pt x="2388" y="843"/>
                  </a:moveTo>
                  <a:cubicBezTo>
                    <a:pt x="2381" y="843"/>
                    <a:pt x="2374" y="848"/>
                    <a:pt x="2374" y="853"/>
                  </a:cubicBezTo>
                  <a:cubicBezTo>
                    <a:pt x="2374" y="859"/>
                    <a:pt x="2380" y="864"/>
                    <a:pt x="2388" y="863"/>
                  </a:cubicBezTo>
                  <a:cubicBezTo>
                    <a:pt x="2396" y="863"/>
                    <a:pt x="2402" y="859"/>
                    <a:pt x="2402" y="853"/>
                  </a:cubicBezTo>
                  <a:cubicBezTo>
                    <a:pt x="2402" y="848"/>
                    <a:pt x="2396" y="843"/>
                    <a:pt x="2389" y="843"/>
                  </a:cubicBezTo>
                  <a:cubicBezTo>
                    <a:pt x="2389" y="843"/>
                    <a:pt x="2389" y="843"/>
                    <a:pt x="2388" y="843"/>
                  </a:cubicBezTo>
                  <a:moveTo>
                    <a:pt x="2428" y="843"/>
                  </a:moveTo>
                  <a:cubicBezTo>
                    <a:pt x="2421" y="843"/>
                    <a:pt x="2414" y="847"/>
                    <a:pt x="2414" y="853"/>
                  </a:cubicBezTo>
                  <a:cubicBezTo>
                    <a:pt x="2414" y="859"/>
                    <a:pt x="2420" y="863"/>
                    <a:pt x="2428" y="863"/>
                  </a:cubicBezTo>
                  <a:cubicBezTo>
                    <a:pt x="2436" y="863"/>
                    <a:pt x="2442" y="859"/>
                    <a:pt x="2442" y="853"/>
                  </a:cubicBezTo>
                  <a:cubicBezTo>
                    <a:pt x="2442" y="847"/>
                    <a:pt x="2436" y="843"/>
                    <a:pt x="2428" y="843"/>
                  </a:cubicBezTo>
                  <a:cubicBezTo>
                    <a:pt x="2428" y="843"/>
                    <a:pt x="2428" y="843"/>
                    <a:pt x="2428" y="843"/>
                  </a:cubicBezTo>
                  <a:moveTo>
                    <a:pt x="2468" y="843"/>
                  </a:moveTo>
                  <a:cubicBezTo>
                    <a:pt x="2461" y="843"/>
                    <a:pt x="2454" y="847"/>
                    <a:pt x="2454" y="853"/>
                  </a:cubicBezTo>
                  <a:cubicBezTo>
                    <a:pt x="2454" y="859"/>
                    <a:pt x="2460" y="863"/>
                    <a:pt x="2468" y="863"/>
                  </a:cubicBezTo>
                  <a:cubicBezTo>
                    <a:pt x="2476" y="863"/>
                    <a:pt x="2482" y="858"/>
                    <a:pt x="2482" y="853"/>
                  </a:cubicBezTo>
                  <a:cubicBezTo>
                    <a:pt x="2482" y="847"/>
                    <a:pt x="2476" y="843"/>
                    <a:pt x="2468" y="843"/>
                  </a:cubicBezTo>
                  <a:cubicBezTo>
                    <a:pt x="2468" y="843"/>
                    <a:pt x="2468" y="843"/>
                    <a:pt x="2468" y="843"/>
                  </a:cubicBezTo>
                  <a:moveTo>
                    <a:pt x="2829" y="843"/>
                  </a:moveTo>
                  <a:cubicBezTo>
                    <a:pt x="2821" y="843"/>
                    <a:pt x="2816" y="847"/>
                    <a:pt x="2816" y="853"/>
                  </a:cubicBezTo>
                  <a:cubicBezTo>
                    <a:pt x="2817" y="858"/>
                    <a:pt x="2824" y="863"/>
                    <a:pt x="2831" y="863"/>
                  </a:cubicBezTo>
                  <a:cubicBezTo>
                    <a:pt x="2839" y="863"/>
                    <a:pt x="2845" y="858"/>
                    <a:pt x="2844" y="853"/>
                  </a:cubicBezTo>
                  <a:cubicBezTo>
                    <a:pt x="2844" y="847"/>
                    <a:pt x="2837" y="843"/>
                    <a:pt x="2829" y="843"/>
                  </a:cubicBezTo>
                  <a:cubicBezTo>
                    <a:pt x="2829" y="843"/>
                    <a:pt x="2829" y="843"/>
                    <a:pt x="2829" y="843"/>
                  </a:cubicBezTo>
                  <a:moveTo>
                    <a:pt x="2508" y="843"/>
                  </a:moveTo>
                  <a:cubicBezTo>
                    <a:pt x="2500" y="843"/>
                    <a:pt x="2494" y="847"/>
                    <a:pt x="2494" y="853"/>
                  </a:cubicBezTo>
                  <a:cubicBezTo>
                    <a:pt x="2494" y="858"/>
                    <a:pt x="2501" y="863"/>
                    <a:pt x="2508" y="863"/>
                  </a:cubicBezTo>
                  <a:cubicBezTo>
                    <a:pt x="2516" y="863"/>
                    <a:pt x="2522" y="858"/>
                    <a:pt x="2522" y="853"/>
                  </a:cubicBezTo>
                  <a:cubicBezTo>
                    <a:pt x="2522" y="847"/>
                    <a:pt x="2516" y="843"/>
                    <a:pt x="2508" y="843"/>
                  </a:cubicBezTo>
                  <a:cubicBezTo>
                    <a:pt x="2508" y="843"/>
                    <a:pt x="2508" y="843"/>
                    <a:pt x="2508" y="843"/>
                  </a:cubicBezTo>
                  <a:moveTo>
                    <a:pt x="2548" y="842"/>
                  </a:moveTo>
                  <a:cubicBezTo>
                    <a:pt x="2541" y="842"/>
                    <a:pt x="2534" y="847"/>
                    <a:pt x="2534" y="853"/>
                  </a:cubicBezTo>
                  <a:cubicBezTo>
                    <a:pt x="2535" y="858"/>
                    <a:pt x="2541" y="863"/>
                    <a:pt x="2549" y="863"/>
                  </a:cubicBezTo>
                  <a:cubicBezTo>
                    <a:pt x="2557" y="863"/>
                    <a:pt x="2563" y="858"/>
                    <a:pt x="2563" y="852"/>
                  </a:cubicBezTo>
                  <a:cubicBezTo>
                    <a:pt x="2562" y="847"/>
                    <a:pt x="2556" y="842"/>
                    <a:pt x="2548" y="842"/>
                  </a:cubicBezTo>
                  <a:cubicBezTo>
                    <a:pt x="2548" y="842"/>
                    <a:pt x="2548" y="842"/>
                    <a:pt x="2548" y="842"/>
                  </a:cubicBezTo>
                  <a:moveTo>
                    <a:pt x="2909" y="842"/>
                  </a:moveTo>
                  <a:cubicBezTo>
                    <a:pt x="2901" y="842"/>
                    <a:pt x="2895" y="847"/>
                    <a:pt x="2896" y="852"/>
                  </a:cubicBezTo>
                  <a:cubicBezTo>
                    <a:pt x="2897" y="858"/>
                    <a:pt x="2904" y="863"/>
                    <a:pt x="2912" y="863"/>
                  </a:cubicBezTo>
                  <a:cubicBezTo>
                    <a:pt x="2919" y="863"/>
                    <a:pt x="2925" y="858"/>
                    <a:pt x="2924" y="852"/>
                  </a:cubicBezTo>
                  <a:cubicBezTo>
                    <a:pt x="2923" y="847"/>
                    <a:pt x="2917" y="842"/>
                    <a:pt x="2909" y="842"/>
                  </a:cubicBezTo>
                  <a:cubicBezTo>
                    <a:pt x="2909" y="842"/>
                    <a:pt x="2909" y="842"/>
                    <a:pt x="2909" y="842"/>
                  </a:cubicBezTo>
                  <a:moveTo>
                    <a:pt x="2589" y="842"/>
                  </a:moveTo>
                  <a:cubicBezTo>
                    <a:pt x="2581" y="842"/>
                    <a:pt x="2575" y="847"/>
                    <a:pt x="2575" y="852"/>
                  </a:cubicBezTo>
                  <a:cubicBezTo>
                    <a:pt x="2575" y="858"/>
                    <a:pt x="2582" y="863"/>
                    <a:pt x="2589" y="863"/>
                  </a:cubicBezTo>
                  <a:cubicBezTo>
                    <a:pt x="2597" y="863"/>
                    <a:pt x="2603" y="858"/>
                    <a:pt x="2603" y="852"/>
                  </a:cubicBezTo>
                  <a:cubicBezTo>
                    <a:pt x="2603" y="847"/>
                    <a:pt x="2597" y="842"/>
                    <a:pt x="2589" y="842"/>
                  </a:cubicBezTo>
                  <a:cubicBezTo>
                    <a:pt x="2589" y="842"/>
                    <a:pt x="2589" y="842"/>
                    <a:pt x="2589" y="842"/>
                  </a:cubicBezTo>
                  <a:moveTo>
                    <a:pt x="2867" y="842"/>
                  </a:moveTo>
                  <a:cubicBezTo>
                    <a:pt x="2859" y="842"/>
                    <a:pt x="2853" y="847"/>
                    <a:pt x="2854" y="852"/>
                  </a:cubicBezTo>
                  <a:cubicBezTo>
                    <a:pt x="2855" y="858"/>
                    <a:pt x="2862" y="863"/>
                    <a:pt x="2869" y="863"/>
                  </a:cubicBezTo>
                  <a:cubicBezTo>
                    <a:pt x="2877" y="863"/>
                    <a:pt x="2883" y="858"/>
                    <a:pt x="2882" y="852"/>
                  </a:cubicBezTo>
                  <a:cubicBezTo>
                    <a:pt x="2881" y="847"/>
                    <a:pt x="2874" y="842"/>
                    <a:pt x="2867" y="842"/>
                  </a:cubicBezTo>
                  <a:cubicBezTo>
                    <a:pt x="2867" y="842"/>
                    <a:pt x="2867" y="842"/>
                    <a:pt x="2867" y="842"/>
                  </a:cubicBezTo>
                  <a:moveTo>
                    <a:pt x="2629" y="842"/>
                  </a:moveTo>
                  <a:cubicBezTo>
                    <a:pt x="2621" y="842"/>
                    <a:pt x="2615" y="847"/>
                    <a:pt x="2615" y="852"/>
                  </a:cubicBezTo>
                  <a:cubicBezTo>
                    <a:pt x="2615" y="858"/>
                    <a:pt x="2622" y="862"/>
                    <a:pt x="2630" y="862"/>
                  </a:cubicBezTo>
                  <a:cubicBezTo>
                    <a:pt x="2637" y="862"/>
                    <a:pt x="2643" y="858"/>
                    <a:pt x="2643" y="852"/>
                  </a:cubicBezTo>
                  <a:cubicBezTo>
                    <a:pt x="2643" y="847"/>
                    <a:pt x="2636" y="842"/>
                    <a:pt x="2629" y="842"/>
                  </a:cubicBezTo>
                  <a:cubicBezTo>
                    <a:pt x="2629" y="842"/>
                    <a:pt x="2629" y="842"/>
                    <a:pt x="2629" y="842"/>
                  </a:cubicBezTo>
                  <a:moveTo>
                    <a:pt x="2990" y="842"/>
                  </a:moveTo>
                  <a:cubicBezTo>
                    <a:pt x="2982" y="842"/>
                    <a:pt x="2977" y="846"/>
                    <a:pt x="2978" y="852"/>
                  </a:cubicBezTo>
                  <a:cubicBezTo>
                    <a:pt x="2979" y="858"/>
                    <a:pt x="2986" y="862"/>
                    <a:pt x="2994" y="862"/>
                  </a:cubicBezTo>
                  <a:cubicBezTo>
                    <a:pt x="3002" y="862"/>
                    <a:pt x="3007" y="858"/>
                    <a:pt x="3006" y="852"/>
                  </a:cubicBezTo>
                  <a:cubicBezTo>
                    <a:pt x="3005" y="846"/>
                    <a:pt x="2998" y="842"/>
                    <a:pt x="2990" y="842"/>
                  </a:cubicBezTo>
                  <a:cubicBezTo>
                    <a:pt x="2990" y="842"/>
                    <a:pt x="2990" y="842"/>
                    <a:pt x="2990" y="842"/>
                  </a:cubicBezTo>
                  <a:moveTo>
                    <a:pt x="2709" y="842"/>
                  </a:moveTo>
                  <a:cubicBezTo>
                    <a:pt x="2701" y="842"/>
                    <a:pt x="2695" y="846"/>
                    <a:pt x="2696" y="852"/>
                  </a:cubicBezTo>
                  <a:cubicBezTo>
                    <a:pt x="2696" y="858"/>
                    <a:pt x="2703" y="862"/>
                    <a:pt x="2711" y="862"/>
                  </a:cubicBezTo>
                  <a:cubicBezTo>
                    <a:pt x="2718" y="862"/>
                    <a:pt x="2724" y="858"/>
                    <a:pt x="2724" y="852"/>
                  </a:cubicBezTo>
                  <a:cubicBezTo>
                    <a:pt x="2723" y="846"/>
                    <a:pt x="2717" y="842"/>
                    <a:pt x="2709" y="842"/>
                  </a:cubicBezTo>
                  <a:cubicBezTo>
                    <a:pt x="2709" y="842"/>
                    <a:pt x="2709" y="842"/>
                    <a:pt x="2709" y="842"/>
                  </a:cubicBezTo>
                  <a:moveTo>
                    <a:pt x="2946" y="842"/>
                  </a:moveTo>
                  <a:cubicBezTo>
                    <a:pt x="2939" y="842"/>
                    <a:pt x="2933" y="846"/>
                    <a:pt x="2934" y="852"/>
                  </a:cubicBezTo>
                  <a:cubicBezTo>
                    <a:pt x="2935" y="858"/>
                    <a:pt x="2942" y="862"/>
                    <a:pt x="2950" y="862"/>
                  </a:cubicBezTo>
                  <a:cubicBezTo>
                    <a:pt x="2957" y="862"/>
                    <a:pt x="2963" y="858"/>
                    <a:pt x="2962" y="852"/>
                  </a:cubicBezTo>
                  <a:cubicBezTo>
                    <a:pt x="2961" y="846"/>
                    <a:pt x="2954" y="842"/>
                    <a:pt x="2946" y="842"/>
                  </a:cubicBezTo>
                  <a:cubicBezTo>
                    <a:pt x="2946" y="842"/>
                    <a:pt x="2946" y="842"/>
                    <a:pt x="2946" y="842"/>
                  </a:cubicBezTo>
                  <a:moveTo>
                    <a:pt x="3028" y="841"/>
                  </a:moveTo>
                  <a:cubicBezTo>
                    <a:pt x="3020" y="841"/>
                    <a:pt x="3015" y="846"/>
                    <a:pt x="3016" y="852"/>
                  </a:cubicBezTo>
                  <a:cubicBezTo>
                    <a:pt x="3017" y="857"/>
                    <a:pt x="3024" y="862"/>
                    <a:pt x="3032" y="862"/>
                  </a:cubicBezTo>
                  <a:cubicBezTo>
                    <a:pt x="3039" y="862"/>
                    <a:pt x="3045" y="857"/>
                    <a:pt x="3044" y="852"/>
                  </a:cubicBezTo>
                  <a:cubicBezTo>
                    <a:pt x="3043" y="846"/>
                    <a:pt x="3036" y="841"/>
                    <a:pt x="3028" y="841"/>
                  </a:cubicBezTo>
                  <a:cubicBezTo>
                    <a:pt x="3028" y="841"/>
                    <a:pt x="3028" y="841"/>
                    <a:pt x="3028" y="841"/>
                  </a:cubicBezTo>
                  <a:moveTo>
                    <a:pt x="2747" y="840"/>
                  </a:moveTo>
                  <a:cubicBezTo>
                    <a:pt x="2739" y="840"/>
                    <a:pt x="2733" y="845"/>
                    <a:pt x="2734" y="851"/>
                  </a:cubicBezTo>
                  <a:cubicBezTo>
                    <a:pt x="2734" y="856"/>
                    <a:pt x="2741" y="861"/>
                    <a:pt x="2749" y="861"/>
                  </a:cubicBezTo>
                  <a:cubicBezTo>
                    <a:pt x="2756" y="861"/>
                    <a:pt x="2762" y="856"/>
                    <a:pt x="2762" y="850"/>
                  </a:cubicBezTo>
                  <a:cubicBezTo>
                    <a:pt x="2761" y="845"/>
                    <a:pt x="2754" y="840"/>
                    <a:pt x="2747" y="840"/>
                  </a:cubicBezTo>
                  <a:cubicBezTo>
                    <a:pt x="2747" y="840"/>
                    <a:pt x="2747" y="840"/>
                    <a:pt x="2747" y="840"/>
                  </a:cubicBezTo>
                  <a:moveTo>
                    <a:pt x="2789" y="840"/>
                  </a:moveTo>
                  <a:cubicBezTo>
                    <a:pt x="2781" y="840"/>
                    <a:pt x="2775" y="845"/>
                    <a:pt x="2776" y="850"/>
                  </a:cubicBezTo>
                  <a:cubicBezTo>
                    <a:pt x="2776" y="856"/>
                    <a:pt x="2783" y="861"/>
                    <a:pt x="2791" y="861"/>
                  </a:cubicBezTo>
                  <a:cubicBezTo>
                    <a:pt x="2799" y="861"/>
                    <a:pt x="2804" y="856"/>
                    <a:pt x="2804" y="850"/>
                  </a:cubicBezTo>
                  <a:cubicBezTo>
                    <a:pt x="2803" y="845"/>
                    <a:pt x="2797" y="840"/>
                    <a:pt x="2789" y="840"/>
                  </a:cubicBezTo>
                  <a:cubicBezTo>
                    <a:pt x="2789" y="840"/>
                    <a:pt x="2789" y="840"/>
                    <a:pt x="2789" y="840"/>
                  </a:cubicBezTo>
                  <a:moveTo>
                    <a:pt x="3308" y="839"/>
                  </a:moveTo>
                  <a:cubicBezTo>
                    <a:pt x="3300" y="839"/>
                    <a:pt x="3295" y="844"/>
                    <a:pt x="3297" y="850"/>
                  </a:cubicBezTo>
                  <a:cubicBezTo>
                    <a:pt x="3298" y="855"/>
                    <a:pt x="3306" y="860"/>
                    <a:pt x="3314" y="860"/>
                  </a:cubicBezTo>
                  <a:cubicBezTo>
                    <a:pt x="3322" y="860"/>
                    <a:pt x="3327" y="855"/>
                    <a:pt x="3325" y="850"/>
                  </a:cubicBezTo>
                  <a:cubicBezTo>
                    <a:pt x="3323" y="844"/>
                    <a:pt x="3316" y="839"/>
                    <a:pt x="3308" y="839"/>
                  </a:cubicBezTo>
                  <a:cubicBezTo>
                    <a:pt x="3308" y="839"/>
                    <a:pt x="3308" y="839"/>
                    <a:pt x="3308" y="839"/>
                  </a:cubicBezTo>
                  <a:moveTo>
                    <a:pt x="3348" y="839"/>
                  </a:moveTo>
                  <a:cubicBezTo>
                    <a:pt x="3341" y="839"/>
                    <a:pt x="3336" y="844"/>
                    <a:pt x="3337" y="850"/>
                  </a:cubicBezTo>
                  <a:cubicBezTo>
                    <a:pt x="3339" y="855"/>
                    <a:pt x="3347" y="860"/>
                    <a:pt x="3354" y="860"/>
                  </a:cubicBezTo>
                  <a:cubicBezTo>
                    <a:pt x="3362" y="860"/>
                    <a:pt x="3367" y="855"/>
                    <a:pt x="3365" y="849"/>
                  </a:cubicBezTo>
                  <a:cubicBezTo>
                    <a:pt x="3364" y="844"/>
                    <a:pt x="3356" y="839"/>
                    <a:pt x="3349" y="839"/>
                  </a:cubicBezTo>
                  <a:cubicBezTo>
                    <a:pt x="3348" y="839"/>
                    <a:pt x="3348" y="839"/>
                    <a:pt x="3348" y="839"/>
                  </a:cubicBezTo>
                  <a:moveTo>
                    <a:pt x="3388" y="839"/>
                  </a:moveTo>
                  <a:cubicBezTo>
                    <a:pt x="3380" y="839"/>
                    <a:pt x="3375" y="844"/>
                    <a:pt x="3377" y="849"/>
                  </a:cubicBezTo>
                  <a:cubicBezTo>
                    <a:pt x="3379" y="855"/>
                    <a:pt x="3386" y="860"/>
                    <a:pt x="3394" y="860"/>
                  </a:cubicBezTo>
                  <a:cubicBezTo>
                    <a:pt x="3402" y="860"/>
                    <a:pt x="3407" y="855"/>
                    <a:pt x="3405" y="849"/>
                  </a:cubicBezTo>
                  <a:cubicBezTo>
                    <a:pt x="3403" y="844"/>
                    <a:pt x="3396" y="839"/>
                    <a:pt x="3388" y="839"/>
                  </a:cubicBezTo>
                  <a:cubicBezTo>
                    <a:pt x="3388" y="839"/>
                    <a:pt x="3388" y="839"/>
                    <a:pt x="3388" y="839"/>
                  </a:cubicBezTo>
                  <a:moveTo>
                    <a:pt x="3428" y="839"/>
                  </a:moveTo>
                  <a:cubicBezTo>
                    <a:pt x="3420" y="839"/>
                    <a:pt x="3415" y="844"/>
                    <a:pt x="3417" y="849"/>
                  </a:cubicBezTo>
                  <a:cubicBezTo>
                    <a:pt x="3419" y="855"/>
                    <a:pt x="3426" y="859"/>
                    <a:pt x="3434" y="859"/>
                  </a:cubicBezTo>
                  <a:cubicBezTo>
                    <a:pt x="3442" y="859"/>
                    <a:pt x="3447" y="855"/>
                    <a:pt x="3445" y="849"/>
                  </a:cubicBezTo>
                  <a:cubicBezTo>
                    <a:pt x="3443" y="843"/>
                    <a:pt x="3435" y="839"/>
                    <a:pt x="3428" y="839"/>
                  </a:cubicBezTo>
                  <a:cubicBezTo>
                    <a:pt x="3428" y="839"/>
                    <a:pt x="3428" y="839"/>
                    <a:pt x="3428" y="839"/>
                  </a:cubicBezTo>
                  <a:moveTo>
                    <a:pt x="3468" y="839"/>
                  </a:moveTo>
                  <a:cubicBezTo>
                    <a:pt x="3460" y="839"/>
                    <a:pt x="3455" y="843"/>
                    <a:pt x="3457" y="849"/>
                  </a:cubicBezTo>
                  <a:cubicBezTo>
                    <a:pt x="3459" y="855"/>
                    <a:pt x="3467" y="859"/>
                    <a:pt x="3475" y="859"/>
                  </a:cubicBezTo>
                  <a:cubicBezTo>
                    <a:pt x="3482" y="859"/>
                    <a:pt x="3487" y="855"/>
                    <a:pt x="3485" y="849"/>
                  </a:cubicBezTo>
                  <a:cubicBezTo>
                    <a:pt x="3483" y="843"/>
                    <a:pt x="3476" y="839"/>
                    <a:pt x="3468" y="839"/>
                  </a:cubicBezTo>
                  <a:cubicBezTo>
                    <a:pt x="3468" y="839"/>
                    <a:pt x="3468" y="839"/>
                    <a:pt x="3468" y="839"/>
                  </a:cubicBezTo>
                  <a:moveTo>
                    <a:pt x="3508" y="839"/>
                  </a:moveTo>
                  <a:cubicBezTo>
                    <a:pt x="3500" y="839"/>
                    <a:pt x="3496" y="843"/>
                    <a:pt x="3498" y="849"/>
                  </a:cubicBezTo>
                  <a:cubicBezTo>
                    <a:pt x="3500" y="855"/>
                    <a:pt x="3508" y="859"/>
                    <a:pt x="3515" y="859"/>
                  </a:cubicBezTo>
                  <a:cubicBezTo>
                    <a:pt x="3523" y="859"/>
                    <a:pt x="3528" y="854"/>
                    <a:pt x="3526" y="849"/>
                  </a:cubicBezTo>
                  <a:cubicBezTo>
                    <a:pt x="3524" y="843"/>
                    <a:pt x="3516" y="839"/>
                    <a:pt x="3508" y="839"/>
                  </a:cubicBezTo>
                  <a:cubicBezTo>
                    <a:pt x="3508" y="839"/>
                    <a:pt x="3508" y="839"/>
                    <a:pt x="3508" y="839"/>
                  </a:cubicBezTo>
                  <a:moveTo>
                    <a:pt x="3748" y="838"/>
                  </a:moveTo>
                  <a:cubicBezTo>
                    <a:pt x="3740" y="838"/>
                    <a:pt x="3736" y="842"/>
                    <a:pt x="3739" y="848"/>
                  </a:cubicBezTo>
                  <a:cubicBezTo>
                    <a:pt x="3741" y="854"/>
                    <a:pt x="3749" y="858"/>
                    <a:pt x="3757" y="858"/>
                  </a:cubicBezTo>
                  <a:cubicBezTo>
                    <a:pt x="3765" y="858"/>
                    <a:pt x="3769" y="854"/>
                    <a:pt x="3767" y="848"/>
                  </a:cubicBezTo>
                  <a:cubicBezTo>
                    <a:pt x="3764" y="842"/>
                    <a:pt x="3756" y="838"/>
                    <a:pt x="3748" y="838"/>
                  </a:cubicBezTo>
                  <a:cubicBezTo>
                    <a:pt x="3748" y="838"/>
                    <a:pt x="3748" y="838"/>
                    <a:pt x="3748" y="838"/>
                  </a:cubicBezTo>
                  <a:moveTo>
                    <a:pt x="3708" y="838"/>
                  </a:moveTo>
                  <a:cubicBezTo>
                    <a:pt x="3700" y="838"/>
                    <a:pt x="3696" y="842"/>
                    <a:pt x="3698" y="848"/>
                  </a:cubicBezTo>
                  <a:cubicBezTo>
                    <a:pt x="3701" y="854"/>
                    <a:pt x="3709" y="858"/>
                    <a:pt x="3717" y="858"/>
                  </a:cubicBezTo>
                  <a:cubicBezTo>
                    <a:pt x="3724" y="858"/>
                    <a:pt x="3729" y="854"/>
                    <a:pt x="3726" y="848"/>
                  </a:cubicBezTo>
                  <a:cubicBezTo>
                    <a:pt x="3724" y="842"/>
                    <a:pt x="3716" y="838"/>
                    <a:pt x="3708" y="838"/>
                  </a:cubicBezTo>
                  <a:cubicBezTo>
                    <a:pt x="3708" y="838"/>
                    <a:pt x="3708" y="838"/>
                    <a:pt x="3708" y="838"/>
                  </a:cubicBezTo>
                  <a:moveTo>
                    <a:pt x="3788" y="838"/>
                  </a:moveTo>
                  <a:cubicBezTo>
                    <a:pt x="3780" y="838"/>
                    <a:pt x="3776" y="842"/>
                    <a:pt x="3778" y="848"/>
                  </a:cubicBezTo>
                  <a:cubicBezTo>
                    <a:pt x="3781" y="854"/>
                    <a:pt x="3789" y="858"/>
                    <a:pt x="3797" y="858"/>
                  </a:cubicBezTo>
                  <a:cubicBezTo>
                    <a:pt x="3805" y="858"/>
                    <a:pt x="3809" y="853"/>
                    <a:pt x="3806" y="848"/>
                  </a:cubicBezTo>
                  <a:cubicBezTo>
                    <a:pt x="3804" y="842"/>
                    <a:pt x="3796" y="838"/>
                    <a:pt x="3788" y="838"/>
                  </a:cubicBezTo>
                  <a:cubicBezTo>
                    <a:pt x="3788" y="838"/>
                    <a:pt x="3788" y="838"/>
                    <a:pt x="3788" y="838"/>
                  </a:cubicBezTo>
                  <a:moveTo>
                    <a:pt x="3828" y="837"/>
                  </a:moveTo>
                  <a:cubicBezTo>
                    <a:pt x="3820" y="837"/>
                    <a:pt x="3816" y="842"/>
                    <a:pt x="3819" y="848"/>
                  </a:cubicBezTo>
                  <a:cubicBezTo>
                    <a:pt x="3821" y="853"/>
                    <a:pt x="3830" y="858"/>
                    <a:pt x="3837" y="858"/>
                  </a:cubicBezTo>
                  <a:cubicBezTo>
                    <a:pt x="3845" y="858"/>
                    <a:pt x="3849" y="853"/>
                    <a:pt x="3847" y="848"/>
                  </a:cubicBezTo>
                  <a:cubicBezTo>
                    <a:pt x="3844" y="842"/>
                    <a:pt x="3836" y="837"/>
                    <a:pt x="3828" y="837"/>
                  </a:cubicBezTo>
                  <a:cubicBezTo>
                    <a:pt x="3828" y="837"/>
                    <a:pt x="3828" y="837"/>
                    <a:pt x="3828" y="837"/>
                  </a:cubicBezTo>
                  <a:moveTo>
                    <a:pt x="3870" y="837"/>
                  </a:moveTo>
                  <a:cubicBezTo>
                    <a:pt x="3863" y="837"/>
                    <a:pt x="3859" y="842"/>
                    <a:pt x="3861" y="848"/>
                  </a:cubicBezTo>
                  <a:cubicBezTo>
                    <a:pt x="3864" y="853"/>
                    <a:pt x="3872" y="858"/>
                    <a:pt x="3880" y="858"/>
                  </a:cubicBezTo>
                  <a:cubicBezTo>
                    <a:pt x="3888" y="858"/>
                    <a:pt x="3892" y="853"/>
                    <a:pt x="3889" y="847"/>
                  </a:cubicBezTo>
                  <a:cubicBezTo>
                    <a:pt x="3887" y="842"/>
                    <a:pt x="3878" y="837"/>
                    <a:pt x="3870" y="837"/>
                  </a:cubicBezTo>
                  <a:cubicBezTo>
                    <a:pt x="3870" y="837"/>
                    <a:pt x="3870" y="837"/>
                    <a:pt x="3870" y="837"/>
                  </a:cubicBezTo>
                  <a:moveTo>
                    <a:pt x="86" y="824"/>
                  </a:moveTo>
                  <a:cubicBezTo>
                    <a:pt x="78" y="824"/>
                    <a:pt x="68" y="829"/>
                    <a:pt x="64" y="834"/>
                  </a:cubicBezTo>
                  <a:cubicBezTo>
                    <a:pt x="59" y="840"/>
                    <a:pt x="62" y="844"/>
                    <a:pt x="69" y="844"/>
                  </a:cubicBezTo>
                  <a:cubicBezTo>
                    <a:pt x="77" y="844"/>
                    <a:pt x="87" y="840"/>
                    <a:pt x="92" y="834"/>
                  </a:cubicBezTo>
                  <a:cubicBezTo>
                    <a:pt x="96" y="829"/>
                    <a:pt x="94" y="824"/>
                    <a:pt x="86" y="824"/>
                  </a:cubicBezTo>
                  <a:cubicBezTo>
                    <a:pt x="86" y="824"/>
                    <a:pt x="86" y="824"/>
                    <a:pt x="86" y="824"/>
                  </a:cubicBezTo>
                  <a:moveTo>
                    <a:pt x="125" y="824"/>
                  </a:moveTo>
                  <a:cubicBezTo>
                    <a:pt x="118" y="824"/>
                    <a:pt x="108" y="828"/>
                    <a:pt x="103" y="834"/>
                  </a:cubicBezTo>
                  <a:cubicBezTo>
                    <a:pt x="99" y="840"/>
                    <a:pt x="101" y="844"/>
                    <a:pt x="109" y="844"/>
                  </a:cubicBezTo>
                  <a:cubicBezTo>
                    <a:pt x="117" y="844"/>
                    <a:pt x="127" y="840"/>
                    <a:pt x="131" y="834"/>
                  </a:cubicBezTo>
                  <a:cubicBezTo>
                    <a:pt x="136" y="828"/>
                    <a:pt x="133" y="824"/>
                    <a:pt x="126" y="824"/>
                  </a:cubicBezTo>
                  <a:cubicBezTo>
                    <a:pt x="125" y="824"/>
                    <a:pt x="125" y="824"/>
                    <a:pt x="125" y="824"/>
                  </a:cubicBezTo>
                  <a:moveTo>
                    <a:pt x="165" y="824"/>
                  </a:moveTo>
                  <a:cubicBezTo>
                    <a:pt x="158" y="824"/>
                    <a:pt x="148" y="828"/>
                    <a:pt x="143" y="834"/>
                  </a:cubicBezTo>
                  <a:cubicBezTo>
                    <a:pt x="139" y="839"/>
                    <a:pt x="141" y="844"/>
                    <a:pt x="149" y="844"/>
                  </a:cubicBezTo>
                  <a:cubicBezTo>
                    <a:pt x="157" y="844"/>
                    <a:pt x="167" y="839"/>
                    <a:pt x="171" y="834"/>
                  </a:cubicBezTo>
                  <a:cubicBezTo>
                    <a:pt x="176" y="828"/>
                    <a:pt x="173" y="824"/>
                    <a:pt x="165" y="824"/>
                  </a:cubicBezTo>
                  <a:cubicBezTo>
                    <a:pt x="165" y="824"/>
                    <a:pt x="165" y="824"/>
                    <a:pt x="165" y="824"/>
                  </a:cubicBezTo>
                  <a:moveTo>
                    <a:pt x="206" y="824"/>
                  </a:moveTo>
                  <a:cubicBezTo>
                    <a:pt x="199" y="824"/>
                    <a:pt x="189" y="828"/>
                    <a:pt x="184" y="834"/>
                  </a:cubicBezTo>
                  <a:cubicBezTo>
                    <a:pt x="180" y="839"/>
                    <a:pt x="183" y="844"/>
                    <a:pt x="191" y="844"/>
                  </a:cubicBezTo>
                  <a:cubicBezTo>
                    <a:pt x="198" y="844"/>
                    <a:pt x="208" y="839"/>
                    <a:pt x="212" y="834"/>
                  </a:cubicBezTo>
                  <a:cubicBezTo>
                    <a:pt x="217" y="828"/>
                    <a:pt x="214" y="824"/>
                    <a:pt x="206" y="824"/>
                  </a:cubicBezTo>
                  <a:cubicBezTo>
                    <a:pt x="206" y="824"/>
                    <a:pt x="206" y="824"/>
                    <a:pt x="206" y="824"/>
                  </a:cubicBezTo>
                  <a:moveTo>
                    <a:pt x="399" y="823"/>
                  </a:moveTo>
                  <a:cubicBezTo>
                    <a:pt x="391" y="823"/>
                    <a:pt x="382" y="827"/>
                    <a:pt x="377" y="833"/>
                  </a:cubicBezTo>
                  <a:cubicBezTo>
                    <a:pt x="373" y="838"/>
                    <a:pt x="376" y="843"/>
                    <a:pt x="384" y="843"/>
                  </a:cubicBezTo>
                  <a:cubicBezTo>
                    <a:pt x="392" y="843"/>
                    <a:pt x="401" y="838"/>
                    <a:pt x="405" y="833"/>
                  </a:cubicBezTo>
                  <a:cubicBezTo>
                    <a:pt x="409" y="827"/>
                    <a:pt x="406" y="823"/>
                    <a:pt x="399" y="823"/>
                  </a:cubicBezTo>
                  <a:cubicBezTo>
                    <a:pt x="399" y="823"/>
                    <a:pt x="399" y="823"/>
                    <a:pt x="399" y="823"/>
                  </a:cubicBezTo>
                  <a:moveTo>
                    <a:pt x="564" y="821"/>
                  </a:moveTo>
                  <a:cubicBezTo>
                    <a:pt x="556" y="821"/>
                    <a:pt x="547" y="826"/>
                    <a:pt x="543" y="831"/>
                  </a:cubicBezTo>
                  <a:cubicBezTo>
                    <a:pt x="539" y="837"/>
                    <a:pt x="543" y="841"/>
                    <a:pt x="550" y="841"/>
                  </a:cubicBezTo>
                  <a:cubicBezTo>
                    <a:pt x="558" y="841"/>
                    <a:pt x="567" y="837"/>
                    <a:pt x="571" y="831"/>
                  </a:cubicBezTo>
                  <a:cubicBezTo>
                    <a:pt x="575" y="826"/>
                    <a:pt x="571" y="821"/>
                    <a:pt x="564" y="821"/>
                  </a:cubicBezTo>
                  <a:cubicBezTo>
                    <a:pt x="564" y="821"/>
                    <a:pt x="564" y="821"/>
                    <a:pt x="564" y="821"/>
                  </a:cubicBezTo>
                  <a:moveTo>
                    <a:pt x="602" y="821"/>
                  </a:moveTo>
                  <a:cubicBezTo>
                    <a:pt x="595" y="821"/>
                    <a:pt x="585" y="826"/>
                    <a:pt x="582" y="831"/>
                  </a:cubicBezTo>
                  <a:cubicBezTo>
                    <a:pt x="578" y="837"/>
                    <a:pt x="581" y="841"/>
                    <a:pt x="589" y="841"/>
                  </a:cubicBezTo>
                  <a:cubicBezTo>
                    <a:pt x="597" y="841"/>
                    <a:pt x="606" y="837"/>
                    <a:pt x="610" y="831"/>
                  </a:cubicBezTo>
                  <a:cubicBezTo>
                    <a:pt x="613" y="825"/>
                    <a:pt x="610" y="821"/>
                    <a:pt x="602" y="821"/>
                  </a:cubicBezTo>
                  <a:cubicBezTo>
                    <a:pt x="602" y="821"/>
                    <a:pt x="602" y="821"/>
                    <a:pt x="602" y="821"/>
                  </a:cubicBezTo>
                  <a:moveTo>
                    <a:pt x="1716" y="817"/>
                  </a:moveTo>
                  <a:cubicBezTo>
                    <a:pt x="1708" y="817"/>
                    <a:pt x="1701" y="821"/>
                    <a:pt x="1699" y="827"/>
                  </a:cubicBezTo>
                  <a:cubicBezTo>
                    <a:pt x="1698" y="832"/>
                    <a:pt x="1703" y="837"/>
                    <a:pt x="1711" y="837"/>
                  </a:cubicBezTo>
                  <a:cubicBezTo>
                    <a:pt x="1718" y="837"/>
                    <a:pt x="1726" y="832"/>
                    <a:pt x="1727" y="827"/>
                  </a:cubicBezTo>
                  <a:cubicBezTo>
                    <a:pt x="1729" y="821"/>
                    <a:pt x="1724" y="817"/>
                    <a:pt x="1716" y="817"/>
                  </a:cubicBezTo>
                  <a:cubicBezTo>
                    <a:pt x="1716" y="817"/>
                    <a:pt x="1716" y="817"/>
                    <a:pt x="1716" y="817"/>
                  </a:cubicBezTo>
                  <a:moveTo>
                    <a:pt x="1753" y="816"/>
                  </a:moveTo>
                  <a:cubicBezTo>
                    <a:pt x="1746" y="816"/>
                    <a:pt x="1738" y="821"/>
                    <a:pt x="1737" y="827"/>
                  </a:cubicBezTo>
                  <a:cubicBezTo>
                    <a:pt x="1735" y="832"/>
                    <a:pt x="1740" y="837"/>
                    <a:pt x="1748" y="837"/>
                  </a:cubicBezTo>
                  <a:cubicBezTo>
                    <a:pt x="1756" y="837"/>
                    <a:pt x="1763" y="832"/>
                    <a:pt x="1765" y="827"/>
                  </a:cubicBezTo>
                  <a:cubicBezTo>
                    <a:pt x="1766" y="821"/>
                    <a:pt x="1761" y="816"/>
                    <a:pt x="1753" y="816"/>
                  </a:cubicBezTo>
                  <a:cubicBezTo>
                    <a:pt x="1753" y="816"/>
                    <a:pt x="1753" y="816"/>
                    <a:pt x="1753" y="816"/>
                  </a:cubicBezTo>
                  <a:moveTo>
                    <a:pt x="1793" y="816"/>
                  </a:moveTo>
                  <a:cubicBezTo>
                    <a:pt x="1785" y="816"/>
                    <a:pt x="1778" y="821"/>
                    <a:pt x="1776" y="827"/>
                  </a:cubicBezTo>
                  <a:cubicBezTo>
                    <a:pt x="1775" y="832"/>
                    <a:pt x="1780" y="837"/>
                    <a:pt x="1788" y="837"/>
                  </a:cubicBezTo>
                  <a:cubicBezTo>
                    <a:pt x="1796" y="837"/>
                    <a:pt x="1803" y="832"/>
                    <a:pt x="1804" y="826"/>
                  </a:cubicBezTo>
                  <a:cubicBezTo>
                    <a:pt x="1806" y="821"/>
                    <a:pt x="1800" y="816"/>
                    <a:pt x="1793" y="816"/>
                  </a:cubicBezTo>
                  <a:cubicBezTo>
                    <a:pt x="1793" y="816"/>
                    <a:pt x="1793" y="816"/>
                    <a:pt x="1793" y="816"/>
                  </a:cubicBezTo>
                  <a:moveTo>
                    <a:pt x="1833" y="816"/>
                  </a:moveTo>
                  <a:cubicBezTo>
                    <a:pt x="1825" y="816"/>
                    <a:pt x="1818" y="821"/>
                    <a:pt x="1816" y="826"/>
                  </a:cubicBezTo>
                  <a:cubicBezTo>
                    <a:pt x="1815" y="832"/>
                    <a:pt x="1820" y="837"/>
                    <a:pt x="1828" y="836"/>
                  </a:cubicBezTo>
                  <a:cubicBezTo>
                    <a:pt x="1836" y="836"/>
                    <a:pt x="1843" y="832"/>
                    <a:pt x="1844" y="826"/>
                  </a:cubicBezTo>
                  <a:cubicBezTo>
                    <a:pt x="1845" y="821"/>
                    <a:pt x="1840" y="816"/>
                    <a:pt x="1833" y="816"/>
                  </a:cubicBezTo>
                  <a:cubicBezTo>
                    <a:pt x="1833" y="816"/>
                    <a:pt x="1833" y="816"/>
                    <a:pt x="1833" y="816"/>
                  </a:cubicBezTo>
                  <a:moveTo>
                    <a:pt x="1873" y="816"/>
                  </a:moveTo>
                  <a:cubicBezTo>
                    <a:pt x="1865" y="816"/>
                    <a:pt x="1858" y="821"/>
                    <a:pt x="1857" y="826"/>
                  </a:cubicBezTo>
                  <a:cubicBezTo>
                    <a:pt x="1855" y="832"/>
                    <a:pt x="1861" y="836"/>
                    <a:pt x="1868" y="836"/>
                  </a:cubicBezTo>
                  <a:cubicBezTo>
                    <a:pt x="1876" y="836"/>
                    <a:pt x="1883" y="832"/>
                    <a:pt x="1884" y="826"/>
                  </a:cubicBezTo>
                  <a:cubicBezTo>
                    <a:pt x="1886" y="820"/>
                    <a:pt x="1880" y="816"/>
                    <a:pt x="1873" y="816"/>
                  </a:cubicBezTo>
                  <a:cubicBezTo>
                    <a:pt x="1873" y="816"/>
                    <a:pt x="1873" y="816"/>
                    <a:pt x="1873" y="816"/>
                  </a:cubicBezTo>
                  <a:moveTo>
                    <a:pt x="1912" y="816"/>
                  </a:moveTo>
                  <a:cubicBezTo>
                    <a:pt x="1904" y="816"/>
                    <a:pt x="1897" y="820"/>
                    <a:pt x="1896" y="826"/>
                  </a:cubicBezTo>
                  <a:cubicBezTo>
                    <a:pt x="1895" y="832"/>
                    <a:pt x="1900" y="836"/>
                    <a:pt x="1908" y="836"/>
                  </a:cubicBezTo>
                  <a:cubicBezTo>
                    <a:pt x="1916" y="836"/>
                    <a:pt x="1923" y="831"/>
                    <a:pt x="1924" y="826"/>
                  </a:cubicBezTo>
                  <a:cubicBezTo>
                    <a:pt x="1925" y="820"/>
                    <a:pt x="1920" y="816"/>
                    <a:pt x="1912" y="816"/>
                  </a:cubicBezTo>
                  <a:cubicBezTo>
                    <a:pt x="1912" y="816"/>
                    <a:pt x="1912" y="816"/>
                    <a:pt x="1912" y="816"/>
                  </a:cubicBezTo>
                  <a:moveTo>
                    <a:pt x="1952" y="816"/>
                  </a:moveTo>
                  <a:cubicBezTo>
                    <a:pt x="1944" y="816"/>
                    <a:pt x="1937" y="820"/>
                    <a:pt x="1936" y="826"/>
                  </a:cubicBezTo>
                  <a:cubicBezTo>
                    <a:pt x="1935" y="831"/>
                    <a:pt x="1940" y="836"/>
                    <a:pt x="1948" y="836"/>
                  </a:cubicBezTo>
                  <a:cubicBezTo>
                    <a:pt x="1956" y="836"/>
                    <a:pt x="1963" y="831"/>
                    <a:pt x="1964" y="826"/>
                  </a:cubicBezTo>
                  <a:cubicBezTo>
                    <a:pt x="1965" y="820"/>
                    <a:pt x="1959" y="816"/>
                    <a:pt x="1952" y="816"/>
                  </a:cubicBezTo>
                  <a:cubicBezTo>
                    <a:pt x="1952" y="816"/>
                    <a:pt x="1952" y="816"/>
                    <a:pt x="1952" y="816"/>
                  </a:cubicBezTo>
                  <a:moveTo>
                    <a:pt x="1991" y="815"/>
                  </a:moveTo>
                  <a:cubicBezTo>
                    <a:pt x="1983" y="815"/>
                    <a:pt x="1976" y="820"/>
                    <a:pt x="1976" y="826"/>
                  </a:cubicBezTo>
                  <a:cubicBezTo>
                    <a:pt x="1975" y="831"/>
                    <a:pt x="1980" y="836"/>
                    <a:pt x="1988" y="836"/>
                  </a:cubicBezTo>
                  <a:cubicBezTo>
                    <a:pt x="1995" y="836"/>
                    <a:pt x="2002" y="831"/>
                    <a:pt x="2003" y="825"/>
                  </a:cubicBezTo>
                  <a:cubicBezTo>
                    <a:pt x="2004" y="820"/>
                    <a:pt x="1999" y="815"/>
                    <a:pt x="1991" y="815"/>
                  </a:cubicBezTo>
                  <a:cubicBezTo>
                    <a:pt x="1991" y="815"/>
                    <a:pt x="1991" y="815"/>
                    <a:pt x="1991" y="815"/>
                  </a:cubicBezTo>
                  <a:moveTo>
                    <a:pt x="2031" y="815"/>
                  </a:moveTo>
                  <a:cubicBezTo>
                    <a:pt x="2023" y="815"/>
                    <a:pt x="2016" y="820"/>
                    <a:pt x="2015" y="825"/>
                  </a:cubicBezTo>
                  <a:cubicBezTo>
                    <a:pt x="2015" y="831"/>
                    <a:pt x="2020" y="836"/>
                    <a:pt x="2028" y="836"/>
                  </a:cubicBezTo>
                  <a:cubicBezTo>
                    <a:pt x="2036" y="836"/>
                    <a:pt x="2042" y="831"/>
                    <a:pt x="2043" y="825"/>
                  </a:cubicBezTo>
                  <a:cubicBezTo>
                    <a:pt x="2044" y="820"/>
                    <a:pt x="2039" y="815"/>
                    <a:pt x="2031" y="815"/>
                  </a:cubicBezTo>
                  <a:cubicBezTo>
                    <a:pt x="2031" y="815"/>
                    <a:pt x="2031" y="815"/>
                    <a:pt x="2031" y="815"/>
                  </a:cubicBezTo>
                  <a:moveTo>
                    <a:pt x="2072" y="815"/>
                  </a:moveTo>
                  <a:cubicBezTo>
                    <a:pt x="2064" y="815"/>
                    <a:pt x="2057" y="820"/>
                    <a:pt x="2057" y="825"/>
                  </a:cubicBezTo>
                  <a:cubicBezTo>
                    <a:pt x="2056" y="831"/>
                    <a:pt x="2061" y="835"/>
                    <a:pt x="2069" y="835"/>
                  </a:cubicBezTo>
                  <a:cubicBezTo>
                    <a:pt x="2077" y="835"/>
                    <a:pt x="2084" y="831"/>
                    <a:pt x="2084" y="825"/>
                  </a:cubicBezTo>
                  <a:cubicBezTo>
                    <a:pt x="2085" y="820"/>
                    <a:pt x="2080" y="815"/>
                    <a:pt x="2072" y="815"/>
                  </a:cubicBezTo>
                  <a:cubicBezTo>
                    <a:pt x="2072" y="815"/>
                    <a:pt x="2072" y="815"/>
                    <a:pt x="2072" y="815"/>
                  </a:cubicBezTo>
                  <a:moveTo>
                    <a:pt x="2111" y="815"/>
                  </a:moveTo>
                  <a:cubicBezTo>
                    <a:pt x="2104" y="815"/>
                    <a:pt x="2097" y="819"/>
                    <a:pt x="2096" y="825"/>
                  </a:cubicBezTo>
                  <a:cubicBezTo>
                    <a:pt x="2095" y="831"/>
                    <a:pt x="2101" y="835"/>
                    <a:pt x="2109" y="835"/>
                  </a:cubicBezTo>
                  <a:cubicBezTo>
                    <a:pt x="2116" y="835"/>
                    <a:pt x="2123" y="831"/>
                    <a:pt x="2124" y="825"/>
                  </a:cubicBezTo>
                  <a:cubicBezTo>
                    <a:pt x="2125" y="819"/>
                    <a:pt x="2119" y="815"/>
                    <a:pt x="2111" y="815"/>
                  </a:cubicBezTo>
                  <a:cubicBezTo>
                    <a:pt x="2111" y="815"/>
                    <a:pt x="2111" y="815"/>
                    <a:pt x="2111" y="815"/>
                  </a:cubicBezTo>
                  <a:moveTo>
                    <a:pt x="2151" y="815"/>
                  </a:moveTo>
                  <a:cubicBezTo>
                    <a:pt x="2143" y="815"/>
                    <a:pt x="2137" y="819"/>
                    <a:pt x="2136" y="825"/>
                  </a:cubicBezTo>
                  <a:cubicBezTo>
                    <a:pt x="2135" y="831"/>
                    <a:pt x="2141" y="835"/>
                    <a:pt x="2149" y="835"/>
                  </a:cubicBezTo>
                  <a:cubicBezTo>
                    <a:pt x="2156" y="835"/>
                    <a:pt x="2163" y="830"/>
                    <a:pt x="2164" y="825"/>
                  </a:cubicBezTo>
                  <a:cubicBezTo>
                    <a:pt x="2164" y="819"/>
                    <a:pt x="2159" y="815"/>
                    <a:pt x="2151" y="815"/>
                  </a:cubicBezTo>
                  <a:cubicBezTo>
                    <a:pt x="2151" y="815"/>
                    <a:pt x="2151" y="815"/>
                    <a:pt x="2151" y="815"/>
                  </a:cubicBezTo>
                  <a:moveTo>
                    <a:pt x="2191" y="814"/>
                  </a:moveTo>
                  <a:cubicBezTo>
                    <a:pt x="2183" y="814"/>
                    <a:pt x="2177" y="819"/>
                    <a:pt x="2176" y="825"/>
                  </a:cubicBezTo>
                  <a:cubicBezTo>
                    <a:pt x="2176" y="830"/>
                    <a:pt x="2181" y="835"/>
                    <a:pt x="2189" y="835"/>
                  </a:cubicBezTo>
                  <a:cubicBezTo>
                    <a:pt x="2197" y="835"/>
                    <a:pt x="2204" y="830"/>
                    <a:pt x="2204" y="825"/>
                  </a:cubicBezTo>
                  <a:cubicBezTo>
                    <a:pt x="2205" y="819"/>
                    <a:pt x="2199" y="814"/>
                    <a:pt x="2191" y="814"/>
                  </a:cubicBezTo>
                  <a:cubicBezTo>
                    <a:pt x="2191" y="814"/>
                    <a:pt x="2191" y="814"/>
                    <a:pt x="2191" y="814"/>
                  </a:cubicBezTo>
                  <a:moveTo>
                    <a:pt x="2231" y="814"/>
                  </a:moveTo>
                  <a:cubicBezTo>
                    <a:pt x="2223" y="814"/>
                    <a:pt x="2216" y="819"/>
                    <a:pt x="2216" y="825"/>
                  </a:cubicBezTo>
                  <a:cubicBezTo>
                    <a:pt x="2215" y="830"/>
                    <a:pt x="2221" y="835"/>
                    <a:pt x="2229" y="835"/>
                  </a:cubicBezTo>
                  <a:cubicBezTo>
                    <a:pt x="2236" y="835"/>
                    <a:pt x="2243" y="830"/>
                    <a:pt x="2244" y="824"/>
                  </a:cubicBezTo>
                  <a:cubicBezTo>
                    <a:pt x="2244" y="819"/>
                    <a:pt x="2238" y="814"/>
                    <a:pt x="2231" y="814"/>
                  </a:cubicBezTo>
                  <a:cubicBezTo>
                    <a:pt x="2231" y="814"/>
                    <a:pt x="2231" y="814"/>
                    <a:pt x="2231" y="814"/>
                  </a:cubicBezTo>
                  <a:moveTo>
                    <a:pt x="2270" y="814"/>
                  </a:moveTo>
                  <a:cubicBezTo>
                    <a:pt x="2263" y="814"/>
                    <a:pt x="2256" y="819"/>
                    <a:pt x="2256" y="824"/>
                  </a:cubicBezTo>
                  <a:cubicBezTo>
                    <a:pt x="2255" y="830"/>
                    <a:pt x="2261" y="835"/>
                    <a:pt x="2269" y="834"/>
                  </a:cubicBezTo>
                  <a:cubicBezTo>
                    <a:pt x="2276" y="834"/>
                    <a:pt x="2283" y="830"/>
                    <a:pt x="2283" y="824"/>
                  </a:cubicBezTo>
                  <a:cubicBezTo>
                    <a:pt x="2284" y="819"/>
                    <a:pt x="2278" y="814"/>
                    <a:pt x="2270" y="814"/>
                  </a:cubicBezTo>
                  <a:cubicBezTo>
                    <a:pt x="2270" y="814"/>
                    <a:pt x="2270" y="814"/>
                    <a:pt x="2270" y="814"/>
                  </a:cubicBezTo>
                  <a:moveTo>
                    <a:pt x="2310" y="814"/>
                  </a:moveTo>
                  <a:cubicBezTo>
                    <a:pt x="2302" y="814"/>
                    <a:pt x="2295" y="819"/>
                    <a:pt x="2295" y="824"/>
                  </a:cubicBezTo>
                  <a:cubicBezTo>
                    <a:pt x="2295" y="830"/>
                    <a:pt x="2301" y="834"/>
                    <a:pt x="2308" y="834"/>
                  </a:cubicBezTo>
                  <a:cubicBezTo>
                    <a:pt x="2316" y="834"/>
                    <a:pt x="2323" y="830"/>
                    <a:pt x="2323" y="824"/>
                  </a:cubicBezTo>
                  <a:cubicBezTo>
                    <a:pt x="2323" y="818"/>
                    <a:pt x="2317" y="814"/>
                    <a:pt x="2310" y="814"/>
                  </a:cubicBezTo>
                  <a:cubicBezTo>
                    <a:pt x="2310" y="814"/>
                    <a:pt x="2310" y="814"/>
                    <a:pt x="2310" y="814"/>
                  </a:cubicBezTo>
                  <a:moveTo>
                    <a:pt x="2349" y="814"/>
                  </a:moveTo>
                  <a:cubicBezTo>
                    <a:pt x="2342" y="814"/>
                    <a:pt x="2335" y="818"/>
                    <a:pt x="2335" y="824"/>
                  </a:cubicBezTo>
                  <a:cubicBezTo>
                    <a:pt x="2335" y="830"/>
                    <a:pt x="2341" y="834"/>
                    <a:pt x="2348" y="834"/>
                  </a:cubicBezTo>
                  <a:cubicBezTo>
                    <a:pt x="2356" y="834"/>
                    <a:pt x="2363" y="829"/>
                    <a:pt x="2363" y="824"/>
                  </a:cubicBezTo>
                  <a:cubicBezTo>
                    <a:pt x="2363" y="818"/>
                    <a:pt x="2357" y="814"/>
                    <a:pt x="2349" y="814"/>
                  </a:cubicBezTo>
                  <a:cubicBezTo>
                    <a:pt x="2349" y="814"/>
                    <a:pt x="2349" y="814"/>
                    <a:pt x="2349" y="814"/>
                  </a:cubicBezTo>
                  <a:moveTo>
                    <a:pt x="2389" y="814"/>
                  </a:moveTo>
                  <a:cubicBezTo>
                    <a:pt x="2382" y="814"/>
                    <a:pt x="2375" y="818"/>
                    <a:pt x="2375" y="824"/>
                  </a:cubicBezTo>
                  <a:cubicBezTo>
                    <a:pt x="2375" y="829"/>
                    <a:pt x="2381" y="834"/>
                    <a:pt x="2389" y="834"/>
                  </a:cubicBezTo>
                  <a:cubicBezTo>
                    <a:pt x="2397" y="834"/>
                    <a:pt x="2403" y="829"/>
                    <a:pt x="2403" y="824"/>
                  </a:cubicBezTo>
                  <a:cubicBezTo>
                    <a:pt x="2403" y="818"/>
                    <a:pt x="2397" y="814"/>
                    <a:pt x="2390" y="814"/>
                  </a:cubicBezTo>
                  <a:cubicBezTo>
                    <a:pt x="2389" y="814"/>
                    <a:pt x="2389" y="814"/>
                    <a:pt x="2389" y="814"/>
                  </a:cubicBezTo>
                  <a:moveTo>
                    <a:pt x="2429" y="813"/>
                  </a:moveTo>
                  <a:cubicBezTo>
                    <a:pt x="2421" y="813"/>
                    <a:pt x="2415" y="818"/>
                    <a:pt x="2415" y="824"/>
                  </a:cubicBezTo>
                  <a:cubicBezTo>
                    <a:pt x="2415" y="829"/>
                    <a:pt x="2421" y="834"/>
                    <a:pt x="2428" y="834"/>
                  </a:cubicBezTo>
                  <a:cubicBezTo>
                    <a:pt x="2436" y="834"/>
                    <a:pt x="2443" y="829"/>
                    <a:pt x="2443" y="823"/>
                  </a:cubicBezTo>
                  <a:cubicBezTo>
                    <a:pt x="2443" y="818"/>
                    <a:pt x="2437" y="813"/>
                    <a:pt x="2429" y="813"/>
                  </a:cubicBezTo>
                  <a:cubicBezTo>
                    <a:pt x="2429" y="813"/>
                    <a:pt x="2429" y="813"/>
                    <a:pt x="2429" y="813"/>
                  </a:cubicBezTo>
                  <a:moveTo>
                    <a:pt x="2468" y="813"/>
                  </a:moveTo>
                  <a:cubicBezTo>
                    <a:pt x="2461" y="813"/>
                    <a:pt x="2455" y="818"/>
                    <a:pt x="2454" y="823"/>
                  </a:cubicBezTo>
                  <a:cubicBezTo>
                    <a:pt x="2454" y="829"/>
                    <a:pt x="2461" y="834"/>
                    <a:pt x="2468" y="834"/>
                  </a:cubicBezTo>
                  <a:cubicBezTo>
                    <a:pt x="2476" y="834"/>
                    <a:pt x="2482" y="829"/>
                    <a:pt x="2482" y="823"/>
                  </a:cubicBezTo>
                  <a:cubicBezTo>
                    <a:pt x="2482" y="818"/>
                    <a:pt x="2476" y="813"/>
                    <a:pt x="2469" y="813"/>
                  </a:cubicBezTo>
                  <a:cubicBezTo>
                    <a:pt x="2469" y="813"/>
                    <a:pt x="2469" y="813"/>
                    <a:pt x="2468" y="813"/>
                  </a:cubicBezTo>
                  <a:moveTo>
                    <a:pt x="2508" y="813"/>
                  </a:moveTo>
                  <a:cubicBezTo>
                    <a:pt x="2500" y="813"/>
                    <a:pt x="2494" y="818"/>
                    <a:pt x="2494" y="823"/>
                  </a:cubicBezTo>
                  <a:cubicBezTo>
                    <a:pt x="2494" y="829"/>
                    <a:pt x="2500" y="833"/>
                    <a:pt x="2508" y="833"/>
                  </a:cubicBezTo>
                  <a:cubicBezTo>
                    <a:pt x="2516" y="833"/>
                    <a:pt x="2522" y="829"/>
                    <a:pt x="2522" y="823"/>
                  </a:cubicBezTo>
                  <a:cubicBezTo>
                    <a:pt x="2522" y="817"/>
                    <a:pt x="2516" y="813"/>
                    <a:pt x="2508" y="813"/>
                  </a:cubicBezTo>
                  <a:cubicBezTo>
                    <a:pt x="2508" y="813"/>
                    <a:pt x="2508" y="813"/>
                    <a:pt x="2508" y="813"/>
                  </a:cubicBezTo>
                  <a:moveTo>
                    <a:pt x="2826" y="813"/>
                  </a:moveTo>
                  <a:cubicBezTo>
                    <a:pt x="2818" y="813"/>
                    <a:pt x="2812" y="818"/>
                    <a:pt x="2813" y="823"/>
                  </a:cubicBezTo>
                  <a:cubicBezTo>
                    <a:pt x="2813" y="829"/>
                    <a:pt x="2820" y="833"/>
                    <a:pt x="2828" y="833"/>
                  </a:cubicBezTo>
                  <a:cubicBezTo>
                    <a:pt x="2836" y="833"/>
                    <a:pt x="2841" y="829"/>
                    <a:pt x="2841" y="823"/>
                  </a:cubicBezTo>
                  <a:cubicBezTo>
                    <a:pt x="2840" y="817"/>
                    <a:pt x="2833" y="813"/>
                    <a:pt x="2826" y="813"/>
                  </a:cubicBezTo>
                  <a:cubicBezTo>
                    <a:pt x="2826" y="813"/>
                    <a:pt x="2826" y="813"/>
                    <a:pt x="2826" y="813"/>
                  </a:cubicBezTo>
                  <a:moveTo>
                    <a:pt x="2548" y="813"/>
                  </a:moveTo>
                  <a:cubicBezTo>
                    <a:pt x="2540" y="813"/>
                    <a:pt x="2534" y="817"/>
                    <a:pt x="2534" y="823"/>
                  </a:cubicBezTo>
                  <a:cubicBezTo>
                    <a:pt x="2534" y="829"/>
                    <a:pt x="2540" y="833"/>
                    <a:pt x="2548" y="833"/>
                  </a:cubicBezTo>
                  <a:cubicBezTo>
                    <a:pt x="2556" y="833"/>
                    <a:pt x="2562" y="829"/>
                    <a:pt x="2562" y="823"/>
                  </a:cubicBezTo>
                  <a:cubicBezTo>
                    <a:pt x="2562" y="817"/>
                    <a:pt x="2555" y="813"/>
                    <a:pt x="2548" y="813"/>
                  </a:cubicBezTo>
                  <a:cubicBezTo>
                    <a:pt x="2548" y="813"/>
                    <a:pt x="2548" y="813"/>
                    <a:pt x="2548" y="813"/>
                  </a:cubicBezTo>
                  <a:moveTo>
                    <a:pt x="2588" y="813"/>
                  </a:moveTo>
                  <a:cubicBezTo>
                    <a:pt x="2580" y="813"/>
                    <a:pt x="2574" y="817"/>
                    <a:pt x="2574" y="823"/>
                  </a:cubicBezTo>
                  <a:cubicBezTo>
                    <a:pt x="2574" y="829"/>
                    <a:pt x="2581" y="833"/>
                    <a:pt x="2588" y="833"/>
                  </a:cubicBezTo>
                  <a:cubicBezTo>
                    <a:pt x="2596" y="833"/>
                    <a:pt x="2602" y="828"/>
                    <a:pt x="2602" y="823"/>
                  </a:cubicBezTo>
                  <a:cubicBezTo>
                    <a:pt x="2602" y="817"/>
                    <a:pt x="2595" y="813"/>
                    <a:pt x="2588" y="813"/>
                  </a:cubicBezTo>
                  <a:cubicBezTo>
                    <a:pt x="2588" y="813"/>
                    <a:pt x="2588" y="813"/>
                    <a:pt x="2588" y="813"/>
                  </a:cubicBezTo>
                  <a:moveTo>
                    <a:pt x="2904" y="813"/>
                  </a:moveTo>
                  <a:cubicBezTo>
                    <a:pt x="2897" y="813"/>
                    <a:pt x="2891" y="817"/>
                    <a:pt x="2892" y="823"/>
                  </a:cubicBezTo>
                  <a:cubicBezTo>
                    <a:pt x="2893" y="829"/>
                    <a:pt x="2900" y="833"/>
                    <a:pt x="2907" y="833"/>
                  </a:cubicBezTo>
                  <a:cubicBezTo>
                    <a:pt x="2915" y="833"/>
                    <a:pt x="2921" y="828"/>
                    <a:pt x="2920" y="823"/>
                  </a:cubicBezTo>
                  <a:cubicBezTo>
                    <a:pt x="2919" y="817"/>
                    <a:pt x="2912" y="813"/>
                    <a:pt x="2905" y="813"/>
                  </a:cubicBezTo>
                  <a:cubicBezTo>
                    <a:pt x="2905" y="813"/>
                    <a:pt x="2904" y="813"/>
                    <a:pt x="2904" y="813"/>
                  </a:cubicBezTo>
                  <a:moveTo>
                    <a:pt x="2863" y="813"/>
                  </a:moveTo>
                  <a:cubicBezTo>
                    <a:pt x="2855" y="813"/>
                    <a:pt x="2850" y="817"/>
                    <a:pt x="2850" y="823"/>
                  </a:cubicBezTo>
                  <a:cubicBezTo>
                    <a:pt x="2851" y="828"/>
                    <a:pt x="2858" y="833"/>
                    <a:pt x="2865" y="833"/>
                  </a:cubicBezTo>
                  <a:cubicBezTo>
                    <a:pt x="2873" y="833"/>
                    <a:pt x="2879" y="828"/>
                    <a:pt x="2878" y="823"/>
                  </a:cubicBezTo>
                  <a:cubicBezTo>
                    <a:pt x="2877" y="817"/>
                    <a:pt x="2871" y="813"/>
                    <a:pt x="2863" y="813"/>
                  </a:cubicBezTo>
                  <a:cubicBezTo>
                    <a:pt x="2863" y="813"/>
                    <a:pt x="2863" y="813"/>
                    <a:pt x="2863" y="813"/>
                  </a:cubicBezTo>
                  <a:moveTo>
                    <a:pt x="2627" y="812"/>
                  </a:moveTo>
                  <a:cubicBezTo>
                    <a:pt x="2619" y="812"/>
                    <a:pt x="2613" y="817"/>
                    <a:pt x="2614" y="823"/>
                  </a:cubicBezTo>
                  <a:cubicBezTo>
                    <a:pt x="2614" y="828"/>
                    <a:pt x="2620" y="833"/>
                    <a:pt x="2628" y="833"/>
                  </a:cubicBezTo>
                  <a:cubicBezTo>
                    <a:pt x="2636" y="833"/>
                    <a:pt x="2642" y="828"/>
                    <a:pt x="2641" y="823"/>
                  </a:cubicBezTo>
                  <a:cubicBezTo>
                    <a:pt x="2641" y="817"/>
                    <a:pt x="2635" y="812"/>
                    <a:pt x="2627" y="812"/>
                  </a:cubicBezTo>
                  <a:cubicBezTo>
                    <a:pt x="2627" y="812"/>
                    <a:pt x="2627" y="812"/>
                    <a:pt x="2627" y="812"/>
                  </a:cubicBezTo>
                  <a:moveTo>
                    <a:pt x="2985" y="812"/>
                  </a:moveTo>
                  <a:cubicBezTo>
                    <a:pt x="2977" y="812"/>
                    <a:pt x="2972" y="817"/>
                    <a:pt x="2973" y="823"/>
                  </a:cubicBezTo>
                  <a:cubicBezTo>
                    <a:pt x="2974" y="828"/>
                    <a:pt x="2981" y="833"/>
                    <a:pt x="2989" y="833"/>
                  </a:cubicBezTo>
                  <a:cubicBezTo>
                    <a:pt x="2996" y="833"/>
                    <a:pt x="3002" y="828"/>
                    <a:pt x="3001" y="822"/>
                  </a:cubicBezTo>
                  <a:cubicBezTo>
                    <a:pt x="3000" y="817"/>
                    <a:pt x="2993" y="812"/>
                    <a:pt x="2985" y="812"/>
                  </a:cubicBezTo>
                  <a:cubicBezTo>
                    <a:pt x="2985" y="812"/>
                    <a:pt x="2985" y="812"/>
                    <a:pt x="2985" y="812"/>
                  </a:cubicBezTo>
                  <a:moveTo>
                    <a:pt x="2942" y="812"/>
                  </a:moveTo>
                  <a:cubicBezTo>
                    <a:pt x="2934" y="812"/>
                    <a:pt x="2929" y="817"/>
                    <a:pt x="2929" y="822"/>
                  </a:cubicBezTo>
                  <a:cubicBezTo>
                    <a:pt x="2930" y="828"/>
                    <a:pt x="2937" y="833"/>
                    <a:pt x="2945" y="833"/>
                  </a:cubicBezTo>
                  <a:cubicBezTo>
                    <a:pt x="2953" y="833"/>
                    <a:pt x="2958" y="828"/>
                    <a:pt x="2957" y="822"/>
                  </a:cubicBezTo>
                  <a:cubicBezTo>
                    <a:pt x="2956" y="817"/>
                    <a:pt x="2949" y="812"/>
                    <a:pt x="2942" y="812"/>
                  </a:cubicBezTo>
                  <a:cubicBezTo>
                    <a:pt x="2942" y="812"/>
                    <a:pt x="2942" y="812"/>
                    <a:pt x="2942" y="812"/>
                  </a:cubicBezTo>
                  <a:moveTo>
                    <a:pt x="3022" y="812"/>
                  </a:moveTo>
                  <a:cubicBezTo>
                    <a:pt x="3015" y="812"/>
                    <a:pt x="3009" y="816"/>
                    <a:pt x="3010" y="822"/>
                  </a:cubicBezTo>
                  <a:cubicBezTo>
                    <a:pt x="3011" y="828"/>
                    <a:pt x="3018" y="832"/>
                    <a:pt x="3026" y="832"/>
                  </a:cubicBezTo>
                  <a:cubicBezTo>
                    <a:pt x="3034" y="832"/>
                    <a:pt x="3039" y="828"/>
                    <a:pt x="3038" y="822"/>
                  </a:cubicBezTo>
                  <a:cubicBezTo>
                    <a:pt x="3037" y="816"/>
                    <a:pt x="3030" y="812"/>
                    <a:pt x="3022" y="812"/>
                  </a:cubicBezTo>
                  <a:cubicBezTo>
                    <a:pt x="3022" y="812"/>
                    <a:pt x="3022" y="812"/>
                    <a:pt x="3022" y="812"/>
                  </a:cubicBezTo>
                  <a:moveTo>
                    <a:pt x="2707" y="810"/>
                  </a:moveTo>
                  <a:cubicBezTo>
                    <a:pt x="2699" y="810"/>
                    <a:pt x="2693" y="815"/>
                    <a:pt x="2693" y="820"/>
                  </a:cubicBezTo>
                  <a:cubicBezTo>
                    <a:pt x="2694" y="826"/>
                    <a:pt x="2700" y="831"/>
                    <a:pt x="2708" y="831"/>
                  </a:cubicBezTo>
                  <a:cubicBezTo>
                    <a:pt x="2716" y="831"/>
                    <a:pt x="2722" y="826"/>
                    <a:pt x="2721" y="820"/>
                  </a:cubicBezTo>
                  <a:cubicBezTo>
                    <a:pt x="2721" y="815"/>
                    <a:pt x="2714" y="810"/>
                    <a:pt x="2707" y="810"/>
                  </a:cubicBezTo>
                  <a:cubicBezTo>
                    <a:pt x="2707" y="810"/>
                    <a:pt x="2707" y="810"/>
                    <a:pt x="2707" y="810"/>
                  </a:cubicBezTo>
                  <a:moveTo>
                    <a:pt x="3260" y="810"/>
                  </a:moveTo>
                  <a:cubicBezTo>
                    <a:pt x="3252" y="810"/>
                    <a:pt x="3247" y="815"/>
                    <a:pt x="3249" y="820"/>
                  </a:cubicBezTo>
                  <a:cubicBezTo>
                    <a:pt x="3250" y="826"/>
                    <a:pt x="3258" y="831"/>
                    <a:pt x="3265" y="831"/>
                  </a:cubicBezTo>
                  <a:cubicBezTo>
                    <a:pt x="3273" y="830"/>
                    <a:pt x="3278" y="826"/>
                    <a:pt x="3277" y="820"/>
                  </a:cubicBezTo>
                  <a:cubicBezTo>
                    <a:pt x="3275" y="815"/>
                    <a:pt x="3268" y="810"/>
                    <a:pt x="3260" y="810"/>
                  </a:cubicBezTo>
                  <a:cubicBezTo>
                    <a:pt x="3260" y="810"/>
                    <a:pt x="3260" y="810"/>
                    <a:pt x="3260" y="810"/>
                  </a:cubicBezTo>
                  <a:moveTo>
                    <a:pt x="2746" y="810"/>
                  </a:moveTo>
                  <a:cubicBezTo>
                    <a:pt x="2738" y="810"/>
                    <a:pt x="2732" y="815"/>
                    <a:pt x="2733" y="820"/>
                  </a:cubicBezTo>
                  <a:cubicBezTo>
                    <a:pt x="2733" y="826"/>
                    <a:pt x="2740" y="830"/>
                    <a:pt x="2748" y="830"/>
                  </a:cubicBezTo>
                  <a:cubicBezTo>
                    <a:pt x="2755" y="830"/>
                    <a:pt x="2761" y="826"/>
                    <a:pt x="2761" y="820"/>
                  </a:cubicBezTo>
                  <a:cubicBezTo>
                    <a:pt x="2760" y="814"/>
                    <a:pt x="2754" y="810"/>
                    <a:pt x="2746" y="810"/>
                  </a:cubicBezTo>
                  <a:cubicBezTo>
                    <a:pt x="2746" y="810"/>
                    <a:pt x="2746" y="810"/>
                    <a:pt x="2746" y="810"/>
                  </a:cubicBezTo>
                  <a:moveTo>
                    <a:pt x="3300" y="810"/>
                  </a:moveTo>
                  <a:cubicBezTo>
                    <a:pt x="3292" y="810"/>
                    <a:pt x="3287" y="814"/>
                    <a:pt x="3289" y="820"/>
                  </a:cubicBezTo>
                  <a:cubicBezTo>
                    <a:pt x="3290" y="826"/>
                    <a:pt x="3298" y="830"/>
                    <a:pt x="3305" y="830"/>
                  </a:cubicBezTo>
                  <a:cubicBezTo>
                    <a:pt x="3313" y="830"/>
                    <a:pt x="3318" y="826"/>
                    <a:pt x="3317" y="820"/>
                  </a:cubicBezTo>
                  <a:cubicBezTo>
                    <a:pt x="3315" y="814"/>
                    <a:pt x="3307" y="810"/>
                    <a:pt x="3300" y="810"/>
                  </a:cubicBezTo>
                  <a:cubicBezTo>
                    <a:pt x="3300" y="810"/>
                    <a:pt x="3300" y="810"/>
                    <a:pt x="3300" y="810"/>
                  </a:cubicBezTo>
                  <a:moveTo>
                    <a:pt x="2786" y="810"/>
                  </a:moveTo>
                  <a:cubicBezTo>
                    <a:pt x="2778" y="810"/>
                    <a:pt x="2772" y="814"/>
                    <a:pt x="2773" y="820"/>
                  </a:cubicBezTo>
                  <a:cubicBezTo>
                    <a:pt x="2773" y="826"/>
                    <a:pt x="2780" y="830"/>
                    <a:pt x="2788" y="830"/>
                  </a:cubicBezTo>
                  <a:cubicBezTo>
                    <a:pt x="2795" y="830"/>
                    <a:pt x="2801" y="826"/>
                    <a:pt x="2801" y="820"/>
                  </a:cubicBezTo>
                  <a:cubicBezTo>
                    <a:pt x="2800" y="814"/>
                    <a:pt x="2793" y="810"/>
                    <a:pt x="2786" y="810"/>
                  </a:cubicBezTo>
                  <a:cubicBezTo>
                    <a:pt x="2786" y="810"/>
                    <a:pt x="2786" y="810"/>
                    <a:pt x="2786" y="810"/>
                  </a:cubicBezTo>
                  <a:moveTo>
                    <a:pt x="3340" y="810"/>
                  </a:moveTo>
                  <a:cubicBezTo>
                    <a:pt x="3332" y="810"/>
                    <a:pt x="3327" y="814"/>
                    <a:pt x="3329" y="820"/>
                  </a:cubicBezTo>
                  <a:cubicBezTo>
                    <a:pt x="3331" y="826"/>
                    <a:pt x="3338" y="830"/>
                    <a:pt x="3346" y="830"/>
                  </a:cubicBezTo>
                  <a:cubicBezTo>
                    <a:pt x="3353" y="830"/>
                    <a:pt x="3358" y="826"/>
                    <a:pt x="3357" y="820"/>
                  </a:cubicBezTo>
                  <a:cubicBezTo>
                    <a:pt x="3355" y="814"/>
                    <a:pt x="3347" y="810"/>
                    <a:pt x="3340" y="810"/>
                  </a:cubicBezTo>
                  <a:cubicBezTo>
                    <a:pt x="3340" y="810"/>
                    <a:pt x="3340" y="810"/>
                    <a:pt x="3340" y="810"/>
                  </a:cubicBezTo>
                  <a:moveTo>
                    <a:pt x="3379" y="809"/>
                  </a:moveTo>
                  <a:cubicBezTo>
                    <a:pt x="3371" y="809"/>
                    <a:pt x="3366" y="814"/>
                    <a:pt x="3368" y="820"/>
                  </a:cubicBezTo>
                  <a:cubicBezTo>
                    <a:pt x="3370" y="825"/>
                    <a:pt x="3377" y="830"/>
                    <a:pt x="3385" y="830"/>
                  </a:cubicBezTo>
                  <a:cubicBezTo>
                    <a:pt x="3393" y="830"/>
                    <a:pt x="3398" y="825"/>
                    <a:pt x="3396" y="820"/>
                  </a:cubicBezTo>
                  <a:cubicBezTo>
                    <a:pt x="3394" y="814"/>
                    <a:pt x="3387" y="809"/>
                    <a:pt x="3379" y="809"/>
                  </a:cubicBezTo>
                  <a:cubicBezTo>
                    <a:pt x="3379" y="809"/>
                    <a:pt x="3379" y="809"/>
                    <a:pt x="3379" y="809"/>
                  </a:cubicBezTo>
                  <a:moveTo>
                    <a:pt x="3418" y="809"/>
                  </a:moveTo>
                  <a:cubicBezTo>
                    <a:pt x="3411" y="809"/>
                    <a:pt x="3406" y="814"/>
                    <a:pt x="3408" y="820"/>
                  </a:cubicBezTo>
                  <a:cubicBezTo>
                    <a:pt x="3409" y="825"/>
                    <a:pt x="3417" y="830"/>
                    <a:pt x="3425" y="830"/>
                  </a:cubicBezTo>
                  <a:cubicBezTo>
                    <a:pt x="3432" y="830"/>
                    <a:pt x="3437" y="825"/>
                    <a:pt x="3435" y="819"/>
                  </a:cubicBezTo>
                  <a:cubicBezTo>
                    <a:pt x="3434" y="814"/>
                    <a:pt x="3426" y="809"/>
                    <a:pt x="3418" y="809"/>
                  </a:cubicBezTo>
                  <a:cubicBezTo>
                    <a:pt x="3418" y="809"/>
                    <a:pt x="3418" y="809"/>
                    <a:pt x="3418" y="809"/>
                  </a:cubicBezTo>
                  <a:moveTo>
                    <a:pt x="3458" y="809"/>
                  </a:moveTo>
                  <a:cubicBezTo>
                    <a:pt x="3450" y="809"/>
                    <a:pt x="3445" y="814"/>
                    <a:pt x="3447" y="819"/>
                  </a:cubicBezTo>
                  <a:cubicBezTo>
                    <a:pt x="3449" y="825"/>
                    <a:pt x="3457" y="830"/>
                    <a:pt x="3465" y="830"/>
                  </a:cubicBezTo>
                  <a:cubicBezTo>
                    <a:pt x="3472" y="830"/>
                    <a:pt x="3477" y="825"/>
                    <a:pt x="3475" y="819"/>
                  </a:cubicBezTo>
                  <a:cubicBezTo>
                    <a:pt x="3473" y="814"/>
                    <a:pt x="3466" y="809"/>
                    <a:pt x="3458" y="809"/>
                  </a:cubicBezTo>
                  <a:cubicBezTo>
                    <a:pt x="3458" y="809"/>
                    <a:pt x="3458" y="809"/>
                    <a:pt x="3458" y="809"/>
                  </a:cubicBezTo>
                  <a:moveTo>
                    <a:pt x="3498" y="809"/>
                  </a:moveTo>
                  <a:cubicBezTo>
                    <a:pt x="3490" y="809"/>
                    <a:pt x="3486" y="814"/>
                    <a:pt x="3488" y="819"/>
                  </a:cubicBezTo>
                  <a:cubicBezTo>
                    <a:pt x="3489" y="825"/>
                    <a:pt x="3497" y="829"/>
                    <a:pt x="3505" y="829"/>
                  </a:cubicBezTo>
                  <a:cubicBezTo>
                    <a:pt x="3513" y="829"/>
                    <a:pt x="3517" y="825"/>
                    <a:pt x="3515" y="819"/>
                  </a:cubicBezTo>
                  <a:cubicBezTo>
                    <a:pt x="3513" y="813"/>
                    <a:pt x="3506" y="809"/>
                    <a:pt x="3498" y="809"/>
                  </a:cubicBezTo>
                  <a:cubicBezTo>
                    <a:pt x="3498" y="809"/>
                    <a:pt x="3498" y="809"/>
                    <a:pt x="3498" y="809"/>
                  </a:cubicBezTo>
                  <a:moveTo>
                    <a:pt x="3537" y="809"/>
                  </a:moveTo>
                  <a:cubicBezTo>
                    <a:pt x="3530" y="809"/>
                    <a:pt x="3525" y="813"/>
                    <a:pt x="3527" y="819"/>
                  </a:cubicBezTo>
                  <a:cubicBezTo>
                    <a:pt x="3529" y="825"/>
                    <a:pt x="3537" y="829"/>
                    <a:pt x="3545" y="829"/>
                  </a:cubicBezTo>
                  <a:cubicBezTo>
                    <a:pt x="3552" y="829"/>
                    <a:pt x="3557" y="825"/>
                    <a:pt x="3555" y="819"/>
                  </a:cubicBezTo>
                  <a:cubicBezTo>
                    <a:pt x="3553" y="813"/>
                    <a:pt x="3545" y="809"/>
                    <a:pt x="3537" y="809"/>
                  </a:cubicBezTo>
                  <a:cubicBezTo>
                    <a:pt x="3537" y="809"/>
                    <a:pt x="3537" y="809"/>
                    <a:pt x="3537" y="809"/>
                  </a:cubicBezTo>
                  <a:moveTo>
                    <a:pt x="3656" y="808"/>
                  </a:moveTo>
                  <a:cubicBezTo>
                    <a:pt x="3648" y="808"/>
                    <a:pt x="3644" y="813"/>
                    <a:pt x="3646" y="819"/>
                  </a:cubicBezTo>
                  <a:cubicBezTo>
                    <a:pt x="3648" y="824"/>
                    <a:pt x="3656" y="829"/>
                    <a:pt x="3664" y="829"/>
                  </a:cubicBezTo>
                  <a:cubicBezTo>
                    <a:pt x="3672" y="829"/>
                    <a:pt x="3676" y="824"/>
                    <a:pt x="3674" y="818"/>
                  </a:cubicBezTo>
                  <a:cubicBezTo>
                    <a:pt x="3672" y="813"/>
                    <a:pt x="3664" y="808"/>
                    <a:pt x="3656" y="808"/>
                  </a:cubicBezTo>
                  <a:cubicBezTo>
                    <a:pt x="3656" y="808"/>
                    <a:pt x="3656" y="808"/>
                    <a:pt x="3656" y="808"/>
                  </a:cubicBezTo>
                  <a:moveTo>
                    <a:pt x="3696" y="808"/>
                  </a:moveTo>
                  <a:cubicBezTo>
                    <a:pt x="3688" y="808"/>
                    <a:pt x="3684" y="813"/>
                    <a:pt x="3686" y="818"/>
                  </a:cubicBezTo>
                  <a:cubicBezTo>
                    <a:pt x="3689" y="824"/>
                    <a:pt x="3697" y="829"/>
                    <a:pt x="3704" y="829"/>
                  </a:cubicBezTo>
                  <a:cubicBezTo>
                    <a:pt x="3712" y="829"/>
                    <a:pt x="3716" y="824"/>
                    <a:pt x="3714" y="818"/>
                  </a:cubicBezTo>
                  <a:cubicBezTo>
                    <a:pt x="3712" y="813"/>
                    <a:pt x="3704" y="808"/>
                    <a:pt x="3696" y="808"/>
                  </a:cubicBezTo>
                  <a:cubicBezTo>
                    <a:pt x="3696" y="808"/>
                    <a:pt x="3696" y="808"/>
                    <a:pt x="3696" y="808"/>
                  </a:cubicBezTo>
                  <a:moveTo>
                    <a:pt x="3735" y="807"/>
                  </a:moveTo>
                  <a:cubicBezTo>
                    <a:pt x="3727" y="807"/>
                    <a:pt x="3723" y="811"/>
                    <a:pt x="3725" y="817"/>
                  </a:cubicBezTo>
                  <a:cubicBezTo>
                    <a:pt x="3728" y="823"/>
                    <a:pt x="3736" y="827"/>
                    <a:pt x="3744" y="827"/>
                  </a:cubicBezTo>
                  <a:cubicBezTo>
                    <a:pt x="3751" y="827"/>
                    <a:pt x="3756" y="823"/>
                    <a:pt x="3753" y="817"/>
                  </a:cubicBezTo>
                  <a:cubicBezTo>
                    <a:pt x="3751" y="811"/>
                    <a:pt x="3743" y="807"/>
                    <a:pt x="3735" y="807"/>
                  </a:cubicBezTo>
                  <a:cubicBezTo>
                    <a:pt x="3735" y="807"/>
                    <a:pt x="3735" y="807"/>
                    <a:pt x="3735" y="807"/>
                  </a:cubicBezTo>
                  <a:moveTo>
                    <a:pt x="3774" y="806"/>
                  </a:moveTo>
                  <a:cubicBezTo>
                    <a:pt x="3767" y="807"/>
                    <a:pt x="3762" y="811"/>
                    <a:pt x="3765" y="817"/>
                  </a:cubicBezTo>
                  <a:cubicBezTo>
                    <a:pt x="3767" y="823"/>
                    <a:pt x="3776" y="827"/>
                    <a:pt x="3783" y="827"/>
                  </a:cubicBezTo>
                  <a:cubicBezTo>
                    <a:pt x="3791" y="827"/>
                    <a:pt x="3795" y="822"/>
                    <a:pt x="3793" y="817"/>
                  </a:cubicBezTo>
                  <a:cubicBezTo>
                    <a:pt x="3790" y="811"/>
                    <a:pt x="3782" y="806"/>
                    <a:pt x="3774" y="806"/>
                  </a:cubicBezTo>
                  <a:cubicBezTo>
                    <a:pt x="3774" y="806"/>
                    <a:pt x="3774" y="806"/>
                    <a:pt x="3774" y="806"/>
                  </a:cubicBezTo>
                  <a:moveTo>
                    <a:pt x="3814" y="806"/>
                  </a:moveTo>
                  <a:cubicBezTo>
                    <a:pt x="3806" y="806"/>
                    <a:pt x="3802" y="811"/>
                    <a:pt x="3805" y="817"/>
                  </a:cubicBezTo>
                  <a:cubicBezTo>
                    <a:pt x="3807" y="822"/>
                    <a:pt x="3815" y="827"/>
                    <a:pt x="3823" y="827"/>
                  </a:cubicBezTo>
                  <a:cubicBezTo>
                    <a:pt x="3831" y="827"/>
                    <a:pt x="3835" y="822"/>
                    <a:pt x="3832" y="817"/>
                  </a:cubicBezTo>
                  <a:cubicBezTo>
                    <a:pt x="3830" y="811"/>
                    <a:pt x="3822" y="806"/>
                    <a:pt x="3814" y="806"/>
                  </a:cubicBezTo>
                  <a:cubicBezTo>
                    <a:pt x="3814" y="806"/>
                    <a:pt x="3814" y="806"/>
                    <a:pt x="3814" y="806"/>
                  </a:cubicBezTo>
                  <a:moveTo>
                    <a:pt x="3856" y="806"/>
                  </a:moveTo>
                  <a:cubicBezTo>
                    <a:pt x="3848" y="806"/>
                    <a:pt x="3844" y="811"/>
                    <a:pt x="3847" y="816"/>
                  </a:cubicBezTo>
                  <a:cubicBezTo>
                    <a:pt x="3849" y="822"/>
                    <a:pt x="3858" y="827"/>
                    <a:pt x="3866" y="827"/>
                  </a:cubicBezTo>
                  <a:cubicBezTo>
                    <a:pt x="3873" y="827"/>
                    <a:pt x="3877" y="822"/>
                    <a:pt x="3875" y="816"/>
                  </a:cubicBezTo>
                  <a:cubicBezTo>
                    <a:pt x="3872" y="811"/>
                    <a:pt x="3864" y="806"/>
                    <a:pt x="3856" y="806"/>
                  </a:cubicBezTo>
                  <a:cubicBezTo>
                    <a:pt x="3856" y="806"/>
                    <a:pt x="3856" y="806"/>
                    <a:pt x="3856" y="806"/>
                  </a:cubicBezTo>
                  <a:moveTo>
                    <a:pt x="3895" y="806"/>
                  </a:moveTo>
                  <a:cubicBezTo>
                    <a:pt x="3887" y="806"/>
                    <a:pt x="3883" y="811"/>
                    <a:pt x="3886" y="816"/>
                  </a:cubicBezTo>
                  <a:cubicBezTo>
                    <a:pt x="3889" y="822"/>
                    <a:pt x="3897" y="827"/>
                    <a:pt x="3905" y="827"/>
                  </a:cubicBezTo>
                  <a:cubicBezTo>
                    <a:pt x="3912" y="826"/>
                    <a:pt x="3916" y="822"/>
                    <a:pt x="3914" y="816"/>
                  </a:cubicBezTo>
                  <a:cubicBezTo>
                    <a:pt x="3911" y="811"/>
                    <a:pt x="3903" y="806"/>
                    <a:pt x="3895" y="806"/>
                  </a:cubicBezTo>
                  <a:cubicBezTo>
                    <a:pt x="3895" y="806"/>
                    <a:pt x="3895" y="806"/>
                    <a:pt x="3895" y="806"/>
                  </a:cubicBezTo>
                  <a:moveTo>
                    <a:pt x="3934" y="806"/>
                  </a:moveTo>
                  <a:cubicBezTo>
                    <a:pt x="3927" y="806"/>
                    <a:pt x="3923" y="810"/>
                    <a:pt x="3925" y="816"/>
                  </a:cubicBezTo>
                  <a:cubicBezTo>
                    <a:pt x="3928" y="822"/>
                    <a:pt x="3937" y="826"/>
                    <a:pt x="3944" y="826"/>
                  </a:cubicBezTo>
                  <a:cubicBezTo>
                    <a:pt x="3952" y="826"/>
                    <a:pt x="3956" y="822"/>
                    <a:pt x="3953" y="816"/>
                  </a:cubicBezTo>
                  <a:cubicBezTo>
                    <a:pt x="3950" y="810"/>
                    <a:pt x="3942" y="806"/>
                    <a:pt x="3934" y="806"/>
                  </a:cubicBezTo>
                  <a:cubicBezTo>
                    <a:pt x="3934" y="806"/>
                    <a:pt x="3934" y="806"/>
                    <a:pt x="3934" y="806"/>
                  </a:cubicBezTo>
                  <a:moveTo>
                    <a:pt x="3974" y="806"/>
                  </a:moveTo>
                  <a:cubicBezTo>
                    <a:pt x="3966" y="806"/>
                    <a:pt x="3962" y="810"/>
                    <a:pt x="3965" y="816"/>
                  </a:cubicBezTo>
                  <a:cubicBezTo>
                    <a:pt x="3968" y="822"/>
                    <a:pt x="3977" y="826"/>
                    <a:pt x="3984" y="826"/>
                  </a:cubicBezTo>
                  <a:cubicBezTo>
                    <a:pt x="3992" y="826"/>
                    <a:pt x="3996" y="821"/>
                    <a:pt x="3993" y="816"/>
                  </a:cubicBezTo>
                  <a:cubicBezTo>
                    <a:pt x="3990" y="810"/>
                    <a:pt x="3982" y="806"/>
                    <a:pt x="3974" y="806"/>
                  </a:cubicBezTo>
                  <a:cubicBezTo>
                    <a:pt x="3974" y="806"/>
                    <a:pt x="3974" y="806"/>
                    <a:pt x="3974" y="806"/>
                  </a:cubicBezTo>
                  <a:moveTo>
                    <a:pt x="28" y="798"/>
                  </a:moveTo>
                  <a:cubicBezTo>
                    <a:pt x="20" y="798"/>
                    <a:pt x="10" y="802"/>
                    <a:pt x="5" y="808"/>
                  </a:cubicBezTo>
                  <a:cubicBezTo>
                    <a:pt x="0" y="813"/>
                    <a:pt x="3" y="818"/>
                    <a:pt x="10" y="818"/>
                  </a:cubicBezTo>
                  <a:cubicBezTo>
                    <a:pt x="18" y="818"/>
                    <a:pt x="28" y="813"/>
                    <a:pt x="33" y="808"/>
                  </a:cubicBezTo>
                  <a:cubicBezTo>
                    <a:pt x="38" y="802"/>
                    <a:pt x="35" y="798"/>
                    <a:pt x="28" y="798"/>
                  </a:cubicBezTo>
                  <a:cubicBezTo>
                    <a:pt x="28" y="798"/>
                    <a:pt x="28" y="798"/>
                    <a:pt x="28" y="798"/>
                  </a:cubicBezTo>
                  <a:moveTo>
                    <a:pt x="187" y="797"/>
                  </a:moveTo>
                  <a:cubicBezTo>
                    <a:pt x="179" y="797"/>
                    <a:pt x="169" y="801"/>
                    <a:pt x="165" y="807"/>
                  </a:cubicBezTo>
                  <a:cubicBezTo>
                    <a:pt x="160" y="813"/>
                    <a:pt x="163" y="817"/>
                    <a:pt x="171" y="817"/>
                  </a:cubicBezTo>
                  <a:cubicBezTo>
                    <a:pt x="178" y="817"/>
                    <a:pt x="188" y="813"/>
                    <a:pt x="192" y="807"/>
                  </a:cubicBezTo>
                  <a:cubicBezTo>
                    <a:pt x="197" y="801"/>
                    <a:pt x="194" y="797"/>
                    <a:pt x="187" y="797"/>
                  </a:cubicBezTo>
                  <a:cubicBezTo>
                    <a:pt x="187" y="797"/>
                    <a:pt x="187" y="797"/>
                    <a:pt x="187" y="797"/>
                  </a:cubicBezTo>
                  <a:moveTo>
                    <a:pt x="228" y="795"/>
                  </a:moveTo>
                  <a:cubicBezTo>
                    <a:pt x="221" y="795"/>
                    <a:pt x="211" y="800"/>
                    <a:pt x="207" y="805"/>
                  </a:cubicBezTo>
                  <a:cubicBezTo>
                    <a:pt x="202" y="811"/>
                    <a:pt x="205" y="815"/>
                    <a:pt x="213" y="815"/>
                  </a:cubicBezTo>
                  <a:cubicBezTo>
                    <a:pt x="220" y="815"/>
                    <a:pt x="230" y="811"/>
                    <a:pt x="234" y="805"/>
                  </a:cubicBezTo>
                  <a:cubicBezTo>
                    <a:pt x="239" y="800"/>
                    <a:pt x="236" y="795"/>
                    <a:pt x="229" y="795"/>
                  </a:cubicBezTo>
                  <a:cubicBezTo>
                    <a:pt x="229" y="795"/>
                    <a:pt x="228" y="795"/>
                    <a:pt x="228" y="795"/>
                  </a:cubicBezTo>
                  <a:moveTo>
                    <a:pt x="111" y="793"/>
                  </a:moveTo>
                  <a:cubicBezTo>
                    <a:pt x="103" y="793"/>
                    <a:pt x="94" y="798"/>
                    <a:pt x="89" y="803"/>
                  </a:cubicBezTo>
                  <a:cubicBezTo>
                    <a:pt x="84" y="809"/>
                    <a:pt x="87" y="814"/>
                    <a:pt x="95" y="814"/>
                  </a:cubicBezTo>
                  <a:cubicBezTo>
                    <a:pt x="102" y="813"/>
                    <a:pt x="112" y="809"/>
                    <a:pt x="117" y="803"/>
                  </a:cubicBezTo>
                  <a:cubicBezTo>
                    <a:pt x="121" y="798"/>
                    <a:pt x="119" y="793"/>
                    <a:pt x="111" y="793"/>
                  </a:cubicBezTo>
                  <a:cubicBezTo>
                    <a:pt x="111" y="793"/>
                    <a:pt x="111" y="793"/>
                    <a:pt x="111" y="793"/>
                  </a:cubicBezTo>
                  <a:moveTo>
                    <a:pt x="150" y="793"/>
                  </a:moveTo>
                  <a:cubicBezTo>
                    <a:pt x="143" y="793"/>
                    <a:pt x="133" y="798"/>
                    <a:pt x="128" y="803"/>
                  </a:cubicBezTo>
                  <a:cubicBezTo>
                    <a:pt x="124" y="809"/>
                    <a:pt x="126" y="813"/>
                    <a:pt x="134" y="813"/>
                  </a:cubicBezTo>
                  <a:cubicBezTo>
                    <a:pt x="142" y="813"/>
                    <a:pt x="151" y="809"/>
                    <a:pt x="156" y="803"/>
                  </a:cubicBezTo>
                  <a:cubicBezTo>
                    <a:pt x="160" y="798"/>
                    <a:pt x="158" y="793"/>
                    <a:pt x="150" y="793"/>
                  </a:cubicBezTo>
                  <a:cubicBezTo>
                    <a:pt x="150" y="793"/>
                    <a:pt x="150" y="793"/>
                    <a:pt x="150" y="793"/>
                  </a:cubicBezTo>
                  <a:moveTo>
                    <a:pt x="1724" y="786"/>
                  </a:moveTo>
                  <a:cubicBezTo>
                    <a:pt x="1716" y="786"/>
                    <a:pt x="1709" y="791"/>
                    <a:pt x="1708" y="796"/>
                  </a:cubicBezTo>
                  <a:cubicBezTo>
                    <a:pt x="1706" y="802"/>
                    <a:pt x="1711" y="806"/>
                    <a:pt x="1719" y="806"/>
                  </a:cubicBezTo>
                  <a:cubicBezTo>
                    <a:pt x="1726" y="806"/>
                    <a:pt x="1734" y="802"/>
                    <a:pt x="1735" y="796"/>
                  </a:cubicBezTo>
                  <a:cubicBezTo>
                    <a:pt x="1737" y="790"/>
                    <a:pt x="1732" y="786"/>
                    <a:pt x="1724" y="786"/>
                  </a:cubicBezTo>
                  <a:cubicBezTo>
                    <a:pt x="1724" y="786"/>
                    <a:pt x="1724" y="786"/>
                    <a:pt x="1724" y="786"/>
                  </a:cubicBezTo>
                  <a:moveTo>
                    <a:pt x="1761" y="786"/>
                  </a:moveTo>
                  <a:cubicBezTo>
                    <a:pt x="1753" y="786"/>
                    <a:pt x="1746" y="790"/>
                    <a:pt x="1745" y="796"/>
                  </a:cubicBezTo>
                  <a:cubicBezTo>
                    <a:pt x="1743" y="802"/>
                    <a:pt x="1748" y="806"/>
                    <a:pt x="1756" y="806"/>
                  </a:cubicBezTo>
                  <a:cubicBezTo>
                    <a:pt x="1764" y="806"/>
                    <a:pt x="1771" y="802"/>
                    <a:pt x="1772" y="796"/>
                  </a:cubicBezTo>
                  <a:cubicBezTo>
                    <a:pt x="1774" y="790"/>
                    <a:pt x="1769" y="786"/>
                    <a:pt x="1761" y="786"/>
                  </a:cubicBezTo>
                  <a:cubicBezTo>
                    <a:pt x="1761" y="786"/>
                    <a:pt x="1761" y="786"/>
                    <a:pt x="1761" y="786"/>
                  </a:cubicBezTo>
                  <a:moveTo>
                    <a:pt x="1800" y="786"/>
                  </a:moveTo>
                  <a:cubicBezTo>
                    <a:pt x="1792" y="786"/>
                    <a:pt x="1785" y="790"/>
                    <a:pt x="1784" y="796"/>
                  </a:cubicBezTo>
                  <a:cubicBezTo>
                    <a:pt x="1782" y="801"/>
                    <a:pt x="1788" y="806"/>
                    <a:pt x="1795" y="806"/>
                  </a:cubicBezTo>
                  <a:cubicBezTo>
                    <a:pt x="1803" y="806"/>
                    <a:pt x="1810" y="801"/>
                    <a:pt x="1811" y="796"/>
                  </a:cubicBezTo>
                  <a:cubicBezTo>
                    <a:pt x="1813" y="790"/>
                    <a:pt x="1808" y="786"/>
                    <a:pt x="1800" y="786"/>
                  </a:cubicBezTo>
                  <a:cubicBezTo>
                    <a:pt x="1800" y="786"/>
                    <a:pt x="1800" y="786"/>
                    <a:pt x="1800" y="786"/>
                  </a:cubicBezTo>
                  <a:moveTo>
                    <a:pt x="1839" y="785"/>
                  </a:moveTo>
                  <a:cubicBezTo>
                    <a:pt x="1832" y="785"/>
                    <a:pt x="1825" y="790"/>
                    <a:pt x="1823" y="796"/>
                  </a:cubicBezTo>
                  <a:cubicBezTo>
                    <a:pt x="1822" y="801"/>
                    <a:pt x="1827" y="806"/>
                    <a:pt x="1835" y="806"/>
                  </a:cubicBezTo>
                  <a:cubicBezTo>
                    <a:pt x="1842" y="806"/>
                    <a:pt x="1850" y="801"/>
                    <a:pt x="1851" y="796"/>
                  </a:cubicBezTo>
                  <a:cubicBezTo>
                    <a:pt x="1852" y="790"/>
                    <a:pt x="1847" y="785"/>
                    <a:pt x="1839" y="785"/>
                  </a:cubicBezTo>
                  <a:cubicBezTo>
                    <a:pt x="1839" y="785"/>
                    <a:pt x="1839" y="785"/>
                    <a:pt x="1839" y="785"/>
                  </a:cubicBezTo>
                  <a:moveTo>
                    <a:pt x="1879" y="785"/>
                  </a:moveTo>
                  <a:cubicBezTo>
                    <a:pt x="1871" y="785"/>
                    <a:pt x="1864" y="790"/>
                    <a:pt x="1863" y="795"/>
                  </a:cubicBezTo>
                  <a:cubicBezTo>
                    <a:pt x="1862" y="801"/>
                    <a:pt x="1867" y="806"/>
                    <a:pt x="1875" y="806"/>
                  </a:cubicBezTo>
                  <a:cubicBezTo>
                    <a:pt x="1882" y="806"/>
                    <a:pt x="1890" y="801"/>
                    <a:pt x="1891" y="795"/>
                  </a:cubicBezTo>
                  <a:cubicBezTo>
                    <a:pt x="1892" y="790"/>
                    <a:pt x="1887" y="785"/>
                    <a:pt x="1879" y="785"/>
                  </a:cubicBezTo>
                  <a:cubicBezTo>
                    <a:pt x="1879" y="785"/>
                    <a:pt x="1879" y="785"/>
                    <a:pt x="1879" y="785"/>
                  </a:cubicBezTo>
                  <a:moveTo>
                    <a:pt x="1918" y="785"/>
                  </a:moveTo>
                  <a:cubicBezTo>
                    <a:pt x="1910" y="785"/>
                    <a:pt x="1903" y="790"/>
                    <a:pt x="1902" y="795"/>
                  </a:cubicBezTo>
                  <a:cubicBezTo>
                    <a:pt x="1901" y="801"/>
                    <a:pt x="1906" y="805"/>
                    <a:pt x="1914" y="805"/>
                  </a:cubicBezTo>
                  <a:cubicBezTo>
                    <a:pt x="1922" y="805"/>
                    <a:pt x="1929" y="801"/>
                    <a:pt x="1930" y="795"/>
                  </a:cubicBezTo>
                  <a:cubicBezTo>
                    <a:pt x="1931" y="790"/>
                    <a:pt x="1926" y="785"/>
                    <a:pt x="1918" y="785"/>
                  </a:cubicBezTo>
                  <a:cubicBezTo>
                    <a:pt x="1918" y="785"/>
                    <a:pt x="1918" y="785"/>
                    <a:pt x="1918" y="785"/>
                  </a:cubicBezTo>
                  <a:moveTo>
                    <a:pt x="1957" y="785"/>
                  </a:moveTo>
                  <a:cubicBezTo>
                    <a:pt x="1950" y="785"/>
                    <a:pt x="1943" y="789"/>
                    <a:pt x="1942" y="795"/>
                  </a:cubicBezTo>
                  <a:cubicBezTo>
                    <a:pt x="1941" y="801"/>
                    <a:pt x="1946" y="805"/>
                    <a:pt x="1954" y="805"/>
                  </a:cubicBezTo>
                  <a:cubicBezTo>
                    <a:pt x="1961" y="805"/>
                    <a:pt x="1968" y="801"/>
                    <a:pt x="1969" y="795"/>
                  </a:cubicBezTo>
                  <a:cubicBezTo>
                    <a:pt x="1970" y="789"/>
                    <a:pt x="1965" y="785"/>
                    <a:pt x="1957" y="785"/>
                  </a:cubicBezTo>
                  <a:cubicBezTo>
                    <a:pt x="1957" y="785"/>
                    <a:pt x="1957" y="785"/>
                    <a:pt x="1957" y="785"/>
                  </a:cubicBezTo>
                  <a:moveTo>
                    <a:pt x="1996" y="785"/>
                  </a:moveTo>
                  <a:cubicBezTo>
                    <a:pt x="1989" y="785"/>
                    <a:pt x="1982" y="789"/>
                    <a:pt x="1981" y="795"/>
                  </a:cubicBezTo>
                  <a:cubicBezTo>
                    <a:pt x="1980" y="801"/>
                    <a:pt x="1985" y="805"/>
                    <a:pt x="1993" y="805"/>
                  </a:cubicBezTo>
                  <a:cubicBezTo>
                    <a:pt x="2001" y="805"/>
                    <a:pt x="2007" y="800"/>
                    <a:pt x="2008" y="795"/>
                  </a:cubicBezTo>
                  <a:cubicBezTo>
                    <a:pt x="2009" y="789"/>
                    <a:pt x="2004" y="785"/>
                    <a:pt x="1996" y="785"/>
                  </a:cubicBezTo>
                  <a:cubicBezTo>
                    <a:pt x="1996" y="785"/>
                    <a:pt x="1996" y="785"/>
                    <a:pt x="1996" y="785"/>
                  </a:cubicBezTo>
                  <a:moveTo>
                    <a:pt x="2036" y="784"/>
                  </a:moveTo>
                  <a:cubicBezTo>
                    <a:pt x="2028" y="784"/>
                    <a:pt x="2021" y="789"/>
                    <a:pt x="2020" y="795"/>
                  </a:cubicBezTo>
                  <a:cubicBezTo>
                    <a:pt x="2019" y="800"/>
                    <a:pt x="2025" y="805"/>
                    <a:pt x="2033" y="805"/>
                  </a:cubicBezTo>
                  <a:cubicBezTo>
                    <a:pt x="2040" y="805"/>
                    <a:pt x="2047" y="800"/>
                    <a:pt x="2048" y="795"/>
                  </a:cubicBezTo>
                  <a:cubicBezTo>
                    <a:pt x="2049" y="789"/>
                    <a:pt x="2043" y="784"/>
                    <a:pt x="2036" y="784"/>
                  </a:cubicBezTo>
                  <a:cubicBezTo>
                    <a:pt x="2036" y="784"/>
                    <a:pt x="2036" y="784"/>
                    <a:pt x="2036" y="784"/>
                  </a:cubicBezTo>
                  <a:moveTo>
                    <a:pt x="2076" y="784"/>
                  </a:moveTo>
                  <a:cubicBezTo>
                    <a:pt x="2069" y="784"/>
                    <a:pt x="2062" y="789"/>
                    <a:pt x="2061" y="795"/>
                  </a:cubicBezTo>
                  <a:cubicBezTo>
                    <a:pt x="2060" y="800"/>
                    <a:pt x="2066" y="805"/>
                    <a:pt x="2073" y="805"/>
                  </a:cubicBezTo>
                  <a:cubicBezTo>
                    <a:pt x="2081" y="805"/>
                    <a:pt x="2088" y="800"/>
                    <a:pt x="2089" y="794"/>
                  </a:cubicBezTo>
                  <a:cubicBezTo>
                    <a:pt x="2089" y="789"/>
                    <a:pt x="2084" y="784"/>
                    <a:pt x="2076" y="784"/>
                  </a:cubicBezTo>
                  <a:cubicBezTo>
                    <a:pt x="2076" y="784"/>
                    <a:pt x="2076" y="784"/>
                    <a:pt x="2076" y="784"/>
                  </a:cubicBezTo>
                  <a:moveTo>
                    <a:pt x="2115" y="784"/>
                  </a:moveTo>
                  <a:cubicBezTo>
                    <a:pt x="2108" y="784"/>
                    <a:pt x="2101" y="789"/>
                    <a:pt x="2100" y="794"/>
                  </a:cubicBezTo>
                  <a:cubicBezTo>
                    <a:pt x="2099" y="800"/>
                    <a:pt x="2105" y="805"/>
                    <a:pt x="2113" y="804"/>
                  </a:cubicBezTo>
                  <a:cubicBezTo>
                    <a:pt x="2120" y="804"/>
                    <a:pt x="2127" y="800"/>
                    <a:pt x="2128" y="794"/>
                  </a:cubicBezTo>
                  <a:cubicBezTo>
                    <a:pt x="2128" y="789"/>
                    <a:pt x="2123" y="784"/>
                    <a:pt x="2115" y="784"/>
                  </a:cubicBezTo>
                  <a:cubicBezTo>
                    <a:pt x="2115" y="784"/>
                    <a:pt x="2115" y="784"/>
                    <a:pt x="2115" y="784"/>
                  </a:cubicBezTo>
                  <a:moveTo>
                    <a:pt x="2155" y="784"/>
                  </a:moveTo>
                  <a:cubicBezTo>
                    <a:pt x="2147" y="784"/>
                    <a:pt x="2140" y="789"/>
                    <a:pt x="2140" y="794"/>
                  </a:cubicBezTo>
                  <a:cubicBezTo>
                    <a:pt x="2139" y="800"/>
                    <a:pt x="2145" y="804"/>
                    <a:pt x="2152" y="804"/>
                  </a:cubicBezTo>
                  <a:cubicBezTo>
                    <a:pt x="2160" y="804"/>
                    <a:pt x="2167" y="800"/>
                    <a:pt x="2167" y="794"/>
                  </a:cubicBezTo>
                  <a:cubicBezTo>
                    <a:pt x="2168" y="788"/>
                    <a:pt x="2162" y="784"/>
                    <a:pt x="2155" y="784"/>
                  </a:cubicBezTo>
                  <a:cubicBezTo>
                    <a:pt x="2155" y="784"/>
                    <a:pt x="2155" y="784"/>
                    <a:pt x="2155" y="784"/>
                  </a:cubicBezTo>
                  <a:moveTo>
                    <a:pt x="2194" y="784"/>
                  </a:moveTo>
                  <a:cubicBezTo>
                    <a:pt x="2187" y="784"/>
                    <a:pt x="2180" y="788"/>
                    <a:pt x="2179" y="794"/>
                  </a:cubicBezTo>
                  <a:cubicBezTo>
                    <a:pt x="2179" y="800"/>
                    <a:pt x="2185" y="804"/>
                    <a:pt x="2192" y="804"/>
                  </a:cubicBezTo>
                  <a:cubicBezTo>
                    <a:pt x="2200" y="804"/>
                    <a:pt x="2206" y="799"/>
                    <a:pt x="2207" y="794"/>
                  </a:cubicBezTo>
                  <a:cubicBezTo>
                    <a:pt x="2207" y="788"/>
                    <a:pt x="2202" y="784"/>
                    <a:pt x="2194" y="784"/>
                  </a:cubicBezTo>
                  <a:cubicBezTo>
                    <a:pt x="2194" y="784"/>
                    <a:pt x="2194" y="784"/>
                    <a:pt x="2194" y="784"/>
                  </a:cubicBezTo>
                  <a:moveTo>
                    <a:pt x="2233" y="784"/>
                  </a:moveTo>
                  <a:cubicBezTo>
                    <a:pt x="2226" y="784"/>
                    <a:pt x="2219" y="788"/>
                    <a:pt x="2219" y="794"/>
                  </a:cubicBezTo>
                  <a:cubicBezTo>
                    <a:pt x="2218" y="799"/>
                    <a:pt x="2224" y="804"/>
                    <a:pt x="2231" y="804"/>
                  </a:cubicBezTo>
                  <a:cubicBezTo>
                    <a:pt x="2239" y="804"/>
                    <a:pt x="2246" y="799"/>
                    <a:pt x="2246" y="794"/>
                  </a:cubicBezTo>
                  <a:cubicBezTo>
                    <a:pt x="2247" y="788"/>
                    <a:pt x="2241" y="784"/>
                    <a:pt x="2233" y="784"/>
                  </a:cubicBezTo>
                  <a:cubicBezTo>
                    <a:pt x="2233" y="784"/>
                    <a:pt x="2233" y="784"/>
                    <a:pt x="2233" y="784"/>
                  </a:cubicBezTo>
                  <a:moveTo>
                    <a:pt x="2822" y="783"/>
                  </a:moveTo>
                  <a:cubicBezTo>
                    <a:pt x="2815" y="783"/>
                    <a:pt x="2809" y="788"/>
                    <a:pt x="2810" y="794"/>
                  </a:cubicBezTo>
                  <a:cubicBezTo>
                    <a:pt x="2810" y="799"/>
                    <a:pt x="2817" y="804"/>
                    <a:pt x="2824" y="804"/>
                  </a:cubicBezTo>
                  <a:cubicBezTo>
                    <a:pt x="2832" y="804"/>
                    <a:pt x="2838" y="799"/>
                    <a:pt x="2837" y="794"/>
                  </a:cubicBezTo>
                  <a:cubicBezTo>
                    <a:pt x="2836" y="788"/>
                    <a:pt x="2830" y="783"/>
                    <a:pt x="2822" y="783"/>
                  </a:cubicBezTo>
                  <a:cubicBezTo>
                    <a:pt x="2822" y="783"/>
                    <a:pt x="2822" y="783"/>
                    <a:pt x="2822" y="783"/>
                  </a:cubicBezTo>
                  <a:moveTo>
                    <a:pt x="2272" y="783"/>
                  </a:moveTo>
                  <a:cubicBezTo>
                    <a:pt x="2265" y="783"/>
                    <a:pt x="2258" y="788"/>
                    <a:pt x="2258" y="794"/>
                  </a:cubicBezTo>
                  <a:cubicBezTo>
                    <a:pt x="2257" y="799"/>
                    <a:pt x="2263" y="804"/>
                    <a:pt x="2271" y="804"/>
                  </a:cubicBezTo>
                  <a:cubicBezTo>
                    <a:pt x="2279" y="804"/>
                    <a:pt x="2285" y="799"/>
                    <a:pt x="2285" y="793"/>
                  </a:cubicBezTo>
                  <a:cubicBezTo>
                    <a:pt x="2286" y="788"/>
                    <a:pt x="2280" y="783"/>
                    <a:pt x="2272" y="783"/>
                  </a:cubicBezTo>
                  <a:cubicBezTo>
                    <a:pt x="2272" y="783"/>
                    <a:pt x="2272" y="783"/>
                    <a:pt x="2272" y="783"/>
                  </a:cubicBezTo>
                  <a:moveTo>
                    <a:pt x="2311" y="783"/>
                  </a:moveTo>
                  <a:cubicBezTo>
                    <a:pt x="2304" y="783"/>
                    <a:pt x="2297" y="788"/>
                    <a:pt x="2297" y="793"/>
                  </a:cubicBezTo>
                  <a:cubicBezTo>
                    <a:pt x="2297" y="799"/>
                    <a:pt x="2303" y="804"/>
                    <a:pt x="2310" y="804"/>
                  </a:cubicBezTo>
                  <a:cubicBezTo>
                    <a:pt x="2318" y="804"/>
                    <a:pt x="2324" y="799"/>
                    <a:pt x="2325" y="793"/>
                  </a:cubicBezTo>
                  <a:cubicBezTo>
                    <a:pt x="2325" y="788"/>
                    <a:pt x="2319" y="783"/>
                    <a:pt x="2312" y="783"/>
                  </a:cubicBezTo>
                  <a:cubicBezTo>
                    <a:pt x="2311" y="783"/>
                    <a:pt x="2311" y="783"/>
                    <a:pt x="2311" y="783"/>
                  </a:cubicBezTo>
                  <a:moveTo>
                    <a:pt x="2900" y="783"/>
                  </a:moveTo>
                  <a:cubicBezTo>
                    <a:pt x="2893" y="783"/>
                    <a:pt x="2887" y="788"/>
                    <a:pt x="2888" y="793"/>
                  </a:cubicBezTo>
                  <a:cubicBezTo>
                    <a:pt x="2889" y="799"/>
                    <a:pt x="2896" y="804"/>
                    <a:pt x="2903" y="803"/>
                  </a:cubicBezTo>
                  <a:cubicBezTo>
                    <a:pt x="2911" y="803"/>
                    <a:pt x="2916" y="799"/>
                    <a:pt x="2915" y="793"/>
                  </a:cubicBezTo>
                  <a:cubicBezTo>
                    <a:pt x="2915" y="788"/>
                    <a:pt x="2908" y="783"/>
                    <a:pt x="2900" y="783"/>
                  </a:cubicBezTo>
                  <a:cubicBezTo>
                    <a:pt x="2900" y="783"/>
                    <a:pt x="2900" y="783"/>
                    <a:pt x="2900" y="783"/>
                  </a:cubicBezTo>
                  <a:moveTo>
                    <a:pt x="2351" y="783"/>
                  </a:moveTo>
                  <a:cubicBezTo>
                    <a:pt x="2343" y="783"/>
                    <a:pt x="2337" y="788"/>
                    <a:pt x="2336" y="793"/>
                  </a:cubicBezTo>
                  <a:cubicBezTo>
                    <a:pt x="2336" y="799"/>
                    <a:pt x="2342" y="803"/>
                    <a:pt x="2350" y="803"/>
                  </a:cubicBezTo>
                  <a:cubicBezTo>
                    <a:pt x="2357" y="803"/>
                    <a:pt x="2364" y="799"/>
                    <a:pt x="2364" y="793"/>
                  </a:cubicBezTo>
                  <a:cubicBezTo>
                    <a:pt x="2364" y="787"/>
                    <a:pt x="2358" y="783"/>
                    <a:pt x="2351" y="783"/>
                  </a:cubicBezTo>
                  <a:cubicBezTo>
                    <a:pt x="2351" y="783"/>
                    <a:pt x="2351" y="783"/>
                    <a:pt x="2351" y="783"/>
                  </a:cubicBezTo>
                  <a:moveTo>
                    <a:pt x="2859" y="783"/>
                  </a:moveTo>
                  <a:cubicBezTo>
                    <a:pt x="2851" y="783"/>
                    <a:pt x="2846" y="788"/>
                    <a:pt x="2847" y="793"/>
                  </a:cubicBezTo>
                  <a:cubicBezTo>
                    <a:pt x="2847" y="799"/>
                    <a:pt x="2854" y="803"/>
                    <a:pt x="2862" y="803"/>
                  </a:cubicBezTo>
                  <a:cubicBezTo>
                    <a:pt x="2869" y="803"/>
                    <a:pt x="2875" y="799"/>
                    <a:pt x="2874" y="793"/>
                  </a:cubicBezTo>
                  <a:cubicBezTo>
                    <a:pt x="2873" y="787"/>
                    <a:pt x="2867" y="783"/>
                    <a:pt x="2859" y="783"/>
                  </a:cubicBezTo>
                  <a:cubicBezTo>
                    <a:pt x="2859" y="783"/>
                    <a:pt x="2859" y="783"/>
                    <a:pt x="2859" y="783"/>
                  </a:cubicBezTo>
                  <a:moveTo>
                    <a:pt x="2390" y="783"/>
                  </a:moveTo>
                  <a:cubicBezTo>
                    <a:pt x="2383" y="783"/>
                    <a:pt x="2377" y="787"/>
                    <a:pt x="2376" y="793"/>
                  </a:cubicBezTo>
                  <a:cubicBezTo>
                    <a:pt x="2376" y="799"/>
                    <a:pt x="2382" y="803"/>
                    <a:pt x="2390" y="803"/>
                  </a:cubicBezTo>
                  <a:cubicBezTo>
                    <a:pt x="2397" y="803"/>
                    <a:pt x="2404" y="799"/>
                    <a:pt x="2404" y="793"/>
                  </a:cubicBezTo>
                  <a:cubicBezTo>
                    <a:pt x="2404" y="787"/>
                    <a:pt x="2398" y="783"/>
                    <a:pt x="2391" y="783"/>
                  </a:cubicBezTo>
                  <a:cubicBezTo>
                    <a:pt x="2390" y="783"/>
                    <a:pt x="2390" y="783"/>
                    <a:pt x="2390" y="783"/>
                  </a:cubicBezTo>
                  <a:moveTo>
                    <a:pt x="2429" y="783"/>
                  </a:moveTo>
                  <a:cubicBezTo>
                    <a:pt x="2422" y="783"/>
                    <a:pt x="2416" y="787"/>
                    <a:pt x="2415" y="793"/>
                  </a:cubicBezTo>
                  <a:cubicBezTo>
                    <a:pt x="2415" y="798"/>
                    <a:pt x="2421" y="803"/>
                    <a:pt x="2429" y="803"/>
                  </a:cubicBezTo>
                  <a:cubicBezTo>
                    <a:pt x="2437" y="803"/>
                    <a:pt x="2443" y="798"/>
                    <a:pt x="2443" y="793"/>
                  </a:cubicBezTo>
                  <a:cubicBezTo>
                    <a:pt x="2443" y="787"/>
                    <a:pt x="2437" y="783"/>
                    <a:pt x="2429" y="783"/>
                  </a:cubicBezTo>
                  <a:cubicBezTo>
                    <a:pt x="2429" y="783"/>
                    <a:pt x="2429" y="783"/>
                    <a:pt x="2429" y="783"/>
                  </a:cubicBezTo>
                  <a:moveTo>
                    <a:pt x="2937" y="783"/>
                  </a:moveTo>
                  <a:cubicBezTo>
                    <a:pt x="2930" y="783"/>
                    <a:pt x="2924" y="787"/>
                    <a:pt x="2925" y="793"/>
                  </a:cubicBezTo>
                  <a:cubicBezTo>
                    <a:pt x="2926" y="799"/>
                    <a:pt x="2933" y="803"/>
                    <a:pt x="2940" y="803"/>
                  </a:cubicBezTo>
                  <a:cubicBezTo>
                    <a:pt x="2948" y="803"/>
                    <a:pt x="2953" y="798"/>
                    <a:pt x="2952" y="793"/>
                  </a:cubicBezTo>
                  <a:cubicBezTo>
                    <a:pt x="2952" y="787"/>
                    <a:pt x="2945" y="783"/>
                    <a:pt x="2937" y="783"/>
                  </a:cubicBezTo>
                  <a:cubicBezTo>
                    <a:pt x="2937" y="783"/>
                    <a:pt x="2937" y="783"/>
                    <a:pt x="2937" y="783"/>
                  </a:cubicBezTo>
                  <a:moveTo>
                    <a:pt x="2666" y="782"/>
                  </a:moveTo>
                  <a:cubicBezTo>
                    <a:pt x="2658" y="782"/>
                    <a:pt x="2652" y="787"/>
                    <a:pt x="2653" y="793"/>
                  </a:cubicBezTo>
                  <a:cubicBezTo>
                    <a:pt x="2653" y="798"/>
                    <a:pt x="2659" y="803"/>
                    <a:pt x="2667" y="803"/>
                  </a:cubicBezTo>
                  <a:cubicBezTo>
                    <a:pt x="2675" y="803"/>
                    <a:pt x="2681" y="798"/>
                    <a:pt x="2680" y="793"/>
                  </a:cubicBezTo>
                  <a:cubicBezTo>
                    <a:pt x="2680" y="787"/>
                    <a:pt x="2673" y="782"/>
                    <a:pt x="2666" y="782"/>
                  </a:cubicBezTo>
                  <a:cubicBezTo>
                    <a:pt x="2666" y="782"/>
                    <a:pt x="2666" y="782"/>
                    <a:pt x="2666" y="782"/>
                  </a:cubicBezTo>
                  <a:moveTo>
                    <a:pt x="2469" y="782"/>
                  </a:moveTo>
                  <a:cubicBezTo>
                    <a:pt x="2461" y="782"/>
                    <a:pt x="2455" y="787"/>
                    <a:pt x="2455" y="793"/>
                  </a:cubicBezTo>
                  <a:cubicBezTo>
                    <a:pt x="2455" y="798"/>
                    <a:pt x="2461" y="803"/>
                    <a:pt x="2469" y="803"/>
                  </a:cubicBezTo>
                  <a:cubicBezTo>
                    <a:pt x="2476" y="803"/>
                    <a:pt x="2482" y="798"/>
                    <a:pt x="2482" y="793"/>
                  </a:cubicBezTo>
                  <a:cubicBezTo>
                    <a:pt x="2482" y="787"/>
                    <a:pt x="2476" y="782"/>
                    <a:pt x="2469" y="782"/>
                  </a:cubicBezTo>
                  <a:cubicBezTo>
                    <a:pt x="2469" y="782"/>
                    <a:pt x="2469" y="782"/>
                    <a:pt x="2469" y="782"/>
                  </a:cubicBezTo>
                  <a:moveTo>
                    <a:pt x="2980" y="782"/>
                  </a:moveTo>
                  <a:cubicBezTo>
                    <a:pt x="2972" y="782"/>
                    <a:pt x="2967" y="787"/>
                    <a:pt x="2968" y="793"/>
                  </a:cubicBezTo>
                  <a:cubicBezTo>
                    <a:pt x="2969" y="798"/>
                    <a:pt x="2976" y="803"/>
                    <a:pt x="2983" y="803"/>
                  </a:cubicBezTo>
                  <a:cubicBezTo>
                    <a:pt x="2991" y="803"/>
                    <a:pt x="2997" y="798"/>
                    <a:pt x="2996" y="792"/>
                  </a:cubicBezTo>
                  <a:cubicBezTo>
                    <a:pt x="2995" y="787"/>
                    <a:pt x="2988" y="782"/>
                    <a:pt x="2980" y="782"/>
                  </a:cubicBezTo>
                  <a:cubicBezTo>
                    <a:pt x="2980" y="782"/>
                    <a:pt x="2980" y="782"/>
                    <a:pt x="2980" y="782"/>
                  </a:cubicBezTo>
                  <a:moveTo>
                    <a:pt x="2704" y="782"/>
                  </a:moveTo>
                  <a:cubicBezTo>
                    <a:pt x="2697" y="782"/>
                    <a:pt x="2691" y="787"/>
                    <a:pt x="2691" y="793"/>
                  </a:cubicBezTo>
                  <a:cubicBezTo>
                    <a:pt x="2692" y="798"/>
                    <a:pt x="2698" y="803"/>
                    <a:pt x="2706" y="803"/>
                  </a:cubicBezTo>
                  <a:cubicBezTo>
                    <a:pt x="2714" y="803"/>
                    <a:pt x="2719" y="798"/>
                    <a:pt x="2719" y="792"/>
                  </a:cubicBezTo>
                  <a:cubicBezTo>
                    <a:pt x="2719" y="787"/>
                    <a:pt x="2712" y="782"/>
                    <a:pt x="2705" y="782"/>
                  </a:cubicBezTo>
                  <a:cubicBezTo>
                    <a:pt x="2704" y="782"/>
                    <a:pt x="2704" y="782"/>
                    <a:pt x="2704" y="782"/>
                  </a:cubicBezTo>
                  <a:moveTo>
                    <a:pt x="2508" y="782"/>
                  </a:moveTo>
                  <a:cubicBezTo>
                    <a:pt x="2500" y="782"/>
                    <a:pt x="2494" y="787"/>
                    <a:pt x="2494" y="792"/>
                  </a:cubicBezTo>
                  <a:cubicBezTo>
                    <a:pt x="2494" y="798"/>
                    <a:pt x="2500" y="803"/>
                    <a:pt x="2508" y="803"/>
                  </a:cubicBezTo>
                  <a:cubicBezTo>
                    <a:pt x="2515" y="803"/>
                    <a:pt x="2522" y="798"/>
                    <a:pt x="2521" y="792"/>
                  </a:cubicBezTo>
                  <a:cubicBezTo>
                    <a:pt x="2521" y="787"/>
                    <a:pt x="2515" y="782"/>
                    <a:pt x="2508" y="782"/>
                  </a:cubicBezTo>
                  <a:cubicBezTo>
                    <a:pt x="2508" y="782"/>
                    <a:pt x="2508" y="782"/>
                    <a:pt x="2508" y="782"/>
                  </a:cubicBezTo>
                  <a:moveTo>
                    <a:pt x="2743" y="782"/>
                  </a:moveTo>
                  <a:cubicBezTo>
                    <a:pt x="2736" y="782"/>
                    <a:pt x="2730" y="787"/>
                    <a:pt x="2731" y="792"/>
                  </a:cubicBezTo>
                  <a:cubicBezTo>
                    <a:pt x="2731" y="798"/>
                    <a:pt x="2738" y="803"/>
                    <a:pt x="2745" y="803"/>
                  </a:cubicBezTo>
                  <a:cubicBezTo>
                    <a:pt x="2753" y="803"/>
                    <a:pt x="2759" y="798"/>
                    <a:pt x="2758" y="792"/>
                  </a:cubicBezTo>
                  <a:cubicBezTo>
                    <a:pt x="2758" y="787"/>
                    <a:pt x="2751" y="782"/>
                    <a:pt x="2743" y="782"/>
                  </a:cubicBezTo>
                  <a:cubicBezTo>
                    <a:pt x="2743" y="782"/>
                    <a:pt x="2743" y="782"/>
                    <a:pt x="2743" y="782"/>
                  </a:cubicBezTo>
                  <a:moveTo>
                    <a:pt x="2547" y="782"/>
                  </a:moveTo>
                  <a:cubicBezTo>
                    <a:pt x="2539" y="782"/>
                    <a:pt x="2533" y="787"/>
                    <a:pt x="2533" y="792"/>
                  </a:cubicBezTo>
                  <a:cubicBezTo>
                    <a:pt x="2533" y="798"/>
                    <a:pt x="2540" y="802"/>
                    <a:pt x="2547" y="802"/>
                  </a:cubicBezTo>
                  <a:cubicBezTo>
                    <a:pt x="2555" y="802"/>
                    <a:pt x="2561" y="798"/>
                    <a:pt x="2561" y="792"/>
                  </a:cubicBezTo>
                  <a:cubicBezTo>
                    <a:pt x="2561" y="787"/>
                    <a:pt x="2555" y="782"/>
                    <a:pt x="2547" y="782"/>
                  </a:cubicBezTo>
                  <a:cubicBezTo>
                    <a:pt x="2547" y="782"/>
                    <a:pt x="2547" y="782"/>
                    <a:pt x="2547" y="782"/>
                  </a:cubicBezTo>
                  <a:moveTo>
                    <a:pt x="2783" y="782"/>
                  </a:moveTo>
                  <a:cubicBezTo>
                    <a:pt x="2775" y="782"/>
                    <a:pt x="2769" y="787"/>
                    <a:pt x="2770" y="792"/>
                  </a:cubicBezTo>
                  <a:cubicBezTo>
                    <a:pt x="2771" y="798"/>
                    <a:pt x="2777" y="802"/>
                    <a:pt x="2785" y="802"/>
                  </a:cubicBezTo>
                  <a:cubicBezTo>
                    <a:pt x="2792" y="802"/>
                    <a:pt x="2798" y="798"/>
                    <a:pt x="2798" y="792"/>
                  </a:cubicBezTo>
                  <a:cubicBezTo>
                    <a:pt x="2797" y="786"/>
                    <a:pt x="2790" y="782"/>
                    <a:pt x="2783" y="782"/>
                  </a:cubicBezTo>
                  <a:cubicBezTo>
                    <a:pt x="2783" y="782"/>
                    <a:pt x="2783" y="782"/>
                    <a:pt x="2783" y="782"/>
                  </a:cubicBezTo>
                  <a:moveTo>
                    <a:pt x="3017" y="782"/>
                  </a:moveTo>
                  <a:cubicBezTo>
                    <a:pt x="3009" y="782"/>
                    <a:pt x="3004" y="786"/>
                    <a:pt x="3005" y="792"/>
                  </a:cubicBezTo>
                  <a:cubicBezTo>
                    <a:pt x="3006" y="798"/>
                    <a:pt x="3013" y="802"/>
                    <a:pt x="3021" y="802"/>
                  </a:cubicBezTo>
                  <a:cubicBezTo>
                    <a:pt x="3028" y="802"/>
                    <a:pt x="3034" y="798"/>
                    <a:pt x="3033" y="792"/>
                  </a:cubicBezTo>
                  <a:cubicBezTo>
                    <a:pt x="3031" y="786"/>
                    <a:pt x="3025" y="782"/>
                    <a:pt x="3017" y="782"/>
                  </a:cubicBezTo>
                  <a:cubicBezTo>
                    <a:pt x="3017" y="782"/>
                    <a:pt x="3017" y="782"/>
                    <a:pt x="3017" y="782"/>
                  </a:cubicBezTo>
                  <a:moveTo>
                    <a:pt x="2587" y="782"/>
                  </a:moveTo>
                  <a:cubicBezTo>
                    <a:pt x="2579" y="782"/>
                    <a:pt x="2573" y="786"/>
                    <a:pt x="2573" y="792"/>
                  </a:cubicBezTo>
                  <a:cubicBezTo>
                    <a:pt x="2573" y="798"/>
                    <a:pt x="2580" y="802"/>
                    <a:pt x="2587" y="802"/>
                  </a:cubicBezTo>
                  <a:cubicBezTo>
                    <a:pt x="2595" y="802"/>
                    <a:pt x="2601" y="798"/>
                    <a:pt x="2601" y="792"/>
                  </a:cubicBezTo>
                  <a:cubicBezTo>
                    <a:pt x="2600" y="786"/>
                    <a:pt x="2594" y="782"/>
                    <a:pt x="2587" y="782"/>
                  </a:cubicBezTo>
                  <a:cubicBezTo>
                    <a:pt x="2587" y="782"/>
                    <a:pt x="2587" y="782"/>
                    <a:pt x="2587" y="782"/>
                  </a:cubicBezTo>
                  <a:moveTo>
                    <a:pt x="3217" y="781"/>
                  </a:moveTo>
                  <a:cubicBezTo>
                    <a:pt x="3209" y="781"/>
                    <a:pt x="3204" y="785"/>
                    <a:pt x="3206" y="791"/>
                  </a:cubicBezTo>
                  <a:cubicBezTo>
                    <a:pt x="3207" y="797"/>
                    <a:pt x="3215" y="801"/>
                    <a:pt x="3222" y="801"/>
                  </a:cubicBezTo>
                  <a:cubicBezTo>
                    <a:pt x="3230" y="801"/>
                    <a:pt x="3235" y="796"/>
                    <a:pt x="3233" y="791"/>
                  </a:cubicBezTo>
                  <a:cubicBezTo>
                    <a:pt x="3232" y="785"/>
                    <a:pt x="3225" y="781"/>
                    <a:pt x="3217" y="781"/>
                  </a:cubicBezTo>
                  <a:cubicBezTo>
                    <a:pt x="3217" y="781"/>
                    <a:pt x="3217" y="781"/>
                    <a:pt x="3217" y="781"/>
                  </a:cubicBezTo>
                  <a:moveTo>
                    <a:pt x="3257" y="780"/>
                  </a:moveTo>
                  <a:cubicBezTo>
                    <a:pt x="3249" y="780"/>
                    <a:pt x="3244" y="785"/>
                    <a:pt x="3246" y="791"/>
                  </a:cubicBezTo>
                  <a:cubicBezTo>
                    <a:pt x="3247" y="796"/>
                    <a:pt x="3254" y="801"/>
                    <a:pt x="3262" y="801"/>
                  </a:cubicBezTo>
                  <a:cubicBezTo>
                    <a:pt x="3270" y="801"/>
                    <a:pt x="3275" y="796"/>
                    <a:pt x="3273" y="791"/>
                  </a:cubicBezTo>
                  <a:cubicBezTo>
                    <a:pt x="3272" y="785"/>
                    <a:pt x="3264" y="780"/>
                    <a:pt x="3257" y="780"/>
                  </a:cubicBezTo>
                  <a:cubicBezTo>
                    <a:pt x="3257" y="780"/>
                    <a:pt x="3257" y="780"/>
                    <a:pt x="3257" y="780"/>
                  </a:cubicBezTo>
                  <a:moveTo>
                    <a:pt x="3292" y="780"/>
                  </a:moveTo>
                  <a:cubicBezTo>
                    <a:pt x="3284" y="780"/>
                    <a:pt x="3279" y="785"/>
                    <a:pt x="3281" y="791"/>
                  </a:cubicBezTo>
                  <a:cubicBezTo>
                    <a:pt x="3282" y="796"/>
                    <a:pt x="3290" y="801"/>
                    <a:pt x="3297" y="801"/>
                  </a:cubicBezTo>
                  <a:cubicBezTo>
                    <a:pt x="3305" y="801"/>
                    <a:pt x="3310" y="796"/>
                    <a:pt x="3308" y="790"/>
                  </a:cubicBezTo>
                  <a:cubicBezTo>
                    <a:pt x="3307" y="785"/>
                    <a:pt x="3299" y="780"/>
                    <a:pt x="3292" y="780"/>
                  </a:cubicBezTo>
                  <a:cubicBezTo>
                    <a:pt x="3292" y="780"/>
                    <a:pt x="3292" y="780"/>
                    <a:pt x="3292" y="780"/>
                  </a:cubicBezTo>
                  <a:moveTo>
                    <a:pt x="3331" y="780"/>
                  </a:moveTo>
                  <a:cubicBezTo>
                    <a:pt x="3324" y="780"/>
                    <a:pt x="3319" y="785"/>
                    <a:pt x="3320" y="790"/>
                  </a:cubicBezTo>
                  <a:cubicBezTo>
                    <a:pt x="3322" y="796"/>
                    <a:pt x="3329" y="801"/>
                    <a:pt x="3337" y="801"/>
                  </a:cubicBezTo>
                  <a:cubicBezTo>
                    <a:pt x="3345" y="800"/>
                    <a:pt x="3350" y="796"/>
                    <a:pt x="3348" y="790"/>
                  </a:cubicBezTo>
                  <a:cubicBezTo>
                    <a:pt x="3346" y="785"/>
                    <a:pt x="3339" y="780"/>
                    <a:pt x="3331" y="780"/>
                  </a:cubicBezTo>
                  <a:cubicBezTo>
                    <a:pt x="3331" y="780"/>
                    <a:pt x="3331" y="780"/>
                    <a:pt x="3331" y="780"/>
                  </a:cubicBezTo>
                  <a:moveTo>
                    <a:pt x="3370" y="780"/>
                  </a:moveTo>
                  <a:cubicBezTo>
                    <a:pt x="3362" y="780"/>
                    <a:pt x="3357" y="784"/>
                    <a:pt x="3359" y="790"/>
                  </a:cubicBezTo>
                  <a:cubicBezTo>
                    <a:pt x="3361" y="796"/>
                    <a:pt x="3368" y="800"/>
                    <a:pt x="3376" y="800"/>
                  </a:cubicBezTo>
                  <a:cubicBezTo>
                    <a:pt x="3384" y="800"/>
                    <a:pt x="3388" y="796"/>
                    <a:pt x="3387" y="790"/>
                  </a:cubicBezTo>
                  <a:cubicBezTo>
                    <a:pt x="3385" y="784"/>
                    <a:pt x="3377" y="780"/>
                    <a:pt x="3370" y="780"/>
                  </a:cubicBezTo>
                  <a:cubicBezTo>
                    <a:pt x="3370" y="780"/>
                    <a:pt x="3370" y="780"/>
                    <a:pt x="3370" y="780"/>
                  </a:cubicBezTo>
                  <a:moveTo>
                    <a:pt x="3409" y="780"/>
                  </a:moveTo>
                  <a:cubicBezTo>
                    <a:pt x="3401" y="780"/>
                    <a:pt x="3396" y="784"/>
                    <a:pt x="3398" y="790"/>
                  </a:cubicBezTo>
                  <a:cubicBezTo>
                    <a:pt x="3400" y="796"/>
                    <a:pt x="3408" y="800"/>
                    <a:pt x="3415" y="800"/>
                  </a:cubicBezTo>
                  <a:cubicBezTo>
                    <a:pt x="3423" y="800"/>
                    <a:pt x="3428" y="795"/>
                    <a:pt x="3426" y="790"/>
                  </a:cubicBezTo>
                  <a:cubicBezTo>
                    <a:pt x="3424" y="784"/>
                    <a:pt x="3416" y="780"/>
                    <a:pt x="3409" y="780"/>
                  </a:cubicBezTo>
                  <a:cubicBezTo>
                    <a:pt x="3409" y="780"/>
                    <a:pt x="3409" y="780"/>
                    <a:pt x="3409" y="780"/>
                  </a:cubicBezTo>
                  <a:moveTo>
                    <a:pt x="3448" y="779"/>
                  </a:moveTo>
                  <a:cubicBezTo>
                    <a:pt x="3440" y="779"/>
                    <a:pt x="3436" y="784"/>
                    <a:pt x="3438" y="790"/>
                  </a:cubicBezTo>
                  <a:cubicBezTo>
                    <a:pt x="3440" y="795"/>
                    <a:pt x="3447" y="800"/>
                    <a:pt x="3455" y="800"/>
                  </a:cubicBezTo>
                  <a:cubicBezTo>
                    <a:pt x="3462" y="800"/>
                    <a:pt x="3467" y="795"/>
                    <a:pt x="3465" y="790"/>
                  </a:cubicBezTo>
                  <a:cubicBezTo>
                    <a:pt x="3463" y="784"/>
                    <a:pt x="3456" y="779"/>
                    <a:pt x="3448" y="779"/>
                  </a:cubicBezTo>
                  <a:cubicBezTo>
                    <a:pt x="3448" y="779"/>
                    <a:pt x="3448" y="779"/>
                    <a:pt x="3448" y="779"/>
                  </a:cubicBezTo>
                  <a:moveTo>
                    <a:pt x="3488" y="779"/>
                  </a:moveTo>
                  <a:cubicBezTo>
                    <a:pt x="3480" y="779"/>
                    <a:pt x="3476" y="784"/>
                    <a:pt x="3477" y="790"/>
                  </a:cubicBezTo>
                  <a:cubicBezTo>
                    <a:pt x="3479" y="795"/>
                    <a:pt x="3487" y="800"/>
                    <a:pt x="3495" y="800"/>
                  </a:cubicBezTo>
                  <a:cubicBezTo>
                    <a:pt x="3502" y="800"/>
                    <a:pt x="3507" y="795"/>
                    <a:pt x="3505" y="789"/>
                  </a:cubicBezTo>
                  <a:cubicBezTo>
                    <a:pt x="3503" y="784"/>
                    <a:pt x="3495" y="779"/>
                    <a:pt x="3488" y="779"/>
                  </a:cubicBezTo>
                  <a:cubicBezTo>
                    <a:pt x="3488" y="779"/>
                    <a:pt x="3488" y="779"/>
                    <a:pt x="3488" y="779"/>
                  </a:cubicBezTo>
                  <a:moveTo>
                    <a:pt x="3527" y="779"/>
                  </a:moveTo>
                  <a:cubicBezTo>
                    <a:pt x="3519" y="779"/>
                    <a:pt x="3515" y="784"/>
                    <a:pt x="3517" y="789"/>
                  </a:cubicBezTo>
                  <a:cubicBezTo>
                    <a:pt x="3519" y="795"/>
                    <a:pt x="3526" y="800"/>
                    <a:pt x="3534" y="800"/>
                  </a:cubicBezTo>
                  <a:cubicBezTo>
                    <a:pt x="3542" y="800"/>
                    <a:pt x="3546" y="795"/>
                    <a:pt x="3544" y="789"/>
                  </a:cubicBezTo>
                  <a:cubicBezTo>
                    <a:pt x="3542" y="784"/>
                    <a:pt x="3534" y="779"/>
                    <a:pt x="3527" y="779"/>
                  </a:cubicBezTo>
                  <a:cubicBezTo>
                    <a:pt x="3527" y="779"/>
                    <a:pt x="3527" y="779"/>
                    <a:pt x="3527" y="779"/>
                  </a:cubicBezTo>
                  <a:moveTo>
                    <a:pt x="3566" y="779"/>
                  </a:moveTo>
                  <a:cubicBezTo>
                    <a:pt x="3558" y="779"/>
                    <a:pt x="3554" y="784"/>
                    <a:pt x="3556" y="789"/>
                  </a:cubicBezTo>
                  <a:cubicBezTo>
                    <a:pt x="3558" y="795"/>
                    <a:pt x="3566" y="799"/>
                    <a:pt x="3573" y="799"/>
                  </a:cubicBezTo>
                  <a:cubicBezTo>
                    <a:pt x="3581" y="799"/>
                    <a:pt x="3585" y="795"/>
                    <a:pt x="3583" y="789"/>
                  </a:cubicBezTo>
                  <a:cubicBezTo>
                    <a:pt x="3581" y="783"/>
                    <a:pt x="3573" y="779"/>
                    <a:pt x="3566" y="779"/>
                  </a:cubicBezTo>
                  <a:cubicBezTo>
                    <a:pt x="3566" y="779"/>
                    <a:pt x="3566" y="779"/>
                    <a:pt x="3566" y="779"/>
                  </a:cubicBezTo>
                  <a:moveTo>
                    <a:pt x="4129" y="779"/>
                  </a:moveTo>
                  <a:cubicBezTo>
                    <a:pt x="4121" y="779"/>
                    <a:pt x="4117" y="783"/>
                    <a:pt x="4121" y="789"/>
                  </a:cubicBezTo>
                  <a:cubicBezTo>
                    <a:pt x="4124" y="795"/>
                    <a:pt x="4133" y="799"/>
                    <a:pt x="4140" y="799"/>
                  </a:cubicBezTo>
                  <a:cubicBezTo>
                    <a:pt x="4148" y="799"/>
                    <a:pt x="4151" y="795"/>
                    <a:pt x="4148" y="789"/>
                  </a:cubicBezTo>
                  <a:cubicBezTo>
                    <a:pt x="4145" y="783"/>
                    <a:pt x="4136" y="779"/>
                    <a:pt x="4129" y="779"/>
                  </a:cubicBezTo>
                  <a:cubicBezTo>
                    <a:pt x="4129" y="779"/>
                    <a:pt x="4129" y="779"/>
                    <a:pt x="4129" y="779"/>
                  </a:cubicBezTo>
                  <a:moveTo>
                    <a:pt x="3605" y="779"/>
                  </a:moveTo>
                  <a:cubicBezTo>
                    <a:pt x="3597" y="779"/>
                    <a:pt x="3593" y="783"/>
                    <a:pt x="3595" y="789"/>
                  </a:cubicBezTo>
                  <a:cubicBezTo>
                    <a:pt x="3597" y="795"/>
                    <a:pt x="3605" y="799"/>
                    <a:pt x="3613" y="799"/>
                  </a:cubicBezTo>
                  <a:cubicBezTo>
                    <a:pt x="3620" y="799"/>
                    <a:pt x="3625" y="795"/>
                    <a:pt x="3622" y="789"/>
                  </a:cubicBezTo>
                  <a:cubicBezTo>
                    <a:pt x="3620" y="783"/>
                    <a:pt x="3612" y="779"/>
                    <a:pt x="3605" y="779"/>
                  </a:cubicBezTo>
                  <a:cubicBezTo>
                    <a:pt x="3605" y="779"/>
                    <a:pt x="3605" y="779"/>
                    <a:pt x="3605" y="779"/>
                  </a:cubicBezTo>
                  <a:moveTo>
                    <a:pt x="3644" y="779"/>
                  </a:moveTo>
                  <a:cubicBezTo>
                    <a:pt x="3636" y="779"/>
                    <a:pt x="3632" y="783"/>
                    <a:pt x="3634" y="789"/>
                  </a:cubicBezTo>
                  <a:cubicBezTo>
                    <a:pt x="3637" y="795"/>
                    <a:pt x="3645" y="799"/>
                    <a:pt x="3652" y="799"/>
                  </a:cubicBezTo>
                  <a:cubicBezTo>
                    <a:pt x="3660" y="799"/>
                    <a:pt x="3664" y="794"/>
                    <a:pt x="3662" y="789"/>
                  </a:cubicBezTo>
                  <a:cubicBezTo>
                    <a:pt x="3660" y="783"/>
                    <a:pt x="3652" y="779"/>
                    <a:pt x="3644" y="779"/>
                  </a:cubicBezTo>
                  <a:cubicBezTo>
                    <a:pt x="3644" y="779"/>
                    <a:pt x="3644" y="779"/>
                    <a:pt x="3644" y="779"/>
                  </a:cubicBezTo>
                  <a:moveTo>
                    <a:pt x="3684" y="778"/>
                  </a:moveTo>
                  <a:cubicBezTo>
                    <a:pt x="3676" y="778"/>
                    <a:pt x="3672" y="783"/>
                    <a:pt x="3674" y="789"/>
                  </a:cubicBezTo>
                  <a:cubicBezTo>
                    <a:pt x="3676" y="794"/>
                    <a:pt x="3684" y="799"/>
                    <a:pt x="3692" y="799"/>
                  </a:cubicBezTo>
                  <a:cubicBezTo>
                    <a:pt x="3700" y="799"/>
                    <a:pt x="3704" y="794"/>
                    <a:pt x="3702" y="789"/>
                  </a:cubicBezTo>
                  <a:cubicBezTo>
                    <a:pt x="3699" y="783"/>
                    <a:pt x="3691" y="778"/>
                    <a:pt x="3684" y="778"/>
                  </a:cubicBezTo>
                  <a:cubicBezTo>
                    <a:pt x="3684" y="778"/>
                    <a:pt x="3684" y="778"/>
                    <a:pt x="3684" y="778"/>
                  </a:cubicBezTo>
                  <a:moveTo>
                    <a:pt x="3722" y="777"/>
                  </a:moveTo>
                  <a:cubicBezTo>
                    <a:pt x="3715" y="777"/>
                    <a:pt x="3711" y="782"/>
                    <a:pt x="3713" y="787"/>
                  </a:cubicBezTo>
                  <a:cubicBezTo>
                    <a:pt x="3715" y="793"/>
                    <a:pt x="3723" y="798"/>
                    <a:pt x="3731" y="798"/>
                  </a:cubicBezTo>
                  <a:cubicBezTo>
                    <a:pt x="3739" y="798"/>
                    <a:pt x="3743" y="793"/>
                    <a:pt x="3740" y="787"/>
                  </a:cubicBezTo>
                  <a:cubicBezTo>
                    <a:pt x="3738" y="782"/>
                    <a:pt x="3730" y="777"/>
                    <a:pt x="3722" y="777"/>
                  </a:cubicBezTo>
                  <a:cubicBezTo>
                    <a:pt x="3722" y="777"/>
                    <a:pt x="3722" y="777"/>
                    <a:pt x="3722" y="777"/>
                  </a:cubicBezTo>
                  <a:moveTo>
                    <a:pt x="3761" y="777"/>
                  </a:moveTo>
                  <a:cubicBezTo>
                    <a:pt x="3754" y="777"/>
                    <a:pt x="3750" y="782"/>
                    <a:pt x="3752" y="787"/>
                  </a:cubicBezTo>
                  <a:cubicBezTo>
                    <a:pt x="3754" y="793"/>
                    <a:pt x="3763" y="797"/>
                    <a:pt x="3770" y="797"/>
                  </a:cubicBezTo>
                  <a:cubicBezTo>
                    <a:pt x="3778" y="797"/>
                    <a:pt x="3782" y="793"/>
                    <a:pt x="3779" y="787"/>
                  </a:cubicBezTo>
                  <a:cubicBezTo>
                    <a:pt x="3777" y="781"/>
                    <a:pt x="3769" y="777"/>
                    <a:pt x="3761" y="777"/>
                  </a:cubicBezTo>
                  <a:cubicBezTo>
                    <a:pt x="3761" y="777"/>
                    <a:pt x="3761" y="777"/>
                    <a:pt x="3761" y="777"/>
                  </a:cubicBezTo>
                  <a:moveTo>
                    <a:pt x="3800" y="777"/>
                  </a:moveTo>
                  <a:cubicBezTo>
                    <a:pt x="3793" y="777"/>
                    <a:pt x="3789" y="781"/>
                    <a:pt x="3791" y="787"/>
                  </a:cubicBezTo>
                  <a:cubicBezTo>
                    <a:pt x="3794" y="793"/>
                    <a:pt x="3802" y="797"/>
                    <a:pt x="3810" y="797"/>
                  </a:cubicBezTo>
                  <a:cubicBezTo>
                    <a:pt x="3817" y="797"/>
                    <a:pt x="3821" y="793"/>
                    <a:pt x="3819" y="787"/>
                  </a:cubicBezTo>
                  <a:cubicBezTo>
                    <a:pt x="3816" y="781"/>
                    <a:pt x="3808" y="777"/>
                    <a:pt x="3801" y="777"/>
                  </a:cubicBezTo>
                  <a:cubicBezTo>
                    <a:pt x="3801" y="777"/>
                    <a:pt x="3800" y="777"/>
                    <a:pt x="3800" y="777"/>
                  </a:cubicBezTo>
                  <a:moveTo>
                    <a:pt x="3842" y="776"/>
                  </a:moveTo>
                  <a:cubicBezTo>
                    <a:pt x="3834" y="777"/>
                    <a:pt x="3830" y="781"/>
                    <a:pt x="3833" y="787"/>
                  </a:cubicBezTo>
                  <a:cubicBezTo>
                    <a:pt x="3836" y="793"/>
                    <a:pt x="3844" y="797"/>
                    <a:pt x="3852" y="797"/>
                  </a:cubicBezTo>
                  <a:cubicBezTo>
                    <a:pt x="3859" y="797"/>
                    <a:pt x="3863" y="792"/>
                    <a:pt x="3861" y="787"/>
                  </a:cubicBezTo>
                  <a:cubicBezTo>
                    <a:pt x="3858" y="781"/>
                    <a:pt x="3850" y="776"/>
                    <a:pt x="3842" y="776"/>
                  </a:cubicBezTo>
                  <a:cubicBezTo>
                    <a:pt x="3842" y="776"/>
                    <a:pt x="3842" y="776"/>
                    <a:pt x="3842" y="776"/>
                  </a:cubicBezTo>
                  <a:moveTo>
                    <a:pt x="3881" y="776"/>
                  </a:moveTo>
                  <a:cubicBezTo>
                    <a:pt x="3873" y="776"/>
                    <a:pt x="3869" y="781"/>
                    <a:pt x="3872" y="787"/>
                  </a:cubicBezTo>
                  <a:cubicBezTo>
                    <a:pt x="3875" y="792"/>
                    <a:pt x="3883" y="797"/>
                    <a:pt x="3891" y="797"/>
                  </a:cubicBezTo>
                  <a:cubicBezTo>
                    <a:pt x="3898" y="797"/>
                    <a:pt x="3902" y="792"/>
                    <a:pt x="3899" y="787"/>
                  </a:cubicBezTo>
                  <a:cubicBezTo>
                    <a:pt x="3897" y="781"/>
                    <a:pt x="3888" y="776"/>
                    <a:pt x="3881" y="776"/>
                  </a:cubicBezTo>
                  <a:cubicBezTo>
                    <a:pt x="3881" y="776"/>
                    <a:pt x="3881" y="776"/>
                    <a:pt x="3881" y="776"/>
                  </a:cubicBezTo>
                  <a:moveTo>
                    <a:pt x="3920" y="776"/>
                  </a:moveTo>
                  <a:cubicBezTo>
                    <a:pt x="3912" y="776"/>
                    <a:pt x="3908" y="781"/>
                    <a:pt x="3911" y="786"/>
                  </a:cubicBezTo>
                  <a:cubicBezTo>
                    <a:pt x="3914" y="792"/>
                    <a:pt x="3922" y="797"/>
                    <a:pt x="3930" y="797"/>
                  </a:cubicBezTo>
                  <a:cubicBezTo>
                    <a:pt x="3937" y="797"/>
                    <a:pt x="3941" y="792"/>
                    <a:pt x="3938" y="786"/>
                  </a:cubicBezTo>
                  <a:cubicBezTo>
                    <a:pt x="3936" y="781"/>
                    <a:pt x="3927" y="776"/>
                    <a:pt x="3920" y="776"/>
                  </a:cubicBezTo>
                  <a:cubicBezTo>
                    <a:pt x="3920" y="776"/>
                    <a:pt x="3920" y="776"/>
                    <a:pt x="3920" y="776"/>
                  </a:cubicBezTo>
                  <a:moveTo>
                    <a:pt x="3959" y="776"/>
                  </a:moveTo>
                  <a:cubicBezTo>
                    <a:pt x="3951" y="776"/>
                    <a:pt x="3947" y="781"/>
                    <a:pt x="3950" y="786"/>
                  </a:cubicBezTo>
                  <a:cubicBezTo>
                    <a:pt x="3953" y="792"/>
                    <a:pt x="3962" y="797"/>
                    <a:pt x="3969" y="796"/>
                  </a:cubicBezTo>
                  <a:cubicBezTo>
                    <a:pt x="3977" y="796"/>
                    <a:pt x="3981" y="792"/>
                    <a:pt x="3978" y="786"/>
                  </a:cubicBezTo>
                  <a:cubicBezTo>
                    <a:pt x="3975" y="780"/>
                    <a:pt x="3966" y="776"/>
                    <a:pt x="3959" y="776"/>
                  </a:cubicBezTo>
                  <a:cubicBezTo>
                    <a:pt x="3959" y="776"/>
                    <a:pt x="3959" y="776"/>
                    <a:pt x="3959" y="776"/>
                  </a:cubicBezTo>
                  <a:moveTo>
                    <a:pt x="3998" y="776"/>
                  </a:moveTo>
                  <a:cubicBezTo>
                    <a:pt x="3991" y="776"/>
                    <a:pt x="3987" y="780"/>
                    <a:pt x="3990" y="786"/>
                  </a:cubicBezTo>
                  <a:cubicBezTo>
                    <a:pt x="3993" y="792"/>
                    <a:pt x="4001" y="796"/>
                    <a:pt x="4009" y="796"/>
                  </a:cubicBezTo>
                  <a:cubicBezTo>
                    <a:pt x="4017" y="796"/>
                    <a:pt x="4020" y="792"/>
                    <a:pt x="4017" y="786"/>
                  </a:cubicBezTo>
                  <a:cubicBezTo>
                    <a:pt x="4015" y="780"/>
                    <a:pt x="4006" y="776"/>
                    <a:pt x="3998" y="776"/>
                  </a:cubicBezTo>
                  <a:cubicBezTo>
                    <a:pt x="3998" y="776"/>
                    <a:pt x="3998" y="776"/>
                    <a:pt x="3998" y="776"/>
                  </a:cubicBezTo>
                  <a:moveTo>
                    <a:pt x="4037" y="776"/>
                  </a:moveTo>
                  <a:cubicBezTo>
                    <a:pt x="4030" y="776"/>
                    <a:pt x="4026" y="780"/>
                    <a:pt x="4029" y="786"/>
                  </a:cubicBezTo>
                  <a:cubicBezTo>
                    <a:pt x="4032" y="792"/>
                    <a:pt x="4041" y="796"/>
                    <a:pt x="4048" y="796"/>
                  </a:cubicBezTo>
                  <a:cubicBezTo>
                    <a:pt x="4056" y="796"/>
                    <a:pt x="4060" y="791"/>
                    <a:pt x="4057" y="786"/>
                  </a:cubicBezTo>
                  <a:cubicBezTo>
                    <a:pt x="4053" y="780"/>
                    <a:pt x="4045" y="776"/>
                    <a:pt x="4037" y="776"/>
                  </a:cubicBezTo>
                  <a:cubicBezTo>
                    <a:pt x="4037" y="776"/>
                    <a:pt x="4037" y="776"/>
                    <a:pt x="4037" y="776"/>
                  </a:cubicBezTo>
                  <a:moveTo>
                    <a:pt x="94" y="767"/>
                  </a:moveTo>
                  <a:cubicBezTo>
                    <a:pt x="86" y="767"/>
                    <a:pt x="77" y="771"/>
                    <a:pt x="72" y="777"/>
                  </a:cubicBezTo>
                  <a:cubicBezTo>
                    <a:pt x="67" y="782"/>
                    <a:pt x="70" y="787"/>
                    <a:pt x="77" y="787"/>
                  </a:cubicBezTo>
                  <a:cubicBezTo>
                    <a:pt x="85" y="787"/>
                    <a:pt x="95" y="782"/>
                    <a:pt x="99" y="777"/>
                  </a:cubicBezTo>
                  <a:cubicBezTo>
                    <a:pt x="104" y="771"/>
                    <a:pt x="102" y="767"/>
                    <a:pt x="94" y="767"/>
                  </a:cubicBezTo>
                  <a:cubicBezTo>
                    <a:pt x="94" y="767"/>
                    <a:pt x="94" y="767"/>
                    <a:pt x="94" y="767"/>
                  </a:cubicBezTo>
                  <a:moveTo>
                    <a:pt x="211" y="766"/>
                  </a:moveTo>
                  <a:cubicBezTo>
                    <a:pt x="203" y="766"/>
                    <a:pt x="194" y="771"/>
                    <a:pt x="189" y="776"/>
                  </a:cubicBezTo>
                  <a:cubicBezTo>
                    <a:pt x="185" y="782"/>
                    <a:pt x="187" y="786"/>
                    <a:pt x="195" y="786"/>
                  </a:cubicBezTo>
                  <a:cubicBezTo>
                    <a:pt x="203" y="786"/>
                    <a:pt x="212" y="782"/>
                    <a:pt x="217" y="776"/>
                  </a:cubicBezTo>
                  <a:cubicBezTo>
                    <a:pt x="221" y="770"/>
                    <a:pt x="218" y="766"/>
                    <a:pt x="211" y="766"/>
                  </a:cubicBezTo>
                  <a:cubicBezTo>
                    <a:pt x="211" y="766"/>
                    <a:pt x="211" y="766"/>
                    <a:pt x="211" y="766"/>
                  </a:cubicBezTo>
                  <a:moveTo>
                    <a:pt x="251" y="766"/>
                  </a:moveTo>
                  <a:cubicBezTo>
                    <a:pt x="244" y="766"/>
                    <a:pt x="234" y="770"/>
                    <a:pt x="230" y="776"/>
                  </a:cubicBezTo>
                  <a:cubicBezTo>
                    <a:pt x="225" y="782"/>
                    <a:pt x="228" y="786"/>
                    <a:pt x="235" y="786"/>
                  </a:cubicBezTo>
                  <a:cubicBezTo>
                    <a:pt x="243" y="786"/>
                    <a:pt x="253" y="781"/>
                    <a:pt x="257" y="776"/>
                  </a:cubicBezTo>
                  <a:cubicBezTo>
                    <a:pt x="261" y="770"/>
                    <a:pt x="259" y="766"/>
                    <a:pt x="251" y="766"/>
                  </a:cubicBezTo>
                  <a:cubicBezTo>
                    <a:pt x="251" y="766"/>
                    <a:pt x="251" y="766"/>
                    <a:pt x="251" y="766"/>
                  </a:cubicBezTo>
                  <a:moveTo>
                    <a:pt x="135" y="764"/>
                  </a:moveTo>
                  <a:cubicBezTo>
                    <a:pt x="127" y="764"/>
                    <a:pt x="118" y="769"/>
                    <a:pt x="113" y="774"/>
                  </a:cubicBezTo>
                  <a:cubicBezTo>
                    <a:pt x="108" y="780"/>
                    <a:pt x="111" y="784"/>
                    <a:pt x="118" y="784"/>
                  </a:cubicBezTo>
                  <a:cubicBezTo>
                    <a:pt x="126" y="784"/>
                    <a:pt x="136" y="780"/>
                    <a:pt x="140" y="774"/>
                  </a:cubicBezTo>
                  <a:cubicBezTo>
                    <a:pt x="145" y="769"/>
                    <a:pt x="142" y="764"/>
                    <a:pt x="135" y="764"/>
                  </a:cubicBezTo>
                  <a:cubicBezTo>
                    <a:pt x="135" y="764"/>
                    <a:pt x="135" y="764"/>
                    <a:pt x="135" y="764"/>
                  </a:cubicBezTo>
                  <a:moveTo>
                    <a:pt x="174" y="764"/>
                  </a:moveTo>
                  <a:cubicBezTo>
                    <a:pt x="166" y="764"/>
                    <a:pt x="156" y="768"/>
                    <a:pt x="152" y="774"/>
                  </a:cubicBezTo>
                  <a:cubicBezTo>
                    <a:pt x="147" y="780"/>
                    <a:pt x="150" y="784"/>
                    <a:pt x="157" y="784"/>
                  </a:cubicBezTo>
                  <a:cubicBezTo>
                    <a:pt x="165" y="784"/>
                    <a:pt x="175" y="779"/>
                    <a:pt x="179" y="774"/>
                  </a:cubicBezTo>
                  <a:cubicBezTo>
                    <a:pt x="184" y="768"/>
                    <a:pt x="181" y="764"/>
                    <a:pt x="174" y="764"/>
                  </a:cubicBezTo>
                  <a:cubicBezTo>
                    <a:pt x="174" y="764"/>
                    <a:pt x="174" y="764"/>
                    <a:pt x="174" y="764"/>
                  </a:cubicBezTo>
                  <a:moveTo>
                    <a:pt x="1768" y="756"/>
                  </a:moveTo>
                  <a:cubicBezTo>
                    <a:pt x="1761" y="756"/>
                    <a:pt x="1753" y="761"/>
                    <a:pt x="1752" y="767"/>
                  </a:cubicBezTo>
                  <a:cubicBezTo>
                    <a:pt x="1751" y="772"/>
                    <a:pt x="1756" y="777"/>
                    <a:pt x="1763" y="777"/>
                  </a:cubicBezTo>
                  <a:cubicBezTo>
                    <a:pt x="1771" y="777"/>
                    <a:pt x="1778" y="772"/>
                    <a:pt x="1779" y="766"/>
                  </a:cubicBezTo>
                  <a:cubicBezTo>
                    <a:pt x="1781" y="761"/>
                    <a:pt x="1776" y="756"/>
                    <a:pt x="1768" y="756"/>
                  </a:cubicBezTo>
                  <a:cubicBezTo>
                    <a:pt x="1768" y="756"/>
                    <a:pt x="1768" y="756"/>
                    <a:pt x="1768" y="756"/>
                  </a:cubicBezTo>
                  <a:moveTo>
                    <a:pt x="1807" y="756"/>
                  </a:moveTo>
                  <a:cubicBezTo>
                    <a:pt x="1799" y="756"/>
                    <a:pt x="1792" y="761"/>
                    <a:pt x="1791" y="766"/>
                  </a:cubicBezTo>
                  <a:cubicBezTo>
                    <a:pt x="1789" y="772"/>
                    <a:pt x="1795" y="777"/>
                    <a:pt x="1802" y="777"/>
                  </a:cubicBezTo>
                  <a:cubicBezTo>
                    <a:pt x="1810" y="776"/>
                    <a:pt x="1817" y="772"/>
                    <a:pt x="1818" y="766"/>
                  </a:cubicBezTo>
                  <a:cubicBezTo>
                    <a:pt x="1819" y="761"/>
                    <a:pt x="1814" y="756"/>
                    <a:pt x="1807" y="756"/>
                  </a:cubicBezTo>
                  <a:cubicBezTo>
                    <a:pt x="1807" y="756"/>
                    <a:pt x="1807" y="756"/>
                    <a:pt x="1807" y="756"/>
                  </a:cubicBezTo>
                  <a:moveTo>
                    <a:pt x="1846" y="756"/>
                  </a:moveTo>
                  <a:cubicBezTo>
                    <a:pt x="1838" y="756"/>
                    <a:pt x="1831" y="761"/>
                    <a:pt x="1830" y="766"/>
                  </a:cubicBezTo>
                  <a:cubicBezTo>
                    <a:pt x="1829" y="772"/>
                    <a:pt x="1834" y="776"/>
                    <a:pt x="1841" y="776"/>
                  </a:cubicBezTo>
                  <a:cubicBezTo>
                    <a:pt x="1849" y="776"/>
                    <a:pt x="1856" y="772"/>
                    <a:pt x="1857" y="766"/>
                  </a:cubicBezTo>
                  <a:cubicBezTo>
                    <a:pt x="1858" y="760"/>
                    <a:pt x="1853" y="756"/>
                    <a:pt x="1846" y="756"/>
                  </a:cubicBezTo>
                  <a:cubicBezTo>
                    <a:pt x="1846" y="756"/>
                    <a:pt x="1846" y="756"/>
                    <a:pt x="1846" y="756"/>
                  </a:cubicBezTo>
                  <a:moveTo>
                    <a:pt x="1885" y="756"/>
                  </a:moveTo>
                  <a:cubicBezTo>
                    <a:pt x="1878" y="756"/>
                    <a:pt x="1871" y="760"/>
                    <a:pt x="1869" y="766"/>
                  </a:cubicBezTo>
                  <a:cubicBezTo>
                    <a:pt x="1868" y="772"/>
                    <a:pt x="1873" y="776"/>
                    <a:pt x="1881" y="776"/>
                  </a:cubicBezTo>
                  <a:cubicBezTo>
                    <a:pt x="1888" y="776"/>
                    <a:pt x="1896" y="771"/>
                    <a:pt x="1897" y="766"/>
                  </a:cubicBezTo>
                  <a:cubicBezTo>
                    <a:pt x="1898" y="760"/>
                    <a:pt x="1893" y="756"/>
                    <a:pt x="1885" y="756"/>
                  </a:cubicBezTo>
                  <a:cubicBezTo>
                    <a:pt x="1885" y="756"/>
                    <a:pt x="1885" y="756"/>
                    <a:pt x="1885" y="756"/>
                  </a:cubicBezTo>
                  <a:moveTo>
                    <a:pt x="1924" y="756"/>
                  </a:moveTo>
                  <a:cubicBezTo>
                    <a:pt x="1916" y="756"/>
                    <a:pt x="1909" y="760"/>
                    <a:pt x="1908" y="766"/>
                  </a:cubicBezTo>
                  <a:cubicBezTo>
                    <a:pt x="1907" y="771"/>
                    <a:pt x="1912" y="776"/>
                    <a:pt x="1920" y="776"/>
                  </a:cubicBezTo>
                  <a:cubicBezTo>
                    <a:pt x="1927" y="776"/>
                    <a:pt x="1934" y="771"/>
                    <a:pt x="1935" y="766"/>
                  </a:cubicBezTo>
                  <a:cubicBezTo>
                    <a:pt x="1936" y="760"/>
                    <a:pt x="1931" y="756"/>
                    <a:pt x="1924" y="756"/>
                  </a:cubicBezTo>
                  <a:cubicBezTo>
                    <a:pt x="1924" y="756"/>
                    <a:pt x="1924" y="756"/>
                    <a:pt x="1924" y="756"/>
                  </a:cubicBezTo>
                  <a:moveTo>
                    <a:pt x="1963" y="755"/>
                  </a:moveTo>
                  <a:cubicBezTo>
                    <a:pt x="1955" y="755"/>
                    <a:pt x="1948" y="760"/>
                    <a:pt x="1947" y="766"/>
                  </a:cubicBezTo>
                  <a:cubicBezTo>
                    <a:pt x="1946" y="771"/>
                    <a:pt x="1951" y="776"/>
                    <a:pt x="1959" y="776"/>
                  </a:cubicBezTo>
                  <a:cubicBezTo>
                    <a:pt x="1966" y="776"/>
                    <a:pt x="1973" y="771"/>
                    <a:pt x="1974" y="765"/>
                  </a:cubicBezTo>
                  <a:cubicBezTo>
                    <a:pt x="1975" y="760"/>
                    <a:pt x="1970" y="755"/>
                    <a:pt x="1963" y="755"/>
                  </a:cubicBezTo>
                  <a:cubicBezTo>
                    <a:pt x="1963" y="755"/>
                    <a:pt x="1963" y="755"/>
                    <a:pt x="1963" y="755"/>
                  </a:cubicBezTo>
                  <a:moveTo>
                    <a:pt x="2819" y="755"/>
                  </a:moveTo>
                  <a:cubicBezTo>
                    <a:pt x="2811" y="755"/>
                    <a:pt x="2806" y="760"/>
                    <a:pt x="2806" y="766"/>
                  </a:cubicBezTo>
                  <a:cubicBezTo>
                    <a:pt x="2807" y="771"/>
                    <a:pt x="2814" y="776"/>
                    <a:pt x="2821" y="776"/>
                  </a:cubicBezTo>
                  <a:cubicBezTo>
                    <a:pt x="2829" y="776"/>
                    <a:pt x="2834" y="771"/>
                    <a:pt x="2834" y="765"/>
                  </a:cubicBezTo>
                  <a:cubicBezTo>
                    <a:pt x="2833" y="760"/>
                    <a:pt x="2826" y="755"/>
                    <a:pt x="2819" y="755"/>
                  </a:cubicBezTo>
                  <a:cubicBezTo>
                    <a:pt x="2819" y="755"/>
                    <a:pt x="2819" y="755"/>
                    <a:pt x="2819" y="755"/>
                  </a:cubicBezTo>
                  <a:moveTo>
                    <a:pt x="2001" y="755"/>
                  </a:moveTo>
                  <a:cubicBezTo>
                    <a:pt x="1994" y="755"/>
                    <a:pt x="1987" y="760"/>
                    <a:pt x="1986" y="765"/>
                  </a:cubicBezTo>
                  <a:cubicBezTo>
                    <a:pt x="1985" y="771"/>
                    <a:pt x="1990" y="776"/>
                    <a:pt x="1998" y="776"/>
                  </a:cubicBezTo>
                  <a:cubicBezTo>
                    <a:pt x="2005" y="776"/>
                    <a:pt x="2012" y="771"/>
                    <a:pt x="2013" y="765"/>
                  </a:cubicBezTo>
                  <a:cubicBezTo>
                    <a:pt x="2014" y="760"/>
                    <a:pt x="2009" y="755"/>
                    <a:pt x="2001" y="755"/>
                  </a:cubicBezTo>
                  <a:cubicBezTo>
                    <a:pt x="2001" y="755"/>
                    <a:pt x="2001" y="755"/>
                    <a:pt x="2001" y="755"/>
                  </a:cubicBezTo>
                  <a:moveTo>
                    <a:pt x="2040" y="755"/>
                  </a:moveTo>
                  <a:cubicBezTo>
                    <a:pt x="2033" y="755"/>
                    <a:pt x="2026" y="760"/>
                    <a:pt x="2025" y="765"/>
                  </a:cubicBezTo>
                  <a:cubicBezTo>
                    <a:pt x="2024" y="771"/>
                    <a:pt x="2029" y="775"/>
                    <a:pt x="2037" y="775"/>
                  </a:cubicBezTo>
                  <a:cubicBezTo>
                    <a:pt x="2045" y="775"/>
                    <a:pt x="2051" y="771"/>
                    <a:pt x="2052" y="765"/>
                  </a:cubicBezTo>
                  <a:cubicBezTo>
                    <a:pt x="2053" y="759"/>
                    <a:pt x="2048" y="755"/>
                    <a:pt x="2040" y="755"/>
                  </a:cubicBezTo>
                  <a:cubicBezTo>
                    <a:pt x="2040" y="755"/>
                    <a:pt x="2040" y="755"/>
                    <a:pt x="2040" y="755"/>
                  </a:cubicBezTo>
                  <a:moveTo>
                    <a:pt x="2855" y="755"/>
                  </a:moveTo>
                  <a:cubicBezTo>
                    <a:pt x="2848" y="755"/>
                    <a:pt x="2842" y="759"/>
                    <a:pt x="2843" y="765"/>
                  </a:cubicBezTo>
                  <a:cubicBezTo>
                    <a:pt x="2844" y="771"/>
                    <a:pt x="2850" y="775"/>
                    <a:pt x="2858" y="775"/>
                  </a:cubicBezTo>
                  <a:cubicBezTo>
                    <a:pt x="2866" y="775"/>
                    <a:pt x="2871" y="771"/>
                    <a:pt x="2870" y="765"/>
                  </a:cubicBezTo>
                  <a:cubicBezTo>
                    <a:pt x="2870" y="759"/>
                    <a:pt x="2863" y="755"/>
                    <a:pt x="2855" y="755"/>
                  </a:cubicBezTo>
                  <a:cubicBezTo>
                    <a:pt x="2855" y="755"/>
                    <a:pt x="2855" y="755"/>
                    <a:pt x="2855" y="755"/>
                  </a:cubicBezTo>
                  <a:moveTo>
                    <a:pt x="2080" y="755"/>
                  </a:moveTo>
                  <a:cubicBezTo>
                    <a:pt x="2073" y="755"/>
                    <a:pt x="2066" y="759"/>
                    <a:pt x="2065" y="765"/>
                  </a:cubicBezTo>
                  <a:cubicBezTo>
                    <a:pt x="2064" y="771"/>
                    <a:pt x="2070" y="775"/>
                    <a:pt x="2077" y="775"/>
                  </a:cubicBezTo>
                  <a:cubicBezTo>
                    <a:pt x="2085" y="775"/>
                    <a:pt x="2092" y="771"/>
                    <a:pt x="2092" y="765"/>
                  </a:cubicBezTo>
                  <a:cubicBezTo>
                    <a:pt x="2093" y="759"/>
                    <a:pt x="2088" y="755"/>
                    <a:pt x="2080" y="755"/>
                  </a:cubicBezTo>
                  <a:cubicBezTo>
                    <a:pt x="2080" y="755"/>
                    <a:pt x="2080" y="755"/>
                    <a:pt x="2080" y="755"/>
                  </a:cubicBezTo>
                  <a:moveTo>
                    <a:pt x="2119" y="755"/>
                  </a:moveTo>
                  <a:cubicBezTo>
                    <a:pt x="2111" y="755"/>
                    <a:pt x="2105" y="759"/>
                    <a:pt x="2104" y="765"/>
                  </a:cubicBezTo>
                  <a:cubicBezTo>
                    <a:pt x="2103" y="770"/>
                    <a:pt x="2109" y="775"/>
                    <a:pt x="2116" y="775"/>
                  </a:cubicBezTo>
                  <a:cubicBezTo>
                    <a:pt x="2124" y="775"/>
                    <a:pt x="2131" y="770"/>
                    <a:pt x="2131" y="765"/>
                  </a:cubicBezTo>
                  <a:cubicBezTo>
                    <a:pt x="2132" y="759"/>
                    <a:pt x="2126" y="755"/>
                    <a:pt x="2119" y="755"/>
                  </a:cubicBezTo>
                  <a:cubicBezTo>
                    <a:pt x="2119" y="755"/>
                    <a:pt x="2119" y="755"/>
                    <a:pt x="2119" y="755"/>
                  </a:cubicBezTo>
                  <a:moveTo>
                    <a:pt x="2158" y="754"/>
                  </a:moveTo>
                  <a:cubicBezTo>
                    <a:pt x="2150" y="754"/>
                    <a:pt x="2144" y="759"/>
                    <a:pt x="2143" y="765"/>
                  </a:cubicBezTo>
                  <a:cubicBezTo>
                    <a:pt x="2142" y="770"/>
                    <a:pt x="2148" y="775"/>
                    <a:pt x="2156" y="775"/>
                  </a:cubicBezTo>
                  <a:cubicBezTo>
                    <a:pt x="2163" y="775"/>
                    <a:pt x="2170" y="770"/>
                    <a:pt x="2170" y="765"/>
                  </a:cubicBezTo>
                  <a:cubicBezTo>
                    <a:pt x="2171" y="759"/>
                    <a:pt x="2165" y="754"/>
                    <a:pt x="2158" y="754"/>
                  </a:cubicBezTo>
                  <a:cubicBezTo>
                    <a:pt x="2158" y="754"/>
                    <a:pt x="2158" y="754"/>
                    <a:pt x="2158" y="754"/>
                  </a:cubicBezTo>
                  <a:moveTo>
                    <a:pt x="2197" y="754"/>
                  </a:moveTo>
                  <a:cubicBezTo>
                    <a:pt x="2190" y="754"/>
                    <a:pt x="2183" y="759"/>
                    <a:pt x="2182" y="764"/>
                  </a:cubicBezTo>
                  <a:cubicBezTo>
                    <a:pt x="2182" y="770"/>
                    <a:pt x="2188" y="775"/>
                    <a:pt x="2195" y="775"/>
                  </a:cubicBezTo>
                  <a:cubicBezTo>
                    <a:pt x="2203" y="775"/>
                    <a:pt x="2209" y="770"/>
                    <a:pt x="2210" y="764"/>
                  </a:cubicBezTo>
                  <a:cubicBezTo>
                    <a:pt x="2210" y="759"/>
                    <a:pt x="2205" y="754"/>
                    <a:pt x="2197" y="754"/>
                  </a:cubicBezTo>
                  <a:cubicBezTo>
                    <a:pt x="2197" y="754"/>
                    <a:pt x="2197" y="754"/>
                    <a:pt x="2197" y="754"/>
                  </a:cubicBezTo>
                  <a:moveTo>
                    <a:pt x="2236" y="754"/>
                  </a:moveTo>
                  <a:cubicBezTo>
                    <a:pt x="2228" y="754"/>
                    <a:pt x="2222" y="759"/>
                    <a:pt x="2221" y="764"/>
                  </a:cubicBezTo>
                  <a:cubicBezTo>
                    <a:pt x="2221" y="770"/>
                    <a:pt x="2226" y="774"/>
                    <a:pt x="2234" y="774"/>
                  </a:cubicBezTo>
                  <a:cubicBezTo>
                    <a:pt x="2242" y="774"/>
                    <a:pt x="2248" y="770"/>
                    <a:pt x="2248" y="764"/>
                  </a:cubicBezTo>
                  <a:cubicBezTo>
                    <a:pt x="2249" y="759"/>
                    <a:pt x="2243" y="754"/>
                    <a:pt x="2236" y="754"/>
                  </a:cubicBezTo>
                  <a:cubicBezTo>
                    <a:pt x="2236" y="754"/>
                    <a:pt x="2236" y="754"/>
                    <a:pt x="2236" y="754"/>
                  </a:cubicBezTo>
                  <a:moveTo>
                    <a:pt x="2275" y="754"/>
                  </a:moveTo>
                  <a:cubicBezTo>
                    <a:pt x="2267" y="754"/>
                    <a:pt x="2261" y="758"/>
                    <a:pt x="2260" y="764"/>
                  </a:cubicBezTo>
                  <a:cubicBezTo>
                    <a:pt x="2260" y="770"/>
                    <a:pt x="2266" y="774"/>
                    <a:pt x="2273" y="774"/>
                  </a:cubicBezTo>
                  <a:cubicBezTo>
                    <a:pt x="2281" y="774"/>
                    <a:pt x="2287" y="770"/>
                    <a:pt x="2287" y="764"/>
                  </a:cubicBezTo>
                  <a:cubicBezTo>
                    <a:pt x="2288" y="758"/>
                    <a:pt x="2282" y="754"/>
                    <a:pt x="2275" y="754"/>
                  </a:cubicBezTo>
                  <a:cubicBezTo>
                    <a:pt x="2275" y="754"/>
                    <a:pt x="2275" y="754"/>
                    <a:pt x="2275" y="754"/>
                  </a:cubicBezTo>
                  <a:moveTo>
                    <a:pt x="2313" y="754"/>
                  </a:moveTo>
                  <a:cubicBezTo>
                    <a:pt x="2306" y="754"/>
                    <a:pt x="2299" y="758"/>
                    <a:pt x="2299" y="764"/>
                  </a:cubicBezTo>
                  <a:cubicBezTo>
                    <a:pt x="2299" y="770"/>
                    <a:pt x="2304" y="774"/>
                    <a:pt x="2312" y="774"/>
                  </a:cubicBezTo>
                  <a:cubicBezTo>
                    <a:pt x="2320" y="774"/>
                    <a:pt x="2326" y="769"/>
                    <a:pt x="2326" y="764"/>
                  </a:cubicBezTo>
                  <a:cubicBezTo>
                    <a:pt x="2327" y="758"/>
                    <a:pt x="2321" y="754"/>
                    <a:pt x="2313" y="754"/>
                  </a:cubicBezTo>
                  <a:cubicBezTo>
                    <a:pt x="2313" y="754"/>
                    <a:pt x="2313" y="754"/>
                    <a:pt x="2313" y="754"/>
                  </a:cubicBezTo>
                  <a:moveTo>
                    <a:pt x="2352" y="753"/>
                  </a:moveTo>
                  <a:cubicBezTo>
                    <a:pt x="2345" y="753"/>
                    <a:pt x="2338" y="758"/>
                    <a:pt x="2338" y="764"/>
                  </a:cubicBezTo>
                  <a:cubicBezTo>
                    <a:pt x="2338" y="769"/>
                    <a:pt x="2344" y="774"/>
                    <a:pt x="2351" y="774"/>
                  </a:cubicBezTo>
                  <a:cubicBezTo>
                    <a:pt x="2359" y="774"/>
                    <a:pt x="2365" y="769"/>
                    <a:pt x="2365" y="764"/>
                  </a:cubicBezTo>
                  <a:cubicBezTo>
                    <a:pt x="2365" y="758"/>
                    <a:pt x="2360" y="753"/>
                    <a:pt x="2352" y="753"/>
                  </a:cubicBezTo>
                  <a:cubicBezTo>
                    <a:pt x="2352" y="753"/>
                    <a:pt x="2352" y="753"/>
                    <a:pt x="2352" y="753"/>
                  </a:cubicBezTo>
                  <a:moveTo>
                    <a:pt x="2391" y="753"/>
                  </a:moveTo>
                  <a:cubicBezTo>
                    <a:pt x="2384" y="753"/>
                    <a:pt x="2378" y="758"/>
                    <a:pt x="2377" y="764"/>
                  </a:cubicBezTo>
                  <a:cubicBezTo>
                    <a:pt x="2377" y="769"/>
                    <a:pt x="2383" y="774"/>
                    <a:pt x="2391" y="774"/>
                  </a:cubicBezTo>
                  <a:cubicBezTo>
                    <a:pt x="2398" y="774"/>
                    <a:pt x="2405" y="769"/>
                    <a:pt x="2405" y="763"/>
                  </a:cubicBezTo>
                  <a:cubicBezTo>
                    <a:pt x="2405" y="758"/>
                    <a:pt x="2399" y="753"/>
                    <a:pt x="2391" y="753"/>
                  </a:cubicBezTo>
                  <a:cubicBezTo>
                    <a:pt x="2391" y="753"/>
                    <a:pt x="2391" y="753"/>
                    <a:pt x="2391" y="753"/>
                  </a:cubicBezTo>
                  <a:moveTo>
                    <a:pt x="2430" y="753"/>
                  </a:moveTo>
                  <a:cubicBezTo>
                    <a:pt x="2422" y="753"/>
                    <a:pt x="2416" y="758"/>
                    <a:pt x="2416" y="763"/>
                  </a:cubicBezTo>
                  <a:cubicBezTo>
                    <a:pt x="2416" y="769"/>
                    <a:pt x="2422" y="774"/>
                    <a:pt x="2430" y="773"/>
                  </a:cubicBezTo>
                  <a:cubicBezTo>
                    <a:pt x="2437" y="773"/>
                    <a:pt x="2443" y="769"/>
                    <a:pt x="2443" y="763"/>
                  </a:cubicBezTo>
                  <a:cubicBezTo>
                    <a:pt x="2443" y="758"/>
                    <a:pt x="2438" y="753"/>
                    <a:pt x="2430" y="753"/>
                  </a:cubicBezTo>
                  <a:cubicBezTo>
                    <a:pt x="2430" y="753"/>
                    <a:pt x="2430" y="753"/>
                    <a:pt x="2430" y="753"/>
                  </a:cubicBezTo>
                  <a:moveTo>
                    <a:pt x="3011" y="753"/>
                  </a:moveTo>
                  <a:cubicBezTo>
                    <a:pt x="3003" y="753"/>
                    <a:pt x="2998" y="758"/>
                    <a:pt x="2999" y="763"/>
                  </a:cubicBezTo>
                  <a:cubicBezTo>
                    <a:pt x="3000" y="769"/>
                    <a:pt x="3007" y="773"/>
                    <a:pt x="3014" y="773"/>
                  </a:cubicBezTo>
                  <a:cubicBezTo>
                    <a:pt x="3022" y="773"/>
                    <a:pt x="3027" y="769"/>
                    <a:pt x="3026" y="763"/>
                  </a:cubicBezTo>
                  <a:cubicBezTo>
                    <a:pt x="3025" y="757"/>
                    <a:pt x="3018" y="753"/>
                    <a:pt x="3011" y="753"/>
                  </a:cubicBezTo>
                  <a:cubicBezTo>
                    <a:pt x="3011" y="753"/>
                    <a:pt x="3011" y="753"/>
                    <a:pt x="3011" y="753"/>
                  </a:cubicBezTo>
                  <a:moveTo>
                    <a:pt x="2469" y="753"/>
                  </a:moveTo>
                  <a:cubicBezTo>
                    <a:pt x="2461" y="753"/>
                    <a:pt x="2455" y="757"/>
                    <a:pt x="2455" y="763"/>
                  </a:cubicBezTo>
                  <a:cubicBezTo>
                    <a:pt x="2455" y="769"/>
                    <a:pt x="2461" y="773"/>
                    <a:pt x="2469" y="773"/>
                  </a:cubicBezTo>
                  <a:cubicBezTo>
                    <a:pt x="2476" y="773"/>
                    <a:pt x="2482" y="769"/>
                    <a:pt x="2482" y="763"/>
                  </a:cubicBezTo>
                  <a:cubicBezTo>
                    <a:pt x="2482" y="757"/>
                    <a:pt x="2476" y="753"/>
                    <a:pt x="2469" y="753"/>
                  </a:cubicBezTo>
                  <a:cubicBezTo>
                    <a:pt x="2469" y="753"/>
                    <a:pt x="2469" y="753"/>
                    <a:pt x="2469" y="753"/>
                  </a:cubicBezTo>
                  <a:moveTo>
                    <a:pt x="3049" y="753"/>
                  </a:moveTo>
                  <a:cubicBezTo>
                    <a:pt x="3042" y="753"/>
                    <a:pt x="3037" y="757"/>
                    <a:pt x="3038" y="763"/>
                  </a:cubicBezTo>
                  <a:cubicBezTo>
                    <a:pt x="3039" y="769"/>
                    <a:pt x="3046" y="773"/>
                    <a:pt x="3053" y="773"/>
                  </a:cubicBezTo>
                  <a:cubicBezTo>
                    <a:pt x="3061" y="773"/>
                    <a:pt x="3066" y="769"/>
                    <a:pt x="3065" y="763"/>
                  </a:cubicBezTo>
                  <a:cubicBezTo>
                    <a:pt x="3064" y="757"/>
                    <a:pt x="3057" y="753"/>
                    <a:pt x="3050" y="753"/>
                  </a:cubicBezTo>
                  <a:cubicBezTo>
                    <a:pt x="3050" y="753"/>
                    <a:pt x="3050" y="753"/>
                    <a:pt x="3049" y="753"/>
                  </a:cubicBezTo>
                  <a:moveTo>
                    <a:pt x="2507" y="753"/>
                  </a:moveTo>
                  <a:cubicBezTo>
                    <a:pt x="2500" y="753"/>
                    <a:pt x="2494" y="757"/>
                    <a:pt x="2494" y="763"/>
                  </a:cubicBezTo>
                  <a:cubicBezTo>
                    <a:pt x="2494" y="769"/>
                    <a:pt x="2500" y="773"/>
                    <a:pt x="2508" y="773"/>
                  </a:cubicBezTo>
                  <a:cubicBezTo>
                    <a:pt x="2515" y="773"/>
                    <a:pt x="2521" y="768"/>
                    <a:pt x="2521" y="763"/>
                  </a:cubicBezTo>
                  <a:cubicBezTo>
                    <a:pt x="2521" y="757"/>
                    <a:pt x="2515" y="753"/>
                    <a:pt x="2507" y="753"/>
                  </a:cubicBezTo>
                  <a:cubicBezTo>
                    <a:pt x="2507" y="753"/>
                    <a:pt x="2507" y="753"/>
                    <a:pt x="2507" y="753"/>
                  </a:cubicBezTo>
                  <a:moveTo>
                    <a:pt x="2546" y="752"/>
                  </a:moveTo>
                  <a:cubicBezTo>
                    <a:pt x="2539" y="752"/>
                    <a:pt x="2533" y="757"/>
                    <a:pt x="2533" y="763"/>
                  </a:cubicBezTo>
                  <a:cubicBezTo>
                    <a:pt x="2533" y="768"/>
                    <a:pt x="2539" y="773"/>
                    <a:pt x="2547" y="773"/>
                  </a:cubicBezTo>
                  <a:cubicBezTo>
                    <a:pt x="2554" y="773"/>
                    <a:pt x="2560" y="768"/>
                    <a:pt x="2560" y="763"/>
                  </a:cubicBezTo>
                  <a:cubicBezTo>
                    <a:pt x="2560" y="757"/>
                    <a:pt x="2554" y="752"/>
                    <a:pt x="2546" y="752"/>
                  </a:cubicBezTo>
                  <a:cubicBezTo>
                    <a:pt x="2546" y="752"/>
                    <a:pt x="2546" y="752"/>
                    <a:pt x="2546" y="752"/>
                  </a:cubicBezTo>
                  <a:moveTo>
                    <a:pt x="2586" y="752"/>
                  </a:moveTo>
                  <a:cubicBezTo>
                    <a:pt x="2578" y="752"/>
                    <a:pt x="2572" y="757"/>
                    <a:pt x="2572" y="763"/>
                  </a:cubicBezTo>
                  <a:cubicBezTo>
                    <a:pt x="2572" y="768"/>
                    <a:pt x="2579" y="773"/>
                    <a:pt x="2586" y="773"/>
                  </a:cubicBezTo>
                  <a:cubicBezTo>
                    <a:pt x="2594" y="773"/>
                    <a:pt x="2600" y="768"/>
                    <a:pt x="2600" y="762"/>
                  </a:cubicBezTo>
                  <a:cubicBezTo>
                    <a:pt x="2599" y="757"/>
                    <a:pt x="2593" y="752"/>
                    <a:pt x="2586" y="752"/>
                  </a:cubicBezTo>
                  <a:cubicBezTo>
                    <a:pt x="2586" y="752"/>
                    <a:pt x="2586" y="752"/>
                    <a:pt x="2586" y="752"/>
                  </a:cubicBezTo>
                  <a:moveTo>
                    <a:pt x="2664" y="752"/>
                  </a:moveTo>
                  <a:cubicBezTo>
                    <a:pt x="2656" y="752"/>
                    <a:pt x="2650" y="757"/>
                    <a:pt x="2650" y="762"/>
                  </a:cubicBezTo>
                  <a:cubicBezTo>
                    <a:pt x="2651" y="768"/>
                    <a:pt x="2657" y="773"/>
                    <a:pt x="2665" y="773"/>
                  </a:cubicBezTo>
                  <a:cubicBezTo>
                    <a:pt x="2672" y="773"/>
                    <a:pt x="2678" y="768"/>
                    <a:pt x="2678" y="762"/>
                  </a:cubicBezTo>
                  <a:cubicBezTo>
                    <a:pt x="2677" y="757"/>
                    <a:pt x="2671" y="752"/>
                    <a:pt x="2664" y="752"/>
                  </a:cubicBezTo>
                  <a:cubicBezTo>
                    <a:pt x="2664" y="752"/>
                    <a:pt x="2664" y="752"/>
                    <a:pt x="2664" y="752"/>
                  </a:cubicBezTo>
                  <a:moveTo>
                    <a:pt x="2702" y="752"/>
                  </a:moveTo>
                  <a:cubicBezTo>
                    <a:pt x="2695" y="752"/>
                    <a:pt x="2689" y="757"/>
                    <a:pt x="2689" y="762"/>
                  </a:cubicBezTo>
                  <a:cubicBezTo>
                    <a:pt x="2690" y="768"/>
                    <a:pt x="2696" y="772"/>
                    <a:pt x="2704" y="772"/>
                  </a:cubicBezTo>
                  <a:cubicBezTo>
                    <a:pt x="2711" y="772"/>
                    <a:pt x="2717" y="768"/>
                    <a:pt x="2717" y="762"/>
                  </a:cubicBezTo>
                  <a:cubicBezTo>
                    <a:pt x="2716" y="756"/>
                    <a:pt x="2710" y="752"/>
                    <a:pt x="2702" y="752"/>
                  </a:cubicBezTo>
                  <a:cubicBezTo>
                    <a:pt x="2702" y="752"/>
                    <a:pt x="2702" y="752"/>
                    <a:pt x="2702" y="752"/>
                  </a:cubicBezTo>
                  <a:moveTo>
                    <a:pt x="2975" y="752"/>
                  </a:moveTo>
                  <a:cubicBezTo>
                    <a:pt x="2967" y="752"/>
                    <a:pt x="2962" y="756"/>
                    <a:pt x="2963" y="762"/>
                  </a:cubicBezTo>
                  <a:cubicBezTo>
                    <a:pt x="2964" y="768"/>
                    <a:pt x="2971" y="772"/>
                    <a:pt x="2978" y="772"/>
                  </a:cubicBezTo>
                  <a:cubicBezTo>
                    <a:pt x="2986" y="772"/>
                    <a:pt x="2991" y="768"/>
                    <a:pt x="2990" y="762"/>
                  </a:cubicBezTo>
                  <a:cubicBezTo>
                    <a:pt x="2989" y="756"/>
                    <a:pt x="2982" y="752"/>
                    <a:pt x="2975" y="752"/>
                  </a:cubicBezTo>
                  <a:cubicBezTo>
                    <a:pt x="2975" y="752"/>
                    <a:pt x="2975" y="752"/>
                    <a:pt x="2975" y="752"/>
                  </a:cubicBezTo>
                  <a:moveTo>
                    <a:pt x="2741" y="752"/>
                  </a:moveTo>
                  <a:cubicBezTo>
                    <a:pt x="2733" y="752"/>
                    <a:pt x="2728" y="756"/>
                    <a:pt x="2728" y="762"/>
                  </a:cubicBezTo>
                  <a:cubicBezTo>
                    <a:pt x="2728" y="768"/>
                    <a:pt x="2735" y="772"/>
                    <a:pt x="2743" y="772"/>
                  </a:cubicBezTo>
                  <a:cubicBezTo>
                    <a:pt x="2750" y="772"/>
                    <a:pt x="2756" y="768"/>
                    <a:pt x="2755" y="762"/>
                  </a:cubicBezTo>
                  <a:cubicBezTo>
                    <a:pt x="2755" y="756"/>
                    <a:pt x="2748" y="752"/>
                    <a:pt x="2741" y="752"/>
                  </a:cubicBezTo>
                  <a:cubicBezTo>
                    <a:pt x="2741" y="752"/>
                    <a:pt x="2741" y="752"/>
                    <a:pt x="2741" y="752"/>
                  </a:cubicBezTo>
                  <a:moveTo>
                    <a:pt x="3169" y="751"/>
                  </a:moveTo>
                  <a:cubicBezTo>
                    <a:pt x="3161" y="751"/>
                    <a:pt x="3156" y="756"/>
                    <a:pt x="3158" y="762"/>
                  </a:cubicBezTo>
                  <a:cubicBezTo>
                    <a:pt x="3159" y="767"/>
                    <a:pt x="3166" y="772"/>
                    <a:pt x="3174" y="772"/>
                  </a:cubicBezTo>
                  <a:cubicBezTo>
                    <a:pt x="3181" y="772"/>
                    <a:pt x="3186" y="767"/>
                    <a:pt x="3185" y="762"/>
                  </a:cubicBezTo>
                  <a:cubicBezTo>
                    <a:pt x="3184" y="756"/>
                    <a:pt x="3176" y="751"/>
                    <a:pt x="3169" y="751"/>
                  </a:cubicBezTo>
                  <a:cubicBezTo>
                    <a:pt x="3169" y="751"/>
                    <a:pt x="3169" y="751"/>
                    <a:pt x="3169" y="751"/>
                  </a:cubicBezTo>
                  <a:moveTo>
                    <a:pt x="3088" y="751"/>
                  </a:moveTo>
                  <a:cubicBezTo>
                    <a:pt x="3080" y="751"/>
                    <a:pt x="3075" y="756"/>
                    <a:pt x="3076" y="762"/>
                  </a:cubicBezTo>
                  <a:cubicBezTo>
                    <a:pt x="3077" y="767"/>
                    <a:pt x="3084" y="772"/>
                    <a:pt x="3092" y="772"/>
                  </a:cubicBezTo>
                  <a:cubicBezTo>
                    <a:pt x="3100" y="772"/>
                    <a:pt x="3105" y="767"/>
                    <a:pt x="3104" y="761"/>
                  </a:cubicBezTo>
                  <a:cubicBezTo>
                    <a:pt x="3102" y="756"/>
                    <a:pt x="3095" y="751"/>
                    <a:pt x="3088" y="751"/>
                  </a:cubicBezTo>
                  <a:cubicBezTo>
                    <a:pt x="3088" y="751"/>
                    <a:pt x="3088" y="751"/>
                    <a:pt x="3088" y="751"/>
                  </a:cubicBezTo>
                  <a:moveTo>
                    <a:pt x="3208" y="751"/>
                  </a:moveTo>
                  <a:cubicBezTo>
                    <a:pt x="3201" y="751"/>
                    <a:pt x="3196" y="756"/>
                    <a:pt x="3197" y="761"/>
                  </a:cubicBezTo>
                  <a:cubicBezTo>
                    <a:pt x="3198" y="767"/>
                    <a:pt x="3206" y="772"/>
                    <a:pt x="3213" y="772"/>
                  </a:cubicBezTo>
                  <a:cubicBezTo>
                    <a:pt x="3221" y="772"/>
                    <a:pt x="3226" y="767"/>
                    <a:pt x="3224" y="761"/>
                  </a:cubicBezTo>
                  <a:cubicBezTo>
                    <a:pt x="3223" y="756"/>
                    <a:pt x="3216" y="751"/>
                    <a:pt x="3208" y="751"/>
                  </a:cubicBezTo>
                  <a:cubicBezTo>
                    <a:pt x="3208" y="751"/>
                    <a:pt x="3208" y="751"/>
                    <a:pt x="3208" y="751"/>
                  </a:cubicBezTo>
                  <a:moveTo>
                    <a:pt x="2780" y="751"/>
                  </a:moveTo>
                  <a:cubicBezTo>
                    <a:pt x="2772" y="751"/>
                    <a:pt x="2766" y="756"/>
                    <a:pt x="2767" y="761"/>
                  </a:cubicBezTo>
                  <a:cubicBezTo>
                    <a:pt x="2768" y="767"/>
                    <a:pt x="2774" y="772"/>
                    <a:pt x="2782" y="772"/>
                  </a:cubicBezTo>
                  <a:cubicBezTo>
                    <a:pt x="2789" y="772"/>
                    <a:pt x="2795" y="767"/>
                    <a:pt x="2794" y="761"/>
                  </a:cubicBezTo>
                  <a:cubicBezTo>
                    <a:pt x="2794" y="756"/>
                    <a:pt x="2787" y="751"/>
                    <a:pt x="2780" y="751"/>
                  </a:cubicBezTo>
                  <a:cubicBezTo>
                    <a:pt x="2780" y="751"/>
                    <a:pt x="2780" y="751"/>
                    <a:pt x="2780" y="751"/>
                  </a:cubicBezTo>
                  <a:moveTo>
                    <a:pt x="3127" y="751"/>
                  </a:moveTo>
                  <a:cubicBezTo>
                    <a:pt x="3119" y="751"/>
                    <a:pt x="3114" y="756"/>
                    <a:pt x="3115" y="761"/>
                  </a:cubicBezTo>
                  <a:cubicBezTo>
                    <a:pt x="3117" y="767"/>
                    <a:pt x="3124" y="772"/>
                    <a:pt x="3131" y="772"/>
                  </a:cubicBezTo>
                  <a:cubicBezTo>
                    <a:pt x="3139" y="772"/>
                    <a:pt x="3144" y="767"/>
                    <a:pt x="3143" y="761"/>
                  </a:cubicBezTo>
                  <a:cubicBezTo>
                    <a:pt x="3141" y="756"/>
                    <a:pt x="3134" y="751"/>
                    <a:pt x="3127" y="751"/>
                  </a:cubicBezTo>
                  <a:cubicBezTo>
                    <a:pt x="3127" y="751"/>
                    <a:pt x="3127" y="751"/>
                    <a:pt x="3127" y="751"/>
                  </a:cubicBezTo>
                  <a:moveTo>
                    <a:pt x="3711" y="751"/>
                  </a:moveTo>
                  <a:cubicBezTo>
                    <a:pt x="3704" y="751"/>
                    <a:pt x="3700" y="756"/>
                    <a:pt x="3702" y="761"/>
                  </a:cubicBezTo>
                  <a:cubicBezTo>
                    <a:pt x="3704" y="767"/>
                    <a:pt x="3712" y="772"/>
                    <a:pt x="3720" y="772"/>
                  </a:cubicBezTo>
                  <a:cubicBezTo>
                    <a:pt x="3728" y="772"/>
                    <a:pt x="3732" y="767"/>
                    <a:pt x="3729" y="761"/>
                  </a:cubicBezTo>
                  <a:cubicBezTo>
                    <a:pt x="3727" y="756"/>
                    <a:pt x="3719" y="751"/>
                    <a:pt x="3711" y="751"/>
                  </a:cubicBezTo>
                  <a:cubicBezTo>
                    <a:pt x="3711" y="751"/>
                    <a:pt x="3711" y="751"/>
                    <a:pt x="3711" y="751"/>
                  </a:cubicBezTo>
                  <a:moveTo>
                    <a:pt x="3244" y="751"/>
                  </a:moveTo>
                  <a:cubicBezTo>
                    <a:pt x="3237" y="751"/>
                    <a:pt x="3232" y="756"/>
                    <a:pt x="3233" y="761"/>
                  </a:cubicBezTo>
                  <a:cubicBezTo>
                    <a:pt x="3235" y="767"/>
                    <a:pt x="3242" y="771"/>
                    <a:pt x="3250" y="771"/>
                  </a:cubicBezTo>
                  <a:cubicBezTo>
                    <a:pt x="3257" y="771"/>
                    <a:pt x="3262" y="767"/>
                    <a:pt x="3261" y="761"/>
                  </a:cubicBezTo>
                  <a:cubicBezTo>
                    <a:pt x="3259" y="756"/>
                    <a:pt x="3252" y="751"/>
                    <a:pt x="3244" y="751"/>
                  </a:cubicBezTo>
                  <a:cubicBezTo>
                    <a:pt x="3244" y="751"/>
                    <a:pt x="3244" y="751"/>
                    <a:pt x="3244" y="751"/>
                  </a:cubicBezTo>
                  <a:moveTo>
                    <a:pt x="3750" y="751"/>
                  </a:moveTo>
                  <a:cubicBezTo>
                    <a:pt x="3742" y="751"/>
                    <a:pt x="3738" y="756"/>
                    <a:pt x="3741" y="761"/>
                  </a:cubicBezTo>
                  <a:cubicBezTo>
                    <a:pt x="3743" y="767"/>
                    <a:pt x="3751" y="771"/>
                    <a:pt x="3759" y="771"/>
                  </a:cubicBezTo>
                  <a:cubicBezTo>
                    <a:pt x="3766" y="771"/>
                    <a:pt x="3770" y="767"/>
                    <a:pt x="3768" y="761"/>
                  </a:cubicBezTo>
                  <a:cubicBezTo>
                    <a:pt x="3766" y="755"/>
                    <a:pt x="3757" y="751"/>
                    <a:pt x="3750" y="751"/>
                  </a:cubicBezTo>
                  <a:cubicBezTo>
                    <a:pt x="3750" y="751"/>
                    <a:pt x="3750" y="751"/>
                    <a:pt x="3750" y="751"/>
                  </a:cubicBezTo>
                  <a:moveTo>
                    <a:pt x="3284" y="751"/>
                  </a:moveTo>
                  <a:cubicBezTo>
                    <a:pt x="3276" y="751"/>
                    <a:pt x="3271" y="755"/>
                    <a:pt x="3273" y="761"/>
                  </a:cubicBezTo>
                  <a:cubicBezTo>
                    <a:pt x="3274" y="767"/>
                    <a:pt x="3282" y="771"/>
                    <a:pt x="3289" y="771"/>
                  </a:cubicBezTo>
                  <a:cubicBezTo>
                    <a:pt x="3297" y="771"/>
                    <a:pt x="3302" y="767"/>
                    <a:pt x="3300" y="761"/>
                  </a:cubicBezTo>
                  <a:cubicBezTo>
                    <a:pt x="3298" y="755"/>
                    <a:pt x="3291" y="751"/>
                    <a:pt x="3284" y="751"/>
                  </a:cubicBezTo>
                  <a:cubicBezTo>
                    <a:pt x="3284" y="751"/>
                    <a:pt x="3284" y="751"/>
                    <a:pt x="3284" y="751"/>
                  </a:cubicBezTo>
                  <a:moveTo>
                    <a:pt x="3789" y="751"/>
                  </a:moveTo>
                  <a:cubicBezTo>
                    <a:pt x="3781" y="751"/>
                    <a:pt x="3777" y="755"/>
                    <a:pt x="3780" y="761"/>
                  </a:cubicBezTo>
                  <a:cubicBezTo>
                    <a:pt x="3782" y="767"/>
                    <a:pt x="3790" y="771"/>
                    <a:pt x="3798" y="771"/>
                  </a:cubicBezTo>
                  <a:cubicBezTo>
                    <a:pt x="3806" y="771"/>
                    <a:pt x="3810" y="767"/>
                    <a:pt x="3807" y="761"/>
                  </a:cubicBezTo>
                  <a:cubicBezTo>
                    <a:pt x="3804" y="755"/>
                    <a:pt x="3796" y="751"/>
                    <a:pt x="3789" y="751"/>
                  </a:cubicBezTo>
                  <a:cubicBezTo>
                    <a:pt x="3789" y="751"/>
                    <a:pt x="3789" y="751"/>
                    <a:pt x="3789" y="751"/>
                  </a:cubicBezTo>
                  <a:moveTo>
                    <a:pt x="3322" y="751"/>
                  </a:moveTo>
                  <a:cubicBezTo>
                    <a:pt x="3315" y="751"/>
                    <a:pt x="3310" y="755"/>
                    <a:pt x="3311" y="761"/>
                  </a:cubicBezTo>
                  <a:cubicBezTo>
                    <a:pt x="3313" y="767"/>
                    <a:pt x="3320" y="771"/>
                    <a:pt x="3328" y="771"/>
                  </a:cubicBezTo>
                  <a:cubicBezTo>
                    <a:pt x="3336" y="771"/>
                    <a:pt x="3340" y="766"/>
                    <a:pt x="3339" y="761"/>
                  </a:cubicBezTo>
                  <a:cubicBezTo>
                    <a:pt x="3337" y="755"/>
                    <a:pt x="3330" y="751"/>
                    <a:pt x="3322" y="751"/>
                  </a:cubicBezTo>
                  <a:cubicBezTo>
                    <a:pt x="3322" y="751"/>
                    <a:pt x="3322" y="751"/>
                    <a:pt x="3322" y="751"/>
                  </a:cubicBezTo>
                  <a:moveTo>
                    <a:pt x="3830" y="750"/>
                  </a:moveTo>
                  <a:cubicBezTo>
                    <a:pt x="3823" y="750"/>
                    <a:pt x="3819" y="755"/>
                    <a:pt x="3821" y="761"/>
                  </a:cubicBezTo>
                  <a:cubicBezTo>
                    <a:pt x="3824" y="766"/>
                    <a:pt x="3832" y="771"/>
                    <a:pt x="3840" y="771"/>
                  </a:cubicBezTo>
                  <a:cubicBezTo>
                    <a:pt x="3847" y="771"/>
                    <a:pt x="3851" y="766"/>
                    <a:pt x="3848" y="761"/>
                  </a:cubicBezTo>
                  <a:cubicBezTo>
                    <a:pt x="3846" y="755"/>
                    <a:pt x="3838" y="750"/>
                    <a:pt x="3830" y="750"/>
                  </a:cubicBezTo>
                  <a:cubicBezTo>
                    <a:pt x="3830" y="750"/>
                    <a:pt x="3830" y="750"/>
                    <a:pt x="3830" y="750"/>
                  </a:cubicBezTo>
                  <a:moveTo>
                    <a:pt x="3361" y="750"/>
                  </a:moveTo>
                  <a:cubicBezTo>
                    <a:pt x="3353" y="750"/>
                    <a:pt x="3349" y="755"/>
                    <a:pt x="3350" y="761"/>
                  </a:cubicBezTo>
                  <a:cubicBezTo>
                    <a:pt x="3352" y="766"/>
                    <a:pt x="3360" y="771"/>
                    <a:pt x="3367" y="771"/>
                  </a:cubicBezTo>
                  <a:cubicBezTo>
                    <a:pt x="3375" y="771"/>
                    <a:pt x="3379" y="766"/>
                    <a:pt x="3378" y="761"/>
                  </a:cubicBezTo>
                  <a:cubicBezTo>
                    <a:pt x="3376" y="755"/>
                    <a:pt x="3368" y="750"/>
                    <a:pt x="3361" y="750"/>
                  </a:cubicBezTo>
                  <a:cubicBezTo>
                    <a:pt x="3361" y="750"/>
                    <a:pt x="3361" y="750"/>
                    <a:pt x="3361" y="750"/>
                  </a:cubicBezTo>
                  <a:moveTo>
                    <a:pt x="3868" y="750"/>
                  </a:moveTo>
                  <a:cubicBezTo>
                    <a:pt x="3861" y="750"/>
                    <a:pt x="3857" y="755"/>
                    <a:pt x="3860" y="761"/>
                  </a:cubicBezTo>
                  <a:cubicBezTo>
                    <a:pt x="3862" y="766"/>
                    <a:pt x="3871" y="771"/>
                    <a:pt x="3878" y="771"/>
                  </a:cubicBezTo>
                  <a:cubicBezTo>
                    <a:pt x="3886" y="771"/>
                    <a:pt x="3890" y="766"/>
                    <a:pt x="3887" y="760"/>
                  </a:cubicBezTo>
                  <a:cubicBezTo>
                    <a:pt x="3884" y="755"/>
                    <a:pt x="3876" y="750"/>
                    <a:pt x="3868" y="750"/>
                  </a:cubicBezTo>
                  <a:cubicBezTo>
                    <a:pt x="3868" y="750"/>
                    <a:pt x="3868" y="750"/>
                    <a:pt x="3868" y="750"/>
                  </a:cubicBezTo>
                  <a:moveTo>
                    <a:pt x="3399" y="750"/>
                  </a:moveTo>
                  <a:cubicBezTo>
                    <a:pt x="3392" y="750"/>
                    <a:pt x="3387" y="755"/>
                    <a:pt x="3389" y="761"/>
                  </a:cubicBezTo>
                  <a:cubicBezTo>
                    <a:pt x="3391" y="766"/>
                    <a:pt x="3398" y="771"/>
                    <a:pt x="3406" y="771"/>
                  </a:cubicBezTo>
                  <a:cubicBezTo>
                    <a:pt x="3413" y="771"/>
                    <a:pt x="3418" y="766"/>
                    <a:pt x="3416" y="760"/>
                  </a:cubicBezTo>
                  <a:cubicBezTo>
                    <a:pt x="3415" y="755"/>
                    <a:pt x="3407" y="750"/>
                    <a:pt x="3400" y="750"/>
                  </a:cubicBezTo>
                  <a:cubicBezTo>
                    <a:pt x="3400" y="750"/>
                    <a:pt x="3400" y="750"/>
                    <a:pt x="3399" y="750"/>
                  </a:cubicBezTo>
                  <a:moveTo>
                    <a:pt x="3907" y="750"/>
                  </a:moveTo>
                  <a:cubicBezTo>
                    <a:pt x="3899" y="750"/>
                    <a:pt x="3895" y="755"/>
                    <a:pt x="3898" y="760"/>
                  </a:cubicBezTo>
                  <a:cubicBezTo>
                    <a:pt x="3901" y="766"/>
                    <a:pt x="3909" y="771"/>
                    <a:pt x="3917" y="771"/>
                  </a:cubicBezTo>
                  <a:cubicBezTo>
                    <a:pt x="3924" y="771"/>
                    <a:pt x="3928" y="766"/>
                    <a:pt x="3926" y="760"/>
                  </a:cubicBezTo>
                  <a:cubicBezTo>
                    <a:pt x="3923" y="755"/>
                    <a:pt x="3914" y="750"/>
                    <a:pt x="3907" y="750"/>
                  </a:cubicBezTo>
                  <a:cubicBezTo>
                    <a:pt x="3907" y="750"/>
                    <a:pt x="3907" y="750"/>
                    <a:pt x="3907" y="750"/>
                  </a:cubicBezTo>
                  <a:moveTo>
                    <a:pt x="3438" y="750"/>
                  </a:moveTo>
                  <a:cubicBezTo>
                    <a:pt x="3431" y="750"/>
                    <a:pt x="3426" y="755"/>
                    <a:pt x="3428" y="760"/>
                  </a:cubicBezTo>
                  <a:cubicBezTo>
                    <a:pt x="3430" y="766"/>
                    <a:pt x="3438" y="771"/>
                    <a:pt x="3445" y="771"/>
                  </a:cubicBezTo>
                  <a:cubicBezTo>
                    <a:pt x="3453" y="770"/>
                    <a:pt x="3457" y="766"/>
                    <a:pt x="3455" y="760"/>
                  </a:cubicBezTo>
                  <a:cubicBezTo>
                    <a:pt x="3453" y="755"/>
                    <a:pt x="3446" y="750"/>
                    <a:pt x="3438" y="750"/>
                  </a:cubicBezTo>
                  <a:cubicBezTo>
                    <a:pt x="3438" y="750"/>
                    <a:pt x="3438" y="750"/>
                    <a:pt x="3438" y="750"/>
                  </a:cubicBezTo>
                  <a:moveTo>
                    <a:pt x="3946" y="750"/>
                  </a:moveTo>
                  <a:cubicBezTo>
                    <a:pt x="3938" y="750"/>
                    <a:pt x="3934" y="755"/>
                    <a:pt x="3937" y="760"/>
                  </a:cubicBezTo>
                  <a:cubicBezTo>
                    <a:pt x="3940" y="766"/>
                    <a:pt x="3949" y="770"/>
                    <a:pt x="3956" y="770"/>
                  </a:cubicBezTo>
                  <a:cubicBezTo>
                    <a:pt x="3964" y="770"/>
                    <a:pt x="3967" y="766"/>
                    <a:pt x="3965" y="760"/>
                  </a:cubicBezTo>
                  <a:cubicBezTo>
                    <a:pt x="3962" y="754"/>
                    <a:pt x="3953" y="750"/>
                    <a:pt x="3946" y="750"/>
                  </a:cubicBezTo>
                  <a:cubicBezTo>
                    <a:pt x="3946" y="750"/>
                    <a:pt x="3946" y="750"/>
                    <a:pt x="3946" y="750"/>
                  </a:cubicBezTo>
                  <a:moveTo>
                    <a:pt x="3478" y="750"/>
                  </a:moveTo>
                  <a:cubicBezTo>
                    <a:pt x="3470" y="750"/>
                    <a:pt x="3466" y="754"/>
                    <a:pt x="3467" y="760"/>
                  </a:cubicBezTo>
                  <a:cubicBezTo>
                    <a:pt x="3469" y="766"/>
                    <a:pt x="3477" y="770"/>
                    <a:pt x="3485" y="770"/>
                  </a:cubicBezTo>
                  <a:cubicBezTo>
                    <a:pt x="3492" y="770"/>
                    <a:pt x="3497" y="766"/>
                    <a:pt x="3495" y="760"/>
                  </a:cubicBezTo>
                  <a:cubicBezTo>
                    <a:pt x="3493" y="754"/>
                    <a:pt x="3485" y="750"/>
                    <a:pt x="3478" y="750"/>
                  </a:cubicBezTo>
                  <a:cubicBezTo>
                    <a:pt x="3478" y="750"/>
                    <a:pt x="3478" y="750"/>
                    <a:pt x="3478" y="750"/>
                  </a:cubicBezTo>
                  <a:moveTo>
                    <a:pt x="3985" y="750"/>
                  </a:moveTo>
                  <a:cubicBezTo>
                    <a:pt x="3977" y="750"/>
                    <a:pt x="3974" y="754"/>
                    <a:pt x="3977" y="760"/>
                  </a:cubicBezTo>
                  <a:cubicBezTo>
                    <a:pt x="3980" y="766"/>
                    <a:pt x="3988" y="770"/>
                    <a:pt x="3996" y="770"/>
                  </a:cubicBezTo>
                  <a:cubicBezTo>
                    <a:pt x="4003" y="770"/>
                    <a:pt x="4007" y="766"/>
                    <a:pt x="4004" y="760"/>
                  </a:cubicBezTo>
                  <a:cubicBezTo>
                    <a:pt x="4001" y="754"/>
                    <a:pt x="3993" y="750"/>
                    <a:pt x="3985" y="750"/>
                  </a:cubicBezTo>
                  <a:cubicBezTo>
                    <a:pt x="3985" y="750"/>
                    <a:pt x="3985" y="750"/>
                    <a:pt x="3985" y="750"/>
                  </a:cubicBezTo>
                  <a:moveTo>
                    <a:pt x="3516" y="750"/>
                  </a:moveTo>
                  <a:cubicBezTo>
                    <a:pt x="3509" y="750"/>
                    <a:pt x="3504" y="754"/>
                    <a:pt x="3506" y="760"/>
                  </a:cubicBezTo>
                  <a:cubicBezTo>
                    <a:pt x="3508" y="766"/>
                    <a:pt x="3516" y="770"/>
                    <a:pt x="3523" y="770"/>
                  </a:cubicBezTo>
                  <a:cubicBezTo>
                    <a:pt x="3531" y="770"/>
                    <a:pt x="3535" y="765"/>
                    <a:pt x="3533" y="760"/>
                  </a:cubicBezTo>
                  <a:cubicBezTo>
                    <a:pt x="3531" y="754"/>
                    <a:pt x="3524" y="750"/>
                    <a:pt x="3516" y="750"/>
                  </a:cubicBezTo>
                  <a:cubicBezTo>
                    <a:pt x="3516" y="750"/>
                    <a:pt x="3516" y="750"/>
                    <a:pt x="3516" y="750"/>
                  </a:cubicBezTo>
                  <a:moveTo>
                    <a:pt x="4024" y="749"/>
                  </a:moveTo>
                  <a:cubicBezTo>
                    <a:pt x="4016" y="750"/>
                    <a:pt x="4012" y="754"/>
                    <a:pt x="4015" y="760"/>
                  </a:cubicBezTo>
                  <a:cubicBezTo>
                    <a:pt x="4018" y="766"/>
                    <a:pt x="4027" y="770"/>
                    <a:pt x="4034" y="770"/>
                  </a:cubicBezTo>
                  <a:cubicBezTo>
                    <a:pt x="4042" y="770"/>
                    <a:pt x="4046" y="765"/>
                    <a:pt x="4043" y="760"/>
                  </a:cubicBezTo>
                  <a:cubicBezTo>
                    <a:pt x="4040" y="754"/>
                    <a:pt x="4031" y="749"/>
                    <a:pt x="4024" y="749"/>
                  </a:cubicBezTo>
                  <a:cubicBezTo>
                    <a:pt x="4024" y="749"/>
                    <a:pt x="4024" y="749"/>
                    <a:pt x="4024" y="749"/>
                  </a:cubicBezTo>
                  <a:moveTo>
                    <a:pt x="3555" y="749"/>
                  </a:moveTo>
                  <a:cubicBezTo>
                    <a:pt x="3547" y="749"/>
                    <a:pt x="3543" y="754"/>
                    <a:pt x="3545" y="760"/>
                  </a:cubicBezTo>
                  <a:cubicBezTo>
                    <a:pt x="3547" y="765"/>
                    <a:pt x="3555" y="770"/>
                    <a:pt x="3563" y="770"/>
                  </a:cubicBezTo>
                  <a:cubicBezTo>
                    <a:pt x="3570" y="770"/>
                    <a:pt x="3574" y="765"/>
                    <a:pt x="3572" y="760"/>
                  </a:cubicBezTo>
                  <a:cubicBezTo>
                    <a:pt x="3570" y="754"/>
                    <a:pt x="3562" y="749"/>
                    <a:pt x="3555" y="749"/>
                  </a:cubicBezTo>
                  <a:cubicBezTo>
                    <a:pt x="3555" y="749"/>
                    <a:pt x="3555" y="749"/>
                    <a:pt x="3555" y="749"/>
                  </a:cubicBezTo>
                  <a:moveTo>
                    <a:pt x="4061" y="749"/>
                  </a:moveTo>
                  <a:cubicBezTo>
                    <a:pt x="4054" y="749"/>
                    <a:pt x="4050" y="754"/>
                    <a:pt x="4053" y="760"/>
                  </a:cubicBezTo>
                  <a:cubicBezTo>
                    <a:pt x="4056" y="765"/>
                    <a:pt x="4065" y="770"/>
                    <a:pt x="4072" y="770"/>
                  </a:cubicBezTo>
                  <a:cubicBezTo>
                    <a:pt x="4080" y="770"/>
                    <a:pt x="4083" y="765"/>
                    <a:pt x="4080" y="760"/>
                  </a:cubicBezTo>
                  <a:cubicBezTo>
                    <a:pt x="4077" y="754"/>
                    <a:pt x="4069" y="749"/>
                    <a:pt x="4061" y="749"/>
                  </a:cubicBezTo>
                  <a:cubicBezTo>
                    <a:pt x="4061" y="749"/>
                    <a:pt x="4061" y="749"/>
                    <a:pt x="4061" y="749"/>
                  </a:cubicBezTo>
                  <a:moveTo>
                    <a:pt x="3593" y="749"/>
                  </a:moveTo>
                  <a:cubicBezTo>
                    <a:pt x="3586" y="749"/>
                    <a:pt x="3582" y="754"/>
                    <a:pt x="3584" y="760"/>
                  </a:cubicBezTo>
                  <a:cubicBezTo>
                    <a:pt x="3586" y="765"/>
                    <a:pt x="3594" y="770"/>
                    <a:pt x="3601" y="770"/>
                  </a:cubicBezTo>
                  <a:cubicBezTo>
                    <a:pt x="3609" y="770"/>
                    <a:pt x="3613" y="765"/>
                    <a:pt x="3611" y="759"/>
                  </a:cubicBezTo>
                  <a:cubicBezTo>
                    <a:pt x="3609" y="754"/>
                    <a:pt x="3601" y="749"/>
                    <a:pt x="3594" y="749"/>
                  </a:cubicBezTo>
                  <a:cubicBezTo>
                    <a:pt x="3594" y="749"/>
                    <a:pt x="3594" y="749"/>
                    <a:pt x="3593" y="749"/>
                  </a:cubicBezTo>
                  <a:moveTo>
                    <a:pt x="3632" y="749"/>
                  </a:moveTo>
                  <a:cubicBezTo>
                    <a:pt x="3625" y="749"/>
                    <a:pt x="3621" y="754"/>
                    <a:pt x="3623" y="759"/>
                  </a:cubicBezTo>
                  <a:cubicBezTo>
                    <a:pt x="3625" y="765"/>
                    <a:pt x="3633" y="770"/>
                    <a:pt x="3640" y="770"/>
                  </a:cubicBezTo>
                  <a:cubicBezTo>
                    <a:pt x="3648" y="770"/>
                    <a:pt x="3652" y="765"/>
                    <a:pt x="3650" y="759"/>
                  </a:cubicBezTo>
                  <a:cubicBezTo>
                    <a:pt x="3648" y="754"/>
                    <a:pt x="3640" y="749"/>
                    <a:pt x="3632" y="749"/>
                  </a:cubicBezTo>
                  <a:cubicBezTo>
                    <a:pt x="3632" y="749"/>
                    <a:pt x="3632" y="749"/>
                    <a:pt x="3632" y="749"/>
                  </a:cubicBezTo>
                  <a:moveTo>
                    <a:pt x="3672" y="749"/>
                  </a:moveTo>
                  <a:cubicBezTo>
                    <a:pt x="3664" y="749"/>
                    <a:pt x="3660" y="754"/>
                    <a:pt x="3662" y="759"/>
                  </a:cubicBezTo>
                  <a:cubicBezTo>
                    <a:pt x="3664" y="765"/>
                    <a:pt x="3672" y="769"/>
                    <a:pt x="3680" y="769"/>
                  </a:cubicBezTo>
                  <a:cubicBezTo>
                    <a:pt x="3688" y="769"/>
                    <a:pt x="3692" y="765"/>
                    <a:pt x="3689" y="759"/>
                  </a:cubicBezTo>
                  <a:cubicBezTo>
                    <a:pt x="3687" y="753"/>
                    <a:pt x="3679" y="749"/>
                    <a:pt x="3672" y="749"/>
                  </a:cubicBezTo>
                  <a:cubicBezTo>
                    <a:pt x="3672" y="749"/>
                    <a:pt x="3672" y="749"/>
                    <a:pt x="3672" y="749"/>
                  </a:cubicBezTo>
                  <a:moveTo>
                    <a:pt x="232" y="739"/>
                  </a:moveTo>
                  <a:cubicBezTo>
                    <a:pt x="224" y="739"/>
                    <a:pt x="215" y="744"/>
                    <a:pt x="210" y="749"/>
                  </a:cubicBezTo>
                  <a:cubicBezTo>
                    <a:pt x="206" y="755"/>
                    <a:pt x="208" y="760"/>
                    <a:pt x="216" y="760"/>
                  </a:cubicBezTo>
                  <a:cubicBezTo>
                    <a:pt x="223" y="760"/>
                    <a:pt x="233" y="755"/>
                    <a:pt x="237" y="749"/>
                  </a:cubicBezTo>
                  <a:cubicBezTo>
                    <a:pt x="242" y="744"/>
                    <a:pt x="239" y="739"/>
                    <a:pt x="232" y="739"/>
                  </a:cubicBezTo>
                  <a:cubicBezTo>
                    <a:pt x="232" y="739"/>
                    <a:pt x="232" y="739"/>
                    <a:pt x="232" y="739"/>
                  </a:cubicBezTo>
                  <a:moveTo>
                    <a:pt x="37" y="739"/>
                  </a:moveTo>
                  <a:cubicBezTo>
                    <a:pt x="29" y="739"/>
                    <a:pt x="19" y="744"/>
                    <a:pt x="14" y="749"/>
                  </a:cubicBezTo>
                  <a:cubicBezTo>
                    <a:pt x="10" y="755"/>
                    <a:pt x="12" y="760"/>
                    <a:pt x="19" y="759"/>
                  </a:cubicBezTo>
                  <a:cubicBezTo>
                    <a:pt x="27" y="759"/>
                    <a:pt x="37" y="755"/>
                    <a:pt x="41" y="749"/>
                  </a:cubicBezTo>
                  <a:cubicBezTo>
                    <a:pt x="46" y="744"/>
                    <a:pt x="44" y="739"/>
                    <a:pt x="37" y="739"/>
                  </a:cubicBezTo>
                  <a:cubicBezTo>
                    <a:pt x="37" y="739"/>
                    <a:pt x="37" y="739"/>
                    <a:pt x="37" y="739"/>
                  </a:cubicBezTo>
                  <a:moveTo>
                    <a:pt x="115" y="739"/>
                  </a:moveTo>
                  <a:cubicBezTo>
                    <a:pt x="108" y="739"/>
                    <a:pt x="98" y="743"/>
                    <a:pt x="93" y="749"/>
                  </a:cubicBezTo>
                  <a:cubicBezTo>
                    <a:pt x="89" y="755"/>
                    <a:pt x="91" y="759"/>
                    <a:pt x="98" y="759"/>
                  </a:cubicBezTo>
                  <a:cubicBezTo>
                    <a:pt x="106" y="759"/>
                    <a:pt x="116" y="754"/>
                    <a:pt x="120" y="749"/>
                  </a:cubicBezTo>
                  <a:cubicBezTo>
                    <a:pt x="125" y="743"/>
                    <a:pt x="123" y="739"/>
                    <a:pt x="115" y="739"/>
                  </a:cubicBezTo>
                  <a:cubicBezTo>
                    <a:pt x="115" y="739"/>
                    <a:pt x="115" y="739"/>
                    <a:pt x="115" y="739"/>
                  </a:cubicBezTo>
                  <a:moveTo>
                    <a:pt x="311" y="738"/>
                  </a:moveTo>
                  <a:cubicBezTo>
                    <a:pt x="303" y="738"/>
                    <a:pt x="294" y="742"/>
                    <a:pt x="290" y="748"/>
                  </a:cubicBezTo>
                  <a:cubicBezTo>
                    <a:pt x="285" y="754"/>
                    <a:pt x="288" y="758"/>
                    <a:pt x="296" y="758"/>
                  </a:cubicBezTo>
                  <a:cubicBezTo>
                    <a:pt x="303" y="758"/>
                    <a:pt x="313" y="754"/>
                    <a:pt x="317" y="748"/>
                  </a:cubicBezTo>
                  <a:cubicBezTo>
                    <a:pt x="321" y="742"/>
                    <a:pt x="318" y="738"/>
                    <a:pt x="311" y="738"/>
                  </a:cubicBezTo>
                  <a:cubicBezTo>
                    <a:pt x="311" y="738"/>
                    <a:pt x="311" y="738"/>
                    <a:pt x="311" y="738"/>
                  </a:cubicBezTo>
                  <a:moveTo>
                    <a:pt x="273" y="737"/>
                  </a:moveTo>
                  <a:cubicBezTo>
                    <a:pt x="265" y="737"/>
                    <a:pt x="256" y="742"/>
                    <a:pt x="252" y="748"/>
                  </a:cubicBezTo>
                  <a:cubicBezTo>
                    <a:pt x="247" y="753"/>
                    <a:pt x="250" y="758"/>
                    <a:pt x="257" y="758"/>
                  </a:cubicBezTo>
                  <a:cubicBezTo>
                    <a:pt x="265" y="758"/>
                    <a:pt x="274" y="753"/>
                    <a:pt x="279" y="748"/>
                  </a:cubicBezTo>
                  <a:cubicBezTo>
                    <a:pt x="283" y="742"/>
                    <a:pt x="280" y="737"/>
                    <a:pt x="273" y="737"/>
                  </a:cubicBezTo>
                  <a:cubicBezTo>
                    <a:pt x="273" y="737"/>
                    <a:pt x="273" y="737"/>
                    <a:pt x="273" y="737"/>
                  </a:cubicBezTo>
                  <a:moveTo>
                    <a:pt x="582" y="736"/>
                  </a:moveTo>
                  <a:cubicBezTo>
                    <a:pt x="574" y="737"/>
                    <a:pt x="565" y="741"/>
                    <a:pt x="561" y="747"/>
                  </a:cubicBezTo>
                  <a:cubicBezTo>
                    <a:pt x="558" y="752"/>
                    <a:pt x="561" y="757"/>
                    <a:pt x="568" y="757"/>
                  </a:cubicBezTo>
                  <a:cubicBezTo>
                    <a:pt x="576" y="757"/>
                    <a:pt x="585" y="752"/>
                    <a:pt x="589" y="747"/>
                  </a:cubicBezTo>
                  <a:cubicBezTo>
                    <a:pt x="592" y="741"/>
                    <a:pt x="589" y="736"/>
                    <a:pt x="582" y="736"/>
                  </a:cubicBezTo>
                  <a:cubicBezTo>
                    <a:pt x="582" y="736"/>
                    <a:pt x="582" y="736"/>
                    <a:pt x="582" y="736"/>
                  </a:cubicBezTo>
                  <a:moveTo>
                    <a:pt x="157" y="736"/>
                  </a:moveTo>
                  <a:cubicBezTo>
                    <a:pt x="150" y="736"/>
                    <a:pt x="140" y="741"/>
                    <a:pt x="136" y="746"/>
                  </a:cubicBezTo>
                  <a:cubicBezTo>
                    <a:pt x="131" y="752"/>
                    <a:pt x="134" y="756"/>
                    <a:pt x="141" y="756"/>
                  </a:cubicBezTo>
                  <a:cubicBezTo>
                    <a:pt x="149" y="756"/>
                    <a:pt x="158" y="752"/>
                    <a:pt x="163" y="746"/>
                  </a:cubicBezTo>
                  <a:cubicBezTo>
                    <a:pt x="167" y="741"/>
                    <a:pt x="165" y="736"/>
                    <a:pt x="158" y="736"/>
                  </a:cubicBezTo>
                  <a:cubicBezTo>
                    <a:pt x="158" y="736"/>
                    <a:pt x="158" y="736"/>
                    <a:pt x="157" y="736"/>
                  </a:cubicBezTo>
                  <a:moveTo>
                    <a:pt x="196" y="736"/>
                  </a:moveTo>
                  <a:cubicBezTo>
                    <a:pt x="188" y="736"/>
                    <a:pt x="179" y="741"/>
                    <a:pt x="174" y="746"/>
                  </a:cubicBezTo>
                  <a:cubicBezTo>
                    <a:pt x="170" y="752"/>
                    <a:pt x="172" y="756"/>
                    <a:pt x="180" y="756"/>
                  </a:cubicBezTo>
                  <a:cubicBezTo>
                    <a:pt x="187" y="756"/>
                    <a:pt x="197" y="752"/>
                    <a:pt x="201" y="746"/>
                  </a:cubicBezTo>
                  <a:cubicBezTo>
                    <a:pt x="206" y="741"/>
                    <a:pt x="203" y="736"/>
                    <a:pt x="196" y="736"/>
                  </a:cubicBezTo>
                  <a:cubicBezTo>
                    <a:pt x="196" y="736"/>
                    <a:pt x="196" y="736"/>
                    <a:pt x="196" y="736"/>
                  </a:cubicBezTo>
                  <a:moveTo>
                    <a:pt x="1775" y="729"/>
                  </a:moveTo>
                  <a:cubicBezTo>
                    <a:pt x="1768" y="729"/>
                    <a:pt x="1760" y="733"/>
                    <a:pt x="1759" y="739"/>
                  </a:cubicBezTo>
                  <a:cubicBezTo>
                    <a:pt x="1758" y="744"/>
                    <a:pt x="1763" y="749"/>
                    <a:pt x="1770" y="749"/>
                  </a:cubicBezTo>
                  <a:cubicBezTo>
                    <a:pt x="1778" y="749"/>
                    <a:pt x="1785" y="744"/>
                    <a:pt x="1786" y="739"/>
                  </a:cubicBezTo>
                  <a:cubicBezTo>
                    <a:pt x="1787" y="733"/>
                    <a:pt x="1783" y="729"/>
                    <a:pt x="1775" y="729"/>
                  </a:cubicBezTo>
                  <a:cubicBezTo>
                    <a:pt x="1775" y="729"/>
                    <a:pt x="1775" y="729"/>
                    <a:pt x="1775" y="729"/>
                  </a:cubicBezTo>
                  <a:moveTo>
                    <a:pt x="1813" y="728"/>
                  </a:moveTo>
                  <a:cubicBezTo>
                    <a:pt x="1806" y="728"/>
                    <a:pt x="1799" y="733"/>
                    <a:pt x="1797" y="739"/>
                  </a:cubicBezTo>
                  <a:cubicBezTo>
                    <a:pt x="1796" y="744"/>
                    <a:pt x="1801" y="749"/>
                    <a:pt x="1809" y="749"/>
                  </a:cubicBezTo>
                  <a:cubicBezTo>
                    <a:pt x="1816" y="749"/>
                    <a:pt x="1823" y="744"/>
                    <a:pt x="1824" y="739"/>
                  </a:cubicBezTo>
                  <a:cubicBezTo>
                    <a:pt x="1826" y="733"/>
                    <a:pt x="1821" y="728"/>
                    <a:pt x="1813" y="728"/>
                  </a:cubicBezTo>
                  <a:cubicBezTo>
                    <a:pt x="1813" y="728"/>
                    <a:pt x="1813" y="728"/>
                    <a:pt x="1813" y="728"/>
                  </a:cubicBezTo>
                  <a:moveTo>
                    <a:pt x="1852" y="728"/>
                  </a:moveTo>
                  <a:cubicBezTo>
                    <a:pt x="1844" y="728"/>
                    <a:pt x="1837" y="733"/>
                    <a:pt x="1836" y="738"/>
                  </a:cubicBezTo>
                  <a:cubicBezTo>
                    <a:pt x="1835" y="744"/>
                    <a:pt x="1840" y="749"/>
                    <a:pt x="1847" y="749"/>
                  </a:cubicBezTo>
                  <a:cubicBezTo>
                    <a:pt x="1855" y="749"/>
                    <a:pt x="1862" y="744"/>
                    <a:pt x="1863" y="738"/>
                  </a:cubicBezTo>
                  <a:cubicBezTo>
                    <a:pt x="1864" y="733"/>
                    <a:pt x="1859" y="728"/>
                    <a:pt x="1852" y="728"/>
                  </a:cubicBezTo>
                  <a:cubicBezTo>
                    <a:pt x="1852" y="728"/>
                    <a:pt x="1852" y="728"/>
                    <a:pt x="1852" y="728"/>
                  </a:cubicBezTo>
                  <a:moveTo>
                    <a:pt x="1891" y="728"/>
                  </a:moveTo>
                  <a:cubicBezTo>
                    <a:pt x="1883" y="728"/>
                    <a:pt x="1876" y="733"/>
                    <a:pt x="1875" y="738"/>
                  </a:cubicBezTo>
                  <a:cubicBezTo>
                    <a:pt x="1874" y="744"/>
                    <a:pt x="1879" y="748"/>
                    <a:pt x="1887" y="748"/>
                  </a:cubicBezTo>
                  <a:cubicBezTo>
                    <a:pt x="1894" y="748"/>
                    <a:pt x="1901" y="744"/>
                    <a:pt x="1902" y="738"/>
                  </a:cubicBezTo>
                  <a:cubicBezTo>
                    <a:pt x="1903" y="733"/>
                    <a:pt x="1898" y="728"/>
                    <a:pt x="1891" y="728"/>
                  </a:cubicBezTo>
                  <a:cubicBezTo>
                    <a:pt x="1891" y="728"/>
                    <a:pt x="1891" y="728"/>
                    <a:pt x="1891" y="728"/>
                  </a:cubicBezTo>
                  <a:moveTo>
                    <a:pt x="1929" y="728"/>
                  </a:moveTo>
                  <a:cubicBezTo>
                    <a:pt x="1922" y="728"/>
                    <a:pt x="1915" y="732"/>
                    <a:pt x="1914" y="738"/>
                  </a:cubicBezTo>
                  <a:cubicBezTo>
                    <a:pt x="1912" y="744"/>
                    <a:pt x="1918" y="748"/>
                    <a:pt x="1925" y="748"/>
                  </a:cubicBezTo>
                  <a:cubicBezTo>
                    <a:pt x="1933" y="748"/>
                    <a:pt x="1940" y="744"/>
                    <a:pt x="1941" y="738"/>
                  </a:cubicBezTo>
                  <a:cubicBezTo>
                    <a:pt x="1942" y="732"/>
                    <a:pt x="1937" y="728"/>
                    <a:pt x="1929" y="728"/>
                  </a:cubicBezTo>
                  <a:cubicBezTo>
                    <a:pt x="1929" y="728"/>
                    <a:pt x="1929" y="728"/>
                    <a:pt x="1929" y="728"/>
                  </a:cubicBezTo>
                  <a:moveTo>
                    <a:pt x="1968" y="728"/>
                  </a:moveTo>
                  <a:cubicBezTo>
                    <a:pt x="1960" y="728"/>
                    <a:pt x="1953" y="732"/>
                    <a:pt x="1952" y="738"/>
                  </a:cubicBezTo>
                  <a:cubicBezTo>
                    <a:pt x="1951" y="744"/>
                    <a:pt x="1956" y="748"/>
                    <a:pt x="1964" y="748"/>
                  </a:cubicBezTo>
                  <a:cubicBezTo>
                    <a:pt x="1971" y="748"/>
                    <a:pt x="1978" y="743"/>
                    <a:pt x="1979" y="738"/>
                  </a:cubicBezTo>
                  <a:cubicBezTo>
                    <a:pt x="1980" y="732"/>
                    <a:pt x="1975" y="728"/>
                    <a:pt x="1968" y="728"/>
                  </a:cubicBezTo>
                  <a:cubicBezTo>
                    <a:pt x="1968" y="728"/>
                    <a:pt x="1968" y="728"/>
                    <a:pt x="1968" y="728"/>
                  </a:cubicBezTo>
                  <a:moveTo>
                    <a:pt x="2006" y="727"/>
                  </a:moveTo>
                  <a:cubicBezTo>
                    <a:pt x="1998" y="727"/>
                    <a:pt x="1992" y="732"/>
                    <a:pt x="1991" y="738"/>
                  </a:cubicBezTo>
                  <a:cubicBezTo>
                    <a:pt x="1990" y="743"/>
                    <a:pt x="1995" y="748"/>
                    <a:pt x="2002" y="748"/>
                  </a:cubicBezTo>
                  <a:cubicBezTo>
                    <a:pt x="2010" y="748"/>
                    <a:pt x="2017" y="743"/>
                    <a:pt x="2018" y="738"/>
                  </a:cubicBezTo>
                  <a:cubicBezTo>
                    <a:pt x="2019" y="732"/>
                    <a:pt x="2013" y="727"/>
                    <a:pt x="2006" y="727"/>
                  </a:cubicBezTo>
                  <a:cubicBezTo>
                    <a:pt x="2006" y="727"/>
                    <a:pt x="2006" y="727"/>
                    <a:pt x="2006" y="727"/>
                  </a:cubicBezTo>
                  <a:moveTo>
                    <a:pt x="2044" y="727"/>
                  </a:moveTo>
                  <a:cubicBezTo>
                    <a:pt x="2037" y="727"/>
                    <a:pt x="2030" y="732"/>
                    <a:pt x="2029" y="737"/>
                  </a:cubicBezTo>
                  <a:cubicBezTo>
                    <a:pt x="2028" y="743"/>
                    <a:pt x="2034" y="748"/>
                    <a:pt x="2041" y="748"/>
                  </a:cubicBezTo>
                  <a:cubicBezTo>
                    <a:pt x="2049" y="748"/>
                    <a:pt x="2056" y="743"/>
                    <a:pt x="2056" y="737"/>
                  </a:cubicBezTo>
                  <a:cubicBezTo>
                    <a:pt x="2057" y="732"/>
                    <a:pt x="2052" y="727"/>
                    <a:pt x="2045" y="727"/>
                  </a:cubicBezTo>
                  <a:cubicBezTo>
                    <a:pt x="2044" y="727"/>
                    <a:pt x="2044" y="727"/>
                    <a:pt x="2044" y="727"/>
                  </a:cubicBezTo>
                  <a:moveTo>
                    <a:pt x="2084" y="727"/>
                  </a:moveTo>
                  <a:cubicBezTo>
                    <a:pt x="2077" y="727"/>
                    <a:pt x="2070" y="732"/>
                    <a:pt x="2069" y="737"/>
                  </a:cubicBezTo>
                  <a:cubicBezTo>
                    <a:pt x="2068" y="743"/>
                    <a:pt x="2074" y="747"/>
                    <a:pt x="2081" y="747"/>
                  </a:cubicBezTo>
                  <a:cubicBezTo>
                    <a:pt x="2089" y="747"/>
                    <a:pt x="2095" y="743"/>
                    <a:pt x="2096" y="737"/>
                  </a:cubicBezTo>
                  <a:cubicBezTo>
                    <a:pt x="2097" y="732"/>
                    <a:pt x="2092" y="727"/>
                    <a:pt x="2084" y="727"/>
                  </a:cubicBezTo>
                  <a:cubicBezTo>
                    <a:pt x="2084" y="727"/>
                    <a:pt x="2084" y="727"/>
                    <a:pt x="2084" y="727"/>
                  </a:cubicBezTo>
                  <a:moveTo>
                    <a:pt x="2122" y="727"/>
                  </a:moveTo>
                  <a:cubicBezTo>
                    <a:pt x="2115" y="727"/>
                    <a:pt x="2108" y="731"/>
                    <a:pt x="2108" y="737"/>
                  </a:cubicBezTo>
                  <a:cubicBezTo>
                    <a:pt x="2107" y="743"/>
                    <a:pt x="2112" y="747"/>
                    <a:pt x="2120" y="747"/>
                  </a:cubicBezTo>
                  <a:cubicBezTo>
                    <a:pt x="2127" y="747"/>
                    <a:pt x="2134" y="743"/>
                    <a:pt x="2135" y="737"/>
                  </a:cubicBezTo>
                  <a:cubicBezTo>
                    <a:pt x="2135" y="731"/>
                    <a:pt x="2130" y="727"/>
                    <a:pt x="2122" y="727"/>
                  </a:cubicBezTo>
                  <a:cubicBezTo>
                    <a:pt x="2122" y="727"/>
                    <a:pt x="2122" y="727"/>
                    <a:pt x="2122" y="727"/>
                  </a:cubicBezTo>
                  <a:moveTo>
                    <a:pt x="2161" y="727"/>
                  </a:moveTo>
                  <a:cubicBezTo>
                    <a:pt x="2154" y="727"/>
                    <a:pt x="2147" y="731"/>
                    <a:pt x="2146" y="737"/>
                  </a:cubicBezTo>
                  <a:cubicBezTo>
                    <a:pt x="2146" y="743"/>
                    <a:pt x="2151" y="747"/>
                    <a:pt x="2159" y="747"/>
                  </a:cubicBezTo>
                  <a:cubicBezTo>
                    <a:pt x="2166" y="747"/>
                    <a:pt x="2173" y="742"/>
                    <a:pt x="2173" y="737"/>
                  </a:cubicBezTo>
                  <a:cubicBezTo>
                    <a:pt x="2174" y="731"/>
                    <a:pt x="2168" y="727"/>
                    <a:pt x="2161" y="727"/>
                  </a:cubicBezTo>
                  <a:cubicBezTo>
                    <a:pt x="2161" y="727"/>
                    <a:pt x="2161" y="727"/>
                    <a:pt x="2161" y="727"/>
                  </a:cubicBezTo>
                  <a:moveTo>
                    <a:pt x="2200" y="726"/>
                  </a:moveTo>
                  <a:cubicBezTo>
                    <a:pt x="2192" y="726"/>
                    <a:pt x="2186" y="731"/>
                    <a:pt x="2185" y="737"/>
                  </a:cubicBezTo>
                  <a:cubicBezTo>
                    <a:pt x="2185" y="742"/>
                    <a:pt x="2190" y="747"/>
                    <a:pt x="2198" y="747"/>
                  </a:cubicBezTo>
                  <a:cubicBezTo>
                    <a:pt x="2205" y="747"/>
                    <a:pt x="2212" y="742"/>
                    <a:pt x="2212" y="737"/>
                  </a:cubicBezTo>
                  <a:cubicBezTo>
                    <a:pt x="2213" y="731"/>
                    <a:pt x="2207" y="726"/>
                    <a:pt x="2200" y="726"/>
                  </a:cubicBezTo>
                  <a:cubicBezTo>
                    <a:pt x="2200" y="726"/>
                    <a:pt x="2200" y="726"/>
                    <a:pt x="2200" y="726"/>
                  </a:cubicBezTo>
                  <a:moveTo>
                    <a:pt x="2238" y="726"/>
                  </a:moveTo>
                  <a:cubicBezTo>
                    <a:pt x="2231" y="726"/>
                    <a:pt x="2224" y="731"/>
                    <a:pt x="2224" y="736"/>
                  </a:cubicBezTo>
                  <a:cubicBezTo>
                    <a:pt x="2223" y="742"/>
                    <a:pt x="2229" y="747"/>
                    <a:pt x="2236" y="747"/>
                  </a:cubicBezTo>
                  <a:cubicBezTo>
                    <a:pt x="2244" y="747"/>
                    <a:pt x="2250" y="742"/>
                    <a:pt x="2251" y="736"/>
                  </a:cubicBezTo>
                  <a:cubicBezTo>
                    <a:pt x="2251" y="731"/>
                    <a:pt x="2246" y="726"/>
                    <a:pt x="2238" y="726"/>
                  </a:cubicBezTo>
                  <a:cubicBezTo>
                    <a:pt x="2238" y="726"/>
                    <a:pt x="2238" y="726"/>
                    <a:pt x="2238" y="726"/>
                  </a:cubicBezTo>
                  <a:moveTo>
                    <a:pt x="2277" y="726"/>
                  </a:moveTo>
                  <a:cubicBezTo>
                    <a:pt x="2269" y="726"/>
                    <a:pt x="2263" y="731"/>
                    <a:pt x="2262" y="736"/>
                  </a:cubicBezTo>
                  <a:cubicBezTo>
                    <a:pt x="2262" y="742"/>
                    <a:pt x="2268" y="746"/>
                    <a:pt x="2275" y="746"/>
                  </a:cubicBezTo>
                  <a:cubicBezTo>
                    <a:pt x="2283" y="746"/>
                    <a:pt x="2289" y="742"/>
                    <a:pt x="2289" y="736"/>
                  </a:cubicBezTo>
                  <a:cubicBezTo>
                    <a:pt x="2290" y="731"/>
                    <a:pt x="2284" y="726"/>
                    <a:pt x="2277" y="726"/>
                  </a:cubicBezTo>
                  <a:cubicBezTo>
                    <a:pt x="2277" y="726"/>
                    <a:pt x="2277" y="726"/>
                    <a:pt x="2277" y="726"/>
                  </a:cubicBezTo>
                  <a:moveTo>
                    <a:pt x="2315" y="726"/>
                  </a:moveTo>
                  <a:cubicBezTo>
                    <a:pt x="2307" y="726"/>
                    <a:pt x="2301" y="730"/>
                    <a:pt x="2301" y="736"/>
                  </a:cubicBezTo>
                  <a:cubicBezTo>
                    <a:pt x="2300" y="742"/>
                    <a:pt x="2306" y="746"/>
                    <a:pt x="2314" y="746"/>
                  </a:cubicBezTo>
                  <a:cubicBezTo>
                    <a:pt x="2321" y="746"/>
                    <a:pt x="2327" y="742"/>
                    <a:pt x="2328" y="736"/>
                  </a:cubicBezTo>
                  <a:cubicBezTo>
                    <a:pt x="2328" y="730"/>
                    <a:pt x="2322" y="726"/>
                    <a:pt x="2315" y="726"/>
                  </a:cubicBezTo>
                  <a:cubicBezTo>
                    <a:pt x="2315" y="726"/>
                    <a:pt x="2315" y="726"/>
                    <a:pt x="2315" y="726"/>
                  </a:cubicBezTo>
                  <a:moveTo>
                    <a:pt x="2815" y="726"/>
                  </a:moveTo>
                  <a:cubicBezTo>
                    <a:pt x="2808" y="726"/>
                    <a:pt x="2803" y="730"/>
                    <a:pt x="2803" y="736"/>
                  </a:cubicBezTo>
                  <a:cubicBezTo>
                    <a:pt x="2804" y="742"/>
                    <a:pt x="2810" y="746"/>
                    <a:pt x="2818" y="746"/>
                  </a:cubicBezTo>
                  <a:cubicBezTo>
                    <a:pt x="2825" y="746"/>
                    <a:pt x="2831" y="741"/>
                    <a:pt x="2830" y="736"/>
                  </a:cubicBezTo>
                  <a:cubicBezTo>
                    <a:pt x="2829" y="730"/>
                    <a:pt x="2823" y="726"/>
                    <a:pt x="2816" y="726"/>
                  </a:cubicBezTo>
                  <a:cubicBezTo>
                    <a:pt x="2816" y="726"/>
                    <a:pt x="2816" y="726"/>
                    <a:pt x="2815" y="726"/>
                  </a:cubicBezTo>
                  <a:moveTo>
                    <a:pt x="2353" y="726"/>
                  </a:moveTo>
                  <a:cubicBezTo>
                    <a:pt x="2346" y="726"/>
                    <a:pt x="2340" y="730"/>
                    <a:pt x="2339" y="736"/>
                  </a:cubicBezTo>
                  <a:cubicBezTo>
                    <a:pt x="2339" y="742"/>
                    <a:pt x="2345" y="746"/>
                    <a:pt x="2352" y="746"/>
                  </a:cubicBezTo>
                  <a:cubicBezTo>
                    <a:pt x="2360" y="746"/>
                    <a:pt x="2366" y="741"/>
                    <a:pt x="2366" y="736"/>
                  </a:cubicBezTo>
                  <a:cubicBezTo>
                    <a:pt x="2367" y="730"/>
                    <a:pt x="2361" y="726"/>
                    <a:pt x="2353" y="726"/>
                  </a:cubicBezTo>
                  <a:cubicBezTo>
                    <a:pt x="2353" y="726"/>
                    <a:pt x="2353" y="726"/>
                    <a:pt x="2353" y="726"/>
                  </a:cubicBezTo>
                  <a:moveTo>
                    <a:pt x="2392" y="725"/>
                  </a:moveTo>
                  <a:cubicBezTo>
                    <a:pt x="2385" y="725"/>
                    <a:pt x="2379" y="730"/>
                    <a:pt x="2378" y="736"/>
                  </a:cubicBezTo>
                  <a:cubicBezTo>
                    <a:pt x="2378" y="741"/>
                    <a:pt x="2384" y="746"/>
                    <a:pt x="2392" y="746"/>
                  </a:cubicBezTo>
                  <a:cubicBezTo>
                    <a:pt x="2399" y="746"/>
                    <a:pt x="2405" y="741"/>
                    <a:pt x="2405" y="736"/>
                  </a:cubicBezTo>
                  <a:cubicBezTo>
                    <a:pt x="2406" y="730"/>
                    <a:pt x="2400" y="725"/>
                    <a:pt x="2392" y="725"/>
                  </a:cubicBezTo>
                  <a:cubicBezTo>
                    <a:pt x="2392" y="725"/>
                    <a:pt x="2392" y="725"/>
                    <a:pt x="2392" y="725"/>
                  </a:cubicBezTo>
                  <a:moveTo>
                    <a:pt x="2430" y="725"/>
                  </a:moveTo>
                  <a:cubicBezTo>
                    <a:pt x="2423" y="725"/>
                    <a:pt x="2417" y="730"/>
                    <a:pt x="2417" y="736"/>
                  </a:cubicBezTo>
                  <a:cubicBezTo>
                    <a:pt x="2417" y="741"/>
                    <a:pt x="2423" y="746"/>
                    <a:pt x="2430" y="746"/>
                  </a:cubicBezTo>
                  <a:cubicBezTo>
                    <a:pt x="2438" y="746"/>
                    <a:pt x="2444" y="741"/>
                    <a:pt x="2444" y="735"/>
                  </a:cubicBezTo>
                  <a:cubicBezTo>
                    <a:pt x="2444" y="730"/>
                    <a:pt x="2438" y="725"/>
                    <a:pt x="2431" y="725"/>
                  </a:cubicBezTo>
                  <a:cubicBezTo>
                    <a:pt x="2431" y="725"/>
                    <a:pt x="2431" y="725"/>
                    <a:pt x="2430" y="725"/>
                  </a:cubicBezTo>
                  <a:moveTo>
                    <a:pt x="2469" y="725"/>
                  </a:moveTo>
                  <a:cubicBezTo>
                    <a:pt x="2461" y="725"/>
                    <a:pt x="2455" y="730"/>
                    <a:pt x="2455" y="735"/>
                  </a:cubicBezTo>
                  <a:cubicBezTo>
                    <a:pt x="2455" y="741"/>
                    <a:pt x="2461" y="746"/>
                    <a:pt x="2469" y="745"/>
                  </a:cubicBezTo>
                  <a:cubicBezTo>
                    <a:pt x="2476" y="745"/>
                    <a:pt x="2482" y="741"/>
                    <a:pt x="2482" y="735"/>
                  </a:cubicBezTo>
                  <a:cubicBezTo>
                    <a:pt x="2482" y="730"/>
                    <a:pt x="2476" y="725"/>
                    <a:pt x="2469" y="725"/>
                  </a:cubicBezTo>
                  <a:cubicBezTo>
                    <a:pt x="2469" y="725"/>
                    <a:pt x="2469" y="725"/>
                    <a:pt x="2469" y="725"/>
                  </a:cubicBezTo>
                  <a:moveTo>
                    <a:pt x="2507" y="725"/>
                  </a:moveTo>
                  <a:cubicBezTo>
                    <a:pt x="2500" y="725"/>
                    <a:pt x="2494" y="729"/>
                    <a:pt x="2494" y="735"/>
                  </a:cubicBezTo>
                  <a:cubicBezTo>
                    <a:pt x="2494" y="741"/>
                    <a:pt x="2500" y="745"/>
                    <a:pt x="2507" y="745"/>
                  </a:cubicBezTo>
                  <a:cubicBezTo>
                    <a:pt x="2515" y="745"/>
                    <a:pt x="2521" y="741"/>
                    <a:pt x="2521" y="735"/>
                  </a:cubicBezTo>
                  <a:cubicBezTo>
                    <a:pt x="2521" y="729"/>
                    <a:pt x="2515" y="725"/>
                    <a:pt x="2507" y="725"/>
                  </a:cubicBezTo>
                  <a:cubicBezTo>
                    <a:pt x="2507" y="725"/>
                    <a:pt x="2507" y="725"/>
                    <a:pt x="2507" y="725"/>
                  </a:cubicBezTo>
                  <a:moveTo>
                    <a:pt x="2546" y="725"/>
                  </a:moveTo>
                  <a:cubicBezTo>
                    <a:pt x="2538" y="725"/>
                    <a:pt x="2532" y="729"/>
                    <a:pt x="2532" y="735"/>
                  </a:cubicBezTo>
                  <a:cubicBezTo>
                    <a:pt x="2533" y="741"/>
                    <a:pt x="2539" y="745"/>
                    <a:pt x="2546" y="745"/>
                  </a:cubicBezTo>
                  <a:cubicBezTo>
                    <a:pt x="2554" y="745"/>
                    <a:pt x="2560" y="740"/>
                    <a:pt x="2559" y="735"/>
                  </a:cubicBezTo>
                  <a:cubicBezTo>
                    <a:pt x="2559" y="729"/>
                    <a:pt x="2553" y="725"/>
                    <a:pt x="2546" y="725"/>
                  </a:cubicBezTo>
                  <a:cubicBezTo>
                    <a:pt x="2546" y="725"/>
                    <a:pt x="2546" y="725"/>
                    <a:pt x="2546" y="725"/>
                  </a:cubicBezTo>
                  <a:moveTo>
                    <a:pt x="2622" y="724"/>
                  </a:moveTo>
                  <a:cubicBezTo>
                    <a:pt x="2615" y="724"/>
                    <a:pt x="2609" y="729"/>
                    <a:pt x="2609" y="735"/>
                  </a:cubicBezTo>
                  <a:cubicBezTo>
                    <a:pt x="2609" y="740"/>
                    <a:pt x="2616" y="745"/>
                    <a:pt x="2623" y="745"/>
                  </a:cubicBezTo>
                  <a:cubicBezTo>
                    <a:pt x="2631" y="745"/>
                    <a:pt x="2636" y="740"/>
                    <a:pt x="2636" y="735"/>
                  </a:cubicBezTo>
                  <a:cubicBezTo>
                    <a:pt x="2636" y="729"/>
                    <a:pt x="2630" y="724"/>
                    <a:pt x="2622" y="724"/>
                  </a:cubicBezTo>
                  <a:cubicBezTo>
                    <a:pt x="2622" y="724"/>
                    <a:pt x="2622" y="724"/>
                    <a:pt x="2622" y="724"/>
                  </a:cubicBezTo>
                  <a:moveTo>
                    <a:pt x="2662" y="724"/>
                  </a:moveTo>
                  <a:cubicBezTo>
                    <a:pt x="2655" y="724"/>
                    <a:pt x="2649" y="729"/>
                    <a:pt x="2649" y="735"/>
                  </a:cubicBezTo>
                  <a:cubicBezTo>
                    <a:pt x="2650" y="740"/>
                    <a:pt x="2656" y="745"/>
                    <a:pt x="2663" y="745"/>
                  </a:cubicBezTo>
                  <a:cubicBezTo>
                    <a:pt x="2671" y="745"/>
                    <a:pt x="2677" y="740"/>
                    <a:pt x="2676" y="734"/>
                  </a:cubicBezTo>
                  <a:cubicBezTo>
                    <a:pt x="2676" y="729"/>
                    <a:pt x="2670" y="724"/>
                    <a:pt x="2662" y="724"/>
                  </a:cubicBezTo>
                  <a:cubicBezTo>
                    <a:pt x="2662" y="724"/>
                    <a:pt x="2662" y="724"/>
                    <a:pt x="2662" y="724"/>
                  </a:cubicBezTo>
                  <a:moveTo>
                    <a:pt x="2700" y="724"/>
                  </a:moveTo>
                  <a:cubicBezTo>
                    <a:pt x="2693" y="724"/>
                    <a:pt x="2687" y="729"/>
                    <a:pt x="2687" y="734"/>
                  </a:cubicBezTo>
                  <a:cubicBezTo>
                    <a:pt x="2688" y="740"/>
                    <a:pt x="2694" y="745"/>
                    <a:pt x="2702" y="745"/>
                  </a:cubicBezTo>
                  <a:cubicBezTo>
                    <a:pt x="2709" y="744"/>
                    <a:pt x="2715" y="740"/>
                    <a:pt x="2714" y="734"/>
                  </a:cubicBezTo>
                  <a:cubicBezTo>
                    <a:pt x="2714" y="729"/>
                    <a:pt x="2708" y="724"/>
                    <a:pt x="2700" y="724"/>
                  </a:cubicBezTo>
                  <a:cubicBezTo>
                    <a:pt x="2700" y="724"/>
                    <a:pt x="2700" y="724"/>
                    <a:pt x="2700" y="724"/>
                  </a:cubicBezTo>
                  <a:moveTo>
                    <a:pt x="2738" y="724"/>
                  </a:moveTo>
                  <a:cubicBezTo>
                    <a:pt x="2731" y="724"/>
                    <a:pt x="2725" y="729"/>
                    <a:pt x="2726" y="734"/>
                  </a:cubicBezTo>
                  <a:cubicBezTo>
                    <a:pt x="2726" y="740"/>
                    <a:pt x="2733" y="744"/>
                    <a:pt x="2740" y="744"/>
                  </a:cubicBezTo>
                  <a:cubicBezTo>
                    <a:pt x="2748" y="744"/>
                    <a:pt x="2753" y="740"/>
                    <a:pt x="2753" y="734"/>
                  </a:cubicBezTo>
                  <a:cubicBezTo>
                    <a:pt x="2752" y="728"/>
                    <a:pt x="2746" y="724"/>
                    <a:pt x="2738" y="724"/>
                  </a:cubicBezTo>
                  <a:cubicBezTo>
                    <a:pt x="2738" y="724"/>
                    <a:pt x="2738" y="724"/>
                    <a:pt x="2738" y="724"/>
                  </a:cubicBezTo>
                  <a:moveTo>
                    <a:pt x="2777" y="723"/>
                  </a:moveTo>
                  <a:cubicBezTo>
                    <a:pt x="2769" y="723"/>
                    <a:pt x="2764" y="728"/>
                    <a:pt x="2764" y="734"/>
                  </a:cubicBezTo>
                  <a:cubicBezTo>
                    <a:pt x="2765" y="739"/>
                    <a:pt x="2771" y="744"/>
                    <a:pt x="2779" y="744"/>
                  </a:cubicBezTo>
                  <a:cubicBezTo>
                    <a:pt x="2786" y="744"/>
                    <a:pt x="2792" y="739"/>
                    <a:pt x="2791" y="733"/>
                  </a:cubicBezTo>
                  <a:cubicBezTo>
                    <a:pt x="2791" y="728"/>
                    <a:pt x="2784" y="723"/>
                    <a:pt x="2777" y="723"/>
                  </a:cubicBezTo>
                  <a:cubicBezTo>
                    <a:pt x="2777" y="723"/>
                    <a:pt x="2777" y="723"/>
                    <a:pt x="2777" y="723"/>
                  </a:cubicBezTo>
                  <a:moveTo>
                    <a:pt x="2890" y="723"/>
                  </a:moveTo>
                  <a:cubicBezTo>
                    <a:pt x="2882" y="723"/>
                    <a:pt x="2877" y="728"/>
                    <a:pt x="2878" y="733"/>
                  </a:cubicBezTo>
                  <a:cubicBezTo>
                    <a:pt x="2878" y="739"/>
                    <a:pt x="2885" y="744"/>
                    <a:pt x="2892" y="744"/>
                  </a:cubicBezTo>
                  <a:cubicBezTo>
                    <a:pt x="2900" y="744"/>
                    <a:pt x="2905" y="739"/>
                    <a:pt x="2905" y="733"/>
                  </a:cubicBezTo>
                  <a:cubicBezTo>
                    <a:pt x="2904" y="728"/>
                    <a:pt x="2897" y="723"/>
                    <a:pt x="2890" y="723"/>
                  </a:cubicBezTo>
                  <a:cubicBezTo>
                    <a:pt x="2890" y="723"/>
                    <a:pt x="2890" y="723"/>
                    <a:pt x="2890" y="723"/>
                  </a:cubicBezTo>
                  <a:moveTo>
                    <a:pt x="2928" y="723"/>
                  </a:moveTo>
                  <a:cubicBezTo>
                    <a:pt x="2921" y="723"/>
                    <a:pt x="2915" y="728"/>
                    <a:pt x="2916" y="733"/>
                  </a:cubicBezTo>
                  <a:cubicBezTo>
                    <a:pt x="2917" y="739"/>
                    <a:pt x="2924" y="743"/>
                    <a:pt x="2931" y="743"/>
                  </a:cubicBezTo>
                  <a:cubicBezTo>
                    <a:pt x="2939" y="743"/>
                    <a:pt x="2944" y="739"/>
                    <a:pt x="2943" y="733"/>
                  </a:cubicBezTo>
                  <a:cubicBezTo>
                    <a:pt x="2942" y="727"/>
                    <a:pt x="2936" y="723"/>
                    <a:pt x="2928" y="723"/>
                  </a:cubicBezTo>
                  <a:cubicBezTo>
                    <a:pt x="2928" y="723"/>
                    <a:pt x="2928" y="723"/>
                    <a:pt x="2928" y="723"/>
                  </a:cubicBezTo>
                  <a:moveTo>
                    <a:pt x="2967" y="723"/>
                  </a:moveTo>
                  <a:cubicBezTo>
                    <a:pt x="2960" y="723"/>
                    <a:pt x="2954" y="727"/>
                    <a:pt x="2955" y="733"/>
                  </a:cubicBezTo>
                  <a:cubicBezTo>
                    <a:pt x="2956" y="739"/>
                    <a:pt x="2963" y="743"/>
                    <a:pt x="2970" y="743"/>
                  </a:cubicBezTo>
                  <a:cubicBezTo>
                    <a:pt x="2978" y="743"/>
                    <a:pt x="2983" y="738"/>
                    <a:pt x="2982" y="733"/>
                  </a:cubicBezTo>
                  <a:cubicBezTo>
                    <a:pt x="2981" y="727"/>
                    <a:pt x="2974" y="723"/>
                    <a:pt x="2967" y="723"/>
                  </a:cubicBezTo>
                  <a:cubicBezTo>
                    <a:pt x="2967" y="723"/>
                    <a:pt x="2967" y="723"/>
                    <a:pt x="2967" y="723"/>
                  </a:cubicBezTo>
                  <a:moveTo>
                    <a:pt x="3005" y="722"/>
                  </a:moveTo>
                  <a:cubicBezTo>
                    <a:pt x="2998" y="723"/>
                    <a:pt x="2993" y="727"/>
                    <a:pt x="2994" y="733"/>
                  </a:cubicBezTo>
                  <a:cubicBezTo>
                    <a:pt x="2995" y="738"/>
                    <a:pt x="3001" y="743"/>
                    <a:pt x="3009" y="743"/>
                  </a:cubicBezTo>
                  <a:cubicBezTo>
                    <a:pt x="3016" y="743"/>
                    <a:pt x="3022" y="738"/>
                    <a:pt x="3021" y="733"/>
                  </a:cubicBezTo>
                  <a:cubicBezTo>
                    <a:pt x="3019" y="727"/>
                    <a:pt x="3013" y="722"/>
                    <a:pt x="3005" y="722"/>
                  </a:cubicBezTo>
                  <a:cubicBezTo>
                    <a:pt x="3005" y="722"/>
                    <a:pt x="3005" y="722"/>
                    <a:pt x="3005" y="722"/>
                  </a:cubicBezTo>
                  <a:moveTo>
                    <a:pt x="3044" y="722"/>
                  </a:moveTo>
                  <a:cubicBezTo>
                    <a:pt x="3036" y="722"/>
                    <a:pt x="3031" y="727"/>
                    <a:pt x="3032" y="733"/>
                  </a:cubicBezTo>
                  <a:cubicBezTo>
                    <a:pt x="3033" y="738"/>
                    <a:pt x="3040" y="743"/>
                    <a:pt x="3048" y="743"/>
                  </a:cubicBezTo>
                  <a:cubicBezTo>
                    <a:pt x="3055" y="743"/>
                    <a:pt x="3060" y="738"/>
                    <a:pt x="3059" y="732"/>
                  </a:cubicBezTo>
                  <a:cubicBezTo>
                    <a:pt x="3058" y="727"/>
                    <a:pt x="3051" y="722"/>
                    <a:pt x="3044" y="722"/>
                  </a:cubicBezTo>
                  <a:cubicBezTo>
                    <a:pt x="3044" y="722"/>
                    <a:pt x="3044" y="722"/>
                    <a:pt x="3044" y="722"/>
                  </a:cubicBezTo>
                  <a:moveTo>
                    <a:pt x="3160" y="722"/>
                  </a:moveTo>
                  <a:cubicBezTo>
                    <a:pt x="3153" y="722"/>
                    <a:pt x="3148" y="726"/>
                    <a:pt x="3149" y="732"/>
                  </a:cubicBezTo>
                  <a:cubicBezTo>
                    <a:pt x="3150" y="738"/>
                    <a:pt x="3157" y="742"/>
                    <a:pt x="3165" y="742"/>
                  </a:cubicBezTo>
                  <a:cubicBezTo>
                    <a:pt x="3172" y="742"/>
                    <a:pt x="3177" y="738"/>
                    <a:pt x="3176" y="732"/>
                  </a:cubicBezTo>
                  <a:cubicBezTo>
                    <a:pt x="3174" y="726"/>
                    <a:pt x="3167" y="722"/>
                    <a:pt x="3160" y="722"/>
                  </a:cubicBezTo>
                  <a:cubicBezTo>
                    <a:pt x="3160" y="722"/>
                    <a:pt x="3160" y="722"/>
                    <a:pt x="3160" y="722"/>
                  </a:cubicBezTo>
                  <a:moveTo>
                    <a:pt x="3082" y="722"/>
                  </a:moveTo>
                  <a:cubicBezTo>
                    <a:pt x="3074" y="722"/>
                    <a:pt x="3069" y="726"/>
                    <a:pt x="3070" y="732"/>
                  </a:cubicBezTo>
                  <a:cubicBezTo>
                    <a:pt x="3071" y="738"/>
                    <a:pt x="3078" y="742"/>
                    <a:pt x="3086" y="742"/>
                  </a:cubicBezTo>
                  <a:cubicBezTo>
                    <a:pt x="3093" y="742"/>
                    <a:pt x="3098" y="737"/>
                    <a:pt x="3097" y="732"/>
                  </a:cubicBezTo>
                  <a:cubicBezTo>
                    <a:pt x="3096" y="726"/>
                    <a:pt x="3089" y="722"/>
                    <a:pt x="3082" y="722"/>
                  </a:cubicBezTo>
                  <a:cubicBezTo>
                    <a:pt x="3082" y="722"/>
                    <a:pt x="3082" y="722"/>
                    <a:pt x="3082" y="722"/>
                  </a:cubicBezTo>
                  <a:moveTo>
                    <a:pt x="3198" y="722"/>
                  </a:moveTo>
                  <a:cubicBezTo>
                    <a:pt x="3191" y="722"/>
                    <a:pt x="3186" y="726"/>
                    <a:pt x="3187" y="732"/>
                  </a:cubicBezTo>
                  <a:cubicBezTo>
                    <a:pt x="3189" y="738"/>
                    <a:pt x="3196" y="742"/>
                    <a:pt x="3203" y="742"/>
                  </a:cubicBezTo>
                  <a:cubicBezTo>
                    <a:pt x="3211" y="742"/>
                    <a:pt x="3216" y="737"/>
                    <a:pt x="3214" y="732"/>
                  </a:cubicBezTo>
                  <a:cubicBezTo>
                    <a:pt x="3213" y="726"/>
                    <a:pt x="3206" y="722"/>
                    <a:pt x="3198" y="722"/>
                  </a:cubicBezTo>
                  <a:cubicBezTo>
                    <a:pt x="3198" y="722"/>
                    <a:pt x="3198" y="722"/>
                    <a:pt x="3198" y="722"/>
                  </a:cubicBezTo>
                  <a:moveTo>
                    <a:pt x="3120" y="721"/>
                  </a:moveTo>
                  <a:cubicBezTo>
                    <a:pt x="3113" y="721"/>
                    <a:pt x="3108" y="726"/>
                    <a:pt x="3109" y="732"/>
                  </a:cubicBezTo>
                  <a:cubicBezTo>
                    <a:pt x="3110" y="737"/>
                    <a:pt x="3117" y="742"/>
                    <a:pt x="3125" y="742"/>
                  </a:cubicBezTo>
                  <a:cubicBezTo>
                    <a:pt x="3132" y="742"/>
                    <a:pt x="3137" y="737"/>
                    <a:pt x="3136" y="732"/>
                  </a:cubicBezTo>
                  <a:cubicBezTo>
                    <a:pt x="3135" y="726"/>
                    <a:pt x="3128" y="721"/>
                    <a:pt x="3120" y="721"/>
                  </a:cubicBezTo>
                  <a:cubicBezTo>
                    <a:pt x="3120" y="721"/>
                    <a:pt x="3120" y="721"/>
                    <a:pt x="3120" y="721"/>
                  </a:cubicBezTo>
                  <a:moveTo>
                    <a:pt x="3699" y="721"/>
                  </a:moveTo>
                  <a:cubicBezTo>
                    <a:pt x="3691" y="721"/>
                    <a:pt x="3687" y="726"/>
                    <a:pt x="3690" y="732"/>
                  </a:cubicBezTo>
                  <a:cubicBezTo>
                    <a:pt x="3692" y="737"/>
                    <a:pt x="3700" y="742"/>
                    <a:pt x="3707" y="742"/>
                  </a:cubicBezTo>
                  <a:cubicBezTo>
                    <a:pt x="3715" y="742"/>
                    <a:pt x="3719" y="737"/>
                    <a:pt x="3717" y="732"/>
                  </a:cubicBezTo>
                  <a:cubicBezTo>
                    <a:pt x="3714" y="726"/>
                    <a:pt x="3706" y="721"/>
                    <a:pt x="3699" y="721"/>
                  </a:cubicBezTo>
                  <a:cubicBezTo>
                    <a:pt x="3699" y="721"/>
                    <a:pt x="3699" y="721"/>
                    <a:pt x="3699" y="721"/>
                  </a:cubicBezTo>
                  <a:moveTo>
                    <a:pt x="3237" y="721"/>
                  </a:moveTo>
                  <a:cubicBezTo>
                    <a:pt x="3229" y="721"/>
                    <a:pt x="3224" y="726"/>
                    <a:pt x="3226" y="732"/>
                  </a:cubicBezTo>
                  <a:cubicBezTo>
                    <a:pt x="3227" y="737"/>
                    <a:pt x="3234" y="742"/>
                    <a:pt x="3242" y="742"/>
                  </a:cubicBezTo>
                  <a:cubicBezTo>
                    <a:pt x="3249" y="742"/>
                    <a:pt x="3254" y="737"/>
                    <a:pt x="3253" y="732"/>
                  </a:cubicBezTo>
                  <a:cubicBezTo>
                    <a:pt x="3251" y="726"/>
                    <a:pt x="3244" y="721"/>
                    <a:pt x="3237" y="721"/>
                  </a:cubicBezTo>
                  <a:cubicBezTo>
                    <a:pt x="3237" y="721"/>
                    <a:pt x="3237" y="721"/>
                    <a:pt x="3237" y="721"/>
                  </a:cubicBezTo>
                  <a:moveTo>
                    <a:pt x="3737" y="721"/>
                  </a:moveTo>
                  <a:cubicBezTo>
                    <a:pt x="3730" y="721"/>
                    <a:pt x="3726" y="726"/>
                    <a:pt x="3728" y="732"/>
                  </a:cubicBezTo>
                  <a:cubicBezTo>
                    <a:pt x="3730" y="737"/>
                    <a:pt x="3738" y="742"/>
                    <a:pt x="3746" y="742"/>
                  </a:cubicBezTo>
                  <a:cubicBezTo>
                    <a:pt x="3753" y="742"/>
                    <a:pt x="3757" y="737"/>
                    <a:pt x="3755" y="731"/>
                  </a:cubicBezTo>
                  <a:cubicBezTo>
                    <a:pt x="3753" y="726"/>
                    <a:pt x="3745" y="721"/>
                    <a:pt x="3737" y="721"/>
                  </a:cubicBezTo>
                  <a:cubicBezTo>
                    <a:pt x="3737" y="721"/>
                    <a:pt x="3737" y="721"/>
                    <a:pt x="3737" y="721"/>
                  </a:cubicBezTo>
                  <a:moveTo>
                    <a:pt x="3275" y="721"/>
                  </a:moveTo>
                  <a:cubicBezTo>
                    <a:pt x="3268" y="721"/>
                    <a:pt x="3263" y="726"/>
                    <a:pt x="3265" y="731"/>
                  </a:cubicBezTo>
                  <a:cubicBezTo>
                    <a:pt x="3266" y="737"/>
                    <a:pt x="3274" y="742"/>
                    <a:pt x="3281" y="742"/>
                  </a:cubicBezTo>
                  <a:cubicBezTo>
                    <a:pt x="3289" y="742"/>
                    <a:pt x="3293" y="737"/>
                    <a:pt x="3292" y="731"/>
                  </a:cubicBezTo>
                  <a:cubicBezTo>
                    <a:pt x="3290" y="726"/>
                    <a:pt x="3283" y="721"/>
                    <a:pt x="3276" y="721"/>
                  </a:cubicBezTo>
                  <a:cubicBezTo>
                    <a:pt x="3276" y="721"/>
                    <a:pt x="3275" y="721"/>
                    <a:pt x="3275" y="721"/>
                  </a:cubicBezTo>
                  <a:moveTo>
                    <a:pt x="3776" y="721"/>
                  </a:moveTo>
                  <a:cubicBezTo>
                    <a:pt x="3768" y="721"/>
                    <a:pt x="3764" y="726"/>
                    <a:pt x="3767" y="731"/>
                  </a:cubicBezTo>
                  <a:cubicBezTo>
                    <a:pt x="3769" y="737"/>
                    <a:pt x="3777" y="742"/>
                    <a:pt x="3785" y="742"/>
                  </a:cubicBezTo>
                  <a:cubicBezTo>
                    <a:pt x="3792" y="742"/>
                    <a:pt x="3796" y="737"/>
                    <a:pt x="3794" y="731"/>
                  </a:cubicBezTo>
                  <a:cubicBezTo>
                    <a:pt x="3791" y="726"/>
                    <a:pt x="3783" y="721"/>
                    <a:pt x="3776" y="721"/>
                  </a:cubicBezTo>
                  <a:cubicBezTo>
                    <a:pt x="3776" y="721"/>
                    <a:pt x="3776" y="721"/>
                    <a:pt x="3776" y="721"/>
                  </a:cubicBezTo>
                  <a:moveTo>
                    <a:pt x="3314" y="721"/>
                  </a:moveTo>
                  <a:cubicBezTo>
                    <a:pt x="3306" y="721"/>
                    <a:pt x="3301" y="726"/>
                    <a:pt x="3303" y="731"/>
                  </a:cubicBezTo>
                  <a:cubicBezTo>
                    <a:pt x="3305" y="737"/>
                    <a:pt x="3312" y="741"/>
                    <a:pt x="3320" y="741"/>
                  </a:cubicBezTo>
                  <a:cubicBezTo>
                    <a:pt x="3327" y="741"/>
                    <a:pt x="3332" y="737"/>
                    <a:pt x="3330" y="731"/>
                  </a:cubicBezTo>
                  <a:cubicBezTo>
                    <a:pt x="3328" y="725"/>
                    <a:pt x="3321" y="721"/>
                    <a:pt x="3314" y="721"/>
                  </a:cubicBezTo>
                  <a:cubicBezTo>
                    <a:pt x="3314" y="721"/>
                    <a:pt x="3314" y="721"/>
                    <a:pt x="3314" y="721"/>
                  </a:cubicBezTo>
                  <a:moveTo>
                    <a:pt x="3816" y="721"/>
                  </a:moveTo>
                  <a:cubicBezTo>
                    <a:pt x="3809" y="721"/>
                    <a:pt x="3805" y="725"/>
                    <a:pt x="3808" y="731"/>
                  </a:cubicBezTo>
                  <a:cubicBezTo>
                    <a:pt x="3810" y="737"/>
                    <a:pt x="3818" y="741"/>
                    <a:pt x="3826" y="741"/>
                  </a:cubicBezTo>
                  <a:cubicBezTo>
                    <a:pt x="3833" y="741"/>
                    <a:pt x="3837" y="737"/>
                    <a:pt x="3835" y="731"/>
                  </a:cubicBezTo>
                  <a:cubicBezTo>
                    <a:pt x="3832" y="725"/>
                    <a:pt x="3824" y="721"/>
                    <a:pt x="3816" y="721"/>
                  </a:cubicBezTo>
                  <a:cubicBezTo>
                    <a:pt x="3816" y="721"/>
                    <a:pt x="3816" y="721"/>
                    <a:pt x="3816" y="721"/>
                  </a:cubicBezTo>
                  <a:moveTo>
                    <a:pt x="3352" y="721"/>
                  </a:moveTo>
                  <a:cubicBezTo>
                    <a:pt x="3345" y="721"/>
                    <a:pt x="3340" y="725"/>
                    <a:pt x="3342" y="731"/>
                  </a:cubicBezTo>
                  <a:cubicBezTo>
                    <a:pt x="3343" y="737"/>
                    <a:pt x="3351" y="741"/>
                    <a:pt x="3358" y="741"/>
                  </a:cubicBezTo>
                  <a:cubicBezTo>
                    <a:pt x="3366" y="741"/>
                    <a:pt x="3370" y="737"/>
                    <a:pt x="3369" y="731"/>
                  </a:cubicBezTo>
                  <a:cubicBezTo>
                    <a:pt x="3367" y="725"/>
                    <a:pt x="3360" y="721"/>
                    <a:pt x="3352" y="721"/>
                  </a:cubicBezTo>
                  <a:cubicBezTo>
                    <a:pt x="3352" y="721"/>
                    <a:pt x="3352" y="721"/>
                    <a:pt x="3352" y="721"/>
                  </a:cubicBezTo>
                  <a:moveTo>
                    <a:pt x="3854" y="721"/>
                  </a:moveTo>
                  <a:cubicBezTo>
                    <a:pt x="3847" y="721"/>
                    <a:pt x="3843" y="725"/>
                    <a:pt x="3846" y="731"/>
                  </a:cubicBezTo>
                  <a:cubicBezTo>
                    <a:pt x="3848" y="737"/>
                    <a:pt x="3856" y="741"/>
                    <a:pt x="3864" y="741"/>
                  </a:cubicBezTo>
                  <a:cubicBezTo>
                    <a:pt x="3871" y="741"/>
                    <a:pt x="3875" y="736"/>
                    <a:pt x="3873" y="731"/>
                  </a:cubicBezTo>
                  <a:cubicBezTo>
                    <a:pt x="3870" y="725"/>
                    <a:pt x="3862" y="721"/>
                    <a:pt x="3854" y="721"/>
                  </a:cubicBezTo>
                  <a:cubicBezTo>
                    <a:pt x="3854" y="721"/>
                    <a:pt x="3854" y="721"/>
                    <a:pt x="3854" y="721"/>
                  </a:cubicBezTo>
                  <a:moveTo>
                    <a:pt x="3390" y="721"/>
                  </a:moveTo>
                  <a:cubicBezTo>
                    <a:pt x="3383" y="721"/>
                    <a:pt x="3378" y="725"/>
                    <a:pt x="3380" y="731"/>
                  </a:cubicBezTo>
                  <a:cubicBezTo>
                    <a:pt x="3382" y="737"/>
                    <a:pt x="3389" y="741"/>
                    <a:pt x="3397" y="741"/>
                  </a:cubicBezTo>
                  <a:cubicBezTo>
                    <a:pt x="3404" y="741"/>
                    <a:pt x="3409" y="736"/>
                    <a:pt x="3407" y="731"/>
                  </a:cubicBezTo>
                  <a:cubicBezTo>
                    <a:pt x="3405" y="725"/>
                    <a:pt x="3398" y="721"/>
                    <a:pt x="3390" y="721"/>
                  </a:cubicBezTo>
                  <a:cubicBezTo>
                    <a:pt x="3390" y="721"/>
                    <a:pt x="3390" y="721"/>
                    <a:pt x="3390" y="721"/>
                  </a:cubicBezTo>
                  <a:moveTo>
                    <a:pt x="3892" y="720"/>
                  </a:moveTo>
                  <a:cubicBezTo>
                    <a:pt x="3885" y="720"/>
                    <a:pt x="3881" y="725"/>
                    <a:pt x="3884" y="731"/>
                  </a:cubicBezTo>
                  <a:cubicBezTo>
                    <a:pt x="3887" y="736"/>
                    <a:pt x="3895" y="741"/>
                    <a:pt x="3902" y="741"/>
                  </a:cubicBezTo>
                  <a:cubicBezTo>
                    <a:pt x="3910" y="741"/>
                    <a:pt x="3914" y="736"/>
                    <a:pt x="3911" y="731"/>
                  </a:cubicBezTo>
                  <a:cubicBezTo>
                    <a:pt x="3908" y="725"/>
                    <a:pt x="3900" y="720"/>
                    <a:pt x="3892" y="720"/>
                  </a:cubicBezTo>
                  <a:cubicBezTo>
                    <a:pt x="3892" y="720"/>
                    <a:pt x="3892" y="720"/>
                    <a:pt x="3892" y="720"/>
                  </a:cubicBezTo>
                  <a:moveTo>
                    <a:pt x="3429" y="720"/>
                  </a:moveTo>
                  <a:cubicBezTo>
                    <a:pt x="3421" y="720"/>
                    <a:pt x="3417" y="725"/>
                    <a:pt x="3419" y="731"/>
                  </a:cubicBezTo>
                  <a:cubicBezTo>
                    <a:pt x="3420" y="736"/>
                    <a:pt x="3428" y="741"/>
                    <a:pt x="3435" y="741"/>
                  </a:cubicBezTo>
                  <a:cubicBezTo>
                    <a:pt x="3443" y="741"/>
                    <a:pt x="3447" y="736"/>
                    <a:pt x="3446" y="731"/>
                  </a:cubicBezTo>
                  <a:cubicBezTo>
                    <a:pt x="3444" y="725"/>
                    <a:pt x="3436" y="720"/>
                    <a:pt x="3429" y="720"/>
                  </a:cubicBezTo>
                  <a:cubicBezTo>
                    <a:pt x="3429" y="720"/>
                    <a:pt x="3429" y="720"/>
                    <a:pt x="3429" y="720"/>
                  </a:cubicBezTo>
                  <a:moveTo>
                    <a:pt x="3931" y="720"/>
                  </a:moveTo>
                  <a:cubicBezTo>
                    <a:pt x="3923" y="720"/>
                    <a:pt x="3920" y="725"/>
                    <a:pt x="3923" y="731"/>
                  </a:cubicBezTo>
                  <a:cubicBezTo>
                    <a:pt x="3925" y="736"/>
                    <a:pt x="3934" y="741"/>
                    <a:pt x="3941" y="741"/>
                  </a:cubicBezTo>
                  <a:cubicBezTo>
                    <a:pt x="3949" y="741"/>
                    <a:pt x="3952" y="736"/>
                    <a:pt x="3950" y="730"/>
                  </a:cubicBezTo>
                  <a:cubicBezTo>
                    <a:pt x="3947" y="725"/>
                    <a:pt x="3938" y="720"/>
                    <a:pt x="3931" y="720"/>
                  </a:cubicBezTo>
                  <a:cubicBezTo>
                    <a:pt x="3931" y="720"/>
                    <a:pt x="3931" y="720"/>
                    <a:pt x="3931" y="720"/>
                  </a:cubicBezTo>
                  <a:moveTo>
                    <a:pt x="3468" y="720"/>
                  </a:moveTo>
                  <a:cubicBezTo>
                    <a:pt x="3460" y="720"/>
                    <a:pt x="3456" y="725"/>
                    <a:pt x="3458" y="730"/>
                  </a:cubicBezTo>
                  <a:cubicBezTo>
                    <a:pt x="3459" y="736"/>
                    <a:pt x="3467" y="741"/>
                    <a:pt x="3474" y="741"/>
                  </a:cubicBezTo>
                  <a:cubicBezTo>
                    <a:pt x="3482" y="741"/>
                    <a:pt x="3486" y="736"/>
                    <a:pt x="3484" y="730"/>
                  </a:cubicBezTo>
                  <a:cubicBezTo>
                    <a:pt x="3483" y="725"/>
                    <a:pt x="3475" y="720"/>
                    <a:pt x="3468" y="720"/>
                  </a:cubicBezTo>
                  <a:cubicBezTo>
                    <a:pt x="3468" y="720"/>
                    <a:pt x="3468" y="720"/>
                    <a:pt x="3468" y="720"/>
                  </a:cubicBezTo>
                  <a:moveTo>
                    <a:pt x="3970" y="720"/>
                  </a:moveTo>
                  <a:cubicBezTo>
                    <a:pt x="3962" y="720"/>
                    <a:pt x="3959" y="725"/>
                    <a:pt x="3961" y="730"/>
                  </a:cubicBezTo>
                  <a:cubicBezTo>
                    <a:pt x="3964" y="736"/>
                    <a:pt x="3973" y="741"/>
                    <a:pt x="3980" y="741"/>
                  </a:cubicBezTo>
                  <a:cubicBezTo>
                    <a:pt x="3988" y="741"/>
                    <a:pt x="3991" y="736"/>
                    <a:pt x="3988" y="730"/>
                  </a:cubicBezTo>
                  <a:cubicBezTo>
                    <a:pt x="3986" y="725"/>
                    <a:pt x="3977" y="720"/>
                    <a:pt x="3970" y="720"/>
                  </a:cubicBezTo>
                  <a:cubicBezTo>
                    <a:pt x="3970" y="720"/>
                    <a:pt x="3970" y="720"/>
                    <a:pt x="3970" y="720"/>
                  </a:cubicBezTo>
                  <a:moveTo>
                    <a:pt x="3506" y="720"/>
                  </a:moveTo>
                  <a:cubicBezTo>
                    <a:pt x="3498" y="720"/>
                    <a:pt x="3494" y="725"/>
                    <a:pt x="3496" y="730"/>
                  </a:cubicBezTo>
                  <a:cubicBezTo>
                    <a:pt x="3498" y="736"/>
                    <a:pt x="3505" y="741"/>
                    <a:pt x="3513" y="740"/>
                  </a:cubicBezTo>
                  <a:cubicBezTo>
                    <a:pt x="3520" y="740"/>
                    <a:pt x="3525" y="736"/>
                    <a:pt x="3523" y="730"/>
                  </a:cubicBezTo>
                  <a:cubicBezTo>
                    <a:pt x="3521" y="725"/>
                    <a:pt x="3513" y="720"/>
                    <a:pt x="3506" y="720"/>
                  </a:cubicBezTo>
                  <a:cubicBezTo>
                    <a:pt x="3506" y="720"/>
                    <a:pt x="3506" y="720"/>
                    <a:pt x="3506" y="720"/>
                  </a:cubicBezTo>
                  <a:moveTo>
                    <a:pt x="4008" y="720"/>
                  </a:moveTo>
                  <a:cubicBezTo>
                    <a:pt x="4000" y="720"/>
                    <a:pt x="3997" y="724"/>
                    <a:pt x="4000" y="730"/>
                  </a:cubicBezTo>
                  <a:cubicBezTo>
                    <a:pt x="4003" y="736"/>
                    <a:pt x="4011" y="740"/>
                    <a:pt x="4019" y="740"/>
                  </a:cubicBezTo>
                  <a:cubicBezTo>
                    <a:pt x="4026" y="740"/>
                    <a:pt x="4030" y="736"/>
                    <a:pt x="4027" y="730"/>
                  </a:cubicBezTo>
                  <a:cubicBezTo>
                    <a:pt x="4024" y="724"/>
                    <a:pt x="4015" y="720"/>
                    <a:pt x="4008" y="720"/>
                  </a:cubicBezTo>
                  <a:cubicBezTo>
                    <a:pt x="4008" y="720"/>
                    <a:pt x="4008" y="720"/>
                    <a:pt x="4008" y="720"/>
                  </a:cubicBezTo>
                  <a:moveTo>
                    <a:pt x="3544" y="720"/>
                  </a:moveTo>
                  <a:cubicBezTo>
                    <a:pt x="3537" y="720"/>
                    <a:pt x="3532" y="724"/>
                    <a:pt x="3534" y="730"/>
                  </a:cubicBezTo>
                  <a:cubicBezTo>
                    <a:pt x="3536" y="736"/>
                    <a:pt x="3544" y="740"/>
                    <a:pt x="3552" y="740"/>
                  </a:cubicBezTo>
                  <a:cubicBezTo>
                    <a:pt x="3559" y="740"/>
                    <a:pt x="3563" y="736"/>
                    <a:pt x="3561" y="730"/>
                  </a:cubicBezTo>
                  <a:cubicBezTo>
                    <a:pt x="3559" y="724"/>
                    <a:pt x="3552" y="720"/>
                    <a:pt x="3544" y="720"/>
                  </a:cubicBezTo>
                  <a:cubicBezTo>
                    <a:pt x="3544" y="720"/>
                    <a:pt x="3544" y="720"/>
                    <a:pt x="3544" y="720"/>
                  </a:cubicBezTo>
                  <a:moveTo>
                    <a:pt x="4045" y="720"/>
                  </a:moveTo>
                  <a:cubicBezTo>
                    <a:pt x="4038" y="720"/>
                    <a:pt x="4034" y="724"/>
                    <a:pt x="4037" y="730"/>
                  </a:cubicBezTo>
                  <a:cubicBezTo>
                    <a:pt x="4040" y="736"/>
                    <a:pt x="4049" y="740"/>
                    <a:pt x="4056" y="740"/>
                  </a:cubicBezTo>
                  <a:cubicBezTo>
                    <a:pt x="4064" y="740"/>
                    <a:pt x="4067" y="736"/>
                    <a:pt x="4064" y="730"/>
                  </a:cubicBezTo>
                  <a:cubicBezTo>
                    <a:pt x="4061" y="724"/>
                    <a:pt x="4053" y="720"/>
                    <a:pt x="4045" y="720"/>
                  </a:cubicBezTo>
                  <a:cubicBezTo>
                    <a:pt x="4045" y="720"/>
                    <a:pt x="4045" y="720"/>
                    <a:pt x="4045" y="720"/>
                  </a:cubicBezTo>
                  <a:moveTo>
                    <a:pt x="3582" y="720"/>
                  </a:moveTo>
                  <a:cubicBezTo>
                    <a:pt x="3575" y="720"/>
                    <a:pt x="3571" y="724"/>
                    <a:pt x="3573" y="730"/>
                  </a:cubicBezTo>
                  <a:cubicBezTo>
                    <a:pt x="3575" y="736"/>
                    <a:pt x="3583" y="740"/>
                    <a:pt x="3590" y="740"/>
                  </a:cubicBezTo>
                  <a:cubicBezTo>
                    <a:pt x="3597" y="740"/>
                    <a:pt x="3602" y="735"/>
                    <a:pt x="3600" y="730"/>
                  </a:cubicBezTo>
                  <a:cubicBezTo>
                    <a:pt x="3597" y="724"/>
                    <a:pt x="3590" y="720"/>
                    <a:pt x="3582" y="720"/>
                  </a:cubicBezTo>
                  <a:cubicBezTo>
                    <a:pt x="3582" y="720"/>
                    <a:pt x="3582" y="720"/>
                    <a:pt x="3582" y="720"/>
                  </a:cubicBezTo>
                  <a:moveTo>
                    <a:pt x="3621" y="719"/>
                  </a:moveTo>
                  <a:cubicBezTo>
                    <a:pt x="3613" y="719"/>
                    <a:pt x="3609" y="724"/>
                    <a:pt x="3611" y="730"/>
                  </a:cubicBezTo>
                  <a:cubicBezTo>
                    <a:pt x="3613" y="735"/>
                    <a:pt x="3621" y="740"/>
                    <a:pt x="3629" y="740"/>
                  </a:cubicBezTo>
                  <a:cubicBezTo>
                    <a:pt x="3636" y="740"/>
                    <a:pt x="3640" y="735"/>
                    <a:pt x="3638" y="730"/>
                  </a:cubicBezTo>
                  <a:cubicBezTo>
                    <a:pt x="3636" y="724"/>
                    <a:pt x="3628" y="719"/>
                    <a:pt x="3621" y="719"/>
                  </a:cubicBezTo>
                  <a:cubicBezTo>
                    <a:pt x="3621" y="719"/>
                    <a:pt x="3621" y="719"/>
                    <a:pt x="3621" y="719"/>
                  </a:cubicBezTo>
                  <a:moveTo>
                    <a:pt x="3660" y="719"/>
                  </a:moveTo>
                  <a:cubicBezTo>
                    <a:pt x="3652" y="719"/>
                    <a:pt x="3648" y="724"/>
                    <a:pt x="3650" y="730"/>
                  </a:cubicBezTo>
                  <a:cubicBezTo>
                    <a:pt x="3652" y="735"/>
                    <a:pt x="3660" y="740"/>
                    <a:pt x="3668" y="740"/>
                  </a:cubicBezTo>
                  <a:cubicBezTo>
                    <a:pt x="3675" y="740"/>
                    <a:pt x="3679" y="735"/>
                    <a:pt x="3677" y="729"/>
                  </a:cubicBezTo>
                  <a:cubicBezTo>
                    <a:pt x="3675" y="724"/>
                    <a:pt x="3667" y="719"/>
                    <a:pt x="3660" y="719"/>
                  </a:cubicBezTo>
                  <a:cubicBezTo>
                    <a:pt x="3660" y="719"/>
                    <a:pt x="3660" y="719"/>
                    <a:pt x="3660" y="719"/>
                  </a:cubicBezTo>
                  <a:moveTo>
                    <a:pt x="61" y="710"/>
                  </a:moveTo>
                  <a:cubicBezTo>
                    <a:pt x="54" y="710"/>
                    <a:pt x="44" y="715"/>
                    <a:pt x="39" y="720"/>
                  </a:cubicBezTo>
                  <a:cubicBezTo>
                    <a:pt x="35" y="726"/>
                    <a:pt x="37" y="730"/>
                    <a:pt x="44" y="730"/>
                  </a:cubicBezTo>
                  <a:cubicBezTo>
                    <a:pt x="52" y="730"/>
                    <a:pt x="61" y="726"/>
                    <a:pt x="66" y="720"/>
                  </a:cubicBezTo>
                  <a:cubicBezTo>
                    <a:pt x="71" y="715"/>
                    <a:pt x="69" y="710"/>
                    <a:pt x="61" y="710"/>
                  </a:cubicBezTo>
                  <a:cubicBezTo>
                    <a:pt x="61" y="710"/>
                    <a:pt x="61" y="710"/>
                    <a:pt x="61" y="710"/>
                  </a:cubicBezTo>
                  <a:moveTo>
                    <a:pt x="100" y="710"/>
                  </a:moveTo>
                  <a:cubicBezTo>
                    <a:pt x="92" y="710"/>
                    <a:pt x="82" y="714"/>
                    <a:pt x="78" y="720"/>
                  </a:cubicBezTo>
                  <a:cubicBezTo>
                    <a:pt x="73" y="726"/>
                    <a:pt x="75" y="730"/>
                    <a:pt x="83" y="730"/>
                  </a:cubicBezTo>
                  <a:cubicBezTo>
                    <a:pt x="90" y="730"/>
                    <a:pt x="100" y="725"/>
                    <a:pt x="105" y="720"/>
                  </a:cubicBezTo>
                  <a:cubicBezTo>
                    <a:pt x="109" y="714"/>
                    <a:pt x="107" y="710"/>
                    <a:pt x="100" y="710"/>
                  </a:cubicBezTo>
                  <a:cubicBezTo>
                    <a:pt x="100" y="710"/>
                    <a:pt x="100" y="710"/>
                    <a:pt x="100" y="710"/>
                  </a:cubicBezTo>
                  <a:moveTo>
                    <a:pt x="139" y="710"/>
                  </a:moveTo>
                  <a:cubicBezTo>
                    <a:pt x="132" y="710"/>
                    <a:pt x="122" y="714"/>
                    <a:pt x="117" y="720"/>
                  </a:cubicBezTo>
                  <a:cubicBezTo>
                    <a:pt x="113" y="725"/>
                    <a:pt x="115" y="730"/>
                    <a:pt x="123" y="730"/>
                  </a:cubicBezTo>
                  <a:cubicBezTo>
                    <a:pt x="130" y="730"/>
                    <a:pt x="140" y="725"/>
                    <a:pt x="144" y="720"/>
                  </a:cubicBezTo>
                  <a:cubicBezTo>
                    <a:pt x="149" y="714"/>
                    <a:pt x="147" y="710"/>
                    <a:pt x="139" y="710"/>
                  </a:cubicBezTo>
                  <a:cubicBezTo>
                    <a:pt x="139" y="710"/>
                    <a:pt x="139" y="710"/>
                    <a:pt x="139" y="710"/>
                  </a:cubicBezTo>
                  <a:moveTo>
                    <a:pt x="333" y="709"/>
                  </a:moveTo>
                  <a:cubicBezTo>
                    <a:pt x="326" y="709"/>
                    <a:pt x="316" y="713"/>
                    <a:pt x="312" y="719"/>
                  </a:cubicBezTo>
                  <a:cubicBezTo>
                    <a:pt x="308" y="724"/>
                    <a:pt x="310" y="729"/>
                    <a:pt x="318" y="729"/>
                  </a:cubicBezTo>
                  <a:cubicBezTo>
                    <a:pt x="325" y="729"/>
                    <a:pt x="335" y="724"/>
                    <a:pt x="339" y="719"/>
                  </a:cubicBezTo>
                  <a:cubicBezTo>
                    <a:pt x="343" y="713"/>
                    <a:pt x="340" y="709"/>
                    <a:pt x="333" y="709"/>
                  </a:cubicBezTo>
                  <a:cubicBezTo>
                    <a:pt x="333" y="709"/>
                    <a:pt x="333" y="709"/>
                    <a:pt x="333" y="709"/>
                  </a:cubicBezTo>
                  <a:moveTo>
                    <a:pt x="256" y="708"/>
                  </a:moveTo>
                  <a:cubicBezTo>
                    <a:pt x="249" y="708"/>
                    <a:pt x="239" y="713"/>
                    <a:pt x="235" y="719"/>
                  </a:cubicBezTo>
                  <a:cubicBezTo>
                    <a:pt x="230" y="724"/>
                    <a:pt x="233" y="729"/>
                    <a:pt x="240" y="729"/>
                  </a:cubicBezTo>
                  <a:cubicBezTo>
                    <a:pt x="248" y="729"/>
                    <a:pt x="257" y="724"/>
                    <a:pt x="261" y="718"/>
                  </a:cubicBezTo>
                  <a:cubicBezTo>
                    <a:pt x="266" y="713"/>
                    <a:pt x="263" y="708"/>
                    <a:pt x="256" y="708"/>
                  </a:cubicBezTo>
                  <a:cubicBezTo>
                    <a:pt x="256" y="708"/>
                    <a:pt x="256" y="708"/>
                    <a:pt x="256" y="708"/>
                  </a:cubicBezTo>
                  <a:moveTo>
                    <a:pt x="371" y="708"/>
                  </a:moveTo>
                  <a:cubicBezTo>
                    <a:pt x="364" y="708"/>
                    <a:pt x="355" y="713"/>
                    <a:pt x="350" y="719"/>
                  </a:cubicBezTo>
                  <a:cubicBezTo>
                    <a:pt x="346" y="724"/>
                    <a:pt x="349" y="729"/>
                    <a:pt x="356" y="729"/>
                  </a:cubicBezTo>
                  <a:cubicBezTo>
                    <a:pt x="364" y="729"/>
                    <a:pt x="373" y="724"/>
                    <a:pt x="377" y="718"/>
                  </a:cubicBezTo>
                  <a:cubicBezTo>
                    <a:pt x="381" y="713"/>
                    <a:pt x="379" y="708"/>
                    <a:pt x="371" y="708"/>
                  </a:cubicBezTo>
                  <a:cubicBezTo>
                    <a:pt x="371" y="708"/>
                    <a:pt x="371" y="708"/>
                    <a:pt x="371" y="708"/>
                  </a:cubicBezTo>
                  <a:moveTo>
                    <a:pt x="295" y="708"/>
                  </a:moveTo>
                  <a:cubicBezTo>
                    <a:pt x="288" y="708"/>
                    <a:pt x="279" y="713"/>
                    <a:pt x="274" y="718"/>
                  </a:cubicBezTo>
                  <a:cubicBezTo>
                    <a:pt x="270" y="724"/>
                    <a:pt x="272" y="728"/>
                    <a:pt x="280" y="728"/>
                  </a:cubicBezTo>
                  <a:cubicBezTo>
                    <a:pt x="287" y="728"/>
                    <a:pt x="297" y="724"/>
                    <a:pt x="301" y="718"/>
                  </a:cubicBezTo>
                  <a:cubicBezTo>
                    <a:pt x="305" y="713"/>
                    <a:pt x="303" y="708"/>
                    <a:pt x="295" y="708"/>
                  </a:cubicBezTo>
                  <a:cubicBezTo>
                    <a:pt x="295" y="708"/>
                    <a:pt x="295" y="708"/>
                    <a:pt x="295" y="708"/>
                  </a:cubicBezTo>
                  <a:moveTo>
                    <a:pt x="410" y="708"/>
                  </a:moveTo>
                  <a:cubicBezTo>
                    <a:pt x="403" y="708"/>
                    <a:pt x="393" y="713"/>
                    <a:pt x="389" y="718"/>
                  </a:cubicBezTo>
                  <a:cubicBezTo>
                    <a:pt x="385" y="724"/>
                    <a:pt x="388" y="728"/>
                    <a:pt x="395" y="728"/>
                  </a:cubicBezTo>
                  <a:cubicBezTo>
                    <a:pt x="403" y="728"/>
                    <a:pt x="412" y="724"/>
                    <a:pt x="416" y="718"/>
                  </a:cubicBezTo>
                  <a:cubicBezTo>
                    <a:pt x="420" y="713"/>
                    <a:pt x="417" y="708"/>
                    <a:pt x="410" y="708"/>
                  </a:cubicBezTo>
                  <a:cubicBezTo>
                    <a:pt x="410" y="708"/>
                    <a:pt x="410" y="708"/>
                    <a:pt x="410" y="708"/>
                  </a:cubicBezTo>
                  <a:moveTo>
                    <a:pt x="448" y="708"/>
                  </a:moveTo>
                  <a:cubicBezTo>
                    <a:pt x="441" y="708"/>
                    <a:pt x="431" y="713"/>
                    <a:pt x="427" y="718"/>
                  </a:cubicBezTo>
                  <a:cubicBezTo>
                    <a:pt x="423" y="724"/>
                    <a:pt x="426" y="728"/>
                    <a:pt x="433" y="728"/>
                  </a:cubicBezTo>
                  <a:cubicBezTo>
                    <a:pt x="441" y="728"/>
                    <a:pt x="450" y="724"/>
                    <a:pt x="454" y="718"/>
                  </a:cubicBezTo>
                  <a:cubicBezTo>
                    <a:pt x="458" y="712"/>
                    <a:pt x="455" y="708"/>
                    <a:pt x="448" y="708"/>
                  </a:cubicBezTo>
                  <a:cubicBezTo>
                    <a:pt x="448" y="708"/>
                    <a:pt x="448" y="708"/>
                    <a:pt x="448" y="708"/>
                  </a:cubicBezTo>
                  <a:moveTo>
                    <a:pt x="486" y="708"/>
                  </a:moveTo>
                  <a:cubicBezTo>
                    <a:pt x="479" y="708"/>
                    <a:pt x="470" y="712"/>
                    <a:pt x="466" y="718"/>
                  </a:cubicBezTo>
                  <a:cubicBezTo>
                    <a:pt x="462" y="724"/>
                    <a:pt x="465" y="728"/>
                    <a:pt x="472" y="728"/>
                  </a:cubicBezTo>
                  <a:cubicBezTo>
                    <a:pt x="479" y="728"/>
                    <a:pt x="489" y="723"/>
                    <a:pt x="492" y="718"/>
                  </a:cubicBezTo>
                  <a:cubicBezTo>
                    <a:pt x="496" y="712"/>
                    <a:pt x="494" y="708"/>
                    <a:pt x="486" y="708"/>
                  </a:cubicBezTo>
                  <a:cubicBezTo>
                    <a:pt x="486" y="708"/>
                    <a:pt x="486" y="708"/>
                    <a:pt x="486" y="708"/>
                  </a:cubicBezTo>
                  <a:moveTo>
                    <a:pt x="601" y="707"/>
                  </a:moveTo>
                  <a:cubicBezTo>
                    <a:pt x="594" y="707"/>
                    <a:pt x="585" y="712"/>
                    <a:pt x="581" y="717"/>
                  </a:cubicBezTo>
                  <a:cubicBezTo>
                    <a:pt x="577" y="723"/>
                    <a:pt x="580" y="727"/>
                    <a:pt x="588" y="727"/>
                  </a:cubicBezTo>
                  <a:cubicBezTo>
                    <a:pt x="595" y="727"/>
                    <a:pt x="604" y="723"/>
                    <a:pt x="608" y="717"/>
                  </a:cubicBezTo>
                  <a:cubicBezTo>
                    <a:pt x="611" y="712"/>
                    <a:pt x="608" y="707"/>
                    <a:pt x="601" y="707"/>
                  </a:cubicBezTo>
                  <a:cubicBezTo>
                    <a:pt x="601" y="707"/>
                    <a:pt x="601" y="707"/>
                    <a:pt x="601" y="707"/>
                  </a:cubicBezTo>
                  <a:moveTo>
                    <a:pt x="181" y="707"/>
                  </a:moveTo>
                  <a:cubicBezTo>
                    <a:pt x="174" y="707"/>
                    <a:pt x="164" y="712"/>
                    <a:pt x="159" y="717"/>
                  </a:cubicBezTo>
                  <a:cubicBezTo>
                    <a:pt x="155" y="723"/>
                    <a:pt x="157" y="727"/>
                    <a:pt x="165" y="727"/>
                  </a:cubicBezTo>
                  <a:cubicBezTo>
                    <a:pt x="172" y="727"/>
                    <a:pt x="182" y="723"/>
                    <a:pt x="186" y="717"/>
                  </a:cubicBezTo>
                  <a:cubicBezTo>
                    <a:pt x="191" y="711"/>
                    <a:pt x="188" y="707"/>
                    <a:pt x="181" y="707"/>
                  </a:cubicBezTo>
                  <a:cubicBezTo>
                    <a:pt x="181" y="707"/>
                    <a:pt x="181" y="707"/>
                    <a:pt x="181" y="707"/>
                  </a:cubicBezTo>
                  <a:moveTo>
                    <a:pt x="219" y="707"/>
                  </a:moveTo>
                  <a:cubicBezTo>
                    <a:pt x="212" y="707"/>
                    <a:pt x="202" y="711"/>
                    <a:pt x="198" y="717"/>
                  </a:cubicBezTo>
                  <a:cubicBezTo>
                    <a:pt x="193" y="723"/>
                    <a:pt x="196" y="727"/>
                    <a:pt x="203" y="727"/>
                  </a:cubicBezTo>
                  <a:cubicBezTo>
                    <a:pt x="210" y="727"/>
                    <a:pt x="220" y="722"/>
                    <a:pt x="224" y="717"/>
                  </a:cubicBezTo>
                  <a:cubicBezTo>
                    <a:pt x="229" y="711"/>
                    <a:pt x="226" y="707"/>
                    <a:pt x="219" y="707"/>
                  </a:cubicBezTo>
                  <a:cubicBezTo>
                    <a:pt x="219" y="707"/>
                    <a:pt x="219" y="707"/>
                    <a:pt x="219" y="707"/>
                  </a:cubicBezTo>
                  <a:moveTo>
                    <a:pt x="1858" y="699"/>
                  </a:moveTo>
                  <a:cubicBezTo>
                    <a:pt x="1851" y="699"/>
                    <a:pt x="1844" y="703"/>
                    <a:pt x="1843" y="709"/>
                  </a:cubicBezTo>
                  <a:cubicBezTo>
                    <a:pt x="1841" y="715"/>
                    <a:pt x="1846" y="719"/>
                    <a:pt x="1854" y="719"/>
                  </a:cubicBezTo>
                  <a:cubicBezTo>
                    <a:pt x="1861" y="719"/>
                    <a:pt x="1868" y="715"/>
                    <a:pt x="1869" y="709"/>
                  </a:cubicBezTo>
                  <a:cubicBezTo>
                    <a:pt x="1871" y="703"/>
                    <a:pt x="1866" y="699"/>
                    <a:pt x="1858" y="699"/>
                  </a:cubicBezTo>
                  <a:cubicBezTo>
                    <a:pt x="1858" y="699"/>
                    <a:pt x="1858" y="699"/>
                    <a:pt x="1858" y="699"/>
                  </a:cubicBezTo>
                  <a:moveTo>
                    <a:pt x="1897" y="699"/>
                  </a:moveTo>
                  <a:cubicBezTo>
                    <a:pt x="1890" y="699"/>
                    <a:pt x="1883" y="703"/>
                    <a:pt x="1881" y="709"/>
                  </a:cubicBezTo>
                  <a:cubicBezTo>
                    <a:pt x="1880" y="714"/>
                    <a:pt x="1885" y="719"/>
                    <a:pt x="1893" y="719"/>
                  </a:cubicBezTo>
                  <a:cubicBezTo>
                    <a:pt x="1900" y="719"/>
                    <a:pt x="1907" y="714"/>
                    <a:pt x="1908" y="709"/>
                  </a:cubicBezTo>
                  <a:cubicBezTo>
                    <a:pt x="1909" y="703"/>
                    <a:pt x="1904" y="699"/>
                    <a:pt x="1897" y="699"/>
                  </a:cubicBezTo>
                  <a:cubicBezTo>
                    <a:pt x="1897" y="699"/>
                    <a:pt x="1897" y="699"/>
                    <a:pt x="1897" y="699"/>
                  </a:cubicBezTo>
                  <a:moveTo>
                    <a:pt x="1935" y="698"/>
                  </a:moveTo>
                  <a:cubicBezTo>
                    <a:pt x="1927" y="698"/>
                    <a:pt x="1921" y="703"/>
                    <a:pt x="1919" y="709"/>
                  </a:cubicBezTo>
                  <a:cubicBezTo>
                    <a:pt x="1918" y="714"/>
                    <a:pt x="1923" y="719"/>
                    <a:pt x="1931" y="719"/>
                  </a:cubicBezTo>
                  <a:cubicBezTo>
                    <a:pt x="1938" y="719"/>
                    <a:pt x="1945" y="714"/>
                    <a:pt x="1946" y="709"/>
                  </a:cubicBezTo>
                  <a:cubicBezTo>
                    <a:pt x="1947" y="703"/>
                    <a:pt x="1942" y="698"/>
                    <a:pt x="1935" y="698"/>
                  </a:cubicBezTo>
                  <a:cubicBezTo>
                    <a:pt x="1935" y="698"/>
                    <a:pt x="1935" y="698"/>
                    <a:pt x="1935" y="698"/>
                  </a:cubicBezTo>
                  <a:moveTo>
                    <a:pt x="1973" y="698"/>
                  </a:moveTo>
                  <a:cubicBezTo>
                    <a:pt x="1965" y="698"/>
                    <a:pt x="1959" y="703"/>
                    <a:pt x="1958" y="708"/>
                  </a:cubicBezTo>
                  <a:cubicBezTo>
                    <a:pt x="1957" y="714"/>
                    <a:pt x="1962" y="719"/>
                    <a:pt x="1969" y="719"/>
                  </a:cubicBezTo>
                  <a:cubicBezTo>
                    <a:pt x="1977" y="719"/>
                    <a:pt x="1983" y="714"/>
                    <a:pt x="1984" y="708"/>
                  </a:cubicBezTo>
                  <a:cubicBezTo>
                    <a:pt x="1985" y="703"/>
                    <a:pt x="1980" y="698"/>
                    <a:pt x="1973" y="698"/>
                  </a:cubicBezTo>
                  <a:cubicBezTo>
                    <a:pt x="1973" y="698"/>
                    <a:pt x="1973" y="698"/>
                    <a:pt x="1973" y="698"/>
                  </a:cubicBezTo>
                  <a:moveTo>
                    <a:pt x="2011" y="698"/>
                  </a:moveTo>
                  <a:cubicBezTo>
                    <a:pt x="2003" y="698"/>
                    <a:pt x="1997" y="703"/>
                    <a:pt x="1996" y="708"/>
                  </a:cubicBezTo>
                  <a:cubicBezTo>
                    <a:pt x="1995" y="714"/>
                    <a:pt x="2000" y="718"/>
                    <a:pt x="2007" y="718"/>
                  </a:cubicBezTo>
                  <a:cubicBezTo>
                    <a:pt x="2015" y="718"/>
                    <a:pt x="2022" y="714"/>
                    <a:pt x="2022" y="708"/>
                  </a:cubicBezTo>
                  <a:cubicBezTo>
                    <a:pt x="2023" y="702"/>
                    <a:pt x="2018" y="698"/>
                    <a:pt x="2011" y="698"/>
                  </a:cubicBezTo>
                  <a:cubicBezTo>
                    <a:pt x="2011" y="698"/>
                    <a:pt x="2011" y="698"/>
                    <a:pt x="2011" y="698"/>
                  </a:cubicBezTo>
                  <a:moveTo>
                    <a:pt x="2049" y="698"/>
                  </a:moveTo>
                  <a:cubicBezTo>
                    <a:pt x="2042" y="698"/>
                    <a:pt x="2035" y="702"/>
                    <a:pt x="2034" y="708"/>
                  </a:cubicBezTo>
                  <a:cubicBezTo>
                    <a:pt x="2033" y="714"/>
                    <a:pt x="2038" y="718"/>
                    <a:pt x="2046" y="718"/>
                  </a:cubicBezTo>
                  <a:cubicBezTo>
                    <a:pt x="2053" y="718"/>
                    <a:pt x="2060" y="714"/>
                    <a:pt x="2061" y="708"/>
                  </a:cubicBezTo>
                  <a:cubicBezTo>
                    <a:pt x="2062" y="702"/>
                    <a:pt x="2056" y="698"/>
                    <a:pt x="2049" y="698"/>
                  </a:cubicBezTo>
                  <a:cubicBezTo>
                    <a:pt x="2049" y="698"/>
                    <a:pt x="2049" y="698"/>
                    <a:pt x="2049" y="698"/>
                  </a:cubicBezTo>
                  <a:moveTo>
                    <a:pt x="2088" y="698"/>
                  </a:moveTo>
                  <a:cubicBezTo>
                    <a:pt x="2081" y="698"/>
                    <a:pt x="2074" y="702"/>
                    <a:pt x="2073" y="708"/>
                  </a:cubicBezTo>
                  <a:cubicBezTo>
                    <a:pt x="2073" y="713"/>
                    <a:pt x="2078" y="718"/>
                    <a:pt x="2085" y="718"/>
                  </a:cubicBezTo>
                  <a:cubicBezTo>
                    <a:pt x="2093" y="718"/>
                    <a:pt x="2099" y="713"/>
                    <a:pt x="2100" y="708"/>
                  </a:cubicBezTo>
                  <a:cubicBezTo>
                    <a:pt x="2101" y="702"/>
                    <a:pt x="2096" y="698"/>
                    <a:pt x="2088" y="698"/>
                  </a:cubicBezTo>
                  <a:cubicBezTo>
                    <a:pt x="2088" y="698"/>
                    <a:pt x="2088" y="698"/>
                    <a:pt x="2088" y="698"/>
                  </a:cubicBezTo>
                  <a:moveTo>
                    <a:pt x="2126" y="697"/>
                  </a:moveTo>
                  <a:cubicBezTo>
                    <a:pt x="2119" y="697"/>
                    <a:pt x="2112" y="702"/>
                    <a:pt x="2111" y="708"/>
                  </a:cubicBezTo>
                  <a:cubicBezTo>
                    <a:pt x="2111" y="713"/>
                    <a:pt x="2116" y="718"/>
                    <a:pt x="2124" y="718"/>
                  </a:cubicBezTo>
                  <a:cubicBezTo>
                    <a:pt x="2131" y="718"/>
                    <a:pt x="2137" y="713"/>
                    <a:pt x="2138" y="708"/>
                  </a:cubicBezTo>
                  <a:cubicBezTo>
                    <a:pt x="2139" y="702"/>
                    <a:pt x="2134" y="697"/>
                    <a:pt x="2126" y="697"/>
                  </a:cubicBezTo>
                  <a:cubicBezTo>
                    <a:pt x="2126" y="697"/>
                    <a:pt x="2126" y="697"/>
                    <a:pt x="2126" y="697"/>
                  </a:cubicBezTo>
                  <a:moveTo>
                    <a:pt x="2164" y="697"/>
                  </a:moveTo>
                  <a:cubicBezTo>
                    <a:pt x="2157" y="697"/>
                    <a:pt x="2150" y="702"/>
                    <a:pt x="2150" y="707"/>
                  </a:cubicBezTo>
                  <a:cubicBezTo>
                    <a:pt x="2149" y="713"/>
                    <a:pt x="2155" y="718"/>
                    <a:pt x="2162" y="718"/>
                  </a:cubicBezTo>
                  <a:cubicBezTo>
                    <a:pt x="2169" y="718"/>
                    <a:pt x="2176" y="713"/>
                    <a:pt x="2176" y="707"/>
                  </a:cubicBezTo>
                  <a:cubicBezTo>
                    <a:pt x="2177" y="702"/>
                    <a:pt x="2172" y="697"/>
                    <a:pt x="2164" y="697"/>
                  </a:cubicBezTo>
                  <a:cubicBezTo>
                    <a:pt x="2164" y="697"/>
                    <a:pt x="2164" y="697"/>
                    <a:pt x="2164" y="697"/>
                  </a:cubicBezTo>
                  <a:moveTo>
                    <a:pt x="2203" y="697"/>
                  </a:moveTo>
                  <a:cubicBezTo>
                    <a:pt x="2195" y="697"/>
                    <a:pt x="2189" y="702"/>
                    <a:pt x="2188" y="707"/>
                  </a:cubicBezTo>
                  <a:cubicBezTo>
                    <a:pt x="2188" y="713"/>
                    <a:pt x="2193" y="717"/>
                    <a:pt x="2201" y="717"/>
                  </a:cubicBezTo>
                  <a:cubicBezTo>
                    <a:pt x="2208" y="717"/>
                    <a:pt x="2215" y="713"/>
                    <a:pt x="2215" y="707"/>
                  </a:cubicBezTo>
                  <a:cubicBezTo>
                    <a:pt x="2216" y="701"/>
                    <a:pt x="2210" y="697"/>
                    <a:pt x="2203" y="697"/>
                  </a:cubicBezTo>
                  <a:cubicBezTo>
                    <a:pt x="2203" y="697"/>
                    <a:pt x="2203" y="697"/>
                    <a:pt x="2203" y="697"/>
                  </a:cubicBezTo>
                  <a:moveTo>
                    <a:pt x="2241" y="697"/>
                  </a:moveTo>
                  <a:cubicBezTo>
                    <a:pt x="2233" y="697"/>
                    <a:pt x="2227" y="701"/>
                    <a:pt x="2226" y="707"/>
                  </a:cubicBezTo>
                  <a:cubicBezTo>
                    <a:pt x="2226" y="713"/>
                    <a:pt x="2231" y="717"/>
                    <a:pt x="2239" y="717"/>
                  </a:cubicBezTo>
                  <a:cubicBezTo>
                    <a:pt x="2246" y="717"/>
                    <a:pt x="2253" y="713"/>
                    <a:pt x="2253" y="707"/>
                  </a:cubicBezTo>
                  <a:cubicBezTo>
                    <a:pt x="2254" y="701"/>
                    <a:pt x="2248" y="697"/>
                    <a:pt x="2241" y="697"/>
                  </a:cubicBezTo>
                  <a:cubicBezTo>
                    <a:pt x="2241" y="697"/>
                    <a:pt x="2241" y="697"/>
                    <a:pt x="2241" y="697"/>
                  </a:cubicBezTo>
                  <a:moveTo>
                    <a:pt x="2279" y="697"/>
                  </a:moveTo>
                  <a:cubicBezTo>
                    <a:pt x="2271" y="697"/>
                    <a:pt x="2265" y="701"/>
                    <a:pt x="2265" y="707"/>
                  </a:cubicBezTo>
                  <a:cubicBezTo>
                    <a:pt x="2264" y="712"/>
                    <a:pt x="2270" y="717"/>
                    <a:pt x="2277" y="717"/>
                  </a:cubicBezTo>
                  <a:cubicBezTo>
                    <a:pt x="2285" y="717"/>
                    <a:pt x="2291" y="712"/>
                    <a:pt x="2291" y="707"/>
                  </a:cubicBezTo>
                  <a:cubicBezTo>
                    <a:pt x="2292" y="701"/>
                    <a:pt x="2286" y="697"/>
                    <a:pt x="2279" y="697"/>
                  </a:cubicBezTo>
                  <a:cubicBezTo>
                    <a:pt x="2279" y="697"/>
                    <a:pt x="2279" y="697"/>
                    <a:pt x="2279" y="697"/>
                  </a:cubicBezTo>
                  <a:moveTo>
                    <a:pt x="2317" y="696"/>
                  </a:moveTo>
                  <a:cubicBezTo>
                    <a:pt x="2309" y="696"/>
                    <a:pt x="2303" y="701"/>
                    <a:pt x="2303" y="707"/>
                  </a:cubicBezTo>
                  <a:cubicBezTo>
                    <a:pt x="2302" y="712"/>
                    <a:pt x="2308" y="717"/>
                    <a:pt x="2315" y="717"/>
                  </a:cubicBezTo>
                  <a:cubicBezTo>
                    <a:pt x="2323" y="717"/>
                    <a:pt x="2329" y="712"/>
                    <a:pt x="2329" y="707"/>
                  </a:cubicBezTo>
                  <a:cubicBezTo>
                    <a:pt x="2330" y="701"/>
                    <a:pt x="2324" y="696"/>
                    <a:pt x="2317" y="696"/>
                  </a:cubicBezTo>
                  <a:cubicBezTo>
                    <a:pt x="2317" y="696"/>
                    <a:pt x="2317" y="696"/>
                    <a:pt x="2317" y="696"/>
                  </a:cubicBezTo>
                  <a:moveTo>
                    <a:pt x="2355" y="696"/>
                  </a:moveTo>
                  <a:cubicBezTo>
                    <a:pt x="2347" y="696"/>
                    <a:pt x="2341" y="701"/>
                    <a:pt x="2341" y="706"/>
                  </a:cubicBezTo>
                  <a:cubicBezTo>
                    <a:pt x="2341" y="712"/>
                    <a:pt x="2346" y="717"/>
                    <a:pt x="2354" y="717"/>
                  </a:cubicBezTo>
                  <a:cubicBezTo>
                    <a:pt x="2361" y="717"/>
                    <a:pt x="2367" y="712"/>
                    <a:pt x="2368" y="706"/>
                  </a:cubicBezTo>
                  <a:cubicBezTo>
                    <a:pt x="2368" y="701"/>
                    <a:pt x="2362" y="696"/>
                    <a:pt x="2355" y="696"/>
                  </a:cubicBezTo>
                  <a:cubicBezTo>
                    <a:pt x="2355" y="696"/>
                    <a:pt x="2355" y="696"/>
                    <a:pt x="2355" y="696"/>
                  </a:cubicBezTo>
                  <a:moveTo>
                    <a:pt x="2393" y="696"/>
                  </a:moveTo>
                  <a:cubicBezTo>
                    <a:pt x="2386" y="696"/>
                    <a:pt x="2380" y="701"/>
                    <a:pt x="2380" y="706"/>
                  </a:cubicBezTo>
                  <a:cubicBezTo>
                    <a:pt x="2379" y="712"/>
                    <a:pt x="2385" y="716"/>
                    <a:pt x="2393" y="716"/>
                  </a:cubicBezTo>
                  <a:cubicBezTo>
                    <a:pt x="2400" y="716"/>
                    <a:pt x="2406" y="712"/>
                    <a:pt x="2406" y="706"/>
                  </a:cubicBezTo>
                  <a:cubicBezTo>
                    <a:pt x="2406" y="700"/>
                    <a:pt x="2401" y="696"/>
                    <a:pt x="2393" y="696"/>
                  </a:cubicBezTo>
                  <a:cubicBezTo>
                    <a:pt x="2393" y="696"/>
                    <a:pt x="2393" y="696"/>
                    <a:pt x="2393" y="696"/>
                  </a:cubicBezTo>
                  <a:moveTo>
                    <a:pt x="2431" y="696"/>
                  </a:moveTo>
                  <a:cubicBezTo>
                    <a:pt x="2424" y="696"/>
                    <a:pt x="2418" y="700"/>
                    <a:pt x="2417" y="706"/>
                  </a:cubicBezTo>
                  <a:cubicBezTo>
                    <a:pt x="2417" y="712"/>
                    <a:pt x="2423" y="716"/>
                    <a:pt x="2431" y="716"/>
                  </a:cubicBezTo>
                  <a:cubicBezTo>
                    <a:pt x="2438" y="716"/>
                    <a:pt x="2444" y="712"/>
                    <a:pt x="2444" y="706"/>
                  </a:cubicBezTo>
                  <a:cubicBezTo>
                    <a:pt x="2444" y="700"/>
                    <a:pt x="2438" y="696"/>
                    <a:pt x="2431" y="696"/>
                  </a:cubicBezTo>
                  <a:cubicBezTo>
                    <a:pt x="2431" y="696"/>
                    <a:pt x="2431" y="696"/>
                    <a:pt x="2431" y="696"/>
                  </a:cubicBezTo>
                  <a:moveTo>
                    <a:pt x="2469" y="696"/>
                  </a:moveTo>
                  <a:cubicBezTo>
                    <a:pt x="2462" y="696"/>
                    <a:pt x="2456" y="700"/>
                    <a:pt x="2456" y="706"/>
                  </a:cubicBezTo>
                  <a:cubicBezTo>
                    <a:pt x="2456" y="711"/>
                    <a:pt x="2462" y="716"/>
                    <a:pt x="2469" y="716"/>
                  </a:cubicBezTo>
                  <a:cubicBezTo>
                    <a:pt x="2476" y="716"/>
                    <a:pt x="2482" y="711"/>
                    <a:pt x="2482" y="706"/>
                  </a:cubicBezTo>
                  <a:cubicBezTo>
                    <a:pt x="2482" y="700"/>
                    <a:pt x="2477" y="696"/>
                    <a:pt x="2469" y="696"/>
                  </a:cubicBezTo>
                  <a:cubicBezTo>
                    <a:pt x="2469" y="696"/>
                    <a:pt x="2469" y="696"/>
                    <a:pt x="2469" y="696"/>
                  </a:cubicBezTo>
                  <a:moveTo>
                    <a:pt x="2507" y="695"/>
                  </a:moveTo>
                  <a:cubicBezTo>
                    <a:pt x="2500" y="695"/>
                    <a:pt x="2494" y="700"/>
                    <a:pt x="2494" y="706"/>
                  </a:cubicBezTo>
                  <a:cubicBezTo>
                    <a:pt x="2494" y="711"/>
                    <a:pt x="2500" y="716"/>
                    <a:pt x="2507" y="716"/>
                  </a:cubicBezTo>
                  <a:cubicBezTo>
                    <a:pt x="2515" y="716"/>
                    <a:pt x="2520" y="711"/>
                    <a:pt x="2520" y="706"/>
                  </a:cubicBezTo>
                  <a:cubicBezTo>
                    <a:pt x="2520" y="700"/>
                    <a:pt x="2514" y="695"/>
                    <a:pt x="2507" y="695"/>
                  </a:cubicBezTo>
                  <a:cubicBezTo>
                    <a:pt x="2507" y="695"/>
                    <a:pt x="2507" y="695"/>
                    <a:pt x="2507" y="695"/>
                  </a:cubicBezTo>
                  <a:moveTo>
                    <a:pt x="2545" y="695"/>
                  </a:moveTo>
                  <a:cubicBezTo>
                    <a:pt x="2538" y="695"/>
                    <a:pt x="2532" y="700"/>
                    <a:pt x="2532" y="705"/>
                  </a:cubicBezTo>
                  <a:cubicBezTo>
                    <a:pt x="2532" y="711"/>
                    <a:pt x="2538" y="716"/>
                    <a:pt x="2546" y="716"/>
                  </a:cubicBezTo>
                  <a:cubicBezTo>
                    <a:pt x="2553" y="716"/>
                    <a:pt x="2559" y="711"/>
                    <a:pt x="2559" y="705"/>
                  </a:cubicBezTo>
                  <a:cubicBezTo>
                    <a:pt x="2559" y="700"/>
                    <a:pt x="2553" y="695"/>
                    <a:pt x="2545" y="695"/>
                  </a:cubicBezTo>
                  <a:cubicBezTo>
                    <a:pt x="2545" y="695"/>
                    <a:pt x="2545" y="695"/>
                    <a:pt x="2545" y="695"/>
                  </a:cubicBezTo>
                  <a:moveTo>
                    <a:pt x="2580" y="695"/>
                  </a:moveTo>
                  <a:cubicBezTo>
                    <a:pt x="2572" y="695"/>
                    <a:pt x="2566" y="700"/>
                    <a:pt x="2567" y="705"/>
                  </a:cubicBezTo>
                  <a:cubicBezTo>
                    <a:pt x="2567" y="711"/>
                    <a:pt x="2573" y="715"/>
                    <a:pt x="2580" y="715"/>
                  </a:cubicBezTo>
                  <a:cubicBezTo>
                    <a:pt x="2588" y="715"/>
                    <a:pt x="2593" y="711"/>
                    <a:pt x="2593" y="705"/>
                  </a:cubicBezTo>
                  <a:cubicBezTo>
                    <a:pt x="2593" y="699"/>
                    <a:pt x="2587" y="695"/>
                    <a:pt x="2580" y="695"/>
                  </a:cubicBezTo>
                  <a:cubicBezTo>
                    <a:pt x="2580" y="695"/>
                    <a:pt x="2580" y="695"/>
                    <a:pt x="2580" y="695"/>
                  </a:cubicBezTo>
                  <a:moveTo>
                    <a:pt x="2812" y="695"/>
                  </a:moveTo>
                  <a:cubicBezTo>
                    <a:pt x="2805" y="695"/>
                    <a:pt x="2799" y="699"/>
                    <a:pt x="2800" y="705"/>
                  </a:cubicBezTo>
                  <a:cubicBezTo>
                    <a:pt x="2800" y="711"/>
                    <a:pt x="2807" y="715"/>
                    <a:pt x="2814" y="715"/>
                  </a:cubicBezTo>
                  <a:cubicBezTo>
                    <a:pt x="2822" y="715"/>
                    <a:pt x="2827" y="711"/>
                    <a:pt x="2826" y="705"/>
                  </a:cubicBezTo>
                  <a:cubicBezTo>
                    <a:pt x="2826" y="699"/>
                    <a:pt x="2819" y="695"/>
                    <a:pt x="2812" y="695"/>
                  </a:cubicBezTo>
                  <a:cubicBezTo>
                    <a:pt x="2812" y="695"/>
                    <a:pt x="2812" y="695"/>
                    <a:pt x="2812" y="695"/>
                  </a:cubicBezTo>
                  <a:moveTo>
                    <a:pt x="2885" y="694"/>
                  </a:moveTo>
                  <a:cubicBezTo>
                    <a:pt x="2878" y="694"/>
                    <a:pt x="2873" y="698"/>
                    <a:pt x="2874" y="704"/>
                  </a:cubicBezTo>
                  <a:cubicBezTo>
                    <a:pt x="2874" y="709"/>
                    <a:pt x="2881" y="714"/>
                    <a:pt x="2888" y="714"/>
                  </a:cubicBezTo>
                  <a:cubicBezTo>
                    <a:pt x="2896" y="714"/>
                    <a:pt x="2901" y="709"/>
                    <a:pt x="2900" y="704"/>
                  </a:cubicBezTo>
                  <a:cubicBezTo>
                    <a:pt x="2899" y="698"/>
                    <a:pt x="2893" y="694"/>
                    <a:pt x="2886" y="694"/>
                  </a:cubicBezTo>
                  <a:cubicBezTo>
                    <a:pt x="2886" y="694"/>
                    <a:pt x="2886" y="694"/>
                    <a:pt x="2885" y="694"/>
                  </a:cubicBezTo>
                  <a:moveTo>
                    <a:pt x="2660" y="693"/>
                  </a:moveTo>
                  <a:cubicBezTo>
                    <a:pt x="2653" y="694"/>
                    <a:pt x="2647" y="698"/>
                    <a:pt x="2648" y="704"/>
                  </a:cubicBezTo>
                  <a:cubicBezTo>
                    <a:pt x="2648" y="709"/>
                    <a:pt x="2654" y="714"/>
                    <a:pt x="2662" y="714"/>
                  </a:cubicBezTo>
                  <a:cubicBezTo>
                    <a:pt x="2669" y="714"/>
                    <a:pt x="2675" y="709"/>
                    <a:pt x="2674" y="704"/>
                  </a:cubicBezTo>
                  <a:cubicBezTo>
                    <a:pt x="2674" y="698"/>
                    <a:pt x="2668" y="693"/>
                    <a:pt x="2660" y="693"/>
                  </a:cubicBezTo>
                  <a:cubicBezTo>
                    <a:pt x="2660" y="693"/>
                    <a:pt x="2660" y="693"/>
                    <a:pt x="2660" y="693"/>
                  </a:cubicBezTo>
                  <a:moveTo>
                    <a:pt x="2924" y="693"/>
                  </a:moveTo>
                  <a:cubicBezTo>
                    <a:pt x="2916" y="693"/>
                    <a:pt x="2911" y="698"/>
                    <a:pt x="2912" y="704"/>
                  </a:cubicBezTo>
                  <a:cubicBezTo>
                    <a:pt x="2913" y="709"/>
                    <a:pt x="2919" y="714"/>
                    <a:pt x="2927" y="714"/>
                  </a:cubicBezTo>
                  <a:cubicBezTo>
                    <a:pt x="2934" y="714"/>
                    <a:pt x="2939" y="709"/>
                    <a:pt x="2939" y="703"/>
                  </a:cubicBezTo>
                  <a:cubicBezTo>
                    <a:pt x="2938" y="698"/>
                    <a:pt x="2931" y="693"/>
                    <a:pt x="2924" y="693"/>
                  </a:cubicBezTo>
                  <a:cubicBezTo>
                    <a:pt x="2924" y="693"/>
                    <a:pt x="2924" y="693"/>
                    <a:pt x="2924" y="693"/>
                  </a:cubicBezTo>
                  <a:moveTo>
                    <a:pt x="2698" y="693"/>
                  </a:moveTo>
                  <a:cubicBezTo>
                    <a:pt x="2690" y="693"/>
                    <a:pt x="2685" y="698"/>
                    <a:pt x="2685" y="704"/>
                  </a:cubicBezTo>
                  <a:cubicBezTo>
                    <a:pt x="2686" y="709"/>
                    <a:pt x="2692" y="714"/>
                    <a:pt x="2699" y="714"/>
                  </a:cubicBezTo>
                  <a:cubicBezTo>
                    <a:pt x="2707" y="714"/>
                    <a:pt x="2712" y="709"/>
                    <a:pt x="2712" y="703"/>
                  </a:cubicBezTo>
                  <a:cubicBezTo>
                    <a:pt x="2711" y="698"/>
                    <a:pt x="2705" y="693"/>
                    <a:pt x="2698" y="693"/>
                  </a:cubicBezTo>
                  <a:cubicBezTo>
                    <a:pt x="2698" y="693"/>
                    <a:pt x="2698" y="693"/>
                    <a:pt x="2698" y="693"/>
                  </a:cubicBezTo>
                  <a:moveTo>
                    <a:pt x="2962" y="693"/>
                  </a:moveTo>
                  <a:cubicBezTo>
                    <a:pt x="2955" y="693"/>
                    <a:pt x="2949" y="698"/>
                    <a:pt x="2950" y="703"/>
                  </a:cubicBezTo>
                  <a:cubicBezTo>
                    <a:pt x="2951" y="709"/>
                    <a:pt x="2958" y="714"/>
                    <a:pt x="2965" y="714"/>
                  </a:cubicBezTo>
                  <a:cubicBezTo>
                    <a:pt x="2973" y="714"/>
                    <a:pt x="2978" y="709"/>
                    <a:pt x="2977" y="703"/>
                  </a:cubicBezTo>
                  <a:cubicBezTo>
                    <a:pt x="2976" y="698"/>
                    <a:pt x="2969" y="693"/>
                    <a:pt x="2962" y="693"/>
                  </a:cubicBezTo>
                  <a:cubicBezTo>
                    <a:pt x="2962" y="693"/>
                    <a:pt x="2962" y="693"/>
                    <a:pt x="2962" y="693"/>
                  </a:cubicBezTo>
                  <a:moveTo>
                    <a:pt x="2736" y="693"/>
                  </a:moveTo>
                  <a:cubicBezTo>
                    <a:pt x="2728" y="693"/>
                    <a:pt x="2723" y="698"/>
                    <a:pt x="2723" y="703"/>
                  </a:cubicBezTo>
                  <a:cubicBezTo>
                    <a:pt x="2724" y="709"/>
                    <a:pt x="2730" y="714"/>
                    <a:pt x="2737" y="714"/>
                  </a:cubicBezTo>
                  <a:cubicBezTo>
                    <a:pt x="2745" y="714"/>
                    <a:pt x="2750" y="709"/>
                    <a:pt x="2750" y="703"/>
                  </a:cubicBezTo>
                  <a:cubicBezTo>
                    <a:pt x="2749" y="698"/>
                    <a:pt x="2743" y="693"/>
                    <a:pt x="2736" y="693"/>
                  </a:cubicBezTo>
                  <a:cubicBezTo>
                    <a:pt x="2736" y="693"/>
                    <a:pt x="2736" y="693"/>
                    <a:pt x="2736" y="693"/>
                  </a:cubicBezTo>
                  <a:moveTo>
                    <a:pt x="3000" y="693"/>
                  </a:moveTo>
                  <a:cubicBezTo>
                    <a:pt x="2993" y="693"/>
                    <a:pt x="2987" y="698"/>
                    <a:pt x="2988" y="703"/>
                  </a:cubicBezTo>
                  <a:cubicBezTo>
                    <a:pt x="2989" y="709"/>
                    <a:pt x="2996" y="713"/>
                    <a:pt x="3004" y="713"/>
                  </a:cubicBezTo>
                  <a:cubicBezTo>
                    <a:pt x="3011" y="713"/>
                    <a:pt x="3016" y="709"/>
                    <a:pt x="3015" y="703"/>
                  </a:cubicBezTo>
                  <a:cubicBezTo>
                    <a:pt x="3014" y="697"/>
                    <a:pt x="3007" y="693"/>
                    <a:pt x="3000" y="693"/>
                  </a:cubicBezTo>
                  <a:cubicBezTo>
                    <a:pt x="3000" y="693"/>
                    <a:pt x="3000" y="693"/>
                    <a:pt x="3000" y="693"/>
                  </a:cubicBezTo>
                  <a:moveTo>
                    <a:pt x="3038" y="693"/>
                  </a:moveTo>
                  <a:cubicBezTo>
                    <a:pt x="3031" y="693"/>
                    <a:pt x="3025" y="697"/>
                    <a:pt x="3027" y="703"/>
                  </a:cubicBezTo>
                  <a:cubicBezTo>
                    <a:pt x="3028" y="709"/>
                    <a:pt x="3034" y="713"/>
                    <a:pt x="3042" y="713"/>
                  </a:cubicBezTo>
                  <a:cubicBezTo>
                    <a:pt x="3049" y="713"/>
                    <a:pt x="3054" y="709"/>
                    <a:pt x="3053" y="703"/>
                  </a:cubicBezTo>
                  <a:cubicBezTo>
                    <a:pt x="3052" y="697"/>
                    <a:pt x="3045" y="693"/>
                    <a:pt x="3038" y="693"/>
                  </a:cubicBezTo>
                  <a:cubicBezTo>
                    <a:pt x="3038" y="693"/>
                    <a:pt x="3038" y="693"/>
                    <a:pt x="3038" y="693"/>
                  </a:cubicBezTo>
                  <a:moveTo>
                    <a:pt x="3076" y="693"/>
                  </a:moveTo>
                  <a:cubicBezTo>
                    <a:pt x="3068" y="693"/>
                    <a:pt x="3063" y="697"/>
                    <a:pt x="3064" y="703"/>
                  </a:cubicBezTo>
                  <a:cubicBezTo>
                    <a:pt x="3066" y="708"/>
                    <a:pt x="3072" y="713"/>
                    <a:pt x="3080" y="713"/>
                  </a:cubicBezTo>
                  <a:cubicBezTo>
                    <a:pt x="3087" y="713"/>
                    <a:pt x="3092" y="708"/>
                    <a:pt x="3091" y="703"/>
                  </a:cubicBezTo>
                  <a:cubicBezTo>
                    <a:pt x="3090" y="697"/>
                    <a:pt x="3083" y="693"/>
                    <a:pt x="3076" y="693"/>
                  </a:cubicBezTo>
                  <a:cubicBezTo>
                    <a:pt x="3076" y="693"/>
                    <a:pt x="3076" y="693"/>
                    <a:pt x="3076" y="693"/>
                  </a:cubicBezTo>
                  <a:moveTo>
                    <a:pt x="3114" y="692"/>
                  </a:moveTo>
                  <a:cubicBezTo>
                    <a:pt x="3106" y="692"/>
                    <a:pt x="3101" y="697"/>
                    <a:pt x="3103" y="703"/>
                  </a:cubicBezTo>
                  <a:cubicBezTo>
                    <a:pt x="3104" y="708"/>
                    <a:pt x="3111" y="713"/>
                    <a:pt x="3118" y="713"/>
                  </a:cubicBezTo>
                  <a:cubicBezTo>
                    <a:pt x="3126" y="713"/>
                    <a:pt x="3131" y="708"/>
                    <a:pt x="3129" y="702"/>
                  </a:cubicBezTo>
                  <a:cubicBezTo>
                    <a:pt x="3128" y="697"/>
                    <a:pt x="3121" y="692"/>
                    <a:pt x="3114" y="692"/>
                  </a:cubicBezTo>
                  <a:cubicBezTo>
                    <a:pt x="3114" y="692"/>
                    <a:pt x="3114" y="692"/>
                    <a:pt x="3114" y="692"/>
                  </a:cubicBezTo>
                  <a:moveTo>
                    <a:pt x="3153" y="692"/>
                  </a:moveTo>
                  <a:cubicBezTo>
                    <a:pt x="3146" y="692"/>
                    <a:pt x="3141" y="697"/>
                    <a:pt x="3142" y="702"/>
                  </a:cubicBezTo>
                  <a:cubicBezTo>
                    <a:pt x="3143" y="708"/>
                    <a:pt x="3150" y="713"/>
                    <a:pt x="3158" y="713"/>
                  </a:cubicBezTo>
                  <a:cubicBezTo>
                    <a:pt x="3165" y="713"/>
                    <a:pt x="3170" y="708"/>
                    <a:pt x="3169" y="702"/>
                  </a:cubicBezTo>
                  <a:cubicBezTo>
                    <a:pt x="3167" y="697"/>
                    <a:pt x="3160" y="692"/>
                    <a:pt x="3153" y="692"/>
                  </a:cubicBezTo>
                  <a:cubicBezTo>
                    <a:pt x="3153" y="692"/>
                    <a:pt x="3153" y="692"/>
                    <a:pt x="3153" y="692"/>
                  </a:cubicBezTo>
                  <a:moveTo>
                    <a:pt x="3191" y="692"/>
                  </a:moveTo>
                  <a:cubicBezTo>
                    <a:pt x="3184" y="692"/>
                    <a:pt x="3179" y="697"/>
                    <a:pt x="3180" y="702"/>
                  </a:cubicBezTo>
                  <a:cubicBezTo>
                    <a:pt x="3181" y="708"/>
                    <a:pt x="3188" y="712"/>
                    <a:pt x="3196" y="712"/>
                  </a:cubicBezTo>
                  <a:cubicBezTo>
                    <a:pt x="3203" y="712"/>
                    <a:pt x="3208" y="708"/>
                    <a:pt x="3207" y="702"/>
                  </a:cubicBezTo>
                  <a:cubicBezTo>
                    <a:pt x="3205" y="696"/>
                    <a:pt x="3198" y="692"/>
                    <a:pt x="3191" y="692"/>
                  </a:cubicBezTo>
                  <a:cubicBezTo>
                    <a:pt x="3191" y="692"/>
                    <a:pt x="3191" y="692"/>
                    <a:pt x="3191" y="692"/>
                  </a:cubicBezTo>
                  <a:moveTo>
                    <a:pt x="3687" y="692"/>
                  </a:moveTo>
                  <a:cubicBezTo>
                    <a:pt x="3679" y="692"/>
                    <a:pt x="3675" y="696"/>
                    <a:pt x="3677" y="702"/>
                  </a:cubicBezTo>
                  <a:cubicBezTo>
                    <a:pt x="3680" y="708"/>
                    <a:pt x="3688" y="712"/>
                    <a:pt x="3695" y="712"/>
                  </a:cubicBezTo>
                  <a:cubicBezTo>
                    <a:pt x="3702" y="712"/>
                    <a:pt x="3707" y="708"/>
                    <a:pt x="3704" y="702"/>
                  </a:cubicBezTo>
                  <a:cubicBezTo>
                    <a:pt x="3702" y="696"/>
                    <a:pt x="3694" y="692"/>
                    <a:pt x="3687" y="692"/>
                  </a:cubicBezTo>
                  <a:cubicBezTo>
                    <a:pt x="3687" y="692"/>
                    <a:pt x="3687" y="692"/>
                    <a:pt x="3687" y="692"/>
                  </a:cubicBezTo>
                  <a:moveTo>
                    <a:pt x="3229" y="692"/>
                  </a:moveTo>
                  <a:cubicBezTo>
                    <a:pt x="3222" y="692"/>
                    <a:pt x="3217" y="696"/>
                    <a:pt x="3218" y="702"/>
                  </a:cubicBezTo>
                  <a:cubicBezTo>
                    <a:pt x="3220" y="708"/>
                    <a:pt x="3227" y="712"/>
                    <a:pt x="3234" y="712"/>
                  </a:cubicBezTo>
                  <a:cubicBezTo>
                    <a:pt x="3242" y="712"/>
                    <a:pt x="3246" y="708"/>
                    <a:pt x="3245" y="702"/>
                  </a:cubicBezTo>
                  <a:cubicBezTo>
                    <a:pt x="3243" y="696"/>
                    <a:pt x="3236" y="692"/>
                    <a:pt x="3229" y="692"/>
                  </a:cubicBezTo>
                  <a:cubicBezTo>
                    <a:pt x="3229" y="692"/>
                    <a:pt x="3229" y="692"/>
                    <a:pt x="3229" y="692"/>
                  </a:cubicBezTo>
                  <a:moveTo>
                    <a:pt x="3724" y="692"/>
                  </a:moveTo>
                  <a:cubicBezTo>
                    <a:pt x="3717" y="692"/>
                    <a:pt x="3713" y="696"/>
                    <a:pt x="3715" y="702"/>
                  </a:cubicBezTo>
                  <a:cubicBezTo>
                    <a:pt x="3718" y="708"/>
                    <a:pt x="3726" y="712"/>
                    <a:pt x="3733" y="712"/>
                  </a:cubicBezTo>
                  <a:cubicBezTo>
                    <a:pt x="3741" y="712"/>
                    <a:pt x="3745" y="707"/>
                    <a:pt x="3742" y="702"/>
                  </a:cubicBezTo>
                  <a:cubicBezTo>
                    <a:pt x="3740" y="696"/>
                    <a:pt x="3732" y="692"/>
                    <a:pt x="3724" y="692"/>
                  </a:cubicBezTo>
                  <a:cubicBezTo>
                    <a:pt x="3724" y="692"/>
                    <a:pt x="3724" y="692"/>
                    <a:pt x="3724" y="692"/>
                  </a:cubicBezTo>
                  <a:moveTo>
                    <a:pt x="2774" y="692"/>
                  </a:moveTo>
                  <a:cubicBezTo>
                    <a:pt x="2766" y="692"/>
                    <a:pt x="2761" y="696"/>
                    <a:pt x="2761" y="702"/>
                  </a:cubicBezTo>
                  <a:cubicBezTo>
                    <a:pt x="2762" y="708"/>
                    <a:pt x="2768" y="712"/>
                    <a:pt x="2776" y="712"/>
                  </a:cubicBezTo>
                  <a:cubicBezTo>
                    <a:pt x="2783" y="712"/>
                    <a:pt x="2789" y="707"/>
                    <a:pt x="2788" y="702"/>
                  </a:cubicBezTo>
                  <a:cubicBezTo>
                    <a:pt x="2787" y="696"/>
                    <a:pt x="2781" y="692"/>
                    <a:pt x="2774" y="692"/>
                  </a:cubicBezTo>
                  <a:cubicBezTo>
                    <a:pt x="2774" y="692"/>
                    <a:pt x="2774" y="692"/>
                    <a:pt x="2774" y="692"/>
                  </a:cubicBezTo>
                  <a:moveTo>
                    <a:pt x="3267" y="691"/>
                  </a:moveTo>
                  <a:cubicBezTo>
                    <a:pt x="3260" y="692"/>
                    <a:pt x="3255" y="696"/>
                    <a:pt x="3257" y="702"/>
                  </a:cubicBezTo>
                  <a:cubicBezTo>
                    <a:pt x="3258" y="708"/>
                    <a:pt x="3266" y="712"/>
                    <a:pt x="3273" y="712"/>
                  </a:cubicBezTo>
                  <a:cubicBezTo>
                    <a:pt x="3280" y="712"/>
                    <a:pt x="3285" y="707"/>
                    <a:pt x="3284" y="702"/>
                  </a:cubicBezTo>
                  <a:cubicBezTo>
                    <a:pt x="3282" y="696"/>
                    <a:pt x="3275" y="691"/>
                    <a:pt x="3267" y="691"/>
                  </a:cubicBezTo>
                  <a:cubicBezTo>
                    <a:pt x="3267" y="691"/>
                    <a:pt x="3267" y="691"/>
                    <a:pt x="3267" y="691"/>
                  </a:cubicBezTo>
                  <a:moveTo>
                    <a:pt x="3762" y="691"/>
                  </a:moveTo>
                  <a:cubicBezTo>
                    <a:pt x="3755" y="691"/>
                    <a:pt x="3751" y="696"/>
                    <a:pt x="3754" y="702"/>
                  </a:cubicBezTo>
                  <a:cubicBezTo>
                    <a:pt x="3756" y="707"/>
                    <a:pt x="3764" y="712"/>
                    <a:pt x="3772" y="712"/>
                  </a:cubicBezTo>
                  <a:cubicBezTo>
                    <a:pt x="3779" y="712"/>
                    <a:pt x="3783" y="707"/>
                    <a:pt x="3780" y="702"/>
                  </a:cubicBezTo>
                  <a:cubicBezTo>
                    <a:pt x="3778" y="696"/>
                    <a:pt x="3770" y="691"/>
                    <a:pt x="3763" y="691"/>
                  </a:cubicBezTo>
                  <a:cubicBezTo>
                    <a:pt x="3762" y="691"/>
                    <a:pt x="3762" y="691"/>
                    <a:pt x="3762" y="691"/>
                  </a:cubicBezTo>
                  <a:moveTo>
                    <a:pt x="3305" y="691"/>
                  </a:moveTo>
                  <a:cubicBezTo>
                    <a:pt x="3298" y="691"/>
                    <a:pt x="3293" y="696"/>
                    <a:pt x="3295" y="702"/>
                  </a:cubicBezTo>
                  <a:cubicBezTo>
                    <a:pt x="3296" y="707"/>
                    <a:pt x="3304" y="712"/>
                    <a:pt x="3311" y="712"/>
                  </a:cubicBezTo>
                  <a:cubicBezTo>
                    <a:pt x="3318" y="712"/>
                    <a:pt x="3323" y="707"/>
                    <a:pt x="3321" y="701"/>
                  </a:cubicBezTo>
                  <a:cubicBezTo>
                    <a:pt x="3320" y="696"/>
                    <a:pt x="3313" y="691"/>
                    <a:pt x="3305" y="691"/>
                  </a:cubicBezTo>
                  <a:cubicBezTo>
                    <a:pt x="3305" y="691"/>
                    <a:pt x="3305" y="691"/>
                    <a:pt x="3305" y="691"/>
                  </a:cubicBezTo>
                  <a:moveTo>
                    <a:pt x="3803" y="691"/>
                  </a:moveTo>
                  <a:cubicBezTo>
                    <a:pt x="3795" y="691"/>
                    <a:pt x="3792" y="696"/>
                    <a:pt x="3794" y="702"/>
                  </a:cubicBezTo>
                  <a:cubicBezTo>
                    <a:pt x="3797" y="707"/>
                    <a:pt x="3805" y="712"/>
                    <a:pt x="3812" y="712"/>
                  </a:cubicBezTo>
                  <a:cubicBezTo>
                    <a:pt x="3820" y="712"/>
                    <a:pt x="3823" y="707"/>
                    <a:pt x="3821" y="701"/>
                  </a:cubicBezTo>
                  <a:cubicBezTo>
                    <a:pt x="3818" y="696"/>
                    <a:pt x="3810" y="691"/>
                    <a:pt x="3803" y="691"/>
                  </a:cubicBezTo>
                  <a:cubicBezTo>
                    <a:pt x="3803" y="691"/>
                    <a:pt x="3803" y="691"/>
                    <a:pt x="3803" y="691"/>
                  </a:cubicBezTo>
                  <a:moveTo>
                    <a:pt x="3343" y="691"/>
                  </a:moveTo>
                  <a:cubicBezTo>
                    <a:pt x="3336" y="691"/>
                    <a:pt x="3331" y="696"/>
                    <a:pt x="3333" y="701"/>
                  </a:cubicBezTo>
                  <a:cubicBezTo>
                    <a:pt x="3335" y="707"/>
                    <a:pt x="3342" y="712"/>
                    <a:pt x="3349" y="712"/>
                  </a:cubicBezTo>
                  <a:cubicBezTo>
                    <a:pt x="3357" y="712"/>
                    <a:pt x="3361" y="707"/>
                    <a:pt x="3360" y="701"/>
                  </a:cubicBezTo>
                  <a:cubicBezTo>
                    <a:pt x="3358" y="696"/>
                    <a:pt x="3351" y="691"/>
                    <a:pt x="3343" y="691"/>
                  </a:cubicBezTo>
                  <a:cubicBezTo>
                    <a:pt x="3343" y="691"/>
                    <a:pt x="3343" y="691"/>
                    <a:pt x="3343" y="691"/>
                  </a:cubicBezTo>
                  <a:moveTo>
                    <a:pt x="2622" y="691"/>
                  </a:moveTo>
                  <a:cubicBezTo>
                    <a:pt x="2615" y="691"/>
                    <a:pt x="2609" y="696"/>
                    <a:pt x="2609" y="701"/>
                  </a:cubicBezTo>
                  <a:cubicBezTo>
                    <a:pt x="2610" y="707"/>
                    <a:pt x="2616" y="712"/>
                    <a:pt x="2623" y="712"/>
                  </a:cubicBezTo>
                  <a:cubicBezTo>
                    <a:pt x="2631" y="711"/>
                    <a:pt x="2636" y="707"/>
                    <a:pt x="2636" y="701"/>
                  </a:cubicBezTo>
                  <a:cubicBezTo>
                    <a:pt x="2636" y="696"/>
                    <a:pt x="2630" y="691"/>
                    <a:pt x="2622" y="691"/>
                  </a:cubicBezTo>
                  <a:cubicBezTo>
                    <a:pt x="2622" y="691"/>
                    <a:pt x="2622" y="691"/>
                    <a:pt x="2622" y="691"/>
                  </a:cubicBezTo>
                  <a:moveTo>
                    <a:pt x="3840" y="691"/>
                  </a:moveTo>
                  <a:cubicBezTo>
                    <a:pt x="3833" y="691"/>
                    <a:pt x="3829" y="696"/>
                    <a:pt x="3832" y="701"/>
                  </a:cubicBezTo>
                  <a:cubicBezTo>
                    <a:pt x="3834" y="707"/>
                    <a:pt x="3843" y="712"/>
                    <a:pt x="3850" y="712"/>
                  </a:cubicBezTo>
                  <a:cubicBezTo>
                    <a:pt x="3857" y="711"/>
                    <a:pt x="3861" y="707"/>
                    <a:pt x="3858" y="701"/>
                  </a:cubicBezTo>
                  <a:cubicBezTo>
                    <a:pt x="3856" y="696"/>
                    <a:pt x="3848" y="691"/>
                    <a:pt x="3840" y="691"/>
                  </a:cubicBezTo>
                  <a:cubicBezTo>
                    <a:pt x="3840" y="691"/>
                    <a:pt x="3840" y="691"/>
                    <a:pt x="3840" y="691"/>
                  </a:cubicBezTo>
                  <a:moveTo>
                    <a:pt x="3381" y="691"/>
                  </a:moveTo>
                  <a:cubicBezTo>
                    <a:pt x="3374" y="691"/>
                    <a:pt x="3369" y="696"/>
                    <a:pt x="3371" y="701"/>
                  </a:cubicBezTo>
                  <a:cubicBezTo>
                    <a:pt x="3373" y="707"/>
                    <a:pt x="3380" y="711"/>
                    <a:pt x="3387" y="711"/>
                  </a:cubicBezTo>
                  <a:cubicBezTo>
                    <a:pt x="3395" y="711"/>
                    <a:pt x="3399" y="707"/>
                    <a:pt x="3397" y="701"/>
                  </a:cubicBezTo>
                  <a:cubicBezTo>
                    <a:pt x="3396" y="695"/>
                    <a:pt x="3388" y="691"/>
                    <a:pt x="3381" y="691"/>
                  </a:cubicBezTo>
                  <a:cubicBezTo>
                    <a:pt x="3381" y="691"/>
                    <a:pt x="3381" y="691"/>
                    <a:pt x="3381" y="691"/>
                  </a:cubicBezTo>
                  <a:moveTo>
                    <a:pt x="3878" y="691"/>
                  </a:moveTo>
                  <a:cubicBezTo>
                    <a:pt x="3871" y="691"/>
                    <a:pt x="3867" y="695"/>
                    <a:pt x="3870" y="701"/>
                  </a:cubicBezTo>
                  <a:cubicBezTo>
                    <a:pt x="3872" y="707"/>
                    <a:pt x="3881" y="711"/>
                    <a:pt x="3888" y="711"/>
                  </a:cubicBezTo>
                  <a:cubicBezTo>
                    <a:pt x="3895" y="711"/>
                    <a:pt x="3899" y="707"/>
                    <a:pt x="3896" y="701"/>
                  </a:cubicBezTo>
                  <a:cubicBezTo>
                    <a:pt x="3894" y="695"/>
                    <a:pt x="3885" y="691"/>
                    <a:pt x="3878" y="691"/>
                  </a:cubicBezTo>
                  <a:cubicBezTo>
                    <a:pt x="3878" y="691"/>
                    <a:pt x="3878" y="691"/>
                    <a:pt x="3878" y="691"/>
                  </a:cubicBezTo>
                  <a:moveTo>
                    <a:pt x="3419" y="691"/>
                  </a:moveTo>
                  <a:cubicBezTo>
                    <a:pt x="3412" y="691"/>
                    <a:pt x="3407" y="695"/>
                    <a:pt x="3409" y="701"/>
                  </a:cubicBezTo>
                  <a:cubicBezTo>
                    <a:pt x="3411" y="707"/>
                    <a:pt x="3418" y="711"/>
                    <a:pt x="3426" y="711"/>
                  </a:cubicBezTo>
                  <a:cubicBezTo>
                    <a:pt x="3433" y="711"/>
                    <a:pt x="3438" y="707"/>
                    <a:pt x="3436" y="701"/>
                  </a:cubicBezTo>
                  <a:cubicBezTo>
                    <a:pt x="3434" y="695"/>
                    <a:pt x="3426" y="691"/>
                    <a:pt x="3419" y="691"/>
                  </a:cubicBezTo>
                  <a:cubicBezTo>
                    <a:pt x="3419" y="691"/>
                    <a:pt x="3419" y="691"/>
                    <a:pt x="3419" y="691"/>
                  </a:cubicBezTo>
                  <a:moveTo>
                    <a:pt x="3916" y="691"/>
                  </a:moveTo>
                  <a:cubicBezTo>
                    <a:pt x="3909" y="691"/>
                    <a:pt x="3905" y="695"/>
                    <a:pt x="3908" y="701"/>
                  </a:cubicBezTo>
                  <a:cubicBezTo>
                    <a:pt x="3911" y="707"/>
                    <a:pt x="3919" y="711"/>
                    <a:pt x="3926" y="711"/>
                  </a:cubicBezTo>
                  <a:cubicBezTo>
                    <a:pt x="3934" y="711"/>
                    <a:pt x="3937" y="706"/>
                    <a:pt x="3935" y="701"/>
                  </a:cubicBezTo>
                  <a:cubicBezTo>
                    <a:pt x="3932" y="695"/>
                    <a:pt x="3924" y="691"/>
                    <a:pt x="3916" y="691"/>
                  </a:cubicBezTo>
                  <a:cubicBezTo>
                    <a:pt x="3916" y="691"/>
                    <a:pt x="3916" y="691"/>
                    <a:pt x="3916" y="691"/>
                  </a:cubicBezTo>
                  <a:moveTo>
                    <a:pt x="3457" y="690"/>
                  </a:moveTo>
                  <a:cubicBezTo>
                    <a:pt x="3450" y="691"/>
                    <a:pt x="3446" y="695"/>
                    <a:pt x="3448" y="701"/>
                  </a:cubicBezTo>
                  <a:cubicBezTo>
                    <a:pt x="3449" y="707"/>
                    <a:pt x="3457" y="711"/>
                    <a:pt x="3464" y="711"/>
                  </a:cubicBezTo>
                  <a:cubicBezTo>
                    <a:pt x="3472" y="711"/>
                    <a:pt x="3476" y="706"/>
                    <a:pt x="3474" y="701"/>
                  </a:cubicBezTo>
                  <a:cubicBezTo>
                    <a:pt x="3472" y="695"/>
                    <a:pt x="3465" y="690"/>
                    <a:pt x="3458" y="690"/>
                  </a:cubicBezTo>
                  <a:cubicBezTo>
                    <a:pt x="3458" y="690"/>
                    <a:pt x="3458" y="690"/>
                    <a:pt x="3457" y="690"/>
                  </a:cubicBezTo>
                  <a:moveTo>
                    <a:pt x="3955" y="690"/>
                  </a:moveTo>
                  <a:cubicBezTo>
                    <a:pt x="3947" y="690"/>
                    <a:pt x="3944" y="695"/>
                    <a:pt x="3946" y="701"/>
                  </a:cubicBezTo>
                  <a:cubicBezTo>
                    <a:pt x="3949" y="706"/>
                    <a:pt x="3958" y="711"/>
                    <a:pt x="3965" y="711"/>
                  </a:cubicBezTo>
                  <a:cubicBezTo>
                    <a:pt x="3972" y="711"/>
                    <a:pt x="3976" y="706"/>
                    <a:pt x="3973" y="701"/>
                  </a:cubicBezTo>
                  <a:cubicBezTo>
                    <a:pt x="3970" y="695"/>
                    <a:pt x="3962" y="690"/>
                    <a:pt x="3955" y="690"/>
                  </a:cubicBezTo>
                  <a:cubicBezTo>
                    <a:pt x="3955" y="690"/>
                    <a:pt x="3955" y="690"/>
                    <a:pt x="3955" y="690"/>
                  </a:cubicBezTo>
                  <a:moveTo>
                    <a:pt x="3495" y="690"/>
                  </a:moveTo>
                  <a:cubicBezTo>
                    <a:pt x="3488" y="690"/>
                    <a:pt x="3484" y="695"/>
                    <a:pt x="3486" y="701"/>
                  </a:cubicBezTo>
                  <a:cubicBezTo>
                    <a:pt x="3487" y="706"/>
                    <a:pt x="3495" y="711"/>
                    <a:pt x="3502" y="711"/>
                  </a:cubicBezTo>
                  <a:cubicBezTo>
                    <a:pt x="3510" y="711"/>
                    <a:pt x="3514" y="706"/>
                    <a:pt x="3512" y="700"/>
                  </a:cubicBezTo>
                  <a:cubicBezTo>
                    <a:pt x="3510" y="695"/>
                    <a:pt x="3503" y="690"/>
                    <a:pt x="3495" y="690"/>
                  </a:cubicBezTo>
                  <a:cubicBezTo>
                    <a:pt x="3495" y="690"/>
                    <a:pt x="3495" y="690"/>
                    <a:pt x="3495" y="690"/>
                  </a:cubicBezTo>
                  <a:moveTo>
                    <a:pt x="3992" y="690"/>
                  </a:moveTo>
                  <a:cubicBezTo>
                    <a:pt x="3985" y="690"/>
                    <a:pt x="3981" y="695"/>
                    <a:pt x="3984" y="701"/>
                  </a:cubicBezTo>
                  <a:cubicBezTo>
                    <a:pt x="3987" y="706"/>
                    <a:pt x="3996" y="711"/>
                    <a:pt x="4003" y="711"/>
                  </a:cubicBezTo>
                  <a:cubicBezTo>
                    <a:pt x="4010" y="711"/>
                    <a:pt x="4014" y="706"/>
                    <a:pt x="4011" y="700"/>
                  </a:cubicBezTo>
                  <a:cubicBezTo>
                    <a:pt x="4008" y="695"/>
                    <a:pt x="4000" y="690"/>
                    <a:pt x="3992" y="690"/>
                  </a:cubicBezTo>
                  <a:cubicBezTo>
                    <a:pt x="3992" y="690"/>
                    <a:pt x="3992" y="690"/>
                    <a:pt x="3992" y="690"/>
                  </a:cubicBezTo>
                  <a:moveTo>
                    <a:pt x="3533" y="690"/>
                  </a:moveTo>
                  <a:cubicBezTo>
                    <a:pt x="3526" y="690"/>
                    <a:pt x="3522" y="695"/>
                    <a:pt x="3524" y="700"/>
                  </a:cubicBezTo>
                  <a:cubicBezTo>
                    <a:pt x="3526" y="706"/>
                    <a:pt x="3533" y="711"/>
                    <a:pt x="3541" y="711"/>
                  </a:cubicBezTo>
                  <a:cubicBezTo>
                    <a:pt x="3548" y="711"/>
                    <a:pt x="3552" y="706"/>
                    <a:pt x="3550" y="700"/>
                  </a:cubicBezTo>
                  <a:cubicBezTo>
                    <a:pt x="3548" y="695"/>
                    <a:pt x="3541" y="690"/>
                    <a:pt x="3533" y="690"/>
                  </a:cubicBezTo>
                  <a:cubicBezTo>
                    <a:pt x="3533" y="690"/>
                    <a:pt x="3533" y="690"/>
                    <a:pt x="3533" y="690"/>
                  </a:cubicBezTo>
                  <a:moveTo>
                    <a:pt x="4029" y="690"/>
                  </a:moveTo>
                  <a:cubicBezTo>
                    <a:pt x="4022" y="690"/>
                    <a:pt x="4018" y="695"/>
                    <a:pt x="4021" y="700"/>
                  </a:cubicBezTo>
                  <a:cubicBezTo>
                    <a:pt x="4024" y="706"/>
                    <a:pt x="4033" y="711"/>
                    <a:pt x="4040" y="711"/>
                  </a:cubicBezTo>
                  <a:cubicBezTo>
                    <a:pt x="4048" y="710"/>
                    <a:pt x="4051" y="706"/>
                    <a:pt x="4048" y="700"/>
                  </a:cubicBezTo>
                  <a:cubicBezTo>
                    <a:pt x="4045" y="695"/>
                    <a:pt x="4037" y="690"/>
                    <a:pt x="4029" y="690"/>
                  </a:cubicBezTo>
                  <a:cubicBezTo>
                    <a:pt x="4029" y="690"/>
                    <a:pt x="4029" y="690"/>
                    <a:pt x="4029" y="690"/>
                  </a:cubicBezTo>
                  <a:moveTo>
                    <a:pt x="3571" y="690"/>
                  </a:moveTo>
                  <a:cubicBezTo>
                    <a:pt x="3564" y="690"/>
                    <a:pt x="3559" y="695"/>
                    <a:pt x="3562" y="700"/>
                  </a:cubicBezTo>
                  <a:cubicBezTo>
                    <a:pt x="3564" y="706"/>
                    <a:pt x="3571" y="710"/>
                    <a:pt x="3579" y="710"/>
                  </a:cubicBezTo>
                  <a:cubicBezTo>
                    <a:pt x="3586" y="710"/>
                    <a:pt x="3590" y="706"/>
                    <a:pt x="3588" y="700"/>
                  </a:cubicBezTo>
                  <a:cubicBezTo>
                    <a:pt x="3586" y="694"/>
                    <a:pt x="3578" y="690"/>
                    <a:pt x="3571" y="690"/>
                  </a:cubicBezTo>
                  <a:cubicBezTo>
                    <a:pt x="3571" y="690"/>
                    <a:pt x="3571" y="690"/>
                    <a:pt x="3571" y="690"/>
                  </a:cubicBezTo>
                  <a:moveTo>
                    <a:pt x="4061" y="690"/>
                  </a:moveTo>
                  <a:cubicBezTo>
                    <a:pt x="4053" y="690"/>
                    <a:pt x="4050" y="694"/>
                    <a:pt x="4053" y="700"/>
                  </a:cubicBezTo>
                  <a:cubicBezTo>
                    <a:pt x="4056" y="706"/>
                    <a:pt x="4064" y="710"/>
                    <a:pt x="4072" y="710"/>
                  </a:cubicBezTo>
                  <a:cubicBezTo>
                    <a:pt x="4079" y="710"/>
                    <a:pt x="4083" y="706"/>
                    <a:pt x="4080" y="700"/>
                  </a:cubicBezTo>
                  <a:cubicBezTo>
                    <a:pt x="4076" y="694"/>
                    <a:pt x="4068" y="690"/>
                    <a:pt x="4061" y="690"/>
                  </a:cubicBezTo>
                  <a:cubicBezTo>
                    <a:pt x="4061" y="690"/>
                    <a:pt x="4061" y="690"/>
                    <a:pt x="4061" y="690"/>
                  </a:cubicBezTo>
                  <a:moveTo>
                    <a:pt x="3609" y="690"/>
                  </a:moveTo>
                  <a:cubicBezTo>
                    <a:pt x="3602" y="690"/>
                    <a:pt x="3598" y="694"/>
                    <a:pt x="3600" y="700"/>
                  </a:cubicBezTo>
                  <a:cubicBezTo>
                    <a:pt x="3602" y="706"/>
                    <a:pt x="3610" y="710"/>
                    <a:pt x="3617" y="710"/>
                  </a:cubicBezTo>
                  <a:cubicBezTo>
                    <a:pt x="3625" y="710"/>
                    <a:pt x="3629" y="706"/>
                    <a:pt x="3626" y="700"/>
                  </a:cubicBezTo>
                  <a:cubicBezTo>
                    <a:pt x="3624" y="694"/>
                    <a:pt x="3617" y="690"/>
                    <a:pt x="3609" y="690"/>
                  </a:cubicBezTo>
                  <a:cubicBezTo>
                    <a:pt x="3609" y="690"/>
                    <a:pt x="3609" y="690"/>
                    <a:pt x="3609" y="690"/>
                  </a:cubicBezTo>
                  <a:moveTo>
                    <a:pt x="3648" y="689"/>
                  </a:moveTo>
                  <a:cubicBezTo>
                    <a:pt x="3640" y="690"/>
                    <a:pt x="3636" y="694"/>
                    <a:pt x="3638" y="700"/>
                  </a:cubicBezTo>
                  <a:cubicBezTo>
                    <a:pt x="3641" y="706"/>
                    <a:pt x="3648" y="710"/>
                    <a:pt x="3656" y="710"/>
                  </a:cubicBezTo>
                  <a:cubicBezTo>
                    <a:pt x="3663" y="710"/>
                    <a:pt x="3667" y="705"/>
                    <a:pt x="3665" y="700"/>
                  </a:cubicBezTo>
                  <a:cubicBezTo>
                    <a:pt x="3663" y="694"/>
                    <a:pt x="3655" y="689"/>
                    <a:pt x="3648" y="689"/>
                  </a:cubicBezTo>
                  <a:cubicBezTo>
                    <a:pt x="3648" y="689"/>
                    <a:pt x="3648" y="689"/>
                    <a:pt x="3648" y="689"/>
                  </a:cubicBezTo>
                  <a:moveTo>
                    <a:pt x="89" y="681"/>
                  </a:moveTo>
                  <a:cubicBezTo>
                    <a:pt x="82" y="681"/>
                    <a:pt x="72" y="685"/>
                    <a:pt x="68" y="691"/>
                  </a:cubicBezTo>
                  <a:cubicBezTo>
                    <a:pt x="63" y="697"/>
                    <a:pt x="65" y="701"/>
                    <a:pt x="72" y="701"/>
                  </a:cubicBezTo>
                  <a:cubicBezTo>
                    <a:pt x="80" y="701"/>
                    <a:pt x="90" y="696"/>
                    <a:pt x="94" y="691"/>
                  </a:cubicBezTo>
                  <a:cubicBezTo>
                    <a:pt x="99" y="685"/>
                    <a:pt x="97" y="681"/>
                    <a:pt x="90" y="681"/>
                  </a:cubicBezTo>
                  <a:cubicBezTo>
                    <a:pt x="89" y="681"/>
                    <a:pt x="89" y="681"/>
                    <a:pt x="89" y="681"/>
                  </a:cubicBezTo>
                  <a:moveTo>
                    <a:pt x="127" y="681"/>
                  </a:moveTo>
                  <a:cubicBezTo>
                    <a:pt x="120" y="681"/>
                    <a:pt x="110" y="685"/>
                    <a:pt x="106" y="691"/>
                  </a:cubicBezTo>
                  <a:cubicBezTo>
                    <a:pt x="101" y="696"/>
                    <a:pt x="103" y="701"/>
                    <a:pt x="110" y="701"/>
                  </a:cubicBezTo>
                  <a:cubicBezTo>
                    <a:pt x="118" y="701"/>
                    <a:pt x="128" y="696"/>
                    <a:pt x="132" y="691"/>
                  </a:cubicBezTo>
                  <a:cubicBezTo>
                    <a:pt x="137" y="685"/>
                    <a:pt x="135" y="681"/>
                    <a:pt x="127" y="681"/>
                  </a:cubicBezTo>
                  <a:cubicBezTo>
                    <a:pt x="127" y="681"/>
                    <a:pt x="127" y="681"/>
                    <a:pt x="127" y="681"/>
                  </a:cubicBezTo>
                  <a:moveTo>
                    <a:pt x="165" y="680"/>
                  </a:moveTo>
                  <a:cubicBezTo>
                    <a:pt x="157" y="680"/>
                    <a:pt x="148" y="685"/>
                    <a:pt x="143" y="691"/>
                  </a:cubicBezTo>
                  <a:cubicBezTo>
                    <a:pt x="139" y="696"/>
                    <a:pt x="141" y="701"/>
                    <a:pt x="148" y="701"/>
                  </a:cubicBezTo>
                  <a:cubicBezTo>
                    <a:pt x="156" y="701"/>
                    <a:pt x="165" y="696"/>
                    <a:pt x="170" y="690"/>
                  </a:cubicBezTo>
                  <a:cubicBezTo>
                    <a:pt x="174" y="685"/>
                    <a:pt x="172" y="680"/>
                    <a:pt x="165" y="680"/>
                  </a:cubicBezTo>
                  <a:cubicBezTo>
                    <a:pt x="165" y="680"/>
                    <a:pt x="165" y="680"/>
                    <a:pt x="165" y="680"/>
                  </a:cubicBezTo>
                  <a:moveTo>
                    <a:pt x="203" y="680"/>
                  </a:moveTo>
                  <a:cubicBezTo>
                    <a:pt x="195" y="680"/>
                    <a:pt x="186" y="685"/>
                    <a:pt x="181" y="690"/>
                  </a:cubicBezTo>
                  <a:cubicBezTo>
                    <a:pt x="177" y="696"/>
                    <a:pt x="179" y="700"/>
                    <a:pt x="186" y="700"/>
                  </a:cubicBezTo>
                  <a:cubicBezTo>
                    <a:pt x="194" y="700"/>
                    <a:pt x="203" y="696"/>
                    <a:pt x="208" y="690"/>
                  </a:cubicBezTo>
                  <a:cubicBezTo>
                    <a:pt x="212" y="685"/>
                    <a:pt x="210" y="680"/>
                    <a:pt x="203" y="680"/>
                  </a:cubicBezTo>
                  <a:cubicBezTo>
                    <a:pt x="203" y="680"/>
                    <a:pt x="203" y="680"/>
                    <a:pt x="203" y="680"/>
                  </a:cubicBezTo>
                  <a:moveTo>
                    <a:pt x="240" y="680"/>
                  </a:moveTo>
                  <a:cubicBezTo>
                    <a:pt x="233" y="680"/>
                    <a:pt x="223" y="685"/>
                    <a:pt x="219" y="690"/>
                  </a:cubicBezTo>
                  <a:cubicBezTo>
                    <a:pt x="215" y="696"/>
                    <a:pt x="217" y="700"/>
                    <a:pt x="224" y="700"/>
                  </a:cubicBezTo>
                  <a:cubicBezTo>
                    <a:pt x="232" y="700"/>
                    <a:pt x="241" y="696"/>
                    <a:pt x="246" y="690"/>
                  </a:cubicBezTo>
                  <a:cubicBezTo>
                    <a:pt x="250" y="684"/>
                    <a:pt x="248" y="680"/>
                    <a:pt x="240" y="680"/>
                  </a:cubicBezTo>
                  <a:cubicBezTo>
                    <a:pt x="240" y="680"/>
                    <a:pt x="240" y="680"/>
                    <a:pt x="240" y="680"/>
                  </a:cubicBezTo>
                  <a:moveTo>
                    <a:pt x="278" y="680"/>
                  </a:moveTo>
                  <a:cubicBezTo>
                    <a:pt x="271" y="680"/>
                    <a:pt x="261" y="684"/>
                    <a:pt x="257" y="690"/>
                  </a:cubicBezTo>
                  <a:cubicBezTo>
                    <a:pt x="253" y="696"/>
                    <a:pt x="255" y="700"/>
                    <a:pt x="262" y="700"/>
                  </a:cubicBezTo>
                  <a:cubicBezTo>
                    <a:pt x="270" y="700"/>
                    <a:pt x="279" y="695"/>
                    <a:pt x="284" y="690"/>
                  </a:cubicBezTo>
                  <a:cubicBezTo>
                    <a:pt x="288" y="684"/>
                    <a:pt x="286" y="680"/>
                    <a:pt x="278" y="680"/>
                  </a:cubicBezTo>
                  <a:cubicBezTo>
                    <a:pt x="278" y="680"/>
                    <a:pt x="278" y="680"/>
                    <a:pt x="278" y="680"/>
                  </a:cubicBezTo>
                  <a:moveTo>
                    <a:pt x="317" y="680"/>
                  </a:moveTo>
                  <a:cubicBezTo>
                    <a:pt x="310" y="680"/>
                    <a:pt x="301" y="684"/>
                    <a:pt x="296" y="690"/>
                  </a:cubicBezTo>
                  <a:cubicBezTo>
                    <a:pt x="292" y="695"/>
                    <a:pt x="294" y="700"/>
                    <a:pt x="302" y="700"/>
                  </a:cubicBezTo>
                  <a:cubicBezTo>
                    <a:pt x="309" y="700"/>
                    <a:pt x="319" y="695"/>
                    <a:pt x="323" y="690"/>
                  </a:cubicBezTo>
                  <a:cubicBezTo>
                    <a:pt x="327" y="684"/>
                    <a:pt x="325" y="680"/>
                    <a:pt x="317" y="680"/>
                  </a:cubicBezTo>
                  <a:cubicBezTo>
                    <a:pt x="317" y="680"/>
                    <a:pt x="317" y="680"/>
                    <a:pt x="317" y="680"/>
                  </a:cubicBezTo>
                  <a:moveTo>
                    <a:pt x="355" y="679"/>
                  </a:moveTo>
                  <a:cubicBezTo>
                    <a:pt x="348" y="679"/>
                    <a:pt x="338" y="684"/>
                    <a:pt x="334" y="690"/>
                  </a:cubicBezTo>
                  <a:cubicBezTo>
                    <a:pt x="330" y="695"/>
                    <a:pt x="332" y="700"/>
                    <a:pt x="340" y="700"/>
                  </a:cubicBezTo>
                  <a:cubicBezTo>
                    <a:pt x="347" y="700"/>
                    <a:pt x="356" y="695"/>
                    <a:pt x="361" y="689"/>
                  </a:cubicBezTo>
                  <a:cubicBezTo>
                    <a:pt x="365" y="684"/>
                    <a:pt x="362" y="679"/>
                    <a:pt x="355" y="679"/>
                  </a:cubicBezTo>
                  <a:cubicBezTo>
                    <a:pt x="355" y="679"/>
                    <a:pt x="355" y="679"/>
                    <a:pt x="355" y="679"/>
                  </a:cubicBezTo>
                  <a:moveTo>
                    <a:pt x="393" y="679"/>
                  </a:moveTo>
                  <a:cubicBezTo>
                    <a:pt x="386" y="679"/>
                    <a:pt x="376" y="684"/>
                    <a:pt x="372" y="689"/>
                  </a:cubicBezTo>
                  <a:cubicBezTo>
                    <a:pt x="368" y="695"/>
                    <a:pt x="371" y="699"/>
                    <a:pt x="378" y="699"/>
                  </a:cubicBezTo>
                  <a:cubicBezTo>
                    <a:pt x="385" y="699"/>
                    <a:pt x="395" y="695"/>
                    <a:pt x="399" y="689"/>
                  </a:cubicBezTo>
                  <a:cubicBezTo>
                    <a:pt x="403" y="684"/>
                    <a:pt x="400" y="679"/>
                    <a:pt x="393" y="679"/>
                  </a:cubicBezTo>
                  <a:cubicBezTo>
                    <a:pt x="393" y="679"/>
                    <a:pt x="393" y="679"/>
                    <a:pt x="393" y="679"/>
                  </a:cubicBezTo>
                  <a:moveTo>
                    <a:pt x="431" y="679"/>
                  </a:moveTo>
                  <a:cubicBezTo>
                    <a:pt x="424" y="679"/>
                    <a:pt x="415" y="684"/>
                    <a:pt x="410" y="689"/>
                  </a:cubicBezTo>
                  <a:cubicBezTo>
                    <a:pt x="406" y="695"/>
                    <a:pt x="409" y="699"/>
                    <a:pt x="416" y="699"/>
                  </a:cubicBezTo>
                  <a:cubicBezTo>
                    <a:pt x="424" y="699"/>
                    <a:pt x="433" y="695"/>
                    <a:pt x="437" y="689"/>
                  </a:cubicBezTo>
                  <a:cubicBezTo>
                    <a:pt x="441" y="683"/>
                    <a:pt x="438" y="679"/>
                    <a:pt x="431" y="679"/>
                  </a:cubicBezTo>
                  <a:cubicBezTo>
                    <a:pt x="431" y="679"/>
                    <a:pt x="431" y="679"/>
                    <a:pt x="431" y="679"/>
                  </a:cubicBezTo>
                  <a:moveTo>
                    <a:pt x="469" y="679"/>
                  </a:moveTo>
                  <a:cubicBezTo>
                    <a:pt x="461" y="679"/>
                    <a:pt x="452" y="683"/>
                    <a:pt x="448" y="689"/>
                  </a:cubicBezTo>
                  <a:cubicBezTo>
                    <a:pt x="444" y="694"/>
                    <a:pt x="447" y="699"/>
                    <a:pt x="454" y="699"/>
                  </a:cubicBezTo>
                  <a:cubicBezTo>
                    <a:pt x="462" y="699"/>
                    <a:pt x="471" y="694"/>
                    <a:pt x="475" y="689"/>
                  </a:cubicBezTo>
                  <a:cubicBezTo>
                    <a:pt x="479" y="683"/>
                    <a:pt x="476" y="679"/>
                    <a:pt x="469" y="679"/>
                  </a:cubicBezTo>
                  <a:cubicBezTo>
                    <a:pt x="469" y="679"/>
                    <a:pt x="469" y="679"/>
                    <a:pt x="469" y="679"/>
                  </a:cubicBezTo>
                  <a:moveTo>
                    <a:pt x="507" y="678"/>
                  </a:moveTo>
                  <a:cubicBezTo>
                    <a:pt x="499" y="679"/>
                    <a:pt x="490" y="683"/>
                    <a:pt x="486" y="689"/>
                  </a:cubicBezTo>
                  <a:cubicBezTo>
                    <a:pt x="482" y="694"/>
                    <a:pt x="485" y="699"/>
                    <a:pt x="492" y="699"/>
                  </a:cubicBezTo>
                  <a:cubicBezTo>
                    <a:pt x="500" y="699"/>
                    <a:pt x="509" y="694"/>
                    <a:pt x="513" y="689"/>
                  </a:cubicBezTo>
                  <a:cubicBezTo>
                    <a:pt x="517" y="683"/>
                    <a:pt x="514" y="678"/>
                    <a:pt x="507" y="678"/>
                  </a:cubicBezTo>
                  <a:cubicBezTo>
                    <a:pt x="507" y="678"/>
                    <a:pt x="507" y="678"/>
                    <a:pt x="507" y="678"/>
                  </a:cubicBezTo>
                  <a:moveTo>
                    <a:pt x="544" y="678"/>
                  </a:moveTo>
                  <a:cubicBezTo>
                    <a:pt x="537" y="678"/>
                    <a:pt x="528" y="683"/>
                    <a:pt x="524" y="689"/>
                  </a:cubicBezTo>
                  <a:cubicBezTo>
                    <a:pt x="520" y="694"/>
                    <a:pt x="523" y="699"/>
                    <a:pt x="530" y="699"/>
                  </a:cubicBezTo>
                  <a:cubicBezTo>
                    <a:pt x="538" y="699"/>
                    <a:pt x="547" y="694"/>
                    <a:pt x="551" y="688"/>
                  </a:cubicBezTo>
                  <a:cubicBezTo>
                    <a:pt x="554" y="683"/>
                    <a:pt x="551" y="678"/>
                    <a:pt x="544" y="678"/>
                  </a:cubicBezTo>
                  <a:cubicBezTo>
                    <a:pt x="544" y="678"/>
                    <a:pt x="544" y="678"/>
                    <a:pt x="544" y="678"/>
                  </a:cubicBezTo>
                  <a:moveTo>
                    <a:pt x="582" y="678"/>
                  </a:moveTo>
                  <a:cubicBezTo>
                    <a:pt x="575" y="678"/>
                    <a:pt x="566" y="683"/>
                    <a:pt x="562" y="688"/>
                  </a:cubicBezTo>
                  <a:cubicBezTo>
                    <a:pt x="558" y="694"/>
                    <a:pt x="561" y="698"/>
                    <a:pt x="568" y="698"/>
                  </a:cubicBezTo>
                  <a:cubicBezTo>
                    <a:pt x="576" y="698"/>
                    <a:pt x="585" y="694"/>
                    <a:pt x="589" y="688"/>
                  </a:cubicBezTo>
                  <a:cubicBezTo>
                    <a:pt x="592" y="683"/>
                    <a:pt x="589" y="678"/>
                    <a:pt x="582" y="678"/>
                  </a:cubicBezTo>
                  <a:cubicBezTo>
                    <a:pt x="582" y="678"/>
                    <a:pt x="582" y="678"/>
                    <a:pt x="582" y="678"/>
                  </a:cubicBezTo>
                  <a:moveTo>
                    <a:pt x="620" y="678"/>
                  </a:moveTo>
                  <a:cubicBezTo>
                    <a:pt x="613" y="678"/>
                    <a:pt x="604" y="682"/>
                    <a:pt x="600" y="688"/>
                  </a:cubicBezTo>
                  <a:cubicBezTo>
                    <a:pt x="597" y="694"/>
                    <a:pt x="600" y="698"/>
                    <a:pt x="607" y="698"/>
                  </a:cubicBezTo>
                  <a:cubicBezTo>
                    <a:pt x="614" y="698"/>
                    <a:pt x="623" y="694"/>
                    <a:pt x="627" y="688"/>
                  </a:cubicBezTo>
                  <a:cubicBezTo>
                    <a:pt x="631" y="682"/>
                    <a:pt x="628" y="678"/>
                    <a:pt x="620" y="678"/>
                  </a:cubicBezTo>
                  <a:cubicBezTo>
                    <a:pt x="620" y="678"/>
                    <a:pt x="620" y="678"/>
                    <a:pt x="620" y="678"/>
                  </a:cubicBezTo>
                  <a:moveTo>
                    <a:pt x="658" y="678"/>
                  </a:moveTo>
                  <a:cubicBezTo>
                    <a:pt x="651" y="678"/>
                    <a:pt x="642" y="682"/>
                    <a:pt x="638" y="688"/>
                  </a:cubicBezTo>
                  <a:cubicBezTo>
                    <a:pt x="634" y="693"/>
                    <a:pt x="638" y="698"/>
                    <a:pt x="645" y="698"/>
                  </a:cubicBezTo>
                  <a:cubicBezTo>
                    <a:pt x="652" y="698"/>
                    <a:pt x="661" y="693"/>
                    <a:pt x="665" y="688"/>
                  </a:cubicBezTo>
                  <a:cubicBezTo>
                    <a:pt x="668" y="682"/>
                    <a:pt x="665" y="678"/>
                    <a:pt x="658" y="678"/>
                  </a:cubicBezTo>
                  <a:cubicBezTo>
                    <a:pt x="658" y="678"/>
                    <a:pt x="658" y="678"/>
                    <a:pt x="658" y="678"/>
                  </a:cubicBezTo>
                  <a:moveTo>
                    <a:pt x="1864" y="671"/>
                  </a:moveTo>
                  <a:cubicBezTo>
                    <a:pt x="1857" y="671"/>
                    <a:pt x="1850" y="675"/>
                    <a:pt x="1849" y="681"/>
                  </a:cubicBezTo>
                  <a:cubicBezTo>
                    <a:pt x="1848" y="687"/>
                    <a:pt x="1853" y="691"/>
                    <a:pt x="1860" y="691"/>
                  </a:cubicBezTo>
                  <a:cubicBezTo>
                    <a:pt x="1867" y="691"/>
                    <a:pt x="1874" y="686"/>
                    <a:pt x="1876" y="681"/>
                  </a:cubicBezTo>
                  <a:cubicBezTo>
                    <a:pt x="1877" y="675"/>
                    <a:pt x="1872" y="671"/>
                    <a:pt x="1865" y="671"/>
                  </a:cubicBezTo>
                  <a:cubicBezTo>
                    <a:pt x="1865" y="671"/>
                    <a:pt x="1865" y="671"/>
                    <a:pt x="1864" y="671"/>
                  </a:cubicBezTo>
                  <a:moveTo>
                    <a:pt x="1903" y="671"/>
                  </a:moveTo>
                  <a:cubicBezTo>
                    <a:pt x="1895" y="671"/>
                    <a:pt x="1888" y="675"/>
                    <a:pt x="1887" y="681"/>
                  </a:cubicBezTo>
                  <a:cubicBezTo>
                    <a:pt x="1886" y="686"/>
                    <a:pt x="1891" y="691"/>
                    <a:pt x="1898" y="691"/>
                  </a:cubicBezTo>
                  <a:cubicBezTo>
                    <a:pt x="1906" y="691"/>
                    <a:pt x="1913" y="686"/>
                    <a:pt x="1914" y="681"/>
                  </a:cubicBezTo>
                  <a:cubicBezTo>
                    <a:pt x="1915" y="675"/>
                    <a:pt x="1910" y="671"/>
                    <a:pt x="1903" y="671"/>
                  </a:cubicBezTo>
                  <a:cubicBezTo>
                    <a:pt x="1903" y="671"/>
                    <a:pt x="1903" y="671"/>
                    <a:pt x="1903" y="671"/>
                  </a:cubicBezTo>
                  <a:moveTo>
                    <a:pt x="1940" y="670"/>
                  </a:moveTo>
                  <a:cubicBezTo>
                    <a:pt x="1933" y="670"/>
                    <a:pt x="1926" y="675"/>
                    <a:pt x="1925" y="681"/>
                  </a:cubicBezTo>
                  <a:cubicBezTo>
                    <a:pt x="1924" y="686"/>
                    <a:pt x="1929" y="691"/>
                    <a:pt x="1936" y="691"/>
                  </a:cubicBezTo>
                  <a:cubicBezTo>
                    <a:pt x="1944" y="691"/>
                    <a:pt x="1950" y="686"/>
                    <a:pt x="1951" y="680"/>
                  </a:cubicBezTo>
                  <a:cubicBezTo>
                    <a:pt x="1953" y="675"/>
                    <a:pt x="1947" y="670"/>
                    <a:pt x="1940" y="670"/>
                  </a:cubicBezTo>
                  <a:cubicBezTo>
                    <a:pt x="1940" y="670"/>
                    <a:pt x="1940" y="670"/>
                    <a:pt x="1940" y="670"/>
                  </a:cubicBezTo>
                  <a:moveTo>
                    <a:pt x="1978" y="670"/>
                  </a:moveTo>
                  <a:cubicBezTo>
                    <a:pt x="1971" y="670"/>
                    <a:pt x="1964" y="675"/>
                    <a:pt x="1963" y="680"/>
                  </a:cubicBezTo>
                  <a:cubicBezTo>
                    <a:pt x="1962" y="686"/>
                    <a:pt x="1967" y="691"/>
                    <a:pt x="1974" y="690"/>
                  </a:cubicBezTo>
                  <a:cubicBezTo>
                    <a:pt x="1982" y="690"/>
                    <a:pt x="1988" y="686"/>
                    <a:pt x="1989" y="680"/>
                  </a:cubicBezTo>
                  <a:cubicBezTo>
                    <a:pt x="1990" y="675"/>
                    <a:pt x="1985" y="670"/>
                    <a:pt x="1978" y="670"/>
                  </a:cubicBezTo>
                  <a:cubicBezTo>
                    <a:pt x="1978" y="670"/>
                    <a:pt x="1978" y="670"/>
                    <a:pt x="1978" y="670"/>
                  </a:cubicBezTo>
                  <a:moveTo>
                    <a:pt x="2015" y="670"/>
                  </a:moveTo>
                  <a:cubicBezTo>
                    <a:pt x="2008" y="670"/>
                    <a:pt x="2001" y="675"/>
                    <a:pt x="2000" y="680"/>
                  </a:cubicBezTo>
                  <a:cubicBezTo>
                    <a:pt x="1999" y="686"/>
                    <a:pt x="2005" y="690"/>
                    <a:pt x="2012" y="690"/>
                  </a:cubicBezTo>
                  <a:cubicBezTo>
                    <a:pt x="2019" y="690"/>
                    <a:pt x="2026" y="686"/>
                    <a:pt x="2027" y="680"/>
                  </a:cubicBezTo>
                  <a:cubicBezTo>
                    <a:pt x="2028" y="674"/>
                    <a:pt x="2023" y="670"/>
                    <a:pt x="2015" y="670"/>
                  </a:cubicBezTo>
                  <a:cubicBezTo>
                    <a:pt x="2015" y="670"/>
                    <a:pt x="2015" y="670"/>
                    <a:pt x="2015" y="670"/>
                  </a:cubicBezTo>
                  <a:moveTo>
                    <a:pt x="2053" y="670"/>
                  </a:moveTo>
                  <a:cubicBezTo>
                    <a:pt x="2046" y="670"/>
                    <a:pt x="2039" y="674"/>
                    <a:pt x="2038" y="680"/>
                  </a:cubicBezTo>
                  <a:cubicBezTo>
                    <a:pt x="2038" y="686"/>
                    <a:pt x="2043" y="690"/>
                    <a:pt x="2050" y="690"/>
                  </a:cubicBezTo>
                  <a:cubicBezTo>
                    <a:pt x="2057" y="690"/>
                    <a:pt x="2064" y="685"/>
                    <a:pt x="2065" y="680"/>
                  </a:cubicBezTo>
                  <a:cubicBezTo>
                    <a:pt x="2066" y="674"/>
                    <a:pt x="2061" y="670"/>
                    <a:pt x="2053" y="670"/>
                  </a:cubicBezTo>
                  <a:cubicBezTo>
                    <a:pt x="2053" y="670"/>
                    <a:pt x="2053" y="670"/>
                    <a:pt x="2053" y="670"/>
                  </a:cubicBezTo>
                  <a:moveTo>
                    <a:pt x="2092" y="669"/>
                  </a:moveTo>
                  <a:cubicBezTo>
                    <a:pt x="2085" y="670"/>
                    <a:pt x="2078" y="674"/>
                    <a:pt x="2077" y="680"/>
                  </a:cubicBezTo>
                  <a:cubicBezTo>
                    <a:pt x="2077" y="685"/>
                    <a:pt x="2082" y="690"/>
                    <a:pt x="2089" y="690"/>
                  </a:cubicBezTo>
                  <a:cubicBezTo>
                    <a:pt x="2097" y="690"/>
                    <a:pt x="2103" y="685"/>
                    <a:pt x="2104" y="680"/>
                  </a:cubicBezTo>
                  <a:cubicBezTo>
                    <a:pt x="2105" y="674"/>
                    <a:pt x="2099" y="669"/>
                    <a:pt x="2092" y="669"/>
                  </a:cubicBezTo>
                  <a:cubicBezTo>
                    <a:pt x="2092" y="669"/>
                    <a:pt x="2092" y="669"/>
                    <a:pt x="2092" y="669"/>
                  </a:cubicBezTo>
                  <a:moveTo>
                    <a:pt x="2130" y="669"/>
                  </a:moveTo>
                  <a:cubicBezTo>
                    <a:pt x="2122" y="669"/>
                    <a:pt x="2116" y="674"/>
                    <a:pt x="2115" y="680"/>
                  </a:cubicBezTo>
                  <a:cubicBezTo>
                    <a:pt x="2114" y="685"/>
                    <a:pt x="2120" y="690"/>
                    <a:pt x="2127" y="690"/>
                  </a:cubicBezTo>
                  <a:cubicBezTo>
                    <a:pt x="2134" y="690"/>
                    <a:pt x="2141" y="685"/>
                    <a:pt x="2142" y="679"/>
                  </a:cubicBezTo>
                  <a:cubicBezTo>
                    <a:pt x="2142" y="674"/>
                    <a:pt x="2137" y="669"/>
                    <a:pt x="2130" y="669"/>
                  </a:cubicBezTo>
                  <a:cubicBezTo>
                    <a:pt x="2130" y="669"/>
                    <a:pt x="2130" y="669"/>
                    <a:pt x="2130" y="669"/>
                  </a:cubicBezTo>
                  <a:moveTo>
                    <a:pt x="2167" y="669"/>
                  </a:moveTo>
                  <a:cubicBezTo>
                    <a:pt x="2160" y="669"/>
                    <a:pt x="2154" y="674"/>
                    <a:pt x="2153" y="679"/>
                  </a:cubicBezTo>
                  <a:cubicBezTo>
                    <a:pt x="2152" y="685"/>
                    <a:pt x="2158" y="690"/>
                    <a:pt x="2165" y="689"/>
                  </a:cubicBezTo>
                  <a:cubicBezTo>
                    <a:pt x="2172" y="689"/>
                    <a:pt x="2179" y="685"/>
                    <a:pt x="2180" y="679"/>
                  </a:cubicBezTo>
                  <a:cubicBezTo>
                    <a:pt x="2180" y="674"/>
                    <a:pt x="2175" y="669"/>
                    <a:pt x="2168" y="669"/>
                  </a:cubicBezTo>
                  <a:cubicBezTo>
                    <a:pt x="2167" y="669"/>
                    <a:pt x="2167" y="669"/>
                    <a:pt x="2167" y="669"/>
                  </a:cubicBezTo>
                  <a:moveTo>
                    <a:pt x="2206" y="669"/>
                  </a:moveTo>
                  <a:cubicBezTo>
                    <a:pt x="2198" y="669"/>
                    <a:pt x="2192" y="673"/>
                    <a:pt x="2191" y="679"/>
                  </a:cubicBezTo>
                  <a:cubicBezTo>
                    <a:pt x="2191" y="685"/>
                    <a:pt x="2196" y="689"/>
                    <a:pt x="2204" y="689"/>
                  </a:cubicBezTo>
                  <a:cubicBezTo>
                    <a:pt x="2211" y="689"/>
                    <a:pt x="2217" y="685"/>
                    <a:pt x="2218" y="679"/>
                  </a:cubicBezTo>
                  <a:cubicBezTo>
                    <a:pt x="2218" y="673"/>
                    <a:pt x="2213" y="669"/>
                    <a:pt x="2206" y="669"/>
                  </a:cubicBezTo>
                  <a:cubicBezTo>
                    <a:pt x="2206" y="669"/>
                    <a:pt x="2206" y="669"/>
                    <a:pt x="2206" y="669"/>
                  </a:cubicBezTo>
                  <a:moveTo>
                    <a:pt x="2243" y="669"/>
                  </a:moveTo>
                  <a:cubicBezTo>
                    <a:pt x="2236" y="669"/>
                    <a:pt x="2229" y="673"/>
                    <a:pt x="2229" y="679"/>
                  </a:cubicBezTo>
                  <a:cubicBezTo>
                    <a:pt x="2228" y="685"/>
                    <a:pt x="2234" y="689"/>
                    <a:pt x="2241" y="689"/>
                  </a:cubicBezTo>
                  <a:cubicBezTo>
                    <a:pt x="2249" y="689"/>
                    <a:pt x="2255" y="684"/>
                    <a:pt x="2255" y="679"/>
                  </a:cubicBezTo>
                  <a:cubicBezTo>
                    <a:pt x="2256" y="673"/>
                    <a:pt x="2250" y="669"/>
                    <a:pt x="2243" y="669"/>
                  </a:cubicBezTo>
                  <a:cubicBezTo>
                    <a:pt x="2243" y="669"/>
                    <a:pt x="2243" y="669"/>
                    <a:pt x="2243" y="669"/>
                  </a:cubicBezTo>
                  <a:moveTo>
                    <a:pt x="2356" y="666"/>
                  </a:moveTo>
                  <a:cubicBezTo>
                    <a:pt x="2349" y="666"/>
                    <a:pt x="2343" y="670"/>
                    <a:pt x="2342" y="676"/>
                  </a:cubicBezTo>
                  <a:cubicBezTo>
                    <a:pt x="2342" y="682"/>
                    <a:pt x="2348" y="686"/>
                    <a:pt x="2355" y="686"/>
                  </a:cubicBezTo>
                  <a:cubicBezTo>
                    <a:pt x="2363" y="686"/>
                    <a:pt x="2369" y="682"/>
                    <a:pt x="2369" y="676"/>
                  </a:cubicBezTo>
                  <a:cubicBezTo>
                    <a:pt x="2369" y="670"/>
                    <a:pt x="2363" y="666"/>
                    <a:pt x="2356" y="666"/>
                  </a:cubicBezTo>
                  <a:cubicBezTo>
                    <a:pt x="2356" y="666"/>
                    <a:pt x="2356" y="666"/>
                    <a:pt x="2356" y="666"/>
                  </a:cubicBezTo>
                  <a:moveTo>
                    <a:pt x="2659" y="666"/>
                  </a:moveTo>
                  <a:cubicBezTo>
                    <a:pt x="2651" y="666"/>
                    <a:pt x="2646" y="670"/>
                    <a:pt x="2646" y="676"/>
                  </a:cubicBezTo>
                  <a:cubicBezTo>
                    <a:pt x="2646" y="682"/>
                    <a:pt x="2652" y="686"/>
                    <a:pt x="2660" y="686"/>
                  </a:cubicBezTo>
                  <a:cubicBezTo>
                    <a:pt x="2667" y="686"/>
                    <a:pt x="2673" y="681"/>
                    <a:pt x="2672" y="676"/>
                  </a:cubicBezTo>
                  <a:cubicBezTo>
                    <a:pt x="2672" y="670"/>
                    <a:pt x="2666" y="666"/>
                    <a:pt x="2659" y="666"/>
                  </a:cubicBezTo>
                  <a:cubicBezTo>
                    <a:pt x="2659" y="666"/>
                    <a:pt x="2659" y="666"/>
                    <a:pt x="2659" y="666"/>
                  </a:cubicBezTo>
                  <a:moveTo>
                    <a:pt x="2394" y="666"/>
                  </a:moveTo>
                  <a:cubicBezTo>
                    <a:pt x="2387" y="666"/>
                    <a:pt x="2381" y="670"/>
                    <a:pt x="2381" y="676"/>
                  </a:cubicBezTo>
                  <a:cubicBezTo>
                    <a:pt x="2380" y="682"/>
                    <a:pt x="2386" y="686"/>
                    <a:pt x="2394" y="686"/>
                  </a:cubicBezTo>
                  <a:cubicBezTo>
                    <a:pt x="2401" y="686"/>
                    <a:pt x="2407" y="681"/>
                    <a:pt x="2407" y="676"/>
                  </a:cubicBezTo>
                  <a:cubicBezTo>
                    <a:pt x="2407" y="670"/>
                    <a:pt x="2402" y="666"/>
                    <a:pt x="2394" y="666"/>
                  </a:cubicBezTo>
                  <a:cubicBezTo>
                    <a:pt x="2394" y="666"/>
                    <a:pt x="2394" y="666"/>
                    <a:pt x="2394" y="666"/>
                  </a:cubicBezTo>
                  <a:moveTo>
                    <a:pt x="2696" y="665"/>
                  </a:moveTo>
                  <a:cubicBezTo>
                    <a:pt x="2688" y="665"/>
                    <a:pt x="2683" y="670"/>
                    <a:pt x="2683" y="676"/>
                  </a:cubicBezTo>
                  <a:cubicBezTo>
                    <a:pt x="2684" y="681"/>
                    <a:pt x="2690" y="686"/>
                    <a:pt x="2697" y="686"/>
                  </a:cubicBezTo>
                  <a:cubicBezTo>
                    <a:pt x="2705" y="686"/>
                    <a:pt x="2710" y="681"/>
                    <a:pt x="2710" y="676"/>
                  </a:cubicBezTo>
                  <a:cubicBezTo>
                    <a:pt x="2709" y="670"/>
                    <a:pt x="2703" y="665"/>
                    <a:pt x="2696" y="665"/>
                  </a:cubicBezTo>
                  <a:cubicBezTo>
                    <a:pt x="2696" y="665"/>
                    <a:pt x="2696" y="665"/>
                    <a:pt x="2696" y="665"/>
                  </a:cubicBezTo>
                  <a:moveTo>
                    <a:pt x="2808" y="665"/>
                  </a:moveTo>
                  <a:cubicBezTo>
                    <a:pt x="2800" y="665"/>
                    <a:pt x="2795" y="670"/>
                    <a:pt x="2796" y="676"/>
                  </a:cubicBezTo>
                  <a:cubicBezTo>
                    <a:pt x="2796" y="681"/>
                    <a:pt x="2803" y="686"/>
                    <a:pt x="2810" y="686"/>
                  </a:cubicBezTo>
                  <a:cubicBezTo>
                    <a:pt x="2817" y="686"/>
                    <a:pt x="2823" y="681"/>
                    <a:pt x="2822" y="675"/>
                  </a:cubicBezTo>
                  <a:cubicBezTo>
                    <a:pt x="2821" y="670"/>
                    <a:pt x="2815" y="665"/>
                    <a:pt x="2808" y="665"/>
                  </a:cubicBezTo>
                  <a:cubicBezTo>
                    <a:pt x="2808" y="665"/>
                    <a:pt x="2808" y="665"/>
                    <a:pt x="2808" y="665"/>
                  </a:cubicBezTo>
                  <a:moveTo>
                    <a:pt x="2733" y="665"/>
                  </a:moveTo>
                  <a:cubicBezTo>
                    <a:pt x="2726" y="665"/>
                    <a:pt x="2720" y="670"/>
                    <a:pt x="2721" y="676"/>
                  </a:cubicBezTo>
                  <a:cubicBezTo>
                    <a:pt x="2721" y="681"/>
                    <a:pt x="2728" y="686"/>
                    <a:pt x="2735" y="686"/>
                  </a:cubicBezTo>
                  <a:cubicBezTo>
                    <a:pt x="2742" y="686"/>
                    <a:pt x="2748" y="681"/>
                    <a:pt x="2747" y="675"/>
                  </a:cubicBezTo>
                  <a:cubicBezTo>
                    <a:pt x="2747" y="670"/>
                    <a:pt x="2741" y="665"/>
                    <a:pt x="2733" y="665"/>
                  </a:cubicBezTo>
                  <a:cubicBezTo>
                    <a:pt x="2733" y="665"/>
                    <a:pt x="2733" y="665"/>
                    <a:pt x="2733" y="665"/>
                  </a:cubicBezTo>
                  <a:moveTo>
                    <a:pt x="2844" y="664"/>
                  </a:moveTo>
                  <a:cubicBezTo>
                    <a:pt x="2837" y="664"/>
                    <a:pt x="2831" y="669"/>
                    <a:pt x="2832" y="674"/>
                  </a:cubicBezTo>
                  <a:cubicBezTo>
                    <a:pt x="2833" y="680"/>
                    <a:pt x="2839" y="685"/>
                    <a:pt x="2847" y="685"/>
                  </a:cubicBezTo>
                  <a:cubicBezTo>
                    <a:pt x="2854" y="685"/>
                    <a:pt x="2859" y="680"/>
                    <a:pt x="2858" y="674"/>
                  </a:cubicBezTo>
                  <a:cubicBezTo>
                    <a:pt x="2858" y="669"/>
                    <a:pt x="2851" y="664"/>
                    <a:pt x="2844" y="664"/>
                  </a:cubicBezTo>
                  <a:cubicBezTo>
                    <a:pt x="2844" y="664"/>
                    <a:pt x="2844" y="664"/>
                    <a:pt x="2844" y="664"/>
                  </a:cubicBezTo>
                  <a:moveTo>
                    <a:pt x="2881" y="664"/>
                  </a:moveTo>
                  <a:cubicBezTo>
                    <a:pt x="2874" y="664"/>
                    <a:pt x="2869" y="669"/>
                    <a:pt x="2870" y="674"/>
                  </a:cubicBezTo>
                  <a:cubicBezTo>
                    <a:pt x="2870" y="680"/>
                    <a:pt x="2877" y="684"/>
                    <a:pt x="2884" y="684"/>
                  </a:cubicBezTo>
                  <a:cubicBezTo>
                    <a:pt x="2892" y="684"/>
                    <a:pt x="2897" y="680"/>
                    <a:pt x="2896" y="674"/>
                  </a:cubicBezTo>
                  <a:cubicBezTo>
                    <a:pt x="2895" y="668"/>
                    <a:pt x="2889" y="664"/>
                    <a:pt x="2881" y="664"/>
                  </a:cubicBezTo>
                  <a:cubicBezTo>
                    <a:pt x="2881" y="664"/>
                    <a:pt x="2881" y="664"/>
                    <a:pt x="2881" y="664"/>
                  </a:cubicBezTo>
                  <a:moveTo>
                    <a:pt x="2919" y="664"/>
                  </a:moveTo>
                  <a:cubicBezTo>
                    <a:pt x="2912" y="664"/>
                    <a:pt x="2907" y="668"/>
                    <a:pt x="2907" y="674"/>
                  </a:cubicBezTo>
                  <a:cubicBezTo>
                    <a:pt x="2908" y="680"/>
                    <a:pt x="2915" y="684"/>
                    <a:pt x="2922" y="684"/>
                  </a:cubicBezTo>
                  <a:cubicBezTo>
                    <a:pt x="2930" y="684"/>
                    <a:pt x="2935" y="680"/>
                    <a:pt x="2934" y="674"/>
                  </a:cubicBezTo>
                  <a:cubicBezTo>
                    <a:pt x="2933" y="668"/>
                    <a:pt x="2926" y="664"/>
                    <a:pt x="2919" y="664"/>
                  </a:cubicBezTo>
                  <a:cubicBezTo>
                    <a:pt x="2919" y="664"/>
                    <a:pt x="2919" y="664"/>
                    <a:pt x="2919" y="664"/>
                  </a:cubicBezTo>
                  <a:moveTo>
                    <a:pt x="2771" y="664"/>
                  </a:moveTo>
                  <a:cubicBezTo>
                    <a:pt x="2764" y="664"/>
                    <a:pt x="2758" y="668"/>
                    <a:pt x="2759" y="674"/>
                  </a:cubicBezTo>
                  <a:cubicBezTo>
                    <a:pt x="2759" y="680"/>
                    <a:pt x="2766" y="684"/>
                    <a:pt x="2773" y="684"/>
                  </a:cubicBezTo>
                  <a:cubicBezTo>
                    <a:pt x="2780" y="684"/>
                    <a:pt x="2786" y="680"/>
                    <a:pt x="2785" y="674"/>
                  </a:cubicBezTo>
                  <a:cubicBezTo>
                    <a:pt x="2784" y="668"/>
                    <a:pt x="2778" y="664"/>
                    <a:pt x="2771" y="664"/>
                  </a:cubicBezTo>
                  <a:cubicBezTo>
                    <a:pt x="2771" y="664"/>
                    <a:pt x="2771" y="664"/>
                    <a:pt x="2771" y="664"/>
                  </a:cubicBezTo>
                  <a:moveTo>
                    <a:pt x="2957" y="664"/>
                  </a:moveTo>
                  <a:cubicBezTo>
                    <a:pt x="2950" y="664"/>
                    <a:pt x="2945" y="668"/>
                    <a:pt x="2946" y="674"/>
                  </a:cubicBezTo>
                  <a:cubicBezTo>
                    <a:pt x="2947" y="679"/>
                    <a:pt x="2953" y="684"/>
                    <a:pt x="2961" y="684"/>
                  </a:cubicBezTo>
                  <a:cubicBezTo>
                    <a:pt x="2968" y="684"/>
                    <a:pt x="2973" y="679"/>
                    <a:pt x="2972" y="674"/>
                  </a:cubicBezTo>
                  <a:cubicBezTo>
                    <a:pt x="2971" y="668"/>
                    <a:pt x="2965" y="664"/>
                    <a:pt x="2957" y="664"/>
                  </a:cubicBezTo>
                  <a:cubicBezTo>
                    <a:pt x="2957" y="664"/>
                    <a:pt x="2957" y="664"/>
                    <a:pt x="2957" y="664"/>
                  </a:cubicBezTo>
                  <a:moveTo>
                    <a:pt x="2995" y="663"/>
                  </a:moveTo>
                  <a:cubicBezTo>
                    <a:pt x="2987" y="663"/>
                    <a:pt x="2982" y="668"/>
                    <a:pt x="2983" y="674"/>
                  </a:cubicBezTo>
                  <a:cubicBezTo>
                    <a:pt x="2984" y="679"/>
                    <a:pt x="2991" y="684"/>
                    <a:pt x="2998" y="684"/>
                  </a:cubicBezTo>
                  <a:cubicBezTo>
                    <a:pt x="3006" y="684"/>
                    <a:pt x="3011" y="679"/>
                    <a:pt x="3010" y="673"/>
                  </a:cubicBezTo>
                  <a:cubicBezTo>
                    <a:pt x="3009" y="668"/>
                    <a:pt x="3002" y="663"/>
                    <a:pt x="2995" y="663"/>
                  </a:cubicBezTo>
                  <a:cubicBezTo>
                    <a:pt x="2995" y="663"/>
                    <a:pt x="2995" y="663"/>
                    <a:pt x="2995" y="663"/>
                  </a:cubicBezTo>
                  <a:moveTo>
                    <a:pt x="2621" y="663"/>
                  </a:moveTo>
                  <a:cubicBezTo>
                    <a:pt x="2614" y="663"/>
                    <a:pt x="2608" y="668"/>
                    <a:pt x="2608" y="674"/>
                  </a:cubicBezTo>
                  <a:cubicBezTo>
                    <a:pt x="2609" y="679"/>
                    <a:pt x="2615" y="684"/>
                    <a:pt x="2622" y="684"/>
                  </a:cubicBezTo>
                  <a:cubicBezTo>
                    <a:pt x="2629" y="684"/>
                    <a:pt x="2635" y="679"/>
                    <a:pt x="2635" y="673"/>
                  </a:cubicBezTo>
                  <a:cubicBezTo>
                    <a:pt x="2634" y="668"/>
                    <a:pt x="2628" y="663"/>
                    <a:pt x="2621" y="663"/>
                  </a:cubicBezTo>
                  <a:cubicBezTo>
                    <a:pt x="2621" y="663"/>
                    <a:pt x="2621" y="663"/>
                    <a:pt x="2621" y="663"/>
                  </a:cubicBezTo>
                  <a:moveTo>
                    <a:pt x="3032" y="663"/>
                  </a:moveTo>
                  <a:cubicBezTo>
                    <a:pt x="3025" y="663"/>
                    <a:pt x="3020" y="668"/>
                    <a:pt x="3021" y="673"/>
                  </a:cubicBezTo>
                  <a:cubicBezTo>
                    <a:pt x="3022" y="679"/>
                    <a:pt x="3029" y="684"/>
                    <a:pt x="3036" y="684"/>
                  </a:cubicBezTo>
                  <a:cubicBezTo>
                    <a:pt x="3043" y="684"/>
                    <a:pt x="3049" y="679"/>
                    <a:pt x="3047" y="673"/>
                  </a:cubicBezTo>
                  <a:cubicBezTo>
                    <a:pt x="3046" y="668"/>
                    <a:pt x="3040" y="663"/>
                    <a:pt x="3032" y="663"/>
                  </a:cubicBezTo>
                  <a:cubicBezTo>
                    <a:pt x="3032" y="663"/>
                    <a:pt x="3032" y="663"/>
                    <a:pt x="3032" y="663"/>
                  </a:cubicBezTo>
                  <a:moveTo>
                    <a:pt x="3070" y="663"/>
                  </a:moveTo>
                  <a:cubicBezTo>
                    <a:pt x="3062" y="663"/>
                    <a:pt x="3057" y="668"/>
                    <a:pt x="3059" y="673"/>
                  </a:cubicBezTo>
                  <a:cubicBezTo>
                    <a:pt x="3060" y="679"/>
                    <a:pt x="3067" y="683"/>
                    <a:pt x="3074" y="683"/>
                  </a:cubicBezTo>
                  <a:cubicBezTo>
                    <a:pt x="3081" y="683"/>
                    <a:pt x="3086" y="679"/>
                    <a:pt x="3085" y="673"/>
                  </a:cubicBezTo>
                  <a:cubicBezTo>
                    <a:pt x="3084" y="667"/>
                    <a:pt x="3077" y="663"/>
                    <a:pt x="3070" y="663"/>
                  </a:cubicBezTo>
                  <a:cubicBezTo>
                    <a:pt x="3070" y="663"/>
                    <a:pt x="3070" y="663"/>
                    <a:pt x="3070" y="663"/>
                  </a:cubicBezTo>
                  <a:moveTo>
                    <a:pt x="3107" y="663"/>
                  </a:moveTo>
                  <a:cubicBezTo>
                    <a:pt x="3100" y="663"/>
                    <a:pt x="3095" y="667"/>
                    <a:pt x="3096" y="673"/>
                  </a:cubicBezTo>
                  <a:cubicBezTo>
                    <a:pt x="3098" y="679"/>
                    <a:pt x="3105" y="683"/>
                    <a:pt x="3112" y="683"/>
                  </a:cubicBezTo>
                  <a:cubicBezTo>
                    <a:pt x="3119" y="683"/>
                    <a:pt x="3124" y="679"/>
                    <a:pt x="3123" y="673"/>
                  </a:cubicBezTo>
                  <a:cubicBezTo>
                    <a:pt x="3122" y="667"/>
                    <a:pt x="3115" y="663"/>
                    <a:pt x="3107" y="663"/>
                  </a:cubicBezTo>
                  <a:cubicBezTo>
                    <a:pt x="3107" y="663"/>
                    <a:pt x="3107" y="663"/>
                    <a:pt x="3107" y="663"/>
                  </a:cubicBezTo>
                  <a:moveTo>
                    <a:pt x="3146" y="662"/>
                  </a:moveTo>
                  <a:cubicBezTo>
                    <a:pt x="3139" y="663"/>
                    <a:pt x="3134" y="667"/>
                    <a:pt x="3135" y="673"/>
                  </a:cubicBezTo>
                  <a:cubicBezTo>
                    <a:pt x="3137" y="678"/>
                    <a:pt x="3144" y="683"/>
                    <a:pt x="3151" y="683"/>
                  </a:cubicBezTo>
                  <a:cubicBezTo>
                    <a:pt x="3158" y="683"/>
                    <a:pt x="3163" y="678"/>
                    <a:pt x="3162" y="673"/>
                  </a:cubicBezTo>
                  <a:cubicBezTo>
                    <a:pt x="3160" y="667"/>
                    <a:pt x="3154" y="662"/>
                    <a:pt x="3146" y="662"/>
                  </a:cubicBezTo>
                  <a:cubicBezTo>
                    <a:pt x="3146" y="662"/>
                    <a:pt x="3146" y="662"/>
                    <a:pt x="3146" y="662"/>
                  </a:cubicBezTo>
                  <a:moveTo>
                    <a:pt x="3184" y="662"/>
                  </a:moveTo>
                  <a:cubicBezTo>
                    <a:pt x="3176" y="662"/>
                    <a:pt x="3172" y="667"/>
                    <a:pt x="3173" y="673"/>
                  </a:cubicBezTo>
                  <a:cubicBezTo>
                    <a:pt x="3174" y="678"/>
                    <a:pt x="3181" y="683"/>
                    <a:pt x="3189" y="683"/>
                  </a:cubicBezTo>
                  <a:cubicBezTo>
                    <a:pt x="3196" y="683"/>
                    <a:pt x="3201" y="678"/>
                    <a:pt x="3199" y="672"/>
                  </a:cubicBezTo>
                  <a:cubicBezTo>
                    <a:pt x="3198" y="667"/>
                    <a:pt x="3191" y="662"/>
                    <a:pt x="3184" y="662"/>
                  </a:cubicBezTo>
                  <a:cubicBezTo>
                    <a:pt x="3184" y="662"/>
                    <a:pt x="3184" y="662"/>
                    <a:pt x="3184" y="662"/>
                  </a:cubicBezTo>
                  <a:moveTo>
                    <a:pt x="3674" y="662"/>
                  </a:moveTo>
                  <a:cubicBezTo>
                    <a:pt x="3667" y="662"/>
                    <a:pt x="3663" y="667"/>
                    <a:pt x="3665" y="672"/>
                  </a:cubicBezTo>
                  <a:cubicBezTo>
                    <a:pt x="3668" y="678"/>
                    <a:pt x="3675" y="683"/>
                    <a:pt x="3683" y="683"/>
                  </a:cubicBezTo>
                  <a:cubicBezTo>
                    <a:pt x="3690" y="683"/>
                    <a:pt x="3694" y="678"/>
                    <a:pt x="3692" y="672"/>
                  </a:cubicBezTo>
                  <a:cubicBezTo>
                    <a:pt x="3689" y="667"/>
                    <a:pt x="3682" y="662"/>
                    <a:pt x="3674" y="662"/>
                  </a:cubicBezTo>
                  <a:cubicBezTo>
                    <a:pt x="3674" y="662"/>
                    <a:pt x="3674" y="662"/>
                    <a:pt x="3674" y="662"/>
                  </a:cubicBezTo>
                  <a:moveTo>
                    <a:pt x="3221" y="662"/>
                  </a:moveTo>
                  <a:cubicBezTo>
                    <a:pt x="3214" y="662"/>
                    <a:pt x="3209" y="667"/>
                    <a:pt x="3211" y="672"/>
                  </a:cubicBezTo>
                  <a:cubicBezTo>
                    <a:pt x="3212" y="678"/>
                    <a:pt x="3219" y="683"/>
                    <a:pt x="3227" y="683"/>
                  </a:cubicBezTo>
                  <a:cubicBezTo>
                    <a:pt x="3234" y="683"/>
                    <a:pt x="3239" y="678"/>
                    <a:pt x="3237" y="672"/>
                  </a:cubicBezTo>
                  <a:cubicBezTo>
                    <a:pt x="3236" y="667"/>
                    <a:pt x="3229" y="662"/>
                    <a:pt x="3221" y="662"/>
                  </a:cubicBezTo>
                  <a:cubicBezTo>
                    <a:pt x="3221" y="662"/>
                    <a:pt x="3221" y="662"/>
                    <a:pt x="3221" y="662"/>
                  </a:cubicBezTo>
                  <a:moveTo>
                    <a:pt x="3712" y="662"/>
                  </a:moveTo>
                  <a:cubicBezTo>
                    <a:pt x="3704" y="662"/>
                    <a:pt x="3700" y="667"/>
                    <a:pt x="3703" y="672"/>
                  </a:cubicBezTo>
                  <a:cubicBezTo>
                    <a:pt x="3705" y="678"/>
                    <a:pt x="3713" y="683"/>
                    <a:pt x="3720" y="682"/>
                  </a:cubicBezTo>
                  <a:cubicBezTo>
                    <a:pt x="3728" y="682"/>
                    <a:pt x="3732" y="678"/>
                    <a:pt x="3729" y="672"/>
                  </a:cubicBezTo>
                  <a:cubicBezTo>
                    <a:pt x="3727" y="666"/>
                    <a:pt x="3719" y="662"/>
                    <a:pt x="3712" y="662"/>
                  </a:cubicBezTo>
                  <a:cubicBezTo>
                    <a:pt x="3712" y="662"/>
                    <a:pt x="3712" y="662"/>
                    <a:pt x="3712" y="662"/>
                  </a:cubicBezTo>
                  <a:moveTo>
                    <a:pt x="3259" y="662"/>
                  </a:moveTo>
                  <a:cubicBezTo>
                    <a:pt x="3252" y="662"/>
                    <a:pt x="3247" y="667"/>
                    <a:pt x="3249" y="672"/>
                  </a:cubicBezTo>
                  <a:cubicBezTo>
                    <a:pt x="3250" y="678"/>
                    <a:pt x="3258" y="682"/>
                    <a:pt x="3265" y="682"/>
                  </a:cubicBezTo>
                  <a:cubicBezTo>
                    <a:pt x="3272" y="682"/>
                    <a:pt x="3277" y="678"/>
                    <a:pt x="3275" y="672"/>
                  </a:cubicBezTo>
                  <a:cubicBezTo>
                    <a:pt x="3274" y="666"/>
                    <a:pt x="3267" y="662"/>
                    <a:pt x="3259" y="662"/>
                  </a:cubicBezTo>
                  <a:cubicBezTo>
                    <a:pt x="3259" y="662"/>
                    <a:pt x="3259" y="662"/>
                    <a:pt x="3259" y="662"/>
                  </a:cubicBezTo>
                  <a:moveTo>
                    <a:pt x="3749" y="662"/>
                  </a:moveTo>
                  <a:cubicBezTo>
                    <a:pt x="3742" y="662"/>
                    <a:pt x="3738" y="666"/>
                    <a:pt x="3741" y="672"/>
                  </a:cubicBezTo>
                  <a:cubicBezTo>
                    <a:pt x="3743" y="678"/>
                    <a:pt x="3751" y="682"/>
                    <a:pt x="3758" y="682"/>
                  </a:cubicBezTo>
                  <a:cubicBezTo>
                    <a:pt x="3766" y="682"/>
                    <a:pt x="3770" y="678"/>
                    <a:pt x="3767" y="672"/>
                  </a:cubicBezTo>
                  <a:cubicBezTo>
                    <a:pt x="3765" y="666"/>
                    <a:pt x="3757" y="662"/>
                    <a:pt x="3749" y="662"/>
                  </a:cubicBezTo>
                  <a:cubicBezTo>
                    <a:pt x="3749" y="662"/>
                    <a:pt x="3749" y="662"/>
                    <a:pt x="3749" y="662"/>
                  </a:cubicBezTo>
                  <a:moveTo>
                    <a:pt x="3297" y="662"/>
                  </a:moveTo>
                  <a:cubicBezTo>
                    <a:pt x="3290" y="662"/>
                    <a:pt x="3285" y="666"/>
                    <a:pt x="3286" y="672"/>
                  </a:cubicBezTo>
                  <a:cubicBezTo>
                    <a:pt x="3288" y="678"/>
                    <a:pt x="3295" y="682"/>
                    <a:pt x="3303" y="682"/>
                  </a:cubicBezTo>
                  <a:cubicBezTo>
                    <a:pt x="3310" y="682"/>
                    <a:pt x="3315" y="677"/>
                    <a:pt x="3313" y="672"/>
                  </a:cubicBezTo>
                  <a:cubicBezTo>
                    <a:pt x="3311" y="666"/>
                    <a:pt x="3304" y="662"/>
                    <a:pt x="3297" y="662"/>
                  </a:cubicBezTo>
                  <a:cubicBezTo>
                    <a:pt x="3297" y="662"/>
                    <a:pt x="3297" y="662"/>
                    <a:pt x="3297" y="662"/>
                  </a:cubicBezTo>
                  <a:moveTo>
                    <a:pt x="3789" y="662"/>
                  </a:moveTo>
                  <a:cubicBezTo>
                    <a:pt x="3782" y="662"/>
                    <a:pt x="3778" y="666"/>
                    <a:pt x="3781" y="672"/>
                  </a:cubicBezTo>
                  <a:cubicBezTo>
                    <a:pt x="3783" y="678"/>
                    <a:pt x="3791" y="682"/>
                    <a:pt x="3799" y="682"/>
                  </a:cubicBezTo>
                  <a:cubicBezTo>
                    <a:pt x="3806" y="682"/>
                    <a:pt x="3810" y="677"/>
                    <a:pt x="3807" y="672"/>
                  </a:cubicBezTo>
                  <a:cubicBezTo>
                    <a:pt x="3805" y="666"/>
                    <a:pt x="3797" y="662"/>
                    <a:pt x="3789" y="662"/>
                  </a:cubicBezTo>
                  <a:cubicBezTo>
                    <a:pt x="3789" y="662"/>
                    <a:pt x="3789" y="662"/>
                    <a:pt x="3789" y="662"/>
                  </a:cubicBezTo>
                  <a:moveTo>
                    <a:pt x="3334" y="661"/>
                  </a:moveTo>
                  <a:cubicBezTo>
                    <a:pt x="3327" y="661"/>
                    <a:pt x="3323" y="666"/>
                    <a:pt x="3324" y="672"/>
                  </a:cubicBezTo>
                  <a:cubicBezTo>
                    <a:pt x="3326" y="677"/>
                    <a:pt x="3333" y="682"/>
                    <a:pt x="3340" y="682"/>
                  </a:cubicBezTo>
                  <a:cubicBezTo>
                    <a:pt x="3348" y="682"/>
                    <a:pt x="3352" y="677"/>
                    <a:pt x="3351" y="672"/>
                  </a:cubicBezTo>
                  <a:cubicBezTo>
                    <a:pt x="3349" y="666"/>
                    <a:pt x="3342" y="661"/>
                    <a:pt x="3334" y="661"/>
                  </a:cubicBezTo>
                  <a:cubicBezTo>
                    <a:pt x="3334" y="661"/>
                    <a:pt x="3334" y="661"/>
                    <a:pt x="3334" y="661"/>
                  </a:cubicBezTo>
                  <a:moveTo>
                    <a:pt x="3826" y="661"/>
                  </a:moveTo>
                  <a:cubicBezTo>
                    <a:pt x="3819" y="661"/>
                    <a:pt x="3815" y="666"/>
                    <a:pt x="3818" y="672"/>
                  </a:cubicBezTo>
                  <a:cubicBezTo>
                    <a:pt x="3821" y="677"/>
                    <a:pt x="3829" y="682"/>
                    <a:pt x="3836" y="682"/>
                  </a:cubicBezTo>
                  <a:cubicBezTo>
                    <a:pt x="3843" y="682"/>
                    <a:pt x="3847" y="677"/>
                    <a:pt x="3844" y="672"/>
                  </a:cubicBezTo>
                  <a:cubicBezTo>
                    <a:pt x="3842" y="666"/>
                    <a:pt x="3834" y="661"/>
                    <a:pt x="3826" y="661"/>
                  </a:cubicBezTo>
                  <a:cubicBezTo>
                    <a:pt x="3826" y="661"/>
                    <a:pt x="3826" y="661"/>
                    <a:pt x="3826" y="661"/>
                  </a:cubicBezTo>
                  <a:moveTo>
                    <a:pt x="3372" y="661"/>
                  </a:moveTo>
                  <a:cubicBezTo>
                    <a:pt x="3365" y="661"/>
                    <a:pt x="3360" y="666"/>
                    <a:pt x="3362" y="672"/>
                  </a:cubicBezTo>
                  <a:cubicBezTo>
                    <a:pt x="3363" y="677"/>
                    <a:pt x="3371" y="682"/>
                    <a:pt x="3378" y="682"/>
                  </a:cubicBezTo>
                  <a:cubicBezTo>
                    <a:pt x="3385" y="682"/>
                    <a:pt x="3390" y="677"/>
                    <a:pt x="3388" y="671"/>
                  </a:cubicBezTo>
                  <a:cubicBezTo>
                    <a:pt x="3386" y="666"/>
                    <a:pt x="3379" y="661"/>
                    <a:pt x="3372" y="661"/>
                  </a:cubicBezTo>
                  <a:cubicBezTo>
                    <a:pt x="3372" y="661"/>
                    <a:pt x="3372" y="661"/>
                    <a:pt x="3372" y="661"/>
                  </a:cubicBezTo>
                  <a:moveTo>
                    <a:pt x="3864" y="661"/>
                  </a:moveTo>
                  <a:cubicBezTo>
                    <a:pt x="3857" y="661"/>
                    <a:pt x="3853" y="666"/>
                    <a:pt x="3856" y="671"/>
                  </a:cubicBezTo>
                  <a:cubicBezTo>
                    <a:pt x="3858" y="677"/>
                    <a:pt x="3866" y="682"/>
                    <a:pt x="3874" y="682"/>
                  </a:cubicBezTo>
                  <a:cubicBezTo>
                    <a:pt x="3881" y="682"/>
                    <a:pt x="3885" y="677"/>
                    <a:pt x="3882" y="671"/>
                  </a:cubicBezTo>
                  <a:cubicBezTo>
                    <a:pt x="3879" y="666"/>
                    <a:pt x="3871" y="661"/>
                    <a:pt x="3864" y="661"/>
                  </a:cubicBezTo>
                  <a:cubicBezTo>
                    <a:pt x="3864" y="661"/>
                    <a:pt x="3864" y="661"/>
                    <a:pt x="3864" y="661"/>
                  </a:cubicBezTo>
                  <a:moveTo>
                    <a:pt x="3409" y="661"/>
                  </a:moveTo>
                  <a:cubicBezTo>
                    <a:pt x="3402" y="661"/>
                    <a:pt x="3398" y="666"/>
                    <a:pt x="3400" y="671"/>
                  </a:cubicBezTo>
                  <a:cubicBezTo>
                    <a:pt x="3401" y="677"/>
                    <a:pt x="3409" y="682"/>
                    <a:pt x="3416" y="682"/>
                  </a:cubicBezTo>
                  <a:cubicBezTo>
                    <a:pt x="3423" y="682"/>
                    <a:pt x="3428" y="677"/>
                    <a:pt x="3426" y="671"/>
                  </a:cubicBezTo>
                  <a:cubicBezTo>
                    <a:pt x="3424" y="666"/>
                    <a:pt x="3417" y="661"/>
                    <a:pt x="3410" y="661"/>
                  </a:cubicBezTo>
                  <a:cubicBezTo>
                    <a:pt x="3410" y="661"/>
                    <a:pt x="3410" y="661"/>
                    <a:pt x="3409" y="661"/>
                  </a:cubicBezTo>
                  <a:moveTo>
                    <a:pt x="3901" y="661"/>
                  </a:moveTo>
                  <a:cubicBezTo>
                    <a:pt x="3894" y="661"/>
                    <a:pt x="3891" y="666"/>
                    <a:pt x="3893" y="671"/>
                  </a:cubicBezTo>
                  <a:cubicBezTo>
                    <a:pt x="3896" y="677"/>
                    <a:pt x="3904" y="682"/>
                    <a:pt x="3912" y="681"/>
                  </a:cubicBezTo>
                  <a:cubicBezTo>
                    <a:pt x="3919" y="681"/>
                    <a:pt x="3923" y="677"/>
                    <a:pt x="3920" y="671"/>
                  </a:cubicBezTo>
                  <a:cubicBezTo>
                    <a:pt x="3917" y="665"/>
                    <a:pt x="3909" y="661"/>
                    <a:pt x="3902" y="661"/>
                  </a:cubicBezTo>
                  <a:cubicBezTo>
                    <a:pt x="3902" y="661"/>
                    <a:pt x="3902" y="661"/>
                    <a:pt x="3901" y="661"/>
                  </a:cubicBezTo>
                  <a:moveTo>
                    <a:pt x="3448" y="661"/>
                  </a:moveTo>
                  <a:cubicBezTo>
                    <a:pt x="3440" y="661"/>
                    <a:pt x="3436" y="666"/>
                    <a:pt x="3438" y="671"/>
                  </a:cubicBezTo>
                  <a:cubicBezTo>
                    <a:pt x="3440" y="677"/>
                    <a:pt x="3447" y="681"/>
                    <a:pt x="3454" y="681"/>
                  </a:cubicBezTo>
                  <a:cubicBezTo>
                    <a:pt x="3462" y="681"/>
                    <a:pt x="3466" y="677"/>
                    <a:pt x="3464" y="671"/>
                  </a:cubicBezTo>
                  <a:cubicBezTo>
                    <a:pt x="3462" y="665"/>
                    <a:pt x="3455" y="661"/>
                    <a:pt x="3448" y="661"/>
                  </a:cubicBezTo>
                  <a:cubicBezTo>
                    <a:pt x="3448" y="661"/>
                    <a:pt x="3448" y="661"/>
                    <a:pt x="3448" y="661"/>
                  </a:cubicBezTo>
                  <a:moveTo>
                    <a:pt x="3940" y="661"/>
                  </a:moveTo>
                  <a:cubicBezTo>
                    <a:pt x="3932" y="661"/>
                    <a:pt x="3929" y="665"/>
                    <a:pt x="3932" y="671"/>
                  </a:cubicBezTo>
                  <a:cubicBezTo>
                    <a:pt x="3934" y="677"/>
                    <a:pt x="3943" y="681"/>
                    <a:pt x="3950" y="681"/>
                  </a:cubicBezTo>
                  <a:cubicBezTo>
                    <a:pt x="3957" y="681"/>
                    <a:pt x="3961" y="677"/>
                    <a:pt x="3958" y="671"/>
                  </a:cubicBezTo>
                  <a:cubicBezTo>
                    <a:pt x="3955" y="665"/>
                    <a:pt x="3947" y="661"/>
                    <a:pt x="3940" y="661"/>
                  </a:cubicBezTo>
                  <a:cubicBezTo>
                    <a:pt x="3940" y="661"/>
                    <a:pt x="3940" y="661"/>
                    <a:pt x="3940" y="661"/>
                  </a:cubicBezTo>
                  <a:moveTo>
                    <a:pt x="3485" y="661"/>
                  </a:moveTo>
                  <a:cubicBezTo>
                    <a:pt x="3478" y="661"/>
                    <a:pt x="3473" y="665"/>
                    <a:pt x="3475" y="671"/>
                  </a:cubicBezTo>
                  <a:cubicBezTo>
                    <a:pt x="3477" y="677"/>
                    <a:pt x="3485" y="681"/>
                    <a:pt x="3492" y="681"/>
                  </a:cubicBezTo>
                  <a:cubicBezTo>
                    <a:pt x="3499" y="681"/>
                    <a:pt x="3504" y="676"/>
                    <a:pt x="3502" y="671"/>
                  </a:cubicBezTo>
                  <a:cubicBezTo>
                    <a:pt x="3500" y="665"/>
                    <a:pt x="3492" y="661"/>
                    <a:pt x="3485" y="661"/>
                  </a:cubicBezTo>
                  <a:cubicBezTo>
                    <a:pt x="3485" y="661"/>
                    <a:pt x="3485" y="661"/>
                    <a:pt x="3485" y="661"/>
                  </a:cubicBezTo>
                  <a:moveTo>
                    <a:pt x="3977" y="660"/>
                  </a:moveTo>
                  <a:cubicBezTo>
                    <a:pt x="3970" y="661"/>
                    <a:pt x="3966" y="665"/>
                    <a:pt x="3969" y="671"/>
                  </a:cubicBezTo>
                  <a:cubicBezTo>
                    <a:pt x="3972" y="677"/>
                    <a:pt x="3980" y="681"/>
                    <a:pt x="3988" y="681"/>
                  </a:cubicBezTo>
                  <a:cubicBezTo>
                    <a:pt x="3995" y="681"/>
                    <a:pt x="3998" y="676"/>
                    <a:pt x="3995" y="671"/>
                  </a:cubicBezTo>
                  <a:cubicBezTo>
                    <a:pt x="3992" y="665"/>
                    <a:pt x="3984" y="660"/>
                    <a:pt x="3977" y="660"/>
                  </a:cubicBezTo>
                  <a:cubicBezTo>
                    <a:pt x="3977" y="660"/>
                    <a:pt x="3977" y="660"/>
                    <a:pt x="3977" y="660"/>
                  </a:cubicBezTo>
                  <a:moveTo>
                    <a:pt x="3523" y="660"/>
                  </a:moveTo>
                  <a:cubicBezTo>
                    <a:pt x="3515" y="660"/>
                    <a:pt x="3511" y="665"/>
                    <a:pt x="3513" y="671"/>
                  </a:cubicBezTo>
                  <a:cubicBezTo>
                    <a:pt x="3515" y="676"/>
                    <a:pt x="3523" y="681"/>
                    <a:pt x="3530" y="681"/>
                  </a:cubicBezTo>
                  <a:cubicBezTo>
                    <a:pt x="3537" y="681"/>
                    <a:pt x="3541" y="676"/>
                    <a:pt x="3539" y="671"/>
                  </a:cubicBezTo>
                  <a:cubicBezTo>
                    <a:pt x="3537" y="665"/>
                    <a:pt x="3530" y="660"/>
                    <a:pt x="3523" y="660"/>
                  </a:cubicBezTo>
                  <a:cubicBezTo>
                    <a:pt x="3523" y="660"/>
                    <a:pt x="3523" y="660"/>
                    <a:pt x="3523" y="660"/>
                  </a:cubicBezTo>
                  <a:moveTo>
                    <a:pt x="4013" y="660"/>
                  </a:moveTo>
                  <a:cubicBezTo>
                    <a:pt x="4006" y="660"/>
                    <a:pt x="4003" y="665"/>
                    <a:pt x="4006" y="671"/>
                  </a:cubicBezTo>
                  <a:cubicBezTo>
                    <a:pt x="4009" y="676"/>
                    <a:pt x="4017" y="681"/>
                    <a:pt x="4024" y="681"/>
                  </a:cubicBezTo>
                  <a:cubicBezTo>
                    <a:pt x="4032" y="681"/>
                    <a:pt x="4035" y="676"/>
                    <a:pt x="4032" y="670"/>
                  </a:cubicBezTo>
                  <a:cubicBezTo>
                    <a:pt x="4029" y="665"/>
                    <a:pt x="4021" y="660"/>
                    <a:pt x="4014" y="660"/>
                  </a:cubicBezTo>
                  <a:cubicBezTo>
                    <a:pt x="4014" y="660"/>
                    <a:pt x="4013" y="660"/>
                    <a:pt x="4013" y="660"/>
                  </a:cubicBezTo>
                  <a:moveTo>
                    <a:pt x="3560" y="660"/>
                  </a:moveTo>
                  <a:cubicBezTo>
                    <a:pt x="3553" y="660"/>
                    <a:pt x="3548" y="665"/>
                    <a:pt x="3551" y="671"/>
                  </a:cubicBezTo>
                  <a:cubicBezTo>
                    <a:pt x="3553" y="676"/>
                    <a:pt x="3560" y="681"/>
                    <a:pt x="3568" y="681"/>
                  </a:cubicBezTo>
                  <a:cubicBezTo>
                    <a:pt x="3575" y="681"/>
                    <a:pt x="3579" y="676"/>
                    <a:pt x="3577" y="670"/>
                  </a:cubicBezTo>
                  <a:cubicBezTo>
                    <a:pt x="3575" y="665"/>
                    <a:pt x="3567" y="660"/>
                    <a:pt x="3560" y="660"/>
                  </a:cubicBezTo>
                  <a:cubicBezTo>
                    <a:pt x="3560" y="660"/>
                    <a:pt x="3560" y="660"/>
                    <a:pt x="3560" y="660"/>
                  </a:cubicBezTo>
                  <a:moveTo>
                    <a:pt x="3598" y="660"/>
                  </a:moveTo>
                  <a:cubicBezTo>
                    <a:pt x="3590" y="660"/>
                    <a:pt x="3586" y="665"/>
                    <a:pt x="3588" y="670"/>
                  </a:cubicBezTo>
                  <a:cubicBezTo>
                    <a:pt x="3591" y="676"/>
                    <a:pt x="3598" y="681"/>
                    <a:pt x="3606" y="681"/>
                  </a:cubicBezTo>
                  <a:cubicBezTo>
                    <a:pt x="3613" y="681"/>
                    <a:pt x="3617" y="676"/>
                    <a:pt x="3615" y="670"/>
                  </a:cubicBezTo>
                  <a:cubicBezTo>
                    <a:pt x="3613" y="665"/>
                    <a:pt x="3605" y="660"/>
                    <a:pt x="3598" y="660"/>
                  </a:cubicBezTo>
                  <a:cubicBezTo>
                    <a:pt x="3598" y="660"/>
                    <a:pt x="3598" y="660"/>
                    <a:pt x="3598" y="660"/>
                  </a:cubicBezTo>
                  <a:moveTo>
                    <a:pt x="3636" y="660"/>
                  </a:moveTo>
                  <a:cubicBezTo>
                    <a:pt x="3628" y="660"/>
                    <a:pt x="3624" y="664"/>
                    <a:pt x="3626" y="670"/>
                  </a:cubicBezTo>
                  <a:cubicBezTo>
                    <a:pt x="3629" y="676"/>
                    <a:pt x="3637" y="680"/>
                    <a:pt x="3644" y="680"/>
                  </a:cubicBezTo>
                  <a:cubicBezTo>
                    <a:pt x="3651" y="680"/>
                    <a:pt x="3655" y="676"/>
                    <a:pt x="3653" y="670"/>
                  </a:cubicBezTo>
                  <a:cubicBezTo>
                    <a:pt x="3651" y="664"/>
                    <a:pt x="3643" y="660"/>
                    <a:pt x="3636" y="660"/>
                  </a:cubicBezTo>
                  <a:cubicBezTo>
                    <a:pt x="3636" y="660"/>
                    <a:pt x="3636" y="660"/>
                    <a:pt x="3636" y="660"/>
                  </a:cubicBezTo>
                  <a:moveTo>
                    <a:pt x="75" y="652"/>
                  </a:moveTo>
                  <a:cubicBezTo>
                    <a:pt x="68" y="652"/>
                    <a:pt x="58" y="656"/>
                    <a:pt x="53" y="662"/>
                  </a:cubicBezTo>
                  <a:cubicBezTo>
                    <a:pt x="48" y="668"/>
                    <a:pt x="50" y="672"/>
                    <a:pt x="58" y="672"/>
                  </a:cubicBezTo>
                  <a:cubicBezTo>
                    <a:pt x="65" y="672"/>
                    <a:pt x="75" y="667"/>
                    <a:pt x="80" y="662"/>
                  </a:cubicBezTo>
                  <a:cubicBezTo>
                    <a:pt x="84" y="656"/>
                    <a:pt x="82" y="652"/>
                    <a:pt x="75" y="652"/>
                  </a:cubicBezTo>
                  <a:cubicBezTo>
                    <a:pt x="75" y="652"/>
                    <a:pt x="75" y="652"/>
                    <a:pt x="75" y="652"/>
                  </a:cubicBezTo>
                  <a:moveTo>
                    <a:pt x="114" y="652"/>
                  </a:moveTo>
                  <a:cubicBezTo>
                    <a:pt x="107" y="652"/>
                    <a:pt x="97" y="656"/>
                    <a:pt x="92" y="662"/>
                  </a:cubicBezTo>
                  <a:cubicBezTo>
                    <a:pt x="88" y="667"/>
                    <a:pt x="90" y="672"/>
                    <a:pt x="97" y="672"/>
                  </a:cubicBezTo>
                  <a:cubicBezTo>
                    <a:pt x="104" y="672"/>
                    <a:pt x="114" y="667"/>
                    <a:pt x="119" y="662"/>
                  </a:cubicBezTo>
                  <a:cubicBezTo>
                    <a:pt x="123" y="656"/>
                    <a:pt x="121" y="652"/>
                    <a:pt x="114" y="652"/>
                  </a:cubicBezTo>
                  <a:cubicBezTo>
                    <a:pt x="114" y="652"/>
                    <a:pt x="114" y="652"/>
                    <a:pt x="114" y="652"/>
                  </a:cubicBezTo>
                  <a:moveTo>
                    <a:pt x="151" y="651"/>
                  </a:moveTo>
                  <a:cubicBezTo>
                    <a:pt x="144" y="651"/>
                    <a:pt x="135" y="656"/>
                    <a:pt x="130" y="662"/>
                  </a:cubicBezTo>
                  <a:cubicBezTo>
                    <a:pt x="125" y="667"/>
                    <a:pt x="127" y="672"/>
                    <a:pt x="135" y="672"/>
                  </a:cubicBezTo>
                  <a:cubicBezTo>
                    <a:pt x="142" y="672"/>
                    <a:pt x="152" y="667"/>
                    <a:pt x="156" y="661"/>
                  </a:cubicBezTo>
                  <a:cubicBezTo>
                    <a:pt x="161" y="656"/>
                    <a:pt x="159" y="651"/>
                    <a:pt x="152" y="651"/>
                  </a:cubicBezTo>
                  <a:cubicBezTo>
                    <a:pt x="152" y="651"/>
                    <a:pt x="151" y="651"/>
                    <a:pt x="151" y="651"/>
                  </a:cubicBezTo>
                  <a:moveTo>
                    <a:pt x="189" y="651"/>
                  </a:moveTo>
                  <a:cubicBezTo>
                    <a:pt x="181" y="651"/>
                    <a:pt x="172" y="656"/>
                    <a:pt x="167" y="661"/>
                  </a:cubicBezTo>
                  <a:cubicBezTo>
                    <a:pt x="163" y="667"/>
                    <a:pt x="165" y="671"/>
                    <a:pt x="172" y="671"/>
                  </a:cubicBezTo>
                  <a:cubicBezTo>
                    <a:pt x="179" y="671"/>
                    <a:pt x="189" y="667"/>
                    <a:pt x="194" y="661"/>
                  </a:cubicBezTo>
                  <a:cubicBezTo>
                    <a:pt x="198" y="656"/>
                    <a:pt x="196" y="651"/>
                    <a:pt x="189" y="651"/>
                  </a:cubicBezTo>
                  <a:cubicBezTo>
                    <a:pt x="189" y="651"/>
                    <a:pt x="189" y="651"/>
                    <a:pt x="189" y="651"/>
                  </a:cubicBezTo>
                  <a:moveTo>
                    <a:pt x="226" y="651"/>
                  </a:moveTo>
                  <a:cubicBezTo>
                    <a:pt x="219" y="651"/>
                    <a:pt x="209" y="656"/>
                    <a:pt x="205" y="661"/>
                  </a:cubicBezTo>
                  <a:cubicBezTo>
                    <a:pt x="200" y="667"/>
                    <a:pt x="203" y="671"/>
                    <a:pt x="210" y="671"/>
                  </a:cubicBezTo>
                  <a:cubicBezTo>
                    <a:pt x="217" y="671"/>
                    <a:pt x="227" y="667"/>
                    <a:pt x="231" y="661"/>
                  </a:cubicBezTo>
                  <a:cubicBezTo>
                    <a:pt x="236" y="655"/>
                    <a:pt x="233" y="651"/>
                    <a:pt x="226" y="651"/>
                  </a:cubicBezTo>
                  <a:cubicBezTo>
                    <a:pt x="226" y="651"/>
                    <a:pt x="226" y="651"/>
                    <a:pt x="226" y="651"/>
                  </a:cubicBezTo>
                  <a:moveTo>
                    <a:pt x="263" y="651"/>
                  </a:moveTo>
                  <a:cubicBezTo>
                    <a:pt x="256" y="651"/>
                    <a:pt x="247" y="655"/>
                    <a:pt x="242" y="661"/>
                  </a:cubicBezTo>
                  <a:cubicBezTo>
                    <a:pt x="238" y="666"/>
                    <a:pt x="240" y="671"/>
                    <a:pt x="247" y="671"/>
                  </a:cubicBezTo>
                  <a:cubicBezTo>
                    <a:pt x="255" y="671"/>
                    <a:pt x="264" y="666"/>
                    <a:pt x="268" y="661"/>
                  </a:cubicBezTo>
                  <a:cubicBezTo>
                    <a:pt x="273" y="655"/>
                    <a:pt x="271" y="651"/>
                    <a:pt x="263" y="651"/>
                  </a:cubicBezTo>
                  <a:cubicBezTo>
                    <a:pt x="263" y="651"/>
                    <a:pt x="263" y="651"/>
                    <a:pt x="263" y="651"/>
                  </a:cubicBezTo>
                  <a:moveTo>
                    <a:pt x="301" y="650"/>
                  </a:moveTo>
                  <a:cubicBezTo>
                    <a:pt x="294" y="651"/>
                    <a:pt x="284" y="655"/>
                    <a:pt x="280" y="661"/>
                  </a:cubicBezTo>
                  <a:cubicBezTo>
                    <a:pt x="275" y="666"/>
                    <a:pt x="278" y="671"/>
                    <a:pt x="285" y="671"/>
                  </a:cubicBezTo>
                  <a:cubicBezTo>
                    <a:pt x="292" y="671"/>
                    <a:pt x="302" y="666"/>
                    <a:pt x="306" y="661"/>
                  </a:cubicBezTo>
                  <a:cubicBezTo>
                    <a:pt x="310" y="655"/>
                    <a:pt x="308" y="650"/>
                    <a:pt x="301" y="650"/>
                  </a:cubicBezTo>
                  <a:cubicBezTo>
                    <a:pt x="301" y="650"/>
                    <a:pt x="301" y="650"/>
                    <a:pt x="301" y="650"/>
                  </a:cubicBezTo>
                  <a:moveTo>
                    <a:pt x="339" y="650"/>
                  </a:moveTo>
                  <a:cubicBezTo>
                    <a:pt x="332" y="650"/>
                    <a:pt x="323" y="655"/>
                    <a:pt x="319" y="660"/>
                  </a:cubicBezTo>
                  <a:cubicBezTo>
                    <a:pt x="314" y="666"/>
                    <a:pt x="317" y="671"/>
                    <a:pt x="324" y="671"/>
                  </a:cubicBezTo>
                  <a:cubicBezTo>
                    <a:pt x="331" y="670"/>
                    <a:pt x="341" y="666"/>
                    <a:pt x="345" y="660"/>
                  </a:cubicBezTo>
                  <a:cubicBezTo>
                    <a:pt x="349" y="655"/>
                    <a:pt x="347" y="650"/>
                    <a:pt x="340" y="650"/>
                  </a:cubicBezTo>
                  <a:cubicBezTo>
                    <a:pt x="340" y="650"/>
                    <a:pt x="340" y="650"/>
                    <a:pt x="339" y="650"/>
                  </a:cubicBezTo>
                  <a:moveTo>
                    <a:pt x="377" y="650"/>
                  </a:moveTo>
                  <a:cubicBezTo>
                    <a:pt x="369" y="650"/>
                    <a:pt x="360" y="655"/>
                    <a:pt x="356" y="660"/>
                  </a:cubicBezTo>
                  <a:cubicBezTo>
                    <a:pt x="352" y="666"/>
                    <a:pt x="354" y="670"/>
                    <a:pt x="362" y="670"/>
                  </a:cubicBezTo>
                  <a:cubicBezTo>
                    <a:pt x="369" y="670"/>
                    <a:pt x="378" y="666"/>
                    <a:pt x="382" y="660"/>
                  </a:cubicBezTo>
                  <a:cubicBezTo>
                    <a:pt x="386" y="655"/>
                    <a:pt x="384" y="650"/>
                    <a:pt x="377" y="650"/>
                  </a:cubicBezTo>
                  <a:cubicBezTo>
                    <a:pt x="377" y="650"/>
                    <a:pt x="377" y="650"/>
                    <a:pt x="377" y="650"/>
                  </a:cubicBezTo>
                  <a:moveTo>
                    <a:pt x="414" y="650"/>
                  </a:moveTo>
                  <a:cubicBezTo>
                    <a:pt x="407" y="650"/>
                    <a:pt x="398" y="654"/>
                    <a:pt x="394" y="660"/>
                  </a:cubicBezTo>
                  <a:cubicBezTo>
                    <a:pt x="390" y="666"/>
                    <a:pt x="392" y="670"/>
                    <a:pt x="399" y="670"/>
                  </a:cubicBezTo>
                  <a:cubicBezTo>
                    <a:pt x="407" y="670"/>
                    <a:pt x="416" y="666"/>
                    <a:pt x="420" y="660"/>
                  </a:cubicBezTo>
                  <a:cubicBezTo>
                    <a:pt x="424" y="654"/>
                    <a:pt x="422" y="650"/>
                    <a:pt x="414" y="650"/>
                  </a:cubicBezTo>
                  <a:cubicBezTo>
                    <a:pt x="414" y="650"/>
                    <a:pt x="414" y="650"/>
                    <a:pt x="414" y="650"/>
                  </a:cubicBezTo>
                  <a:moveTo>
                    <a:pt x="452" y="650"/>
                  </a:moveTo>
                  <a:cubicBezTo>
                    <a:pt x="445" y="650"/>
                    <a:pt x="436" y="654"/>
                    <a:pt x="432" y="660"/>
                  </a:cubicBezTo>
                  <a:cubicBezTo>
                    <a:pt x="428" y="665"/>
                    <a:pt x="430" y="670"/>
                    <a:pt x="438" y="670"/>
                  </a:cubicBezTo>
                  <a:cubicBezTo>
                    <a:pt x="445" y="670"/>
                    <a:pt x="454" y="665"/>
                    <a:pt x="458" y="660"/>
                  </a:cubicBezTo>
                  <a:cubicBezTo>
                    <a:pt x="462" y="654"/>
                    <a:pt x="459" y="650"/>
                    <a:pt x="452" y="650"/>
                  </a:cubicBezTo>
                  <a:cubicBezTo>
                    <a:pt x="452" y="650"/>
                    <a:pt x="452" y="650"/>
                    <a:pt x="452" y="650"/>
                  </a:cubicBezTo>
                  <a:moveTo>
                    <a:pt x="489" y="649"/>
                  </a:moveTo>
                  <a:cubicBezTo>
                    <a:pt x="482" y="649"/>
                    <a:pt x="473" y="654"/>
                    <a:pt x="469" y="660"/>
                  </a:cubicBezTo>
                  <a:cubicBezTo>
                    <a:pt x="465" y="665"/>
                    <a:pt x="468" y="670"/>
                    <a:pt x="475" y="670"/>
                  </a:cubicBezTo>
                  <a:cubicBezTo>
                    <a:pt x="482" y="670"/>
                    <a:pt x="491" y="665"/>
                    <a:pt x="495" y="659"/>
                  </a:cubicBezTo>
                  <a:cubicBezTo>
                    <a:pt x="499" y="654"/>
                    <a:pt x="497" y="649"/>
                    <a:pt x="489" y="649"/>
                  </a:cubicBezTo>
                  <a:cubicBezTo>
                    <a:pt x="489" y="649"/>
                    <a:pt x="489" y="649"/>
                    <a:pt x="489" y="649"/>
                  </a:cubicBezTo>
                  <a:moveTo>
                    <a:pt x="527" y="649"/>
                  </a:moveTo>
                  <a:cubicBezTo>
                    <a:pt x="520" y="649"/>
                    <a:pt x="511" y="654"/>
                    <a:pt x="507" y="659"/>
                  </a:cubicBezTo>
                  <a:cubicBezTo>
                    <a:pt x="503" y="665"/>
                    <a:pt x="505" y="670"/>
                    <a:pt x="513" y="669"/>
                  </a:cubicBezTo>
                  <a:cubicBezTo>
                    <a:pt x="520" y="669"/>
                    <a:pt x="529" y="665"/>
                    <a:pt x="533" y="659"/>
                  </a:cubicBezTo>
                  <a:cubicBezTo>
                    <a:pt x="537" y="654"/>
                    <a:pt x="534" y="649"/>
                    <a:pt x="527" y="649"/>
                  </a:cubicBezTo>
                  <a:cubicBezTo>
                    <a:pt x="527" y="649"/>
                    <a:pt x="527" y="649"/>
                    <a:pt x="527" y="649"/>
                  </a:cubicBezTo>
                  <a:moveTo>
                    <a:pt x="564" y="649"/>
                  </a:moveTo>
                  <a:cubicBezTo>
                    <a:pt x="557" y="649"/>
                    <a:pt x="548" y="654"/>
                    <a:pt x="544" y="659"/>
                  </a:cubicBezTo>
                  <a:cubicBezTo>
                    <a:pt x="540" y="665"/>
                    <a:pt x="543" y="669"/>
                    <a:pt x="550" y="669"/>
                  </a:cubicBezTo>
                  <a:cubicBezTo>
                    <a:pt x="558" y="669"/>
                    <a:pt x="567" y="665"/>
                    <a:pt x="570" y="659"/>
                  </a:cubicBezTo>
                  <a:cubicBezTo>
                    <a:pt x="574" y="653"/>
                    <a:pt x="571" y="649"/>
                    <a:pt x="564" y="649"/>
                  </a:cubicBezTo>
                  <a:cubicBezTo>
                    <a:pt x="564" y="649"/>
                    <a:pt x="564" y="649"/>
                    <a:pt x="564" y="649"/>
                  </a:cubicBezTo>
                  <a:moveTo>
                    <a:pt x="602" y="649"/>
                  </a:moveTo>
                  <a:cubicBezTo>
                    <a:pt x="594" y="649"/>
                    <a:pt x="585" y="653"/>
                    <a:pt x="582" y="659"/>
                  </a:cubicBezTo>
                  <a:cubicBezTo>
                    <a:pt x="578" y="665"/>
                    <a:pt x="581" y="669"/>
                    <a:pt x="588" y="669"/>
                  </a:cubicBezTo>
                  <a:cubicBezTo>
                    <a:pt x="595" y="669"/>
                    <a:pt x="604" y="664"/>
                    <a:pt x="608" y="659"/>
                  </a:cubicBezTo>
                  <a:cubicBezTo>
                    <a:pt x="612" y="653"/>
                    <a:pt x="609" y="649"/>
                    <a:pt x="602" y="649"/>
                  </a:cubicBezTo>
                  <a:cubicBezTo>
                    <a:pt x="602" y="649"/>
                    <a:pt x="602" y="649"/>
                    <a:pt x="602" y="649"/>
                  </a:cubicBezTo>
                  <a:moveTo>
                    <a:pt x="639" y="649"/>
                  </a:moveTo>
                  <a:cubicBezTo>
                    <a:pt x="632" y="649"/>
                    <a:pt x="623" y="653"/>
                    <a:pt x="620" y="659"/>
                  </a:cubicBezTo>
                  <a:cubicBezTo>
                    <a:pt x="616" y="664"/>
                    <a:pt x="619" y="669"/>
                    <a:pt x="626" y="669"/>
                  </a:cubicBezTo>
                  <a:cubicBezTo>
                    <a:pt x="634" y="669"/>
                    <a:pt x="642" y="664"/>
                    <a:pt x="646" y="659"/>
                  </a:cubicBezTo>
                  <a:cubicBezTo>
                    <a:pt x="650" y="653"/>
                    <a:pt x="647" y="649"/>
                    <a:pt x="640" y="649"/>
                  </a:cubicBezTo>
                  <a:cubicBezTo>
                    <a:pt x="639" y="649"/>
                    <a:pt x="639" y="649"/>
                    <a:pt x="639" y="649"/>
                  </a:cubicBezTo>
                  <a:moveTo>
                    <a:pt x="677" y="648"/>
                  </a:moveTo>
                  <a:cubicBezTo>
                    <a:pt x="669" y="648"/>
                    <a:pt x="661" y="653"/>
                    <a:pt x="657" y="659"/>
                  </a:cubicBezTo>
                  <a:cubicBezTo>
                    <a:pt x="653" y="664"/>
                    <a:pt x="656" y="669"/>
                    <a:pt x="664" y="669"/>
                  </a:cubicBezTo>
                  <a:cubicBezTo>
                    <a:pt x="671" y="669"/>
                    <a:pt x="680" y="664"/>
                    <a:pt x="683" y="658"/>
                  </a:cubicBezTo>
                  <a:cubicBezTo>
                    <a:pt x="687" y="653"/>
                    <a:pt x="684" y="648"/>
                    <a:pt x="677" y="648"/>
                  </a:cubicBezTo>
                  <a:cubicBezTo>
                    <a:pt x="677" y="648"/>
                    <a:pt x="677" y="648"/>
                    <a:pt x="677" y="648"/>
                  </a:cubicBezTo>
                  <a:moveTo>
                    <a:pt x="714" y="648"/>
                  </a:moveTo>
                  <a:cubicBezTo>
                    <a:pt x="707" y="648"/>
                    <a:pt x="698" y="653"/>
                    <a:pt x="695" y="658"/>
                  </a:cubicBezTo>
                  <a:cubicBezTo>
                    <a:pt x="691" y="664"/>
                    <a:pt x="694" y="668"/>
                    <a:pt x="701" y="668"/>
                  </a:cubicBezTo>
                  <a:cubicBezTo>
                    <a:pt x="709" y="668"/>
                    <a:pt x="717" y="664"/>
                    <a:pt x="721" y="658"/>
                  </a:cubicBezTo>
                  <a:cubicBezTo>
                    <a:pt x="724" y="653"/>
                    <a:pt x="721" y="648"/>
                    <a:pt x="714" y="648"/>
                  </a:cubicBezTo>
                  <a:cubicBezTo>
                    <a:pt x="714" y="648"/>
                    <a:pt x="714" y="648"/>
                    <a:pt x="714" y="648"/>
                  </a:cubicBezTo>
                  <a:moveTo>
                    <a:pt x="1909" y="640"/>
                  </a:moveTo>
                  <a:cubicBezTo>
                    <a:pt x="1902" y="640"/>
                    <a:pt x="1895" y="644"/>
                    <a:pt x="1894" y="650"/>
                  </a:cubicBezTo>
                  <a:cubicBezTo>
                    <a:pt x="1893" y="656"/>
                    <a:pt x="1898" y="660"/>
                    <a:pt x="1905" y="660"/>
                  </a:cubicBezTo>
                  <a:cubicBezTo>
                    <a:pt x="1912" y="660"/>
                    <a:pt x="1919" y="656"/>
                    <a:pt x="1920" y="650"/>
                  </a:cubicBezTo>
                  <a:cubicBezTo>
                    <a:pt x="1921" y="644"/>
                    <a:pt x="1916" y="640"/>
                    <a:pt x="1909" y="640"/>
                  </a:cubicBezTo>
                  <a:cubicBezTo>
                    <a:pt x="1909" y="640"/>
                    <a:pt x="1909" y="640"/>
                    <a:pt x="1909" y="640"/>
                  </a:cubicBezTo>
                  <a:moveTo>
                    <a:pt x="1946" y="640"/>
                  </a:moveTo>
                  <a:cubicBezTo>
                    <a:pt x="1939" y="640"/>
                    <a:pt x="1932" y="644"/>
                    <a:pt x="1931" y="650"/>
                  </a:cubicBezTo>
                  <a:cubicBezTo>
                    <a:pt x="1930" y="655"/>
                    <a:pt x="1935" y="660"/>
                    <a:pt x="1942" y="660"/>
                  </a:cubicBezTo>
                  <a:cubicBezTo>
                    <a:pt x="1949" y="660"/>
                    <a:pt x="1956" y="655"/>
                    <a:pt x="1957" y="650"/>
                  </a:cubicBezTo>
                  <a:cubicBezTo>
                    <a:pt x="1958" y="644"/>
                    <a:pt x="1953" y="640"/>
                    <a:pt x="1946" y="640"/>
                  </a:cubicBezTo>
                  <a:cubicBezTo>
                    <a:pt x="1946" y="640"/>
                    <a:pt x="1946" y="640"/>
                    <a:pt x="1946" y="640"/>
                  </a:cubicBezTo>
                  <a:moveTo>
                    <a:pt x="1983" y="639"/>
                  </a:moveTo>
                  <a:cubicBezTo>
                    <a:pt x="1976" y="639"/>
                    <a:pt x="1969" y="644"/>
                    <a:pt x="1968" y="650"/>
                  </a:cubicBezTo>
                  <a:cubicBezTo>
                    <a:pt x="1967" y="655"/>
                    <a:pt x="1972" y="660"/>
                    <a:pt x="1980" y="660"/>
                  </a:cubicBezTo>
                  <a:cubicBezTo>
                    <a:pt x="1987" y="660"/>
                    <a:pt x="1994" y="655"/>
                    <a:pt x="1995" y="649"/>
                  </a:cubicBezTo>
                  <a:cubicBezTo>
                    <a:pt x="1996" y="644"/>
                    <a:pt x="1991" y="639"/>
                    <a:pt x="1983" y="639"/>
                  </a:cubicBezTo>
                  <a:cubicBezTo>
                    <a:pt x="1983" y="639"/>
                    <a:pt x="1983" y="639"/>
                    <a:pt x="1983" y="639"/>
                  </a:cubicBezTo>
                  <a:moveTo>
                    <a:pt x="2020" y="639"/>
                  </a:moveTo>
                  <a:cubicBezTo>
                    <a:pt x="2013" y="639"/>
                    <a:pt x="2007" y="644"/>
                    <a:pt x="2006" y="649"/>
                  </a:cubicBezTo>
                  <a:cubicBezTo>
                    <a:pt x="2005" y="655"/>
                    <a:pt x="2010" y="660"/>
                    <a:pt x="2017" y="660"/>
                  </a:cubicBezTo>
                  <a:cubicBezTo>
                    <a:pt x="2024" y="659"/>
                    <a:pt x="2031" y="655"/>
                    <a:pt x="2032" y="649"/>
                  </a:cubicBezTo>
                  <a:cubicBezTo>
                    <a:pt x="2033" y="644"/>
                    <a:pt x="2028" y="639"/>
                    <a:pt x="2021" y="639"/>
                  </a:cubicBezTo>
                  <a:cubicBezTo>
                    <a:pt x="2021" y="639"/>
                    <a:pt x="2020" y="639"/>
                    <a:pt x="2020" y="639"/>
                  </a:cubicBezTo>
                  <a:moveTo>
                    <a:pt x="2058" y="639"/>
                  </a:moveTo>
                  <a:cubicBezTo>
                    <a:pt x="2051" y="639"/>
                    <a:pt x="2044" y="644"/>
                    <a:pt x="2043" y="649"/>
                  </a:cubicBezTo>
                  <a:cubicBezTo>
                    <a:pt x="2042" y="655"/>
                    <a:pt x="2048" y="659"/>
                    <a:pt x="2055" y="659"/>
                  </a:cubicBezTo>
                  <a:cubicBezTo>
                    <a:pt x="2062" y="659"/>
                    <a:pt x="2069" y="655"/>
                    <a:pt x="2069" y="649"/>
                  </a:cubicBezTo>
                  <a:cubicBezTo>
                    <a:pt x="2070" y="643"/>
                    <a:pt x="2065" y="639"/>
                    <a:pt x="2058" y="639"/>
                  </a:cubicBezTo>
                  <a:cubicBezTo>
                    <a:pt x="2058" y="639"/>
                    <a:pt x="2058" y="639"/>
                    <a:pt x="2058" y="639"/>
                  </a:cubicBezTo>
                  <a:moveTo>
                    <a:pt x="2096" y="639"/>
                  </a:moveTo>
                  <a:cubicBezTo>
                    <a:pt x="2089" y="639"/>
                    <a:pt x="2083" y="643"/>
                    <a:pt x="2082" y="649"/>
                  </a:cubicBezTo>
                  <a:cubicBezTo>
                    <a:pt x="2081" y="655"/>
                    <a:pt x="2086" y="659"/>
                    <a:pt x="2094" y="659"/>
                  </a:cubicBezTo>
                  <a:cubicBezTo>
                    <a:pt x="2101" y="659"/>
                    <a:pt x="2107" y="654"/>
                    <a:pt x="2108" y="649"/>
                  </a:cubicBezTo>
                  <a:cubicBezTo>
                    <a:pt x="2109" y="643"/>
                    <a:pt x="2104" y="639"/>
                    <a:pt x="2096" y="639"/>
                  </a:cubicBezTo>
                  <a:cubicBezTo>
                    <a:pt x="2096" y="639"/>
                    <a:pt x="2096" y="639"/>
                    <a:pt x="2096" y="639"/>
                  </a:cubicBezTo>
                  <a:moveTo>
                    <a:pt x="2133" y="638"/>
                  </a:moveTo>
                  <a:cubicBezTo>
                    <a:pt x="2126" y="639"/>
                    <a:pt x="2120" y="643"/>
                    <a:pt x="2119" y="649"/>
                  </a:cubicBezTo>
                  <a:cubicBezTo>
                    <a:pt x="2118" y="654"/>
                    <a:pt x="2124" y="659"/>
                    <a:pt x="2131" y="659"/>
                  </a:cubicBezTo>
                  <a:cubicBezTo>
                    <a:pt x="2138" y="659"/>
                    <a:pt x="2145" y="654"/>
                    <a:pt x="2145" y="649"/>
                  </a:cubicBezTo>
                  <a:cubicBezTo>
                    <a:pt x="2146" y="643"/>
                    <a:pt x="2141" y="638"/>
                    <a:pt x="2134" y="638"/>
                  </a:cubicBezTo>
                  <a:cubicBezTo>
                    <a:pt x="2134" y="638"/>
                    <a:pt x="2134" y="638"/>
                    <a:pt x="2133" y="638"/>
                  </a:cubicBezTo>
                  <a:moveTo>
                    <a:pt x="2171" y="638"/>
                  </a:moveTo>
                  <a:cubicBezTo>
                    <a:pt x="2164" y="638"/>
                    <a:pt x="2157" y="643"/>
                    <a:pt x="2157" y="649"/>
                  </a:cubicBezTo>
                  <a:cubicBezTo>
                    <a:pt x="2156" y="654"/>
                    <a:pt x="2161" y="659"/>
                    <a:pt x="2169" y="659"/>
                  </a:cubicBezTo>
                  <a:cubicBezTo>
                    <a:pt x="2176" y="659"/>
                    <a:pt x="2182" y="654"/>
                    <a:pt x="2183" y="648"/>
                  </a:cubicBezTo>
                  <a:cubicBezTo>
                    <a:pt x="2183" y="643"/>
                    <a:pt x="2178" y="638"/>
                    <a:pt x="2171" y="638"/>
                  </a:cubicBezTo>
                  <a:cubicBezTo>
                    <a:pt x="2171" y="638"/>
                    <a:pt x="2171" y="638"/>
                    <a:pt x="2171" y="638"/>
                  </a:cubicBezTo>
                  <a:moveTo>
                    <a:pt x="2805" y="636"/>
                  </a:moveTo>
                  <a:cubicBezTo>
                    <a:pt x="2798" y="636"/>
                    <a:pt x="2793" y="641"/>
                    <a:pt x="2793" y="647"/>
                  </a:cubicBezTo>
                  <a:cubicBezTo>
                    <a:pt x="2794" y="652"/>
                    <a:pt x="2800" y="657"/>
                    <a:pt x="2808" y="657"/>
                  </a:cubicBezTo>
                  <a:cubicBezTo>
                    <a:pt x="2815" y="657"/>
                    <a:pt x="2820" y="652"/>
                    <a:pt x="2820" y="646"/>
                  </a:cubicBezTo>
                  <a:cubicBezTo>
                    <a:pt x="2819" y="641"/>
                    <a:pt x="2813" y="636"/>
                    <a:pt x="2806" y="636"/>
                  </a:cubicBezTo>
                  <a:cubicBezTo>
                    <a:pt x="2805" y="636"/>
                    <a:pt x="2805" y="636"/>
                    <a:pt x="2805" y="636"/>
                  </a:cubicBezTo>
                  <a:moveTo>
                    <a:pt x="2841" y="636"/>
                  </a:moveTo>
                  <a:cubicBezTo>
                    <a:pt x="2833" y="636"/>
                    <a:pt x="2828" y="641"/>
                    <a:pt x="2829" y="646"/>
                  </a:cubicBezTo>
                  <a:cubicBezTo>
                    <a:pt x="2829" y="652"/>
                    <a:pt x="2836" y="657"/>
                    <a:pt x="2843" y="657"/>
                  </a:cubicBezTo>
                  <a:cubicBezTo>
                    <a:pt x="2850" y="657"/>
                    <a:pt x="2856" y="652"/>
                    <a:pt x="2855" y="646"/>
                  </a:cubicBezTo>
                  <a:cubicBezTo>
                    <a:pt x="2854" y="641"/>
                    <a:pt x="2848" y="636"/>
                    <a:pt x="2841" y="636"/>
                  </a:cubicBezTo>
                  <a:cubicBezTo>
                    <a:pt x="2841" y="636"/>
                    <a:pt x="2841" y="636"/>
                    <a:pt x="2841" y="636"/>
                  </a:cubicBezTo>
                  <a:moveTo>
                    <a:pt x="2878" y="636"/>
                  </a:moveTo>
                  <a:cubicBezTo>
                    <a:pt x="2870" y="636"/>
                    <a:pt x="2865" y="641"/>
                    <a:pt x="2866" y="646"/>
                  </a:cubicBezTo>
                  <a:cubicBezTo>
                    <a:pt x="2867" y="652"/>
                    <a:pt x="2873" y="656"/>
                    <a:pt x="2880" y="656"/>
                  </a:cubicBezTo>
                  <a:cubicBezTo>
                    <a:pt x="2888" y="656"/>
                    <a:pt x="2893" y="652"/>
                    <a:pt x="2892" y="646"/>
                  </a:cubicBezTo>
                  <a:cubicBezTo>
                    <a:pt x="2891" y="640"/>
                    <a:pt x="2885" y="636"/>
                    <a:pt x="2878" y="636"/>
                  </a:cubicBezTo>
                  <a:cubicBezTo>
                    <a:pt x="2878" y="636"/>
                    <a:pt x="2878" y="636"/>
                    <a:pt x="2878" y="636"/>
                  </a:cubicBezTo>
                  <a:moveTo>
                    <a:pt x="2915" y="636"/>
                  </a:moveTo>
                  <a:cubicBezTo>
                    <a:pt x="2908" y="636"/>
                    <a:pt x="2903" y="640"/>
                    <a:pt x="2903" y="646"/>
                  </a:cubicBezTo>
                  <a:cubicBezTo>
                    <a:pt x="2904" y="652"/>
                    <a:pt x="2911" y="656"/>
                    <a:pt x="2918" y="656"/>
                  </a:cubicBezTo>
                  <a:cubicBezTo>
                    <a:pt x="2925" y="656"/>
                    <a:pt x="2930" y="652"/>
                    <a:pt x="2930" y="646"/>
                  </a:cubicBezTo>
                  <a:cubicBezTo>
                    <a:pt x="2929" y="640"/>
                    <a:pt x="2922" y="636"/>
                    <a:pt x="2915" y="636"/>
                  </a:cubicBezTo>
                  <a:cubicBezTo>
                    <a:pt x="2915" y="636"/>
                    <a:pt x="2915" y="636"/>
                    <a:pt x="2915" y="636"/>
                  </a:cubicBezTo>
                  <a:moveTo>
                    <a:pt x="2953" y="635"/>
                  </a:moveTo>
                  <a:cubicBezTo>
                    <a:pt x="2945" y="635"/>
                    <a:pt x="2940" y="640"/>
                    <a:pt x="2941" y="646"/>
                  </a:cubicBezTo>
                  <a:cubicBezTo>
                    <a:pt x="2942" y="651"/>
                    <a:pt x="2949" y="656"/>
                    <a:pt x="2956" y="656"/>
                  </a:cubicBezTo>
                  <a:cubicBezTo>
                    <a:pt x="2963" y="656"/>
                    <a:pt x="2968" y="651"/>
                    <a:pt x="2967" y="646"/>
                  </a:cubicBezTo>
                  <a:cubicBezTo>
                    <a:pt x="2966" y="640"/>
                    <a:pt x="2960" y="635"/>
                    <a:pt x="2953" y="635"/>
                  </a:cubicBezTo>
                  <a:cubicBezTo>
                    <a:pt x="2953" y="635"/>
                    <a:pt x="2953" y="635"/>
                    <a:pt x="2953" y="635"/>
                  </a:cubicBezTo>
                  <a:moveTo>
                    <a:pt x="2990" y="635"/>
                  </a:moveTo>
                  <a:cubicBezTo>
                    <a:pt x="2982" y="635"/>
                    <a:pt x="2977" y="640"/>
                    <a:pt x="2978" y="646"/>
                  </a:cubicBezTo>
                  <a:cubicBezTo>
                    <a:pt x="2979" y="651"/>
                    <a:pt x="2986" y="656"/>
                    <a:pt x="2993" y="656"/>
                  </a:cubicBezTo>
                  <a:cubicBezTo>
                    <a:pt x="3001" y="656"/>
                    <a:pt x="3006" y="651"/>
                    <a:pt x="3005" y="645"/>
                  </a:cubicBezTo>
                  <a:cubicBezTo>
                    <a:pt x="3004" y="640"/>
                    <a:pt x="2997" y="635"/>
                    <a:pt x="2990" y="635"/>
                  </a:cubicBezTo>
                  <a:cubicBezTo>
                    <a:pt x="2990" y="635"/>
                    <a:pt x="2990" y="635"/>
                    <a:pt x="2990" y="635"/>
                  </a:cubicBezTo>
                  <a:moveTo>
                    <a:pt x="3027" y="635"/>
                  </a:moveTo>
                  <a:cubicBezTo>
                    <a:pt x="3020" y="635"/>
                    <a:pt x="3015" y="640"/>
                    <a:pt x="3016" y="645"/>
                  </a:cubicBezTo>
                  <a:cubicBezTo>
                    <a:pt x="3017" y="651"/>
                    <a:pt x="3024" y="656"/>
                    <a:pt x="3031" y="656"/>
                  </a:cubicBezTo>
                  <a:cubicBezTo>
                    <a:pt x="3038" y="655"/>
                    <a:pt x="3043" y="651"/>
                    <a:pt x="3042" y="645"/>
                  </a:cubicBezTo>
                  <a:cubicBezTo>
                    <a:pt x="3041" y="640"/>
                    <a:pt x="3034" y="635"/>
                    <a:pt x="3027" y="635"/>
                  </a:cubicBezTo>
                  <a:cubicBezTo>
                    <a:pt x="3027" y="635"/>
                    <a:pt x="3027" y="635"/>
                    <a:pt x="3027" y="635"/>
                  </a:cubicBezTo>
                  <a:moveTo>
                    <a:pt x="3064" y="635"/>
                  </a:moveTo>
                  <a:cubicBezTo>
                    <a:pt x="3057" y="635"/>
                    <a:pt x="3052" y="640"/>
                    <a:pt x="3053" y="645"/>
                  </a:cubicBezTo>
                  <a:cubicBezTo>
                    <a:pt x="3054" y="651"/>
                    <a:pt x="3061" y="655"/>
                    <a:pt x="3068" y="655"/>
                  </a:cubicBezTo>
                  <a:cubicBezTo>
                    <a:pt x="3075" y="655"/>
                    <a:pt x="3080" y="651"/>
                    <a:pt x="3079" y="645"/>
                  </a:cubicBezTo>
                  <a:cubicBezTo>
                    <a:pt x="3078" y="639"/>
                    <a:pt x="3071" y="635"/>
                    <a:pt x="3064" y="635"/>
                  </a:cubicBezTo>
                  <a:cubicBezTo>
                    <a:pt x="3064" y="635"/>
                    <a:pt x="3064" y="635"/>
                    <a:pt x="3064" y="635"/>
                  </a:cubicBezTo>
                  <a:moveTo>
                    <a:pt x="3101" y="635"/>
                  </a:moveTo>
                  <a:cubicBezTo>
                    <a:pt x="3094" y="635"/>
                    <a:pt x="3089" y="639"/>
                    <a:pt x="3090" y="645"/>
                  </a:cubicBezTo>
                  <a:cubicBezTo>
                    <a:pt x="3092" y="651"/>
                    <a:pt x="3098" y="655"/>
                    <a:pt x="3106" y="655"/>
                  </a:cubicBezTo>
                  <a:cubicBezTo>
                    <a:pt x="3113" y="655"/>
                    <a:pt x="3118" y="650"/>
                    <a:pt x="3117" y="645"/>
                  </a:cubicBezTo>
                  <a:cubicBezTo>
                    <a:pt x="3115" y="639"/>
                    <a:pt x="3109" y="635"/>
                    <a:pt x="3101" y="635"/>
                  </a:cubicBezTo>
                  <a:cubicBezTo>
                    <a:pt x="3101" y="635"/>
                    <a:pt x="3101" y="635"/>
                    <a:pt x="3101" y="635"/>
                  </a:cubicBezTo>
                  <a:moveTo>
                    <a:pt x="3140" y="634"/>
                  </a:moveTo>
                  <a:cubicBezTo>
                    <a:pt x="3133" y="634"/>
                    <a:pt x="3128" y="639"/>
                    <a:pt x="3129" y="645"/>
                  </a:cubicBezTo>
                  <a:cubicBezTo>
                    <a:pt x="3130" y="650"/>
                    <a:pt x="3137" y="655"/>
                    <a:pt x="3144" y="655"/>
                  </a:cubicBezTo>
                  <a:cubicBezTo>
                    <a:pt x="3152" y="655"/>
                    <a:pt x="3157" y="650"/>
                    <a:pt x="3155" y="645"/>
                  </a:cubicBezTo>
                  <a:cubicBezTo>
                    <a:pt x="3154" y="639"/>
                    <a:pt x="3147" y="634"/>
                    <a:pt x="3140" y="634"/>
                  </a:cubicBezTo>
                  <a:cubicBezTo>
                    <a:pt x="3140" y="634"/>
                    <a:pt x="3140" y="634"/>
                    <a:pt x="3140" y="634"/>
                  </a:cubicBezTo>
                  <a:moveTo>
                    <a:pt x="2768" y="634"/>
                  </a:moveTo>
                  <a:cubicBezTo>
                    <a:pt x="2761" y="634"/>
                    <a:pt x="2755" y="639"/>
                    <a:pt x="2756" y="645"/>
                  </a:cubicBezTo>
                  <a:cubicBezTo>
                    <a:pt x="2756" y="650"/>
                    <a:pt x="2763" y="655"/>
                    <a:pt x="2770" y="655"/>
                  </a:cubicBezTo>
                  <a:cubicBezTo>
                    <a:pt x="2777" y="655"/>
                    <a:pt x="2783" y="650"/>
                    <a:pt x="2782" y="644"/>
                  </a:cubicBezTo>
                  <a:cubicBezTo>
                    <a:pt x="2781" y="639"/>
                    <a:pt x="2775" y="634"/>
                    <a:pt x="2768" y="634"/>
                  </a:cubicBezTo>
                  <a:cubicBezTo>
                    <a:pt x="2768" y="634"/>
                    <a:pt x="2768" y="634"/>
                    <a:pt x="2768" y="634"/>
                  </a:cubicBezTo>
                  <a:moveTo>
                    <a:pt x="3177" y="634"/>
                  </a:moveTo>
                  <a:cubicBezTo>
                    <a:pt x="3170" y="634"/>
                    <a:pt x="3165" y="639"/>
                    <a:pt x="3166" y="645"/>
                  </a:cubicBezTo>
                  <a:cubicBezTo>
                    <a:pt x="3168" y="650"/>
                    <a:pt x="3175" y="655"/>
                    <a:pt x="3182" y="655"/>
                  </a:cubicBezTo>
                  <a:cubicBezTo>
                    <a:pt x="3189" y="655"/>
                    <a:pt x="3194" y="650"/>
                    <a:pt x="3192" y="644"/>
                  </a:cubicBezTo>
                  <a:cubicBezTo>
                    <a:pt x="3191" y="639"/>
                    <a:pt x="3184" y="634"/>
                    <a:pt x="3177" y="634"/>
                  </a:cubicBezTo>
                  <a:cubicBezTo>
                    <a:pt x="3177" y="634"/>
                    <a:pt x="3177" y="634"/>
                    <a:pt x="3177" y="634"/>
                  </a:cubicBezTo>
                  <a:moveTo>
                    <a:pt x="2657" y="634"/>
                  </a:moveTo>
                  <a:cubicBezTo>
                    <a:pt x="2650" y="634"/>
                    <a:pt x="2644" y="639"/>
                    <a:pt x="2644" y="644"/>
                  </a:cubicBezTo>
                  <a:cubicBezTo>
                    <a:pt x="2645" y="650"/>
                    <a:pt x="2651" y="654"/>
                    <a:pt x="2658" y="654"/>
                  </a:cubicBezTo>
                  <a:cubicBezTo>
                    <a:pt x="2665" y="654"/>
                    <a:pt x="2671" y="650"/>
                    <a:pt x="2670" y="644"/>
                  </a:cubicBezTo>
                  <a:cubicBezTo>
                    <a:pt x="2670" y="639"/>
                    <a:pt x="2664" y="634"/>
                    <a:pt x="2657" y="634"/>
                  </a:cubicBezTo>
                  <a:cubicBezTo>
                    <a:pt x="2657" y="634"/>
                    <a:pt x="2657" y="634"/>
                    <a:pt x="2657" y="634"/>
                  </a:cubicBezTo>
                  <a:moveTo>
                    <a:pt x="3214" y="634"/>
                  </a:moveTo>
                  <a:cubicBezTo>
                    <a:pt x="3207" y="634"/>
                    <a:pt x="3202" y="639"/>
                    <a:pt x="3204" y="644"/>
                  </a:cubicBezTo>
                  <a:cubicBezTo>
                    <a:pt x="3205" y="650"/>
                    <a:pt x="3212" y="655"/>
                    <a:pt x="3219" y="654"/>
                  </a:cubicBezTo>
                  <a:cubicBezTo>
                    <a:pt x="3227" y="654"/>
                    <a:pt x="3231" y="650"/>
                    <a:pt x="3230" y="644"/>
                  </a:cubicBezTo>
                  <a:cubicBezTo>
                    <a:pt x="3228" y="639"/>
                    <a:pt x="3221" y="634"/>
                    <a:pt x="3214" y="634"/>
                  </a:cubicBezTo>
                  <a:cubicBezTo>
                    <a:pt x="3214" y="634"/>
                    <a:pt x="3214" y="634"/>
                    <a:pt x="3214" y="634"/>
                  </a:cubicBezTo>
                  <a:moveTo>
                    <a:pt x="2693" y="634"/>
                  </a:moveTo>
                  <a:cubicBezTo>
                    <a:pt x="2686" y="634"/>
                    <a:pt x="2681" y="638"/>
                    <a:pt x="2681" y="644"/>
                  </a:cubicBezTo>
                  <a:cubicBezTo>
                    <a:pt x="2682" y="650"/>
                    <a:pt x="2688" y="654"/>
                    <a:pt x="2695" y="654"/>
                  </a:cubicBezTo>
                  <a:cubicBezTo>
                    <a:pt x="2702" y="654"/>
                    <a:pt x="2708" y="650"/>
                    <a:pt x="2707" y="644"/>
                  </a:cubicBezTo>
                  <a:cubicBezTo>
                    <a:pt x="2707" y="638"/>
                    <a:pt x="2701" y="634"/>
                    <a:pt x="2694" y="634"/>
                  </a:cubicBezTo>
                  <a:cubicBezTo>
                    <a:pt x="2694" y="634"/>
                    <a:pt x="2694" y="634"/>
                    <a:pt x="2693" y="634"/>
                  </a:cubicBezTo>
                  <a:moveTo>
                    <a:pt x="3252" y="634"/>
                  </a:moveTo>
                  <a:cubicBezTo>
                    <a:pt x="3245" y="634"/>
                    <a:pt x="3240" y="638"/>
                    <a:pt x="3242" y="644"/>
                  </a:cubicBezTo>
                  <a:cubicBezTo>
                    <a:pt x="3243" y="650"/>
                    <a:pt x="3250" y="654"/>
                    <a:pt x="3257" y="654"/>
                  </a:cubicBezTo>
                  <a:cubicBezTo>
                    <a:pt x="3265" y="654"/>
                    <a:pt x="3269" y="650"/>
                    <a:pt x="3268" y="644"/>
                  </a:cubicBezTo>
                  <a:cubicBezTo>
                    <a:pt x="3266" y="638"/>
                    <a:pt x="3259" y="634"/>
                    <a:pt x="3252" y="634"/>
                  </a:cubicBezTo>
                  <a:cubicBezTo>
                    <a:pt x="3252" y="634"/>
                    <a:pt x="3252" y="634"/>
                    <a:pt x="3252" y="634"/>
                  </a:cubicBezTo>
                  <a:moveTo>
                    <a:pt x="2620" y="634"/>
                  </a:moveTo>
                  <a:cubicBezTo>
                    <a:pt x="2612" y="634"/>
                    <a:pt x="2607" y="638"/>
                    <a:pt x="2607" y="644"/>
                  </a:cubicBezTo>
                  <a:cubicBezTo>
                    <a:pt x="2607" y="650"/>
                    <a:pt x="2613" y="654"/>
                    <a:pt x="2621" y="654"/>
                  </a:cubicBezTo>
                  <a:cubicBezTo>
                    <a:pt x="2628" y="654"/>
                    <a:pt x="2634" y="650"/>
                    <a:pt x="2633" y="644"/>
                  </a:cubicBezTo>
                  <a:cubicBezTo>
                    <a:pt x="2633" y="638"/>
                    <a:pt x="2627" y="634"/>
                    <a:pt x="2620" y="634"/>
                  </a:cubicBezTo>
                  <a:cubicBezTo>
                    <a:pt x="2620" y="634"/>
                    <a:pt x="2620" y="634"/>
                    <a:pt x="2620" y="634"/>
                  </a:cubicBezTo>
                  <a:moveTo>
                    <a:pt x="2731" y="634"/>
                  </a:moveTo>
                  <a:cubicBezTo>
                    <a:pt x="2723" y="634"/>
                    <a:pt x="2718" y="638"/>
                    <a:pt x="2718" y="644"/>
                  </a:cubicBezTo>
                  <a:cubicBezTo>
                    <a:pt x="2719" y="650"/>
                    <a:pt x="2725" y="654"/>
                    <a:pt x="2732" y="654"/>
                  </a:cubicBezTo>
                  <a:cubicBezTo>
                    <a:pt x="2739" y="654"/>
                    <a:pt x="2745" y="649"/>
                    <a:pt x="2744" y="644"/>
                  </a:cubicBezTo>
                  <a:cubicBezTo>
                    <a:pt x="2744" y="638"/>
                    <a:pt x="2738" y="634"/>
                    <a:pt x="2731" y="634"/>
                  </a:cubicBezTo>
                  <a:cubicBezTo>
                    <a:pt x="2731" y="634"/>
                    <a:pt x="2731" y="634"/>
                    <a:pt x="2731" y="634"/>
                  </a:cubicBezTo>
                  <a:moveTo>
                    <a:pt x="3289" y="634"/>
                  </a:moveTo>
                  <a:cubicBezTo>
                    <a:pt x="3282" y="634"/>
                    <a:pt x="3277" y="638"/>
                    <a:pt x="3279" y="644"/>
                  </a:cubicBezTo>
                  <a:cubicBezTo>
                    <a:pt x="3280" y="650"/>
                    <a:pt x="3287" y="654"/>
                    <a:pt x="3295" y="654"/>
                  </a:cubicBezTo>
                  <a:cubicBezTo>
                    <a:pt x="3302" y="654"/>
                    <a:pt x="3306" y="649"/>
                    <a:pt x="3305" y="644"/>
                  </a:cubicBezTo>
                  <a:cubicBezTo>
                    <a:pt x="3303" y="638"/>
                    <a:pt x="3296" y="634"/>
                    <a:pt x="3289" y="634"/>
                  </a:cubicBezTo>
                  <a:cubicBezTo>
                    <a:pt x="3289" y="634"/>
                    <a:pt x="3289" y="634"/>
                    <a:pt x="3289" y="634"/>
                  </a:cubicBezTo>
                  <a:moveTo>
                    <a:pt x="3326" y="633"/>
                  </a:moveTo>
                  <a:cubicBezTo>
                    <a:pt x="3319" y="633"/>
                    <a:pt x="3314" y="638"/>
                    <a:pt x="3316" y="644"/>
                  </a:cubicBezTo>
                  <a:cubicBezTo>
                    <a:pt x="3318" y="649"/>
                    <a:pt x="3325" y="654"/>
                    <a:pt x="3332" y="654"/>
                  </a:cubicBezTo>
                  <a:cubicBezTo>
                    <a:pt x="3339" y="654"/>
                    <a:pt x="3344" y="649"/>
                    <a:pt x="3342" y="644"/>
                  </a:cubicBezTo>
                  <a:cubicBezTo>
                    <a:pt x="3341" y="638"/>
                    <a:pt x="3333" y="633"/>
                    <a:pt x="3326" y="633"/>
                  </a:cubicBezTo>
                  <a:cubicBezTo>
                    <a:pt x="3326" y="633"/>
                    <a:pt x="3326" y="633"/>
                    <a:pt x="3326" y="633"/>
                  </a:cubicBezTo>
                  <a:moveTo>
                    <a:pt x="3363" y="633"/>
                  </a:moveTo>
                  <a:cubicBezTo>
                    <a:pt x="3356" y="633"/>
                    <a:pt x="3351" y="638"/>
                    <a:pt x="3353" y="643"/>
                  </a:cubicBezTo>
                  <a:cubicBezTo>
                    <a:pt x="3355" y="649"/>
                    <a:pt x="3362" y="654"/>
                    <a:pt x="3369" y="654"/>
                  </a:cubicBezTo>
                  <a:cubicBezTo>
                    <a:pt x="3377" y="654"/>
                    <a:pt x="3381" y="649"/>
                    <a:pt x="3379" y="643"/>
                  </a:cubicBezTo>
                  <a:cubicBezTo>
                    <a:pt x="3378" y="638"/>
                    <a:pt x="3370" y="633"/>
                    <a:pt x="3363" y="633"/>
                  </a:cubicBezTo>
                  <a:cubicBezTo>
                    <a:pt x="3363" y="633"/>
                    <a:pt x="3363" y="633"/>
                    <a:pt x="3363" y="633"/>
                  </a:cubicBezTo>
                  <a:moveTo>
                    <a:pt x="3400" y="633"/>
                  </a:moveTo>
                  <a:cubicBezTo>
                    <a:pt x="3393" y="633"/>
                    <a:pt x="3389" y="638"/>
                    <a:pt x="3391" y="643"/>
                  </a:cubicBezTo>
                  <a:cubicBezTo>
                    <a:pt x="3392" y="649"/>
                    <a:pt x="3400" y="653"/>
                    <a:pt x="3407" y="653"/>
                  </a:cubicBezTo>
                  <a:cubicBezTo>
                    <a:pt x="3414" y="653"/>
                    <a:pt x="3419" y="649"/>
                    <a:pt x="3417" y="643"/>
                  </a:cubicBezTo>
                  <a:cubicBezTo>
                    <a:pt x="3415" y="637"/>
                    <a:pt x="3408" y="633"/>
                    <a:pt x="3401" y="633"/>
                  </a:cubicBezTo>
                  <a:cubicBezTo>
                    <a:pt x="3401" y="633"/>
                    <a:pt x="3401" y="633"/>
                    <a:pt x="3400" y="633"/>
                  </a:cubicBezTo>
                  <a:moveTo>
                    <a:pt x="3438" y="633"/>
                  </a:moveTo>
                  <a:cubicBezTo>
                    <a:pt x="3431" y="633"/>
                    <a:pt x="3427" y="637"/>
                    <a:pt x="3428" y="643"/>
                  </a:cubicBezTo>
                  <a:cubicBezTo>
                    <a:pt x="3430" y="649"/>
                    <a:pt x="3438" y="653"/>
                    <a:pt x="3445" y="653"/>
                  </a:cubicBezTo>
                  <a:cubicBezTo>
                    <a:pt x="3452" y="653"/>
                    <a:pt x="3457" y="649"/>
                    <a:pt x="3455" y="643"/>
                  </a:cubicBezTo>
                  <a:cubicBezTo>
                    <a:pt x="3453" y="637"/>
                    <a:pt x="3445" y="633"/>
                    <a:pt x="3438" y="633"/>
                  </a:cubicBezTo>
                  <a:cubicBezTo>
                    <a:pt x="3438" y="633"/>
                    <a:pt x="3438" y="633"/>
                    <a:pt x="3438" y="633"/>
                  </a:cubicBezTo>
                  <a:moveTo>
                    <a:pt x="3475" y="632"/>
                  </a:moveTo>
                  <a:cubicBezTo>
                    <a:pt x="3468" y="633"/>
                    <a:pt x="3464" y="637"/>
                    <a:pt x="3466" y="643"/>
                  </a:cubicBezTo>
                  <a:cubicBezTo>
                    <a:pt x="3468" y="649"/>
                    <a:pt x="3475" y="653"/>
                    <a:pt x="3482" y="653"/>
                  </a:cubicBezTo>
                  <a:cubicBezTo>
                    <a:pt x="3490" y="653"/>
                    <a:pt x="3494" y="648"/>
                    <a:pt x="3492" y="643"/>
                  </a:cubicBezTo>
                  <a:cubicBezTo>
                    <a:pt x="3490" y="637"/>
                    <a:pt x="3482" y="632"/>
                    <a:pt x="3475" y="632"/>
                  </a:cubicBezTo>
                  <a:cubicBezTo>
                    <a:pt x="3475" y="632"/>
                    <a:pt x="3475" y="632"/>
                    <a:pt x="3475" y="632"/>
                  </a:cubicBezTo>
                  <a:moveTo>
                    <a:pt x="3512" y="632"/>
                  </a:moveTo>
                  <a:cubicBezTo>
                    <a:pt x="3505" y="632"/>
                    <a:pt x="3501" y="637"/>
                    <a:pt x="3503" y="643"/>
                  </a:cubicBezTo>
                  <a:cubicBezTo>
                    <a:pt x="3505" y="648"/>
                    <a:pt x="3513" y="653"/>
                    <a:pt x="3520" y="653"/>
                  </a:cubicBezTo>
                  <a:cubicBezTo>
                    <a:pt x="3527" y="653"/>
                    <a:pt x="3531" y="648"/>
                    <a:pt x="3529" y="642"/>
                  </a:cubicBezTo>
                  <a:cubicBezTo>
                    <a:pt x="3527" y="637"/>
                    <a:pt x="3520" y="632"/>
                    <a:pt x="3512" y="632"/>
                  </a:cubicBezTo>
                  <a:cubicBezTo>
                    <a:pt x="3512" y="632"/>
                    <a:pt x="3512" y="632"/>
                    <a:pt x="3512" y="632"/>
                  </a:cubicBezTo>
                  <a:moveTo>
                    <a:pt x="3549" y="632"/>
                  </a:moveTo>
                  <a:cubicBezTo>
                    <a:pt x="3542" y="632"/>
                    <a:pt x="3538" y="637"/>
                    <a:pt x="3540" y="642"/>
                  </a:cubicBezTo>
                  <a:cubicBezTo>
                    <a:pt x="3542" y="648"/>
                    <a:pt x="3550" y="653"/>
                    <a:pt x="3557" y="653"/>
                  </a:cubicBezTo>
                  <a:cubicBezTo>
                    <a:pt x="3564" y="653"/>
                    <a:pt x="3568" y="648"/>
                    <a:pt x="3566" y="642"/>
                  </a:cubicBezTo>
                  <a:cubicBezTo>
                    <a:pt x="3564" y="637"/>
                    <a:pt x="3557" y="632"/>
                    <a:pt x="3549" y="632"/>
                  </a:cubicBezTo>
                  <a:cubicBezTo>
                    <a:pt x="3549" y="632"/>
                    <a:pt x="3549" y="632"/>
                    <a:pt x="3549" y="632"/>
                  </a:cubicBezTo>
                  <a:moveTo>
                    <a:pt x="3587" y="632"/>
                  </a:moveTo>
                  <a:cubicBezTo>
                    <a:pt x="3580" y="632"/>
                    <a:pt x="3575" y="637"/>
                    <a:pt x="3578" y="642"/>
                  </a:cubicBezTo>
                  <a:cubicBezTo>
                    <a:pt x="3580" y="648"/>
                    <a:pt x="3587" y="652"/>
                    <a:pt x="3595" y="652"/>
                  </a:cubicBezTo>
                  <a:cubicBezTo>
                    <a:pt x="3602" y="652"/>
                    <a:pt x="3606" y="648"/>
                    <a:pt x="3604" y="642"/>
                  </a:cubicBezTo>
                  <a:cubicBezTo>
                    <a:pt x="3602" y="636"/>
                    <a:pt x="3594" y="632"/>
                    <a:pt x="3587" y="632"/>
                  </a:cubicBezTo>
                  <a:cubicBezTo>
                    <a:pt x="3587" y="632"/>
                    <a:pt x="3587" y="632"/>
                    <a:pt x="3587" y="632"/>
                  </a:cubicBezTo>
                  <a:moveTo>
                    <a:pt x="3624" y="632"/>
                  </a:moveTo>
                  <a:cubicBezTo>
                    <a:pt x="3617" y="632"/>
                    <a:pt x="3613" y="636"/>
                    <a:pt x="3615" y="642"/>
                  </a:cubicBezTo>
                  <a:cubicBezTo>
                    <a:pt x="3618" y="648"/>
                    <a:pt x="3625" y="652"/>
                    <a:pt x="3633" y="652"/>
                  </a:cubicBezTo>
                  <a:cubicBezTo>
                    <a:pt x="3640" y="652"/>
                    <a:pt x="3644" y="648"/>
                    <a:pt x="3642" y="642"/>
                  </a:cubicBezTo>
                  <a:cubicBezTo>
                    <a:pt x="3639" y="636"/>
                    <a:pt x="3632" y="632"/>
                    <a:pt x="3624" y="632"/>
                  </a:cubicBezTo>
                  <a:cubicBezTo>
                    <a:pt x="3624" y="632"/>
                    <a:pt x="3624" y="632"/>
                    <a:pt x="3624" y="632"/>
                  </a:cubicBezTo>
                  <a:moveTo>
                    <a:pt x="3661" y="631"/>
                  </a:moveTo>
                  <a:cubicBezTo>
                    <a:pt x="3654" y="631"/>
                    <a:pt x="3650" y="636"/>
                    <a:pt x="3653" y="641"/>
                  </a:cubicBezTo>
                  <a:cubicBezTo>
                    <a:pt x="3655" y="647"/>
                    <a:pt x="3663" y="652"/>
                    <a:pt x="3670" y="652"/>
                  </a:cubicBezTo>
                  <a:cubicBezTo>
                    <a:pt x="3677" y="652"/>
                    <a:pt x="3681" y="647"/>
                    <a:pt x="3679" y="641"/>
                  </a:cubicBezTo>
                  <a:cubicBezTo>
                    <a:pt x="3676" y="636"/>
                    <a:pt x="3669" y="631"/>
                    <a:pt x="3662" y="631"/>
                  </a:cubicBezTo>
                  <a:cubicBezTo>
                    <a:pt x="3661" y="631"/>
                    <a:pt x="3661" y="631"/>
                    <a:pt x="3661" y="631"/>
                  </a:cubicBezTo>
                  <a:moveTo>
                    <a:pt x="3698" y="631"/>
                  </a:moveTo>
                  <a:cubicBezTo>
                    <a:pt x="3691" y="631"/>
                    <a:pt x="3687" y="636"/>
                    <a:pt x="3690" y="641"/>
                  </a:cubicBezTo>
                  <a:cubicBezTo>
                    <a:pt x="3692" y="647"/>
                    <a:pt x="3700" y="651"/>
                    <a:pt x="3707" y="651"/>
                  </a:cubicBezTo>
                  <a:cubicBezTo>
                    <a:pt x="3714" y="651"/>
                    <a:pt x="3718" y="647"/>
                    <a:pt x="3716" y="641"/>
                  </a:cubicBezTo>
                  <a:cubicBezTo>
                    <a:pt x="3713" y="635"/>
                    <a:pt x="3706" y="631"/>
                    <a:pt x="3698" y="631"/>
                  </a:cubicBezTo>
                  <a:cubicBezTo>
                    <a:pt x="3698" y="631"/>
                    <a:pt x="3698" y="631"/>
                    <a:pt x="3698" y="631"/>
                  </a:cubicBezTo>
                  <a:moveTo>
                    <a:pt x="3736" y="631"/>
                  </a:moveTo>
                  <a:cubicBezTo>
                    <a:pt x="3729" y="631"/>
                    <a:pt x="3725" y="635"/>
                    <a:pt x="3727" y="641"/>
                  </a:cubicBezTo>
                  <a:cubicBezTo>
                    <a:pt x="3730" y="647"/>
                    <a:pt x="3737" y="651"/>
                    <a:pt x="3745" y="651"/>
                  </a:cubicBezTo>
                  <a:cubicBezTo>
                    <a:pt x="3752" y="651"/>
                    <a:pt x="3756" y="647"/>
                    <a:pt x="3753" y="641"/>
                  </a:cubicBezTo>
                  <a:cubicBezTo>
                    <a:pt x="3751" y="635"/>
                    <a:pt x="3743" y="631"/>
                    <a:pt x="3736" y="631"/>
                  </a:cubicBezTo>
                  <a:cubicBezTo>
                    <a:pt x="3736" y="631"/>
                    <a:pt x="3736" y="631"/>
                    <a:pt x="3736" y="631"/>
                  </a:cubicBezTo>
                  <a:moveTo>
                    <a:pt x="3775" y="630"/>
                  </a:moveTo>
                  <a:cubicBezTo>
                    <a:pt x="3768" y="630"/>
                    <a:pt x="3764" y="635"/>
                    <a:pt x="3767" y="641"/>
                  </a:cubicBezTo>
                  <a:cubicBezTo>
                    <a:pt x="3769" y="646"/>
                    <a:pt x="3777" y="651"/>
                    <a:pt x="3785" y="651"/>
                  </a:cubicBezTo>
                  <a:cubicBezTo>
                    <a:pt x="3792" y="651"/>
                    <a:pt x="3796" y="646"/>
                    <a:pt x="3793" y="641"/>
                  </a:cubicBezTo>
                  <a:cubicBezTo>
                    <a:pt x="3790" y="635"/>
                    <a:pt x="3782" y="630"/>
                    <a:pt x="3775" y="630"/>
                  </a:cubicBezTo>
                  <a:cubicBezTo>
                    <a:pt x="3775" y="630"/>
                    <a:pt x="3775" y="630"/>
                    <a:pt x="3775" y="630"/>
                  </a:cubicBezTo>
                  <a:moveTo>
                    <a:pt x="3812" y="630"/>
                  </a:moveTo>
                  <a:cubicBezTo>
                    <a:pt x="3805" y="630"/>
                    <a:pt x="3801" y="635"/>
                    <a:pt x="3804" y="641"/>
                  </a:cubicBezTo>
                  <a:cubicBezTo>
                    <a:pt x="3806" y="646"/>
                    <a:pt x="3814" y="651"/>
                    <a:pt x="3821" y="651"/>
                  </a:cubicBezTo>
                  <a:cubicBezTo>
                    <a:pt x="3829" y="651"/>
                    <a:pt x="3832" y="646"/>
                    <a:pt x="3830" y="640"/>
                  </a:cubicBezTo>
                  <a:cubicBezTo>
                    <a:pt x="3827" y="635"/>
                    <a:pt x="3819" y="630"/>
                    <a:pt x="3812" y="630"/>
                  </a:cubicBezTo>
                  <a:cubicBezTo>
                    <a:pt x="3812" y="630"/>
                    <a:pt x="3812" y="630"/>
                    <a:pt x="3812" y="630"/>
                  </a:cubicBezTo>
                  <a:moveTo>
                    <a:pt x="3849" y="630"/>
                  </a:moveTo>
                  <a:cubicBezTo>
                    <a:pt x="3842" y="630"/>
                    <a:pt x="3838" y="635"/>
                    <a:pt x="3841" y="640"/>
                  </a:cubicBezTo>
                  <a:cubicBezTo>
                    <a:pt x="3843" y="646"/>
                    <a:pt x="3852" y="651"/>
                    <a:pt x="3859" y="651"/>
                  </a:cubicBezTo>
                  <a:cubicBezTo>
                    <a:pt x="3866" y="651"/>
                    <a:pt x="3870" y="646"/>
                    <a:pt x="3867" y="640"/>
                  </a:cubicBezTo>
                  <a:cubicBezTo>
                    <a:pt x="3864" y="635"/>
                    <a:pt x="3856" y="630"/>
                    <a:pt x="3849" y="630"/>
                  </a:cubicBezTo>
                  <a:cubicBezTo>
                    <a:pt x="3849" y="630"/>
                    <a:pt x="3849" y="630"/>
                    <a:pt x="3849" y="630"/>
                  </a:cubicBezTo>
                  <a:moveTo>
                    <a:pt x="3886" y="630"/>
                  </a:moveTo>
                  <a:cubicBezTo>
                    <a:pt x="3879" y="630"/>
                    <a:pt x="3875" y="634"/>
                    <a:pt x="3878" y="640"/>
                  </a:cubicBezTo>
                  <a:cubicBezTo>
                    <a:pt x="3881" y="646"/>
                    <a:pt x="3889" y="650"/>
                    <a:pt x="3896" y="650"/>
                  </a:cubicBezTo>
                  <a:cubicBezTo>
                    <a:pt x="3904" y="650"/>
                    <a:pt x="3907" y="646"/>
                    <a:pt x="3904" y="640"/>
                  </a:cubicBezTo>
                  <a:cubicBezTo>
                    <a:pt x="3902" y="634"/>
                    <a:pt x="3893" y="630"/>
                    <a:pt x="3886" y="630"/>
                  </a:cubicBezTo>
                  <a:cubicBezTo>
                    <a:pt x="3886" y="630"/>
                    <a:pt x="3886" y="630"/>
                    <a:pt x="3886" y="630"/>
                  </a:cubicBezTo>
                  <a:moveTo>
                    <a:pt x="3924" y="630"/>
                  </a:moveTo>
                  <a:cubicBezTo>
                    <a:pt x="3917" y="630"/>
                    <a:pt x="3913" y="634"/>
                    <a:pt x="3916" y="640"/>
                  </a:cubicBezTo>
                  <a:cubicBezTo>
                    <a:pt x="3919" y="646"/>
                    <a:pt x="3927" y="650"/>
                    <a:pt x="3934" y="650"/>
                  </a:cubicBezTo>
                  <a:cubicBezTo>
                    <a:pt x="3941" y="650"/>
                    <a:pt x="3945" y="646"/>
                    <a:pt x="3942" y="640"/>
                  </a:cubicBezTo>
                  <a:cubicBezTo>
                    <a:pt x="3939" y="634"/>
                    <a:pt x="3931" y="630"/>
                    <a:pt x="3924" y="630"/>
                  </a:cubicBezTo>
                  <a:cubicBezTo>
                    <a:pt x="3924" y="630"/>
                    <a:pt x="3924" y="630"/>
                    <a:pt x="3924" y="630"/>
                  </a:cubicBezTo>
                  <a:moveTo>
                    <a:pt x="3961" y="629"/>
                  </a:moveTo>
                  <a:cubicBezTo>
                    <a:pt x="3954" y="629"/>
                    <a:pt x="3950" y="634"/>
                    <a:pt x="3953" y="640"/>
                  </a:cubicBezTo>
                  <a:cubicBezTo>
                    <a:pt x="3956" y="645"/>
                    <a:pt x="3964" y="650"/>
                    <a:pt x="3971" y="650"/>
                  </a:cubicBezTo>
                  <a:cubicBezTo>
                    <a:pt x="3979" y="650"/>
                    <a:pt x="3982" y="645"/>
                    <a:pt x="3979" y="640"/>
                  </a:cubicBezTo>
                  <a:cubicBezTo>
                    <a:pt x="3976" y="634"/>
                    <a:pt x="3968" y="629"/>
                    <a:pt x="3961" y="629"/>
                  </a:cubicBezTo>
                  <a:cubicBezTo>
                    <a:pt x="3961" y="629"/>
                    <a:pt x="3961" y="629"/>
                    <a:pt x="3961" y="629"/>
                  </a:cubicBezTo>
                  <a:moveTo>
                    <a:pt x="99" y="624"/>
                  </a:moveTo>
                  <a:cubicBezTo>
                    <a:pt x="91" y="624"/>
                    <a:pt x="82" y="629"/>
                    <a:pt x="77" y="634"/>
                  </a:cubicBezTo>
                  <a:cubicBezTo>
                    <a:pt x="72" y="640"/>
                    <a:pt x="74" y="644"/>
                    <a:pt x="81" y="644"/>
                  </a:cubicBezTo>
                  <a:cubicBezTo>
                    <a:pt x="89" y="644"/>
                    <a:pt x="98" y="640"/>
                    <a:pt x="103" y="634"/>
                  </a:cubicBezTo>
                  <a:cubicBezTo>
                    <a:pt x="108" y="628"/>
                    <a:pt x="106" y="624"/>
                    <a:pt x="99" y="624"/>
                  </a:cubicBezTo>
                  <a:cubicBezTo>
                    <a:pt x="99" y="624"/>
                    <a:pt x="99" y="624"/>
                    <a:pt x="99" y="624"/>
                  </a:cubicBezTo>
                  <a:moveTo>
                    <a:pt x="136" y="624"/>
                  </a:moveTo>
                  <a:cubicBezTo>
                    <a:pt x="128" y="624"/>
                    <a:pt x="119" y="628"/>
                    <a:pt x="114" y="634"/>
                  </a:cubicBezTo>
                  <a:cubicBezTo>
                    <a:pt x="109" y="640"/>
                    <a:pt x="111" y="644"/>
                    <a:pt x="119" y="644"/>
                  </a:cubicBezTo>
                  <a:cubicBezTo>
                    <a:pt x="126" y="644"/>
                    <a:pt x="135" y="639"/>
                    <a:pt x="140" y="634"/>
                  </a:cubicBezTo>
                  <a:cubicBezTo>
                    <a:pt x="145" y="628"/>
                    <a:pt x="143" y="624"/>
                    <a:pt x="136" y="624"/>
                  </a:cubicBezTo>
                  <a:cubicBezTo>
                    <a:pt x="136" y="624"/>
                    <a:pt x="136" y="624"/>
                    <a:pt x="136" y="624"/>
                  </a:cubicBezTo>
                  <a:moveTo>
                    <a:pt x="174" y="624"/>
                  </a:moveTo>
                  <a:cubicBezTo>
                    <a:pt x="167" y="624"/>
                    <a:pt x="157" y="628"/>
                    <a:pt x="153" y="634"/>
                  </a:cubicBezTo>
                  <a:cubicBezTo>
                    <a:pt x="148" y="639"/>
                    <a:pt x="150" y="644"/>
                    <a:pt x="158" y="644"/>
                  </a:cubicBezTo>
                  <a:cubicBezTo>
                    <a:pt x="165" y="644"/>
                    <a:pt x="174" y="639"/>
                    <a:pt x="179" y="634"/>
                  </a:cubicBezTo>
                  <a:cubicBezTo>
                    <a:pt x="183" y="628"/>
                    <a:pt x="181" y="624"/>
                    <a:pt x="174" y="624"/>
                  </a:cubicBezTo>
                  <a:cubicBezTo>
                    <a:pt x="174" y="624"/>
                    <a:pt x="174" y="624"/>
                    <a:pt x="174" y="624"/>
                  </a:cubicBezTo>
                  <a:moveTo>
                    <a:pt x="211" y="623"/>
                  </a:moveTo>
                  <a:cubicBezTo>
                    <a:pt x="204" y="623"/>
                    <a:pt x="194" y="628"/>
                    <a:pt x="190" y="633"/>
                  </a:cubicBezTo>
                  <a:cubicBezTo>
                    <a:pt x="185" y="639"/>
                    <a:pt x="187" y="644"/>
                    <a:pt x="195" y="644"/>
                  </a:cubicBezTo>
                  <a:cubicBezTo>
                    <a:pt x="202" y="643"/>
                    <a:pt x="211" y="639"/>
                    <a:pt x="216" y="633"/>
                  </a:cubicBezTo>
                  <a:cubicBezTo>
                    <a:pt x="220" y="628"/>
                    <a:pt x="218" y="623"/>
                    <a:pt x="211" y="623"/>
                  </a:cubicBezTo>
                  <a:cubicBezTo>
                    <a:pt x="211" y="623"/>
                    <a:pt x="211" y="623"/>
                    <a:pt x="211" y="623"/>
                  </a:cubicBezTo>
                  <a:moveTo>
                    <a:pt x="248" y="623"/>
                  </a:moveTo>
                  <a:cubicBezTo>
                    <a:pt x="241" y="623"/>
                    <a:pt x="232" y="628"/>
                    <a:pt x="227" y="633"/>
                  </a:cubicBezTo>
                  <a:cubicBezTo>
                    <a:pt x="223" y="639"/>
                    <a:pt x="225" y="643"/>
                    <a:pt x="232" y="643"/>
                  </a:cubicBezTo>
                  <a:cubicBezTo>
                    <a:pt x="239" y="643"/>
                    <a:pt x="249" y="639"/>
                    <a:pt x="253" y="633"/>
                  </a:cubicBezTo>
                  <a:cubicBezTo>
                    <a:pt x="258" y="628"/>
                    <a:pt x="255" y="623"/>
                    <a:pt x="248" y="623"/>
                  </a:cubicBezTo>
                  <a:cubicBezTo>
                    <a:pt x="248" y="623"/>
                    <a:pt x="248" y="623"/>
                    <a:pt x="248" y="623"/>
                  </a:cubicBezTo>
                  <a:moveTo>
                    <a:pt x="285" y="623"/>
                  </a:moveTo>
                  <a:cubicBezTo>
                    <a:pt x="278" y="623"/>
                    <a:pt x="269" y="627"/>
                    <a:pt x="264" y="633"/>
                  </a:cubicBezTo>
                  <a:cubicBezTo>
                    <a:pt x="260" y="639"/>
                    <a:pt x="262" y="643"/>
                    <a:pt x="269" y="643"/>
                  </a:cubicBezTo>
                  <a:cubicBezTo>
                    <a:pt x="276" y="643"/>
                    <a:pt x="286" y="639"/>
                    <a:pt x="290" y="633"/>
                  </a:cubicBezTo>
                  <a:cubicBezTo>
                    <a:pt x="295" y="627"/>
                    <a:pt x="292" y="623"/>
                    <a:pt x="285" y="623"/>
                  </a:cubicBezTo>
                  <a:cubicBezTo>
                    <a:pt x="285" y="623"/>
                    <a:pt x="285" y="623"/>
                    <a:pt x="285" y="623"/>
                  </a:cubicBezTo>
                  <a:moveTo>
                    <a:pt x="322" y="623"/>
                  </a:moveTo>
                  <a:cubicBezTo>
                    <a:pt x="315" y="623"/>
                    <a:pt x="306" y="627"/>
                    <a:pt x="301" y="633"/>
                  </a:cubicBezTo>
                  <a:cubicBezTo>
                    <a:pt x="297" y="638"/>
                    <a:pt x="299" y="643"/>
                    <a:pt x="307" y="643"/>
                  </a:cubicBezTo>
                  <a:cubicBezTo>
                    <a:pt x="314" y="643"/>
                    <a:pt x="323" y="638"/>
                    <a:pt x="328" y="633"/>
                  </a:cubicBezTo>
                  <a:cubicBezTo>
                    <a:pt x="332" y="627"/>
                    <a:pt x="329" y="623"/>
                    <a:pt x="322" y="623"/>
                  </a:cubicBezTo>
                  <a:cubicBezTo>
                    <a:pt x="322" y="623"/>
                    <a:pt x="322" y="623"/>
                    <a:pt x="322" y="623"/>
                  </a:cubicBezTo>
                  <a:moveTo>
                    <a:pt x="361" y="622"/>
                  </a:moveTo>
                  <a:cubicBezTo>
                    <a:pt x="353" y="622"/>
                    <a:pt x="344" y="627"/>
                    <a:pt x="340" y="633"/>
                  </a:cubicBezTo>
                  <a:cubicBezTo>
                    <a:pt x="336" y="638"/>
                    <a:pt x="338" y="643"/>
                    <a:pt x="345" y="643"/>
                  </a:cubicBezTo>
                  <a:cubicBezTo>
                    <a:pt x="352" y="643"/>
                    <a:pt x="362" y="638"/>
                    <a:pt x="366" y="632"/>
                  </a:cubicBezTo>
                  <a:cubicBezTo>
                    <a:pt x="370" y="627"/>
                    <a:pt x="368" y="622"/>
                    <a:pt x="361" y="622"/>
                  </a:cubicBezTo>
                  <a:cubicBezTo>
                    <a:pt x="361" y="622"/>
                    <a:pt x="361" y="622"/>
                    <a:pt x="361" y="622"/>
                  </a:cubicBezTo>
                  <a:moveTo>
                    <a:pt x="397" y="622"/>
                  </a:moveTo>
                  <a:cubicBezTo>
                    <a:pt x="390" y="622"/>
                    <a:pt x="381" y="627"/>
                    <a:pt x="377" y="632"/>
                  </a:cubicBezTo>
                  <a:cubicBezTo>
                    <a:pt x="373" y="638"/>
                    <a:pt x="375" y="643"/>
                    <a:pt x="382" y="642"/>
                  </a:cubicBezTo>
                  <a:cubicBezTo>
                    <a:pt x="390" y="642"/>
                    <a:pt x="399" y="638"/>
                    <a:pt x="403" y="632"/>
                  </a:cubicBezTo>
                  <a:cubicBezTo>
                    <a:pt x="407" y="627"/>
                    <a:pt x="405" y="622"/>
                    <a:pt x="398" y="622"/>
                  </a:cubicBezTo>
                  <a:cubicBezTo>
                    <a:pt x="398" y="622"/>
                    <a:pt x="397" y="622"/>
                    <a:pt x="397" y="622"/>
                  </a:cubicBezTo>
                  <a:moveTo>
                    <a:pt x="435" y="622"/>
                  </a:moveTo>
                  <a:cubicBezTo>
                    <a:pt x="427" y="622"/>
                    <a:pt x="418" y="627"/>
                    <a:pt x="414" y="632"/>
                  </a:cubicBezTo>
                  <a:cubicBezTo>
                    <a:pt x="410" y="638"/>
                    <a:pt x="413" y="642"/>
                    <a:pt x="420" y="642"/>
                  </a:cubicBezTo>
                  <a:cubicBezTo>
                    <a:pt x="427" y="642"/>
                    <a:pt x="436" y="638"/>
                    <a:pt x="440" y="632"/>
                  </a:cubicBezTo>
                  <a:cubicBezTo>
                    <a:pt x="444" y="626"/>
                    <a:pt x="442" y="622"/>
                    <a:pt x="435" y="622"/>
                  </a:cubicBezTo>
                  <a:cubicBezTo>
                    <a:pt x="435" y="622"/>
                    <a:pt x="435" y="622"/>
                    <a:pt x="435" y="622"/>
                  </a:cubicBezTo>
                  <a:moveTo>
                    <a:pt x="472" y="622"/>
                  </a:moveTo>
                  <a:cubicBezTo>
                    <a:pt x="465" y="622"/>
                    <a:pt x="456" y="626"/>
                    <a:pt x="452" y="632"/>
                  </a:cubicBezTo>
                  <a:cubicBezTo>
                    <a:pt x="448" y="638"/>
                    <a:pt x="450" y="642"/>
                    <a:pt x="458" y="642"/>
                  </a:cubicBezTo>
                  <a:cubicBezTo>
                    <a:pt x="465" y="642"/>
                    <a:pt x="474" y="637"/>
                    <a:pt x="478" y="632"/>
                  </a:cubicBezTo>
                  <a:cubicBezTo>
                    <a:pt x="482" y="626"/>
                    <a:pt x="479" y="622"/>
                    <a:pt x="472" y="622"/>
                  </a:cubicBezTo>
                  <a:cubicBezTo>
                    <a:pt x="472" y="622"/>
                    <a:pt x="472" y="622"/>
                    <a:pt x="472" y="622"/>
                  </a:cubicBezTo>
                  <a:moveTo>
                    <a:pt x="509" y="622"/>
                  </a:moveTo>
                  <a:cubicBezTo>
                    <a:pt x="502" y="622"/>
                    <a:pt x="493" y="626"/>
                    <a:pt x="489" y="632"/>
                  </a:cubicBezTo>
                  <a:cubicBezTo>
                    <a:pt x="485" y="637"/>
                    <a:pt x="488" y="642"/>
                    <a:pt x="495" y="642"/>
                  </a:cubicBezTo>
                  <a:cubicBezTo>
                    <a:pt x="502" y="642"/>
                    <a:pt x="511" y="637"/>
                    <a:pt x="515" y="632"/>
                  </a:cubicBezTo>
                  <a:cubicBezTo>
                    <a:pt x="519" y="626"/>
                    <a:pt x="516" y="622"/>
                    <a:pt x="509" y="622"/>
                  </a:cubicBezTo>
                  <a:cubicBezTo>
                    <a:pt x="509" y="622"/>
                    <a:pt x="509" y="622"/>
                    <a:pt x="509" y="622"/>
                  </a:cubicBezTo>
                  <a:moveTo>
                    <a:pt x="546" y="621"/>
                  </a:moveTo>
                  <a:cubicBezTo>
                    <a:pt x="539" y="621"/>
                    <a:pt x="530" y="626"/>
                    <a:pt x="526" y="632"/>
                  </a:cubicBezTo>
                  <a:cubicBezTo>
                    <a:pt x="522" y="637"/>
                    <a:pt x="525" y="642"/>
                    <a:pt x="532" y="642"/>
                  </a:cubicBezTo>
                  <a:cubicBezTo>
                    <a:pt x="539" y="642"/>
                    <a:pt x="548" y="637"/>
                    <a:pt x="552" y="631"/>
                  </a:cubicBezTo>
                  <a:cubicBezTo>
                    <a:pt x="556" y="626"/>
                    <a:pt x="553" y="621"/>
                    <a:pt x="546" y="621"/>
                  </a:cubicBezTo>
                  <a:cubicBezTo>
                    <a:pt x="546" y="621"/>
                    <a:pt x="546" y="621"/>
                    <a:pt x="546" y="621"/>
                  </a:cubicBezTo>
                  <a:moveTo>
                    <a:pt x="583" y="621"/>
                  </a:moveTo>
                  <a:cubicBezTo>
                    <a:pt x="576" y="621"/>
                    <a:pt x="567" y="626"/>
                    <a:pt x="563" y="631"/>
                  </a:cubicBezTo>
                  <a:cubicBezTo>
                    <a:pt x="559" y="637"/>
                    <a:pt x="562" y="641"/>
                    <a:pt x="569" y="641"/>
                  </a:cubicBezTo>
                  <a:cubicBezTo>
                    <a:pt x="576" y="641"/>
                    <a:pt x="585" y="637"/>
                    <a:pt x="589" y="631"/>
                  </a:cubicBezTo>
                  <a:cubicBezTo>
                    <a:pt x="593" y="626"/>
                    <a:pt x="590" y="621"/>
                    <a:pt x="583" y="621"/>
                  </a:cubicBezTo>
                  <a:cubicBezTo>
                    <a:pt x="583" y="621"/>
                    <a:pt x="583" y="621"/>
                    <a:pt x="583" y="621"/>
                  </a:cubicBezTo>
                  <a:moveTo>
                    <a:pt x="620" y="621"/>
                  </a:moveTo>
                  <a:cubicBezTo>
                    <a:pt x="613" y="621"/>
                    <a:pt x="604" y="626"/>
                    <a:pt x="600" y="631"/>
                  </a:cubicBezTo>
                  <a:cubicBezTo>
                    <a:pt x="597" y="637"/>
                    <a:pt x="599" y="641"/>
                    <a:pt x="607" y="641"/>
                  </a:cubicBezTo>
                  <a:cubicBezTo>
                    <a:pt x="614" y="641"/>
                    <a:pt x="623" y="637"/>
                    <a:pt x="626" y="631"/>
                  </a:cubicBezTo>
                  <a:cubicBezTo>
                    <a:pt x="630" y="625"/>
                    <a:pt x="627" y="621"/>
                    <a:pt x="620" y="621"/>
                  </a:cubicBezTo>
                  <a:cubicBezTo>
                    <a:pt x="620" y="621"/>
                    <a:pt x="620" y="621"/>
                    <a:pt x="620" y="621"/>
                  </a:cubicBezTo>
                  <a:moveTo>
                    <a:pt x="658" y="621"/>
                  </a:moveTo>
                  <a:cubicBezTo>
                    <a:pt x="650" y="621"/>
                    <a:pt x="642" y="625"/>
                    <a:pt x="638" y="631"/>
                  </a:cubicBezTo>
                  <a:cubicBezTo>
                    <a:pt x="634" y="637"/>
                    <a:pt x="637" y="641"/>
                    <a:pt x="644" y="641"/>
                  </a:cubicBezTo>
                  <a:cubicBezTo>
                    <a:pt x="652" y="641"/>
                    <a:pt x="660" y="636"/>
                    <a:pt x="664" y="631"/>
                  </a:cubicBezTo>
                  <a:cubicBezTo>
                    <a:pt x="668" y="625"/>
                    <a:pt x="665" y="621"/>
                    <a:pt x="658" y="621"/>
                  </a:cubicBezTo>
                  <a:cubicBezTo>
                    <a:pt x="658" y="621"/>
                    <a:pt x="658" y="621"/>
                    <a:pt x="658" y="621"/>
                  </a:cubicBezTo>
                  <a:moveTo>
                    <a:pt x="694" y="620"/>
                  </a:moveTo>
                  <a:cubicBezTo>
                    <a:pt x="687" y="621"/>
                    <a:pt x="679" y="625"/>
                    <a:pt x="675" y="631"/>
                  </a:cubicBezTo>
                  <a:cubicBezTo>
                    <a:pt x="671" y="636"/>
                    <a:pt x="674" y="641"/>
                    <a:pt x="682" y="641"/>
                  </a:cubicBezTo>
                  <a:cubicBezTo>
                    <a:pt x="689" y="641"/>
                    <a:pt x="697" y="636"/>
                    <a:pt x="701" y="631"/>
                  </a:cubicBezTo>
                  <a:cubicBezTo>
                    <a:pt x="705" y="625"/>
                    <a:pt x="702" y="620"/>
                    <a:pt x="695" y="620"/>
                  </a:cubicBezTo>
                  <a:cubicBezTo>
                    <a:pt x="695" y="620"/>
                    <a:pt x="694" y="620"/>
                    <a:pt x="694" y="620"/>
                  </a:cubicBezTo>
                  <a:moveTo>
                    <a:pt x="732" y="620"/>
                  </a:moveTo>
                  <a:cubicBezTo>
                    <a:pt x="724" y="620"/>
                    <a:pt x="716" y="625"/>
                    <a:pt x="712" y="630"/>
                  </a:cubicBezTo>
                  <a:cubicBezTo>
                    <a:pt x="709" y="636"/>
                    <a:pt x="712" y="641"/>
                    <a:pt x="719" y="641"/>
                  </a:cubicBezTo>
                  <a:cubicBezTo>
                    <a:pt x="726" y="641"/>
                    <a:pt x="735" y="636"/>
                    <a:pt x="738" y="630"/>
                  </a:cubicBezTo>
                  <a:cubicBezTo>
                    <a:pt x="742" y="625"/>
                    <a:pt x="739" y="620"/>
                    <a:pt x="732" y="620"/>
                  </a:cubicBezTo>
                  <a:cubicBezTo>
                    <a:pt x="732" y="620"/>
                    <a:pt x="732" y="620"/>
                    <a:pt x="732" y="620"/>
                  </a:cubicBezTo>
                  <a:moveTo>
                    <a:pt x="767" y="620"/>
                  </a:moveTo>
                  <a:cubicBezTo>
                    <a:pt x="760" y="620"/>
                    <a:pt x="752" y="625"/>
                    <a:pt x="748" y="630"/>
                  </a:cubicBezTo>
                  <a:cubicBezTo>
                    <a:pt x="745" y="636"/>
                    <a:pt x="748" y="640"/>
                    <a:pt x="755" y="640"/>
                  </a:cubicBezTo>
                  <a:cubicBezTo>
                    <a:pt x="762" y="640"/>
                    <a:pt x="771" y="636"/>
                    <a:pt x="774" y="630"/>
                  </a:cubicBezTo>
                  <a:cubicBezTo>
                    <a:pt x="778" y="625"/>
                    <a:pt x="775" y="620"/>
                    <a:pt x="767" y="620"/>
                  </a:cubicBezTo>
                  <a:cubicBezTo>
                    <a:pt x="767" y="620"/>
                    <a:pt x="767" y="620"/>
                    <a:pt x="767" y="620"/>
                  </a:cubicBezTo>
                  <a:moveTo>
                    <a:pt x="2025" y="611"/>
                  </a:moveTo>
                  <a:cubicBezTo>
                    <a:pt x="2018" y="611"/>
                    <a:pt x="2011" y="616"/>
                    <a:pt x="2010" y="621"/>
                  </a:cubicBezTo>
                  <a:cubicBezTo>
                    <a:pt x="2009" y="627"/>
                    <a:pt x="2015" y="631"/>
                    <a:pt x="2022" y="631"/>
                  </a:cubicBezTo>
                  <a:cubicBezTo>
                    <a:pt x="2029" y="631"/>
                    <a:pt x="2035" y="627"/>
                    <a:pt x="2036" y="621"/>
                  </a:cubicBezTo>
                  <a:cubicBezTo>
                    <a:pt x="2037" y="616"/>
                    <a:pt x="2032" y="611"/>
                    <a:pt x="2025" y="611"/>
                  </a:cubicBezTo>
                  <a:cubicBezTo>
                    <a:pt x="2025" y="611"/>
                    <a:pt x="2025" y="611"/>
                    <a:pt x="2025" y="611"/>
                  </a:cubicBezTo>
                  <a:moveTo>
                    <a:pt x="2062" y="611"/>
                  </a:moveTo>
                  <a:cubicBezTo>
                    <a:pt x="2055" y="611"/>
                    <a:pt x="2048" y="615"/>
                    <a:pt x="2048" y="621"/>
                  </a:cubicBezTo>
                  <a:cubicBezTo>
                    <a:pt x="2047" y="627"/>
                    <a:pt x="2052" y="631"/>
                    <a:pt x="2059" y="631"/>
                  </a:cubicBezTo>
                  <a:cubicBezTo>
                    <a:pt x="2066" y="631"/>
                    <a:pt x="2073" y="627"/>
                    <a:pt x="2074" y="621"/>
                  </a:cubicBezTo>
                  <a:cubicBezTo>
                    <a:pt x="2074" y="615"/>
                    <a:pt x="2069" y="611"/>
                    <a:pt x="2062" y="611"/>
                  </a:cubicBezTo>
                  <a:cubicBezTo>
                    <a:pt x="2062" y="611"/>
                    <a:pt x="2062" y="611"/>
                    <a:pt x="2062" y="611"/>
                  </a:cubicBezTo>
                  <a:moveTo>
                    <a:pt x="2100" y="611"/>
                  </a:moveTo>
                  <a:cubicBezTo>
                    <a:pt x="2093" y="611"/>
                    <a:pt x="2087" y="615"/>
                    <a:pt x="2086" y="621"/>
                  </a:cubicBezTo>
                  <a:cubicBezTo>
                    <a:pt x="2085" y="627"/>
                    <a:pt x="2090" y="631"/>
                    <a:pt x="2097" y="631"/>
                  </a:cubicBezTo>
                  <a:cubicBezTo>
                    <a:pt x="2105" y="631"/>
                    <a:pt x="2111" y="626"/>
                    <a:pt x="2112" y="621"/>
                  </a:cubicBezTo>
                  <a:cubicBezTo>
                    <a:pt x="2113" y="615"/>
                    <a:pt x="2107" y="611"/>
                    <a:pt x="2100" y="611"/>
                  </a:cubicBezTo>
                  <a:cubicBezTo>
                    <a:pt x="2100" y="611"/>
                    <a:pt x="2100" y="611"/>
                    <a:pt x="2100" y="611"/>
                  </a:cubicBezTo>
                  <a:moveTo>
                    <a:pt x="2137" y="610"/>
                  </a:moveTo>
                  <a:cubicBezTo>
                    <a:pt x="2130" y="610"/>
                    <a:pt x="2123" y="615"/>
                    <a:pt x="2123" y="621"/>
                  </a:cubicBezTo>
                  <a:cubicBezTo>
                    <a:pt x="2122" y="626"/>
                    <a:pt x="2127" y="631"/>
                    <a:pt x="2134" y="631"/>
                  </a:cubicBezTo>
                  <a:cubicBezTo>
                    <a:pt x="2142" y="631"/>
                    <a:pt x="2148" y="626"/>
                    <a:pt x="2149" y="621"/>
                  </a:cubicBezTo>
                  <a:cubicBezTo>
                    <a:pt x="2149" y="615"/>
                    <a:pt x="2144" y="610"/>
                    <a:pt x="2137" y="610"/>
                  </a:cubicBezTo>
                  <a:cubicBezTo>
                    <a:pt x="2137" y="610"/>
                    <a:pt x="2137" y="610"/>
                    <a:pt x="2137" y="610"/>
                  </a:cubicBezTo>
                  <a:moveTo>
                    <a:pt x="2174" y="610"/>
                  </a:moveTo>
                  <a:cubicBezTo>
                    <a:pt x="2167" y="610"/>
                    <a:pt x="2161" y="615"/>
                    <a:pt x="2160" y="620"/>
                  </a:cubicBezTo>
                  <a:cubicBezTo>
                    <a:pt x="2159" y="626"/>
                    <a:pt x="2165" y="631"/>
                    <a:pt x="2172" y="631"/>
                  </a:cubicBezTo>
                  <a:cubicBezTo>
                    <a:pt x="2179" y="631"/>
                    <a:pt x="2185" y="626"/>
                    <a:pt x="2186" y="620"/>
                  </a:cubicBezTo>
                  <a:cubicBezTo>
                    <a:pt x="2186" y="615"/>
                    <a:pt x="2181" y="610"/>
                    <a:pt x="2174" y="610"/>
                  </a:cubicBezTo>
                  <a:cubicBezTo>
                    <a:pt x="2174" y="610"/>
                    <a:pt x="2174" y="610"/>
                    <a:pt x="2174" y="610"/>
                  </a:cubicBezTo>
                  <a:moveTo>
                    <a:pt x="2433" y="608"/>
                  </a:moveTo>
                  <a:cubicBezTo>
                    <a:pt x="2426" y="608"/>
                    <a:pt x="2420" y="613"/>
                    <a:pt x="2420" y="618"/>
                  </a:cubicBezTo>
                  <a:cubicBezTo>
                    <a:pt x="2419" y="624"/>
                    <a:pt x="2425" y="628"/>
                    <a:pt x="2432" y="628"/>
                  </a:cubicBezTo>
                  <a:cubicBezTo>
                    <a:pt x="2440" y="628"/>
                    <a:pt x="2445" y="624"/>
                    <a:pt x="2446" y="618"/>
                  </a:cubicBezTo>
                  <a:cubicBezTo>
                    <a:pt x="2446" y="612"/>
                    <a:pt x="2440" y="608"/>
                    <a:pt x="2433" y="608"/>
                  </a:cubicBezTo>
                  <a:cubicBezTo>
                    <a:pt x="2433" y="608"/>
                    <a:pt x="2433" y="608"/>
                    <a:pt x="2433" y="608"/>
                  </a:cubicBezTo>
                  <a:moveTo>
                    <a:pt x="2802" y="607"/>
                  </a:moveTo>
                  <a:cubicBezTo>
                    <a:pt x="2795" y="607"/>
                    <a:pt x="2790" y="611"/>
                    <a:pt x="2790" y="617"/>
                  </a:cubicBezTo>
                  <a:cubicBezTo>
                    <a:pt x="2791" y="623"/>
                    <a:pt x="2797" y="627"/>
                    <a:pt x="2804" y="627"/>
                  </a:cubicBezTo>
                  <a:cubicBezTo>
                    <a:pt x="2812" y="627"/>
                    <a:pt x="2817" y="623"/>
                    <a:pt x="2816" y="617"/>
                  </a:cubicBezTo>
                  <a:cubicBezTo>
                    <a:pt x="2816" y="611"/>
                    <a:pt x="2809" y="607"/>
                    <a:pt x="2802" y="607"/>
                  </a:cubicBezTo>
                  <a:cubicBezTo>
                    <a:pt x="2802" y="607"/>
                    <a:pt x="2802" y="607"/>
                    <a:pt x="2802" y="607"/>
                  </a:cubicBezTo>
                  <a:moveTo>
                    <a:pt x="2837" y="607"/>
                  </a:moveTo>
                  <a:cubicBezTo>
                    <a:pt x="2830" y="607"/>
                    <a:pt x="2825" y="611"/>
                    <a:pt x="2825" y="617"/>
                  </a:cubicBezTo>
                  <a:cubicBezTo>
                    <a:pt x="2826" y="622"/>
                    <a:pt x="2832" y="627"/>
                    <a:pt x="2839" y="627"/>
                  </a:cubicBezTo>
                  <a:cubicBezTo>
                    <a:pt x="2847" y="627"/>
                    <a:pt x="2852" y="622"/>
                    <a:pt x="2851" y="617"/>
                  </a:cubicBezTo>
                  <a:cubicBezTo>
                    <a:pt x="2850" y="611"/>
                    <a:pt x="2844" y="607"/>
                    <a:pt x="2837" y="607"/>
                  </a:cubicBezTo>
                  <a:cubicBezTo>
                    <a:pt x="2837" y="607"/>
                    <a:pt x="2837" y="607"/>
                    <a:pt x="2837" y="607"/>
                  </a:cubicBezTo>
                  <a:moveTo>
                    <a:pt x="2874" y="606"/>
                  </a:moveTo>
                  <a:cubicBezTo>
                    <a:pt x="2866" y="606"/>
                    <a:pt x="2861" y="611"/>
                    <a:pt x="2862" y="617"/>
                  </a:cubicBezTo>
                  <a:cubicBezTo>
                    <a:pt x="2863" y="622"/>
                    <a:pt x="2869" y="627"/>
                    <a:pt x="2876" y="627"/>
                  </a:cubicBezTo>
                  <a:cubicBezTo>
                    <a:pt x="2883" y="627"/>
                    <a:pt x="2889" y="622"/>
                    <a:pt x="2888" y="616"/>
                  </a:cubicBezTo>
                  <a:cubicBezTo>
                    <a:pt x="2887" y="611"/>
                    <a:pt x="2881" y="606"/>
                    <a:pt x="2874" y="606"/>
                  </a:cubicBezTo>
                  <a:cubicBezTo>
                    <a:pt x="2874" y="606"/>
                    <a:pt x="2874" y="606"/>
                    <a:pt x="2874" y="606"/>
                  </a:cubicBezTo>
                  <a:moveTo>
                    <a:pt x="2655" y="606"/>
                  </a:moveTo>
                  <a:cubicBezTo>
                    <a:pt x="2648" y="606"/>
                    <a:pt x="2642" y="611"/>
                    <a:pt x="2643" y="616"/>
                  </a:cubicBezTo>
                  <a:cubicBezTo>
                    <a:pt x="2643" y="622"/>
                    <a:pt x="2649" y="627"/>
                    <a:pt x="2656" y="627"/>
                  </a:cubicBezTo>
                  <a:cubicBezTo>
                    <a:pt x="2663" y="627"/>
                    <a:pt x="2669" y="622"/>
                    <a:pt x="2669" y="616"/>
                  </a:cubicBezTo>
                  <a:cubicBezTo>
                    <a:pt x="2668" y="611"/>
                    <a:pt x="2662" y="606"/>
                    <a:pt x="2655" y="606"/>
                  </a:cubicBezTo>
                  <a:cubicBezTo>
                    <a:pt x="2655" y="606"/>
                    <a:pt x="2655" y="606"/>
                    <a:pt x="2655" y="606"/>
                  </a:cubicBezTo>
                  <a:moveTo>
                    <a:pt x="2911" y="606"/>
                  </a:moveTo>
                  <a:cubicBezTo>
                    <a:pt x="2903" y="606"/>
                    <a:pt x="2898" y="611"/>
                    <a:pt x="2899" y="616"/>
                  </a:cubicBezTo>
                  <a:cubicBezTo>
                    <a:pt x="2900" y="622"/>
                    <a:pt x="2906" y="627"/>
                    <a:pt x="2914" y="627"/>
                  </a:cubicBezTo>
                  <a:cubicBezTo>
                    <a:pt x="2921" y="627"/>
                    <a:pt x="2926" y="622"/>
                    <a:pt x="2925" y="616"/>
                  </a:cubicBezTo>
                  <a:cubicBezTo>
                    <a:pt x="2924" y="611"/>
                    <a:pt x="2918" y="606"/>
                    <a:pt x="2911" y="606"/>
                  </a:cubicBezTo>
                  <a:cubicBezTo>
                    <a:pt x="2911" y="606"/>
                    <a:pt x="2911" y="606"/>
                    <a:pt x="2911" y="606"/>
                  </a:cubicBezTo>
                  <a:moveTo>
                    <a:pt x="2691" y="606"/>
                  </a:moveTo>
                  <a:cubicBezTo>
                    <a:pt x="2684" y="606"/>
                    <a:pt x="2679" y="611"/>
                    <a:pt x="2679" y="616"/>
                  </a:cubicBezTo>
                  <a:cubicBezTo>
                    <a:pt x="2680" y="622"/>
                    <a:pt x="2686" y="626"/>
                    <a:pt x="2693" y="626"/>
                  </a:cubicBezTo>
                  <a:cubicBezTo>
                    <a:pt x="2700" y="626"/>
                    <a:pt x="2706" y="622"/>
                    <a:pt x="2705" y="616"/>
                  </a:cubicBezTo>
                  <a:cubicBezTo>
                    <a:pt x="2705" y="610"/>
                    <a:pt x="2699" y="606"/>
                    <a:pt x="2692" y="606"/>
                  </a:cubicBezTo>
                  <a:cubicBezTo>
                    <a:pt x="2692" y="606"/>
                    <a:pt x="2692" y="606"/>
                    <a:pt x="2691" y="606"/>
                  </a:cubicBezTo>
                  <a:moveTo>
                    <a:pt x="2765" y="606"/>
                  </a:moveTo>
                  <a:cubicBezTo>
                    <a:pt x="2758" y="606"/>
                    <a:pt x="2753" y="611"/>
                    <a:pt x="2753" y="616"/>
                  </a:cubicBezTo>
                  <a:cubicBezTo>
                    <a:pt x="2754" y="622"/>
                    <a:pt x="2760" y="626"/>
                    <a:pt x="2767" y="626"/>
                  </a:cubicBezTo>
                  <a:cubicBezTo>
                    <a:pt x="2774" y="626"/>
                    <a:pt x="2780" y="622"/>
                    <a:pt x="2779" y="616"/>
                  </a:cubicBezTo>
                  <a:cubicBezTo>
                    <a:pt x="2779" y="610"/>
                    <a:pt x="2772" y="606"/>
                    <a:pt x="2765" y="606"/>
                  </a:cubicBezTo>
                  <a:cubicBezTo>
                    <a:pt x="2765" y="606"/>
                    <a:pt x="2765" y="606"/>
                    <a:pt x="2765" y="606"/>
                  </a:cubicBezTo>
                  <a:moveTo>
                    <a:pt x="2948" y="606"/>
                  </a:moveTo>
                  <a:cubicBezTo>
                    <a:pt x="2941" y="606"/>
                    <a:pt x="2936" y="611"/>
                    <a:pt x="2937" y="616"/>
                  </a:cubicBezTo>
                  <a:cubicBezTo>
                    <a:pt x="2937" y="622"/>
                    <a:pt x="2944" y="626"/>
                    <a:pt x="2951" y="626"/>
                  </a:cubicBezTo>
                  <a:cubicBezTo>
                    <a:pt x="2958" y="626"/>
                    <a:pt x="2963" y="622"/>
                    <a:pt x="2962" y="616"/>
                  </a:cubicBezTo>
                  <a:cubicBezTo>
                    <a:pt x="2962" y="610"/>
                    <a:pt x="2955" y="606"/>
                    <a:pt x="2948" y="606"/>
                  </a:cubicBezTo>
                  <a:cubicBezTo>
                    <a:pt x="2948" y="606"/>
                    <a:pt x="2948" y="606"/>
                    <a:pt x="2948" y="606"/>
                  </a:cubicBezTo>
                  <a:moveTo>
                    <a:pt x="2728" y="606"/>
                  </a:moveTo>
                  <a:cubicBezTo>
                    <a:pt x="2721" y="606"/>
                    <a:pt x="2716" y="610"/>
                    <a:pt x="2716" y="616"/>
                  </a:cubicBezTo>
                  <a:cubicBezTo>
                    <a:pt x="2717" y="622"/>
                    <a:pt x="2723" y="626"/>
                    <a:pt x="2730" y="626"/>
                  </a:cubicBezTo>
                  <a:cubicBezTo>
                    <a:pt x="2737" y="626"/>
                    <a:pt x="2742" y="622"/>
                    <a:pt x="2742" y="616"/>
                  </a:cubicBezTo>
                  <a:cubicBezTo>
                    <a:pt x="2741" y="610"/>
                    <a:pt x="2735" y="606"/>
                    <a:pt x="2728" y="606"/>
                  </a:cubicBezTo>
                  <a:cubicBezTo>
                    <a:pt x="2728" y="606"/>
                    <a:pt x="2728" y="606"/>
                    <a:pt x="2728" y="606"/>
                  </a:cubicBezTo>
                  <a:moveTo>
                    <a:pt x="2984" y="606"/>
                  </a:moveTo>
                  <a:cubicBezTo>
                    <a:pt x="2977" y="606"/>
                    <a:pt x="2972" y="610"/>
                    <a:pt x="2973" y="616"/>
                  </a:cubicBezTo>
                  <a:cubicBezTo>
                    <a:pt x="2974" y="622"/>
                    <a:pt x="2981" y="626"/>
                    <a:pt x="2988" y="626"/>
                  </a:cubicBezTo>
                  <a:cubicBezTo>
                    <a:pt x="2995" y="626"/>
                    <a:pt x="3000" y="621"/>
                    <a:pt x="2999" y="616"/>
                  </a:cubicBezTo>
                  <a:cubicBezTo>
                    <a:pt x="2998" y="610"/>
                    <a:pt x="2992" y="606"/>
                    <a:pt x="2985" y="606"/>
                  </a:cubicBezTo>
                  <a:cubicBezTo>
                    <a:pt x="2985" y="606"/>
                    <a:pt x="2985" y="606"/>
                    <a:pt x="2984" y="606"/>
                  </a:cubicBezTo>
                  <a:moveTo>
                    <a:pt x="2618" y="605"/>
                  </a:moveTo>
                  <a:cubicBezTo>
                    <a:pt x="2611" y="606"/>
                    <a:pt x="2606" y="610"/>
                    <a:pt x="2606" y="616"/>
                  </a:cubicBezTo>
                  <a:cubicBezTo>
                    <a:pt x="2606" y="621"/>
                    <a:pt x="2612" y="626"/>
                    <a:pt x="2619" y="626"/>
                  </a:cubicBezTo>
                  <a:cubicBezTo>
                    <a:pt x="2626" y="626"/>
                    <a:pt x="2632" y="621"/>
                    <a:pt x="2632" y="616"/>
                  </a:cubicBezTo>
                  <a:cubicBezTo>
                    <a:pt x="2632" y="610"/>
                    <a:pt x="2626" y="605"/>
                    <a:pt x="2618" y="605"/>
                  </a:cubicBezTo>
                  <a:cubicBezTo>
                    <a:pt x="2618" y="605"/>
                    <a:pt x="2618" y="605"/>
                    <a:pt x="2618" y="605"/>
                  </a:cubicBezTo>
                  <a:moveTo>
                    <a:pt x="3021" y="605"/>
                  </a:moveTo>
                  <a:cubicBezTo>
                    <a:pt x="3014" y="605"/>
                    <a:pt x="3009" y="610"/>
                    <a:pt x="3010" y="616"/>
                  </a:cubicBezTo>
                  <a:cubicBezTo>
                    <a:pt x="3011" y="621"/>
                    <a:pt x="3018" y="626"/>
                    <a:pt x="3025" y="626"/>
                  </a:cubicBezTo>
                  <a:cubicBezTo>
                    <a:pt x="3032" y="626"/>
                    <a:pt x="3037" y="621"/>
                    <a:pt x="3036" y="616"/>
                  </a:cubicBezTo>
                  <a:cubicBezTo>
                    <a:pt x="3035" y="610"/>
                    <a:pt x="3029" y="605"/>
                    <a:pt x="3021" y="605"/>
                  </a:cubicBezTo>
                  <a:cubicBezTo>
                    <a:pt x="3021" y="605"/>
                    <a:pt x="3021" y="605"/>
                    <a:pt x="3021" y="605"/>
                  </a:cubicBezTo>
                  <a:moveTo>
                    <a:pt x="3058" y="605"/>
                  </a:moveTo>
                  <a:cubicBezTo>
                    <a:pt x="3051" y="605"/>
                    <a:pt x="3046" y="610"/>
                    <a:pt x="3047" y="616"/>
                  </a:cubicBezTo>
                  <a:cubicBezTo>
                    <a:pt x="3048" y="621"/>
                    <a:pt x="3055" y="626"/>
                    <a:pt x="3062" y="626"/>
                  </a:cubicBezTo>
                  <a:cubicBezTo>
                    <a:pt x="3069" y="626"/>
                    <a:pt x="3074" y="621"/>
                    <a:pt x="3073" y="615"/>
                  </a:cubicBezTo>
                  <a:cubicBezTo>
                    <a:pt x="3072" y="610"/>
                    <a:pt x="3065" y="605"/>
                    <a:pt x="3058" y="605"/>
                  </a:cubicBezTo>
                  <a:cubicBezTo>
                    <a:pt x="3058" y="605"/>
                    <a:pt x="3058" y="605"/>
                    <a:pt x="3058" y="605"/>
                  </a:cubicBezTo>
                  <a:moveTo>
                    <a:pt x="3095" y="605"/>
                  </a:moveTo>
                  <a:cubicBezTo>
                    <a:pt x="3088" y="605"/>
                    <a:pt x="3083" y="610"/>
                    <a:pt x="3084" y="615"/>
                  </a:cubicBezTo>
                  <a:cubicBezTo>
                    <a:pt x="3085" y="621"/>
                    <a:pt x="3092" y="626"/>
                    <a:pt x="3099" y="626"/>
                  </a:cubicBezTo>
                  <a:cubicBezTo>
                    <a:pt x="3107" y="625"/>
                    <a:pt x="3111" y="621"/>
                    <a:pt x="3110" y="615"/>
                  </a:cubicBezTo>
                  <a:cubicBezTo>
                    <a:pt x="3109" y="610"/>
                    <a:pt x="3102" y="605"/>
                    <a:pt x="3095" y="605"/>
                  </a:cubicBezTo>
                  <a:cubicBezTo>
                    <a:pt x="3095" y="605"/>
                    <a:pt x="3095" y="605"/>
                    <a:pt x="3095" y="605"/>
                  </a:cubicBezTo>
                  <a:moveTo>
                    <a:pt x="3133" y="605"/>
                  </a:moveTo>
                  <a:cubicBezTo>
                    <a:pt x="3126" y="605"/>
                    <a:pt x="3121" y="609"/>
                    <a:pt x="3122" y="615"/>
                  </a:cubicBezTo>
                  <a:cubicBezTo>
                    <a:pt x="3124" y="621"/>
                    <a:pt x="3131" y="625"/>
                    <a:pt x="3138" y="625"/>
                  </a:cubicBezTo>
                  <a:cubicBezTo>
                    <a:pt x="3145" y="625"/>
                    <a:pt x="3150" y="621"/>
                    <a:pt x="3148" y="615"/>
                  </a:cubicBezTo>
                  <a:cubicBezTo>
                    <a:pt x="3147" y="609"/>
                    <a:pt x="3140" y="605"/>
                    <a:pt x="3133" y="605"/>
                  </a:cubicBezTo>
                  <a:cubicBezTo>
                    <a:pt x="3133" y="605"/>
                    <a:pt x="3133" y="605"/>
                    <a:pt x="3133" y="605"/>
                  </a:cubicBezTo>
                  <a:moveTo>
                    <a:pt x="3170" y="605"/>
                  </a:moveTo>
                  <a:cubicBezTo>
                    <a:pt x="3163" y="605"/>
                    <a:pt x="3158" y="609"/>
                    <a:pt x="3159" y="615"/>
                  </a:cubicBezTo>
                  <a:cubicBezTo>
                    <a:pt x="3161" y="621"/>
                    <a:pt x="3167" y="625"/>
                    <a:pt x="3175" y="625"/>
                  </a:cubicBezTo>
                  <a:cubicBezTo>
                    <a:pt x="3182" y="625"/>
                    <a:pt x="3187" y="620"/>
                    <a:pt x="3185" y="615"/>
                  </a:cubicBezTo>
                  <a:cubicBezTo>
                    <a:pt x="3184" y="609"/>
                    <a:pt x="3177" y="605"/>
                    <a:pt x="3170" y="605"/>
                  </a:cubicBezTo>
                  <a:cubicBezTo>
                    <a:pt x="3170" y="605"/>
                    <a:pt x="3170" y="605"/>
                    <a:pt x="3170" y="605"/>
                  </a:cubicBezTo>
                  <a:moveTo>
                    <a:pt x="3207" y="604"/>
                  </a:moveTo>
                  <a:cubicBezTo>
                    <a:pt x="3200" y="604"/>
                    <a:pt x="3195" y="609"/>
                    <a:pt x="3196" y="615"/>
                  </a:cubicBezTo>
                  <a:cubicBezTo>
                    <a:pt x="3198" y="620"/>
                    <a:pt x="3205" y="625"/>
                    <a:pt x="3212" y="625"/>
                  </a:cubicBezTo>
                  <a:cubicBezTo>
                    <a:pt x="3219" y="625"/>
                    <a:pt x="3224" y="620"/>
                    <a:pt x="3222" y="615"/>
                  </a:cubicBezTo>
                  <a:cubicBezTo>
                    <a:pt x="3221" y="609"/>
                    <a:pt x="3214" y="604"/>
                    <a:pt x="3207" y="604"/>
                  </a:cubicBezTo>
                  <a:cubicBezTo>
                    <a:pt x="3207" y="604"/>
                    <a:pt x="3207" y="604"/>
                    <a:pt x="3207" y="604"/>
                  </a:cubicBezTo>
                  <a:moveTo>
                    <a:pt x="3244" y="604"/>
                  </a:moveTo>
                  <a:cubicBezTo>
                    <a:pt x="3237" y="604"/>
                    <a:pt x="3232" y="609"/>
                    <a:pt x="3234" y="614"/>
                  </a:cubicBezTo>
                  <a:cubicBezTo>
                    <a:pt x="3235" y="620"/>
                    <a:pt x="3242" y="625"/>
                    <a:pt x="3249" y="625"/>
                  </a:cubicBezTo>
                  <a:cubicBezTo>
                    <a:pt x="3257" y="625"/>
                    <a:pt x="3261" y="620"/>
                    <a:pt x="3260" y="614"/>
                  </a:cubicBezTo>
                  <a:cubicBezTo>
                    <a:pt x="3258" y="609"/>
                    <a:pt x="3251" y="604"/>
                    <a:pt x="3244" y="604"/>
                  </a:cubicBezTo>
                  <a:cubicBezTo>
                    <a:pt x="3244" y="604"/>
                    <a:pt x="3244" y="604"/>
                    <a:pt x="3244" y="604"/>
                  </a:cubicBezTo>
                  <a:moveTo>
                    <a:pt x="3281" y="604"/>
                  </a:moveTo>
                  <a:cubicBezTo>
                    <a:pt x="3273" y="604"/>
                    <a:pt x="3269" y="609"/>
                    <a:pt x="3271" y="614"/>
                  </a:cubicBezTo>
                  <a:cubicBezTo>
                    <a:pt x="3272" y="620"/>
                    <a:pt x="3279" y="624"/>
                    <a:pt x="3286" y="624"/>
                  </a:cubicBezTo>
                  <a:cubicBezTo>
                    <a:pt x="3293" y="624"/>
                    <a:pt x="3298" y="620"/>
                    <a:pt x="3296" y="614"/>
                  </a:cubicBezTo>
                  <a:cubicBezTo>
                    <a:pt x="3295" y="608"/>
                    <a:pt x="3288" y="604"/>
                    <a:pt x="3281" y="604"/>
                  </a:cubicBezTo>
                  <a:cubicBezTo>
                    <a:pt x="3281" y="604"/>
                    <a:pt x="3281" y="604"/>
                    <a:pt x="3281" y="604"/>
                  </a:cubicBezTo>
                  <a:moveTo>
                    <a:pt x="3317" y="604"/>
                  </a:moveTo>
                  <a:cubicBezTo>
                    <a:pt x="3310" y="604"/>
                    <a:pt x="3306" y="608"/>
                    <a:pt x="3307" y="614"/>
                  </a:cubicBezTo>
                  <a:cubicBezTo>
                    <a:pt x="3309" y="620"/>
                    <a:pt x="3316" y="624"/>
                    <a:pt x="3323" y="624"/>
                  </a:cubicBezTo>
                  <a:cubicBezTo>
                    <a:pt x="3331" y="624"/>
                    <a:pt x="3335" y="620"/>
                    <a:pt x="3333" y="614"/>
                  </a:cubicBezTo>
                  <a:cubicBezTo>
                    <a:pt x="3332" y="608"/>
                    <a:pt x="3325" y="604"/>
                    <a:pt x="3318" y="604"/>
                  </a:cubicBezTo>
                  <a:cubicBezTo>
                    <a:pt x="3318" y="604"/>
                    <a:pt x="3317" y="604"/>
                    <a:pt x="3317" y="604"/>
                  </a:cubicBezTo>
                  <a:moveTo>
                    <a:pt x="3354" y="604"/>
                  </a:moveTo>
                  <a:cubicBezTo>
                    <a:pt x="3347" y="604"/>
                    <a:pt x="3343" y="608"/>
                    <a:pt x="3344" y="614"/>
                  </a:cubicBezTo>
                  <a:cubicBezTo>
                    <a:pt x="3346" y="620"/>
                    <a:pt x="3353" y="624"/>
                    <a:pt x="3360" y="624"/>
                  </a:cubicBezTo>
                  <a:cubicBezTo>
                    <a:pt x="3368" y="624"/>
                    <a:pt x="3372" y="619"/>
                    <a:pt x="3370" y="614"/>
                  </a:cubicBezTo>
                  <a:cubicBezTo>
                    <a:pt x="3368" y="608"/>
                    <a:pt x="3361" y="604"/>
                    <a:pt x="3354" y="604"/>
                  </a:cubicBezTo>
                  <a:cubicBezTo>
                    <a:pt x="3354" y="604"/>
                    <a:pt x="3354" y="604"/>
                    <a:pt x="3354" y="604"/>
                  </a:cubicBezTo>
                  <a:moveTo>
                    <a:pt x="3391" y="603"/>
                  </a:moveTo>
                  <a:cubicBezTo>
                    <a:pt x="3384" y="603"/>
                    <a:pt x="3380" y="608"/>
                    <a:pt x="3381" y="614"/>
                  </a:cubicBezTo>
                  <a:cubicBezTo>
                    <a:pt x="3383" y="619"/>
                    <a:pt x="3390" y="624"/>
                    <a:pt x="3398" y="624"/>
                  </a:cubicBezTo>
                  <a:cubicBezTo>
                    <a:pt x="3405" y="624"/>
                    <a:pt x="3409" y="619"/>
                    <a:pt x="3407" y="613"/>
                  </a:cubicBezTo>
                  <a:cubicBezTo>
                    <a:pt x="3405" y="608"/>
                    <a:pt x="3398" y="603"/>
                    <a:pt x="3391" y="603"/>
                  </a:cubicBezTo>
                  <a:cubicBezTo>
                    <a:pt x="3391" y="603"/>
                    <a:pt x="3391" y="603"/>
                    <a:pt x="3391" y="603"/>
                  </a:cubicBezTo>
                  <a:moveTo>
                    <a:pt x="3428" y="603"/>
                  </a:moveTo>
                  <a:cubicBezTo>
                    <a:pt x="3421" y="603"/>
                    <a:pt x="3417" y="608"/>
                    <a:pt x="3419" y="613"/>
                  </a:cubicBezTo>
                  <a:cubicBezTo>
                    <a:pt x="3421" y="619"/>
                    <a:pt x="3428" y="624"/>
                    <a:pt x="3435" y="624"/>
                  </a:cubicBezTo>
                  <a:cubicBezTo>
                    <a:pt x="3442" y="624"/>
                    <a:pt x="3447" y="619"/>
                    <a:pt x="3445" y="613"/>
                  </a:cubicBezTo>
                  <a:cubicBezTo>
                    <a:pt x="3443" y="608"/>
                    <a:pt x="3435" y="603"/>
                    <a:pt x="3428" y="603"/>
                  </a:cubicBezTo>
                  <a:cubicBezTo>
                    <a:pt x="3428" y="603"/>
                    <a:pt x="3428" y="603"/>
                    <a:pt x="3428" y="603"/>
                  </a:cubicBezTo>
                  <a:moveTo>
                    <a:pt x="3465" y="603"/>
                  </a:moveTo>
                  <a:cubicBezTo>
                    <a:pt x="3458" y="603"/>
                    <a:pt x="3454" y="608"/>
                    <a:pt x="3456" y="613"/>
                  </a:cubicBezTo>
                  <a:cubicBezTo>
                    <a:pt x="3457" y="619"/>
                    <a:pt x="3465" y="623"/>
                    <a:pt x="3472" y="623"/>
                  </a:cubicBezTo>
                  <a:cubicBezTo>
                    <a:pt x="3479" y="623"/>
                    <a:pt x="3483" y="619"/>
                    <a:pt x="3481" y="613"/>
                  </a:cubicBezTo>
                  <a:cubicBezTo>
                    <a:pt x="3479" y="607"/>
                    <a:pt x="3472" y="603"/>
                    <a:pt x="3465" y="603"/>
                  </a:cubicBezTo>
                  <a:cubicBezTo>
                    <a:pt x="3465" y="603"/>
                    <a:pt x="3465" y="603"/>
                    <a:pt x="3465" y="603"/>
                  </a:cubicBezTo>
                  <a:moveTo>
                    <a:pt x="3502" y="603"/>
                  </a:moveTo>
                  <a:cubicBezTo>
                    <a:pt x="3495" y="603"/>
                    <a:pt x="3490" y="607"/>
                    <a:pt x="3492" y="613"/>
                  </a:cubicBezTo>
                  <a:cubicBezTo>
                    <a:pt x="3494" y="619"/>
                    <a:pt x="3502" y="623"/>
                    <a:pt x="3509" y="623"/>
                  </a:cubicBezTo>
                  <a:cubicBezTo>
                    <a:pt x="3516" y="623"/>
                    <a:pt x="3520" y="619"/>
                    <a:pt x="3518" y="613"/>
                  </a:cubicBezTo>
                  <a:cubicBezTo>
                    <a:pt x="3516" y="607"/>
                    <a:pt x="3509" y="603"/>
                    <a:pt x="3502" y="603"/>
                  </a:cubicBezTo>
                  <a:cubicBezTo>
                    <a:pt x="3502" y="603"/>
                    <a:pt x="3502" y="603"/>
                    <a:pt x="3502" y="603"/>
                  </a:cubicBezTo>
                  <a:moveTo>
                    <a:pt x="3538" y="602"/>
                  </a:moveTo>
                  <a:cubicBezTo>
                    <a:pt x="3531" y="602"/>
                    <a:pt x="3527" y="607"/>
                    <a:pt x="3529" y="613"/>
                  </a:cubicBezTo>
                  <a:cubicBezTo>
                    <a:pt x="3531" y="618"/>
                    <a:pt x="3539" y="623"/>
                    <a:pt x="3546" y="623"/>
                  </a:cubicBezTo>
                  <a:cubicBezTo>
                    <a:pt x="3553" y="623"/>
                    <a:pt x="3557" y="618"/>
                    <a:pt x="3555" y="613"/>
                  </a:cubicBezTo>
                  <a:cubicBezTo>
                    <a:pt x="3553" y="607"/>
                    <a:pt x="3546" y="602"/>
                    <a:pt x="3538" y="602"/>
                  </a:cubicBezTo>
                  <a:cubicBezTo>
                    <a:pt x="3538" y="602"/>
                    <a:pt x="3538" y="602"/>
                    <a:pt x="3538" y="602"/>
                  </a:cubicBezTo>
                  <a:moveTo>
                    <a:pt x="3575" y="602"/>
                  </a:moveTo>
                  <a:cubicBezTo>
                    <a:pt x="3568" y="602"/>
                    <a:pt x="3564" y="607"/>
                    <a:pt x="3566" y="613"/>
                  </a:cubicBezTo>
                  <a:cubicBezTo>
                    <a:pt x="3568" y="618"/>
                    <a:pt x="3576" y="623"/>
                    <a:pt x="3583" y="623"/>
                  </a:cubicBezTo>
                  <a:cubicBezTo>
                    <a:pt x="3590" y="623"/>
                    <a:pt x="3594" y="618"/>
                    <a:pt x="3592" y="612"/>
                  </a:cubicBezTo>
                  <a:cubicBezTo>
                    <a:pt x="3590" y="607"/>
                    <a:pt x="3583" y="602"/>
                    <a:pt x="3575" y="602"/>
                  </a:cubicBezTo>
                  <a:cubicBezTo>
                    <a:pt x="3575" y="602"/>
                    <a:pt x="3575" y="602"/>
                    <a:pt x="3575" y="602"/>
                  </a:cubicBezTo>
                  <a:moveTo>
                    <a:pt x="3613" y="602"/>
                  </a:moveTo>
                  <a:cubicBezTo>
                    <a:pt x="3605" y="602"/>
                    <a:pt x="3601" y="607"/>
                    <a:pt x="3604" y="612"/>
                  </a:cubicBezTo>
                  <a:cubicBezTo>
                    <a:pt x="3606" y="618"/>
                    <a:pt x="3614" y="623"/>
                    <a:pt x="3621" y="623"/>
                  </a:cubicBezTo>
                  <a:cubicBezTo>
                    <a:pt x="3628" y="622"/>
                    <a:pt x="3632" y="618"/>
                    <a:pt x="3630" y="612"/>
                  </a:cubicBezTo>
                  <a:cubicBezTo>
                    <a:pt x="3627" y="607"/>
                    <a:pt x="3620" y="602"/>
                    <a:pt x="3613" y="602"/>
                  </a:cubicBezTo>
                  <a:cubicBezTo>
                    <a:pt x="3613" y="602"/>
                    <a:pt x="3613" y="602"/>
                    <a:pt x="3613" y="602"/>
                  </a:cubicBezTo>
                  <a:moveTo>
                    <a:pt x="3649" y="601"/>
                  </a:moveTo>
                  <a:cubicBezTo>
                    <a:pt x="3642" y="601"/>
                    <a:pt x="3638" y="606"/>
                    <a:pt x="3641" y="612"/>
                  </a:cubicBezTo>
                  <a:cubicBezTo>
                    <a:pt x="3643" y="617"/>
                    <a:pt x="3651" y="622"/>
                    <a:pt x="3658" y="622"/>
                  </a:cubicBezTo>
                  <a:cubicBezTo>
                    <a:pt x="3665" y="622"/>
                    <a:pt x="3669" y="617"/>
                    <a:pt x="3666" y="612"/>
                  </a:cubicBezTo>
                  <a:cubicBezTo>
                    <a:pt x="3664" y="606"/>
                    <a:pt x="3656" y="601"/>
                    <a:pt x="3649" y="601"/>
                  </a:cubicBezTo>
                  <a:cubicBezTo>
                    <a:pt x="3649" y="601"/>
                    <a:pt x="3649" y="601"/>
                    <a:pt x="3649" y="601"/>
                  </a:cubicBezTo>
                  <a:moveTo>
                    <a:pt x="3686" y="601"/>
                  </a:moveTo>
                  <a:cubicBezTo>
                    <a:pt x="3679" y="601"/>
                    <a:pt x="3675" y="606"/>
                    <a:pt x="3677" y="612"/>
                  </a:cubicBezTo>
                  <a:cubicBezTo>
                    <a:pt x="3680" y="617"/>
                    <a:pt x="3687" y="622"/>
                    <a:pt x="3695" y="622"/>
                  </a:cubicBezTo>
                  <a:cubicBezTo>
                    <a:pt x="3702" y="622"/>
                    <a:pt x="3706" y="617"/>
                    <a:pt x="3703" y="611"/>
                  </a:cubicBezTo>
                  <a:cubicBezTo>
                    <a:pt x="3701" y="606"/>
                    <a:pt x="3693" y="601"/>
                    <a:pt x="3686" y="601"/>
                  </a:cubicBezTo>
                  <a:cubicBezTo>
                    <a:pt x="3686" y="601"/>
                    <a:pt x="3686" y="601"/>
                    <a:pt x="3686" y="601"/>
                  </a:cubicBezTo>
                  <a:moveTo>
                    <a:pt x="3723" y="601"/>
                  </a:moveTo>
                  <a:cubicBezTo>
                    <a:pt x="3716" y="601"/>
                    <a:pt x="3712" y="606"/>
                    <a:pt x="3714" y="611"/>
                  </a:cubicBezTo>
                  <a:cubicBezTo>
                    <a:pt x="3717" y="617"/>
                    <a:pt x="3725" y="622"/>
                    <a:pt x="3732" y="622"/>
                  </a:cubicBezTo>
                  <a:cubicBezTo>
                    <a:pt x="3739" y="622"/>
                    <a:pt x="3743" y="617"/>
                    <a:pt x="3740" y="611"/>
                  </a:cubicBezTo>
                  <a:cubicBezTo>
                    <a:pt x="3738" y="606"/>
                    <a:pt x="3730" y="601"/>
                    <a:pt x="3723" y="601"/>
                  </a:cubicBezTo>
                  <a:cubicBezTo>
                    <a:pt x="3723" y="601"/>
                    <a:pt x="3723" y="601"/>
                    <a:pt x="3723" y="601"/>
                  </a:cubicBezTo>
                  <a:moveTo>
                    <a:pt x="3762" y="601"/>
                  </a:moveTo>
                  <a:cubicBezTo>
                    <a:pt x="3755" y="601"/>
                    <a:pt x="3751" y="605"/>
                    <a:pt x="3754" y="611"/>
                  </a:cubicBezTo>
                  <a:cubicBezTo>
                    <a:pt x="3756" y="617"/>
                    <a:pt x="3764" y="621"/>
                    <a:pt x="3771" y="621"/>
                  </a:cubicBezTo>
                  <a:cubicBezTo>
                    <a:pt x="3778" y="621"/>
                    <a:pt x="3782" y="617"/>
                    <a:pt x="3779" y="611"/>
                  </a:cubicBezTo>
                  <a:cubicBezTo>
                    <a:pt x="3777" y="605"/>
                    <a:pt x="3769" y="601"/>
                    <a:pt x="3762" y="601"/>
                  </a:cubicBezTo>
                  <a:cubicBezTo>
                    <a:pt x="3762" y="601"/>
                    <a:pt x="3762" y="601"/>
                    <a:pt x="3762" y="601"/>
                  </a:cubicBezTo>
                  <a:moveTo>
                    <a:pt x="3798" y="601"/>
                  </a:moveTo>
                  <a:cubicBezTo>
                    <a:pt x="3791" y="601"/>
                    <a:pt x="3787" y="605"/>
                    <a:pt x="3790" y="611"/>
                  </a:cubicBezTo>
                  <a:cubicBezTo>
                    <a:pt x="3793" y="617"/>
                    <a:pt x="3801" y="621"/>
                    <a:pt x="3808" y="621"/>
                  </a:cubicBezTo>
                  <a:cubicBezTo>
                    <a:pt x="3815" y="621"/>
                    <a:pt x="3819" y="616"/>
                    <a:pt x="3816" y="611"/>
                  </a:cubicBezTo>
                  <a:cubicBezTo>
                    <a:pt x="3813" y="605"/>
                    <a:pt x="3805" y="601"/>
                    <a:pt x="3798" y="601"/>
                  </a:cubicBezTo>
                  <a:cubicBezTo>
                    <a:pt x="3798" y="601"/>
                    <a:pt x="3798" y="601"/>
                    <a:pt x="3798" y="601"/>
                  </a:cubicBezTo>
                  <a:moveTo>
                    <a:pt x="3835" y="600"/>
                  </a:moveTo>
                  <a:cubicBezTo>
                    <a:pt x="3828" y="600"/>
                    <a:pt x="3824" y="605"/>
                    <a:pt x="3827" y="611"/>
                  </a:cubicBezTo>
                  <a:cubicBezTo>
                    <a:pt x="3829" y="616"/>
                    <a:pt x="3837" y="621"/>
                    <a:pt x="3845" y="621"/>
                  </a:cubicBezTo>
                  <a:cubicBezTo>
                    <a:pt x="3852" y="621"/>
                    <a:pt x="3855" y="616"/>
                    <a:pt x="3853" y="611"/>
                  </a:cubicBezTo>
                  <a:cubicBezTo>
                    <a:pt x="3850" y="605"/>
                    <a:pt x="3842" y="600"/>
                    <a:pt x="3835" y="600"/>
                  </a:cubicBezTo>
                  <a:cubicBezTo>
                    <a:pt x="3835" y="600"/>
                    <a:pt x="3835" y="600"/>
                    <a:pt x="3835" y="600"/>
                  </a:cubicBezTo>
                  <a:moveTo>
                    <a:pt x="3872" y="600"/>
                  </a:moveTo>
                  <a:cubicBezTo>
                    <a:pt x="3865" y="600"/>
                    <a:pt x="3861" y="605"/>
                    <a:pt x="3864" y="611"/>
                  </a:cubicBezTo>
                  <a:cubicBezTo>
                    <a:pt x="3867" y="616"/>
                    <a:pt x="3875" y="621"/>
                    <a:pt x="3882" y="621"/>
                  </a:cubicBezTo>
                  <a:cubicBezTo>
                    <a:pt x="3889" y="621"/>
                    <a:pt x="3892" y="616"/>
                    <a:pt x="3890" y="610"/>
                  </a:cubicBezTo>
                  <a:cubicBezTo>
                    <a:pt x="3887" y="605"/>
                    <a:pt x="3879" y="600"/>
                    <a:pt x="3872" y="600"/>
                  </a:cubicBezTo>
                  <a:cubicBezTo>
                    <a:pt x="3872" y="600"/>
                    <a:pt x="3872" y="600"/>
                    <a:pt x="3872" y="600"/>
                  </a:cubicBezTo>
                  <a:moveTo>
                    <a:pt x="3909" y="600"/>
                  </a:moveTo>
                  <a:cubicBezTo>
                    <a:pt x="3902" y="600"/>
                    <a:pt x="3898" y="605"/>
                    <a:pt x="3901" y="610"/>
                  </a:cubicBezTo>
                  <a:cubicBezTo>
                    <a:pt x="3904" y="616"/>
                    <a:pt x="3912" y="621"/>
                    <a:pt x="3919" y="621"/>
                  </a:cubicBezTo>
                  <a:cubicBezTo>
                    <a:pt x="3926" y="620"/>
                    <a:pt x="3930" y="616"/>
                    <a:pt x="3927" y="610"/>
                  </a:cubicBezTo>
                  <a:cubicBezTo>
                    <a:pt x="3924" y="604"/>
                    <a:pt x="3916" y="600"/>
                    <a:pt x="3909" y="600"/>
                  </a:cubicBezTo>
                  <a:cubicBezTo>
                    <a:pt x="3909" y="600"/>
                    <a:pt x="3909" y="600"/>
                    <a:pt x="3909" y="600"/>
                  </a:cubicBezTo>
                  <a:moveTo>
                    <a:pt x="3946" y="600"/>
                  </a:moveTo>
                  <a:cubicBezTo>
                    <a:pt x="3938" y="600"/>
                    <a:pt x="3935" y="604"/>
                    <a:pt x="3938" y="610"/>
                  </a:cubicBezTo>
                  <a:cubicBezTo>
                    <a:pt x="3941" y="616"/>
                    <a:pt x="3949" y="620"/>
                    <a:pt x="3956" y="620"/>
                  </a:cubicBezTo>
                  <a:cubicBezTo>
                    <a:pt x="3963" y="620"/>
                    <a:pt x="3967" y="616"/>
                    <a:pt x="3964" y="610"/>
                  </a:cubicBezTo>
                  <a:cubicBezTo>
                    <a:pt x="3961" y="604"/>
                    <a:pt x="3953" y="600"/>
                    <a:pt x="3946" y="600"/>
                  </a:cubicBezTo>
                  <a:cubicBezTo>
                    <a:pt x="3946" y="600"/>
                    <a:pt x="3946" y="600"/>
                    <a:pt x="3946" y="600"/>
                  </a:cubicBezTo>
                  <a:moveTo>
                    <a:pt x="4055" y="599"/>
                  </a:moveTo>
                  <a:cubicBezTo>
                    <a:pt x="4048" y="599"/>
                    <a:pt x="4045" y="604"/>
                    <a:pt x="4048" y="610"/>
                  </a:cubicBezTo>
                  <a:cubicBezTo>
                    <a:pt x="4051" y="615"/>
                    <a:pt x="4059" y="620"/>
                    <a:pt x="4066" y="620"/>
                  </a:cubicBezTo>
                  <a:cubicBezTo>
                    <a:pt x="4073" y="620"/>
                    <a:pt x="4077" y="615"/>
                    <a:pt x="4073" y="610"/>
                  </a:cubicBezTo>
                  <a:cubicBezTo>
                    <a:pt x="4070" y="604"/>
                    <a:pt x="4062" y="599"/>
                    <a:pt x="4055" y="599"/>
                  </a:cubicBezTo>
                  <a:cubicBezTo>
                    <a:pt x="4055" y="599"/>
                    <a:pt x="4055" y="599"/>
                    <a:pt x="4055" y="599"/>
                  </a:cubicBezTo>
                  <a:moveTo>
                    <a:pt x="4092" y="599"/>
                  </a:moveTo>
                  <a:cubicBezTo>
                    <a:pt x="4085" y="599"/>
                    <a:pt x="4081" y="604"/>
                    <a:pt x="4085" y="610"/>
                  </a:cubicBezTo>
                  <a:cubicBezTo>
                    <a:pt x="4088" y="615"/>
                    <a:pt x="4096" y="620"/>
                    <a:pt x="4103" y="620"/>
                  </a:cubicBezTo>
                  <a:cubicBezTo>
                    <a:pt x="4111" y="620"/>
                    <a:pt x="4114" y="615"/>
                    <a:pt x="4111" y="609"/>
                  </a:cubicBezTo>
                  <a:cubicBezTo>
                    <a:pt x="4107" y="604"/>
                    <a:pt x="4099" y="599"/>
                    <a:pt x="4092" y="599"/>
                  </a:cubicBezTo>
                  <a:cubicBezTo>
                    <a:pt x="4092" y="599"/>
                    <a:pt x="4092" y="599"/>
                    <a:pt x="4092" y="599"/>
                  </a:cubicBezTo>
                  <a:moveTo>
                    <a:pt x="4166" y="599"/>
                  </a:moveTo>
                  <a:cubicBezTo>
                    <a:pt x="4159" y="599"/>
                    <a:pt x="4156" y="603"/>
                    <a:pt x="4159" y="609"/>
                  </a:cubicBezTo>
                  <a:cubicBezTo>
                    <a:pt x="4163" y="615"/>
                    <a:pt x="4171" y="619"/>
                    <a:pt x="4178" y="619"/>
                  </a:cubicBezTo>
                  <a:cubicBezTo>
                    <a:pt x="4185" y="619"/>
                    <a:pt x="4188" y="615"/>
                    <a:pt x="4185" y="609"/>
                  </a:cubicBezTo>
                  <a:cubicBezTo>
                    <a:pt x="4182" y="603"/>
                    <a:pt x="4173" y="599"/>
                    <a:pt x="4166" y="599"/>
                  </a:cubicBezTo>
                  <a:cubicBezTo>
                    <a:pt x="4166" y="599"/>
                    <a:pt x="4166" y="599"/>
                    <a:pt x="4166" y="599"/>
                  </a:cubicBezTo>
                  <a:moveTo>
                    <a:pt x="4206" y="599"/>
                  </a:moveTo>
                  <a:cubicBezTo>
                    <a:pt x="4199" y="599"/>
                    <a:pt x="4196" y="603"/>
                    <a:pt x="4200" y="609"/>
                  </a:cubicBezTo>
                  <a:cubicBezTo>
                    <a:pt x="4203" y="615"/>
                    <a:pt x="4212" y="619"/>
                    <a:pt x="4219" y="619"/>
                  </a:cubicBezTo>
                  <a:cubicBezTo>
                    <a:pt x="4226" y="619"/>
                    <a:pt x="4229" y="614"/>
                    <a:pt x="4225" y="609"/>
                  </a:cubicBezTo>
                  <a:cubicBezTo>
                    <a:pt x="4222" y="603"/>
                    <a:pt x="4213" y="599"/>
                    <a:pt x="4206" y="599"/>
                  </a:cubicBezTo>
                  <a:cubicBezTo>
                    <a:pt x="4206" y="599"/>
                    <a:pt x="4206" y="599"/>
                    <a:pt x="4206" y="599"/>
                  </a:cubicBezTo>
                  <a:moveTo>
                    <a:pt x="4239" y="598"/>
                  </a:moveTo>
                  <a:cubicBezTo>
                    <a:pt x="4232" y="598"/>
                    <a:pt x="4229" y="603"/>
                    <a:pt x="4233" y="609"/>
                  </a:cubicBezTo>
                  <a:cubicBezTo>
                    <a:pt x="4236" y="614"/>
                    <a:pt x="4245" y="619"/>
                    <a:pt x="4252" y="619"/>
                  </a:cubicBezTo>
                  <a:cubicBezTo>
                    <a:pt x="4259" y="619"/>
                    <a:pt x="4262" y="614"/>
                    <a:pt x="4259" y="609"/>
                  </a:cubicBezTo>
                  <a:cubicBezTo>
                    <a:pt x="4255" y="603"/>
                    <a:pt x="4246" y="598"/>
                    <a:pt x="4239" y="598"/>
                  </a:cubicBezTo>
                  <a:cubicBezTo>
                    <a:pt x="4239" y="598"/>
                    <a:pt x="4239" y="598"/>
                    <a:pt x="4239" y="598"/>
                  </a:cubicBezTo>
                  <a:moveTo>
                    <a:pt x="123" y="595"/>
                  </a:moveTo>
                  <a:cubicBezTo>
                    <a:pt x="116" y="595"/>
                    <a:pt x="107" y="599"/>
                    <a:pt x="102" y="605"/>
                  </a:cubicBezTo>
                  <a:cubicBezTo>
                    <a:pt x="97" y="611"/>
                    <a:pt x="99" y="615"/>
                    <a:pt x="106" y="615"/>
                  </a:cubicBezTo>
                  <a:cubicBezTo>
                    <a:pt x="113" y="615"/>
                    <a:pt x="123" y="610"/>
                    <a:pt x="128" y="605"/>
                  </a:cubicBezTo>
                  <a:cubicBezTo>
                    <a:pt x="132" y="599"/>
                    <a:pt x="130" y="595"/>
                    <a:pt x="123" y="595"/>
                  </a:cubicBezTo>
                  <a:cubicBezTo>
                    <a:pt x="123" y="595"/>
                    <a:pt x="123" y="595"/>
                    <a:pt x="123" y="595"/>
                  </a:cubicBezTo>
                  <a:moveTo>
                    <a:pt x="160" y="595"/>
                  </a:moveTo>
                  <a:cubicBezTo>
                    <a:pt x="153" y="595"/>
                    <a:pt x="143" y="599"/>
                    <a:pt x="139" y="605"/>
                  </a:cubicBezTo>
                  <a:cubicBezTo>
                    <a:pt x="134" y="610"/>
                    <a:pt x="136" y="615"/>
                    <a:pt x="143" y="615"/>
                  </a:cubicBezTo>
                  <a:cubicBezTo>
                    <a:pt x="150" y="615"/>
                    <a:pt x="160" y="610"/>
                    <a:pt x="164" y="605"/>
                  </a:cubicBezTo>
                  <a:cubicBezTo>
                    <a:pt x="169" y="599"/>
                    <a:pt x="167" y="595"/>
                    <a:pt x="160" y="595"/>
                  </a:cubicBezTo>
                  <a:cubicBezTo>
                    <a:pt x="160" y="595"/>
                    <a:pt x="160" y="595"/>
                    <a:pt x="160" y="595"/>
                  </a:cubicBezTo>
                  <a:moveTo>
                    <a:pt x="198" y="594"/>
                  </a:moveTo>
                  <a:cubicBezTo>
                    <a:pt x="191" y="594"/>
                    <a:pt x="182" y="599"/>
                    <a:pt x="177" y="604"/>
                  </a:cubicBezTo>
                  <a:cubicBezTo>
                    <a:pt x="172" y="610"/>
                    <a:pt x="174" y="615"/>
                    <a:pt x="182" y="615"/>
                  </a:cubicBezTo>
                  <a:cubicBezTo>
                    <a:pt x="189" y="614"/>
                    <a:pt x="198" y="610"/>
                    <a:pt x="203" y="604"/>
                  </a:cubicBezTo>
                  <a:cubicBezTo>
                    <a:pt x="207" y="599"/>
                    <a:pt x="205" y="594"/>
                    <a:pt x="198" y="594"/>
                  </a:cubicBezTo>
                  <a:cubicBezTo>
                    <a:pt x="198" y="594"/>
                    <a:pt x="198" y="594"/>
                    <a:pt x="198" y="594"/>
                  </a:cubicBezTo>
                  <a:moveTo>
                    <a:pt x="235" y="594"/>
                  </a:moveTo>
                  <a:cubicBezTo>
                    <a:pt x="228" y="594"/>
                    <a:pt x="218" y="599"/>
                    <a:pt x="214" y="604"/>
                  </a:cubicBezTo>
                  <a:cubicBezTo>
                    <a:pt x="209" y="610"/>
                    <a:pt x="211" y="614"/>
                    <a:pt x="218" y="614"/>
                  </a:cubicBezTo>
                  <a:cubicBezTo>
                    <a:pt x="226" y="614"/>
                    <a:pt x="235" y="610"/>
                    <a:pt x="239" y="604"/>
                  </a:cubicBezTo>
                  <a:cubicBezTo>
                    <a:pt x="244" y="599"/>
                    <a:pt x="242" y="594"/>
                    <a:pt x="235" y="594"/>
                  </a:cubicBezTo>
                  <a:cubicBezTo>
                    <a:pt x="235" y="594"/>
                    <a:pt x="235" y="594"/>
                    <a:pt x="235" y="594"/>
                  </a:cubicBezTo>
                  <a:moveTo>
                    <a:pt x="271" y="594"/>
                  </a:moveTo>
                  <a:cubicBezTo>
                    <a:pt x="264" y="594"/>
                    <a:pt x="255" y="598"/>
                    <a:pt x="250" y="604"/>
                  </a:cubicBezTo>
                  <a:cubicBezTo>
                    <a:pt x="246" y="610"/>
                    <a:pt x="248" y="614"/>
                    <a:pt x="255" y="614"/>
                  </a:cubicBezTo>
                  <a:cubicBezTo>
                    <a:pt x="262" y="614"/>
                    <a:pt x="272" y="609"/>
                    <a:pt x="276" y="604"/>
                  </a:cubicBezTo>
                  <a:cubicBezTo>
                    <a:pt x="281" y="598"/>
                    <a:pt x="278" y="594"/>
                    <a:pt x="271" y="594"/>
                  </a:cubicBezTo>
                  <a:cubicBezTo>
                    <a:pt x="271" y="594"/>
                    <a:pt x="271" y="594"/>
                    <a:pt x="271" y="594"/>
                  </a:cubicBezTo>
                  <a:moveTo>
                    <a:pt x="308" y="594"/>
                  </a:moveTo>
                  <a:cubicBezTo>
                    <a:pt x="301" y="594"/>
                    <a:pt x="291" y="598"/>
                    <a:pt x="287" y="604"/>
                  </a:cubicBezTo>
                  <a:cubicBezTo>
                    <a:pt x="283" y="609"/>
                    <a:pt x="285" y="614"/>
                    <a:pt x="292" y="614"/>
                  </a:cubicBezTo>
                  <a:cubicBezTo>
                    <a:pt x="299" y="614"/>
                    <a:pt x="309" y="609"/>
                    <a:pt x="313" y="604"/>
                  </a:cubicBezTo>
                  <a:cubicBezTo>
                    <a:pt x="317" y="598"/>
                    <a:pt x="315" y="594"/>
                    <a:pt x="308" y="594"/>
                  </a:cubicBezTo>
                  <a:cubicBezTo>
                    <a:pt x="308" y="594"/>
                    <a:pt x="308" y="594"/>
                    <a:pt x="308" y="594"/>
                  </a:cubicBezTo>
                  <a:moveTo>
                    <a:pt x="345" y="593"/>
                  </a:moveTo>
                  <a:cubicBezTo>
                    <a:pt x="338" y="593"/>
                    <a:pt x="328" y="598"/>
                    <a:pt x="324" y="604"/>
                  </a:cubicBezTo>
                  <a:cubicBezTo>
                    <a:pt x="320" y="609"/>
                    <a:pt x="322" y="614"/>
                    <a:pt x="329" y="614"/>
                  </a:cubicBezTo>
                  <a:cubicBezTo>
                    <a:pt x="336" y="614"/>
                    <a:pt x="346" y="609"/>
                    <a:pt x="350" y="603"/>
                  </a:cubicBezTo>
                  <a:cubicBezTo>
                    <a:pt x="354" y="598"/>
                    <a:pt x="352" y="593"/>
                    <a:pt x="345" y="593"/>
                  </a:cubicBezTo>
                  <a:cubicBezTo>
                    <a:pt x="345" y="593"/>
                    <a:pt x="345" y="593"/>
                    <a:pt x="345" y="593"/>
                  </a:cubicBezTo>
                  <a:moveTo>
                    <a:pt x="383" y="593"/>
                  </a:moveTo>
                  <a:cubicBezTo>
                    <a:pt x="375" y="593"/>
                    <a:pt x="366" y="598"/>
                    <a:pt x="362" y="603"/>
                  </a:cubicBezTo>
                  <a:cubicBezTo>
                    <a:pt x="358" y="609"/>
                    <a:pt x="360" y="613"/>
                    <a:pt x="367" y="613"/>
                  </a:cubicBezTo>
                  <a:cubicBezTo>
                    <a:pt x="374" y="613"/>
                    <a:pt x="384" y="609"/>
                    <a:pt x="388" y="603"/>
                  </a:cubicBezTo>
                  <a:cubicBezTo>
                    <a:pt x="392" y="598"/>
                    <a:pt x="390" y="593"/>
                    <a:pt x="383" y="593"/>
                  </a:cubicBezTo>
                  <a:cubicBezTo>
                    <a:pt x="383" y="593"/>
                    <a:pt x="383" y="593"/>
                    <a:pt x="383" y="593"/>
                  </a:cubicBezTo>
                  <a:moveTo>
                    <a:pt x="419" y="593"/>
                  </a:moveTo>
                  <a:cubicBezTo>
                    <a:pt x="412" y="593"/>
                    <a:pt x="403" y="598"/>
                    <a:pt x="399" y="603"/>
                  </a:cubicBezTo>
                  <a:cubicBezTo>
                    <a:pt x="395" y="609"/>
                    <a:pt x="397" y="613"/>
                    <a:pt x="404" y="613"/>
                  </a:cubicBezTo>
                  <a:cubicBezTo>
                    <a:pt x="411" y="613"/>
                    <a:pt x="420" y="609"/>
                    <a:pt x="425" y="603"/>
                  </a:cubicBezTo>
                  <a:cubicBezTo>
                    <a:pt x="429" y="597"/>
                    <a:pt x="426" y="593"/>
                    <a:pt x="419" y="593"/>
                  </a:cubicBezTo>
                  <a:cubicBezTo>
                    <a:pt x="419" y="593"/>
                    <a:pt x="419" y="593"/>
                    <a:pt x="419" y="593"/>
                  </a:cubicBezTo>
                  <a:moveTo>
                    <a:pt x="456" y="593"/>
                  </a:moveTo>
                  <a:cubicBezTo>
                    <a:pt x="449" y="593"/>
                    <a:pt x="440" y="597"/>
                    <a:pt x="436" y="603"/>
                  </a:cubicBezTo>
                  <a:cubicBezTo>
                    <a:pt x="432" y="609"/>
                    <a:pt x="434" y="613"/>
                    <a:pt x="441" y="613"/>
                  </a:cubicBezTo>
                  <a:cubicBezTo>
                    <a:pt x="448" y="613"/>
                    <a:pt x="457" y="608"/>
                    <a:pt x="461" y="603"/>
                  </a:cubicBezTo>
                  <a:cubicBezTo>
                    <a:pt x="465" y="597"/>
                    <a:pt x="463" y="593"/>
                    <a:pt x="456" y="593"/>
                  </a:cubicBezTo>
                  <a:cubicBezTo>
                    <a:pt x="456" y="593"/>
                    <a:pt x="456" y="593"/>
                    <a:pt x="456" y="593"/>
                  </a:cubicBezTo>
                  <a:moveTo>
                    <a:pt x="493" y="593"/>
                  </a:moveTo>
                  <a:cubicBezTo>
                    <a:pt x="486" y="593"/>
                    <a:pt x="477" y="597"/>
                    <a:pt x="473" y="603"/>
                  </a:cubicBezTo>
                  <a:cubicBezTo>
                    <a:pt x="469" y="608"/>
                    <a:pt x="471" y="613"/>
                    <a:pt x="479" y="613"/>
                  </a:cubicBezTo>
                  <a:cubicBezTo>
                    <a:pt x="486" y="613"/>
                    <a:pt x="495" y="608"/>
                    <a:pt x="499" y="603"/>
                  </a:cubicBezTo>
                  <a:cubicBezTo>
                    <a:pt x="503" y="597"/>
                    <a:pt x="500" y="593"/>
                    <a:pt x="493" y="593"/>
                  </a:cubicBezTo>
                  <a:cubicBezTo>
                    <a:pt x="493" y="593"/>
                    <a:pt x="493" y="593"/>
                    <a:pt x="493" y="593"/>
                  </a:cubicBezTo>
                  <a:moveTo>
                    <a:pt x="529" y="592"/>
                  </a:moveTo>
                  <a:cubicBezTo>
                    <a:pt x="522" y="592"/>
                    <a:pt x="513" y="597"/>
                    <a:pt x="510" y="602"/>
                  </a:cubicBezTo>
                  <a:cubicBezTo>
                    <a:pt x="506" y="608"/>
                    <a:pt x="508" y="613"/>
                    <a:pt x="515" y="613"/>
                  </a:cubicBezTo>
                  <a:cubicBezTo>
                    <a:pt x="522" y="613"/>
                    <a:pt x="531" y="608"/>
                    <a:pt x="535" y="602"/>
                  </a:cubicBezTo>
                  <a:cubicBezTo>
                    <a:pt x="539" y="597"/>
                    <a:pt x="537" y="592"/>
                    <a:pt x="530" y="592"/>
                  </a:cubicBezTo>
                  <a:cubicBezTo>
                    <a:pt x="530" y="592"/>
                    <a:pt x="530" y="592"/>
                    <a:pt x="529" y="592"/>
                  </a:cubicBezTo>
                  <a:moveTo>
                    <a:pt x="566" y="592"/>
                  </a:moveTo>
                  <a:cubicBezTo>
                    <a:pt x="559" y="592"/>
                    <a:pt x="550" y="597"/>
                    <a:pt x="546" y="602"/>
                  </a:cubicBezTo>
                  <a:cubicBezTo>
                    <a:pt x="542" y="608"/>
                    <a:pt x="545" y="612"/>
                    <a:pt x="552" y="612"/>
                  </a:cubicBezTo>
                  <a:cubicBezTo>
                    <a:pt x="559" y="612"/>
                    <a:pt x="568" y="608"/>
                    <a:pt x="572" y="602"/>
                  </a:cubicBezTo>
                  <a:cubicBezTo>
                    <a:pt x="576" y="597"/>
                    <a:pt x="573" y="592"/>
                    <a:pt x="566" y="592"/>
                  </a:cubicBezTo>
                  <a:cubicBezTo>
                    <a:pt x="566" y="592"/>
                    <a:pt x="566" y="592"/>
                    <a:pt x="566" y="592"/>
                  </a:cubicBezTo>
                  <a:moveTo>
                    <a:pt x="603" y="592"/>
                  </a:moveTo>
                  <a:cubicBezTo>
                    <a:pt x="596" y="592"/>
                    <a:pt x="587" y="596"/>
                    <a:pt x="583" y="602"/>
                  </a:cubicBezTo>
                  <a:cubicBezTo>
                    <a:pt x="579" y="608"/>
                    <a:pt x="582" y="612"/>
                    <a:pt x="589" y="612"/>
                  </a:cubicBezTo>
                  <a:cubicBezTo>
                    <a:pt x="596" y="612"/>
                    <a:pt x="605" y="608"/>
                    <a:pt x="609" y="602"/>
                  </a:cubicBezTo>
                  <a:cubicBezTo>
                    <a:pt x="612" y="596"/>
                    <a:pt x="610" y="592"/>
                    <a:pt x="603" y="592"/>
                  </a:cubicBezTo>
                  <a:cubicBezTo>
                    <a:pt x="603" y="592"/>
                    <a:pt x="603" y="592"/>
                    <a:pt x="603" y="592"/>
                  </a:cubicBezTo>
                  <a:moveTo>
                    <a:pt x="639" y="592"/>
                  </a:moveTo>
                  <a:cubicBezTo>
                    <a:pt x="632" y="592"/>
                    <a:pt x="624" y="596"/>
                    <a:pt x="620" y="602"/>
                  </a:cubicBezTo>
                  <a:cubicBezTo>
                    <a:pt x="616" y="607"/>
                    <a:pt x="619" y="612"/>
                    <a:pt x="626" y="612"/>
                  </a:cubicBezTo>
                  <a:cubicBezTo>
                    <a:pt x="633" y="612"/>
                    <a:pt x="642" y="607"/>
                    <a:pt x="646" y="602"/>
                  </a:cubicBezTo>
                  <a:cubicBezTo>
                    <a:pt x="649" y="596"/>
                    <a:pt x="647" y="592"/>
                    <a:pt x="640" y="592"/>
                  </a:cubicBezTo>
                  <a:cubicBezTo>
                    <a:pt x="640" y="592"/>
                    <a:pt x="639" y="592"/>
                    <a:pt x="639" y="592"/>
                  </a:cubicBezTo>
                  <a:moveTo>
                    <a:pt x="677" y="591"/>
                  </a:moveTo>
                  <a:cubicBezTo>
                    <a:pt x="669" y="591"/>
                    <a:pt x="661" y="596"/>
                    <a:pt x="657" y="602"/>
                  </a:cubicBezTo>
                  <a:cubicBezTo>
                    <a:pt x="653" y="607"/>
                    <a:pt x="656" y="612"/>
                    <a:pt x="663" y="612"/>
                  </a:cubicBezTo>
                  <a:cubicBezTo>
                    <a:pt x="671" y="612"/>
                    <a:pt x="679" y="607"/>
                    <a:pt x="683" y="601"/>
                  </a:cubicBezTo>
                  <a:cubicBezTo>
                    <a:pt x="686" y="596"/>
                    <a:pt x="684" y="591"/>
                    <a:pt x="677" y="591"/>
                  </a:cubicBezTo>
                  <a:cubicBezTo>
                    <a:pt x="677" y="591"/>
                    <a:pt x="677" y="591"/>
                    <a:pt x="677" y="591"/>
                  </a:cubicBezTo>
                  <a:moveTo>
                    <a:pt x="713" y="591"/>
                  </a:moveTo>
                  <a:cubicBezTo>
                    <a:pt x="706" y="591"/>
                    <a:pt x="697" y="596"/>
                    <a:pt x="694" y="601"/>
                  </a:cubicBezTo>
                  <a:cubicBezTo>
                    <a:pt x="690" y="607"/>
                    <a:pt x="693" y="612"/>
                    <a:pt x="700" y="611"/>
                  </a:cubicBezTo>
                  <a:cubicBezTo>
                    <a:pt x="707" y="611"/>
                    <a:pt x="716" y="607"/>
                    <a:pt x="720" y="601"/>
                  </a:cubicBezTo>
                  <a:cubicBezTo>
                    <a:pt x="723" y="596"/>
                    <a:pt x="720" y="591"/>
                    <a:pt x="713" y="591"/>
                  </a:cubicBezTo>
                  <a:cubicBezTo>
                    <a:pt x="713" y="591"/>
                    <a:pt x="713" y="591"/>
                    <a:pt x="713" y="591"/>
                  </a:cubicBezTo>
                  <a:moveTo>
                    <a:pt x="750" y="591"/>
                  </a:moveTo>
                  <a:cubicBezTo>
                    <a:pt x="743" y="591"/>
                    <a:pt x="734" y="596"/>
                    <a:pt x="731" y="601"/>
                  </a:cubicBezTo>
                  <a:cubicBezTo>
                    <a:pt x="727" y="607"/>
                    <a:pt x="730" y="611"/>
                    <a:pt x="737" y="611"/>
                  </a:cubicBezTo>
                  <a:cubicBezTo>
                    <a:pt x="744" y="611"/>
                    <a:pt x="753" y="607"/>
                    <a:pt x="756" y="601"/>
                  </a:cubicBezTo>
                  <a:cubicBezTo>
                    <a:pt x="760" y="595"/>
                    <a:pt x="757" y="591"/>
                    <a:pt x="750" y="591"/>
                  </a:cubicBezTo>
                  <a:cubicBezTo>
                    <a:pt x="750" y="591"/>
                    <a:pt x="750" y="591"/>
                    <a:pt x="750" y="591"/>
                  </a:cubicBezTo>
                  <a:moveTo>
                    <a:pt x="785" y="591"/>
                  </a:moveTo>
                  <a:cubicBezTo>
                    <a:pt x="778" y="591"/>
                    <a:pt x="770" y="595"/>
                    <a:pt x="766" y="601"/>
                  </a:cubicBezTo>
                  <a:cubicBezTo>
                    <a:pt x="763" y="607"/>
                    <a:pt x="766" y="611"/>
                    <a:pt x="773" y="611"/>
                  </a:cubicBezTo>
                  <a:cubicBezTo>
                    <a:pt x="780" y="611"/>
                    <a:pt x="789" y="606"/>
                    <a:pt x="792" y="601"/>
                  </a:cubicBezTo>
                  <a:cubicBezTo>
                    <a:pt x="795" y="595"/>
                    <a:pt x="792" y="591"/>
                    <a:pt x="785" y="591"/>
                  </a:cubicBezTo>
                  <a:cubicBezTo>
                    <a:pt x="785" y="591"/>
                    <a:pt x="785" y="591"/>
                    <a:pt x="785" y="591"/>
                  </a:cubicBezTo>
                  <a:moveTo>
                    <a:pt x="2248" y="582"/>
                  </a:moveTo>
                  <a:cubicBezTo>
                    <a:pt x="2241" y="582"/>
                    <a:pt x="2234" y="586"/>
                    <a:pt x="2234" y="592"/>
                  </a:cubicBezTo>
                  <a:cubicBezTo>
                    <a:pt x="2233" y="598"/>
                    <a:pt x="2239" y="602"/>
                    <a:pt x="2246" y="602"/>
                  </a:cubicBezTo>
                  <a:cubicBezTo>
                    <a:pt x="2253" y="602"/>
                    <a:pt x="2259" y="597"/>
                    <a:pt x="2260" y="592"/>
                  </a:cubicBezTo>
                  <a:cubicBezTo>
                    <a:pt x="2260" y="586"/>
                    <a:pt x="2255" y="582"/>
                    <a:pt x="2248" y="582"/>
                  </a:cubicBezTo>
                  <a:cubicBezTo>
                    <a:pt x="2248" y="582"/>
                    <a:pt x="2248" y="582"/>
                    <a:pt x="2248" y="582"/>
                  </a:cubicBezTo>
                  <a:moveTo>
                    <a:pt x="1921" y="581"/>
                  </a:moveTo>
                  <a:cubicBezTo>
                    <a:pt x="1914" y="581"/>
                    <a:pt x="1907" y="586"/>
                    <a:pt x="1906" y="591"/>
                  </a:cubicBezTo>
                  <a:cubicBezTo>
                    <a:pt x="1905" y="597"/>
                    <a:pt x="1910" y="601"/>
                    <a:pt x="1917" y="601"/>
                  </a:cubicBezTo>
                  <a:cubicBezTo>
                    <a:pt x="1924" y="601"/>
                    <a:pt x="1931" y="597"/>
                    <a:pt x="1932" y="591"/>
                  </a:cubicBezTo>
                  <a:cubicBezTo>
                    <a:pt x="1933" y="585"/>
                    <a:pt x="1928" y="581"/>
                    <a:pt x="1921" y="581"/>
                  </a:cubicBezTo>
                  <a:cubicBezTo>
                    <a:pt x="1921" y="581"/>
                    <a:pt x="1921" y="581"/>
                    <a:pt x="1921" y="581"/>
                  </a:cubicBezTo>
                  <a:moveTo>
                    <a:pt x="1957" y="581"/>
                  </a:moveTo>
                  <a:cubicBezTo>
                    <a:pt x="1950" y="581"/>
                    <a:pt x="1944" y="585"/>
                    <a:pt x="1942" y="591"/>
                  </a:cubicBezTo>
                  <a:cubicBezTo>
                    <a:pt x="1941" y="597"/>
                    <a:pt x="1946" y="601"/>
                    <a:pt x="1953" y="601"/>
                  </a:cubicBezTo>
                  <a:cubicBezTo>
                    <a:pt x="1960" y="601"/>
                    <a:pt x="1967" y="596"/>
                    <a:pt x="1968" y="591"/>
                  </a:cubicBezTo>
                  <a:cubicBezTo>
                    <a:pt x="1969" y="585"/>
                    <a:pt x="1964" y="581"/>
                    <a:pt x="1957" y="581"/>
                  </a:cubicBezTo>
                  <a:cubicBezTo>
                    <a:pt x="1957" y="581"/>
                    <a:pt x="1957" y="581"/>
                    <a:pt x="1957" y="581"/>
                  </a:cubicBezTo>
                  <a:moveTo>
                    <a:pt x="1994" y="580"/>
                  </a:moveTo>
                  <a:cubicBezTo>
                    <a:pt x="1987" y="581"/>
                    <a:pt x="1980" y="585"/>
                    <a:pt x="1979" y="591"/>
                  </a:cubicBezTo>
                  <a:cubicBezTo>
                    <a:pt x="1978" y="596"/>
                    <a:pt x="1983" y="601"/>
                    <a:pt x="1990" y="601"/>
                  </a:cubicBezTo>
                  <a:cubicBezTo>
                    <a:pt x="1997" y="601"/>
                    <a:pt x="2004" y="596"/>
                    <a:pt x="2005" y="591"/>
                  </a:cubicBezTo>
                  <a:cubicBezTo>
                    <a:pt x="2006" y="585"/>
                    <a:pt x="2001" y="580"/>
                    <a:pt x="1994" y="580"/>
                  </a:cubicBezTo>
                  <a:cubicBezTo>
                    <a:pt x="1994" y="580"/>
                    <a:pt x="1994" y="580"/>
                    <a:pt x="1994" y="580"/>
                  </a:cubicBezTo>
                  <a:moveTo>
                    <a:pt x="2397" y="579"/>
                  </a:moveTo>
                  <a:cubicBezTo>
                    <a:pt x="2390" y="579"/>
                    <a:pt x="2384" y="583"/>
                    <a:pt x="2384" y="589"/>
                  </a:cubicBezTo>
                  <a:cubicBezTo>
                    <a:pt x="2384" y="595"/>
                    <a:pt x="2389" y="599"/>
                    <a:pt x="2396" y="599"/>
                  </a:cubicBezTo>
                  <a:cubicBezTo>
                    <a:pt x="2404" y="599"/>
                    <a:pt x="2409" y="594"/>
                    <a:pt x="2410" y="589"/>
                  </a:cubicBezTo>
                  <a:cubicBezTo>
                    <a:pt x="2410" y="583"/>
                    <a:pt x="2404" y="579"/>
                    <a:pt x="2397" y="579"/>
                  </a:cubicBezTo>
                  <a:cubicBezTo>
                    <a:pt x="2397" y="579"/>
                    <a:pt x="2397" y="579"/>
                    <a:pt x="2397" y="579"/>
                  </a:cubicBezTo>
                  <a:moveTo>
                    <a:pt x="2470" y="578"/>
                  </a:moveTo>
                  <a:cubicBezTo>
                    <a:pt x="2463" y="578"/>
                    <a:pt x="2457" y="583"/>
                    <a:pt x="2457" y="588"/>
                  </a:cubicBezTo>
                  <a:cubicBezTo>
                    <a:pt x="2457" y="594"/>
                    <a:pt x="2463" y="599"/>
                    <a:pt x="2470" y="599"/>
                  </a:cubicBezTo>
                  <a:cubicBezTo>
                    <a:pt x="2477" y="599"/>
                    <a:pt x="2483" y="594"/>
                    <a:pt x="2483" y="588"/>
                  </a:cubicBezTo>
                  <a:cubicBezTo>
                    <a:pt x="2483" y="583"/>
                    <a:pt x="2477" y="578"/>
                    <a:pt x="2470" y="578"/>
                  </a:cubicBezTo>
                  <a:cubicBezTo>
                    <a:pt x="2470" y="578"/>
                    <a:pt x="2470" y="578"/>
                    <a:pt x="2470" y="578"/>
                  </a:cubicBezTo>
                  <a:moveTo>
                    <a:pt x="2506" y="578"/>
                  </a:moveTo>
                  <a:cubicBezTo>
                    <a:pt x="2499" y="578"/>
                    <a:pt x="2493" y="583"/>
                    <a:pt x="2493" y="588"/>
                  </a:cubicBezTo>
                  <a:cubicBezTo>
                    <a:pt x="2493" y="594"/>
                    <a:pt x="2499" y="598"/>
                    <a:pt x="2506" y="598"/>
                  </a:cubicBezTo>
                  <a:cubicBezTo>
                    <a:pt x="2513" y="598"/>
                    <a:pt x="2519" y="594"/>
                    <a:pt x="2519" y="588"/>
                  </a:cubicBezTo>
                  <a:cubicBezTo>
                    <a:pt x="2519" y="582"/>
                    <a:pt x="2513" y="578"/>
                    <a:pt x="2506" y="578"/>
                  </a:cubicBezTo>
                  <a:cubicBezTo>
                    <a:pt x="2506" y="578"/>
                    <a:pt x="2506" y="578"/>
                    <a:pt x="2506" y="578"/>
                  </a:cubicBezTo>
                  <a:moveTo>
                    <a:pt x="2543" y="578"/>
                  </a:moveTo>
                  <a:cubicBezTo>
                    <a:pt x="2536" y="578"/>
                    <a:pt x="2530" y="582"/>
                    <a:pt x="2530" y="588"/>
                  </a:cubicBezTo>
                  <a:cubicBezTo>
                    <a:pt x="2530" y="594"/>
                    <a:pt x="2536" y="598"/>
                    <a:pt x="2543" y="598"/>
                  </a:cubicBezTo>
                  <a:cubicBezTo>
                    <a:pt x="2550" y="598"/>
                    <a:pt x="2556" y="594"/>
                    <a:pt x="2556" y="588"/>
                  </a:cubicBezTo>
                  <a:cubicBezTo>
                    <a:pt x="2556" y="582"/>
                    <a:pt x="2550" y="578"/>
                    <a:pt x="2543" y="578"/>
                  </a:cubicBezTo>
                  <a:cubicBezTo>
                    <a:pt x="2543" y="578"/>
                    <a:pt x="2543" y="578"/>
                    <a:pt x="2543" y="578"/>
                  </a:cubicBezTo>
                  <a:moveTo>
                    <a:pt x="2617" y="578"/>
                  </a:moveTo>
                  <a:cubicBezTo>
                    <a:pt x="2610" y="578"/>
                    <a:pt x="2605" y="582"/>
                    <a:pt x="2605" y="588"/>
                  </a:cubicBezTo>
                  <a:cubicBezTo>
                    <a:pt x="2605" y="594"/>
                    <a:pt x="2611" y="598"/>
                    <a:pt x="2618" y="598"/>
                  </a:cubicBezTo>
                  <a:cubicBezTo>
                    <a:pt x="2625" y="598"/>
                    <a:pt x="2631" y="593"/>
                    <a:pt x="2630" y="588"/>
                  </a:cubicBezTo>
                  <a:cubicBezTo>
                    <a:pt x="2630" y="582"/>
                    <a:pt x="2624" y="578"/>
                    <a:pt x="2617" y="578"/>
                  </a:cubicBezTo>
                  <a:cubicBezTo>
                    <a:pt x="2617" y="578"/>
                    <a:pt x="2617" y="578"/>
                    <a:pt x="2617" y="578"/>
                  </a:cubicBezTo>
                  <a:moveTo>
                    <a:pt x="2580" y="578"/>
                  </a:moveTo>
                  <a:cubicBezTo>
                    <a:pt x="2573" y="578"/>
                    <a:pt x="2567" y="582"/>
                    <a:pt x="2567" y="588"/>
                  </a:cubicBezTo>
                  <a:cubicBezTo>
                    <a:pt x="2567" y="593"/>
                    <a:pt x="2573" y="598"/>
                    <a:pt x="2580" y="598"/>
                  </a:cubicBezTo>
                  <a:cubicBezTo>
                    <a:pt x="2588" y="598"/>
                    <a:pt x="2593" y="593"/>
                    <a:pt x="2593" y="588"/>
                  </a:cubicBezTo>
                  <a:cubicBezTo>
                    <a:pt x="2593" y="582"/>
                    <a:pt x="2587" y="578"/>
                    <a:pt x="2580" y="578"/>
                  </a:cubicBezTo>
                  <a:cubicBezTo>
                    <a:pt x="2580" y="578"/>
                    <a:pt x="2580" y="578"/>
                    <a:pt x="2580" y="578"/>
                  </a:cubicBezTo>
                  <a:moveTo>
                    <a:pt x="2762" y="577"/>
                  </a:moveTo>
                  <a:cubicBezTo>
                    <a:pt x="2755" y="577"/>
                    <a:pt x="2750" y="582"/>
                    <a:pt x="2750" y="588"/>
                  </a:cubicBezTo>
                  <a:cubicBezTo>
                    <a:pt x="2751" y="593"/>
                    <a:pt x="2757" y="598"/>
                    <a:pt x="2764" y="598"/>
                  </a:cubicBezTo>
                  <a:cubicBezTo>
                    <a:pt x="2771" y="598"/>
                    <a:pt x="2776" y="593"/>
                    <a:pt x="2776" y="588"/>
                  </a:cubicBezTo>
                  <a:cubicBezTo>
                    <a:pt x="2775" y="582"/>
                    <a:pt x="2769" y="577"/>
                    <a:pt x="2762" y="577"/>
                  </a:cubicBezTo>
                  <a:cubicBezTo>
                    <a:pt x="2762" y="577"/>
                    <a:pt x="2762" y="577"/>
                    <a:pt x="2762" y="577"/>
                  </a:cubicBezTo>
                  <a:moveTo>
                    <a:pt x="2799" y="577"/>
                  </a:moveTo>
                  <a:cubicBezTo>
                    <a:pt x="2792" y="577"/>
                    <a:pt x="2787" y="582"/>
                    <a:pt x="2787" y="587"/>
                  </a:cubicBezTo>
                  <a:cubicBezTo>
                    <a:pt x="2788" y="593"/>
                    <a:pt x="2794" y="598"/>
                    <a:pt x="2801" y="598"/>
                  </a:cubicBezTo>
                  <a:cubicBezTo>
                    <a:pt x="2808" y="598"/>
                    <a:pt x="2813" y="593"/>
                    <a:pt x="2813" y="587"/>
                  </a:cubicBezTo>
                  <a:cubicBezTo>
                    <a:pt x="2812" y="582"/>
                    <a:pt x="2806" y="577"/>
                    <a:pt x="2799" y="577"/>
                  </a:cubicBezTo>
                  <a:cubicBezTo>
                    <a:pt x="2799" y="577"/>
                    <a:pt x="2799" y="577"/>
                    <a:pt x="2799" y="577"/>
                  </a:cubicBezTo>
                  <a:moveTo>
                    <a:pt x="2833" y="577"/>
                  </a:moveTo>
                  <a:cubicBezTo>
                    <a:pt x="2826" y="577"/>
                    <a:pt x="2821" y="582"/>
                    <a:pt x="2822" y="587"/>
                  </a:cubicBezTo>
                  <a:cubicBezTo>
                    <a:pt x="2822" y="593"/>
                    <a:pt x="2829" y="597"/>
                    <a:pt x="2836" y="597"/>
                  </a:cubicBezTo>
                  <a:cubicBezTo>
                    <a:pt x="2843" y="597"/>
                    <a:pt x="2848" y="593"/>
                    <a:pt x="2847" y="587"/>
                  </a:cubicBezTo>
                  <a:cubicBezTo>
                    <a:pt x="2847" y="581"/>
                    <a:pt x="2840" y="577"/>
                    <a:pt x="2833" y="577"/>
                  </a:cubicBezTo>
                  <a:cubicBezTo>
                    <a:pt x="2833" y="577"/>
                    <a:pt x="2833" y="577"/>
                    <a:pt x="2833" y="577"/>
                  </a:cubicBezTo>
                  <a:moveTo>
                    <a:pt x="2870" y="577"/>
                  </a:moveTo>
                  <a:cubicBezTo>
                    <a:pt x="2862" y="577"/>
                    <a:pt x="2857" y="581"/>
                    <a:pt x="2858" y="587"/>
                  </a:cubicBezTo>
                  <a:cubicBezTo>
                    <a:pt x="2859" y="593"/>
                    <a:pt x="2865" y="597"/>
                    <a:pt x="2872" y="597"/>
                  </a:cubicBezTo>
                  <a:cubicBezTo>
                    <a:pt x="2879" y="597"/>
                    <a:pt x="2885" y="593"/>
                    <a:pt x="2884" y="587"/>
                  </a:cubicBezTo>
                  <a:cubicBezTo>
                    <a:pt x="2883" y="581"/>
                    <a:pt x="2877" y="577"/>
                    <a:pt x="2870" y="577"/>
                  </a:cubicBezTo>
                  <a:cubicBezTo>
                    <a:pt x="2870" y="577"/>
                    <a:pt x="2870" y="577"/>
                    <a:pt x="2870" y="577"/>
                  </a:cubicBezTo>
                  <a:moveTo>
                    <a:pt x="2653" y="577"/>
                  </a:moveTo>
                  <a:cubicBezTo>
                    <a:pt x="2646" y="577"/>
                    <a:pt x="2641" y="581"/>
                    <a:pt x="2641" y="587"/>
                  </a:cubicBezTo>
                  <a:cubicBezTo>
                    <a:pt x="2641" y="593"/>
                    <a:pt x="2647" y="597"/>
                    <a:pt x="2655" y="597"/>
                  </a:cubicBezTo>
                  <a:cubicBezTo>
                    <a:pt x="2662" y="597"/>
                    <a:pt x="2667" y="592"/>
                    <a:pt x="2667" y="587"/>
                  </a:cubicBezTo>
                  <a:cubicBezTo>
                    <a:pt x="2666" y="581"/>
                    <a:pt x="2661" y="577"/>
                    <a:pt x="2653" y="577"/>
                  </a:cubicBezTo>
                  <a:cubicBezTo>
                    <a:pt x="2653" y="577"/>
                    <a:pt x="2653" y="577"/>
                    <a:pt x="2653" y="577"/>
                  </a:cubicBezTo>
                  <a:moveTo>
                    <a:pt x="2906" y="577"/>
                  </a:moveTo>
                  <a:cubicBezTo>
                    <a:pt x="2899" y="577"/>
                    <a:pt x="2894" y="581"/>
                    <a:pt x="2895" y="587"/>
                  </a:cubicBezTo>
                  <a:cubicBezTo>
                    <a:pt x="2896" y="592"/>
                    <a:pt x="2902" y="597"/>
                    <a:pt x="2909" y="597"/>
                  </a:cubicBezTo>
                  <a:cubicBezTo>
                    <a:pt x="2916" y="597"/>
                    <a:pt x="2921" y="592"/>
                    <a:pt x="2921" y="587"/>
                  </a:cubicBezTo>
                  <a:cubicBezTo>
                    <a:pt x="2920" y="581"/>
                    <a:pt x="2913" y="577"/>
                    <a:pt x="2906" y="577"/>
                  </a:cubicBezTo>
                  <a:cubicBezTo>
                    <a:pt x="2906" y="577"/>
                    <a:pt x="2906" y="577"/>
                    <a:pt x="2906" y="577"/>
                  </a:cubicBezTo>
                  <a:moveTo>
                    <a:pt x="2689" y="576"/>
                  </a:moveTo>
                  <a:cubicBezTo>
                    <a:pt x="2682" y="576"/>
                    <a:pt x="2677" y="581"/>
                    <a:pt x="2677" y="587"/>
                  </a:cubicBezTo>
                  <a:cubicBezTo>
                    <a:pt x="2678" y="592"/>
                    <a:pt x="2684" y="597"/>
                    <a:pt x="2691" y="597"/>
                  </a:cubicBezTo>
                  <a:cubicBezTo>
                    <a:pt x="2698" y="597"/>
                    <a:pt x="2703" y="592"/>
                    <a:pt x="2703" y="587"/>
                  </a:cubicBezTo>
                  <a:cubicBezTo>
                    <a:pt x="2703" y="581"/>
                    <a:pt x="2697" y="576"/>
                    <a:pt x="2689" y="576"/>
                  </a:cubicBezTo>
                  <a:cubicBezTo>
                    <a:pt x="2689" y="576"/>
                    <a:pt x="2689" y="576"/>
                    <a:pt x="2689" y="576"/>
                  </a:cubicBezTo>
                  <a:moveTo>
                    <a:pt x="2943" y="576"/>
                  </a:moveTo>
                  <a:cubicBezTo>
                    <a:pt x="2936" y="576"/>
                    <a:pt x="2931" y="581"/>
                    <a:pt x="2932" y="587"/>
                  </a:cubicBezTo>
                  <a:cubicBezTo>
                    <a:pt x="2933" y="592"/>
                    <a:pt x="2939" y="597"/>
                    <a:pt x="2946" y="597"/>
                  </a:cubicBezTo>
                  <a:cubicBezTo>
                    <a:pt x="2953" y="597"/>
                    <a:pt x="2958" y="592"/>
                    <a:pt x="2958" y="586"/>
                  </a:cubicBezTo>
                  <a:cubicBezTo>
                    <a:pt x="2957" y="581"/>
                    <a:pt x="2950" y="576"/>
                    <a:pt x="2943" y="576"/>
                  </a:cubicBezTo>
                  <a:cubicBezTo>
                    <a:pt x="2943" y="576"/>
                    <a:pt x="2943" y="576"/>
                    <a:pt x="2943" y="576"/>
                  </a:cubicBezTo>
                  <a:moveTo>
                    <a:pt x="2726" y="576"/>
                  </a:moveTo>
                  <a:cubicBezTo>
                    <a:pt x="2719" y="576"/>
                    <a:pt x="2713" y="581"/>
                    <a:pt x="2714" y="587"/>
                  </a:cubicBezTo>
                  <a:cubicBezTo>
                    <a:pt x="2714" y="592"/>
                    <a:pt x="2720" y="597"/>
                    <a:pt x="2727" y="597"/>
                  </a:cubicBezTo>
                  <a:cubicBezTo>
                    <a:pt x="2734" y="597"/>
                    <a:pt x="2740" y="592"/>
                    <a:pt x="2739" y="586"/>
                  </a:cubicBezTo>
                  <a:cubicBezTo>
                    <a:pt x="2739" y="581"/>
                    <a:pt x="2733" y="576"/>
                    <a:pt x="2726" y="576"/>
                  </a:cubicBezTo>
                  <a:cubicBezTo>
                    <a:pt x="2726" y="576"/>
                    <a:pt x="2726" y="576"/>
                    <a:pt x="2726" y="576"/>
                  </a:cubicBezTo>
                  <a:moveTo>
                    <a:pt x="2979" y="576"/>
                  </a:moveTo>
                  <a:cubicBezTo>
                    <a:pt x="2972" y="576"/>
                    <a:pt x="2967" y="581"/>
                    <a:pt x="2968" y="586"/>
                  </a:cubicBezTo>
                  <a:cubicBezTo>
                    <a:pt x="2969" y="592"/>
                    <a:pt x="2976" y="597"/>
                    <a:pt x="2983" y="597"/>
                  </a:cubicBezTo>
                  <a:cubicBezTo>
                    <a:pt x="2990" y="597"/>
                    <a:pt x="2995" y="592"/>
                    <a:pt x="2994" y="586"/>
                  </a:cubicBezTo>
                  <a:cubicBezTo>
                    <a:pt x="2993" y="581"/>
                    <a:pt x="2986" y="576"/>
                    <a:pt x="2979" y="576"/>
                  </a:cubicBezTo>
                  <a:cubicBezTo>
                    <a:pt x="2979" y="576"/>
                    <a:pt x="2979" y="576"/>
                    <a:pt x="2979" y="576"/>
                  </a:cubicBezTo>
                  <a:moveTo>
                    <a:pt x="3016" y="576"/>
                  </a:moveTo>
                  <a:cubicBezTo>
                    <a:pt x="3009" y="576"/>
                    <a:pt x="3004" y="581"/>
                    <a:pt x="3005" y="586"/>
                  </a:cubicBezTo>
                  <a:cubicBezTo>
                    <a:pt x="3006" y="592"/>
                    <a:pt x="3013" y="596"/>
                    <a:pt x="3020" y="596"/>
                  </a:cubicBezTo>
                  <a:cubicBezTo>
                    <a:pt x="3027" y="596"/>
                    <a:pt x="3032" y="592"/>
                    <a:pt x="3031" y="586"/>
                  </a:cubicBezTo>
                  <a:cubicBezTo>
                    <a:pt x="3030" y="580"/>
                    <a:pt x="3023" y="576"/>
                    <a:pt x="3016" y="576"/>
                  </a:cubicBezTo>
                  <a:cubicBezTo>
                    <a:pt x="3016" y="576"/>
                    <a:pt x="3016" y="576"/>
                    <a:pt x="3016" y="576"/>
                  </a:cubicBezTo>
                  <a:moveTo>
                    <a:pt x="3052" y="576"/>
                  </a:moveTo>
                  <a:cubicBezTo>
                    <a:pt x="3045" y="576"/>
                    <a:pt x="3040" y="580"/>
                    <a:pt x="3041" y="586"/>
                  </a:cubicBezTo>
                  <a:cubicBezTo>
                    <a:pt x="3042" y="592"/>
                    <a:pt x="3049" y="596"/>
                    <a:pt x="3056" y="596"/>
                  </a:cubicBezTo>
                  <a:cubicBezTo>
                    <a:pt x="3063" y="596"/>
                    <a:pt x="3068" y="591"/>
                    <a:pt x="3067" y="586"/>
                  </a:cubicBezTo>
                  <a:cubicBezTo>
                    <a:pt x="3066" y="580"/>
                    <a:pt x="3059" y="576"/>
                    <a:pt x="3052" y="576"/>
                  </a:cubicBezTo>
                  <a:cubicBezTo>
                    <a:pt x="3052" y="576"/>
                    <a:pt x="3052" y="576"/>
                    <a:pt x="3052" y="576"/>
                  </a:cubicBezTo>
                  <a:moveTo>
                    <a:pt x="3089" y="575"/>
                  </a:moveTo>
                  <a:cubicBezTo>
                    <a:pt x="3082" y="575"/>
                    <a:pt x="3077" y="580"/>
                    <a:pt x="3078" y="586"/>
                  </a:cubicBezTo>
                  <a:cubicBezTo>
                    <a:pt x="3079" y="591"/>
                    <a:pt x="3086" y="596"/>
                    <a:pt x="3093" y="596"/>
                  </a:cubicBezTo>
                  <a:cubicBezTo>
                    <a:pt x="3100" y="596"/>
                    <a:pt x="3105" y="591"/>
                    <a:pt x="3104" y="586"/>
                  </a:cubicBezTo>
                  <a:cubicBezTo>
                    <a:pt x="3102" y="580"/>
                    <a:pt x="3096" y="575"/>
                    <a:pt x="3089" y="575"/>
                  </a:cubicBezTo>
                  <a:cubicBezTo>
                    <a:pt x="3089" y="575"/>
                    <a:pt x="3089" y="575"/>
                    <a:pt x="3089" y="575"/>
                  </a:cubicBezTo>
                  <a:moveTo>
                    <a:pt x="3126" y="575"/>
                  </a:moveTo>
                  <a:cubicBezTo>
                    <a:pt x="3119" y="575"/>
                    <a:pt x="3115" y="580"/>
                    <a:pt x="3116" y="586"/>
                  </a:cubicBezTo>
                  <a:cubicBezTo>
                    <a:pt x="3117" y="591"/>
                    <a:pt x="3124" y="596"/>
                    <a:pt x="3131" y="596"/>
                  </a:cubicBezTo>
                  <a:cubicBezTo>
                    <a:pt x="3138" y="596"/>
                    <a:pt x="3143" y="591"/>
                    <a:pt x="3141" y="585"/>
                  </a:cubicBezTo>
                  <a:cubicBezTo>
                    <a:pt x="3140" y="580"/>
                    <a:pt x="3133" y="575"/>
                    <a:pt x="3126" y="575"/>
                  </a:cubicBezTo>
                  <a:cubicBezTo>
                    <a:pt x="3126" y="575"/>
                    <a:pt x="3126" y="575"/>
                    <a:pt x="3126" y="575"/>
                  </a:cubicBezTo>
                  <a:moveTo>
                    <a:pt x="3163" y="575"/>
                  </a:moveTo>
                  <a:cubicBezTo>
                    <a:pt x="3156" y="575"/>
                    <a:pt x="3151" y="580"/>
                    <a:pt x="3152" y="585"/>
                  </a:cubicBezTo>
                  <a:cubicBezTo>
                    <a:pt x="3154" y="591"/>
                    <a:pt x="3160" y="596"/>
                    <a:pt x="3168" y="595"/>
                  </a:cubicBezTo>
                  <a:cubicBezTo>
                    <a:pt x="3175" y="595"/>
                    <a:pt x="3179" y="591"/>
                    <a:pt x="3178" y="585"/>
                  </a:cubicBezTo>
                  <a:cubicBezTo>
                    <a:pt x="3177" y="579"/>
                    <a:pt x="3170" y="575"/>
                    <a:pt x="3163" y="575"/>
                  </a:cubicBezTo>
                  <a:cubicBezTo>
                    <a:pt x="3163" y="575"/>
                    <a:pt x="3163" y="575"/>
                    <a:pt x="3163" y="575"/>
                  </a:cubicBezTo>
                  <a:moveTo>
                    <a:pt x="3199" y="575"/>
                  </a:moveTo>
                  <a:cubicBezTo>
                    <a:pt x="3192" y="575"/>
                    <a:pt x="3188" y="579"/>
                    <a:pt x="3189" y="585"/>
                  </a:cubicBezTo>
                  <a:cubicBezTo>
                    <a:pt x="3190" y="591"/>
                    <a:pt x="3197" y="595"/>
                    <a:pt x="3204" y="595"/>
                  </a:cubicBezTo>
                  <a:cubicBezTo>
                    <a:pt x="3211" y="595"/>
                    <a:pt x="3216" y="591"/>
                    <a:pt x="3215" y="585"/>
                  </a:cubicBezTo>
                  <a:cubicBezTo>
                    <a:pt x="3213" y="579"/>
                    <a:pt x="3206" y="575"/>
                    <a:pt x="3199" y="575"/>
                  </a:cubicBezTo>
                  <a:cubicBezTo>
                    <a:pt x="3199" y="575"/>
                    <a:pt x="3199" y="575"/>
                    <a:pt x="3199" y="575"/>
                  </a:cubicBezTo>
                  <a:moveTo>
                    <a:pt x="3236" y="575"/>
                  </a:moveTo>
                  <a:cubicBezTo>
                    <a:pt x="3229" y="575"/>
                    <a:pt x="3225" y="579"/>
                    <a:pt x="3226" y="585"/>
                  </a:cubicBezTo>
                  <a:cubicBezTo>
                    <a:pt x="3227" y="591"/>
                    <a:pt x="3234" y="595"/>
                    <a:pt x="3242" y="595"/>
                  </a:cubicBezTo>
                  <a:cubicBezTo>
                    <a:pt x="3249" y="595"/>
                    <a:pt x="3253" y="590"/>
                    <a:pt x="3252" y="585"/>
                  </a:cubicBezTo>
                  <a:cubicBezTo>
                    <a:pt x="3250" y="579"/>
                    <a:pt x="3243" y="575"/>
                    <a:pt x="3236" y="575"/>
                  </a:cubicBezTo>
                  <a:cubicBezTo>
                    <a:pt x="3236" y="575"/>
                    <a:pt x="3236" y="575"/>
                    <a:pt x="3236" y="575"/>
                  </a:cubicBezTo>
                  <a:moveTo>
                    <a:pt x="3272" y="574"/>
                  </a:moveTo>
                  <a:cubicBezTo>
                    <a:pt x="3265" y="574"/>
                    <a:pt x="3261" y="579"/>
                    <a:pt x="3262" y="585"/>
                  </a:cubicBezTo>
                  <a:cubicBezTo>
                    <a:pt x="3264" y="590"/>
                    <a:pt x="3271" y="595"/>
                    <a:pt x="3278" y="595"/>
                  </a:cubicBezTo>
                  <a:cubicBezTo>
                    <a:pt x="3285" y="595"/>
                    <a:pt x="3290" y="590"/>
                    <a:pt x="3288" y="584"/>
                  </a:cubicBezTo>
                  <a:cubicBezTo>
                    <a:pt x="3286" y="579"/>
                    <a:pt x="3279" y="574"/>
                    <a:pt x="3272" y="574"/>
                  </a:cubicBezTo>
                  <a:cubicBezTo>
                    <a:pt x="3272" y="574"/>
                    <a:pt x="3272" y="574"/>
                    <a:pt x="3272" y="574"/>
                  </a:cubicBezTo>
                  <a:moveTo>
                    <a:pt x="3309" y="574"/>
                  </a:moveTo>
                  <a:cubicBezTo>
                    <a:pt x="3302" y="574"/>
                    <a:pt x="3297" y="579"/>
                    <a:pt x="3299" y="584"/>
                  </a:cubicBezTo>
                  <a:cubicBezTo>
                    <a:pt x="3301" y="590"/>
                    <a:pt x="3308" y="595"/>
                    <a:pt x="3315" y="595"/>
                  </a:cubicBezTo>
                  <a:cubicBezTo>
                    <a:pt x="3322" y="595"/>
                    <a:pt x="3326" y="590"/>
                    <a:pt x="3325" y="584"/>
                  </a:cubicBezTo>
                  <a:cubicBezTo>
                    <a:pt x="3323" y="579"/>
                    <a:pt x="3316" y="574"/>
                    <a:pt x="3309" y="574"/>
                  </a:cubicBezTo>
                  <a:cubicBezTo>
                    <a:pt x="3309" y="574"/>
                    <a:pt x="3309" y="574"/>
                    <a:pt x="3309" y="574"/>
                  </a:cubicBezTo>
                  <a:moveTo>
                    <a:pt x="3345" y="574"/>
                  </a:moveTo>
                  <a:cubicBezTo>
                    <a:pt x="3338" y="574"/>
                    <a:pt x="3334" y="579"/>
                    <a:pt x="3335" y="584"/>
                  </a:cubicBezTo>
                  <a:cubicBezTo>
                    <a:pt x="3337" y="590"/>
                    <a:pt x="3344" y="594"/>
                    <a:pt x="3351" y="594"/>
                  </a:cubicBezTo>
                  <a:cubicBezTo>
                    <a:pt x="3358" y="594"/>
                    <a:pt x="3363" y="590"/>
                    <a:pt x="3361" y="584"/>
                  </a:cubicBezTo>
                  <a:cubicBezTo>
                    <a:pt x="3359" y="578"/>
                    <a:pt x="3352" y="574"/>
                    <a:pt x="3345" y="574"/>
                  </a:cubicBezTo>
                  <a:cubicBezTo>
                    <a:pt x="3345" y="574"/>
                    <a:pt x="3345" y="574"/>
                    <a:pt x="3345" y="574"/>
                  </a:cubicBezTo>
                  <a:moveTo>
                    <a:pt x="3382" y="574"/>
                  </a:moveTo>
                  <a:cubicBezTo>
                    <a:pt x="3375" y="574"/>
                    <a:pt x="3370" y="578"/>
                    <a:pt x="3372" y="584"/>
                  </a:cubicBezTo>
                  <a:cubicBezTo>
                    <a:pt x="3374" y="590"/>
                    <a:pt x="3381" y="594"/>
                    <a:pt x="3388" y="594"/>
                  </a:cubicBezTo>
                  <a:cubicBezTo>
                    <a:pt x="3395" y="594"/>
                    <a:pt x="3400" y="589"/>
                    <a:pt x="3398" y="584"/>
                  </a:cubicBezTo>
                  <a:cubicBezTo>
                    <a:pt x="3396" y="578"/>
                    <a:pt x="3389" y="574"/>
                    <a:pt x="3382" y="574"/>
                  </a:cubicBezTo>
                  <a:cubicBezTo>
                    <a:pt x="3382" y="574"/>
                    <a:pt x="3382" y="574"/>
                    <a:pt x="3382" y="574"/>
                  </a:cubicBezTo>
                  <a:moveTo>
                    <a:pt x="3419" y="573"/>
                  </a:moveTo>
                  <a:cubicBezTo>
                    <a:pt x="3411" y="573"/>
                    <a:pt x="3407" y="578"/>
                    <a:pt x="3409" y="584"/>
                  </a:cubicBezTo>
                  <a:cubicBezTo>
                    <a:pt x="3411" y="589"/>
                    <a:pt x="3418" y="594"/>
                    <a:pt x="3425" y="594"/>
                  </a:cubicBezTo>
                  <a:cubicBezTo>
                    <a:pt x="3432" y="594"/>
                    <a:pt x="3437" y="589"/>
                    <a:pt x="3435" y="584"/>
                  </a:cubicBezTo>
                  <a:cubicBezTo>
                    <a:pt x="3433" y="578"/>
                    <a:pt x="3426" y="573"/>
                    <a:pt x="3419" y="573"/>
                  </a:cubicBezTo>
                  <a:cubicBezTo>
                    <a:pt x="3419" y="573"/>
                    <a:pt x="3419" y="573"/>
                    <a:pt x="3419" y="573"/>
                  </a:cubicBezTo>
                  <a:moveTo>
                    <a:pt x="3638" y="573"/>
                  </a:moveTo>
                  <a:cubicBezTo>
                    <a:pt x="3631" y="573"/>
                    <a:pt x="3627" y="578"/>
                    <a:pt x="3629" y="584"/>
                  </a:cubicBezTo>
                  <a:cubicBezTo>
                    <a:pt x="3631" y="589"/>
                    <a:pt x="3639" y="594"/>
                    <a:pt x="3646" y="594"/>
                  </a:cubicBezTo>
                  <a:cubicBezTo>
                    <a:pt x="3653" y="594"/>
                    <a:pt x="3657" y="589"/>
                    <a:pt x="3655" y="583"/>
                  </a:cubicBezTo>
                  <a:cubicBezTo>
                    <a:pt x="3652" y="578"/>
                    <a:pt x="3645" y="573"/>
                    <a:pt x="3638" y="573"/>
                  </a:cubicBezTo>
                  <a:cubicBezTo>
                    <a:pt x="3638" y="573"/>
                    <a:pt x="3638" y="573"/>
                    <a:pt x="3638" y="573"/>
                  </a:cubicBezTo>
                  <a:moveTo>
                    <a:pt x="3455" y="573"/>
                  </a:moveTo>
                  <a:cubicBezTo>
                    <a:pt x="3448" y="573"/>
                    <a:pt x="3444" y="578"/>
                    <a:pt x="3445" y="584"/>
                  </a:cubicBezTo>
                  <a:cubicBezTo>
                    <a:pt x="3447" y="589"/>
                    <a:pt x="3455" y="594"/>
                    <a:pt x="3462" y="594"/>
                  </a:cubicBezTo>
                  <a:cubicBezTo>
                    <a:pt x="3469" y="594"/>
                    <a:pt x="3473" y="589"/>
                    <a:pt x="3471" y="583"/>
                  </a:cubicBezTo>
                  <a:cubicBezTo>
                    <a:pt x="3469" y="578"/>
                    <a:pt x="3462" y="573"/>
                    <a:pt x="3455" y="573"/>
                  </a:cubicBezTo>
                  <a:cubicBezTo>
                    <a:pt x="3455" y="573"/>
                    <a:pt x="3455" y="573"/>
                    <a:pt x="3455" y="573"/>
                  </a:cubicBezTo>
                  <a:moveTo>
                    <a:pt x="3674" y="573"/>
                  </a:moveTo>
                  <a:cubicBezTo>
                    <a:pt x="3667" y="573"/>
                    <a:pt x="3663" y="578"/>
                    <a:pt x="3666" y="583"/>
                  </a:cubicBezTo>
                  <a:cubicBezTo>
                    <a:pt x="3668" y="589"/>
                    <a:pt x="3676" y="594"/>
                    <a:pt x="3683" y="594"/>
                  </a:cubicBezTo>
                  <a:cubicBezTo>
                    <a:pt x="3690" y="594"/>
                    <a:pt x="3694" y="589"/>
                    <a:pt x="3691" y="583"/>
                  </a:cubicBezTo>
                  <a:cubicBezTo>
                    <a:pt x="3689" y="578"/>
                    <a:pt x="3681" y="573"/>
                    <a:pt x="3674" y="573"/>
                  </a:cubicBezTo>
                  <a:cubicBezTo>
                    <a:pt x="3674" y="573"/>
                    <a:pt x="3674" y="573"/>
                    <a:pt x="3674" y="573"/>
                  </a:cubicBezTo>
                  <a:moveTo>
                    <a:pt x="3491" y="573"/>
                  </a:moveTo>
                  <a:cubicBezTo>
                    <a:pt x="3484" y="573"/>
                    <a:pt x="3480" y="578"/>
                    <a:pt x="3482" y="583"/>
                  </a:cubicBezTo>
                  <a:cubicBezTo>
                    <a:pt x="3484" y="589"/>
                    <a:pt x="3491" y="594"/>
                    <a:pt x="3499" y="594"/>
                  </a:cubicBezTo>
                  <a:cubicBezTo>
                    <a:pt x="3506" y="593"/>
                    <a:pt x="3510" y="589"/>
                    <a:pt x="3508" y="583"/>
                  </a:cubicBezTo>
                  <a:cubicBezTo>
                    <a:pt x="3506" y="578"/>
                    <a:pt x="3498" y="573"/>
                    <a:pt x="3491" y="573"/>
                  </a:cubicBezTo>
                  <a:cubicBezTo>
                    <a:pt x="3491" y="573"/>
                    <a:pt x="3491" y="573"/>
                    <a:pt x="3491" y="573"/>
                  </a:cubicBezTo>
                  <a:moveTo>
                    <a:pt x="3711" y="573"/>
                  </a:moveTo>
                  <a:cubicBezTo>
                    <a:pt x="3704" y="573"/>
                    <a:pt x="3700" y="577"/>
                    <a:pt x="3702" y="583"/>
                  </a:cubicBezTo>
                  <a:cubicBezTo>
                    <a:pt x="3705" y="589"/>
                    <a:pt x="3712" y="593"/>
                    <a:pt x="3719" y="593"/>
                  </a:cubicBezTo>
                  <a:cubicBezTo>
                    <a:pt x="3727" y="593"/>
                    <a:pt x="3730" y="589"/>
                    <a:pt x="3728" y="583"/>
                  </a:cubicBezTo>
                  <a:cubicBezTo>
                    <a:pt x="3725" y="577"/>
                    <a:pt x="3718" y="573"/>
                    <a:pt x="3711" y="573"/>
                  </a:cubicBezTo>
                  <a:cubicBezTo>
                    <a:pt x="3711" y="573"/>
                    <a:pt x="3711" y="573"/>
                    <a:pt x="3711" y="573"/>
                  </a:cubicBezTo>
                  <a:moveTo>
                    <a:pt x="3527" y="573"/>
                  </a:moveTo>
                  <a:cubicBezTo>
                    <a:pt x="3520" y="573"/>
                    <a:pt x="3516" y="577"/>
                    <a:pt x="3518" y="583"/>
                  </a:cubicBezTo>
                  <a:cubicBezTo>
                    <a:pt x="3521" y="589"/>
                    <a:pt x="3528" y="593"/>
                    <a:pt x="3535" y="593"/>
                  </a:cubicBezTo>
                  <a:cubicBezTo>
                    <a:pt x="3542" y="593"/>
                    <a:pt x="3546" y="589"/>
                    <a:pt x="3544" y="583"/>
                  </a:cubicBezTo>
                  <a:cubicBezTo>
                    <a:pt x="3542" y="577"/>
                    <a:pt x="3535" y="573"/>
                    <a:pt x="3528" y="573"/>
                  </a:cubicBezTo>
                  <a:cubicBezTo>
                    <a:pt x="3528" y="573"/>
                    <a:pt x="3527" y="573"/>
                    <a:pt x="3527" y="573"/>
                  </a:cubicBezTo>
                  <a:moveTo>
                    <a:pt x="3749" y="573"/>
                  </a:moveTo>
                  <a:cubicBezTo>
                    <a:pt x="3742" y="573"/>
                    <a:pt x="3739" y="577"/>
                    <a:pt x="3741" y="583"/>
                  </a:cubicBezTo>
                  <a:cubicBezTo>
                    <a:pt x="3744" y="589"/>
                    <a:pt x="3751" y="593"/>
                    <a:pt x="3758" y="593"/>
                  </a:cubicBezTo>
                  <a:cubicBezTo>
                    <a:pt x="3766" y="593"/>
                    <a:pt x="3769" y="588"/>
                    <a:pt x="3767" y="583"/>
                  </a:cubicBezTo>
                  <a:cubicBezTo>
                    <a:pt x="3764" y="577"/>
                    <a:pt x="3756" y="573"/>
                    <a:pt x="3749" y="573"/>
                  </a:cubicBezTo>
                  <a:cubicBezTo>
                    <a:pt x="3749" y="573"/>
                    <a:pt x="3749" y="573"/>
                    <a:pt x="3749" y="573"/>
                  </a:cubicBezTo>
                  <a:moveTo>
                    <a:pt x="3564" y="573"/>
                  </a:moveTo>
                  <a:cubicBezTo>
                    <a:pt x="3557" y="573"/>
                    <a:pt x="3553" y="577"/>
                    <a:pt x="3555" y="583"/>
                  </a:cubicBezTo>
                  <a:cubicBezTo>
                    <a:pt x="3557" y="589"/>
                    <a:pt x="3565" y="593"/>
                    <a:pt x="3572" y="593"/>
                  </a:cubicBezTo>
                  <a:cubicBezTo>
                    <a:pt x="3579" y="593"/>
                    <a:pt x="3583" y="588"/>
                    <a:pt x="3581" y="583"/>
                  </a:cubicBezTo>
                  <a:cubicBezTo>
                    <a:pt x="3579" y="577"/>
                    <a:pt x="3571" y="573"/>
                    <a:pt x="3564" y="573"/>
                  </a:cubicBezTo>
                  <a:cubicBezTo>
                    <a:pt x="3564" y="573"/>
                    <a:pt x="3564" y="573"/>
                    <a:pt x="3564" y="573"/>
                  </a:cubicBezTo>
                  <a:moveTo>
                    <a:pt x="3785" y="572"/>
                  </a:moveTo>
                  <a:cubicBezTo>
                    <a:pt x="3778" y="572"/>
                    <a:pt x="3775" y="577"/>
                    <a:pt x="3777" y="583"/>
                  </a:cubicBezTo>
                  <a:cubicBezTo>
                    <a:pt x="3780" y="588"/>
                    <a:pt x="3788" y="593"/>
                    <a:pt x="3795" y="593"/>
                  </a:cubicBezTo>
                  <a:cubicBezTo>
                    <a:pt x="3802" y="593"/>
                    <a:pt x="3805" y="588"/>
                    <a:pt x="3803" y="583"/>
                  </a:cubicBezTo>
                  <a:cubicBezTo>
                    <a:pt x="3800" y="577"/>
                    <a:pt x="3792" y="572"/>
                    <a:pt x="3785" y="572"/>
                  </a:cubicBezTo>
                  <a:cubicBezTo>
                    <a:pt x="3785" y="572"/>
                    <a:pt x="3785" y="572"/>
                    <a:pt x="3785" y="572"/>
                  </a:cubicBezTo>
                  <a:moveTo>
                    <a:pt x="3601" y="572"/>
                  </a:moveTo>
                  <a:cubicBezTo>
                    <a:pt x="3594" y="572"/>
                    <a:pt x="3590" y="577"/>
                    <a:pt x="3592" y="583"/>
                  </a:cubicBezTo>
                  <a:cubicBezTo>
                    <a:pt x="3594" y="588"/>
                    <a:pt x="3602" y="593"/>
                    <a:pt x="3609" y="593"/>
                  </a:cubicBezTo>
                  <a:cubicBezTo>
                    <a:pt x="3616" y="593"/>
                    <a:pt x="3620" y="588"/>
                    <a:pt x="3618" y="583"/>
                  </a:cubicBezTo>
                  <a:cubicBezTo>
                    <a:pt x="3615" y="577"/>
                    <a:pt x="3608" y="572"/>
                    <a:pt x="3601" y="572"/>
                  </a:cubicBezTo>
                  <a:cubicBezTo>
                    <a:pt x="3601" y="572"/>
                    <a:pt x="3601" y="572"/>
                    <a:pt x="3601" y="572"/>
                  </a:cubicBezTo>
                  <a:moveTo>
                    <a:pt x="3821" y="572"/>
                  </a:moveTo>
                  <a:cubicBezTo>
                    <a:pt x="3814" y="572"/>
                    <a:pt x="3811" y="577"/>
                    <a:pt x="3814" y="582"/>
                  </a:cubicBezTo>
                  <a:cubicBezTo>
                    <a:pt x="3816" y="588"/>
                    <a:pt x="3824" y="593"/>
                    <a:pt x="3831" y="593"/>
                  </a:cubicBezTo>
                  <a:cubicBezTo>
                    <a:pt x="3838" y="593"/>
                    <a:pt x="3842" y="588"/>
                    <a:pt x="3839" y="582"/>
                  </a:cubicBezTo>
                  <a:cubicBezTo>
                    <a:pt x="3836" y="577"/>
                    <a:pt x="3829" y="572"/>
                    <a:pt x="3822" y="572"/>
                  </a:cubicBezTo>
                  <a:cubicBezTo>
                    <a:pt x="3822" y="572"/>
                    <a:pt x="3822" y="572"/>
                    <a:pt x="3821" y="572"/>
                  </a:cubicBezTo>
                  <a:moveTo>
                    <a:pt x="3858" y="572"/>
                  </a:moveTo>
                  <a:cubicBezTo>
                    <a:pt x="3851" y="572"/>
                    <a:pt x="3847" y="577"/>
                    <a:pt x="3850" y="582"/>
                  </a:cubicBezTo>
                  <a:cubicBezTo>
                    <a:pt x="3853" y="588"/>
                    <a:pt x="3861" y="593"/>
                    <a:pt x="3868" y="592"/>
                  </a:cubicBezTo>
                  <a:cubicBezTo>
                    <a:pt x="3875" y="592"/>
                    <a:pt x="3879" y="588"/>
                    <a:pt x="3876" y="582"/>
                  </a:cubicBezTo>
                  <a:cubicBezTo>
                    <a:pt x="3873" y="576"/>
                    <a:pt x="3865" y="572"/>
                    <a:pt x="3858" y="572"/>
                  </a:cubicBezTo>
                  <a:cubicBezTo>
                    <a:pt x="3858" y="572"/>
                    <a:pt x="3858" y="572"/>
                    <a:pt x="3858" y="572"/>
                  </a:cubicBezTo>
                  <a:moveTo>
                    <a:pt x="3895" y="572"/>
                  </a:moveTo>
                  <a:cubicBezTo>
                    <a:pt x="3888" y="572"/>
                    <a:pt x="3884" y="576"/>
                    <a:pt x="3887" y="582"/>
                  </a:cubicBezTo>
                  <a:cubicBezTo>
                    <a:pt x="3890" y="588"/>
                    <a:pt x="3898" y="592"/>
                    <a:pt x="3905" y="592"/>
                  </a:cubicBezTo>
                  <a:cubicBezTo>
                    <a:pt x="3912" y="592"/>
                    <a:pt x="3916" y="588"/>
                    <a:pt x="3913" y="582"/>
                  </a:cubicBezTo>
                  <a:cubicBezTo>
                    <a:pt x="3910" y="576"/>
                    <a:pt x="3902" y="572"/>
                    <a:pt x="3895" y="572"/>
                  </a:cubicBezTo>
                  <a:cubicBezTo>
                    <a:pt x="3895" y="572"/>
                    <a:pt x="3895" y="572"/>
                    <a:pt x="3895" y="572"/>
                  </a:cubicBezTo>
                  <a:moveTo>
                    <a:pt x="3931" y="571"/>
                  </a:moveTo>
                  <a:cubicBezTo>
                    <a:pt x="3924" y="571"/>
                    <a:pt x="3921" y="576"/>
                    <a:pt x="3924" y="582"/>
                  </a:cubicBezTo>
                  <a:cubicBezTo>
                    <a:pt x="3926" y="588"/>
                    <a:pt x="3935" y="592"/>
                    <a:pt x="3942" y="592"/>
                  </a:cubicBezTo>
                  <a:cubicBezTo>
                    <a:pt x="3949" y="592"/>
                    <a:pt x="3952" y="587"/>
                    <a:pt x="3949" y="582"/>
                  </a:cubicBezTo>
                  <a:cubicBezTo>
                    <a:pt x="3946" y="576"/>
                    <a:pt x="3938" y="571"/>
                    <a:pt x="3931" y="571"/>
                  </a:cubicBezTo>
                  <a:cubicBezTo>
                    <a:pt x="3931" y="571"/>
                    <a:pt x="3931" y="571"/>
                    <a:pt x="3931" y="571"/>
                  </a:cubicBezTo>
                  <a:moveTo>
                    <a:pt x="4004" y="571"/>
                  </a:moveTo>
                  <a:cubicBezTo>
                    <a:pt x="3997" y="571"/>
                    <a:pt x="3993" y="576"/>
                    <a:pt x="3996" y="581"/>
                  </a:cubicBezTo>
                  <a:cubicBezTo>
                    <a:pt x="4000" y="587"/>
                    <a:pt x="4008" y="592"/>
                    <a:pt x="4015" y="592"/>
                  </a:cubicBezTo>
                  <a:cubicBezTo>
                    <a:pt x="4022" y="592"/>
                    <a:pt x="4025" y="587"/>
                    <a:pt x="4022" y="581"/>
                  </a:cubicBezTo>
                  <a:cubicBezTo>
                    <a:pt x="4019" y="576"/>
                    <a:pt x="4011" y="571"/>
                    <a:pt x="4004" y="571"/>
                  </a:cubicBezTo>
                  <a:cubicBezTo>
                    <a:pt x="4004" y="571"/>
                    <a:pt x="4004" y="571"/>
                    <a:pt x="4004" y="571"/>
                  </a:cubicBezTo>
                  <a:moveTo>
                    <a:pt x="4040" y="571"/>
                  </a:moveTo>
                  <a:cubicBezTo>
                    <a:pt x="4033" y="571"/>
                    <a:pt x="4030" y="575"/>
                    <a:pt x="4033" y="581"/>
                  </a:cubicBezTo>
                  <a:cubicBezTo>
                    <a:pt x="4036" y="587"/>
                    <a:pt x="4045" y="591"/>
                    <a:pt x="4052" y="591"/>
                  </a:cubicBezTo>
                  <a:cubicBezTo>
                    <a:pt x="4059" y="591"/>
                    <a:pt x="4062" y="587"/>
                    <a:pt x="4059" y="581"/>
                  </a:cubicBezTo>
                  <a:cubicBezTo>
                    <a:pt x="4056" y="575"/>
                    <a:pt x="4047" y="571"/>
                    <a:pt x="4040" y="571"/>
                  </a:cubicBezTo>
                  <a:cubicBezTo>
                    <a:pt x="4040" y="571"/>
                    <a:pt x="4040" y="571"/>
                    <a:pt x="4040" y="571"/>
                  </a:cubicBezTo>
                  <a:moveTo>
                    <a:pt x="4223" y="570"/>
                  </a:moveTo>
                  <a:cubicBezTo>
                    <a:pt x="4216" y="570"/>
                    <a:pt x="4213" y="574"/>
                    <a:pt x="4216" y="580"/>
                  </a:cubicBezTo>
                  <a:cubicBezTo>
                    <a:pt x="4220" y="586"/>
                    <a:pt x="4228" y="590"/>
                    <a:pt x="4235" y="590"/>
                  </a:cubicBezTo>
                  <a:cubicBezTo>
                    <a:pt x="4243" y="590"/>
                    <a:pt x="4245" y="586"/>
                    <a:pt x="4242" y="580"/>
                  </a:cubicBezTo>
                  <a:cubicBezTo>
                    <a:pt x="4238" y="574"/>
                    <a:pt x="4230" y="570"/>
                    <a:pt x="4223" y="570"/>
                  </a:cubicBezTo>
                  <a:cubicBezTo>
                    <a:pt x="4223" y="570"/>
                    <a:pt x="4223" y="570"/>
                    <a:pt x="4223" y="570"/>
                  </a:cubicBezTo>
                  <a:moveTo>
                    <a:pt x="114" y="564"/>
                  </a:moveTo>
                  <a:cubicBezTo>
                    <a:pt x="107" y="565"/>
                    <a:pt x="98" y="569"/>
                    <a:pt x="93" y="575"/>
                  </a:cubicBezTo>
                  <a:cubicBezTo>
                    <a:pt x="88" y="580"/>
                    <a:pt x="90" y="585"/>
                    <a:pt x="97" y="585"/>
                  </a:cubicBezTo>
                  <a:cubicBezTo>
                    <a:pt x="104" y="585"/>
                    <a:pt x="114" y="580"/>
                    <a:pt x="119" y="575"/>
                  </a:cubicBezTo>
                  <a:cubicBezTo>
                    <a:pt x="123" y="569"/>
                    <a:pt x="122" y="564"/>
                    <a:pt x="115" y="564"/>
                  </a:cubicBezTo>
                  <a:cubicBezTo>
                    <a:pt x="115" y="564"/>
                    <a:pt x="115" y="564"/>
                    <a:pt x="114" y="564"/>
                  </a:cubicBezTo>
                  <a:moveTo>
                    <a:pt x="149" y="564"/>
                  </a:moveTo>
                  <a:cubicBezTo>
                    <a:pt x="142" y="564"/>
                    <a:pt x="132" y="569"/>
                    <a:pt x="128" y="574"/>
                  </a:cubicBezTo>
                  <a:cubicBezTo>
                    <a:pt x="123" y="580"/>
                    <a:pt x="125" y="585"/>
                    <a:pt x="132" y="585"/>
                  </a:cubicBezTo>
                  <a:cubicBezTo>
                    <a:pt x="139" y="584"/>
                    <a:pt x="149" y="580"/>
                    <a:pt x="153" y="574"/>
                  </a:cubicBezTo>
                  <a:cubicBezTo>
                    <a:pt x="158" y="569"/>
                    <a:pt x="156" y="564"/>
                    <a:pt x="149" y="564"/>
                  </a:cubicBezTo>
                  <a:cubicBezTo>
                    <a:pt x="149" y="564"/>
                    <a:pt x="149" y="564"/>
                    <a:pt x="149" y="564"/>
                  </a:cubicBezTo>
                  <a:moveTo>
                    <a:pt x="185" y="564"/>
                  </a:moveTo>
                  <a:cubicBezTo>
                    <a:pt x="178" y="564"/>
                    <a:pt x="169" y="569"/>
                    <a:pt x="164" y="574"/>
                  </a:cubicBezTo>
                  <a:cubicBezTo>
                    <a:pt x="159" y="580"/>
                    <a:pt x="161" y="584"/>
                    <a:pt x="168" y="584"/>
                  </a:cubicBezTo>
                  <a:cubicBezTo>
                    <a:pt x="175" y="584"/>
                    <a:pt x="185" y="580"/>
                    <a:pt x="190" y="574"/>
                  </a:cubicBezTo>
                  <a:cubicBezTo>
                    <a:pt x="194" y="569"/>
                    <a:pt x="192" y="564"/>
                    <a:pt x="185" y="564"/>
                  </a:cubicBezTo>
                  <a:cubicBezTo>
                    <a:pt x="185" y="564"/>
                    <a:pt x="185" y="564"/>
                    <a:pt x="185" y="564"/>
                  </a:cubicBezTo>
                  <a:moveTo>
                    <a:pt x="223" y="564"/>
                  </a:moveTo>
                  <a:cubicBezTo>
                    <a:pt x="216" y="564"/>
                    <a:pt x="207" y="568"/>
                    <a:pt x="202" y="574"/>
                  </a:cubicBezTo>
                  <a:cubicBezTo>
                    <a:pt x="197" y="580"/>
                    <a:pt x="199" y="584"/>
                    <a:pt x="207" y="584"/>
                  </a:cubicBezTo>
                  <a:cubicBezTo>
                    <a:pt x="214" y="584"/>
                    <a:pt x="223" y="579"/>
                    <a:pt x="228" y="574"/>
                  </a:cubicBezTo>
                  <a:cubicBezTo>
                    <a:pt x="232" y="568"/>
                    <a:pt x="230" y="564"/>
                    <a:pt x="223" y="564"/>
                  </a:cubicBezTo>
                  <a:cubicBezTo>
                    <a:pt x="223" y="564"/>
                    <a:pt x="223" y="564"/>
                    <a:pt x="223" y="564"/>
                  </a:cubicBezTo>
                  <a:moveTo>
                    <a:pt x="259" y="564"/>
                  </a:moveTo>
                  <a:cubicBezTo>
                    <a:pt x="252" y="564"/>
                    <a:pt x="243" y="568"/>
                    <a:pt x="238" y="574"/>
                  </a:cubicBezTo>
                  <a:cubicBezTo>
                    <a:pt x="234" y="579"/>
                    <a:pt x="236" y="584"/>
                    <a:pt x="243" y="584"/>
                  </a:cubicBezTo>
                  <a:cubicBezTo>
                    <a:pt x="250" y="584"/>
                    <a:pt x="259" y="579"/>
                    <a:pt x="264" y="574"/>
                  </a:cubicBezTo>
                  <a:cubicBezTo>
                    <a:pt x="268" y="568"/>
                    <a:pt x="266" y="564"/>
                    <a:pt x="259" y="564"/>
                  </a:cubicBezTo>
                  <a:cubicBezTo>
                    <a:pt x="259" y="564"/>
                    <a:pt x="259" y="564"/>
                    <a:pt x="259" y="564"/>
                  </a:cubicBezTo>
                  <a:moveTo>
                    <a:pt x="295" y="563"/>
                  </a:moveTo>
                  <a:cubicBezTo>
                    <a:pt x="288" y="563"/>
                    <a:pt x="279" y="568"/>
                    <a:pt x="275" y="574"/>
                  </a:cubicBezTo>
                  <a:cubicBezTo>
                    <a:pt x="270" y="579"/>
                    <a:pt x="272" y="584"/>
                    <a:pt x="279" y="584"/>
                  </a:cubicBezTo>
                  <a:cubicBezTo>
                    <a:pt x="287" y="584"/>
                    <a:pt x="296" y="579"/>
                    <a:pt x="300" y="573"/>
                  </a:cubicBezTo>
                  <a:cubicBezTo>
                    <a:pt x="305" y="568"/>
                    <a:pt x="302" y="563"/>
                    <a:pt x="296" y="563"/>
                  </a:cubicBezTo>
                  <a:cubicBezTo>
                    <a:pt x="295" y="563"/>
                    <a:pt x="295" y="563"/>
                    <a:pt x="295" y="563"/>
                  </a:cubicBezTo>
                  <a:moveTo>
                    <a:pt x="332" y="563"/>
                  </a:moveTo>
                  <a:cubicBezTo>
                    <a:pt x="325" y="563"/>
                    <a:pt x="315" y="568"/>
                    <a:pt x="311" y="573"/>
                  </a:cubicBezTo>
                  <a:cubicBezTo>
                    <a:pt x="307" y="579"/>
                    <a:pt x="309" y="583"/>
                    <a:pt x="316" y="583"/>
                  </a:cubicBezTo>
                  <a:cubicBezTo>
                    <a:pt x="323" y="583"/>
                    <a:pt x="332" y="579"/>
                    <a:pt x="336" y="573"/>
                  </a:cubicBezTo>
                  <a:cubicBezTo>
                    <a:pt x="341" y="568"/>
                    <a:pt x="339" y="563"/>
                    <a:pt x="332" y="563"/>
                  </a:cubicBezTo>
                  <a:cubicBezTo>
                    <a:pt x="332" y="563"/>
                    <a:pt x="332" y="563"/>
                    <a:pt x="332" y="563"/>
                  </a:cubicBezTo>
                  <a:moveTo>
                    <a:pt x="368" y="563"/>
                  </a:moveTo>
                  <a:cubicBezTo>
                    <a:pt x="361" y="563"/>
                    <a:pt x="352" y="568"/>
                    <a:pt x="347" y="573"/>
                  </a:cubicBezTo>
                  <a:cubicBezTo>
                    <a:pt x="343" y="579"/>
                    <a:pt x="345" y="583"/>
                    <a:pt x="353" y="583"/>
                  </a:cubicBezTo>
                  <a:cubicBezTo>
                    <a:pt x="360" y="583"/>
                    <a:pt x="369" y="579"/>
                    <a:pt x="373" y="573"/>
                  </a:cubicBezTo>
                  <a:cubicBezTo>
                    <a:pt x="377" y="567"/>
                    <a:pt x="375" y="563"/>
                    <a:pt x="368" y="563"/>
                  </a:cubicBezTo>
                  <a:cubicBezTo>
                    <a:pt x="368" y="563"/>
                    <a:pt x="368" y="563"/>
                    <a:pt x="368" y="563"/>
                  </a:cubicBezTo>
                  <a:moveTo>
                    <a:pt x="405" y="563"/>
                  </a:moveTo>
                  <a:cubicBezTo>
                    <a:pt x="398" y="563"/>
                    <a:pt x="389" y="567"/>
                    <a:pt x="385" y="573"/>
                  </a:cubicBezTo>
                  <a:cubicBezTo>
                    <a:pt x="381" y="578"/>
                    <a:pt x="383" y="583"/>
                    <a:pt x="390" y="583"/>
                  </a:cubicBezTo>
                  <a:cubicBezTo>
                    <a:pt x="397" y="583"/>
                    <a:pt x="406" y="578"/>
                    <a:pt x="411" y="573"/>
                  </a:cubicBezTo>
                  <a:cubicBezTo>
                    <a:pt x="415" y="567"/>
                    <a:pt x="412" y="563"/>
                    <a:pt x="406" y="563"/>
                  </a:cubicBezTo>
                  <a:cubicBezTo>
                    <a:pt x="406" y="563"/>
                    <a:pt x="405" y="563"/>
                    <a:pt x="405" y="563"/>
                  </a:cubicBezTo>
                  <a:moveTo>
                    <a:pt x="442" y="562"/>
                  </a:moveTo>
                  <a:cubicBezTo>
                    <a:pt x="435" y="563"/>
                    <a:pt x="425" y="567"/>
                    <a:pt x="421" y="573"/>
                  </a:cubicBezTo>
                  <a:cubicBezTo>
                    <a:pt x="417" y="578"/>
                    <a:pt x="420" y="583"/>
                    <a:pt x="427" y="583"/>
                  </a:cubicBezTo>
                  <a:cubicBezTo>
                    <a:pt x="434" y="583"/>
                    <a:pt x="443" y="578"/>
                    <a:pt x="447" y="573"/>
                  </a:cubicBezTo>
                  <a:cubicBezTo>
                    <a:pt x="451" y="567"/>
                    <a:pt x="449" y="562"/>
                    <a:pt x="442" y="562"/>
                  </a:cubicBezTo>
                  <a:cubicBezTo>
                    <a:pt x="442" y="562"/>
                    <a:pt x="442" y="562"/>
                    <a:pt x="442" y="562"/>
                  </a:cubicBezTo>
                  <a:moveTo>
                    <a:pt x="478" y="562"/>
                  </a:moveTo>
                  <a:cubicBezTo>
                    <a:pt x="471" y="562"/>
                    <a:pt x="462" y="567"/>
                    <a:pt x="458" y="572"/>
                  </a:cubicBezTo>
                  <a:cubicBezTo>
                    <a:pt x="454" y="578"/>
                    <a:pt x="456" y="583"/>
                    <a:pt x="463" y="582"/>
                  </a:cubicBezTo>
                  <a:cubicBezTo>
                    <a:pt x="470" y="582"/>
                    <a:pt x="479" y="578"/>
                    <a:pt x="483" y="572"/>
                  </a:cubicBezTo>
                  <a:cubicBezTo>
                    <a:pt x="487" y="567"/>
                    <a:pt x="485" y="562"/>
                    <a:pt x="478" y="562"/>
                  </a:cubicBezTo>
                  <a:cubicBezTo>
                    <a:pt x="478" y="562"/>
                    <a:pt x="478" y="562"/>
                    <a:pt x="478" y="562"/>
                  </a:cubicBezTo>
                  <a:moveTo>
                    <a:pt x="515" y="562"/>
                  </a:moveTo>
                  <a:cubicBezTo>
                    <a:pt x="508" y="562"/>
                    <a:pt x="499" y="567"/>
                    <a:pt x="495" y="572"/>
                  </a:cubicBezTo>
                  <a:cubicBezTo>
                    <a:pt x="491" y="578"/>
                    <a:pt x="493" y="582"/>
                    <a:pt x="500" y="582"/>
                  </a:cubicBezTo>
                  <a:cubicBezTo>
                    <a:pt x="507" y="582"/>
                    <a:pt x="516" y="578"/>
                    <a:pt x="520" y="572"/>
                  </a:cubicBezTo>
                  <a:cubicBezTo>
                    <a:pt x="524" y="566"/>
                    <a:pt x="522" y="562"/>
                    <a:pt x="515" y="562"/>
                  </a:cubicBezTo>
                  <a:cubicBezTo>
                    <a:pt x="515" y="562"/>
                    <a:pt x="515" y="562"/>
                    <a:pt x="515" y="562"/>
                  </a:cubicBezTo>
                  <a:moveTo>
                    <a:pt x="551" y="562"/>
                  </a:moveTo>
                  <a:cubicBezTo>
                    <a:pt x="544" y="562"/>
                    <a:pt x="535" y="566"/>
                    <a:pt x="531" y="572"/>
                  </a:cubicBezTo>
                  <a:cubicBezTo>
                    <a:pt x="527" y="578"/>
                    <a:pt x="530" y="582"/>
                    <a:pt x="537" y="582"/>
                  </a:cubicBezTo>
                  <a:cubicBezTo>
                    <a:pt x="544" y="582"/>
                    <a:pt x="553" y="577"/>
                    <a:pt x="556" y="572"/>
                  </a:cubicBezTo>
                  <a:cubicBezTo>
                    <a:pt x="560" y="566"/>
                    <a:pt x="558" y="562"/>
                    <a:pt x="551" y="562"/>
                  </a:cubicBezTo>
                  <a:cubicBezTo>
                    <a:pt x="551" y="562"/>
                    <a:pt x="551" y="562"/>
                    <a:pt x="551" y="562"/>
                  </a:cubicBezTo>
                  <a:moveTo>
                    <a:pt x="587" y="562"/>
                  </a:moveTo>
                  <a:cubicBezTo>
                    <a:pt x="580" y="562"/>
                    <a:pt x="571" y="566"/>
                    <a:pt x="567" y="572"/>
                  </a:cubicBezTo>
                  <a:cubicBezTo>
                    <a:pt x="564" y="577"/>
                    <a:pt x="566" y="582"/>
                    <a:pt x="573" y="582"/>
                  </a:cubicBezTo>
                  <a:cubicBezTo>
                    <a:pt x="580" y="582"/>
                    <a:pt x="589" y="577"/>
                    <a:pt x="593" y="572"/>
                  </a:cubicBezTo>
                  <a:cubicBezTo>
                    <a:pt x="597" y="566"/>
                    <a:pt x="594" y="562"/>
                    <a:pt x="587" y="562"/>
                  </a:cubicBezTo>
                  <a:cubicBezTo>
                    <a:pt x="587" y="562"/>
                    <a:pt x="587" y="562"/>
                    <a:pt x="587" y="562"/>
                  </a:cubicBezTo>
                  <a:moveTo>
                    <a:pt x="623" y="561"/>
                  </a:moveTo>
                  <a:cubicBezTo>
                    <a:pt x="616" y="561"/>
                    <a:pt x="607" y="566"/>
                    <a:pt x="604" y="572"/>
                  </a:cubicBezTo>
                  <a:cubicBezTo>
                    <a:pt x="600" y="577"/>
                    <a:pt x="602" y="582"/>
                    <a:pt x="610" y="582"/>
                  </a:cubicBezTo>
                  <a:cubicBezTo>
                    <a:pt x="617" y="582"/>
                    <a:pt x="625" y="577"/>
                    <a:pt x="629" y="571"/>
                  </a:cubicBezTo>
                  <a:cubicBezTo>
                    <a:pt x="633" y="566"/>
                    <a:pt x="630" y="561"/>
                    <a:pt x="623" y="561"/>
                  </a:cubicBezTo>
                  <a:cubicBezTo>
                    <a:pt x="623" y="561"/>
                    <a:pt x="623" y="561"/>
                    <a:pt x="623" y="561"/>
                  </a:cubicBezTo>
                  <a:moveTo>
                    <a:pt x="660" y="561"/>
                  </a:moveTo>
                  <a:cubicBezTo>
                    <a:pt x="653" y="561"/>
                    <a:pt x="644" y="566"/>
                    <a:pt x="640" y="571"/>
                  </a:cubicBezTo>
                  <a:cubicBezTo>
                    <a:pt x="636" y="577"/>
                    <a:pt x="639" y="581"/>
                    <a:pt x="646" y="581"/>
                  </a:cubicBezTo>
                  <a:cubicBezTo>
                    <a:pt x="653" y="581"/>
                    <a:pt x="662" y="577"/>
                    <a:pt x="666" y="571"/>
                  </a:cubicBezTo>
                  <a:cubicBezTo>
                    <a:pt x="669" y="566"/>
                    <a:pt x="667" y="561"/>
                    <a:pt x="660" y="561"/>
                  </a:cubicBezTo>
                  <a:cubicBezTo>
                    <a:pt x="660" y="561"/>
                    <a:pt x="660" y="561"/>
                    <a:pt x="660" y="561"/>
                  </a:cubicBezTo>
                  <a:moveTo>
                    <a:pt x="696" y="561"/>
                  </a:moveTo>
                  <a:cubicBezTo>
                    <a:pt x="689" y="561"/>
                    <a:pt x="681" y="565"/>
                    <a:pt x="677" y="571"/>
                  </a:cubicBezTo>
                  <a:cubicBezTo>
                    <a:pt x="673" y="577"/>
                    <a:pt x="676" y="581"/>
                    <a:pt x="683" y="581"/>
                  </a:cubicBezTo>
                  <a:cubicBezTo>
                    <a:pt x="690" y="581"/>
                    <a:pt x="699" y="577"/>
                    <a:pt x="702" y="571"/>
                  </a:cubicBezTo>
                  <a:cubicBezTo>
                    <a:pt x="706" y="565"/>
                    <a:pt x="703" y="561"/>
                    <a:pt x="696" y="561"/>
                  </a:cubicBezTo>
                  <a:cubicBezTo>
                    <a:pt x="696" y="561"/>
                    <a:pt x="696" y="561"/>
                    <a:pt x="696" y="561"/>
                  </a:cubicBezTo>
                  <a:moveTo>
                    <a:pt x="732" y="561"/>
                  </a:moveTo>
                  <a:cubicBezTo>
                    <a:pt x="725" y="561"/>
                    <a:pt x="717" y="565"/>
                    <a:pt x="713" y="571"/>
                  </a:cubicBezTo>
                  <a:cubicBezTo>
                    <a:pt x="710" y="576"/>
                    <a:pt x="712" y="581"/>
                    <a:pt x="720" y="581"/>
                  </a:cubicBezTo>
                  <a:cubicBezTo>
                    <a:pt x="727" y="581"/>
                    <a:pt x="735" y="576"/>
                    <a:pt x="739" y="571"/>
                  </a:cubicBezTo>
                  <a:cubicBezTo>
                    <a:pt x="742" y="565"/>
                    <a:pt x="739" y="561"/>
                    <a:pt x="732" y="561"/>
                  </a:cubicBezTo>
                  <a:cubicBezTo>
                    <a:pt x="732" y="561"/>
                    <a:pt x="732" y="561"/>
                    <a:pt x="732" y="561"/>
                  </a:cubicBezTo>
                  <a:moveTo>
                    <a:pt x="769" y="560"/>
                  </a:moveTo>
                  <a:cubicBezTo>
                    <a:pt x="762" y="560"/>
                    <a:pt x="753" y="565"/>
                    <a:pt x="750" y="571"/>
                  </a:cubicBezTo>
                  <a:cubicBezTo>
                    <a:pt x="746" y="576"/>
                    <a:pt x="749" y="581"/>
                    <a:pt x="756" y="581"/>
                  </a:cubicBezTo>
                  <a:cubicBezTo>
                    <a:pt x="763" y="581"/>
                    <a:pt x="772" y="576"/>
                    <a:pt x="775" y="571"/>
                  </a:cubicBezTo>
                  <a:cubicBezTo>
                    <a:pt x="779" y="565"/>
                    <a:pt x="776" y="560"/>
                    <a:pt x="769" y="560"/>
                  </a:cubicBezTo>
                  <a:cubicBezTo>
                    <a:pt x="769" y="560"/>
                    <a:pt x="769" y="560"/>
                    <a:pt x="769" y="560"/>
                  </a:cubicBezTo>
                  <a:moveTo>
                    <a:pt x="803" y="560"/>
                  </a:moveTo>
                  <a:cubicBezTo>
                    <a:pt x="796" y="560"/>
                    <a:pt x="788" y="565"/>
                    <a:pt x="784" y="571"/>
                  </a:cubicBezTo>
                  <a:cubicBezTo>
                    <a:pt x="781" y="576"/>
                    <a:pt x="784" y="581"/>
                    <a:pt x="791" y="581"/>
                  </a:cubicBezTo>
                  <a:cubicBezTo>
                    <a:pt x="798" y="581"/>
                    <a:pt x="807" y="576"/>
                    <a:pt x="810" y="570"/>
                  </a:cubicBezTo>
                  <a:cubicBezTo>
                    <a:pt x="813" y="565"/>
                    <a:pt x="810" y="560"/>
                    <a:pt x="803" y="560"/>
                  </a:cubicBezTo>
                  <a:cubicBezTo>
                    <a:pt x="803" y="560"/>
                    <a:pt x="803" y="560"/>
                    <a:pt x="803" y="560"/>
                  </a:cubicBezTo>
                  <a:moveTo>
                    <a:pt x="839" y="560"/>
                  </a:moveTo>
                  <a:cubicBezTo>
                    <a:pt x="832" y="560"/>
                    <a:pt x="824" y="565"/>
                    <a:pt x="821" y="570"/>
                  </a:cubicBezTo>
                  <a:cubicBezTo>
                    <a:pt x="817" y="576"/>
                    <a:pt x="820" y="581"/>
                    <a:pt x="827" y="580"/>
                  </a:cubicBezTo>
                  <a:cubicBezTo>
                    <a:pt x="834" y="580"/>
                    <a:pt x="843" y="576"/>
                    <a:pt x="846" y="570"/>
                  </a:cubicBezTo>
                  <a:cubicBezTo>
                    <a:pt x="849" y="565"/>
                    <a:pt x="846" y="560"/>
                    <a:pt x="839" y="560"/>
                  </a:cubicBezTo>
                  <a:cubicBezTo>
                    <a:pt x="839" y="560"/>
                    <a:pt x="839" y="560"/>
                    <a:pt x="839" y="560"/>
                  </a:cubicBezTo>
                  <a:moveTo>
                    <a:pt x="876" y="560"/>
                  </a:moveTo>
                  <a:cubicBezTo>
                    <a:pt x="869" y="560"/>
                    <a:pt x="860" y="565"/>
                    <a:pt x="857" y="570"/>
                  </a:cubicBezTo>
                  <a:cubicBezTo>
                    <a:pt x="854" y="576"/>
                    <a:pt x="857" y="580"/>
                    <a:pt x="864" y="580"/>
                  </a:cubicBezTo>
                  <a:cubicBezTo>
                    <a:pt x="871" y="580"/>
                    <a:pt x="879" y="576"/>
                    <a:pt x="883" y="570"/>
                  </a:cubicBezTo>
                  <a:cubicBezTo>
                    <a:pt x="886" y="564"/>
                    <a:pt x="883" y="560"/>
                    <a:pt x="876" y="560"/>
                  </a:cubicBezTo>
                  <a:cubicBezTo>
                    <a:pt x="876" y="560"/>
                    <a:pt x="876" y="560"/>
                    <a:pt x="876" y="560"/>
                  </a:cubicBezTo>
                  <a:moveTo>
                    <a:pt x="1893" y="554"/>
                  </a:moveTo>
                  <a:cubicBezTo>
                    <a:pt x="1886" y="554"/>
                    <a:pt x="1879" y="559"/>
                    <a:pt x="1878" y="565"/>
                  </a:cubicBezTo>
                  <a:cubicBezTo>
                    <a:pt x="1877" y="570"/>
                    <a:pt x="1882" y="575"/>
                    <a:pt x="1889" y="575"/>
                  </a:cubicBezTo>
                  <a:cubicBezTo>
                    <a:pt x="1896" y="575"/>
                    <a:pt x="1902" y="570"/>
                    <a:pt x="1904" y="565"/>
                  </a:cubicBezTo>
                  <a:cubicBezTo>
                    <a:pt x="1905" y="559"/>
                    <a:pt x="1900" y="554"/>
                    <a:pt x="1893" y="554"/>
                  </a:cubicBezTo>
                  <a:cubicBezTo>
                    <a:pt x="1893" y="554"/>
                    <a:pt x="1893" y="554"/>
                    <a:pt x="1893" y="554"/>
                  </a:cubicBezTo>
                  <a:moveTo>
                    <a:pt x="1926" y="554"/>
                  </a:moveTo>
                  <a:cubicBezTo>
                    <a:pt x="1919" y="554"/>
                    <a:pt x="1913" y="559"/>
                    <a:pt x="1912" y="564"/>
                  </a:cubicBezTo>
                  <a:cubicBezTo>
                    <a:pt x="1910" y="570"/>
                    <a:pt x="1915" y="575"/>
                    <a:pt x="1922" y="575"/>
                  </a:cubicBezTo>
                  <a:cubicBezTo>
                    <a:pt x="1929" y="575"/>
                    <a:pt x="1936" y="570"/>
                    <a:pt x="1937" y="564"/>
                  </a:cubicBezTo>
                  <a:cubicBezTo>
                    <a:pt x="1938" y="559"/>
                    <a:pt x="1933" y="554"/>
                    <a:pt x="1926" y="554"/>
                  </a:cubicBezTo>
                  <a:cubicBezTo>
                    <a:pt x="1926" y="554"/>
                    <a:pt x="1926" y="554"/>
                    <a:pt x="1926" y="554"/>
                  </a:cubicBezTo>
                  <a:moveTo>
                    <a:pt x="1962" y="554"/>
                  </a:moveTo>
                  <a:cubicBezTo>
                    <a:pt x="1955" y="554"/>
                    <a:pt x="1949" y="559"/>
                    <a:pt x="1948" y="564"/>
                  </a:cubicBezTo>
                  <a:cubicBezTo>
                    <a:pt x="1947" y="570"/>
                    <a:pt x="1951" y="574"/>
                    <a:pt x="1958" y="574"/>
                  </a:cubicBezTo>
                  <a:cubicBezTo>
                    <a:pt x="1966" y="574"/>
                    <a:pt x="1972" y="570"/>
                    <a:pt x="1973" y="564"/>
                  </a:cubicBezTo>
                  <a:cubicBezTo>
                    <a:pt x="1974" y="558"/>
                    <a:pt x="1969" y="554"/>
                    <a:pt x="1962" y="554"/>
                  </a:cubicBezTo>
                  <a:cubicBezTo>
                    <a:pt x="1962" y="554"/>
                    <a:pt x="1962" y="554"/>
                    <a:pt x="1962" y="554"/>
                  </a:cubicBezTo>
                  <a:moveTo>
                    <a:pt x="1999" y="554"/>
                  </a:moveTo>
                  <a:cubicBezTo>
                    <a:pt x="1992" y="554"/>
                    <a:pt x="1985" y="558"/>
                    <a:pt x="1984" y="564"/>
                  </a:cubicBezTo>
                  <a:cubicBezTo>
                    <a:pt x="1983" y="570"/>
                    <a:pt x="1988" y="574"/>
                    <a:pt x="1995" y="574"/>
                  </a:cubicBezTo>
                  <a:cubicBezTo>
                    <a:pt x="2002" y="574"/>
                    <a:pt x="2008" y="569"/>
                    <a:pt x="2009" y="564"/>
                  </a:cubicBezTo>
                  <a:cubicBezTo>
                    <a:pt x="2010" y="558"/>
                    <a:pt x="2006" y="554"/>
                    <a:pt x="1999" y="554"/>
                  </a:cubicBezTo>
                  <a:cubicBezTo>
                    <a:pt x="1999" y="554"/>
                    <a:pt x="1999" y="554"/>
                    <a:pt x="1999" y="554"/>
                  </a:cubicBezTo>
                  <a:moveTo>
                    <a:pt x="2035" y="552"/>
                  </a:moveTo>
                  <a:cubicBezTo>
                    <a:pt x="2028" y="552"/>
                    <a:pt x="2021" y="557"/>
                    <a:pt x="2020" y="562"/>
                  </a:cubicBezTo>
                  <a:cubicBezTo>
                    <a:pt x="2019" y="568"/>
                    <a:pt x="2024" y="573"/>
                    <a:pt x="2031" y="573"/>
                  </a:cubicBezTo>
                  <a:cubicBezTo>
                    <a:pt x="2038" y="573"/>
                    <a:pt x="2045" y="568"/>
                    <a:pt x="2046" y="562"/>
                  </a:cubicBezTo>
                  <a:cubicBezTo>
                    <a:pt x="2047" y="557"/>
                    <a:pt x="2042" y="552"/>
                    <a:pt x="2035" y="552"/>
                  </a:cubicBezTo>
                  <a:cubicBezTo>
                    <a:pt x="2035" y="552"/>
                    <a:pt x="2035" y="552"/>
                    <a:pt x="2035" y="552"/>
                  </a:cubicBezTo>
                  <a:moveTo>
                    <a:pt x="2179" y="551"/>
                  </a:moveTo>
                  <a:cubicBezTo>
                    <a:pt x="2172" y="551"/>
                    <a:pt x="2166" y="556"/>
                    <a:pt x="2165" y="562"/>
                  </a:cubicBezTo>
                  <a:cubicBezTo>
                    <a:pt x="2164" y="567"/>
                    <a:pt x="2170" y="572"/>
                    <a:pt x="2177" y="572"/>
                  </a:cubicBezTo>
                  <a:cubicBezTo>
                    <a:pt x="2184" y="572"/>
                    <a:pt x="2190" y="567"/>
                    <a:pt x="2190" y="561"/>
                  </a:cubicBezTo>
                  <a:cubicBezTo>
                    <a:pt x="2191" y="556"/>
                    <a:pt x="2186" y="551"/>
                    <a:pt x="2179" y="551"/>
                  </a:cubicBezTo>
                  <a:cubicBezTo>
                    <a:pt x="2179" y="551"/>
                    <a:pt x="2179" y="551"/>
                    <a:pt x="2179" y="551"/>
                  </a:cubicBezTo>
                  <a:moveTo>
                    <a:pt x="2289" y="550"/>
                  </a:moveTo>
                  <a:cubicBezTo>
                    <a:pt x="2282" y="550"/>
                    <a:pt x="2276" y="554"/>
                    <a:pt x="2276" y="560"/>
                  </a:cubicBezTo>
                  <a:cubicBezTo>
                    <a:pt x="2275" y="566"/>
                    <a:pt x="2281" y="570"/>
                    <a:pt x="2288" y="570"/>
                  </a:cubicBezTo>
                  <a:cubicBezTo>
                    <a:pt x="2295" y="570"/>
                    <a:pt x="2301" y="566"/>
                    <a:pt x="2301" y="560"/>
                  </a:cubicBezTo>
                  <a:cubicBezTo>
                    <a:pt x="2302" y="554"/>
                    <a:pt x="2296" y="550"/>
                    <a:pt x="2289" y="550"/>
                  </a:cubicBezTo>
                  <a:cubicBezTo>
                    <a:pt x="2289" y="550"/>
                    <a:pt x="2289" y="550"/>
                    <a:pt x="2289" y="550"/>
                  </a:cubicBezTo>
                  <a:moveTo>
                    <a:pt x="2362" y="549"/>
                  </a:moveTo>
                  <a:cubicBezTo>
                    <a:pt x="2355" y="549"/>
                    <a:pt x="2349" y="554"/>
                    <a:pt x="2348" y="560"/>
                  </a:cubicBezTo>
                  <a:cubicBezTo>
                    <a:pt x="2348" y="565"/>
                    <a:pt x="2354" y="570"/>
                    <a:pt x="2361" y="570"/>
                  </a:cubicBezTo>
                  <a:cubicBezTo>
                    <a:pt x="2368" y="570"/>
                    <a:pt x="2374" y="565"/>
                    <a:pt x="2374" y="559"/>
                  </a:cubicBezTo>
                  <a:cubicBezTo>
                    <a:pt x="2374" y="554"/>
                    <a:pt x="2369" y="549"/>
                    <a:pt x="2362" y="549"/>
                  </a:cubicBezTo>
                  <a:cubicBezTo>
                    <a:pt x="2362" y="549"/>
                    <a:pt x="2362" y="549"/>
                    <a:pt x="2362" y="549"/>
                  </a:cubicBezTo>
                  <a:moveTo>
                    <a:pt x="2760" y="549"/>
                  </a:moveTo>
                  <a:cubicBezTo>
                    <a:pt x="2753" y="549"/>
                    <a:pt x="2747" y="554"/>
                    <a:pt x="2748" y="559"/>
                  </a:cubicBezTo>
                  <a:cubicBezTo>
                    <a:pt x="2748" y="565"/>
                    <a:pt x="2755" y="570"/>
                    <a:pt x="2762" y="569"/>
                  </a:cubicBezTo>
                  <a:cubicBezTo>
                    <a:pt x="2769" y="569"/>
                    <a:pt x="2774" y="565"/>
                    <a:pt x="2773" y="559"/>
                  </a:cubicBezTo>
                  <a:cubicBezTo>
                    <a:pt x="2773" y="554"/>
                    <a:pt x="2767" y="549"/>
                    <a:pt x="2760" y="549"/>
                  </a:cubicBezTo>
                  <a:cubicBezTo>
                    <a:pt x="2760" y="549"/>
                    <a:pt x="2760" y="549"/>
                    <a:pt x="2760" y="549"/>
                  </a:cubicBezTo>
                  <a:moveTo>
                    <a:pt x="2470" y="549"/>
                  </a:moveTo>
                  <a:cubicBezTo>
                    <a:pt x="2463" y="549"/>
                    <a:pt x="2457" y="553"/>
                    <a:pt x="2457" y="559"/>
                  </a:cubicBezTo>
                  <a:cubicBezTo>
                    <a:pt x="2457" y="565"/>
                    <a:pt x="2463" y="569"/>
                    <a:pt x="2470" y="569"/>
                  </a:cubicBezTo>
                  <a:cubicBezTo>
                    <a:pt x="2477" y="569"/>
                    <a:pt x="2483" y="564"/>
                    <a:pt x="2483" y="559"/>
                  </a:cubicBezTo>
                  <a:cubicBezTo>
                    <a:pt x="2483" y="553"/>
                    <a:pt x="2477" y="549"/>
                    <a:pt x="2470" y="549"/>
                  </a:cubicBezTo>
                  <a:cubicBezTo>
                    <a:pt x="2470" y="549"/>
                    <a:pt x="2470" y="549"/>
                    <a:pt x="2470" y="549"/>
                  </a:cubicBezTo>
                  <a:moveTo>
                    <a:pt x="2506" y="548"/>
                  </a:moveTo>
                  <a:cubicBezTo>
                    <a:pt x="2499" y="548"/>
                    <a:pt x="2493" y="553"/>
                    <a:pt x="2493" y="559"/>
                  </a:cubicBezTo>
                  <a:cubicBezTo>
                    <a:pt x="2493" y="564"/>
                    <a:pt x="2499" y="569"/>
                    <a:pt x="2506" y="569"/>
                  </a:cubicBezTo>
                  <a:cubicBezTo>
                    <a:pt x="2513" y="569"/>
                    <a:pt x="2519" y="564"/>
                    <a:pt x="2519" y="559"/>
                  </a:cubicBezTo>
                  <a:cubicBezTo>
                    <a:pt x="2519" y="553"/>
                    <a:pt x="2513" y="548"/>
                    <a:pt x="2506" y="548"/>
                  </a:cubicBezTo>
                  <a:cubicBezTo>
                    <a:pt x="2506" y="548"/>
                    <a:pt x="2506" y="548"/>
                    <a:pt x="2506" y="548"/>
                  </a:cubicBezTo>
                  <a:moveTo>
                    <a:pt x="2652" y="548"/>
                  </a:moveTo>
                  <a:cubicBezTo>
                    <a:pt x="2645" y="548"/>
                    <a:pt x="2639" y="553"/>
                    <a:pt x="2640" y="559"/>
                  </a:cubicBezTo>
                  <a:cubicBezTo>
                    <a:pt x="2640" y="564"/>
                    <a:pt x="2646" y="569"/>
                    <a:pt x="2653" y="569"/>
                  </a:cubicBezTo>
                  <a:cubicBezTo>
                    <a:pt x="2660" y="569"/>
                    <a:pt x="2665" y="564"/>
                    <a:pt x="2665" y="559"/>
                  </a:cubicBezTo>
                  <a:cubicBezTo>
                    <a:pt x="2665" y="553"/>
                    <a:pt x="2659" y="548"/>
                    <a:pt x="2652" y="548"/>
                  </a:cubicBezTo>
                  <a:cubicBezTo>
                    <a:pt x="2652" y="548"/>
                    <a:pt x="2652" y="548"/>
                    <a:pt x="2652" y="548"/>
                  </a:cubicBezTo>
                  <a:moveTo>
                    <a:pt x="2542" y="548"/>
                  </a:moveTo>
                  <a:cubicBezTo>
                    <a:pt x="2535" y="548"/>
                    <a:pt x="2530" y="553"/>
                    <a:pt x="2530" y="558"/>
                  </a:cubicBezTo>
                  <a:cubicBezTo>
                    <a:pt x="2530" y="564"/>
                    <a:pt x="2536" y="569"/>
                    <a:pt x="2543" y="569"/>
                  </a:cubicBezTo>
                  <a:cubicBezTo>
                    <a:pt x="2550" y="569"/>
                    <a:pt x="2555" y="564"/>
                    <a:pt x="2555" y="558"/>
                  </a:cubicBezTo>
                  <a:cubicBezTo>
                    <a:pt x="2555" y="553"/>
                    <a:pt x="2549" y="548"/>
                    <a:pt x="2542" y="548"/>
                  </a:cubicBezTo>
                  <a:cubicBezTo>
                    <a:pt x="2542" y="548"/>
                    <a:pt x="2542" y="548"/>
                    <a:pt x="2542" y="548"/>
                  </a:cubicBezTo>
                  <a:moveTo>
                    <a:pt x="2687" y="548"/>
                  </a:moveTo>
                  <a:cubicBezTo>
                    <a:pt x="2680" y="548"/>
                    <a:pt x="2675" y="553"/>
                    <a:pt x="2675" y="558"/>
                  </a:cubicBezTo>
                  <a:cubicBezTo>
                    <a:pt x="2676" y="564"/>
                    <a:pt x="2682" y="569"/>
                    <a:pt x="2689" y="569"/>
                  </a:cubicBezTo>
                  <a:cubicBezTo>
                    <a:pt x="2696" y="569"/>
                    <a:pt x="2701" y="564"/>
                    <a:pt x="2701" y="558"/>
                  </a:cubicBezTo>
                  <a:cubicBezTo>
                    <a:pt x="2700" y="553"/>
                    <a:pt x="2694" y="548"/>
                    <a:pt x="2688" y="548"/>
                  </a:cubicBezTo>
                  <a:cubicBezTo>
                    <a:pt x="2688" y="548"/>
                    <a:pt x="2687" y="548"/>
                    <a:pt x="2687" y="548"/>
                  </a:cubicBezTo>
                  <a:moveTo>
                    <a:pt x="2616" y="548"/>
                  </a:moveTo>
                  <a:cubicBezTo>
                    <a:pt x="2609" y="548"/>
                    <a:pt x="2603" y="553"/>
                    <a:pt x="2604" y="558"/>
                  </a:cubicBezTo>
                  <a:cubicBezTo>
                    <a:pt x="2604" y="564"/>
                    <a:pt x="2610" y="569"/>
                    <a:pt x="2617" y="569"/>
                  </a:cubicBezTo>
                  <a:cubicBezTo>
                    <a:pt x="2624" y="569"/>
                    <a:pt x="2629" y="564"/>
                    <a:pt x="2629" y="558"/>
                  </a:cubicBezTo>
                  <a:cubicBezTo>
                    <a:pt x="2629" y="553"/>
                    <a:pt x="2623" y="548"/>
                    <a:pt x="2616" y="548"/>
                  </a:cubicBezTo>
                  <a:cubicBezTo>
                    <a:pt x="2616" y="548"/>
                    <a:pt x="2616" y="548"/>
                    <a:pt x="2616" y="548"/>
                  </a:cubicBezTo>
                  <a:moveTo>
                    <a:pt x="2579" y="548"/>
                  </a:moveTo>
                  <a:cubicBezTo>
                    <a:pt x="2572" y="548"/>
                    <a:pt x="2566" y="553"/>
                    <a:pt x="2566" y="558"/>
                  </a:cubicBezTo>
                  <a:cubicBezTo>
                    <a:pt x="2567" y="564"/>
                    <a:pt x="2572" y="568"/>
                    <a:pt x="2579" y="568"/>
                  </a:cubicBezTo>
                  <a:cubicBezTo>
                    <a:pt x="2587" y="568"/>
                    <a:pt x="2592" y="564"/>
                    <a:pt x="2592" y="558"/>
                  </a:cubicBezTo>
                  <a:cubicBezTo>
                    <a:pt x="2592" y="552"/>
                    <a:pt x="2586" y="548"/>
                    <a:pt x="2579" y="548"/>
                  </a:cubicBezTo>
                  <a:cubicBezTo>
                    <a:pt x="2579" y="548"/>
                    <a:pt x="2579" y="548"/>
                    <a:pt x="2579" y="548"/>
                  </a:cubicBezTo>
                  <a:moveTo>
                    <a:pt x="2723" y="548"/>
                  </a:moveTo>
                  <a:cubicBezTo>
                    <a:pt x="2716" y="548"/>
                    <a:pt x="2711" y="553"/>
                    <a:pt x="2712" y="558"/>
                  </a:cubicBezTo>
                  <a:cubicBezTo>
                    <a:pt x="2712" y="564"/>
                    <a:pt x="2718" y="568"/>
                    <a:pt x="2725" y="568"/>
                  </a:cubicBezTo>
                  <a:cubicBezTo>
                    <a:pt x="2732" y="568"/>
                    <a:pt x="2737" y="564"/>
                    <a:pt x="2737" y="558"/>
                  </a:cubicBezTo>
                  <a:cubicBezTo>
                    <a:pt x="2736" y="552"/>
                    <a:pt x="2730" y="548"/>
                    <a:pt x="2723" y="548"/>
                  </a:cubicBezTo>
                  <a:cubicBezTo>
                    <a:pt x="2723" y="548"/>
                    <a:pt x="2723" y="548"/>
                    <a:pt x="2723" y="548"/>
                  </a:cubicBezTo>
                  <a:moveTo>
                    <a:pt x="2796" y="548"/>
                  </a:moveTo>
                  <a:cubicBezTo>
                    <a:pt x="2789" y="548"/>
                    <a:pt x="2784" y="552"/>
                    <a:pt x="2784" y="558"/>
                  </a:cubicBezTo>
                  <a:cubicBezTo>
                    <a:pt x="2785" y="564"/>
                    <a:pt x="2791" y="568"/>
                    <a:pt x="2798" y="568"/>
                  </a:cubicBezTo>
                  <a:cubicBezTo>
                    <a:pt x="2805" y="568"/>
                    <a:pt x="2810" y="563"/>
                    <a:pt x="2809" y="558"/>
                  </a:cubicBezTo>
                  <a:cubicBezTo>
                    <a:pt x="2809" y="552"/>
                    <a:pt x="2803" y="548"/>
                    <a:pt x="2796" y="548"/>
                  </a:cubicBezTo>
                  <a:cubicBezTo>
                    <a:pt x="2796" y="548"/>
                    <a:pt x="2796" y="548"/>
                    <a:pt x="2796" y="548"/>
                  </a:cubicBezTo>
                  <a:moveTo>
                    <a:pt x="2830" y="547"/>
                  </a:moveTo>
                  <a:cubicBezTo>
                    <a:pt x="2823" y="547"/>
                    <a:pt x="2818" y="552"/>
                    <a:pt x="2818" y="558"/>
                  </a:cubicBezTo>
                  <a:cubicBezTo>
                    <a:pt x="2819" y="563"/>
                    <a:pt x="2825" y="568"/>
                    <a:pt x="2832" y="568"/>
                  </a:cubicBezTo>
                  <a:cubicBezTo>
                    <a:pt x="2839" y="568"/>
                    <a:pt x="2844" y="563"/>
                    <a:pt x="2844" y="558"/>
                  </a:cubicBezTo>
                  <a:cubicBezTo>
                    <a:pt x="2843" y="552"/>
                    <a:pt x="2837" y="547"/>
                    <a:pt x="2830" y="547"/>
                  </a:cubicBezTo>
                  <a:cubicBezTo>
                    <a:pt x="2830" y="547"/>
                    <a:pt x="2830" y="547"/>
                    <a:pt x="2830" y="547"/>
                  </a:cubicBezTo>
                  <a:moveTo>
                    <a:pt x="2866" y="547"/>
                  </a:moveTo>
                  <a:cubicBezTo>
                    <a:pt x="2859" y="547"/>
                    <a:pt x="2854" y="552"/>
                    <a:pt x="2854" y="557"/>
                  </a:cubicBezTo>
                  <a:cubicBezTo>
                    <a:pt x="2855" y="563"/>
                    <a:pt x="2861" y="568"/>
                    <a:pt x="2868" y="568"/>
                  </a:cubicBezTo>
                  <a:cubicBezTo>
                    <a:pt x="2875" y="568"/>
                    <a:pt x="2880" y="563"/>
                    <a:pt x="2880" y="557"/>
                  </a:cubicBezTo>
                  <a:cubicBezTo>
                    <a:pt x="2879" y="552"/>
                    <a:pt x="2873" y="547"/>
                    <a:pt x="2866" y="547"/>
                  </a:cubicBezTo>
                  <a:cubicBezTo>
                    <a:pt x="2866" y="547"/>
                    <a:pt x="2866" y="547"/>
                    <a:pt x="2866" y="547"/>
                  </a:cubicBezTo>
                  <a:moveTo>
                    <a:pt x="2902" y="547"/>
                  </a:moveTo>
                  <a:cubicBezTo>
                    <a:pt x="2895" y="547"/>
                    <a:pt x="2890" y="552"/>
                    <a:pt x="2891" y="557"/>
                  </a:cubicBezTo>
                  <a:cubicBezTo>
                    <a:pt x="2891" y="563"/>
                    <a:pt x="2898" y="567"/>
                    <a:pt x="2905" y="567"/>
                  </a:cubicBezTo>
                  <a:cubicBezTo>
                    <a:pt x="2912" y="567"/>
                    <a:pt x="2917" y="563"/>
                    <a:pt x="2916" y="557"/>
                  </a:cubicBezTo>
                  <a:cubicBezTo>
                    <a:pt x="2915" y="551"/>
                    <a:pt x="2909" y="547"/>
                    <a:pt x="2902" y="547"/>
                  </a:cubicBezTo>
                  <a:cubicBezTo>
                    <a:pt x="2902" y="547"/>
                    <a:pt x="2902" y="547"/>
                    <a:pt x="2902" y="547"/>
                  </a:cubicBezTo>
                  <a:moveTo>
                    <a:pt x="2938" y="547"/>
                  </a:moveTo>
                  <a:cubicBezTo>
                    <a:pt x="2931" y="547"/>
                    <a:pt x="2926" y="551"/>
                    <a:pt x="2927" y="557"/>
                  </a:cubicBezTo>
                  <a:cubicBezTo>
                    <a:pt x="2928" y="563"/>
                    <a:pt x="2935" y="567"/>
                    <a:pt x="2942" y="567"/>
                  </a:cubicBezTo>
                  <a:cubicBezTo>
                    <a:pt x="2949" y="567"/>
                    <a:pt x="2954" y="563"/>
                    <a:pt x="2953" y="557"/>
                  </a:cubicBezTo>
                  <a:cubicBezTo>
                    <a:pt x="2952" y="551"/>
                    <a:pt x="2945" y="547"/>
                    <a:pt x="2938" y="547"/>
                  </a:cubicBezTo>
                  <a:cubicBezTo>
                    <a:pt x="2938" y="547"/>
                    <a:pt x="2938" y="547"/>
                    <a:pt x="2938" y="547"/>
                  </a:cubicBezTo>
                  <a:moveTo>
                    <a:pt x="2974" y="546"/>
                  </a:moveTo>
                  <a:cubicBezTo>
                    <a:pt x="2967" y="547"/>
                    <a:pt x="2962" y="551"/>
                    <a:pt x="2963" y="557"/>
                  </a:cubicBezTo>
                  <a:cubicBezTo>
                    <a:pt x="2964" y="562"/>
                    <a:pt x="2971" y="567"/>
                    <a:pt x="2978" y="567"/>
                  </a:cubicBezTo>
                  <a:cubicBezTo>
                    <a:pt x="2985" y="567"/>
                    <a:pt x="2990" y="562"/>
                    <a:pt x="2989" y="557"/>
                  </a:cubicBezTo>
                  <a:cubicBezTo>
                    <a:pt x="2988" y="551"/>
                    <a:pt x="2981" y="546"/>
                    <a:pt x="2974" y="546"/>
                  </a:cubicBezTo>
                  <a:cubicBezTo>
                    <a:pt x="2974" y="546"/>
                    <a:pt x="2974" y="546"/>
                    <a:pt x="2974" y="546"/>
                  </a:cubicBezTo>
                  <a:moveTo>
                    <a:pt x="3010" y="546"/>
                  </a:moveTo>
                  <a:cubicBezTo>
                    <a:pt x="3003" y="546"/>
                    <a:pt x="2999" y="551"/>
                    <a:pt x="3000" y="557"/>
                  </a:cubicBezTo>
                  <a:cubicBezTo>
                    <a:pt x="3001" y="562"/>
                    <a:pt x="3007" y="567"/>
                    <a:pt x="3014" y="567"/>
                  </a:cubicBezTo>
                  <a:cubicBezTo>
                    <a:pt x="3021" y="567"/>
                    <a:pt x="3026" y="562"/>
                    <a:pt x="3025" y="556"/>
                  </a:cubicBezTo>
                  <a:cubicBezTo>
                    <a:pt x="3024" y="551"/>
                    <a:pt x="3017" y="546"/>
                    <a:pt x="3010" y="546"/>
                  </a:cubicBezTo>
                  <a:cubicBezTo>
                    <a:pt x="3010" y="546"/>
                    <a:pt x="3010" y="546"/>
                    <a:pt x="3010" y="546"/>
                  </a:cubicBezTo>
                  <a:moveTo>
                    <a:pt x="3046" y="546"/>
                  </a:moveTo>
                  <a:cubicBezTo>
                    <a:pt x="3039" y="546"/>
                    <a:pt x="3035" y="551"/>
                    <a:pt x="3036" y="556"/>
                  </a:cubicBezTo>
                  <a:cubicBezTo>
                    <a:pt x="3037" y="562"/>
                    <a:pt x="3043" y="567"/>
                    <a:pt x="3050" y="567"/>
                  </a:cubicBezTo>
                  <a:cubicBezTo>
                    <a:pt x="3057" y="566"/>
                    <a:pt x="3062" y="562"/>
                    <a:pt x="3061" y="556"/>
                  </a:cubicBezTo>
                  <a:cubicBezTo>
                    <a:pt x="3060" y="551"/>
                    <a:pt x="3053" y="546"/>
                    <a:pt x="3046" y="546"/>
                  </a:cubicBezTo>
                  <a:cubicBezTo>
                    <a:pt x="3046" y="546"/>
                    <a:pt x="3046" y="546"/>
                    <a:pt x="3046" y="546"/>
                  </a:cubicBezTo>
                  <a:moveTo>
                    <a:pt x="3082" y="546"/>
                  </a:moveTo>
                  <a:cubicBezTo>
                    <a:pt x="3075" y="546"/>
                    <a:pt x="3071" y="550"/>
                    <a:pt x="3072" y="556"/>
                  </a:cubicBezTo>
                  <a:cubicBezTo>
                    <a:pt x="3073" y="562"/>
                    <a:pt x="3080" y="566"/>
                    <a:pt x="3087" y="566"/>
                  </a:cubicBezTo>
                  <a:cubicBezTo>
                    <a:pt x="3094" y="566"/>
                    <a:pt x="3099" y="562"/>
                    <a:pt x="3097" y="556"/>
                  </a:cubicBezTo>
                  <a:cubicBezTo>
                    <a:pt x="3096" y="550"/>
                    <a:pt x="3090" y="546"/>
                    <a:pt x="3083" y="546"/>
                  </a:cubicBezTo>
                  <a:cubicBezTo>
                    <a:pt x="3083" y="546"/>
                    <a:pt x="3083" y="546"/>
                    <a:pt x="3082" y="546"/>
                  </a:cubicBezTo>
                  <a:moveTo>
                    <a:pt x="3120" y="546"/>
                  </a:moveTo>
                  <a:cubicBezTo>
                    <a:pt x="3113" y="546"/>
                    <a:pt x="3108" y="550"/>
                    <a:pt x="3109" y="556"/>
                  </a:cubicBezTo>
                  <a:cubicBezTo>
                    <a:pt x="3111" y="562"/>
                    <a:pt x="3117" y="566"/>
                    <a:pt x="3124" y="566"/>
                  </a:cubicBezTo>
                  <a:cubicBezTo>
                    <a:pt x="3131" y="566"/>
                    <a:pt x="3136" y="561"/>
                    <a:pt x="3135" y="556"/>
                  </a:cubicBezTo>
                  <a:cubicBezTo>
                    <a:pt x="3133" y="550"/>
                    <a:pt x="3127" y="546"/>
                    <a:pt x="3120" y="546"/>
                  </a:cubicBezTo>
                  <a:cubicBezTo>
                    <a:pt x="3120" y="546"/>
                    <a:pt x="3120" y="546"/>
                    <a:pt x="3120" y="546"/>
                  </a:cubicBezTo>
                  <a:moveTo>
                    <a:pt x="3156" y="545"/>
                  </a:moveTo>
                  <a:cubicBezTo>
                    <a:pt x="3149" y="545"/>
                    <a:pt x="3144" y="550"/>
                    <a:pt x="3145" y="556"/>
                  </a:cubicBezTo>
                  <a:cubicBezTo>
                    <a:pt x="3147" y="561"/>
                    <a:pt x="3153" y="566"/>
                    <a:pt x="3160" y="566"/>
                  </a:cubicBezTo>
                  <a:cubicBezTo>
                    <a:pt x="3167" y="566"/>
                    <a:pt x="3172" y="561"/>
                    <a:pt x="3171" y="556"/>
                  </a:cubicBezTo>
                  <a:cubicBezTo>
                    <a:pt x="3169" y="550"/>
                    <a:pt x="3163" y="545"/>
                    <a:pt x="3156" y="545"/>
                  </a:cubicBezTo>
                  <a:cubicBezTo>
                    <a:pt x="3156" y="545"/>
                    <a:pt x="3156" y="545"/>
                    <a:pt x="3156" y="545"/>
                  </a:cubicBezTo>
                  <a:moveTo>
                    <a:pt x="3192" y="545"/>
                  </a:moveTo>
                  <a:cubicBezTo>
                    <a:pt x="3185" y="545"/>
                    <a:pt x="3180" y="550"/>
                    <a:pt x="3182" y="555"/>
                  </a:cubicBezTo>
                  <a:cubicBezTo>
                    <a:pt x="3183" y="561"/>
                    <a:pt x="3190" y="566"/>
                    <a:pt x="3197" y="566"/>
                  </a:cubicBezTo>
                  <a:cubicBezTo>
                    <a:pt x="3204" y="566"/>
                    <a:pt x="3208" y="561"/>
                    <a:pt x="3207" y="555"/>
                  </a:cubicBezTo>
                  <a:cubicBezTo>
                    <a:pt x="3206" y="550"/>
                    <a:pt x="3199" y="545"/>
                    <a:pt x="3192" y="545"/>
                  </a:cubicBezTo>
                  <a:cubicBezTo>
                    <a:pt x="3192" y="545"/>
                    <a:pt x="3192" y="545"/>
                    <a:pt x="3192" y="545"/>
                  </a:cubicBezTo>
                  <a:moveTo>
                    <a:pt x="3228" y="545"/>
                  </a:moveTo>
                  <a:cubicBezTo>
                    <a:pt x="3221" y="545"/>
                    <a:pt x="3217" y="550"/>
                    <a:pt x="3218" y="555"/>
                  </a:cubicBezTo>
                  <a:cubicBezTo>
                    <a:pt x="3220" y="561"/>
                    <a:pt x="3227" y="565"/>
                    <a:pt x="3234" y="565"/>
                  </a:cubicBezTo>
                  <a:cubicBezTo>
                    <a:pt x="3241" y="565"/>
                    <a:pt x="3245" y="561"/>
                    <a:pt x="3244" y="555"/>
                  </a:cubicBezTo>
                  <a:cubicBezTo>
                    <a:pt x="3242" y="549"/>
                    <a:pt x="3235" y="545"/>
                    <a:pt x="3228" y="545"/>
                  </a:cubicBezTo>
                  <a:cubicBezTo>
                    <a:pt x="3228" y="545"/>
                    <a:pt x="3228" y="545"/>
                    <a:pt x="3228" y="545"/>
                  </a:cubicBezTo>
                  <a:moveTo>
                    <a:pt x="3264" y="545"/>
                  </a:moveTo>
                  <a:cubicBezTo>
                    <a:pt x="3257" y="545"/>
                    <a:pt x="3253" y="549"/>
                    <a:pt x="3254" y="555"/>
                  </a:cubicBezTo>
                  <a:cubicBezTo>
                    <a:pt x="3256" y="561"/>
                    <a:pt x="3263" y="565"/>
                    <a:pt x="3270" y="565"/>
                  </a:cubicBezTo>
                  <a:cubicBezTo>
                    <a:pt x="3277" y="565"/>
                    <a:pt x="3281" y="561"/>
                    <a:pt x="3280" y="555"/>
                  </a:cubicBezTo>
                  <a:cubicBezTo>
                    <a:pt x="3278" y="549"/>
                    <a:pt x="3271" y="545"/>
                    <a:pt x="3264" y="545"/>
                  </a:cubicBezTo>
                  <a:cubicBezTo>
                    <a:pt x="3264" y="545"/>
                    <a:pt x="3264" y="545"/>
                    <a:pt x="3264" y="545"/>
                  </a:cubicBezTo>
                  <a:moveTo>
                    <a:pt x="3300" y="544"/>
                  </a:moveTo>
                  <a:cubicBezTo>
                    <a:pt x="3293" y="544"/>
                    <a:pt x="3289" y="549"/>
                    <a:pt x="3291" y="555"/>
                  </a:cubicBezTo>
                  <a:cubicBezTo>
                    <a:pt x="3292" y="560"/>
                    <a:pt x="3299" y="565"/>
                    <a:pt x="3306" y="565"/>
                  </a:cubicBezTo>
                  <a:cubicBezTo>
                    <a:pt x="3313" y="565"/>
                    <a:pt x="3318" y="560"/>
                    <a:pt x="3316" y="555"/>
                  </a:cubicBezTo>
                  <a:cubicBezTo>
                    <a:pt x="3314" y="549"/>
                    <a:pt x="3307" y="544"/>
                    <a:pt x="3300" y="544"/>
                  </a:cubicBezTo>
                  <a:cubicBezTo>
                    <a:pt x="3300" y="544"/>
                    <a:pt x="3300" y="544"/>
                    <a:pt x="3300" y="544"/>
                  </a:cubicBezTo>
                  <a:moveTo>
                    <a:pt x="3336" y="544"/>
                  </a:moveTo>
                  <a:cubicBezTo>
                    <a:pt x="3329" y="544"/>
                    <a:pt x="3325" y="549"/>
                    <a:pt x="3327" y="555"/>
                  </a:cubicBezTo>
                  <a:cubicBezTo>
                    <a:pt x="3328" y="560"/>
                    <a:pt x="3335" y="565"/>
                    <a:pt x="3342" y="565"/>
                  </a:cubicBezTo>
                  <a:cubicBezTo>
                    <a:pt x="3349" y="565"/>
                    <a:pt x="3354" y="560"/>
                    <a:pt x="3352" y="554"/>
                  </a:cubicBezTo>
                  <a:cubicBezTo>
                    <a:pt x="3350" y="549"/>
                    <a:pt x="3343" y="544"/>
                    <a:pt x="3336" y="544"/>
                  </a:cubicBezTo>
                  <a:cubicBezTo>
                    <a:pt x="3336" y="544"/>
                    <a:pt x="3336" y="544"/>
                    <a:pt x="3336" y="544"/>
                  </a:cubicBezTo>
                  <a:moveTo>
                    <a:pt x="3372" y="544"/>
                  </a:moveTo>
                  <a:cubicBezTo>
                    <a:pt x="3365" y="544"/>
                    <a:pt x="3361" y="549"/>
                    <a:pt x="3363" y="554"/>
                  </a:cubicBezTo>
                  <a:cubicBezTo>
                    <a:pt x="3365" y="560"/>
                    <a:pt x="3372" y="565"/>
                    <a:pt x="3379" y="565"/>
                  </a:cubicBezTo>
                  <a:cubicBezTo>
                    <a:pt x="3386" y="564"/>
                    <a:pt x="3390" y="560"/>
                    <a:pt x="3388" y="554"/>
                  </a:cubicBezTo>
                  <a:cubicBezTo>
                    <a:pt x="3386" y="549"/>
                    <a:pt x="3379" y="544"/>
                    <a:pt x="3372" y="544"/>
                  </a:cubicBezTo>
                  <a:cubicBezTo>
                    <a:pt x="3372" y="544"/>
                    <a:pt x="3372" y="544"/>
                    <a:pt x="3372" y="544"/>
                  </a:cubicBezTo>
                  <a:moveTo>
                    <a:pt x="3409" y="544"/>
                  </a:moveTo>
                  <a:cubicBezTo>
                    <a:pt x="3402" y="544"/>
                    <a:pt x="3398" y="548"/>
                    <a:pt x="3399" y="554"/>
                  </a:cubicBezTo>
                  <a:cubicBezTo>
                    <a:pt x="3401" y="560"/>
                    <a:pt x="3408" y="564"/>
                    <a:pt x="3416" y="564"/>
                  </a:cubicBezTo>
                  <a:cubicBezTo>
                    <a:pt x="3423" y="564"/>
                    <a:pt x="3427" y="560"/>
                    <a:pt x="3425" y="554"/>
                  </a:cubicBezTo>
                  <a:cubicBezTo>
                    <a:pt x="3423" y="548"/>
                    <a:pt x="3416" y="544"/>
                    <a:pt x="3409" y="544"/>
                  </a:cubicBezTo>
                  <a:cubicBezTo>
                    <a:pt x="3409" y="544"/>
                    <a:pt x="3409" y="544"/>
                    <a:pt x="3409" y="544"/>
                  </a:cubicBezTo>
                  <a:moveTo>
                    <a:pt x="3626" y="544"/>
                  </a:moveTo>
                  <a:cubicBezTo>
                    <a:pt x="3619" y="544"/>
                    <a:pt x="3615" y="548"/>
                    <a:pt x="3617" y="554"/>
                  </a:cubicBezTo>
                  <a:cubicBezTo>
                    <a:pt x="3620" y="560"/>
                    <a:pt x="3627" y="564"/>
                    <a:pt x="3634" y="564"/>
                  </a:cubicBezTo>
                  <a:cubicBezTo>
                    <a:pt x="3641" y="564"/>
                    <a:pt x="3645" y="559"/>
                    <a:pt x="3643" y="554"/>
                  </a:cubicBezTo>
                  <a:cubicBezTo>
                    <a:pt x="3640" y="548"/>
                    <a:pt x="3633" y="544"/>
                    <a:pt x="3626" y="544"/>
                  </a:cubicBezTo>
                  <a:cubicBezTo>
                    <a:pt x="3626" y="544"/>
                    <a:pt x="3626" y="544"/>
                    <a:pt x="3626" y="544"/>
                  </a:cubicBezTo>
                  <a:moveTo>
                    <a:pt x="3445" y="544"/>
                  </a:moveTo>
                  <a:cubicBezTo>
                    <a:pt x="3438" y="544"/>
                    <a:pt x="3434" y="548"/>
                    <a:pt x="3435" y="554"/>
                  </a:cubicBezTo>
                  <a:cubicBezTo>
                    <a:pt x="3437" y="560"/>
                    <a:pt x="3445" y="564"/>
                    <a:pt x="3452" y="564"/>
                  </a:cubicBezTo>
                  <a:cubicBezTo>
                    <a:pt x="3459" y="564"/>
                    <a:pt x="3463" y="559"/>
                    <a:pt x="3461" y="554"/>
                  </a:cubicBezTo>
                  <a:cubicBezTo>
                    <a:pt x="3459" y="548"/>
                    <a:pt x="3452" y="544"/>
                    <a:pt x="3445" y="544"/>
                  </a:cubicBezTo>
                  <a:cubicBezTo>
                    <a:pt x="3445" y="544"/>
                    <a:pt x="3445" y="544"/>
                    <a:pt x="3445" y="544"/>
                  </a:cubicBezTo>
                  <a:moveTo>
                    <a:pt x="3662" y="543"/>
                  </a:moveTo>
                  <a:cubicBezTo>
                    <a:pt x="3655" y="543"/>
                    <a:pt x="3651" y="548"/>
                    <a:pt x="3653" y="554"/>
                  </a:cubicBezTo>
                  <a:cubicBezTo>
                    <a:pt x="3656" y="559"/>
                    <a:pt x="3663" y="564"/>
                    <a:pt x="3670" y="564"/>
                  </a:cubicBezTo>
                  <a:cubicBezTo>
                    <a:pt x="3677" y="564"/>
                    <a:pt x="3681" y="559"/>
                    <a:pt x="3679" y="554"/>
                  </a:cubicBezTo>
                  <a:cubicBezTo>
                    <a:pt x="3676" y="548"/>
                    <a:pt x="3669" y="543"/>
                    <a:pt x="3662" y="543"/>
                  </a:cubicBezTo>
                  <a:cubicBezTo>
                    <a:pt x="3662" y="543"/>
                    <a:pt x="3662" y="543"/>
                    <a:pt x="3662" y="543"/>
                  </a:cubicBezTo>
                  <a:moveTo>
                    <a:pt x="3481" y="543"/>
                  </a:moveTo>
                  <a:cubicBezTo>
                    <a:pt x="3474" y="543"/>
                    <a:pt x="3470" y="548"/>
                    <a:pt x="3472" y="554"/>
                  </a:cubicBezTo>
                  <a:cubicBezTo>
                    <a:pt x="3474" y="559"/>
                    <a:pt x="3481" y="564"/>
                    <a:pt x="3488" y="564"/>
                  </a:cubicBezTo>
                  <a:cubicBezTo>
                    <a:pt x="3495" y="564"/>
                    <a:pt x="3499" y="559"/>
                    <a:pt x="3497" y="553"/>
                  </a:cubicBezTo>
                  <a:cubicBezTo>
                    <a:pt x="3495" y="548"/>
                    <a:pt x="3488" y="543"/>
                    <a:pt x="3481" y="543"/>
                  </a:cubicBezTo>
                  <a:cubicBezTo>
                    <a:pt x="3481" y="543"/>
                    <a:pt x="3481" y="543"/>
                    <a:pt x="3481" y="543"/>
                  </a:cubicBezTo>
                  <a:moveTo>
                    <a:pt x="3698" y="543"/>
                  </a:moveTo>
                  <a:cubicBezTo>
                    <a:pt x="3691" y="543"/>
                    <a:pt x="3687" y="548"/>
                    <a:pt x="3690" y="554"/>
                  </a:cubicBezTo>
                  <a:cubicBezTo>
                    <a:pt x="3692" y="559"/>
                    <a:pt x="3700" y="564"/>
                    <a:pt x="3707" y="564"/>
                  </a:cubicBezTo>
                  <a:cubicBezTo>
                    <a:pt x="3714" y="564"/>
                    <a:pt x="3717" y="559"/>
                    <a:pt x="3715" y="553"/>
                  </a:cubicBezTo>
                  <a:cubicBezTo>
                    <a:pt x="3712" y="548"/>
                    <a:pt x="3705" y="543"/>
                    <a:pt x="3698" y="543"/>
                  </a:cubicBezTo>
                  <a:cubicBezTo>
                    <a:pt x="3698" y="543"/>
                    <a:pt x="3698" y="543"/>
                    <a:pt x="3698" y="543"/>
                  </a:cubicBezTo>
                  <a:moveTo>
                    <a:pt x="3517" y="543"/>
                  </a:moveTo>
                  <a:cubicBezTo>
                    <a:pt x="3510" y="543"/>
                    <a:pt x="3506" y="548"/>
                    <a:pt x="3508" y="553"/>
                  </a:cubicBezTo>
                  <a:cubicBezTo>
                    <a:pt x="3510" y="559"/>
                    <a:pt x="3517" y="564"/>
                    <a:pt x="3524" y="564"/>
                  </a:cubicBezTo>
                  <a:cubicBezTo>
                    <a:pt x="3531" y="564"/>
                    <a:pt x="3535" y="559"/>
                    <a:pt x="3533" y="553"/>
                  </a:cubicBezTo>
                  <a:cubicBezTo>
                    <a:pt x="3531" y="548"/>
                    <a:pt x="3524" y="543"/>
                    <a:pt x="3517" y="543"/>
                  </a:cubicBezTo>
                  <a:cubicBezTo>
                    <a:pt x="3517" y="543"/>
                    <a:pt x="3517" y="543"/>
                    <a:pt x="3517" y="543"/>
                  </a:cubicBezTo>
                  <a:moveTo>
                    <a:pt x="3736" y="543"/>
                  </a:moveTo>
                  <a:cubicBezTo>
                    <a:pt x="3729" y="543"/>
                    <a:pt x="3726" y="548"/>
                    <a:pt x="3728" y="553"/>
                  </a:cubicBezTo>
                  <a:cubicBezTo>
                    <a:pt x="3731" y="559"/>
                    <a:pt x="3738" y="564"/>
                    <a:pt x="3745" y="563"/>
                  </a:cubicBezTo>
                  <a:cubicBezTo>
                    <a:pt x="3752" y="563"/>
                    <a:pt x="3756" y="559"/>
                    <a:pt x="3753" y="553"/>
                  </a:cubicBezTo>
                  <a:cubicBezTo>
                    <a:pt x="3751" y="547"/>
                    <a:pt x="3743" y="543"/>
                    <a:pt x="3736" y="543"/>
                  </a:cubicBezTo>
                  <a:cubicBezTo>
                    <a:pt x="3736" y="543"/>
                    <a:pt x="3736" y="543"/>
                    <a:pt x="3736" y="543"/>
                  </a:cubicBezTo>
                  <a:moveTo>
                    <a:pt x="3553" y="543"/>
                  </a:moveTo>
                  <a:cubicBezTo>
                    <a:pt x="3546" y="543"/>
                    <a:pt x="3542" y="548"/>
                    <a:pt x="3544" y="553"/>
                  </a:cubicBezTo>
                  <a:cubicBezTo>
                    <a:pt x="3546" y="559"/>
                    <a:pt x="3554" y="563"/>
                    <a:pt x="3561" y="563"/>
                  </a:cubicBezTo>
                  <a:cubicBezTo>
                    <a:pt x="3568" y="563"/>
                    <a:pt x="3572" y="559"/>
                    <a:pt x="3569" y="553"/>
                  </a:cubicBezTo>
                  <a:cubicBezTo>
                    <a:pt x="3567" y="547"/>
                    <a:pt x="3560" y="543"/>
                    <a:pt x="3553" y="543"/>
                  </a:cubicBezTo>
                  <a:cubicBezTo>
                    <a:pt x="3553" y="543"/>
                    <a:pt x="3553" y="543"/>
                    <a:pt x="3553" y="543"/>
                  </a:cubicBezTo>
                  <a:moveTo>
                    <a:pt x="3772" y="543"/>
                  </a:moveTo>
                  <a:cubicBezTo>
                    <a:pt x="3765" y="543"/>
                    <a:pt x="3761" y="547"/>
                    <a:pt x="3764" y="553"/>
                  </a:cubicBezTo>
                  <a:cubicBezTo>
                    <a:pt x="3766" y="559"/>
                    <a:pt x="3774" y="563"/>
                    <a:pt x="3781" y="563"/>
                  </a:cubicBezTo>
                  <a:cubicBezTo>
                    <a:pt x="3788" y="563"/>
                    <a:pt x="3792" y="559"/>
                    <a:pt x="3789" y="553"/>
                  </a:cubicBezTo>
                  <a:cubicBezTo>
                    <a:pt x="3786" y="547"/>
                    <a:pt x="3779" y="543"/>
                    <a:pt x="3772" y="543"/>
                  </a:cubicBezTo>
                  <a:cubicBezTo>
                    <a:pt x="3772" y="543"/>
                    <a:pt x="3772" y="543"/>
                    <a:pt x="3772" y="543"/>
                  </a:cubicBezTo>
                  <a:moveTo>
                    <a:pt x="3589" y="543"/>
                  </a:moveTo>
                  <a:cubicBezTo>
                    <a:pt x="3582" y="543"/>
                    <a:pt x="3578" y="547"/>
                    <a:pt x="3581" y="553"/>
                  </a:cubicBezTo>
                  <a:cubicBezTo>
                    <a:pt x="3583" y="559"/>
                    <a:pt x="3590" y="563"/>
                    <a:pt x="3597" y="563"/>
                  </a:cubicBezTo>
                  <a:cubicBezTo>
                    <a:pt x="3604" y="563"/>
                    <a:pt x="3608" y="558"/>
                    <a:pt x="3606" y="553"/>
                  </a:cubicBezTo>
                  <a:cubicBezTo>
                    <a:pt x="3604" y="547"/>
                    <a:pt x="3596" y="543"/>
                    <a:pt x="3589" y="543"/>
                  </a:cubicBezTo>
                  <a:cubicBezTo>
                    <a:pt x="3589" y="543"/>
                    <a:pt x="3589" y="543"/>
                    <a:pt x="3589" y="543"/>
                  </a:cubicBezTo>
                  <a:moveTo>
                    <a:pt x="3808" y="542"/>
                  </a:moveTo>
                  <a:cubicBezTo>
                    <a:pt x="3801" y="543"/>
                    <a:pt x="3797" y="547"/>
                    <a:pt x="3800" y="553"/>
                  </a:cubicBezTo>
                  <a:cubicBezTo>
                    <a:pt x="3802" y="559"/>
                    <a:pt x="3810" y="563"/>
                    <a:pt x="3817" y="563"/>
                  </a:cubicBezTo>
                  <a:cubicBezTo>
                    <a:pt x="3824" y="563"/>
                    <a:pt x="3828" y="558"/>
                    <a:pt x="3825" y="553"/>
                  </a:cubicBezTo>
                  <a:cubicBezTo>
                    <a:pt x="3822" y="547"/>
                    <a:pt x="3815" y="542"/>
                    <a:pt x="3808" y="542"/>
                  </a:cubicBezTo>
                  <a:cubicBezTo>
                    <a:pt x="3808" y="542"/>
                    <a:pt x="3808" y="542"/>
                    <a:pt x="3808" y="542"/>
                  </a:cubicBezTo>
                  <a:moveTo>
                    <a:pt x="3844" y="542"/>
                  </a:moveTo>
                  <a:cubicBezTo>
                    <a:pt x="3837" y="542"/>
                    <a:pt x="3833" y="547"/>
                    <a:pt x="3836" y="553"/>
                  </a:cubicBezTo>
                  <a:cubicBezTo>
                    <a:pt x="3839" y="558"/>
                    <a:pt x="3847" y="563"/>
                    <a:pt x="3854" y="563"/>
                  </a:cubicBezTo>
                  <a:cubicBezTo>
                    <a:pt x="3861" y="563"/>
                    <a:pt x="3864" y="558"/>
                    <a:pt x="3861" y="552"/>
                  </a:cubicBezTo>
                  <a:cubicBezTo>
                    <a:pt x="3859" y="547"/>
                    <a:pt x="3851" y="542"/>
                    <a:pt x="3844" y="542"/>
                  </a:cubicBezTo>
                  <a:cubicBezTo>
                    <a:pt x="3844" y="542"/>
                    <a:pt x="3844" y="542"/>
                    <a:pt x="3844" y="542"/>
                  </a:cubicBezTo>
                  <a:moveTo>
                    <a:pt x="3880" y="542"/>
                  </a:moveTo>
                  <a:cubicBezTo>
                    <a:pt x="3873" y="542"/>
                    <a:pt x="3870" y="547"/>
                    <a:pt x="3873" y="552"/>
                  </a:cubicBezTo>
                  <a:cubicBezTo>
                    <a:pt x="3875" y="558"/>
                    <a:pt x="3883" y="563"/>
                    <a:pt x="3890" y="563"/>
                  </a:cubicBezTo>
                  <a:cubicBezTo>
                    <a:pt x="3897" y="563"/>
                    <a:pt x="3901" y="558"/>
                    <a:pt x="3898" y="552"/>
                  </a:cubicBezTo>
                  <a:cubicBezTo>
                    <a:pt x="3895" y="547"/>
                    <a:pt x="3887" y="542"/>
                    <a:pt x="3880" y="542"/>
                  </a:cubicBezTo>
                  <a:cubicBezTo>
                    <a:pt x="3880" y="542"/>
                    <a:pt x="3880" y="542"/>
                    <a:pt x="3880" y="542"/>
                  </a:cubicBezTo>
                  <a:moveTo>
                    <a:pt x="3916" y="542"/>
                  </a:moveTo>
                  <a:cubicBezTo>
                    <a:pt x="3909" y="542"/>
                    <a:pt x="3906" y="546"/>
                    <a:pt x="3909" y="552"/>
                  </a:cubicBezTo>
                  <a:cubicBezTo>
                    <a:pt x="3911" y="558"/>
                    <a:pt x="3919" y="562"/>
                    <a:pt x="3926" y="562"/>
                  </a:cubicBezTo>
                  <a:cubicBezTo>
                    <a:pt x="3933" y="562"/>
                    <a:pt x="3937" y="558"/>
                    <a:pt x="3934" y="552"/>
                  </a:cubicBezTo>
                  <a:cubicBezTo>
                    <a:pt x="3931" y="546"/>
                    <a:pt x="3923" y="542"/>
                    <a:pt x="3916" y="542"/>
                  </a:cubicBezTo>
                  <a:cubicBezTo>
                    <a:pt x="3916" y="542"/>
                    <a:pt x="3916" y="542"/>
                    <a:pt x="3916" y="542"/>
                  </a:cubicBezTo>
                  <a:moveTo>
                    <a:pt x="3988" y="541"/>
                  </a:moveTo>
                  <a:cubicBezTo>
                    <a:pt x="3981" y="541"/>
                    <a:pt x="3978" y="546"/>
                    <a:pt x="3981" y="552"/>
                  </a:cubicBezTo>
                  <a:cubicBezTo>
                    <a:pt x="3984" y="557"/>
                    <a:pt x="3992" y="562"/>
                    <a:pt x="3999" y="562"/>
                  </a:cubicBezTo>
                  <a:cubicBezTo>
                    <a:pt x="4006" y="562"/>
                    <a:pt x="4009" y="557"/>
                    <a:pt x="4006" y="552"/>
                  </a:cubicBezTo>
                  <a:cubicBezTo>
                    <a:pt x="4003" y="546"/>
                    <a:pt x="3995" y="541"/>
                    <a:pt x="3988" y="541"/>
                  </a:cubicBezTo>
                  <a:cubicBezTo>
                    <a:pt x="3988" y="541"/>
                    <a:pt x="3988" y="541"/>
                    <a:pt x="3988" y="541"/>
                  </a:cubicBezTo>
                  <a:moveTo>
                    <a:pt x="4203" y="537"/>
                  </a:moveTo>
                  <a:cubicBezTo>
                    <a:pt x="4196" y="537"/>
                    <a:pt x="4193" y="541"/>
                    <a:pt x="4196" y="547"/>
                  </a:cubicBezTo>
                  <a:cubicBezTo>
                    <a:pt x="4200" y="553"/>
                    <a:pt x="4208" y="557"/>
                    <a:pt x="4215" y="557"/>
                  </a:cubicBezTo>
                  <a:cubicBezTo>
                    <a:pt x="4222" y="557"/>
                    <a:pt x="4225" y="553"/>
                    <a:pt x="4222" y="547"/>
                  </a:cubicBezTo>
                  <a:cubicBezTo>
                    <a:pt x="4218" y="541"/>
                    <a:pt x="4210" y="537"/>
                    <a:pt x="4203" y="537"/>
                  </a:cubicBezTo>
                  <a:cubicBezTo>
                    <a:pt x="4203" y="537"/>
                    <a:pt x="4203" y="537"/>
                    <a:pt x="4203" y="537"/>
                  </a:cubicBezTo>
                  <a:moveTo>
                    <a:pt x="174" y="535"/>
                  </a:moveTo>
                  <a:cubicBezTo>
                    <a:pt x="167" y="535"/>
                    <a:pt x="157" y="540"/>
                    <a:pt x="152" y="545"/>
                  </a:cubicBezTo>
                  <a:cubicBezTo>
                    <a:pt x="148" y="551"/>
                    <a:pt x="150" y="555"/>
                    <a:pt x="157" y="555"/>
                  </a:cubicBezTo>
                  <a:cubicBezTo>
                    <a:pt x="164" y="555"/>
                    <a:pt x="173" y="551"/>
                    <a:pt x="178" y="545"/>
                  </a:cubicBezTo>
                  <a:cubicBezTo>
                    <a:pt x="182" y="540"/>
                    <a:pt x="180" y="535"/>
                    <a:pt x="174" y="535"/>
                  </a:cubicBezTo>
                  <a:cubicBezTo>
                    <a:pt x="174" y="535"/>
                    <a:pt x="174" y="535"/>
                    <a:pt x="174" y="535"/>
                  </a:cubicBezTo>
                  <a:moveTo>
                    <a:pt x="209" y="535"/>
                  </a:moveTo>
                  <a:cubicBezTo>
                    <a:pt x="202" y="535"/>
                    <a:pt x="193" y="539"/>
                    <a:pt x="188" y="545"/>
                  </a:cubicBezTo>
                  <a:cubicBezTo>
                    <a:pt x="184" y="551"/>
                    <a:pt x="186" y="555"/>
                    <a:pt x="193" y="555"/>
                  </a:cubicBezTo>
                  <a:cubicBezTo>
                    <a:pt x="200" y="555"/>
                    <a:pt x="209" y="550"/>
                    <a:pt x="214" y="545"/>
                  </a:cubicBezTo>
                  <a:cubicBezTo>
                    <a:pt x="218" y="539"/>
                    <a:pt x="216" y="535"/>
                    <a:pt x="209" y="535"/>
                  </a:cubicBezTo>
                  <a:cubicBezTo>
                    <a:pt x="209" y="535"/>
                    <a:pt x="209" y="535"/>
                    <a:pt x="209" y="535"/>
                  </a:cubicBezTo>
                  <a:moveTo>
                    <a:pt x="247" y="535"/>
                  </a:moveTo>
                  <a:cubicBezTo>
                    <a:pt x="240" y="535"/>
                    <a:pt x="230" y="539"/>
                    <a:pt x="226" y="545"/>
                  </a:cubicBezTo>
                  <a:cubicBezTo>
                    <a:pt x="221" y="550"/>
                    <a:pt x="223" y="555"/>
                    <a:pt x="230" y="555"/>
                  </a:cubicBezTo>
                  <a:cubicBezTo>
                    <a:pt x="237" y="555"/>
                    <a:pt x="247" y="550"/>
                    <a:pt x="251" y="545"/>
                  </a:cubicBezTo>
                  <a:cubicBezTo>
                    <a:pt x="256" y="539"/>
                    <a:pt x="254" y="535"/>
                    <a:pt x="247" y="535"/>
                  </a:cubicBezTo>
                  <a:cubicBezTo>
                    <a:pt x="247" y="535"/>
                    <a:pt x="247" y="535"/>
                    <a:pt x="247" y="535"/>
                  </a:cubicBezTo>
                  <a:moveTo>
                    <a:pt x="282" y="534"/>
                  </a:moveTo>
                  <a:cubicBezTo>
                    <a:pt x="276" y="534"/>
                    <a:pt x="266" y="539"/>
                    <a:pt x="262" y="545"/>
                  </a:cubicBezTo>
                  <a:cubicBezTo>
                    <a:pt x="257" y="550"/>
                    <a:pt x="259" y="555"/>
                    <a:pt x="266" y="555"/>
                  </a:cubicBezTo>
                  <a:cubicBezTo>
                    <a:pt x="273" y="555"/>
                    <a:pt x="283" y="550"/>
                    <a:pt x="287" y="544"/>
                  </a:cubicBezTo>
                  <a:cubicBezTo>
                    <a:pt x="291" y="539"/>
                    <a:pt x="289" y="534"/>
                    <a:pt x="283" y="534"/>
                  </a:cubicBezTo>
                  <a:cubicBezTo>
                    <a:pt x="283" y="534"/>
                    <a:pt x="282" y="534"/>
                    <a:pt x="282" y="534"/>
                  </a:cubicBezTo>
                  <a:moveTo>
                    <a:pt x="318" y="534"/>
                  </a:moveTo>
                  <a:cubicBezTo>
                    <a:pt x="311" y="534"/>
                    <a:pt x="302" y="539"/>
                    <a:pt x="298" y="544"/>
                  </a:cubicBezTo>
                  <a:cubicBezTo>
                    <a:pt x="293" y="550"/>
                    <a:pt x="296" y="554"/>
                    <a:pt x="303" y="554"/>
                  </a:cubicBezTo>
                  <a:cubicBezTo>
                    <a:pt x="310" y="554"/>
                    <a:pt x="319" y="550"/>
                    <a:pt x="323" y="544"/>
                  </a:cubicBezTo>
                  <a:cubicBezTo>
                    <a:pt x="327" y="539"/>
                    <a:pt x="325" y="534"/>
                    <a:pt x="319" y="534"/>
                  </a:cubicBezTo>
                  <a:cubicBezTo>
                    <a:pt x="318" y="534"/>
                    <a:pt x="318" y="534"/>
                    <a:pt x="318" y="534"/>
                  </a:cubicBezTo>
                  <a:moveTo>
                    <a:pt x="354" y="534"/>
                  </a:moveTo>
                  <a:cubicBezTo>
                    <a:pt x="347" y="534"/>
                    <a:pt x="338" y="538"/>
                    <a:pt x="334" y="544"/>
                  </a:cubicBezTo>
                  <a:cubicBezTo>
                    <a:pt x="329" y="550"/>
                    <a:pt x="332" y="554"/>
                    <a:pt x="339" y="554"/>
                  </a:cubicBezTo>
                  <a:cubicBezTo>
                    <a:pt x="346" y="554"/>
                    <a:pt x="355" y="550"/>
                    <a:pt x="359" y="544"/>
                  </a:cubicBezTo>
                  <a:cubicBezTo>
                    <a:pt x="363" y="538"/>
                    <a:pt x="361" y="534"/>
                    <a:pt x="354" y="534"/>
                  </a:cubicBezTo>
                  <a:cubicBezTo>
                    <a:pt x="354" y="534"/>
                    <a:pt x="354" y="534"/>
                    <a:pt x="354" y="534"/>
                  </a:cubicBezTo>
                  <a:moveTo>
                    <a:pt x="390" y="534"/>
                  </a:moveTo>
                  <a:cubicBezTo>
                    <a:pt x="383" y="534"/>
                    <a:pt x="374" y="538"/>
                    <a:pt x="370" y="544"/>
                  </a:cubicBezTo>
                  <a:cubicBezTo>
                    <a:pt x="366" y="549"/>
                    <a:pt x="368" y="554"/>
                    <a:pt x="375" y="554"/>
                  </a:cubicBezTo>
                  <a:cubicBezTo>
                    <a:pt x="382" y="554"/>
                    <a:pt x="391" y="549"/>
                    <a:pt x="395" y="544"/>
                  </a:cubicBezTo>
                  <a:cubicBezTo>
                    <a:pt x="399" y="538"/>
                    <a:pt x="397" y="534"/>
                    <a:pt x="390" y="534"/>
                  </a:cubicBezTo>
                  <a:cubicBezTo>
                    <a:pt x="390" y="534"/>
                    <a:pt x="390" y="534"/>
                    <a:pt x="390" y="534"/>
                  </a:cubicBezTo>
                  <a:moveTo>
                    <a:pt x="427" y="533"/>
                  </a:moveTo>
                  <a:cubicBezTo>
                    <a:pt x="420" y="533"/>
                    <a:pt x="411" y="538"/>
                    <a:pt x="407" y="544"/>
                  </a:cubicBezTo>
                  <a:cubicBezTo>
                    <a:pt x="403" y="549"/>
                    <a:pt x="405" y="554"/>
                    <a:pt x="412" y="554"/>
                  </a:cubicBezTo>
                  <a:cubicBezTo>
                    <a:pt x="419" y="554"/>
                    <a:pt x="428" y="549"/>
                    <a:pt x="432" y="543"/>
                  </a:cubicBezTo>
                  <a:cubicBezTo>
                    <a:pt x="436" y="538"/>
                    <a:pt x="434" y="533"/>
                    <a:pt x="427" y="533"/>
                  </a:cubicBezTo>
                  <a:cubicBezTo>
                    <a:pt x="427" y="533"/>
                    <a:pt x="427" y="533"/>
                    <a:pt x="427" y="533"/>
                  </a:cubicBezTo>
                  <a:moveTo>
                    <a:pt x="463" y="533"/>
                  </a:moveTo>
                  <a:cubicBezTo>
                    <a:pt x="456" y="533"/>
                    <a:pt x="447" y="538"/>
                    <a:pt x="443" y="543"/>
                  </a:cubicBezTo>
                  <a:cubicBezTo>
                    <a:pt x="439" y="549"/>
                    <a:pt x="441" y="553"/>
                    <a:pt x="448" y="553"/>
                  </a:cubicBezTo>
                  <a:cubicBezTo>
                    <a:pt x="455" y="553"/>
                    <a:pt x="464" y="549"/>
                    <a:pt x="468" y="543"/>
                  </a:cubicBezTo>
                  <a:cubicBezTo>
                    <a:pt x="472" y="538"/>
                    <a:pt x="470" y="533"/>
                    <a:pt x="463" y="533"/>
                  </a:cubicBezTo>
                  <a:cubicBezTo>
                    <a:pt x="463" y="533"/>
                    <a:pt x="463" y="533"/>
                    <a:pt x="463" y="533"/>
                  </a:cubicBezTo>
                  <a:moveTo>
                    <a:pt x="499" y="533"/>
                  </a:moveTo>
                  <a:cubicBezTo>
                    <a:pt x="492" y="533"/>
                    <a:pt x="483" y="538"/>
                    <a:pt x="479" y="543"/>
                  </a:cubicBezTo>
                  <a:cubicBezTo>
                    <a:pt x="475" y="549"/>
                    <a:pt x="477" y="553"/>
                    <a:pt x="484" y="553"/>
                  </a:cubicBezTo>
                  <a:cubicBezTo>
                    <a:pt x="491" y="553"/>
                    <a:pt x="500" y="549"/>
                    <a:pt x="504" y="543"/>
                  </a:cubicBezTo>
                  <a:cubicBezTo>
                    <a:pt x="508" y="537"/>
                    <a:pt x="506" y="533"/>
                    <a:pt x="499" y="533"/>
                  </a:cubicBezTo>
                  <a:cubicBezTo>
                    <a:pt x="499" y="533"/>
                    <a:pt x="499" y="533"/>
                    <a:pt x="499" y="533"/>
                  </a:cubicBezTo>
                  <a:moveTo>
                    <a:pt x="535" y="533"/>
                  </a:moveTo>
                  <a:cubicBezTo>
                    <a:pt x="528" y="533"/>
                    <a:pt x="520" y="537"/>
                    <a:pt x="516" y="543"/>
                  </a:cubicBezTo>
                  <a:cubicBezTo>
                    <a:pt x="512" y="549"/>
                    <a:pt x="514" y="553"/>
                    <a:pt x="521" y="553"/>
                  </a:cubicBezTo>
                  <a:cubicBezTo>
                    <a:pt x="528" y="553"/>
                    <a:pt x="537" y="548"/>
                    <a:pt x="541" y="543"/>
                  </a:cubicBezTo>
                  <a:cubicBezTo>
                    <a:pt x="545" y="537"/>
                    <a:pt x="542" y="533"/>
                    <a:pt x="535" y="533"/>
                  </a:cubicBezTo>
                  <a:cubicBezTo>
                    <a:pt x="535" y="533"/>
                    <a:pt x="535" y="533"/>
                    <a:pt x="535" y="533"/>
                  </a:cubicBezTo>
                  <a:moveTo>
                    <a:pt x="571" y="532"/>
                  </a:moveTo>
                  <a:cubicBezTo>
                    <a:pt x="564" y="533"/>
                    <a:pt x="555" y="537"/>
                    <a:pt x="551" y="543"/>
                  </a:cubicBezTo>
                  <a:cubicBezTo>
                    <a:pt x="548" y="548"/>
                    <a:pt x="550" y="553"/>
                    <a:pt x="557" y="553"/>
                  </a:cubicBezTo>
                  <a:cubicBezTo>
                    <a:pt x="564" y="553"/>
                    <a:pt x="573" y="548"/>
                    <a:pt x="577" y="543"/>
                  </a:cubicBezTo>
                  <a:cubicBezTo>
                    <a:pt x="581" y="537"/>
                    <a:pt x="578" y="532"/>
                    <a:pt x="571" y="532"/>
                  </a:cubicBezTo>
                  <a:cubicBezTo>
                    <a:pt x="571" y="532"/>
                    <a:pt x="571" y="532"/>
                    <a:pt x="571" y="532"/>
                  </a:cubicBezTo>
                  <a:moveTo>
                    <a:pt x="607" y="532"/>
                  </a:moveTo>
                  <a:cubicBezTo>
                    <a:pt x="600" y="532"/>
                    <a:pt x="591" y="537"/>
                    <a:pt x="588" y="542"/>
                  </a:cubicBezTo>
                  <a:cubicBezTo>
                    <a:pt x="584" y="548"/>
                    <a:pt x="586" y="553"/>
                    <a:pt x="593" y="553"/>
                  </a:cubicBezTo>
                  <a:cubicBezTo>
                    <a:pt x="600" y="552"/>
                    <a:pt x="609" y="548"/>
                    <a:pt x="613" y="542"/>
                  </a:cubicBezTo>
                  <a:cubicBezTo>
                    <a:pt x="616" y="537"/>
                    <a:pt x="614" y="532"/>
                    <a:pt x="607" y="532"/>
                  </a:cubicBezTo>
                  <a:cubicBezTo>
                    <a:pt x="607" y="532"/>
                    <a:pt x="607" y="532"/>
                    <a:pt x="607" y="532"/>
                  </a:cubicBezTo>
                  <a:moveTo>
                    <a:pt x="643" y="532"/>
                  </a:moveTo>
                  <a:cubicBezTo>
                    <a:pt x="636" y="532"/>
                    <a:pt x="627" y="537"/>
                    <a:pt x="623" y="542"/>
                  </a:cubicBezTo>
                  <a:cubicBezTo>
                    <a:pt x="620" y="548"/>
                    <a:pt x="622" y="552"/>
                    <a:pt x="629" y="552"/>
                  </a:cubicBezTo>
                  <a:cubicBezTo>
                    <a:pt x="636" y="552"/>
                    <a:pt x="645" y="548"/>
                    <a:pt x="649" y="542"/>
                  </a:cubicBezTo>
                  <a:cubicBezTo>
                    <a:pt x="652" y="537"/>
                    <a:pt x="650" y="532"/>
                    <a:pt x="643" y="532"/>
                  </a:cubicBezTo>
                  <a:cubicBezTo>
                    <a:pt x="643" y="532"/>
                    <a:pt x="643" y="532"/>
                    <a:pt x="643" y="532"/>
                  </a:cubicBezTo>
                  <a:moveTo>
                    <a:pt x="679" y="532"/>
                  </a:moveTo>
                  <a:cubicBezTo>
                    <a:pt x="672" y="532"/>
                    <a:pt x="663" y="536"/>
                    <a:pt x="659" y="542"/>
                  </a:cubicBezTo>
                  <a:cubicBezTo>
                    <a:pt x="656" y="548"/>
                    <a:pt x="658" y="552"/>
                    <a:pt x="665" y="552"/>
                  </a:cubicBezTo>
                  <a:cubicBezTo>
                    <a:pt x="672" y="552"/>
                    <a:pt x="681" y="547"/>
                    <a:pt x="685" y="542"/>
                  </a:cubicBezTo>
                  <a:cubicBezTo>
                    <a:pt x="688" y="536"/>
                    <a:pt x="686" y="532"/>
                    <a:pt x="679" y="532"/>
                  </a:cubicBezTo>
                  <a:cubicBezTo>
                    <a:pt x="679" y="532"/>
                    <a:pt x="679" y="532"/>
                    <a:pt x="679" y="532"/>
                  </a:cubicBezTo>
                  <a:moveTo>
                    <a:pt x="715" y="532"/>
                  </a:moveTo>
                  <a:cubicBezTo>
                    <a:pt x="708" y="532"/>
                    <a:pt x="700" y="536"/>
                    <a:pt x="696" y="542"/>
                  </a:cubicBezTo>
                  <a:cubicBezTo>
                    <a:pt x="692" y="547"/>
                    <a:pt x="695" y="552"/>
                    <a:pt x="702" y="552"/>
                  </a:cubicBezTo>
                  <a:cubicBezTo>
                    <a:pt x="709" y="552"/>
                    <a:pt x="718" y="547"/>
                    <a:pt x="721" y="542"/>
                  </a:cubicBezTo>
                  <a:cubicBezTo>
                    <a:pt x="725" y="536"/>
                    <a:pt x="722" y="532"/>
                    <a:pt x="715" y="532"/>
                  </a:cubicBezTo>
                  <a:cubicBezTo>
                    <a:pt x="715" y="532"/>
                    <a:pt x="715" y="532"/>
                    <a:pt x="715" y="532"/>
                  </a:cubicBezTo>
                  <a:moveTo>
                    <a:pt x="751" y="531"/>
                  </a:moveTo>
                  <a:cubicBezTo>
                    <a:pt x="744" y="531"/>
                    <a:pt x="735" y="536"/>
                    <a:pt x="732" y="542"/>
                  </a:cubicBezTo>
                  <a:cubicBezTo>
                    <a:pt x="728" y="547"/>
                    <a:pt x="731" y="552"/>
                    <a:pt x="738" y="552"/>
                  </a:cubicBezTo>
                  <a:cubicBezTo>
                    <a:pt x="745" y="552"/>
                    <a:pt x="754" y="547"/>
                    <a:pt x="757" y="541"/>
                  </a:cubicBezTo>
                  <a:cubicBezTo>
                    <a:pt x="760" y="536"/>
                    <a:pt x="758" y="531"/>
                    <a:pt x="751" y="531"/>
                  </a:cubicBezTo>
                  <a:cubicBezTo>
                    <a:pt x="751" y="531"/>
                    <a:pt x="751" y="531"/>
                    <a:pt x="751" y="531"/>
                  </a:cubicBezTo>
                  <a:moveTo>
                    <a:pt x="785" y="531"/>
                  </a:moveTo>
                  <a:cubicBezTo>
                    <a:pt x="778" y="531"/>
                    <a:pt x="769" y="536"/>
                    <a:pt x="766" y="541"/>
                  </a:cubicBezTo>
                  <a:cubicBezTo>
                    <a:pt x="762" y="547"/>
                    <a:pt x="765" y="551"/>
                    <a:pt x="772" y="551"/>
                  </a:cubicBezTo>
                  <a:cubicBezTo>
                    <a:pt x="779" y="551"/>
                    <a:pt x="788" y="547"/>
                    <a:pt x="791" y="541"/>
                  </a:cubicBezTo>
                  <a:cubicBezTo>
                    <a:pt x="795" y="536"/>
                    <a:pt x="792" y="531"/>
                    <a:pt x="785" y="531"/>
                  </a:cubicBezTo>
                  <a:cubicBezTo>
                    <a:pt x="785" y="531"/>
                    <a:pt x="785" y="531"/>
                    <a:pt x="785" y="531"/>
                  </a:cubicBezTo>
                  <a:moveTo>
                    <a:pt x="821" y="531"/>
                  </a:moveTo>
                  <a:cubicBezTo>
                    <a:pt x="814" y="531"/>
                    <a:pt x="806" y="536"/>
                    <a:pt x="802" y="541"/>
                  </a:cubicBezTo>
                  <a:cubicBezTo>
                    <a:pt x="799" y="547"/>
                    <a:pt x="802" y="551"/>
                    <a:pt x="809" y="551"/>
                  </a:cubicBezTo>
                  <a:cubicBezTo>
                    <a:pt x="816" y="551"/>
                    <a:pt x="824" y="547"/>
                    <a:pt x="828" y="541"/>
                  </a:cubicBezTo>
                  <a:cubicBezTo>
                    <a:pt x="831" y="535"/>
                    <a:pt x="828" y="531"/>
                    <a:pt x="821" y="531"/>
                  </a:cubicBezTo>
                  <a:cubicBezTo>
                    <a:pt x="821" y="531"/>
                    <a:pt x="821" y="531"/>
                    <a:pt x="821" y="531"/>
                  </a:cubicBezTo>
                  <a:moveTo>
                    <a:pt x="857" y="531"/>
                  </a:moveTo>
                  <a:cubicBezTo>
                    <a:pt x="850" y="531"/>
                    <a:pt x="842" y="535"/>
                    <a:pt x="838" y="541"/>
                  </a:cubicBezTo>
                  <a:cubicBezTo>
                    <a:pt x="835" y="547"/>
                    <a:pt x="838" y="551"/>
                    <a:pt x="845" y="551"/>
                  </a:cubicBezTo>
                  <a:cubicBezTo>
                    <a:pt x="852" y="551"/>
                    <a:pt x="860" y="546"/>
                    <a:pt x="863" y="541"/>
                  </a:cubicBezTo>
                  <a:cubicBezTo>
                    <a:pt x="867" y="535"/>
                    <a:pt x="864" y="531"/>
                    <a:pt x="857" y="531"/>
                  </a:cubicBezTo>
                  <a:cubicBezTo>
                    <a:pt x="857" y="531"/>
                    <a:pt x="857" y="531"/>
                    <a:pt x="857" y="531"/>
                  </a:cubicBezTo>
                  <a:moveTo>
                    <a:pt x="893" y="530"/>
                  </a:moveTo>
                  <a:cubicBezTo>
                    <a:pt x="886" y="530"/>
                    <a:pt x="877" y="535"/>
                    <a:pt x="874" y="541"/>
                  </a:cubicBezTo>
                  <a:cubicBezTo>
                    <a:pt x="871" y="546"/>
                    <a:pt x="874" y="551"/>
                    <a:pt x="881" y="551"/>
                  </a:cubicBezTo>
                  <a:cubicBezTo>
                    <a:pt x="888" y="551"/>
                    <a:pt x="896" y="546"/>
                    <a:pt x="899" y="541"/>
                  </a:cubicBezTo>
                  <a:cubicBezTo>
                    <a:pt x="903" y="535"/>
                    <a:pt x="900" y="530"/>
                    <a:pt x="893" y="530"/>
                  </a:cubicBezTo>
                  <a:cubicBezTo>
                    <a:pt x="893" y="530"/>
                    <a:pt x="893" y="530"/>
                    <a:pt x="893" y="530"/>
                  </a:cubicBezTo>
                  <a:moveTo>
                    <a:pt x="928" y="530"/>
                  </a:moveTo>
                  <a:cubicBezTo>
                    <a:pt x="921" y="530"/>
                    <a:pt x="913" y="535"/>
                    <a:pt x="910" y="540"/>
                  </a:cubicBezTo>
                  <a:cubicBezTo>
                    <a:pt x="907" y="546"/>
                    <a:pt x="910" y="551"/>
                    <a:pt x="917" y="551"/>
                  </a:cubicBezTo>
                  <a:cubicBezTo>
                    <a:pt x="924" y="550"/>
                    <a:pt x="932" y="546"/>
                    <a:pt x="935" y="540"/>
                  </a:cubicBezTo>
                  <a:cubicBezTo>
                    <a:pt x="938" y="535"/>
                    <a:pt x="935" y="530"/>
                    <a:pt x="928" y="530"/>
                  </a:cubicBezTo>
                  <a:cubicBezTo>
                    <a:pt x="928" y="530"/>
                    <a:pt x="928" y="530"/>
                    <a:pt x="928" y="530"/>
                  </a:cubicBezTo>
                  <a:moveTo>
                    <a:pt x="1933" y="523"/>
                  </a:moveTo>
                  <a:cubicBezTo>
                    <a:pt x="1926" y="523"/>
                    <a:pt x="1919" y="528"/>
                    <a:pt x="1918" y="534"/>
                  </a:cubicBezTo>
                  <a:cubicBezTo>
                    <a:pt x="1917" y="539"/>
                    <a:pt x="1921" y="544"/>
                    <a:pt x="1928" y="544"/>
                  </a:cubicBezTo>
                  <a:cubicBezTo>
                    <a:pt x="1935" y="544"/>
                    <a:pt x="1942" y="539"/>
                    <a:pt x="1943" y="534"/>
                  </a:cubicBezTo>
                  <a:cubicBezTo>
                    <a:pt x="1944" y="528"/>
                    <a:pt x="1940" y="523"/>
                    <a:pt x="1933" y="523"/>
                  </a:cubicBezTo>
                  <a:cubicBezTo>
                    <a:pt x="1933" y="523"/>
                    <a:pt x="1933" y="523"/>
                    <a:pt x="1933" y="523"/>
                  </a:cubicBezTo>
                  <a:moveTo>
                    <a:pt x="1968" y="523"/>
                  </a:moveTo>
                  <a:cubicBezTo>
                    <a:pt x="1961" y="523"/>
                    <a:pt x="1955" y="528"/>
                    <a:pt x="1954" y="533"/>
                  </a:cubicBezTo>
                  <a:cubicBezTo>
                    <a:pt x="1953" y="539"/>
                    <a:pt x="1957" y="544"/>
                    <a:pt x="1964" y="544"/>
                  </a:cubicBezTo>
                  <a:cubicBezTo>
                    <a:pt x="1971" y="544"/>
                    <a:pt x="1978" y="539"/>
                    <a:pt x="1979" y="533"/>
                  </a:cubicBezTo>
                  <a:cubicBezTo>
                    <a:pt x="1980" y="528"/>
                    <a:pt x="1975" y="523"/>
                    <a:pt x="1968" y="523"/>
                  </a:cubicBezTo>
                  <a:cubicBezTo>
                    <a:pt x="1968" y="523"/>
                    <a:pt x="1968" y="523"/>
                    <a:pt x="1968" y="523"/>
                  </a:cubicBezTo>
                  <a:moveTo>
                    <a:pt x="2004" y="523"/>
                  </a:moveTo>
                  <a:cubicBezTo>
                    <a:pt x="1997" y="523"/>
                    <a:pt x="1991" y="528"/>
                    <a:pt x="1990" y="533"/>
                  </a:cubicBezTo>
                  <a:cubicBezTo>
                    <a:pt x="1989" y="539"/>
                    <a:pt x="1993" y="543"/>
                    <a:pt x="2000" y="543"/>
                  </a:cubicBezTo>
                  <a:cubicBezTo>
                    <a:pt x="2007" y="543"/>
                    <a:pt x="2014" y="539"/>
                    <a:pt x="2015" y="533"/>
                  </a:cubicBezTo>
                  <a:cubicBezTo>
                    <a:pt x="2016" y="527"/>
                    <a:pt x="2011" y="523"/>
                    <a:pt x="2004" y="523"/>
                  </a:cubicBezTo>
                  <a:cubicBezTo>
                    <a:pt x="2004" y="523"/>
                    <a:pt x="2004" y="523"/>
                    <a:pt x="2004" y="523"/>
                  </a:cubicBezTo>
                  <a:moveTo>
                    <a:pt x="2256" y="523"/>
                  </a:moveTo>
                  <a:cubicBezTo>
                    <a:pt x="2249" y="523"/>
                    <a:pt x="2243" y="527"/>
                    <a:pt x="2243" y="533"/>
                  </a:cubicBezTo>
                  <a:cubicBezTo>
                    <a:pt x="2242" y="539"/>
                    <a:pt x="2247" y="543"/>
                    <a:pt x="2254" y="543"/>
                  </a:cubicBezTo>
                  <a:cubicBezTo>
                    <a:pt x="2261" y="543"/>
                    <a:pt x="2267" y="538"/>
                    <a:pt x="2268" y="533"/>
                  </a:cubicBezTo>
                  <a:cubicBezTo>
                    <a:pt x="2268" y="527"/>
                    <a:pt x="2263" y="523"/>
                    <a:pt x="2256" y="523"/>
                  </a:cubicBezTo>
                  <a:cubicBezTo>
                    <a:pt x="2256" y="523"/>
                    <a:pt x="2256" y="523"/>
                    <a:pt x="2256" y="523"/>
                  </a:cubicBezTo>
                  <a:moveTo>
                    <a:pt x="2040" y="521"/>
                  </a:moveTo>
                  <a:cubicBezTo>
                    <a:pt x="2033" y="521"/>
                    <a:pt x="2026" y="526"/>
                    <a:pt x="2026" y="532"/>
                  </a:cubicBezTo>
                  <a:cubicBezTo>
                    <a:pt x="2025" y="537"/>
                    <a:pt x="2029" y="542"/>
                    <a:pt x="2036" y="542"/>
                  </a:cubicBezTo>
                  <a:cubicBezTo>
                    <a:pt x="2043" y="542"/>
                    <a:pt x="2050" y="537"/>
                    <a:pt x="2051" y="532"/>
                  </a:cubicBezTo>
                  <a:cubicBezTo>
                    <a:pt x="2052" y="526"/>
                    <a:pt x="2047" y="521"/>
                    <a:pt x="2040" y="521"/>
                  </a:cubicBezTo>
                  <a:cubicBezTo>
                    <a:pt x="2040" y="521"/>
                    <a:pt x="2040" y="521"/>
                    <a:pt x="2040" y="521"/>
                  </a:cubicBezTo>
                  <a:moveTo>
                    <a:pt x="2076" y="521"/>
                  </a:moveTo>
                  <a:cubicBezTo>
                    <a:pt x="2069" y="521"/>
                    <a:pt x="2063" y="526"/>
                    <a:pt x="2062" y="531"/>
                  </a:cubicBezTo>
                  <a:cubicBezTo>
                    <a:pt x="2061" y="537"/>
                    <a:pt x="2066" y="542"/>
                    <a:pt x="2073" y="542"/>
                  </a:cubicBezTo>
                  <a:cubicBezTo>
                    <a:pt x="2080" y="542"/>
                    <a:pt x="2086" y="537"/>
                    <a:pt x="2087" y="531"/>
                  </a:cubicBezTo>
                  <a:cubicBezTo>
                    <a:pt x="2088" y="526"/>
                    <a:pt x="2083" y="521"/>
                    <a:pt x="2076" y="521"/>
                  </a:cubicBezTo>
                  <a:cubicBezTo>
                    <a:pt x="2076" y="521"/>
                    <a:pt x="2076" y="521"/>
                    <a:pt x="2076" y="521"/>
                  </a:cubicBezTo>
                  <a:moveTo>
                    <a:pt x="2363" y="520"/>
                  </a:moveTo>
                  <a:cubicBezTo>
                    <a:pt x="2356" y="520"/>
                    <a:pt x="2350" y="524"/>
                    <a:pt x="2350" y="530"/>
                  </a:cubicBezTo>
                  <a:cubicBezTo>
                    <a:pt x="2350" y="536"/>
                    <a:pt x="2355" y="540"/>
                    <a:pt x="2362" y="540"/>
                  </a:cubicBezTo>
                  <a:cubicBezTo>
                    <a:pt x="2369" y="540"/>
                    <a:pt x="2375" y="536"/>
                    <a:pt x="2375" y="530"/>
                  </a:cubicBezTo>
                  <a:cubicBezTo>
                    <a:pt x="2375" y="524"/>
                    <a:pt x="2370" y="520"/>
                    <a:pt x="2363" y="520"/>
                  </a:cubicBezTo>
                  <a:cubicBezTo>
                    <a:pt x="2363" y="520"/>
                    <a:pt x="2363" y="520"/>
                    <a:pt x="2363" y="520"/>
                  </a:cubicBezTo>
                  <a:moveTo>
                    <a:pt x="2399" y="520"/>
                  </a:moveTo>
                  <a:cubicBezTo>
                    <a:pt x="2392" y="520"/>
                    <a:pt x="2386" y="524"/>
                    <a:pt x="2386" y="530"/>
                  </a:cubicBezTo>
                  <a:cubicBezTo>
                    <a:pt x="2386" y="535"/>
                    <a:pt x="2391" y="540"/>
                    <a:pt x="2398" y="540"/>
                  </a:cubicBezTo>
                  <a:cubicBezTo>
                    <a:pt x="2405" y="540"/>
                    <a:pt x="2411" y="535"/>
                    <a:pt x="2411" y="530"/>
                  </a:cubicBezTo>
                  <a:cubicBezTo>
                    <a:pt x="2411" y="524"/>
                    <a:pt x="2406" y="520"/>
                    <a:pt x="2399" y="520"/>
                  </a:cubicBezTo>
                  <a:cubicBezTo>
                    <a:pt x="2399" y="520"/>
                    <a:pt x="2399" y="520"/>
                    <a:pt x="2399" y="520"/>
                  </a:cubicBezTo>
                  <a:moveTo>
                    <a:pt x="2793" y="519"/>
                  </a:moveTo>
                  <a:cubicBezTo>
                    <a:pt x="2786" y="519"/>
                    <a:pt x="2781" y="524"/>
                    <a:pt x="2781" y="530"/>
                  </a:cubicBezTo>
                  <a:cubicBezTo>
                    <a:pt x="2782" y="535"/>
                    <a:pt x="2788" y="540"/>
                    <a:pt x="2795" y="540"/>
                  </a:cubicBezTo>
                  <a:cubicBezTo>
                    <a:pt x="2802" y="540"/>
                    <a:pt x="2807" y="535"/>
                    <a:pt x="2806" y="530"/>
                  </a:cubicBezTo>
                  <a:cubicBezTo>
                    <a:pt x="2806" y="524"/>
                    <a:pt x="2800" y="519"/>
                    <a:pt x="2793" y="519"/>
                  </a:cubicBezTo>
                  <a:cubicBezTo>
                    <a:pt x="2793" y="519"/>
                    <a:pt x="2793" y="519"/>
                    <a:pt x="2793" y="519"/>
                  </a:cubicBezTo>
                  <a:moveTo>
                    <a:pt x="2435" y="519"/>
                  </a:moveTo>
                  <a:cubicBezTo>
                    <a:pt x="2428" y="519"/>
                    <a:pt x="2422" y="524"/>
                    <a:pt x="2422" y="530"/>
                  </a:cubicBezTo>
                  <a:cubicBezTo>
                    <a:pt x="2422" y="535"/>
                    <a:pt x="2427" y="540"/>
                    <a:pt x="2434" y="540"/>
                  </a:cubicBezTo>
                  <a:cubicBezTo>
                    <a:pt x="2441" y="540"/>
                    <a:pt x="2447" y="535"/>
                    <a:pt x="2447" y="529"/>
                  </a:cubicBezTo>
                  <a:cubicBezTo>
                    <a:pt x="2447" y="524"/>
                    <a:pt x="2442" y="519"/>
                    <a:pt x="2435" y="519"/>
                  </a:cubicBezTo>
                  <a:cubicBezTo>
                    <a:pt x="2435" y="519"/>
                    <a:pt x="2435" y="519"/>
                    <a:pt x="2435" y="519"/>
                  </a:cubicBezTo>
                  <a:moveTo>
                    <a:pt x="2826" y="519"/>
                  </a:moveTo>
                  <a:cubicBezTo>
                    <a:pt x="2819" y="519"/>
                    <a:pt x="2814" y="524"/>
                    <a:pt x="2815" y="530"/>
                  </a:cubicBezTo>
                  <a:cubicBezTo>
                    <a:pt x="2816" y="535"/>
                    <a:pt x="2822" y="540"/>
                    <a:pt x="2829" y="540"/>
                  </a:cubicBezTo>
                  <a:cubicBezTo>
                    <a:pt x="2836" y="540"/>
                    <a:pt x="2841" y="535"/>
                    <a:pt x="2840" y="529"/>
                  </a:cubicBezTo>
                  <a:cubicBezTo>
                    <a:pt x="2839" y="524"/>
                    <a:pt x="2833" y="519"/>
                    <a:pt x="2826" y="519"/>
                  </a:cubicBezTo>
                  <a:cubicBezTo>
                    <a:pt x="2826" y="519"/>
                    <a:pt x="2826" y="519"/>
                    <a:pt x="2826" y="519"/>
                  </a:cubicBezTo>
                  <a:moveTo>
                    <a:pt x="2685" y="519"/>
                  </a:moveTo>
                  <a:cubicBezTo>
                    <a:pt x="2679" y="519"/>
                    <a:pt x="2673" y="524"/>
                    <a:pt x="2674" y="529"/>
                  </a:cubicBezTo>
                  <a:cubicBezTo>
                    <a:pt x="2674" y="535"/>
                    <a:pt x="2680" y="540"/>
                    <a:pt x="2687" y="540"/>
                  </a:cubicBezTo>
                  <a:cubicBezTo>
                    <a:pt x="2694" y="540"/>
                    <a:pt x="2699" y="535"/>
                    <a:pt x="2699" y="529"/>
                  </a:cubicBezTo>
                  <a:cubicBezTo>
                    <a:pt x="2698" y="524"/>
                    <a:pt x="2692" y="519"/>
                    <a:pt x="2686" y="519"/>
                  </a:cubicBezTo>
                  <a:cubicBezTo>
                    <a:pt x="2685" y="519"/>
                    <a:pt x="2685" y="519"/>
                    <a:pt x="2685" y="519"/>
                  </a:cubicBezTo>
                  <a:moveTo>
                    <a:pt x="2470" y="519"/>
                  </a:moveTo>
                  <a:cubicBezTo>
                    <a:pt x="2463" y="519"/>
                    <a:pt x="2458" y="524"/>
                    <a:pt x="2458" y="529"/>
                  </a:cubicBezTo>
                  <a:cubicBezTo>
                    <a:pt x="2458" y="535"/>
                    <a:pt x="2463" y="540"/>
                    <a:pt x="2470" y="540"/>
                  </a:cubicBezTo>
                  <a:cubicBezTo>
                    <a:pt x="2477" y="540"/>
                    <a:pt x="2483" y="535"/>
                    <a:pt x="2483" y="529"/>
                  </a:cubicBezTo>
                  <a:cubicBezTo>
                    <a:pt x="2483" y="524"/>
                    <a:pt x="2477" y="519"/>
                    <a:pt x="2471" y="519"/>
                  </a:cubicBezTo>
                  <a:cubicBezTo>
                    <a:pt x="2470" y="519"/>
                    <a:pt x="2470" y="519"/>
                    <a:pt x="2470" y="519"/>
                  </a:cubicBezTo>
                  <a:moveTo>
                    <a:pt x="2862" y="519"/>
                  </a:moveTo>
                  <a:cubicBezTo>
                    <a:pt x="2855" y="519"/>
                    <a:pt x="2850" y="524"/>
                    <a:pt x="2851" y="529"/>
                  </a:cubicBezTo>
                  <a:cubicBezTo>
                    <a:pt x="2851" y="535"/>
                    <a:pt x="2858" y="540"/>
                    <a:pt x="2865" y="539"/>
                  </a:cubicBezTo>
                  <a:cubicBezTo>
                    <a:pt x="2872" y="539"/>
                    <a:pt x="2877" y="535"/>
                    <a:pt x="2876" y="529"/>
                  </a:cubicBezTo>
                  <a:cubicBezTo>
                    <a:pt x="2875" y="524"/>
                    <a:pt x="2869" y="519"/>
                    <a:pt x="2862" y="519"/>
                  </a:cubicBezTo>
                  <a:cubicBezTo>
                    <a:pt x="2862" y="519"/>
                    <a:pt x="2862" y="519"/>
                    <a:pt x="2862" y="519"/>
                  </a:cubicBezTo>
                  <a:moveTo>
                    <a:pt x="2721" y="519"/>
                  </a:moveTo>
                  <a:cubicBezTo>
                    <a:pt x="2714" y="519"/>
                    <a:pt x="2709" y="524"/>
                    <a:pt x="2709" y="529"/>
                  </a:cubicBezTo>
                  <a:cubicBezTo>
                    <a:pt x="2710" y="535"/>
                    <a:pt x="2716" y="539"/>
                    <a:pt x="2723" y="539"/>
                  </a:cubicBezTo>
                  <a:cubicBezTo>
                    <a:pt x="2730" y="539"/>
                    <a:pt x="2735" y="535"/>
                    <a:pt x="2734" y="529"/>
                  </a:cubicBezTo>
                  <a:cubicBezTo>
                    <a:pt x="2734" y="523"/>
                    <a:pt x="2728" y="519"/>
                    <a:pt x="2721" y="519"/>
                  </a:cubicBezTo>
                  <a:cubicBezTo>
                    <a:pt x="2721" y="519"/>
                    <a:pt x="2721" y="519"/>
                    <a:pt x="2721" y="519"/>
                  </a:cubicBezTo>
                  <a:moveTo>
                    <a:pt x="2898" y="519"/>
                  </a:moveTo>
                  <a:cubicBezTo>
                    <a:pt x="2891" y="519"/>
                    <a:pt x="2886" y="523"/>
                    <a:pt x="2887" y="529"/>
                  </a:cubicBezTo>
                  <a:cubicBezTo>
                    <a:pt x="2887" y="535"/>
                    <a:pt x="2894" y="539"/>
                    <a:pt x="2901" y="539"/>
                  </a:cubicBezTo>
                  <a:cubicBezTo>
                    <a:pt x="2908" y="539"/>
                    <a:pt x="2913" y="535"/>
                    <a:pt x="2912" y="529"/>
                  </a:cubicBezTo>
                  <a:cubicBezTo>
                    <a:pt x="2911" y="523"/>
                    <a:pt x="2905" y="519"/>
                    <a:pt x="2898" y="519"/>
                  </a:cubicBezTo>
                  <a:cubicBezTo>
                    <a:pt x="2898" y="519"/>
                    <a:pt x="2898" y="519"/>
                    <a:pt x="2898" y="519"/>
                  </a:cubicBezTo>
                  <a:moveTo>
                    <a:pt x="2757" y="519"/>
                  </a:moveTo>
                  <a:cubicBezTo>
                    <a:pt x="2750" y="519"/>
                    <a:pt x="2745" y="523"/>
                    <a:pt x="2745" y="529"/>
                  </a:cubicBezTo>
                  <a:cubicBezTo>
                    <a:pt x="2746" y="535"/>
                    <a:pt x="2752" y="539"/>
                    <a:pt x="2759" y="539"/>
                  </a:cubicBezTo>
                  <a:cubicBezTo>
                    <a:pt x="2766" y="539"/>
                    <a:pt x="2771" y="534"/>
                    <a:pt x="2770" y="529"/>
                  </a:cubicBezTo>
                  <a:cubicBezTo>
                    <a:pt x="2770" y="523"/>
                    <a:pt x="2764" y="519"/>
                    <a:pt x="2757" y="519"/>
                  </a:cubicBezTo>
                  <a:cubicBezTo>
                    <a:pt x="2757" y="519"/>
                    <a:pt x="2757" y="519"/>
                    <a:pt x="2757" y="519"/>
                  </a:cubicBezTo>
                  <a:moveTo>
                    <a:pt x="2542" y="519"/>
                  </a:moveTo>
                  <a:cubicBezTo>
                    <a:pt x="2535" y="519"/>
                    <a:pt x="2529" y="523"/>
                    <a:pt x="2529" y="529"/>
                  </a:cubicBezTo>
                  <a:cubicBezTo>
                    <a:pt x="2529" y="535"/>
                    <a:pt x="2535" y="539"/>
                    <a:pt x="2542" y="539"/>
                  </a:cubicBezTo>
                  <a:cubicBezTo>
                    <a:pt x="2549" y="539"/>
                    <a:pt x="2555" y="534"/>
                    <a:pt x="2555" y="529"/>
                  </a:cubicBezTo>
                  <a:cubicBezTo>
                    <a:pt x="2554" y="523"/>
                    <a:pt x="2549" y="519"/>
                    <a:pt x="2542" y="519"/>
                  </a:cubicBezTo>
                  <a:cubicBezTo>
                    <a:pt x="2542" y="519"/>
                    <a:pt x="2542" y="519"/>
                    <a:pt x="2542" y="519"/>
                  </a:cubicBezTo>
                  <a:moveTo>
                    <a:pt x="2934" y="519"/>
                  </a:moveTo>
                  <a:cubicBezTo>
                    <a:pt x="2927" y="519"/>
                    <a:pt x="2922" y="523"/>
                    <a:pt x="2923" y="529"/>
                  </a:cubicBezTo>
                  <a:cubicBezTo>
                    <a:pt x="2924" y="535"/>
                    <a:pt x="2930" y="539"/>
                    <a:pt x="2937" y="539"/>
                  </a:cubicBezTo>
                  <a:cubicBezTo>
                    <a:pt x="2944" y="539"/>
                    <a:pt x="2949" y="534"/>
                    <a:pt x="2948" y="529"/>
                  </a:cubicBezTo>
                  <a:cubicBezTo>
                    <a:pt x="2947" y="523"/>
                    <a:pt x="2941" y="519"/>
                    <a:pt x="2934" y="519"/>
                  </a:cubicBezTo>
                  <a:cubicBezTo>
                    <a:pt x="2934" y="519"/>
                    <a:pt x="2934" y="519"/>
                    <a:pt x="2934" y="519"/>
                  </a:cubicBezTo>
                  <a:moveTo>
                    <a:pt x="2578" y="518"/>
                  </a:moveTo>
                  <a:cubicBezTo>
                    <a:pt x="2571" y="518"/>
                    <a:pt x="2566" y="523"/>
                    <a:pt x="2566" y="529"/>
                  </a:cubicBezTo>
                  <a:cubicBezTo>
                    <a:pt x="2566" y="534"/>
                    <a:pt x="2572" y="539"/>
                    <a:pt x="2579" y="539"/>
                  </a:cubicBezTo>
                  <a:cubicBezTo>
                    <a:pt x="2586" y="539"/>
                    <a:pt x="2591" y="534"/>
                    <a:pt x="2591" y="529"/>
                  </a:cubicBezTo>
                  <a:cubicBezTo>
                    <a:pt x="2591" y="523"/>
                    <a:pt x="2585" y="518"/>
                    <a:pt x="2578" y="518"/>
                  </a:cubicBezTo>
                  <a:cubicBezTo>
                    <a:pt x="2578" y="518"/>
                    <a:pt x="2578" y="518"/>
                    <a:pt x="2578" y="518"/>
                  </a:cubicBezTo>
                  <a:moveTo>
                    <a:pt x="2969" y="518"/>
                  </a:moveTo>
                  <a:cubicBezTo>
                    <a:pt x="2963" y="518"/>
                    <a:pt x="2958" y="523"/>
                    <a:pt x="2959" y="529"/>
                  </a:cubicBezTo>
                  <a:cubicBezTo>
                    <a:pt x="2960" y="534"/>
                    <a:pt x="2966" y="539"/>
                    <a:pt x="2973" y="539"/>
                  </a:cubicBezTo>
                  <a:cubicBezTo>
                    <a:pt x="2980" y="539"/>
                    <a:pt x="2985" y="534"/>
                    <a:pt x="2984" y="528"/>
                  </a:cubicBezTo>
                  <a:cubicBezTo>
                    <a:pt x="2983" y="523"/>
                    <a:pt x="2976" y="518"/>
                    <a:pt x="2970" y="518"/>
                  </a:cubicBezTo>
                  <a:cubicBezTo>
                    <a:pt x="2969" y="518"/>
                    <a:pt x="2969" y="518"/>
                    <a:pt x="2969" y="518"/>
                  </a:cubicBezTo>
                  <a:moveTo>
                    <a:pt x="3005" y="518"/>
                  </a:moveTo>
                  <a:cubicBezTo>
                    <a:pt x="2998" y="518"/>
                    <a:pt x="2993" y="523"/>
                    <a:pt x="2995" y="528"/>
                  </a:cubicBezTo>
                  <a:cubicBezTo>
                    <a:pt x="2996" y="534"/>
                    <a:pt x="3002" y="539"/>
                    <a:pt x="3009" y="539"/>
                  </a:cubicBezTo>
                  <a:cubicBezTo>
                    <a:pt x="3016" y="539"/>
                    <a:pt x="3021" y="534"/>
                    <a:pt x="3020" y="528"/>
                  </a:cubicBezTo>
                  <a:cubicBezTo>
                    <a:pt x="3019" y="523"/>
                    <a:pt x="3012" y="518"/>
                    <a:pt x="3005" y="518"/>
                  </a:cubicBezTo>
                  <a:cubicBezTo>
                    <a:pt x="3005" y="518"/>
                    <a:pt x="3005" y="518"/>
                    <a:pt x="3005" y="518"/>
                  </a:cubicBezTo>
                  <a:moveTo>
                    <a:pt x="3041" y="518"/>
                  </a:moveTo>
                  <a:cubicBezTo>
                    <a:pt x="3034" y="518"/>
                    <a:pt x="3029" y="523"/>
                    <a:pt x="3030" y="528"/>
                  </a:cubicBezTo>
                  <a:cubicBezTo>
                    <a:pt x="3031" y="534"/>
                    <a:pt x="3038" y="538"/>
                    <a:pt x="3045" y="538"/>
                  </a:cubicBezTo>
                  <a:cubicBezTo>
                    <a:pt x="3052" y="538"/>
                    <a:pt x="3056" y="534"/>
                    <a:pt x="3055" y="528"/>
                  </a:cubicBezTo>
                  <a:cubicBezTo>
                    <a:pt x="3054" y="522"/>
                    <a:pt x="3048" y="518"/>
                    <a:pt x="3041" y="518"/>
                  </a:cubicBezTo>
                  <a:cubicBezTo>
                    <a:pt x="3041" y="518"/>
                    <a:pt x="3041" y="518"/>
                    <a:pt x="3041" y="518"/>
                  </a:cubicBezTo>
                  <a:moveTo>
                    <a:pt x="3077" y="518"/>
                  </a:moveTo>
                  <a:cubicBezTo>
                    <a:pt x="3070" y="518"/>
                    <a:pt x="3065" y="522"/>
                    <a:pt x="3066" y="528"/>
                  </a:cubicBezTo>
                  <a:cubicBezTo>
                    <a:pt x="3067" y="534"/>
                    <a:pt x="3074" y="538"/>
                    <a:pt x="3081" y="538"/>
                  </a:cubicBezTo>
                  <a:cubicBezTo>
                    <a:pt x="3088" y="538"/>
                    <a:pt x="3092" y="533"/>
                    <a:pt x="3091" y="528"/>
                  </a:cubicBezTo>
                  <a:cubicBezTo>
                    <a:pt x="3090" y="522"/>
                    <a:pt x="3084" y="518"/>
                    <a:pt x="3077" y="518"/>
                  </a:cubicBezTo>
                  <a:cubicBezTo>
                    <a:pt x="3077" y="518"/>
                    <a:pt x="3077" y="518"/>
                    <a:pt x="3077" y="518"/>
                  </a:cubicBezTo>
                  <a:moveTo>
                    <a:pt x="3113" y="517"/>
                  </a:moveTo>
                  <a:cubicBezTo>
                    <a:pt x="3107" y="517"/>
                    <a:pt x="3102" y="522"/>
                    <a:pt x="3103" y="528"/>
                  </a:cubicBezTo>
                  <a:cubicBezTo>
                    <a:pt x="3104" y="533"/>
                    <a:pt x="3111" y="538"/>
                    <a:pt x="3118" y="538"/>
                  </a:cubicBezTo>
                  <a:cubicBezTo>
                    <a:pt x="3125" y="538"/>
                    <a:pt x="3130" y="533"/>
                    <a:pt x="3128" y="528"/>
                  </a:cubicBezTo>
                  <a:cubicBezTo>
                    <a:pt x="3127" y="522"/>
                    <a:pt x="3120" y="517"/>
                    <a:pt x="3114" y="517"/>
                  </a:cubicBezTo>
                  <a:cubicBezTo>
                    <a:pt x="3114" y="517"/>
                    <a:pt x="3113" y="517"/>
                    <a:pt x="3113" y="517"/>
                  </a:cubicBezTo>
                  <a:moveTo>
                    <a:pt x="3149" y="517"/>
                  </a:moveTo>
                  <a:cubicBezTo>
                    <a:pt x="3142" y="517"/>
                    <a:pt x="3138" y="522"/>
                    <a:pt x="3139" y="528"/>
                  </a:cubicBezTo>
                  <a:cubicBezTo>
                    <a:pt x="3140" y="533"/>
                    <a:pt x="3147" y="538"/>
                    <a:pt x="3154" y="538"/>
                  </a:cubicBezTo>
                  <a:cubicBezTo>
                    <a:pt x="3161" y="538"/>
                    <a:pt x="3165" y="533"/>
                    <a:pt x="3164" y="527"/>
                  </a:cubicBezTo>
                  <a:cubicBezTo>
                    <a:pt x="3163" y="522"/>
                    <a:pt x="3156" y="517"/>
                    <a:pt x="3149" y="517"/>
                  </a:cubicBezTo>
                  <a:cubicBezTo>
                    <a:pt x="3149" y="517"/>
                    <a:pt x="3149" y="517"/>
                    <a:pt x="3149" y="517"/>
                  </a:cubicBezTo>
                  <a:moveTo>
                    <a:pt x="3185" y="517"/>
                  </a:moveTo>
                  <a:cubicBezTo>
                    <a:pt x="3178" y="517"/>
                    <a:pt x="3173" y="522"/>
                    <a:pt x="3175" y="527"/>
                  </a:cubicBezTo>
                  <a:cubicBezTo>
                    <a:pt x="3176" y="533"/>
                    <a:pt x="3183" y="537"/>
                    <a:pt x="3190" y="537"/>
                  </a:cubicBezTo>
                  <a:cubicBezTo>
                    <a:pt x="3197" y="537"/>
                    <a:pt x="3201" y="533"/>
                    <a:pt x="3200" y="527"/>
                  </a:cubicBezTo>
                  <a:cubicBezTo>
                    <a:pt x="3198" y="521"/>
                    <a:pt x="3192" y="517"/>
                    <a:pt x="3185" y="517"/>
                  </a:cubicBezTo>
                  <a:cubicBezTo>
                    <a:pt x="3185" y="517"/>
                    <a:pt x="3185" y="517"/>
                    <a:pt x="3185" y="517"/>
                  </a:cubicBezTo>
                  <a:moveTo>
                    <a:pt x="3221" y="517"/>
                  </a:moveTo>
                  <a:cubicBezTo>
                    <a:pt x="3214" y="517"/>
                    <a:pt x="3210" y="521"/>
                    <a:pt x="3211" y="527"/>
                  </a:cubicBezTo>
                  <a:cubicBezTo>
                    <a:pt x="3213" y="533"/>
                    <a:pt x="3219" y="537"/>
                    <a:pt x="3226" y="537"/>
                  </a:cubicBezTo>
                  <a:cubicBezTo>
                    <a:pt x="3233" y="537"/>
                    <a:pt x="3238" y="533"/>
                    <a:pt x="3236" y="527"/>
                  </a:cubicBezTo>
                  <a:cubicBezTo>
                    <a:pt x="3235" y="521"/>
                    <a:pt x="3228" y="517"/>
                    <a:pt x="3221" y="517"/>
                  </a:cubicBezTo>
                  <a:cubicBezTo>
                    <a:pt x="3221" y="517"/>
                    <a:pt x="3221" y="517"/>
                    <a:pt x="3221" y="517"/>
                  </a:cubicBezTo>
                  <a:moveTo>
                    <a:pt x="3256" y="516"/>
                  </a:moveTo>
                  <a:cubicBezTo>
                    <a:pt x="3250" y="516"/>
                    <a:pt x="3245" y="521"/>
                    <a:pt x="3247" y="527"/>
                  </a:cubicBezTo>
                  <a:cubicBezTo>
                    <a:pt x="3248" y="532"/>
                    <a:pt x="3255" y="537"/>
                    <a:pt x="3262" y="537"/>
                  </a:cubicBezTo>
                  <a:cubicBezTo>
                    <a:pt x="3269" y="537"/>
                    <a:pt x="3273" y="532"/>
                    <a:pt x="3272" y="527"/>
                  </a:cubicBezTo>
                  <a:cubicBezTo>
                    <a:pt x="3270" y="521"/>
                    <a:pt x="3263" y="516"/>
                    <a:pt x="3257" y="516"/>
                  </a:cubicBezTo>
                  <a:cubicBezTo>
                    <a:pt x="3257" y="516"/>
                    <a:pt x="3256" y="516"/>
                    <a:pt x="3256" y="516"/>
                  </a:cubicBezTo>
                  <a:moveTo>
                    <a:pt x="3292" y="516"/>
                  </a:moveTo>
                  <a:cubicBezTo>
                    <a:pt x="3285" y="516"/>
                    <a:pt x="3281" y="521"/>
                    <a:pt x="3283" y="527"/>
                  </a:cubicBezTo>
                  <a:cubicBezTo>
                    <a:pt x="3284" y="532"/>
                    <a:pt x="3291" y="537"/>
                    <a:pt x="3298" y="537"/>
                  </a:cubicBezTo>
                  <a:cubicBezTo>
                    <a:pt x="3305" y="537"/>
                    <a:pt x="3309" y="532"/>
                    <a:pt x="3308" y="526"/>
                  </a:cubicBezTo>
                  <a:cubicBezTo>
                    <a:pt x="3306" y="521"/>
                    <a:pt x="3299" y="516"/>
                    <a:pt x="3292" y="516"/>
                  </a:cubicBezTo>
                  <a:cubicBezTo>
                    <a:pt x="3292" y="516"/>
                    <a:pt x="3292" y="516"/>
                    <a:pt x="3292" y="516"/>
                  </a:cubicBezTo>
                  <a:moveTo>
                    <a:pt x="3328" y="516"/>
                  </a:moveTo>
                  <a:cubicBezTo>
                    <a:pt x="3321" y="516"/>
                    <a:pt x="3317" y="521"/>
                    <a:pt x="3318" y="526"/>
                  </a:cubicBezTo>
                  <a:cubicBezTo>
                    <a:pt x="3320" y="532"/>
                    <a:pt x="3327" y="537"/>
                    <a:pt x="3334" y="537"/>
                  </a:cubicBezTo>
                  <a:cubicBezTo>
                    <a:pt x="3341" y="536"/>
                    <a:pt x="3345" y="532"/>
                    <a:pt x="3343" y="526"/>
                  </a:cubicBezTo>
                  <a:cubicBezTo>
                    <a:pt x="3342" y="521"/>
                    <a:pt x="3335" y="516"/>
                    <a:pt x="3328" y="516"/>
                  </a:cubicBezTo>
                  <a:cubicBezTo>
                    <a:pt x="3328" y="516"/>
                    <a:pt x="3328" y="516"/>
                    <a:pt x="3328" y="516"/>
                  </a:cubicBezTo>
                  <a:moveTo>
                    <a:pt x="3364" y="516"/>
                  </a:moveTo>
                  <a:cubicBezTo>
                    <a:pt x="3357" y="516"/>
                    <a:pt x="3352" y="520"/>
                    <a:pt x="3354" y="526"/>
                  </a:cubicBezTo>
                  <a:cubicBezTo>
                    <a:pt x="3356" y="532"/>
                    <a:pt x="3363" y="536"/>
                    <a:pt x="3370" y="536"/>
                  </a:cubicBezTo>
                  <a:cubicBezTo>
                    <a:pt x="3377" y="536"/>
                    <a:pt x="3381" y="532"/>
                    <a:pt x="3379" y="526"/>
                  </a:cubicBezTo>
                  <a:cubicBezTo>
                    <a:pt x="3377" y="520"/>
                    <a:pt x="3370" y="516"/>
                    <a:pt x="3364" y="516"/>
                  </a:cubicBezTo>
                  <a:cubicBezTo>
                    <a:pt x="3364" y="516"/>
                    <a:pt x="3364" y="516"/>
                    <a:pt x="3364" y="516"/>
                  </a:cubicBezTo>
                  <a:moveTo>
                    <a:pt x="3400" y="516"/>
                  </a:moveTo>
                  <a:cubicBezTo>
                    <a:pt x="3393" y="516"/>
                    <a:pt x="3389" y="520"/>
                    <a:pt x="3390" y="526"/>
                  </a:cubicBezTo>
                  <a:cubicBezTo>
                    <a:pt x="3392" y="532"/>
                    <a:pt x="3399" y="536"/>
                    <a:pt x="3406" y="536"/>
                  </a:cubicBezTo>
                  <a:cubicBezTo>
                    <a:pt x="3413" y="536"/>
                    <a:pt x="3417" y="531"/>
                    <a:pt x="3416" y="526"/>
                  </a:cubicBezTo>
                  <a:cubicBezTo>
                    <a:pt x="3414" y="520"/>
                    <a:pt x="3407" y="516"/>
                    <a:pt x="3400" y="516"/>
                  </a:cubicBezTo>
                  <a:cubicBezTo>
                    <a:pt x="3400" y="516"/>
                    <a:pt x="3400" y="516"/>
                    <a:pt x="3400" y="516"/>
                  </a:cubicBezTo>
                  <a:moveTo>
                    <a:pt x="3435" y="515"/>
                  </a:moveTo>
                  <a:cubicBezTo>
                    <a:pt x="3428" y="515"/>
                    <a:pt x="3424" y="520"/>
                    <a:pt x="3426" y="526"/>
                  </a:cubicBezTo>
                  <a:cubicBezTo>
                    <a:pt x="3428" y="531"/>
                    <a:pt x="3435" y="536"/>
                    <a:pt x="3442" y="536"/>
                  </a:cubicBezTo>
                  <a:cubicBezTo>
                    <a:pt x="3449" y="536"/>
                    <a:pt x="3453" y="531"/>
                    <a:pt x="3451" y="526"/>
                  </a:cubicBezTo>
                  <a:cubicBezTo>
                    <a:pt x="3449" y="520"/>
                    <a:pt x="3442" y="515"/>
                    <a:pt x="3435" y="515"/>
                  </a:cubicBezTo>
                  <a:cubicBezTo>
                    <a:pt x="3435" y="515"/>
                    <a:pt x="3435" y="515"/>
                    <a:pt x="3435" y="515"/>
                  </a:cubicBezTo>
                  <a:moveTo>
                    <a:pt x="3471" y="515"/>
                  </a:moveTo>
                  <a:cubicBezTo>
                    <a:pt x="3464" y="515"/>
                    <a:pt x="3460" y="520"/>
                    <a:pt x="3462" y="525"/>
                  </a:cubicBezTo>
                  <a:cubicBezTo>
                    <a:pt x="3464" y="531"/>
                    <a:pt x="3471" y="536"/>
                    <a:pt x="3478" y="536"/>
                  </a:cubicBezTo>
                  <a:cubicBezTo>
                    <a:pt x="3485" y="536"/>
                    <a:pt x="3489" y="531"/>
                    <a:pt x="3487" y="525"/>
                  </a:cubicBezTo>
                  <a:cubicBezTo>
                    <a:pt x="3485" y="520"/>
                    <a:pt x="3478" y="515"/>
                    <a:pt x="3471" y="515"/>
                  </a:cubicBezTo>
                  <a:cubicBezTo>
                    <a:pt x="3471" y="515"/>
                    <a:pt x="3471" y="515"/>
                    <a:pt x="3471" y="515"/>
                  </a:cubicBezTo>
                  <a:moveTo>
                    <a:pt x="3506" y="515"/>
                  </a:moveTo>
                  <a:cubicBezTo>
                    <a:pt x="3499" y="515"/>
                    <a:pt x="3495" y="520"/>
                    <a:pt x="3498" y="525"/>
                  </a:cubicBezTo>
                  <a:cubicBezTo>
                    <a:pt x="3500" y="531"/>
                    <a:pt x="3507" y="535"/>
                    <a:pt x="3514" y="535"/>
                  </a:cubicBezTo>
                  <a:cubicBezTo>
                    <a:pt x="3521" y="535"/>
                    <a:pt x="3525" y="531"/>
                    <a:pt x="3523" y="525"/>
                  </a:cubicBezTo>
                  <a:cubicBezTo>
                    <a:pt x="3521" y="519"/>
                    <a:pt x="3513" y="515"/>
                    <a:pt x="3506" y="515"/>
                  </a:cubicBezTo>
                  <a:cubicBezTo>
                    <a:pt x="3506" y="515"/>
                    <a:pt x="3506" y="515"/>
                    <a:pt x="3506" y="515"/>
                  </a:cubicBezTo>
                  <a:moveTo>
                    <a:pt x="3542" y="515"/>
                  </a:moveTo>
                  <a:cubicBezTo>
                    <a:pt x="3535" y="515"/>
                    <a:pt x="3531" y="519"/>
                    <a:pt x="3533" y="525"/>
                  </a:cubicBezTo>
                  <a:cubicBezTo>
                    <a:pt x="3536" y="531"/>
                    <a:pt x="3543" y="535"/>
                    <a:pt x="3550" y="535"/>
                  </a:cubicBezTo>
                  <a:cubicBezTo>
                    <a:pt x="3557" y="535"/>
                    <a:pt x="3561" y="530"/>
                    <a:pt x="3559" y="525"/>
                  </a:cubicBezTo>
                  <a:cubicBezTo>
                    <a:pt x="3556" y="519"/>
                    <a:pt x="3549" y="515"/>
                    <a:pt x="3542" y="515"/>
                  </a:cubicBezTo>
                  <a:cubicBezTo>
                    <a:pt x="3542" y="515"/>
                    <a:pt x="3542" y="515"/>
                    <a:pt x="3542" y="515"/>
                  </a:cubicBezTo>
                  <a:moveTo>
                    <a:pt x="3578" y="514"/>
                  </a:moveTo>
                  <a:cubicBezTo>
                    <a:pt x="3571" y="514"/>
                    <a:pt x="3568" y="519"/>
                    <a:pt x="3570" y="525"/>
                  </a:cubicBezTo>
                  <a:cubicBezTo>
                    <a:pt x="3572" y="530"/>
                    <a:pt x="3579" y="535"/>
                    <a:pt x="3586" y="535"/>
                  </a:cubicBezTo>
                  <a:cubicBezTo>
                    <a:pt x="3593" y="535"/>
                    <a:pt x="3597" y="530"/>
                    <a:pt x="3595" y="525"/>
                  </a:cubicBezTo>
                  <a:cubicBezTo>
                    <a:pt x="3593" y="519"/>
                    <a:pt x="3585" y="514"/>
                    <a:pt x="3578" y="514"/>
                  </a:cubicBezTo>
                  <a:cubicBezTo>
                    <a:pt x="3578" y="514"/>
                    <a:pt x="3578" y="514"/>
                    <a:pt x="3578" y="514"/>
                  </a:cubicBezTo>
                  <a:moveTo>
                    <a:pt x="3614" y="514"/>
                  </a:moveTo>
                  <a:cubicBezTo>
                    <a:pt x="3607" y="514"/>
                    <a:pt x="3603" y="519"/>
                    <a:pt x="3605" y="524"/>
                  </a:cubicBezTo>
                  <a:cubicBezTo>
                    <a:pt x="3608" y="530"/>
                    <a:pt x="3615" y="535"/>
                    <a:pt x="3622" y="535"/>
                  </a:cubicBezTo>
                  <a:cubicBezTo>
                    <a:pt x="3629" y="534"/>
                    <a:pt x="3633" y="530"/>
                    <a:pt x="3631" y="524"/>
                  </a:cubicBezTo>
                  <a:cubicBezTo>
                    <a:pt x="3628" y="519"/>
                    <a:pt x="3621" y="514"/>
                    <a:pt x="3614" y="514"/>
                  </a:cubicBezTo>
                  <a:cubicBezTo>
                    <a:pt x="3614" y="514"/>
                    <a:pt x="3614" y="514"/>
                    <a:pt x="3614" y="514"/>
                  </a:cubicBezTo>
                  <a:moveTo>
                    <a:pt x="3649" y="514"/>
                  </a:moveTo>
                  <a:cubicBezTo>
                    <a:pt x="3642" y="514"/>
                    <a:pt x="3639" y="518"/>
                    <a:pt x="3641" y="524"/>
                  </a:cubicBezTo>
                  <a:cubicBezTo>
                    <a:pt x="3643" y="530"/>
                    <a:pt x="3651" y="534"/>
                    <a:pt x="3658" y="534"/>
                  </a:cubicBezTo>
                  <a:cubicBezTo>
                    <a:pt x="3665" y="534"/>
                    <a:pt x="3669" y="530"/>
                    <a:pt x="3666" y="524"/>
                  </a:cubicBezTo>
                  <a:cubicBezTo>
                    <a:pt x="3664" y="518"/>
                    <a:pt x="3656" y="514"/>
                    <a:pt x="3649" y="514"/>
                  </a:cubicBezTo>
                  <a:cubicBezTo>
                    <a:pt x="3649" y="514"/>
                    <a:pt x="3649" y="514"/>
                    <a:pt x="3649" y="514"/>
                  </a:cubicBezTo>
                  <a:moveTo>
                    <a:pt x="3685" y="514"/>
                  </a:moveTo>
                  <a:cubicBezTo>
                    <a:pt x="3678" y="514"/>
                    <a:pt x="3675" y="518"/>
                    <a:pt x="3677" y="524"/>
                  </a:cubicBezTo>
                  <a:cubicBezTo>
                    <a:pt x="3679" y="530"/>
                    <a:pt x="3687" y="534"/>
                    <a:pt x="3694" y="534"/>
                  </a:cubicBezTo>
                  <a:cubicBezTo>
                    <a:pt x="3701" y="534"/>
                    <a:pt x="3705" y="529"/>
                    <a:pt x="3702" y="524"/>
                  </a:cubicBezTo>
                  <a:cubicBezTo>
                    <a:pt x="3700" y="518"/>
                    <a:pt x="3692" y="514"/>
                    <a:pt x="3685" y="514"/>
                  </a:cubicBezTo>
                  <a:cubicBezTo>
                    <a:pt x="3685" y="514"/>
                    <a:pt x="3685" y="514"/>
                    <a:pt x="3685" y="514"/>
                  </a:cubicBezTo>
                  <a:moveTo>
                    <a:pt x="3723" y="513"/>
                  </a:moveTo>
                  <a:cubicBezTo>
                    <a:pt x="3716" y="513"/>
                    <a:pt x="3713" y="518"/>
                    <a:pt x="3715" y="524"/>
                  </a:cubicBezTo>
                  <a:cubicBezTo>
                    <a:pt x="3718" y="529"/>
                    <a:pt x="3725" y="534"/>
                    <a:pt x="3732" y="534"/>
                  </a:cubicBezTo>
                  <a:cubicBezTo>
                    <a:pt x="3739" y="534"/>
                    <a:pt x="3743" y="529"/>
                    <a:pt x="3740" y="523"/>
                  </a:cubicBezTo>
                  <a:cubicBezTo>
                    <a:pt x="3738" y="518"/>
                    <a:pt x="3730" y="513"/>
                    <a:pt x="3723" y="513"/>
                  </a:cubicBezTo>
                  <a:cubicBezTo>
                    <a:pt x="3723" y="513"/>
                    <a:pt x="3723" y="513"/>
                    <a:pt x="3723" y="513"/>
                  </a:cubicBezTo>
                  <a:moveTo>
                    <a:pt x="3758" y="513"/>
                  </a:moveTo>
                  <a:cubicBezTo>
                    <a:pt x="3751" y="513"/>
                    <a:pt x="3748" y="518"/>
                    <a:pt x="3750" y="523"/>
                  </a:cubicBezTo>
                  <a:cubicBezTo>
                    <a:pt x="3753" y="529"/>
                    <a:pt x="3761" y="534"/>
                    <a:pt x="3768" y="534"/>
                  </a:cubicBezTo>
                  <a:cubicBezTo>
                    <a:pt x="3775" y="534"/>
                    <a:pt x="3778" y="529"/>
                    <a:pt x="3775" y="523"/>
                  </a:cubicBezTo>
                  <a:cubicBezTo>
                    <a:pt x="3773" y="518"/>
                    <a:pt x="3765" y="513"/>
                    <a:pt x="3758" y="513"/>
                  </a:cubicBezTo>
                  <a:cubicBezTo>
                    <a:pt x="3758" y="513"/>
                    <a:pt x="3758" y="513"/>
                    <a:pt x="3758" y="513"/>
                  </a:cubicBezTo>
                  <a:moveTo>
                    <a:pt x="3794" y="513"/>
                  </a:moveTo>
                  <a:cubicBezTo>
                    <a:pt x="3787" y="513"/>
                    <a:pt x="3783" y="518"/>
                    <a:pt x="3786" y="523"/>
                  </a:cubicBezTo>
                  <a:cubicBezTo>
                    <a:pt x="3789" y="529"/>
                    <a:pt x="3796" y="533"/>
                    <a:pt x="3803" y="533"/>
                  </a:cubicBezTo>
                  <a:cubicBezTo>
                    <a:pt x="3810" y="533"/>
                    <a:pt x="3814" y="529"/>
                    <a:pt x="3811" y="523"/>
                  </a:cubicBezTo>
                  <a:cubicBezTo>
                    <a:pt x="3808" y="517"/>
                    <a:pt x="3801" y="513"/>
                    <a:pt x="3794" y="513"/>
                  </a:cubicBezTo>
                  <a:cubicBezTo>
                    <a:pt x="3794" y="513"/>
                    <a:pt x="3794" y="513"/>
                    <a:pt x="3794" y="513"/>
                  </a:cubicBezTo>
                  <a:moveTo>
                    <a:pt x="3830" y="513"/>
                  </a:moveTo>
                  <a:cubicBezTo>
                    <a:pt x="3823" y="513"/>
                    <a:pt x="3819" y="517"/>
                    <a:pt x="3822" y="523"/>
                  </a:cubicBezTo>
                  <a:cubicBezTo>
                    <a:pt x="3825" y="529"/>
                    <a:pt x="3832" y="533"/>
                    <a:pt x="3839" y="533"/>
                  </a:cubicBezTo>
                  <a:cubicBezTo>
                    <a:pt x="3846" y="533"/>
                    <a:pt x="3850" y="528"/>
                    <a:pt x="3847" y="523"/>
                  </a:cubicBezTo>
                  <a:cubicBezTo>
                    <a:pt x="3844" y="517"/>
                    <a:pt x="3836" y="513"/>
                    <a:pt x="3830" y="513"/>
                  </a:cubicBezTo>
                  <a:cubicBezTo>
                    <a:pt x="3830" y="513"/>
                    <a:pt x="3830" y="513"/>
                    <a:pt x="3830" y="513"/>
                  </a:cubicBezTo>
                  <a:moveTo>
                    <a:pt x="3866" y="512"/>
                  </a:moveTo>
                  <a:cubicBezTo>
                    <a:pt x="3859" y="512"/>
                    <a:pt x="3855" y="517"/>
                    <a:pt x="3858" y="523"/>
                  </a:cubicBezTo>
                  <a:cubicBezTo>
                    <a:pt x="3861" y="528"/>
                    <a:pt x="3869" y="533"/>
                    <a:pt x="3876" y="533"/>
                  </a:cubicBezTo>
                  <a:cubicBezTo>
                    <a:pt x="3883" y="533"/>
                    <a:pt x="3886" y="528"/>
                    <a:pt x="3883" y="523"/>
                  </a:cubicBezTo>
                  <a:cubicBezTo>
                    <a:pt x="3880" y="517"/>
                    <a:pt x="3873" y="512"/>
                    <a:pt x="3866" y="512"/>
                  </a:cubicBezTo>
                  <a:cubicBezTo>
                    <a:pt x="3866" y="512"/>
                    <a:pt x="3866" y="512"/>
                    <a:pt x="3866" y="512"/>
                  </a:cubicBezTo>
                  <a:moveTo>
                    <a:pt x="3901" y="512"/>
                  </a:moveTo>
                  <a:cubicBezTo>
                    <a:pt x="3894" y="512"/>
                    <a:pt x="3891" y="517"/>
                    <a:pt x="3894" y="522"/>
                  </a:cubicBezTo>
                  <a:cubicBezTo>
                    <a:pt x="3897" y="528"/>
                    <a:pt x="3904" y="533"/>
                    <a:pt x="3911" y="533"/>
                  </a:cubicBezTo>
                  <a:cubicBezTo>
                    <a:pt x="3918" y="533"/>
                    <a:pt x="3922" y="528"/>
                    <a:pt x="3919" y="522"/>
                  </a:cubicBezTo>
                  <a:cubicBezTo>
                    <a:pt x="3916" y="517"/>
                    <a:pt x="3908" y="512"/>
                    <a:pt x="3901" y="512"/>
                  </a:cubicBezTo>
                  <a:cubicBezTo>
                    <a:pt x="3901" y="512"/>
                    <a:pt x="3901" y="512"/>
                    <a:pt x="3901" y="512"/>
                  </a:cubicBezTo>
                  <a:moveTo>
                    <a:pt x="3937" y="512"/>
                  </a:moveTo>
                  <a:cubicBezTo>
                    <a:pt x="3930" y="512"/>
                    <a:pt x="3927" y="517"/>
                    <a:pt x="3930" y="522"/>
                  </a:cubicBezTo>
                  <a:cubicBezTo>
                    <a:pt x="3932" y="528"/>
                    <a:pt x="3940" y="533"/>
                    <a:pt x="3947" y="532"/>
                  </a:cubicBezTo>
                  <a:cubicBezTo>
                    <a:pt x="3954" y="532"/>
                    <a:pt x="3958" y="528"/>
                    <a:pt x="3955" y="522"/>
                  </a:cubicBezTo>
                  <a:cubicBezTo>
                    <a:pt x="3952" y="516"/>
                    <a:pt x="3944" y="512"/>
                    <a:pt x="3937" y="512"/>
                  </a:cubicBezTo>
                  <a:cubicBezTo>
                    <a:pt x="3937" y="512"/>
                    <a:pt x="3937" y="512"/>
                    <a:pt x="3937" y="512"/>
                  </a:cubicBezTo>
                  <a:moveTo>
                    <a:pt x="3972" y="512"/>
                  </a:moveTo>
                  <a:cubicBezTo>
                    <a:pt x="3965" y="512"/>
                    <a:pt x="3962" y="516"/>
                    <a:pt x="3965" y="522"/>
                  </a:cubicBezTo>
                  <a:cubicBezTo>
                    <a:pt x="3968" y="528"/>
                    <a:pt x="3976" y="532"/>
                    <a:pt x="3983" y="532"/>
                  </a:cubicBezTo>
                  <a:cubicBezTo>
                    <a:pt x="3990" y="532"/>
                    <a:pt x="3993" y="528"/>
                    <a:pt x="3990" y="522"/>
                  </a:cubicBezTo>
                  <a:cubicBezTo>
                    <a:pt x="3987" y="516"/>
                    <a:pt x="3979" y="512"/>
                    <a:pt x="3972" y="512"/>
                  </a:cubicBezTo>
                  <a:cubicBezTo>
                    <a:pt x="3972" y="512"/>
                    <a:pt x="3972" y="512"/>
                    <a:pt x="3972" y="512"/>
                  </a:cubicBezTo>
                  <a:moveTo>
                    <a:pt x="4008" y="511"/>
                  </a:moveTo>
                  <a:cubicBezTo>
                    <a:pt x="4001" y="511"/>
                    <a:pt x="3998" y="516"/>
                    <a:pt x="4001" y="522"/>
                  </a:cubicBezTo>
                  <a:cubicBezTo>
                    <a:pt x="4004" y="527"/>
                    <a:pt x="4012" y="532"/>
                    <a:pt x="4019" y="532"/>
                  </a:cubicBezTo>
                  <a:cubicBezTo>
                    <a:pt x="4026" y="532"/>
                    <a:pt x="4029" y="527"/>
                    <a:pt x="4026" y="522"/>
                  </a:cubicBezTo>
                  <a:cubicBezTo>
                    <a:pt x="4023" y="516"/>
                    <a:pt x="4015" y="511"/>
                    <a:pt x="4008" y="511"/>
                  </a:cubicBezTo>
                  <a:cubicBezTo>
                    <a:pt x="4008" y="511"/>
                    <a:pt x="4008" y="511"/>
                    <a:pt x="4008" y="511"/>
                  </a:cubicBezTo>
                  <a:moveTo>
                    <a:pt x="199" y="506"/>
                  </a:moveTo>
                  <a:cubicBezTo>
                    <a:pt x="192" y="506"/>
                    <a:pt x="183" y="511"/>
                    <a:pt x="178" y="516"/>
                  </a:cubicBezTo>
                  <a:cubicBezTo>
                    <a:pt x="174" y="522"/>
                    <a:pt x="175" y="527"/>
                    <a:pt x="182" y="526"/>
                  </a:cubicBezTo>
                  <a:cubicBezTo>
                    <a:pt x="189" y="526"/>
                    <a:pt x="199" y="522"/>
                    <a:pt x="203" y="516"/>
                  </a:cubicBezTo>
                  <a:cubicBezTo>
                    <a:pt x="208" y="511"/>
                    <a:pt x="206" y="506"/>
                    <a:pt x="199" y="506"/>
                  </a:cubicBezTo>
                  <a:cubicBezTo>
                    <a:pt x="199" y="506"/>
                    <a:pt x="199" y="506"/>
                    <a:pt x="199" y="506"/>
                  </a:cubicBezTo>
                  <a:moveTo>
                    <a:pt x="235" y="506"/>
                  </a:moveTo>
                  <a:cubicBezTo>
                    <a:pt x="228" y="506"/>
                    <a:pt x="218" y="511"/>
                    <a:pt x="214" y="516"/>
                  </a:cubicBezTo>
                  <a:cubicBezTo>
                    <a:pt x="209" y="522"/>
                    <a:pt x="211" y="526"/>
                    <a:pt x="218" y="526"/>
                  </a:cubicBezTo>
                  <a:cubicBezTo>
                    <a:pt x="225" y="526"/>
                    <a:pt x="234" y="522"/>
                    <a:pt x="239" y="516"/>
                  </a:cubicBezTo>
                  <a:cubicBezTo>
                    <a:pt x="243" y="510"/>
                    <a:pt x="241" y="506"/>
                    <a:pt x="235" y="506"/>
                  </a:cubicBezTo>
                  <a:cubicBezTo>
                    <a:pt x="235" y="506"/>
                    <a:pt x="235" y="506"/>
                    <a:pt x="235" y="506"/>
                  </a:cubicBezTo>
                  <a:moveTo>
                    <a:pt x="270" y="506"/>
                  </a:moveTo>
                  <a:cubicBezTo>
                    <a:pt x="263" y="506"/>
                    <a:pt x="254" y="510"/>
                    <a:pt x="249" y="516"/>
                  </a:cubicBezTo>
                  <a:cubicBezTo>
                    <a:pt x="245" y="522"/>
                    <a:pt x="247" y="526"/>
                    <a:pt x="254" y="526"/>
                  </a:cubicBezTo>
                  <a:cubicBezTo>
                    <a:pt x="261" y="526"/>
                    <a:pt x="270" y="521"/>
                    <a:pt x="274" y="516"/>
                  </a:cubicBezTo>
                  <a:cubicBezTo>
                    <a:pt x="279" y="510"/>
                    <a:pt x="277" y="506"/>
                    <a:pt x="270" y="506"/>
                  </a:cubicBezTo>
                  <a:cubicBezTo>
                    <a:pt x="270" y="506"/>
                    <a:pt x="270" y="506"/>
                    <a:pt x="270" y="506"/>
                  </a:cubicBezTo>
                  <a:moveTo>
                    <a:pt x="305" y="506"/>
                  </a:moveTo>
                  <a:cubicBezTo>
                    <a:pt x="298" y="506"/>
                    <a:pt x="289" y="510"/>
                    <a:pt x="285" y="516"/>
                  </a:cubicBezTo>
                  <a:cubicBezTo>
                    <a:pt x="280" y="521"/>
                    <a:pt x="282" y="526"/>
                    <a:pt x="289" y="526"/>
                  </a:cubicBezTo>
                  <a:cubicBezTo>
                    <a:pt x="296" y="526"/>
                    <a:pt x="305" y="521"/>
                    <a:pt x="310" y="516"/>
                  </a:cubicBezTo>
                  <a:cubicBezTo>
                    <a:pt x="314" y="510"/>
                    <a:pt x="312" y="506"/>
                    <a:pt x="305" y="506"/>
                  </a:cubicBezTo>
                  <a:cubicBezTo>
                    <a:pt x="305" y="506"/>
                    <a:pt x="305" y="506"/>
                    <a:pt x="305" y="506"/>
                  </a:cubicBezTo>
                  <a:moveTo>
                    <a:pt x="341" y="505"/>
                  </a:moveTo>
                  <a:cubicBezTo>
                    <a:pt x="334" y="505"/>
                    <a:pt x="325" y="510"/>
                    <a:pt x="321" y="515"/>
                  </a:cubicBezTo>
                  <a:cubicBezTo>
                    <a:pt x="316" y="521"/>
                    <a:pt x="318" y="526"/>
                    <a:pt x="325" y="526"/>
                  </a:cubicBezTo>
                  <a:cubicBezTo>
                    <a:pt x="332" y="526"/>
                    <a:pt x="341" y="521"/>
                    <a:pt x="346" y="515"/>
                  </a:cubicBezTo>
                  <a:cubicBezTo>
                    <a:pt x="350" y="510"/>
                    <a:pt x="348" y="505"/>
                    <a:pt x="341" y="505"/>
                  </a:cubicBezTo>
                  <a:cubicBezTo>
                    <a:pt x="341" y="505"/>
                    <a:pt x="341" y="505"/>
                    <a:pt x="341" y="505"/>
                  </a:cubicBezTo>
                  <a:moveTo>
                    <a:pt x="376" y="505"/>
                  </a:moveTo>
                  <a:cubicBezTo>
                    <a:pt x="369" y="505"/>
                    <a:pt x="360" y="510"/>
                    <a:pt x="356" y="515"/>
                  </a:cubicBezTo>
                  <a:cubicBezTo>
                    <a:pt x="352" y="521"/>
                    <a:pt x="354" y="525"/>
                    <a:pt x="361" y="525"/>
                  </a:cubicBezTo>
                  <a:cubicBezTo>
                    <a:pt x="368" y="525"/>
                    <a:pt x="377" y="521"/>
                    <a:pt x="381" y="515"/>
                  </a:cubicBezTo>
                  <a:cubicBezTo>
                    <a:pt x="385" y="510"/>
                    <a:pt x="383" y="505"/>
                    <a:pt x="376" y="505"/>
                  </a:cubicBezTo>
                  <a:cubicBezTo>
                    <a:pt x="376" y="505"/>
                    <a:pt x="376" y="505"/>
                    <a:pt x="376" y="505"/>
                  </a:cubicBezTo>
                  <a:moveTo>
                    <a:pt x="412" y="505"/>
                  </a:moveTo>
                  <a:cubicBezTo>
                    <a:pt x="405" y="505"/>
                    <a:pt x="396" y="509"/>
                    <a:pt x="392" y="515"/>
                  </a:cubicBezTo>
                  <a:cubicBezTo>
                    <a:pt x="388" y="521"/>
                    <a:pt x="390" y="525"/>
                    <a:pt x="397" y="525"/>
                  </a:cubicBezTo>
                  <a:cubicBezTo>
                    <a:pt x="404" y="525"/>
                    <a:pt x="413" y="520"/>
                    <a:pt x="417" y="515"/>
                  </a:cubicBezTo>
                  <a:cubicBezTo>
                    <a:pt x="421" y="509"/>
                    <a:pt x="419" y="505"/>
                    <a:pt x="412" y="505"/>
                  </a:cubicBezTo>
                  <a:cubicBezTo>
                    <a:pt x="412" y="505"/>
                    <a:pt x="412" y="505"/>
                    <a:pt x="412" y="505"/>
                  </a:cubicBezTo>
                  <a:moveTo>
                    <a:pt x="449" y="505"/>
                  </a:moveTo>
                  <a:cubicBezTo>
                    <a:pt x="442" y="505"/>
                    <a:pt x="433" y="509"/>
                    <a:pt x="429" y="515"/>
                  </a:cubicBezTo>
                  <a:cubicBezTo>
                    <a:pt x="424" y="520"/>
                    <a:pt x="427" y="525"/>
                    <a:pt x="434" y="525"/>
                  </a:cubicBezTo>
                  <a:cubicBezTo>
                    <a:pt x="441" y="525"/>
                    <a:pt x="450" y="520"/>
                    <a:pt x="454" y="515"/>
                  </a:cubicBezTo>
                  <a:cubicBezTo>
                    <a:pt x="458" y="509"/>
                    <a:pt x="456" y="505"/>
                    <a:pt x="449" y="505"/>
                  </a:cubicBezTo>
                  <a:cubicBezTo>
                    <a:pt x="449" y="505"/>
                    <a:pt x="449" y="505"/>
                    <a:pt x="449" y="505"/>
                  </a:cubicBezTo>
                  <a:moveTo>
                    <a:pt x="484" y="504"/>
                  </a:moveTo>
                  <a:cubicBezTo>
                    <a:pt x="477" y="504"/>
                    <a:pt x="468" y="509"/>
                    <a:pt x="464" y="515"/>
                  </a:cubicBezTo>
                  <a:cubicBezTo>
                    <a:pt x="460" y="520"/>
                    <a:pt x="462" y="525"/>
                    <a:pt x="469" y="525"/>
                  </a:cubicBezTo>
                  <a:cubicBezTo>
                    <a:pt x="476" y="525"/>
                    <a:pt x="485" y="520"/>
                    <a:pt x="489" y="514"/>
                  </a:cubicBezTo>
                  <a:cubicBezTo>
                    <a:pt x="493" y="509"/>
                    <a:pt x="491" y="504"/>
                    <a:pt x="484" y="504"/>
                  </a:cubicBezTo>
                  <a:cubicBezTo>
                    <a:pt x="484" y="504"/>
                    <a:pt x="484" y="504"/>
                    <a:pt x="484" y="504"/>
                  </a:cubicBezTo>
                  <a:moveTo>
                    <a:pt x="520" y="504"/>
                  </a:moveTo>
                  <a:cubicBezTo>
                    <a:pt x="513" y="504"/>
                    <a:pt x="504" y="509"/>
                    <a:pt x="500" y="514"/>
                  </a:cubicBezTo>
                  <a:cubicBezTo>
                    <a:pt x="496" y="520"/>
                    <a:pt x="498" y="524"/>
                    <a:pt x="505" y="524"/>
                  </a:cubicBezTo>
                  <a:cubicBezTo>
                    <a:pt x="512" y="524"/>
                    <a:pt x="521" y="520"/>
                    <a:pt x="525" y="514"/>
                  </a:cubicBezTo>
                  <a:cubicBezTo>
                    <a:pt x="529" y="509"/>
                    <a:pt x="527" y="504"/>
                    <a:pt x="520" y="504"/>
                  </a:cubicBezTo>
                  <a:cubicBezTo>
                    <a:pt x="520" y="504"/>
                    <a:pt x="520" y="504"/>
                    <a:pt x="520" y="504"/>
                  </a:cubicBezTo>
                  <a:moveTo>
                    <a:pt x="556" y="504"/>
                  </a:moveTo>
                  <a:cubicBezTo>
                    <a:pt x="549" y="504"/>
                    <a:pt x="540" y="509"/>
                    <a:pt x="536" y="514"/>
                  </a:cubicBezTo>
                  <a:cubicBezTo>
                    <a:pt x="532" y="520"/>
                    <a:pt x="534" y="524"/>
                    <a:pt x="541" y="524"/>
                  </a:cubicBezTo>
                  <a:cubicBezTo>
                    <a:pt x="548" y="524"/>
                    <a:pt x="557" y="520"/>
                    <a:pt x="561" y="514"/>
                  </a:cubicBezTo>
                  <a:cubicBezTo>
                    <a:pt x="565" y="508"/>
                    <a:pt x="563" y="504"/>
                    <a:pt x="556" y="504"/>
                  </a:cubicBezTo>
                  <a:cubicBezTo>
                    <a:pt x="556" y="504"/>
                    <a:pt x="556" y="504"/>
                    <a:pt x="556" y="504"/>
                  </a:cubicBezTo>
                  <a:moveTo>
                    <a:pt x="591" y="504"/>
                  </a:moveTo>
                  <a:cubicBezTo>
                    <a:pt x="584" y="504"/>
                    <a:pt x="575" y="508"/>
                    <a:pt x="572" y="514"/>
                  </a:cubicBezTo>
                  <a:cubicBezTo>
                    <a:pt x="568" y="519"/>
                    <a:pt x="570" y="524"/>
                    <a:pt x="577" y="524"/>
                  </a:cubicBezTo>
                  <a:cubicBezTo>
                    <a:pt x="584" y="524"/>
                    <a:pt x="593" y="519"/>
                    <a:pt x="597" y="514"/>
                  </a:cubicBezTo>
                  <a:cubicBezTo>
                    <a:pt x="600" y="508"/>
                    <a:pt x="598" y="504"/>
                    <a:pt x="591" y="504"/>
                  </a:cubicBezTo>
                  <a:cubicBezTo>
                    <a:pt x="591" y="504"/>
                    <a:pt x="591" y="504"/>
                    <a:pt x="591" y="504"/>
                  </a:cubicBezTo>
                  <a:moveTo>
                    <a:pt x="627" y="503"/>
                  </a:moveTo>
                  <a:cubicBezTo>
                    <a:pt x="620" y="503"/>
                    <a:pt x="611" y="508"/>
                    <a:pt x="607" y="514"/>
                  </a:cubicBezTo>
                  <a:cubicBezTo>
                    <a:pt x="603" y="519"/>
                    <a:pt x="606" y="524"/>
                    <a:pt x="613" y="524"/>
                  </a:cubicBezTo>
                  <a:cubicBezTo>
                    <a:pt x="620" y="524"/>
                    <a:pt x="628" y="519"/>
                    <a:pt x="632" y="513"/>
                  </a:cubicBezTo>
                  <a:cubicBezTo>
                    <a:pt x="636" y="508"/>
                    <a:pt x="633" y="503"/>
                    <a:pt x="627" y="503"/>
                  </a:cubicBezTo>
                  <a:cubicBezTo>
                    <a:pt x="627" y="503"/>
                    <a:pt x="627" y="503"/>
                    <a:pt x="627" y="503"/>
                  </a:cubicBezTo>
                  <a:moveTo>
                    <a:pt x="662" y="503"/>
                  </a:moveTo>
                  <a:cubicBezTo>
                    <a:pt x="655" y="503"/>
                    <a:pt x="646" y="508"/>
                    <a:pt x="643" y="513"/>
                  </a:cubicBezTo>
                  <a:cubicBezTo>
                    <a:pt x="639" y="519"/>
                    <a:pt x="641" y="524"/>
                    <a:pt x="648" y="523"/>
                  </a:cubicBezTo>
                  <a:cubicBezTo>
                    <a:pt x="655" y="523"/>
                    <a:pt x="664" y="519"/>
                    <a:pt x="668" y="513"/>
                  </a:cubicBezTo>
                  <a:cubicBezTo>
                    <a:pt x="671" y="508"/>
                    <a:pt x="669" y="503"/>
                    <a:pt x="662" y="503"/>
                  </a:cubicBezTo>
                  <a:cubicBezTo>
                    <a:pt x="662" y="503"/>
                    <a:pt x="662" y="503"/>
                    <a:pt x="662" y="503"/>
                  </a:cubicBezTo>
                  <a:moveTo>
                    <a:pt x="698" y="503"/>
                  </a:moveTo>
                  <a:cubicBezTo>
                    <a:pt x="691" y="503"/>
                    <a:pt x="682" y="508"/>
                    <a:pt x="678" y="513"/>
                  </a:cubicBezTo>
                  <a:cubicBezTo>
                    <a:pt x="675" y="519"/>
                    <a:pt x="677" y="523"/>
                    <a:pt x="684" y="523"/>
                  </a:cubicBezTo>
                  <a:cubicBezTo>
                    <a:pt x="691" y="523"/>
                    <a:pt x="700" y="519"/>
                    <a:pt x="703" y="513"/>
                  </a:cubicBezTo>
                  <a:cubicBezTo>
                    <a:pt x="707" y="507"/>
                    <a:pt x="704" y="503"/>
                    <a:pt x="698" y="503"/>
                  </a:cubicBezTo>
                  <a:cubicBezTo>
                    <a:pt x="698" y="503"/>
                    <a:pt x="698" y="503"/>
                    <a:pt x="698" y="503"/>
                  </a:cubicBezTo>
                  <a:moveTo>
                    <a:pt x="733" y="503"/>
                  </a:moveTo>
                  <a:cubicBezTo>
                    <a:pt x="727" y="503"/>
                    <a:pt x="718" y="507"/>
                    <a:pt x="715" y="513"/>
                  </a:cubicBezTo>
                  <a:cubicBezTo>
                    <a:pt x="711" y="519"/>
                    <a:pt x="714" y="523"/>
                    <a:pt x="721" y="523"/>
                  </a:cubicBezTo>
                  <a:cubicBezTo>
                    <a:pt x="727" y="523"/>
                    <a:pt x="736" y="518"/>
                    <a:pt x="740" y="513"/>
                  </a:cubicBezTo>
                  <a:cubicBezTo>
                    <a:pt x="743" y="507"/>
                    <a:pt x="740" y="503"/>
                    <a:pt x="734" y="503"/>
                  </a:cubicBezTo>
                  <a:cubicBezTo>
                    <a:pt x="734" y="503"/>
                    <a:pt x="734" y="503"/>
                    <a:pt x="733" y="503"/>
                  </a:cubicBezTo>
                  <a:moveTo>
                    <a:pt x="769" y="502"/>
                  </a:moveTo>
                  <a:cubicBezTo>
                    <a:pt x="762" y="503"/>
                    <a:pt x="754" y="507"/>
                    <a:pt x="750" y="513"/>
                  </a:cubicBezTo>
                  <a:cubicBezTo>
                    <a:pt x="746" y="518"/>
                    <a:pt x="749" y="523"/>
                    <a:pt x="756" y="523"/>
                  </a:cubicBezTo>
                  <a:cubicBezTo>
                    <a:pt x="763" y="523"/>
                    <a:pt x="771" y="518"/>
                    <a:pt x="775" y="513"/>
                  </a:cubicBezTo>
                  <a:cubicBezTo>
                    <a:pt x="778" y="507"/>
                    <a:pt x="776" y="502"/>
                    <a:pt x="769" y="502"/>
                  </a:cubicBezTo>
                  <a:cubicBezTo>
                    <a:pt x="769" y="502"/>
                    <a:pt x="769" y="502"/>
                    <a:pt x="769" y="502"/>
                  </a:cubicBezTo>
                  <a:moveTo>
                    <a:pt x="802" y="502"/>
                  </a:moveTo>
                  <a:cubicBezTo>
                    <a:pt x="796" y="502"/>
                    <a:pt x="787" y="507"/>
                    <a:pt x="784" y="512"/>
                  </a:cubicBezTo>
                  <a:cubicBezTo>
                    <a:pt x="780" y="518"/>
                    <a:pt x="783" y="523"/>
                    <a:pt x="790" y="523"/>
                  </a:cubicBezTo>
                  <a:cubicBezTo>
                    <a:pt x="797" y="523"/>
                    <a:pt x="805" y="518"/>
                    <a:pt x="809" y="512"/>
                  </a:cubicBezTo>
                  <a:cubicBezTo>
                    <a:pt x="812" y="507"/>
                    <a:pt x="809" y="502"/>
                    <a:pt x="803" y="502"/>
                  </a:cubicBezTo>
                  <a:cubicBezTo>
                    <a:pt x="803" y="502"/>
                    <a:pt x="803" y="502"/>
                    <a:pt x="802" y="502"/>
                  </a:cubicBezTo>
                  <a:moveTo>
                    <a:pt x="838" y="502"/>
                  </a:moveTo>
                  <a:cubicBezTo>
                    <a:pt x="832" y="502"/>
                    <a:pt x="823" y="507"/>
                    <a:pt x="820" y="512"/>
                  </a:cubicBezTo>
                  <a:cubicBezTo>
                    <a:pt x="816" y="518"/>
                    <a:pt x="819" y="522"/>
                    <a:pt x="826" y="522"/>
                  </a:cubicBezTo>
                  <a:cubicBezTo>
                    <a:pt x="833" y="522"/>
                    <a:pt x="841" y="518"/>
                    <a:pt x="845" y="512"/>
                  </a:cubicBezTo>
                  <a:cubicBezTo>
                    <a:pt x="848" y="507"/>
                    <a:pt x="845" y="502"/>
                    <a:pt x="839" y="502"/>
                  </a:cubicBezTo>
                  <a:cubicBezTo>
                    <a:pt x="839" y="502"/>
                    <a:pt x="838" y="502"/>
                    <a:pt x="838" y="502"/>
                  </a:cubicBezTo>
                  <a:moveTo>
                    <a:pt x="874" y="502"/>
                  </a:moveTo>
                  <a:cubicBezTo>
                    <a:pt x="867" y="502"/>
                    <a:pt x="859" y="506"/>
                    <a:pt x="855" y="512"/>
                  </a:cubicBezTo>
                  <a:cubicBezTo>
                    <a:pt x="852" y="518"/>
                    <a:pt x="855" y="522"/>
                    <a:pt x="862" y="522"/>
                  </a:cubicBezTo>
                  <a:cubicBezTo>
                    <a:pt x="869" y="522"/>
                    <a:pt x="877" y="517"/>
                    <a:pt x="880" y="512"/>
                  </a:cubicBezTo>
                  <a:cubicBezTo>
                    <a:pt x="884" y="506"/>
                    <a:pt x="881" y="502"/>
                    <a:pt x="874" y="502"/>
                  </a:cubicBezTo>
                  <a:cubicBezTo>
                    <a:pt x="874" y="502"/>
                    <a:pt x="874" y="502"/>
                    <a:pt x="874" y="502"/>
                  </a:cubicBezTo>
                  <a:moveTo>
                    <a:pt x="909" y="502"/>
                  </a:moveTo>
                  <a:cubicBezTo>
                    <a:pt x="902" y="502"/>
                    <a:pt x="894" y="506"/>
                    <a:pt x="891" y="512"/>
                  </a:cubicBezTo>
                  <a:cubicBezTo>
                    <a:pt x="888" y="517"/>
                    <a:pt x="891" y="522"/>
                    <a:pt x="898" y="522"/>
                  </a:cubicBezTo>
                  <a:cubicBezTo>
                    <a:pt x="905" y="522"/>
                    <a:pt x="913" y="517"/>
                    <a:pt x="916" y="512"/>
                  </a:cubicBezTo>
                  <a:cubicBezTo>
                    <a:pt x="919" y="506"/>
                    <a:pt x="916" y="502"/>
                    <a:pt x="909" y="502"/>
                  </a:cubicBezTo>
                  <a:cubicBezTo>
                    <a:pt x="909" y="502"/>
                    <a:pt x="909" y="502"/>
                    <a:pt x="909" y="502"/>
                  </a:cubicBezTo>
                  <a:moveTo>
                    <a:pt x="945" y="501"/>
                  </a:moveTo>
                  <a:cubicBezTo>
                    <a:pt x="938" y="501"/>
                    <a:pt x="930" y="506"/>
                    <a:pt x="926" y="512"/>
                  </a:cubicBezTo>
                  <a:cubicBezTo>
                    <a:pt x="923" y="517"/>
                    <a:pt x="926" y="522"/>
                    <a:pt x="933" y="522"/>
                  </a:cubicBezTo>
                  <a:cubicBezTo>
                    <a:pt x="940" y="522"/>
                    <a:pt x="948" y="517"/>
                    <a:pt x="951" y="511"/>
                  </a:cubicBezTo>
                  <a:cubicBezTo>
                    <a:pt x="954" y="506"/>
                    <a:pt x="952" y="501"/>
                    <a:pt x="945" y="501"/>
                  </a:cubicBezTo>
                  <a:cubicBezTo>
                    <a:pt x="945" y="501"/>
                    <a:pt x="945" y="501"/>
                    <a:pt x="945" y="501"/>
                  </a:cubicBezTo>
                  <a:moveTo>
                    <a:pt x="980" y="501"/>
                  </a:moveTo>
                  <a:cubicBezTo>
                    <a:pt x="973" y="501"/>
                    <a:pt x="965" y="506"/>
                    <a:pt x="962" y="511"/>
                  </a:cubicBezTo>
                  <a:cubicBezTo>
                    <a:pt x="959" y="517"/>
                    <a:pt x="962" y="521"/>
                    <a:pt x="969" y="521"/>
                  </a:cubicBezTo>
                  <a:cubicBezTo>
                    <a:pt x="976" y="521"/>
                    <a:pt x="984" y="517"/>
                    <a:pt x="987" y="511"/>
                  </a:cubicBezTo>
                  <a:cubicBezTo>
                    <a:pt x="990" y="506"/>
                    <a:pt x="987" y="501"/>
                    <a:pt x="980" y="501"/>
                  </a:cubicBezTo>
                  <a:cubicBezTo>
                    <a:pt x="980" y="501"/>
                    <a:pt x="980" y="501"/>
                    <a:pt x="980" y="501"/>
                  </a:cubicBezTo>
                  <a:moveTo>
                    <a:pt x="1938" y="498"/>
                  </a:moveTo>
                  <a:cubicBezTo>
                    <a:pt x="1931" y="498"/>
                    <a:pt x="1924" y="503"/>
                    <a:pt x="1923" y="508"/>
                  </a:cubicBezTo>
                  <a:cubicBezTo>
                    <a:pt x="1922" y="514"/>
                    <a:pt x="1927" y="518"/>
                    <a:pt x="1934" y="518"/>
                  </a:cubicBezTo>
                  <a:cubicBezTo>
                    <a:pt x="1940" y="518"/>
                    <a:pt x="1947" y="514"/>
                    <a:pt x="1948" y="508"/>
                  </a:cubicBezTo>
                  <a:cubicBezTo>
                    <a:pt x="1949" y="503"/>
                    <a:pt x="1945" y="498"/>
                    <a:pt x="1938" y="498"/>
                  </a:cubicBezTo>
                  <a:cubicBezTo>
                    <a:pt x="1938" y="498"/>
                    <a:pt x="1938" y="498"/>
                    <a:pt x="1938" y="498"/>
                  </a:cubicBezTo>
                  <a:moveTo>
                    <a:pt x="1973" y="498"/>
                  </a:moveTo>
                  <a:cubicBezTo>
                    <a:pt x="1966" y="498"/>
                    <a:pt x="1960" y="502"/>
                    <a:pt x="1959" y="508"/>
                  </a:cubicBezTo>
                  <a:cubicBezTo>
                    <a:pt x="1957" y="514"/>
                    <a:pt x="1962" y="518"/>
                    <a:pt x="1969" y="518"/>
                  </a:cubicBezTo>
                  <a:cubicBezTo>
                    <a:pt x="1976" y="518"/>
                    <a:pt x="1982" y="514"/>
                    <a:pt x="1983" y="508"/>
                  </a:cubicBezTo>
                  <a:cubicBezTo>
                    <a:pt x="1985" y="502"/>
                    <a:pt x="1980" y="498"/>
                    <a:pt x="1973" y="498"/>
                  </a:cubicBezTo>
                  <a:cubicBezTo>
                    <a:pt x="1973" y="498"/>
                    <a:pt x="1973" y="498"/>
                    <a:pt x="1973" y="498"/>
                  </a:cubicBezTo>
                  <a:moveTo>
                    <a:pt x="2044" y="493"/>
                  </a:moveTo>
                  <a:cubicBezTo>
                    <a:pt x="2037" y="493"/>
                    <a:pt x="2031" y="498"/>
                    <a:pt x="2030" y="504"/>
                  </a:cubicBezTo>
                  <a:cubicBezTo>
                    <a:pt x="2029" y="509"/>
                    <a:pt x="2034" y="514"/>
                    <a:pt x="2041" y="514"/>
                  </a:cubicBezTo>
                  <a:cubicBezTo>
                    <a:pt x="2048" y="514"/>
                    <a:pt x="2054" y="509"/>
                    <a:pt x="2055" y="503"/>
                  </a:cubicBezTo>
                  <a:cubicBezTo>
                    <a:pt x="2056" y="498"/>
                    <a:pt x="2051" y="493"/>
                    <a:pt x="2044" y="493"/>
                  </a:cubicBezTo>
                  <a:cubicBezTo>
                    <a:pt x="2044" y="493"/>
                    <a:pt x="2044" y="493"/>
                    <a:pt x="2044" y="493"/>
                  </a:cubicBezTo>
                  <a:moveTo>
                    <a:pt x="2080" y="493"/>
                  </a:moveTo>
                  <a:cubicBezTo>
                    <a:pt x="2073" y="493"/>
                    <a:pt x="2067" y="498"/>
                    <a:pt x="2066" y="503"/>
                  </a:cubicBezTo>
                  <a:cubicBezTo>
                    <a:pt x="2065" y="509"/>
                    <a:pt x="2070" y="514"/>
                    <a:pt x="2077" y="514"/>
                  </a:cubicBezTo>
                  <a:cubicBezTo>
                    <a:pt x="2084" y="513"/>
                    <a:pt x="2090" y="509"/>
                    <a:pt x="2091" y="503"/>
                  </a:cubicBezTo>
                  <a:cubicBezTo>
                    <a:pt x="2092" y="498"/>
                    <a:pt x="2087" y="493"/>
                    <a:pt x="2080" y="493"/>
                  </a:cubicBezTo>
                  <a:cubicBezTo>
                    <a:pt x="2080" y="493"/>
                    <a:pt x="2080" y="493"/>
                    <a:pt x="2080" y="493"/>
                  </a:cubicBezTo>
                  <a:moveTo>
                    <a:pt x="2114" y="493"/>
                  </a:moveTo>
                  <a:cubicBezTo>
                    <a:pt x="2107" y="493"/>
                    <a:pt x="2101" y="498"/>
                    <a:pt x="2100" y="503"/>
                  </a:cubicBezTo>
                  <a:cubicBezTo>
                    <a:pt x="2099" y="509"/>
                    <a:pt x="2104" y="513"/>
                    <a:pt x="2111" y="513"/>
                  </a:cubicBezTo>
                  <a:cubicBezTo>
                    <a:pt x="2118" y="513"/>
                    <a:pt x="2124" y="509"/>
                    <a:pt x="2125" y="503"/>
                  </a:cubicBezTo>
                  <a:cubicBezTo>
                    <a:pt x="2126" y="497"/>
                    <a:pt x="2121" y="493"/>
                    <a:pt x="2114" y="493"/>
                  </a:cubicBezTo>
                  <a:cubicBezTo>
                    <a:pt x="2114" y="493"/>
                    <a:pt x="2114" y="493"/>
                    <a:pt x="2114" y="493"/>
                  </a:cubicBezTo>
                  <a:moveTo>
                    <a:pt x="2223" y="493"/>
                  </a:moveTo>
                  <a:cubicBezTo>
                    <a:pt x="2217" y="493"/>
                    <a:pt x="2211" y="497"/>
                    <a:pt x="2210" y="503"/>
                  </a:cubicBezTo>
                  <a:cubicBezTo>
                    <a:pt x="2209" y="509"/>
                    <a:pt x="2214" y="513"/>
                    <a:pt x="2221" y="513"/>
                  </a:cubicBezTo>
                  <a:cubicBezTo>
                    <a:pt x="2228" y="513"/>
                    <a:pt x="2234" y="508"/>
                    <a:pt x="2235" y="503"/>
                  </a:cubicBezTo>
                  <a:cubicBezTo>
                    <a:pt x="2235" y="497"/>
                    <a:pt x="2230" y="493"/>
                    <a:pt x="2223" y="493"/>
                  </a:cubicBezTo>
                  <a:cubicBezTo>
                    <a:pt x="2223" y="493"/>
                    <a:pt x="2223" y="493"/>
                    <a:pt x="2223" y="493"/>
                  </a:cubicBezTo>
                  <a:moveTo>
                    <a:pt x="2150" y="493"/>
                  </a:moveTo>
                  <a:cubicBezTo>
                    <a:pt x="2143" y="493"/>
                    <a:pt x="2137" y="497"/>
                    <a:pt x="2136" y="503"/>
                  </a:cubicBezTo>
                  <a:cubicBezTo>
                    <a:pt x="2135" y="509"/>
                    <a:pt x="2140" y="513"/>
                    <a:pt x="2147" y="513"/>
                  </a:cubicBezTo>
                  <a:cubicBezTo>
                    <a:pt x="2154" y="513"/>
                    <a:pt x="2160" y="508"/>
                    <a:pt x="2161" y="503"/>
                  </a:cubicBezTo>
                  <a:cubicBezTo>
                    <a:pt x="2162" y="497"/>
                    <a:pt x="2157" y="493"/>
                    <a:pt x="2150" y="493"/>
                  </a:cubicBezTo>
                  <a:cubicBezTo>
                    <a:pt x="2150" y="493"/>
                    <a:pt x="2150" y="493"/>
                    <a:pt x="2150" y="493"/>
                  </a:cubicBezTo>
                  <a:moveTo>
                    <a:pt x="2294" y="492"/>
                  </a:moveTo>
                  <a:cubicBezTo>
                    <a:pt x="2287" y="492"/>
                    <a:pt x="2281" y="497"/>
                    <a:pt x="2280" y="502"/>
                  </a:cubicBezTo>
                  <a:cubicBezTo>
                    <a:pt x="2280" y="508"/>
                    <a:pt x="2285" y="513"/>
                    <a:pt x="2292" y="513"/>
                  </a:cubicBezTo>
                  <a:cubicBezTo>
                    <a:pt x="2299" y="513"/>
                    <a:pt x="2305" y="508"/>
                    <a:pt x="2305" y="502"/>
                  </a:cubicBezTo>
                  <a:cubicBezTo>
                    <a:pt x="2306" y="497"/>
                    <a:pt x="2300" y="492"/>
                    <a:pt x="2294" y="492"/>
                  </a:cubicBezTo>
                  <a:cubicBezTo>
                    <a:pt x="2294" y="492"/>
                    <a:pt x="2294" y="492"/>
                    <a:pt x="2294" y="492"/>
                  </a:cubicBezTo>
                  <a:moveTo>
                    <a:pt x="2329" y="492"/>
                  </a:moveTo>
                  <a:cubicBezTo>
                    <a:pt x="2322" y="492"/>
                    <a:pt x="2316" y="497"/>
                    <a:pt x="2316" y="502"/>
                  </a:cubicBezTo>
                  <a:cubicBezTo>
                    <a:pt x="2315" y="508"/>
                    <a:pt x="2321" y="512"/>
                    <a:pt x="2328" y="512"/>
                  </a:cubicBezTo>
                  <a:cubicBezTo>
                    <a:pt x="2334" y="512"/>
                    <a:pt x="2340" y="508"/>
                    <a:pt x="2341" y="502"/>
                  </a:cubicBezTo>
                  <a:cubicBezTo>
                    <a:pt x="2341" y="496"/>
                    <a:pt x="2336" y="492"/>
                    <a:pt x="2329" y="492"/>
                  </a:cubicBezTo>
                  <a:cubicBezTo>
                    <a:pt x="2329" y="492"/>
                    <a:pt x="2329" y="492"/>
                    <a:pt x="2329" y="492"/>
                  </a:cubicBezTo>
                  <a:moveTo>
                    <a:pt x="2364" y="492"/>
                  </a:moveTo>
                  <a:cubicBezTo>
                    <a:pt x="2357" y="492"/>
                    <a:pt x="2352" y="496"/>
                    <a:pt x="2351" y="502"/>
                  </a:cubicBezTo>
                  <a:cubicBezTo>
                    <a:pt x="2351" y="508"/>
                    <a:pt x="2356" y="512"/>
                    <a:pt x="2363" y="512"/>
                  </a:cubicBezTo>
                  <a:cubicBezTo>
                    <a:pt x="2370" y="512"/>
                    <a:pt x="2376" y="507"/>
                    <a:pt x="2376" y="502"/>
                  </a:cubicBezTo>
                  <a:cubicBezTo>
                    <a:pt x="2376" y="496"/>
                    <a:pt x="2371" y="492"/>
                    <a:pt x="2364" y="492"/>
                  </a:cubicBezTo>
                  <a:cubicBezTo>
                    <a:pt x="2364" y="492"/>
                    <a:pt x="2364" y="492"/>
                    <a:pt x="2364" y="492"/>
                  </a:cubicBezTo>
                  <a:moveTo>
                    <a:pt x="2649" y="492"/>
                  </a:moveTo>
                  <a:cubicBezTo>
                    <a:pt x="2642" y="492"/>
                    <a:pt x="2636" y="496"/>
                    <a:pt x="2637" y="502"/>
                  </a:cubicBezTo>
                  <a:cubicBezTo>
                    <a:pt x="2637" y="507"/>
                    <a:pt x="2643" y="512"/>
                    <a:pt x="2650" y="512"/>
                  </a:cubicBezTo>
                  <a:cubicBezTo>
                    <a:pt x="2657" y="512"/>
                    <a:pt x="2662" y="507"/>
                    <a:pt x="2662" y="502"/>
                  </a:cubicBezTo>
                  <a:cubicBezTo>
                    <a:pt x="2661" y="496"/>
                    <a:pt x="2656" y="492"/>
                    <a:pt x="2649" y="492"/>
                  </a:cubicBezTo>
                  <a:cubicBezTo>
                    <a:pt x="2649" y="492"/>
                    <a:pt x="2649" y="492"/>
                    <a:pt x="2649" y="492"/>
                  </a:cubicBezTo>
                  <a:moveTo>
                    <a:pt x="2400" y="491"/>
                  </a:moveTo>
                  <a:cubicBezTo>
                    <a:pt x="2393" y="492"/>
                    <a:pt x="2387" y="496"/>
                    <a:pt x="2387" y="502"/>
                  </a:cubicBezTo>
                  <a:cubicBezTo>
                    <a:pt x="2387" y="507"/>
                    <a:pt x="2392" y="512"/>
                    <a:pt x="2399" y="512"/>
                  </a:cubicBezTo>
                  <a:cubicBezTo>
                    <a:pt x="2406" y="512"/>
                    <a:pt x="2412" y="507"/>
                    <a:pt x="2412" y="502"/>
                  </a:cubicBezTo>
                  <a:cubicBezTo>
                    <a:pt x="2412" y="496"/>
                    <a:pt x="2407" y="491"/>
                    <a:pt x="2400" y="491"/>
                  </a:cubicBezTo>
                  <a:cubicBezTo>
                    <a:pt x="2400" y="491"/>
                    <a:pt x="2400" y="491"/>
                    <a:pt x="2400" y="491"/>
                  </a:cubicBezTo>
                  <a:moveTo>
                    <a:pt x="2684" y="491"/>
                  </a:moveTo>
                  <a:cubicBezTo>
                    <a:pt x="2677" y="491"/>
                    <a:pt x="2671" y="496"/>
                    <a:pt x="2672" y="502"/>
                  </a:cubicBezTo>
                  <a:cubicBezTo>
                    <a:pt x="2672" y="507"/>
                    <a:pt x="2678" y="512"/>
                    <a:pt x="2685" y="512"/>
                  </a:cubicBezTo>
                  <a:cubicBezTo>
                    <a:pt x="2692" y="512"/>
                    <a:pt x="2697" y="507"/>
                    <a:pt x="2697" y="501"/>
                  </a:cubicBezTo>
                  <a:cubicBezTo>
                    <a:pt x="2696" y="496"/>
                    <a:pt x="2690" y="491"/>
                    <a:pt x="2684" y="491"/>
                  </a:cubicBezTo>
                  <a:cubicBezTo>
                    <a:pt x="2684" y="491"/>
                    <a:pt x="2684" y="491"/>
                    <a:pt x="2684" y="491"/>
                  </a:cubicBezTo>
                  <a:moveTo>
                    <a:pt x="2435" y="491"/>
                  </a:moveTo>
                  <a:cubicBezTo>
                    <a:pt x="2428" y="491"/>
                    <a:pt x="2423" y="496"/>
                    <a:pt x="2423" y="502"/>
                  </a:cubicBezTo>
                  <a:cubicBezTo>
                    <a:pt x="2422" y="507"/>
                    <a:pt x="2428" y="512"/>
                    <a:pt x="2435" y="512"/>
                  </a:cubicBezTo>
                  <a:cubicBezTo>
                    <a:pt x="2442" y="512"/>
                    <a:pt x="2447" y="507"/>
                    <a:pt x="2447" y="501"/>
                  </a:cubicBezTo>
                  <a:cubicBezTo>
                    <a:pt x="2448" y="496"/>
                    <a:pt x="2442" y="491"/>
                    <a:pt x="2435" y="491"/>
                  </a:cubicBezTo>
                  <a:cubicBezTo>
                    <a:pt x="2435" y="491"/>
                    <a:pt x="2435" y="491"/>
                    <a:pt x="2435" y="491"/>
                  </a:cubicBezTo>
                  <a:moveTo>
                    <a:pt x="2719" y="491"/>
                  </a:moveTo>
                  <a:cubicBezTo>
                    <a:pt x="2712" y="491"/>
                    <a:pt x="2707" y="496"/>
                    <a:pt x="2707" y="501"/>
                  </a:cubicBezTo>
                  <a:cubicBezTo>
                    <a:pt x="2708" y="507"/>
                    <a:pt x="2713" y="512"/>
                    <a:pt x="2720" y="512"/>
                  </a:cubicBezTo>
                  <a:cubicBezTo>
                    <a:pt x="2727" y="511"/>
                    <a:pt x="2732" y="507"/>
                    <a:pt x="2732" y="501"/>
                  </a:cubicBezTo>
                  <a:cubicBezTo>
                    <a:pt x="2732" y="496"/>
                    <a:pt x="2726" y="491"/>
                    <a:pt x="2719" y="491"/>
                  </a:cubicBezTo>
                  <a:cubicBezTo>
                    <a:pt x="2719" y="491"/>
                    <a:pt x="2719" y="491"/>
                    <a:pt x="2719" y="491"/>
                  </a:cubicBezTo>
                  <a:moveTo>
                    <a:pt x="2471" y="491"/>
                  </a:moveTo>
                  <a:cubicBezTo>
                    <a:pt x="2464" y="491"/>
                    <a:pt x="2458" y="496"/>
                    <a:pt x="2458" y="501"/>
                  </a:cubicBezTo>
                  <a:cubicBezTo>
                    <a:pt x="2458" y="507"/>
                    <a:pt x="2464" y="512"/>
                    <a:pt x="2470" y="511"/>
                  </a:cubicBezTo>
                  <a:cubicBezTo>
                    <a:pt x="2477" y="511"/>
                    <a:pt x="2483" y="507"/>
                    <a:pt x="2483" y="501"/>
                  </a:cubicBezTo>
                  <a:cubicBezTo>
                    <a:pt x="2483" y="496"/>
                    <a:pt x="2478" y="491"/>
                    <a:pt x="2471" y="491"/>
                  </a:cubicBezTo>
                  <a:cubicBezTo>
                    <a:pt x="2471" y="491"/>
                    <a:pt x="2471" y="491"/>
                    <a:pt x="2471" y="491"/>
                  </a:cubicBezTo>
                  <a:moveTo>
                    <a:pt x="2754" y="491"/>
                  </a:moveTo>
                  <a:cubicBezTo>
                    <a:pt x="2747" y="491"/>
                    <a:pt x="2742" y="496"/>
                    <a:pt x="2743" y="501"/>
                  </a:cubicBezTo>
                  <a:cubicBezTo>
                    <a:pt x="2743" y="507"/>
                    <a:pt x="2749" y="511"/>
                    <a:pt x="2756" y="511"/>
                  </a:cubicBezTo>
                  <a:cubicBezTo>
                    <a:pt x="2763" y="511"/>
                    <a:pt x="2768" y="507"/>
                    <a:pt x="2768" y="501"/>
                  </a:cubicBezTo>
                  <a:cubicBezTo>
                    <a:pt x="2767" y="495"/>
                    <a:pt x="2761" y="491"/>
                    <a:pt x="2754" y="491"/>
                  </a:cubicBezTo>
                  <a:cubicBezTo>
                    <a:pt x="2754" y="491"/>
                    <a:pt x="2754" y="491"/>
                    <a:pt x="2754" y="491"/>
                  </a:cubicBezTo>
                  <a:moveTo>
                    <a:pt x="2790" y="490"/>
                  </a:moveTo>
                  <a:cubicBezTo>
                    <a:pt x="2783" y="490"/>
                    <a:pt x="2778" y="495"/>
                    <a:pt x="2778" y="500"/>
                  </a:cubicBezTo>
                  <a:cubicBezTo>
                    <a:pt x="2779" y="506"/>
                    <a:pt x="2785" y="510"/>
                    <a:pt x="2792" y="510"/>
                  </a:cubicBezTo>
                  <a:cubicBezTo>
                    <a:pt x="2799" y="510"/>
                    <a:pt x="2804" y="506"/>
                    <a:pt x="2803" y="500"/>
                  </a:cubicBezTo>
                  <a:cubicBezTo>
                    <a:pt x="2802" y="494"/>
                    <a:pt x="2796" y="490"/>
                    <a:pt x="2790" y="490"/>
                  </a:cubicBezTo>
                  <a:cubicBezTo>
                    <a:pt x="2790" y="490"/>
                    <a:pt x="2790" y="490"/>
                    <a:pt x="2790" y="490"/>
                  </a:cubicBezTo>
                  <a:moveTo>
                    <a:pt x="2823" y="490"/>
                  </a:moveTo>
                  <a:cubicBezTo>
                    <a:pt x="2816" y="490"/>
                    <a:pt x="2811" y="494"/>
                    <a:pt x="2812" y="500"/>
                  </a:cubicBezTo>
                  <a:cubicBezTo>
                    <a:pt x="2812" y="506"/>
                    <a:pt x="2818" y="510"/>
                    <a:pt x="2825" y="510"/>
                  </a:cubicBezTo>
                  <a:cubicBezTo>
                    <a:pt x="2832" y="510"/>
                    <a:pt x="2837" y="505"/>
                    <a:pt x="2836" y="500"/>
                  </a:cubicBezTo>
                  <a:cubicBezTo>
                    <a:pt x="2836" y="494"/>
                    <a:pt x="2830" y="490"/>
                    <a:pt x="2823" y="490"/>
                  </a:cubicBezTo>
                  <a:cubicBezTo>
                    <a:pt x="2823" y="490"/>
                    <a:pt x="2823" y="490"/>
                    <a:pt x="2823" y="490"/>
                  </a:cubicBezTo>
                  <a:moveTo>
                    <a:pt x="2858" y="489"/>
                  </a:moveTo>
                  <a:cubicBezTo>
                    <a:pt x="2851" y="489"/>
                    <a:pt x="2846" y="494"/>
                    <a:pt x="2847" y="500"/>
                  </a:cubicBezTo>
                  <a:cubicBezTo>
                    <a:pt x="2848" y="505"/>
                    <a:pt x="2854" y="510"/>
                    <a:pt x="2861" y="510"/>
                  </a:cubicBezTo>
                  <a:cubicBezTo>
                    <a:pt x="2868" y="510"/>
                    <a:pt x="2873" y="505"/>
                    <a:pt x="2872" y="500"/>
                  </a:cubicBezTo>
                  <a:cubicBezTo>
                    <a:pt x="2871" y="494"/>
                    <a:pt x="2865" y="489"/>
                    <a:pt x="2858" y="489"/>
                  </a:cubicBezTo>
                  <a:cubicBezTo>
                    <a:pt x="2858" y="489"/>
                    <a:pt x="2858" y="489"/>
                    <a:pt x="2858" y="489"/>
                  </a:cubicBezTo>
                  <a:moveTo>
                    <a:pt x="2893" y="489"/>
                  </a:moveTo>
                  <a:cubicBezTo>
                    <a:pt x="2887" y="489"/>
                    <a:pt x="2882" y="494"/>
                    <a:pt x="2883" y="500"/>
                  </a:cubicBezTo>
                  <a:cubicBezTo>
                    <a:pt x="2883" y="505"/>
                    <a:pt x="2890" y="510"/>
                    <a:pt x="2896" y="510"/>
                  </a:cubicBezTo>
                  <a:cubicBezTo>
                    <a:pt x="2903" y="510"/>
                    <a:pt x="2908" y="505"/>
                    <a:pt x="2907" y="499"/>
                  </a:cubicBezTo>
                  <a:cubicBezTo>
                    <a:pt x="2907" y="494"/>
                    <a:pt x="2900" y="489"/>
                    <a:pt x="2894" y="489"/>
                  </a:cubicBezTo>
                  <a:cubicBezTo>
                    <a:pt x="2894" y="489"/>
                    <a:pt x="2894" y="489"/>
                    <a:pt x="2893" y="489"/>
                  </a:cubicBezTo>
                  <a:moveTo>
                    <a:pt x="2929" y="489"/>
                  </a:moveTo>
                  <a:cubicBezTo>
                    <a:pt x="2922" y="489"/>
                    <a:pt x="2918" y="494"/>
                    <a:pt x="2918" y="499"/>
                  </a:cubicBezTo>
                  <a:cubicBezTo>
                    <a:pt x="2919" y="505"/>
                    <a:pt x="2926" y="509"/>
                    <a:pt x="2932" y="509"/>
                  </a:cubicBezTo>
                  <a:cubicBezTo>
                    <a:pt x="2939" y="509"/>
                    <a:pt x="2944" y="505"/>
                    <a:pt x="2943" y="499"/>
                  </a:cubicBezTo>
                  <a:cubicBezTo>
                    <a:pt x="2942" y="493"/>
                    <a:pt x="2936" y="489"/>
                    <a:pt x="2929" y="489"/>
                  </a:cubicBezTo>
                  <a:cubicBezTo>
                    <a:pt x="2929" y="489"/>
                    <a:pt x="2929" y="489"/>
                    <a:pt x="2929" y="489"/>
                  </a:cubicBezTo>
                  <a:moveTo>
                    <a:pt x="2964" y="489"/>
                  </a:moveTo>
                  <a:cubicBezTo>
                    <a:pt x="2958" y="489"/>
                    <a:pt x="2953" y="493"/>
                    <a:pt x="2954" y="499"/>
                  </a:cubicBezTo>
                  <a:cubicBezTo>
                    <a:pt x="2955" y="505"/>
                    <a:pt x="2961" y="509"/>
                    <a:pt x="2968" y="509"/>
                  </a:cubicBezTo>
                  <a:cubicBezTo>
                    <a:pt x="2975" y="509"/>
                    <a:pt x="2980" y="505"/>
                    <a:pt x="2979" y="499"/>
                  </a:cubicBezTo>
                  <a:cubicBezTo>
                    <a:pt x="2978" y="493"/>
                    <a:pt x="2971" y="489"/>
                    <a:pt x="2965" y="489"/>
                  </a:cubicBezTo>
                  <a:cubicBezTo>
                    <a:pt x="2964" y="489"/>
                    <a:pt x="2964" y="489"/>
                    <a:pt x="2964" y="489"/>
                  </a:cubicBezTo>
                  <a:moveTo>
                    <a:pt x="3000" y="488"/>
                  </a:moveTo>
                  <a:cubicBezTo>
                    <a:pt x="2993" y="489"/>
                    <a:pt x="2988" y="493"/>
                    <a:pt x="2989" y="499"/>
                  </a:cubicBezTo>
                  <a:cubicBezTo>
                    <a:pt x="2990" y="504"/>
                    <a:pt x="2997" y="509"/>
                    <a:pt x="3004" y="509"/>
                  </a:cubicBezTo>
                  <a:cubicBezTo>
                    <a:pt x="3010" y="509"/>
                    <a:pt x="3015" y="504"/>
                    <a:pt x="3014" y="499"/>
                  </a:cubicBezTo>
                  <a:cubicBezTo>
                    <a:pt x="3013" y="493"/>
                    <a:pt x="3007" y="488"/>
                    <a:pt x="3000" y="488"/>
                  </a:cubicBezTo>
                  <a:cubicBezTo>
                    <a:pt x="3000" y="488"/>
                    <a:pt x="3000" y="488"/>
                    <a:pt x="3000" y="488"/>
                  </a:cubicBezTo>
                  <a:moveTo>
                    <a:pt x="3035" y="488"/>
                  </a:moveTo>
                  <a:cubicBezTo>
                    <a:pt x="3028" y="488"/>
                    <a:pt x="3023" y="493"/>
                    <a:pt x="3025" y="499"/>
                  </a:cubicBezTo>
                  <a:cubicBezTo>
                    <a:pt x="3026" y="504"/>
                    <a:pt x="3032" y="509"/>
                    <a:pt x="3039" y="509"/>
                  </a:cubicBezTo>
                  <a:cubicBezTo>
                    <a:pt x="3046" y="509"/>
                    <a:pt x="3050" y="504"/>
                    <a:pt x="3049" y="498"/>
                  </a:cubicBezTo>
                  <a:cubicBezTo>
                    <a:pt x="3048" y="493"/>
                    <a:pt x="3042" y="488"/>
                    <a:pt x="3035" y="488"/>
                  </a:cubicBezTo>
                  <a:cubicBezTo>
                    <a:pt x="3035" y="488"/>
                    <a:pt x="3035" y="488"/>
                    <a:pt x="3035" y="488"/>
                  </a:cubicBezTo>
                  <a:moveTo>
                    <a:pt x="3070" y="488"/>
                  </a:moveTo>
                  <a:cubicBezTo>
                    <a:pt x="3064" y="488"/>
                    <a:pt x="3059" y="493"/>
                    <a:pt x="3060" y="498"/>
                  </a:cubicBezTo>
                  <a:cubicBezTo>
                    <a:pt x="3061" y="504"/>
                    <a:pt x="3068" y="509"/>
                    <a:pt x="3075" y="509"/>
                  </a:cubicBezTo>
                  <a:cubicBezTo>
                    <a:pt x="3082" y="508"/>
                    <a:pt x="3086" y="504"/>
                    <a:pt x="3085" y="498"/>
                  </a:cubicBezTo>
                  <a:cubicBezTo>
                    <a:pt x="3084" y="493"/>
                    <a:pt x="3077" y="488"/>
                    <a:pt x="3071" y="488"/>
                  </a:cubicBezTo>
                  <a:cubicBezTo>
                    <a:pt x="3070" y="488"/>
                    <a:pt x="3070" y="488"/>
                    <a:pt x="3070" y="488"/>
                  </a:cubicBezTo>
                  <a:moveTo>
                    <a:pt x="3107" y="488"/>
                  </a:moveTo>
                  <a:cubicBezTo>
                    <a:pt x="3100" y="488"/>
                    <a:pt x="3096" y="492"/>
                    <a:pt x="3097" y="498"/>
                  </a:cubicBezTo>
                  <a:cubicBezTo>
                    <a:pt x="3098" y="504"/>
                    <a:pt x="3105" y="508"/>
                    <a:pt x="3111" y="508"/>
                  </a:cubicBezTo>
                  <a:cubicBezTo>
                    <a:pt x="3118" y="508"/>
                    <a:pt x="3123" y="504"/>
                    <a:pt x="3122" y="498"/>
                  </a:cubicBezTo>
                  <a:cubicBezTo>
                    <a:pt x="3120" y="492"/>
                    <a:pt x="3114" y="488"/>
                    <a:pt x="3107" y="488"/>
                  </a:cubicBezTo>
                  <a:cubicBezTo>
                    <a:pt x="3107" y="488"/>
                    <a:pt x="3107" y="488"/>
                    <a:pt x="3107" y="488"/>
                  </a:cubicBezTo>
                  <a:moveTo>
                    <a:pt x="3142" y="488"/>
                  </a:moveTo>
                  <a:cubicBezTo>
                    <a:pt x="3135" y="488"/>
                    <a:pt x="3131" y="492"/>
                    <a:pt x="3132" y="498"/>
                  </a:cubicBezTo>
                  <a:cubicBezTo>
                    <a:pt x="3133" y="504"/>
                    <a:pt x="3140" y="508"/>
                    <a:pt x="3147" y="508"/>
                  </a:cubicBezTo>
                  <a:cubicBezTo>
                    <a:pt x="3154" y="508"/>
                    <a:pt x="3158" y="503"/>
                    <a:pt x="3157" y="498"/>
                  </a:cubicBezTo>
                  <a:cubicBezTo>
                    <a:pt x="3156" y="492"/>
                    <a:pt x="3149" y="488"/>
                    <a:pt x="3142" y="488"/>
                  </a:cubicBezTo>
                  <a:cubicBezTo>
                    <a:pt x="3142" y="488"/>
                    <a:pt x="3142" y="488"/>
                    <a:pt x="3142" y="488"/>
                  </a:cubicBezTo>
                  <a:moveTo>
                    <a:pt x="3177" y="487"/>
                  </a:moveTo>
                  <a:cubicBezTo>
                    <a:pt x="3171" y="487"/>
                    <a:pt x="3166" y="492"/>
                    <a:pt x="3168" y="498"/>
                  </a:cubicBezTo>
                  <a:cubicBezTo>
                    <a:pt x="3169" y="503"/>
                    <a:pt x="3176" y="508"/>
                    <a:pt x="3183" y="508"/>
                  </a:cubicBezTo>
                  <a:cubicBezTo>
                    <a:pt x="3189" y="508"/>
                    <a:pt x="3194" y="503"/>
                    <a:pt x="3192" y="497"/>
                  </a:cubicBezTo>
                  <a:cubicBezTo>
                    <a:pt x="3191" y="492"/>
                    <a:pt x="3184" y="487"/>
                    <a:pt x="3178" y="487"/>
                  </a:cubicBezTo>
                  <a:cubicBezTo>
                    <a:pt x="3178" y="487"/>
                    <a:pt x="3178" y="487"/>
                    <a:pt x="3177" y="487"/>
                  </a:cubicBezTo>
                  <a:moveTo>
                    <a:pt x="3213" y="487"/>
                  </a:moveTo>
                  <a:cubicBezTo>
                    <a:pt x="3206" y="487"/>
                    <a:pt x="3202" y="492"/>
                    <a:pt x="3203" y="497"/>
                  </a:cubicBezTo>
                  <a:cubicBezTo>
                    <a:pt x="3205" y="503"/>
                    <a:pt x="3212" y="508"/>
                    <a:pt x="3219" y="508"/>
                  </a:cubicBezTo>
                  <a:cubicBezTo>
                    <a:pt x="3225" y="508"/>
                    <a:pt x="3230" y="503"/>
                    <a:pt x="3228" y="497"/>
                  </a:cubicBezTo>
                  <a:cubicBezTo>
                    <a:pt x="3227" y="492"/>
                    <a:pt x="3220" y="487"/>
                    <a:pt x="3213" y="487"/>
                  </a:cubicBezTo>
                  <a:cubicBezTo>
                    <a:pt x="3213" y="487"/>
                    <a:pt x="3213" y="487"/>
                    <a:pt x="3213" y="487"/>
                  </a:cubicBezTo>
                  <a:moveTo>
                    <a:pt x="3248" y="487"/>
                  </a:moveTo>
                  <a:cubicBezTo>
                    <a:pt x="3242" y="487"/>
                    <a:pt x="3237" y="492"/>
                    <a:pt x="3239" y="497"/>
                  </a:cubicBezTo>
                  <a:cubicBezTo>
                    <a:pt x="3240" y="503"/>
                    <a:pt x="3247" y="507"/>
                    <a:pt x="3254" y="507"/>
                  </a:cubicBezTo>
                  <a:cubicBezTo>
                    <a:pt x="3261" y="507"/>
                    <a:pt x="3265" y="503"/>
                    <a:pt x="3264" y="497"/>
                  </a:cubicBezTo>
                  <a:cubicBezTo>
                    <a:pt x="3262" y="491"/>
                    <a:pt x="3255" y="487"/>
                    <a:pt x="3248" y="487"/>
                  </a:cubicBezTo>
                  <a:cubicBezTo>
                    <a:pt x="3248" y="487"/>
                    <a:pt x="3248" y="487"/>
                    <a:pt x="3248" y="487"/>
                  </a:cubicBezTo>
                  <a:moveTo>
                    <a:pt x="3284" y="487"/>
                  </a:moveTo>
                  <a:cubicBezTo>
                    <a:pt x="3277" y="487"/>
                    <a:pt x="3273" y="491"/>
                    <a:pt x="3274" y="497"/>
                  </a:cubicBezTo>
                  <a:cubicBezTo>
                    <a:pt x="3276" y="503"/>
                    <a:pt x="3283" y="507"/>
                    <a:pt x="3290" y="507"/>
                  </a:cubicBezTo>
                  <a:cubicBezTo>
                    <a:pt x="3296" y="507"/>
                    <a:pt x="3301" y="502"/>
                    <a:pt x="3299" y="497"/>
                  </a:cubicBezTo>
                  <a:cubicBezTo>
                    <a:pt x="3297" y="491"/>
                    <a:pt x="3291" y="487"/>
                    <a:pt x="3284" y="487"/>
                  </a:cubicBezTo>
                  <a:cubicBezTo>
                    <a:pt x="3284" y="487"/>
                    <a:pt x="3284" y="487"/>
                    <a:pt x="3284" y="487"/>
                  </a:cubicBezTo>
                  <a:moveTo>
                    <a:pt x="3319" y="486"/>
                  </a:moveTo>
                  <a:cubicBezTo>
                    <a:pt x="3312" y="486"/>
                    <a:pt x="3308" y="491"/>
                    <a:pt x="3310" y="497"/>
                  </a:cubicBezTo>
                  <a:cubicBezTo>
                    <a:pt x="3311" y="502"/>
                    <a:pt x="3318" y="507"/>
                    <a:pt x="3325" y="507"/>
                  </a:cubicBezTo>
                  <a:cubicBezTo>
                    <a:pt x="3332" y="507"/>
                    <a:pt x="3336" y="502"/>
                    <a:pt x="3334" y="497"/>
                  </a:cubicBezTo>
                  <a:cubicBezTo>
                    <a:pt x="3333" y="491"/>
                    <a:pt x="3326" y="486"/>
                    <a:pt x="3319" y="486"/>
                  </a:cubicBezTo>
                  <a:cubicBezTo>
                    <a:pt x="3319" y="486"/>
                    <a:pt x="3319" y="486"/>
                    <a:pt x="3319" y="486"/>
                  </a:cubicBezTo>
                  <a:moveTo>
                    <a:pt x="3354" y="486"/>
                  </a:moveTo>
                  <a:cubicBezTo>
                    <a:pt x="3347" y="486"/>
                    <a:pt x="3343" y="491"/>
                    <a:pt x="3345" y="496"/>
                  </a:cubicBezTo>
                  <a:cubicBezTo>
                    <a:pt x="3347" y="502"/>
                    <a:pt x="3354" y="507"/>
                    <a:pt x="3361" y="507"/>
                  </a:cubicBezTo>
                  <a:cubicBezTo>
                    <a:pt x="3368" y="507"/>
                    <a:pt x="3372" y="502"/>
                    <a:pt x="3370" y="496"/>
                  </a:cubicBezTo>
                  <a:cubicBezTo>
                    <a:pt x="3368" y="491"/>
                    <a:pt x="3361" y="486"/>
                    <a:pt x="3354" y="486"/>
                  </a:cubicBezTo>
                  <a:cubicBezTo>
                    <a:pt x="3354" y="486"/>
                    <a:pt x="3354" y="486"/>
                    <a:pt x="3354" y="486"/>
                  </a:cubicBezTo>
                  <a:moveTo>
                    <a:pt x="3390" y="486"/>
                  </a:moveTo>
                  <a:cubicBezTo>
                    <a:pt x="3383" y="486"/>
                    <a:pt x="3379" y="491"/>
                    <a:pt x="3381" y="496"/>
                  </a:cubicBezTo>
                  <a:cubicBezTo>
                    <a:pt x="3383" y="502"/>
                    <a:pt x="3390" y="506"/>
                    <a:pt x="3397" y="506"/>
                  </a:cubicBezTo>
                  <a:cubicBezTo>
                    <a:pt x="3404" y="506"/>
                    <a:pt x="3408" y="502"/>
                    <a:pt x="3406" y="496"/>
                  </a:cubicBezTo>
                  <a:cubicBezTo>
                    <a:pt x="3404" y="490"/>
                    <a:pt x="3397" y="486"/>
                    <a:pt x="3390" y="486"/>
                  </a:cubicBezTo>
                  <a:cubicBezTo>
                    <a:pt x="3390" y="486"/>
                    <a:pt x="3390" y="486"/>
                    <a:pt x="3390" y="486"/>
                  </a:cubicBezTo>
                  <a:moveTo>
                    <a:pt x="3425" y="486"/>
                  </a:moveTo>
                  <a:cubicBezTo>
                    <a:pt x="3418" y="486"/>
                    <a:pt x="3414" y="490"/>
                    <a:pt x="3416" y="496"/>
                  </a:cubicBezTo>
                  <a:cubicBezTo>
                    <a:pt x="3418" y="502"/>
                    <a:pt x="3425" y="506"/>
                    <a:pt x="3432" y="506"/>
                  </a:cubicBezTo>
                  <a:cubicBezTo>
                    <a:pt x="3439" y="506"/>
                    <a:pt x="3443" y="502"/>
                    <a:pt x="3441" y="496"/>
                  </a:cubicBezTo>
                  <a:cubicBezTo>
                    <a:pt x="3439" y="490"/>
                    <a:pt x="3432" y="486"/>
                    <a:pt x="3425" y="486"/>
                  </a:cubicBezTo>
                  <a:cubicBezTo>
                    <a:pt x="3425" y="486"/>
                    <a:pt x="3425" y="486"/>
                    <a:pt x="3425" y="486"/>
                  </a:cubicBezTo>
                  <a:moveTo>
                    <a:pt x="3461" y="485"/>
                  </a:moveTo>
                  <a:cubicBezTo>
                    <a:pt x="3454" y="485"/>
                    <a:pt x="3450" y="490"/>
                    <a:pt x="3452" y="496"/>
                  </a:cubicBezTo>
                  <a:cubicBezTo>
                    <a:pt x="3454" y="501"/>
                    <a:pt x="3461" y="506"/>
                    <a:pt x="3468" y="506"/>
                  </a:cubicBezTo>
                  <a:cubicBezTo>
                    <a:pt x="3475" y="506"/>
                    <a:pt x="3478" y="501"/>
                    <a:pt x="3476" y="496"/>
                  </a:cubicBezTo>
                  <a:cubicBezTo>
                    <a:pt x="3474" y="490"/>
                    <a:pt x="3467" y="485"/>
                    <a:pt x="3461" y="485"/>
                  </a:cubicBezTo>
                  <a:cubicBezTo>
                    <a:pt x="3461" y="485"/>
                    <a:pt x="3461" y="485"/>
                    <a:pt x="3461" y="485"/>
                  </a:cubicBezTo>
                  <a:moveTo>
                    <a:pt x="3496" y="485"/>
                  </a:moveTo>
                  <a:cubicBezTo>
                    <a:pt x="3489" y="485"/>
                    <a:pt x="3485" y="490"/>
                    <a:pt x="3487" y="496"/>
                  </a:cubicBezTo>
                  <a:cubicBezTo>
                    <a:pt x="3489" y="501"/>
                    <a:pt x="3496" y="506"/>
                    <a:pt x="3503" y="506"/>
                  </a:cubicBezTo>
                  <a:cubicBezTo>
                    <a:pt x="3510" y="506"/>
                    <a:pt x="3514" y="501"/>
                    <a:pt x="3512" y="495"/>
                  </a:cubicBezTo>
                  <a:cubicBezTo>
                    <a:pt x="3510" y="490"/>
                    <a:pt x="3503" y="485"/>
                    <a:pt x="3496" y="485"/>
                  </a:cubicBezTo>
                  <a:cubicBezTo>
                    <a:pt x="3496" y="485"/>
                    <a:pt x="3496" y="485"/>
                    <a:pt x="3496" y="485"/>
                  </a:cubicBezTo>
                  <a:moveTo>
                    <a:pt x="3531" y="485"/>
                  </a:moveTo>
                  <a:cubicBezTo>
                    <a:pt x="3524" y="485"/>
                    <a:pt x="3520" y="490"/>
                    <a:pt x="3522" y="495"/>
                  </a:cubicBezTo>
                  <a:cubicBezTo>
                    <a:pt x="3525" y="501"/>
                    <a:pt x="3532" y="506"/>
                    <a:pt x="3539" y="505"/>
                  </a:cubicBezTo>
                  <a:cubicBezTo>
                    <a:pt x="3546" y="505"/>
                    <a:pt x="3549" y="501"/>
                    <a:pt x="3547" y="495"/>
                  </a:cubicBezTo>
                  <a:cubicBezTo>
                    <a:pt x="3545" y="490"/>
                    <a:pt x="3538" y="485"/>
                    <a:pt x="3531" y="485"/>
                  </a:cubicBezTo>
                  <a:cubicBezTo>
                    <a:pt x="3531" y="485"/>
                    <a:pt x="3531" y="485"/>
                    <a:pt x="3531" y="485"/>
                  </a:cubicBezTo>
                  <a:moveTo>
                    <a:pt x="3567" y="485"/>
                  </a:moveTo>
                  <a:cubicBezTo>
                    <a:pt x="3560" y="485"/>
                    <a:pt x="3556" y="489"/>
                    <a:pt x="3558" y="495"/>
                  </a:cubicBezTo>
                  <a:cubicBezTo>
                    <a:pt x="3560" y="501"/>
                    <a:pt x="3568" y="505"/>
                    <a:pt x="3575" y="505"/>
                  </a:cubicBezTo>
                  <a:cubicBezTo>
                    <a:pt x="3582" y="505"/>
                    <a:pt x="3585" y="501"/>
                    <a:pt x="3583" y="495"/>
                  </a:cubicBezTo>
                  <a:cubicBezTo>
                    <a:pt x="3581" y="489"/>
                    <a:pt x="3574" y="485"/>
                    <a:pt x="3567" y="485"/>
                  </a:cubicBezTo>
                  <a:cubicBezTo>
                    <a:pt x="3567" y="485"/>
                    <a:pt x="3567" y="485"/>
                    <a:pt x="3567" y="485"/>
                  </a:cubicBezTo>
                  <a:moveTo>
                    <a:pt x="3602" y="484"/>
                  </a:moveTo>
                  <a:cubicBezTo>
                    <a:pt x="3595" y="484"/>
                    <a:pt x="3591" y="489"/>
                    <a:pt x="3594" y="495"/>
                  </a:cubicBezTo>
                  <a:cubicBezTo>
                    <a:pt x="3596" y="500"/>
                    <a:pt x="3603" y="505"/>
                    <a:pt x="3610" y="505"/>
                  </a:cubicBezTo>
                  <a:cubicBezTo>
                    <a:pt x="3617" y="505"/>
                    <a:pt x="3621" y="500"/>
                    <a:pt x="3619" y="495"/>
                  </a:cubicBezTo>
                  <a:cubicBezTo>
                    <a:pt x="3616" y="489"/>
                    <a:pt x="3609" y="484"/>
                    <a:pt x="3602" y="484"/>
                  </a:cubicBezTo>
                  <a:cubicBezTo>
                    <a:pt x="3602" y="484"/>
                    <a:pt x="3602" y="484"/>
                    <a:pt x="3602" y="484"/>
                  </a:cubicBezTo>
                  <a:moveTo>
                    <a:pt x="3637" y="484"/>
                  </a:moveTo>
                  <a:cubicBezTo>
                    <a:pt x="3630" y="484"/>
                    <a:pt x="3627" y="489"/>
                    <a:pt x="3629" y="494"/>
                  </a:cubicBezTo>
                  <a:cubicBezTo>
                    <a:pt x="3631" y="500"/>
                    <a:pt x="3639" y="505"/>
                    <a:pt x="3646" y="505"/>
                  </a:cubicBezTo>
                  <a:cubicBezTo>
                    <a:pt x="3652" y="505"/>
                    <a:pt x="3656" y="500"/>
                    <a:pt x="3654" y="494"/>
                  </a:cubicBezTo>
                  <a:cubicBezTo>
                    <a:pt x="3651" y="489"/>
                    <a:pt x="3644" y="484"/>
                    <a:pt x="3637" y="484"/>
                  </a:cubicBezTo>
                  <a:cubicBezTo>
                    <a:pt x="3637" y="484"/>
                    <a:pt x="3637" y="484"/>
                    <a:pt x="3637" y="484"/>
                  </a:cubicBezTo>
                  <a:moveTo>
                    <a:pt x="3673" y="484"/>
                  </a:moveTo>
                  <a:cubicBezTo>
                    <a:pt x="3666" y="484"/>
                    <a:pt x="3662" y="489"/>
                    <a:pt x="3664" y="494"/>
                  </a:cubicBezTo>
                  <a:cubicBezTo>
                    <a:pt x="3667" y="500"/>
                    <a:pt x="3674" y="504"/>
                    <a:pt x="3681" y="504"/>
                  </a:cubicBezTo>
                  <a:cubicBezTo>
                    <a:pt x="3688" y="504"/>
                    <a:pt x="3692" y="500"/>
                    <a:pt x="3689" y="494"/>
                  </a:cubicBezTo>
                  <a:cubicBezTo>
                    <a:pt x="3687" y="488"/>
                    <a:pt x="3679" y="484"/>
                    <a:pt x="3673" y="484"/>
                  </a:cubicBezTo>
                  <a:cubicBezTo>
                    <a:pt x="3673" y="484"/>
                    <a:pt x="3673" y="484"/>
                    <a:pt x="3673" y="484"/>
                  </a:cubicBezTo>
                  <a:moveTo>
                    <a:pt x="3710" y="484"/>
                  </a:moveTo>
                  <a:cubicBezTo>
                    <a:pt x="3703" y="484"/>
                    <a:pt x="3700" y="488"/>
                    <a:pt x="3702" y="494"/>
                  </a:cubicBezTo>
                  <a:cubicBezTo>
                    <a:pt x="3705" y="500"/>
                    <a:pt x="3712" y="504"/>
                    <a:pt x="3719" y="504"/>
                  </a:cubicBezTo>
                  <a:cubicBezTo>
                    <a:pt x="3726" y="504"/>
                    <a:pt x="3729" y="500"/>
                    <a:pt x="3727" y="494"/>
                  </a:cubicBezTo>
                  <a:cubicBezTo>
                    <a:pt x="3724" y="488"/>
                    <a:pt x="3717" y="484"/>
                    <a:pt x="3710" y="484"/>
                  </a:cubicBezTo>
                  <a:cubicBezTo>
                    <a:pt x="3710" y="484"/>
                    <a:pt x="3710" y="484"/>
                    <a:pt x="3710" y="484"/>
                  </a:cubicBezTo>
                  <a:moveTo>
                    <a:pt x="3745" y="483"/>
                  </a:moveTo>
                  <a:cubicBezTo>
                    <a:pt x="3738" y="483"/>
                    <a:pt x="3735" y="488"/>
                    <a:pt x="3737" y="494"/>
                  </a:cubicBezTo>
                  <a:cubicBezTo>
                    <a:pt x="3740" y="499"/>
                    <a:pt x="3747" y="504"/>
                    <a:pt x="3754" y="504"/>
                  </a:cubicBezTo>
                  <a:cubicBezTo>
                    <a:pt x="3761" y="504"/>
                    <a:pt x="3765" y="499"/>
                    <a:pt x="3762" y="494"/>
                  </a:cubicBezTo>
                  <a:cubicBezTo>
                    <a:pt x="3759" y="488"/>
                    <a:pt x="3752" y="483"/>
                    <a:pt x="3745" y="483"/>
                  </a:cubicBezTo>
                  <a:cubicBezTo>
                    <a:pt x="3745" y="483"/>
                    <a:pt x="3745" y="483"/>
                    <a:pt x="3745" y="483"/>
                  </a:cubicBezTo>
                  <a:moveTo>
                    <a:pt x="3780" y="483"/>
                  </a:moveTo>
                  <a:cubicBezTo>
                    <a:pt x="3773" y="483"/>
                    <a:pt x="3770" y="488"/>
                    <a:pt x="3772" y="494"/>
                  </a:cubicBezTo>
                  <a:cubicBezTo>
                    <a:pt x="3775" y="499"/>
                    <a:pt x="3783" y="504"/>
                    <a:pt x="3789" y="504"/>
                  </a:cubicBezTo>
                  <a:cubicBezTo>
                    <a:pt x="3796" y="504"/>
                    <a:pt x="3800" y="499"/>
                    <a:pt x="3797" y="493"/>
                  </a:cubicBezTo>
                  <a:cubicBezTo>
                    <a:pt x="3795" y="488"/>
                    <a:pt x="3787" y="483"/>
                    <a:pt x="3780" y="483"/>
                  </a:cubicBezTo>
                  <a:cubicBezTo>
                    <a:pt x="3780" y="483"/>
                    <a:pt x="3780" y="483"/>
                    <a:pt x="3780" y="483"/>
                  </a:cubicBezTo>
                  <a:moveTo>
                    <a:pt x="3815" y="483"/>
                  </a:moveTo>
                  <a:cubicBezTo>
                    <a:pt x="3809" y="483"/>
                    <a:pt x="3805" y="488"/>
                    <a:pt x="3808" y="493"/>
                  </a:cubicBezTo>
                  <a:cubicBezTo>
                    <a:pt x="3811" y="499"/>
                    <a:pt x="3818" y="504"/>
                    <a:pt x="3825" y="503"/>
                  </a:cubicBezTo>
                  <a:cubicBezTo>
                    <a:pt x="3832" y="503"/>
                    <a:pt x="3835" y="499"/>
                    <a:pt x="3833" y="493"/>
                  </a:cubicBezTo>
                  <a:cubicBezTo>
                    <a:pt x="3830" y="487"/>
                    <a:pt x="3822" y="483"/>
                    <a:pt x="3815" y="483"/>
                  </a:cubicBezTo>
                  <a:cubicBezTo>
                    <a:pt x="3815" y="483"/>
                    <a:pt x="3815" y="483"/>
                    <a:pt x="3815" y="483"/>
                  </a:cubicBezTo>
                  <a:moveTo>
                    <a:pt x="3851" y="483"/>
                  </a:moveTo>
                  <a:cubicBezTo>
                    <a:pt x="3844" y="483"/>
                    <a:pt x="3841" y="487"/>
                    <a:pt x="3844" y="493"/>
                  </a:cubicBezTo>
                  <a:cubicBezTo>
                    <a:pt x="3846" y="499"/>
                    <a:pt x="3854" y="503"/>
                    <a:pt x="3861" y="503"/>
                  </a:cubicBezTo>
                  <a:cubicBezTo>
                    <a:pt x="3868" y="503"/>
                    <a:pt x="3871" y="499"/>
                    <a:pt x="3869" y="493"/>
                  </a:cubicBezTo>
                  <a:cubicBezTo>
                    <a:pt x="3866" y="487"/>
                    <a:pt x="3858" y="483"/>
                    <a:pt x="3851" y="483"/>
                  </a:cubicBezTo>
                  <a:cubicBezTo>
                    <a:pt x="3851" y="483"/>
                    <a:pt x="3851" y="483"/>
                    <a:pt x="3851" y="483"/>
                  </a:cubicBezTo>
                  <a:moveTo>
                    <a:pt x="3886" y="482"/>
                  </a:moveTo>
                  <a:cubicBezTo>
                    <a:pt x="3879" y="482"/>
                    <a:pt x="3876" y="487"/>
                    <a:pt x="3879" y="493"/>
                  </a:cubicBezTo>
                  <a:cubicBezTo>
                    <a:pt x="3882" y="499"/>
                    <a:pt x="3890" y="503"/>
                    <a:pt x="3896" y="503"/>
                  </a:cubicBezTo>
                  <a:cubicBezTo>
                    <a:pt x="3903" y="503"/>
                    <a:pt x="3907" y="498"/>
                    <a:pt x="3904" y="493"/>
                  </a:cubicBezTo>
                  <a:cubicBezTo>
                    <a:pt x="3901" y="487"/>
                    <a:pt x="3893" y="482"/>
                    <a:pt x="3886" y="482"/>
                  </a:cubicBezTo>
                  <a:cubicBezTo>
                    <a:pt x="3886" y="482"/>
                    <a:pt x="3886" y="482"/>
                    <a:pt x="3886" y="482"/>
                  </a:cubicBezTo>
                  <a:moveTo>
                    <a:pt x="3921" y="482"/>
                  </a:moveTo>
                  <a:cubicBezTo>
                    <a:pt x="3915" y="482"/>
                    <a:pt x="3911" y="487"/>
                    <a:pt x="3914" y="493"/>
                  </a:cubicBezTo>
                  <a:cubicBezTo>
                    <a:pt x="3917" y="498"/>
                    <a:pt x="3925" y="503"/>
                    <a:pt x="3932" y="503"/>
                  </a:cubicBezTo>
                  <a:cubicBezTo>
                    <a:pt x="3939" y="503"/>
                    <a:pt x="3942" y="498"/>
                    <a:pt x="3939" y="492"/>
                  </a:cubicBezTo>
                  <a:cubicBezTo>
                    <a:pt x="3936" y="487"/>
                    <a:pt x="3928" y="482"/>
                    <a:pt x="3922" y="482"/>
                  </a:cubicBezTo>
                  <a:cubicBezTo>
                    <a:pt x="3922" y="482"/>
                    <a:pt x="3921" y="482"/>
                    <a:pt x="3921" y="482"/>
                  </a:cubicBezTo>
                  <a:moveTo>
                    <a:pt x="3957" y="482"/>
                  </a:moveTo>
                  <a:cubicBezTo>
                    <a:pt x="3950" y="482"/>
                    <a:pt x="3947" y="487"/>
                    <a:pt x="3950" y="492"/>
                  </a:cubicBezTo>
                  <a:cubicBezTo>
                    <a:pt x="3953" y="498"/>
                    <a:pt x="3960" y="503"/>
                    <a:pt x="3967" y="503"/>
                  </a:cubicBezTo>
                  <a:cubicBezTo>
                    <a:pt x="3974" y="503"/>
                    <a:pt x="3977" y="498"/>
                    <a:pt x="3974" y="492"/>
                  </a:cubicBezTo>
                  <a:cubicBezTo>
                    <a:pt x="3971" y="487"/>
                    <a:pt x="3963" y="482"/>
                    <a:pt x="3957" y="482"/>
                  </a:cubicBezTo>
                  <a:cubicBezTo>
                    <a:pt x="3957" y="482"/>
                    <a:pt x="3957" y="482"/>
                    <a:pt x="3957" y="482"/>
                  </a:cubicBezTo>
                  <a:moveTo>
                    <a:pt x="3992" y="482"/>
                  </a:moveTo>
                  <a:cubicBezTo>
                    <a:pt x="3985" y="482"/>
                    <a:pt x="3982" y="486"/>
                    <a:pt x="3985" y="492"/>
                  </a:cubicBezTo>
                  <a:cubicBezTo>
                    <a:pt x="3988" y="498"/>
                    <a:pt x="3996" y="502"/>
                    <a:pt x="4003" y="502"/>
                  </a:cubicBezTo>
                  <a:cubicBezTo>
                    <a:pt x="4010" y="502"/>
                    <a:pt x="4013" y="498"/>
                    <a:pt x="4010" y="492"/>
                  </a:cubicBezTo>
                  <a:cubicBezTo>
                    <a:pt x="4007" y="486"/>
                    <a:pt x="3999" y="482"/>
                    <a:pt x="3992" y="482"/>
                  </a:cubicBezTo>
                  <a:cubicBezTo>
                    <a:pt x="3992" y="482"/>
                    <a:pt x="3992" y="482"/>
                    <a:pt x="3992" y="482"/>
                  </a:cubicBezTo>
                  <a:moveTo>
                    <a:pt x="4026" y="482"/>
                  </a:moveTo>
                  <a:cubicBezTo>
                    <a:pt x="4019" y="482"/>
                    <a:pt x="4016" y="486"/>
                    <a:pt x="4019" y="492"/>
                  </a:cubicBezTo>
                  <a:cubicBezTo>
                    <a:pt x="4023" y="498"/>
                    <a:pt x="4031" y="502"/>
                    <a:pt x="4038" y="502"/>
                  </a:cubicBezTo>
                  <a:cubicBezTo>
                    <a:pt x="4044" y="502"/>
                    <a:pt x="4047" y="497"/>
                    <a:pt x="4044" y="492"/>
                  </a:cubicBezTo>
                  <a:cubicBezTo>
                    <a:pt x="4041" y="486"/>
                    <a:pt x="4033" y="482"/>
                    <a:pt x="4026" y="482"/>
                  </a:cubicBezTo>
                  <a:cubicBezTo>
                    <a:pt x="4026" y="482"/>
                    <a:pt x="4026" y="482"/>
                    <a:pt x="4026" y="482"/>
                  </a:cubicBezTo>
                  <a:moveTo>
                    <a:pt x="4134" y="481"/>
                  </a:moveTo>
                  <a:cubicBezTo>
                    <a:pt x="4128" y="481"/>
                    <a:pt x="4125" y="486"/>
                    <a:pt x="4128" y="491"/>
                  </a:cubicBezTo>
                  <a:cubicBezTo>
                    <a:pt x="4131" y="497"/>
                    <a:pt x="4140" y="501"/>
                    <a:pt x="4147" y="501"/>
                  </a:cubicBezTo>
                  <a:cubicBezTo>
                    <a:pt x="4153" y="501"/>
                    <a:pt x="4156" y="497"/>
                    <a:pt x="4153" y="491"/>
                  </a:cubicBezTo>
                  <a:cubicBezTo>
                    <a:pt x="4149" y="485"/>
                    <a:pt x="4141" y="481"/>
                    <a:pt x="4134" y="481"/>
                  </a:cubicBezTo>
                  <a:cubicBezTo>
                    <a:pt x="4134" y="481"/>
                    <a:pt x="4134" y="481"/>
                    <a:pt x="4134" y="481"/>
                  </a:cubicBezTo>
                  <a:moveTo>
                    <a:pt x="4169" y="481"/>
                  </a:moveTo>
                  <a:cubicBezTo>
                    <a:pt x="4162" y="481"/>
                    <a:pt x="4159" y="485"/>
                    <a:pt x="4162" y="491"/>
                  </a:cubicBezTo>
                  <a:cubicBezTo>
                    <a:pt x="4166" y="497"/>
                    <a:pt x="4174" y="501"/>
                    <a:pt x="4181" y="501"/>
                  </a:cubicBezTo>
                  <a:cubicBezTo>
                    <a:pt x="4188" y="501"/>
                    <a:pt x="4191" y="496"/>
                    <a:pt x="4187" y="491"/>
                  </a:cubicBezTo>
                  <a:cubicBezTo>
                    <a:pt x="4184" y="485"/>
                    <a:pt x="4176" y="481"/>
                    <a:pt x="4169" y="481"/>
                  </a:cubicBezTo>
                  <a:cubicBezTo>
                    <a:pt x="4169" y="481"/>
                    <a:pt x="4169" y="481"/>
                    <a:pt x="4169" y="481"/>
                  </a:cubicBezTo>
                  <a:moveTo>
                    <a:pt x="258" y="477"/>
                  </a:moveTo>
                  <a:cubicBezTo>
                    <a:pt x="252" y="477"/>
                    <a:pt x="242" y="481"/>
                    <a:pt x="238" y="487"/>
                  </a:cubicBezTo>
                  <a:cubicBezTo>
                    <a:pt x="233" y="493"/>
                    <a:pt x="235" y="497"/>
                    <a:pt x="242" y="497"/>
                  </a:cubicBezTo>
                  <a:cubicBezTo>
                    <a:pt x="249" y="497"/>
                    <a:pt x="258" y="492"/>
                    <a:pt x="263" y="487"/>
                  </a:cubicBezTo>
                  <a:cubicBezTo>
                    <a:pt x="267" y="481"/>
                    <a:pt x="265" y="477"/>
                    <a:pt x="258" y="477"/>
                  </a:cubicBezTo>
                  <a:cubicBezTo>
                    <a:pt x="258" y="477"/>
                    <a:pt x="258" y="477"/>
                    <a:pt x="258" y="477"/>
                  </a:cubicBezTo>
                  <a:moveTo>
                    <a:pt x="294" y="477"/>
                  </a:moveTo>
                  <a:cubicBezTo>
                    <a:pt x="287" y="477"/>
                    <a:pt x="278" y="481"/>
                    <a:pt x="273" y="487"/>
                  </a:cubicBezTo>
                  <a:cubicBezTo>
                    <a:pt x="269" y="492"/>
                    <a:pt x="270" y="497"/>
                    <a:pt x="277" y="497"/>
                  </a:cubicBezTo>
                  <a:cubicBezTo>
                    <a:pt x="284" y="497"/>
                    <a:pt x="293" y="492"/>
                    <a:pt x="298" y="487"/>
                  </a:cubicBezTo>
                  <a:cubicBezTo>
                    <a:pt x="302" y="481"/>
                    <a:pt x="300" y="477"/>
                    <a:pt x="294" y="477"/>
                  </a:cubicBezTo>
                  <a:cubicBezTo>
                    <a:pt x="294" y="477"/>
                    <a:pt x="294" y="477"/>
                    <a:pt x="294" y="477"/>
                  </a:cubicBezTo>
                  <a:moveTo>
                    <a:pt x="328" y="476"/>
                  </a:moveTo>
                  <a:cubicBezTo>
                    <a:pt x="322" y="476"/>
                    <a:pt x="313" y="481"/>
                    <a:pt x="308" y="486"/>
                  </a:cubicBezTo>
                  <a:cubicBezTo>
                    <a:pt x="304" y="492"/>
                    <a:pt x="306" y="497"/>
                    <a:pt x="312" y="497"/>
                  </a:cubicBezTo>
                  <a:cubicBezTo>
                    <a:pt x="319" y="496"/>
                    <a:pt x="328" y="492"/>
                    <a:pt x="333" y="486"/>
                  </a:cubicBezTo>
                  <a:cubicBezTo>
                    <a:pt x="337" y="481"/>
                    <a:pt x="335" y="476"/>
                    <a:pt x="329" y="476"/>
                  </a:cubicBezTo>
                  <a:cubicBezTo>
                    <a:pt x="329" y="476"/>
                    <a:pt x="329" y="476"/>
                    <a:pt x="328" y="476"/>
                  </a:cubicBezTo>
                  <a:moveTo>
                    <a:pt x="364" y="476"/>
                  </a:moveTo>
                  <a:cubicBezTo>
                    <a:pt x="357" y="476"/>
                    <a:pt x="348" y="481"/>
                    <a:pt x="343" y="486"/>
                  </a:cubicBezTo>
                  <a:cubicBezTo>
                    <a:pt x="339" y="492"/>
                    <a:pt x="341" y="496"/>
                    <a:pt x="348" y="496"/>
                  </a:cubicBezTo>
                  <a:cubicBezTo>
                    <a:pt x="355" y="496"/>
                    <a:pt x="364" y="492"/>
                    <a:pt x="368" y="486"/>
                  </a:cubicBezTo>
                  <a:cubicBezTo>
                    <a:pt x="372" y="481"/>
                    <a:pt x="371" y="476"/>
                    <a:pt x="364" y="476"/>
                  </a:cubicBezTo>
                  <a:cubicBezTo>
                    <a:pt x="364" y="476"/>
                    <a:pt x="364" y="476"/>
                    <a:pt x="364" y="476"/>
                  </a:cubicBezTo>
                  <a:moveTo>
                    <a:pt x="399" y="476"/>
                  </a:moveTo>
                  <a:cubicBezTo>
                    <a:pt x="392" y="476"/>
                    <a:pt x="383" y="480"/>
                    <a:pt x="379" y="486"/>
                  </a:cubicBezTo>
                  <a:cubicBezTo>
                    <a:pt x="374" y="492"/>
                    <a:pt x="376" y="496"/>
                    <a:pt x="383" y="496"/>
                  </a:cubicBezTo>
                  <a:cubicBezTo>
                    <a:pt x="390" y="496"/>
                    <a:pt x="399" y="491"/>
                    <a:pt x="403" y="486"/>
                  </a:cubicBezTo>
                  <a:cubicBezTo>
                    <a:pt x="408" y="480"/>
                    <a:pt x="406" y="476"/>
                    <a:pt x="399" y="476"/>
                  </a:cubicBezTo>
                  <a:cubicBezTo>
                    <a:pt x="399" y="476"/>
                    <a:pt x="399" y="476"/>
                    <a:pt x="399" y="476"/>
                  </a:cubicBezTo>
                  <a:moveTo>
                    <a:pt x="434" y="476"/>
                  </a:moveTo>
                  <a:cubicBezTo>
                    <a:pt x="427" y="476"/>
                    <a:pt x="418" y="480"/>
                    <a:pt x="414" y="486"/>
                  </a:cubicBezTo>
                  <a:cubicBezTo>
                    <a:pt x="410" y="491"/>
                    <a:pt x="412" y="496"/>
                    <a:pt x="419" y="496"/>
                  </a:cubicBezTo>
                  <a:cubicBezTo>
                    <a:pt x="426" y="496"/>
                    <a:pt x="435" y="491"/>
                    <a:pt x="439" y="486"/>
                  </a:cubicBezTo>
                  <a:cubicBezTo>
                    <a:pt x="443" y="480"/>
                    <a:pt x="441" y="476"/>
                    <a:pt x="434" y="476"/>
                  </a:cubicBezTo>
                  <a:cubicBezTo>
                    <a:pt x="434" y="476"/>
                    <a:pt x="434" y="476"/>
                    <a:pt x="434" y="476"/>
                  </a:cubicBezTo>
                  <a:moveTo>
                    <a:pt x="470" y="475"/>
                  </a:moveTo>
                  <a:cubicBezTo>
                    <a:pt x="463" y="475"/>
                    <a:pt x="455" y="480"/>
                    <a:pt x="450" y="486"/>
                  </a:cubicBezTo>
                  <a:cubicBezTo>
                    <a:pt x="446" y="491"/>
                    <a:pt x="448" y="496"/>
                    <a:pt x="455" y="496"/>
                  </a:cubicBezTo>
                  <a:cubicBezTo>
                    <a:pt x="462" y="496"/>
                    <a:pt x="471" y="491"/>
                    <a:pt x="475" y="485"/>
                  </a:cubicBezTo>
                  <a:cubicBezTo>
                    <a:pt x="479" y="480"/>
                    <a:pt x="477" y="475"/>
                    <a:pt x="470" y="475"/>
                  </a:cubicBezTo>
                  <a:cubicBezTo>
                    <a:pt x="470" y="475"/>
                    <a:pt x="470" y="475"/>
                    <a:pt x="470" y="475"/>
                  </a:cubicBezTo>
                  <a:moveTo>
                    <a:pt x="505" y="475"/>
                  </a:moveTo>
                  <a:cubicBezTo>
                    <a:pt x="498" y="475"/>
                    <a:pt x="490" y="480"/>
                    <a:pt x="486" y="485"/>
                  </a:cubicBezTo>
                  <a:cubicBezTo>
                    <a:pt x="482" y="491"/>
                    <a:pt x="484" y="495"/>
                    <a:pt x="491" y="495"/>
                  </a:cubicBezTo>
                  <a:cubicBezTo>
                    <a:pt x="497" y="495"/>
                    <a:pt x="506" y="491"/>
                    <a:pt x="510" y="485"/>
                  </a:cubicBezTo>
                  <a:cubicBezTo>
                    <a:pt x="514" y="480"/>
                    <a:pt x="512" y="475"/>
                    <a:pt x="505" y="475"/>
                  </a:cubicBezTo>
                  <a:cubicBezTo>
                    <a:pt x="505" y="475"/>
                    <a:pt x="505" y="475"/>
                    <a:pt x="505" y="475"/>
                  </a:cubicBezTo>
                  <a:moveTo>
                    <a:pt x="541" y="475"/>
                  </a:moveTo>
                  <a:cubicBezTo>
                    <a:pt x="534" y="475"/>
                    <a:pt x="525" y="479"/>
                    <a:pt x="521" y="485"/>
                  </a:cubicBezTo>
                  <a:cubicBezTo>
                    <a:pt x="517" y="491"/>
                    <a:pt x="519" y="495"/>
                    <a:pt x="526" y="495"/>
                  </a:cubicBezTo>
                  <a:cubicBezTo>
                    <a:pt x="533" y="495"/>
                    <a:pt x="542" y="490"/>
                    <a:pt x="546" y="485"/>
                  </a:cubicBezTo>
                  <a:cubicBezTo>
                    <a:pt x="550" y="479"/>
                    <a:pt x="547" y="475"/>
                    <a:pt x="541" y="475"/>
                  </a:cubicBezTo>
                  <a:cubicBezTo>
                    <a:pt x="541" y="475"/>
                    <a:pt x="541" y="475"/>
                    <a:pt x="541" y="475"/>
                  </a:cubicBezTo>
                  <a:moveTo>
                    <a:pt x="576" y="475"/>
                  </a:moveTo>
                  <a:cubicBezTo>
                    <a:pt x="569" y="475"/>
                    <a:pt x="561" y="479"/>
                    <a:pt x="557" y="485"/>
                  </a:cubicBezTo>
                  <a:cubicBezTo>
                    <a:pt x="553" y="490"/>
                    <a:pt x="555" y="495"/>
                    <a:pt x="562" y="495"/>
                  </a:cubicBezTo>
                  <a:cubicBezTo>
                    <a:pt x="569" y="495"/>
                    <a:pt x="578" y="490"/>
                    <a:pt x="581" y="485"/>
                  </a:cubicBezTo>
                  <a:cubicBezTo>
                    <a:pt x="585" y="479"/>
                    <a:pt x="583" y="475"/>
                    <a:pt x="576" y="475"/>
                  </a:cubicBezTo>
                  <a:cubicBezTo>
                    <a:pt x="576" y="475"/>
                    <a:pt x="576" y="475"/>
                    <a:pt x="576" y="475"/>
                  </a:cubicBezTo>
                  <a:moveTo>
                    <a:pt x="611" y="474"/>
                  </a:moveTo>
                  <a:cubicBezTo>
                    <a:pt x="604" y="474"/>
                    <a:pt x="596" y="479"/>
                    <a:pt x="592" y="485"/>
                  </a:cubicBezTo>
                  <a:cubicBezTo>
                    <a:pt x="588" y="490"/>
                    <a:pt x="590" y="495"/>
                    <a:pt x="597" y="495"/>
                  </a:cubicBezTo>
                  <a:cubicBezTo>
                    <a:pt x="604" y="495"/>
                    <a:pt x="613" y="490"/>
                    <a:pt x="617" y="484"/>
                  </a:cubicBezTo>
                  <a:cubicBezTo>
                    <a:pt x="620" y="479"/>
                    <a:pt x="618" y="474"/>
                    <a:pt x="611" y="474"/>
                  </a:cubicBezTo>
                  <a:cubicBezTo>
                    <a:pt x="611" y="474"/>
                    <a:pt x="611" y="474"/>
                    <a:pt x="611" y="474"/>
                  </a:cubicBezTo>
                  <a:moveTo>
                    <a:pt x="646" y="474"/>
                  </a:moveTo>
                  <a:cubicBezTo>
                    <a:pt x="640" y="474"/>
                    <a:pt x="631" y="479"/>
                    <a:pt x="627" y="484"/>
                  </a:cubicBezTo>
                  <a:cubicBezTo>
                    <a:pt x="623" y="490"/>
                    <a:pt x="626" y="494"/>
                    <a:pt x="633" y="494"/>
                  </a:cubicBezTo>
                  <a:cubicBezTo>
                    <a:pt x="640" y="494"/>
                    <a:pt x="648" y="490"/>
                    <a:pt x="652" y="484"/>
                  </a:cubicBezTo>
                  <a:cubicBezTo>
                    <a:pt x="656" y="479"/>
                    <a:pt x="653" y="474"/>
                    <a:pt x="646" y="474"/>
                  </a:cubicBezTo>
                  <a:cubicBezTo>
                    <a:pt x="646" y="474"/>
                    <a:pt x="646" y="474"/>
                    <a:pt x="646" y="474"/>
                  </a:cubicBezTo>
                  <a:moveTo>
                    <a:pt x="681" y="474"/>
                  </a:moveTo>
                  <a:cubicBezTo>
                    <a:pt x="674" y="474"/>
                    <a:pt x="666" y="479"/>
                    <a:pt x="662" y="484"/>
                  </a:cubicBezTo>
                  <a:cubicBezTo>
                    <a:pt x="659" y="490"/>
                    <a:pt x="661" y="494"/>
                    <a:pt x="668" y="494"/>
                  </a:cubicBezTo>
                  <a:cubicBezTo>
                    <a:pt x="675" y="494"/>
                    <a:pt x="683" y="490"/>
                    <a:pt x="687" y="484"/>
                  </a:cubicBezTo>
                  <a:cubicBezTo>
                    <a:pt x="691" y="478"/>
                    <a:pt x="688" y="474"/>
                    <a:pt x="681" y="474"/>
                  </a:cubicBezTo>
                  <a:cubicBezTo>
                    <a:pt x="681" y="474"/>
                    <a:pt x="681" y="474"/>
                    <a:pt x="681" y="474"/>
                  </a:cubicBezTo>
                  <a:moveTo>
                    <a:pt x="717" y="474"/>
                  </a:moveTo>
                  <a:cubicBezTo>
                    <a:pt x="710" y="474"/>
                    <a:pt x="701" y="478"/>
                    <a:pt x="698" y="484"/>
                  </a:cubicBezTo>
                  <a:cubicBezTo>
                    <a:pt x="694" y="489"/>
                    <a:pt x="697" y="494"/>
                    <a:pt x="703" y="494"/>
                  </a:cubicBezTo>
                  <a:cubicBezTo>
                    <a:pt x="710" y="494"/>
                    <a:pt x="719" y="489"/>
                    <a:pt x="722" y="484"/>
                  </a:cubicBezTo>
                  <a:cubicBezTo>
                    <a:pt x="726" y="478"/>
                    <a:pt x="723" y="474"/>
                    <a:pt x="717" y="474"/>
                  </a:cubicBezTo>
                  <a:cubicBezTo>
                    <a:pt x="717" y="474"/>
                    <a:pt x="717" y="474"/>
                    <a:pt x="717" y="474"/>
                  </a:cubicBezTo>
                  <a:moveTo>
                    <a:pt x="752" y="473"/>
                  </a:moveTo>
                  <a:cubicBezTo>
                    <a:pt x="745" y="473"/>
                    <a:pt x="737" y="478"/>
                    <a:pt x="733" y="484"/>
                  </a:cubicBezTo>
                  <a:cubicBezTo>
                    <a:pt x="730" y="489"/>
                    <a:pt x="732" y="494"/>
                    <a:pt x="739" y="494"/>
                  </a:cubicBezTo>
                  <a:cubicBezTo>
                    <a:pt x="746" y="494"/>
                    <a:pt x="755" y="489"/>
                    <a:pt x="758" y="483"/>
                  </a:cubicBezTo>
                  <a:cubicBezTo>
                    <a:pt x="762" y="478"/>
                    <a:pt x="759" y="473"/>
                    <a:pt x="752" y="473"/>
                  </a:cubicBezTo>
                  <a:cubicBezTo>
                    <a:pt x="752" y="473"/>
                    <a:pt x="752" y="473"/>
                    <a:pt x="752" y="473"/>
                  </a:cubicBezTo>
                  <a:moveTo>
                    <a:pt x="787" y="473"/>
                  </a:moveTo>
                  <a:cubicBezTo>
                    <a:pt x="780" y="473"/>
                    <a:pt x="772" y="478"/>
                    <a:pt x="768" y="483"/>
                  </a:cubicBezTo>
                  <a:cubicBezTo>
                    <a:pt x="765" y="489"/>
                    <a:pt x="768" y="493"/>
                    <a:pt x="774" y="493"/>
                  </a:cubicBezTo>
                  <a:cubicBezTo>
                    <a:pt x="781" y="493"/>
                    <a:pt x="790" y="489"/>
                    <a:pt x="793" y="483"/>
                  </a:cubicBezTo>
                  <a:cubicBezTo>
                    <a:pt x="797" y="478"/>
                    <a:pt x="794" y="473"/>
                    <a:pt x="787" y="473"/>
                  </a:cubicBezTo>
                  <a:cubicBezTo>
                    <a:pt x="787" y="473"/>
                    <a:pt x="787" y="473"/>
                    <a:pt x="787" y="473"/>
                  </a:cubicBezTo>
                  <a:moveTo>
                    <a:pt x="820" y="473"/>
                  </a:moveTo>
                  <a:cubicBezTo>
                    <a:pt x="814" y="473"/>
                    <a:pt x="805" y="478"/>
                    <a:pt x="802" y="483"/>
                  </a:cubicBezTo>
                  <a:cubicBezTo>
                    <a:pt x="798" y="489"/>
                    <a:pt x="801" y="493"/>
                    <a:pt x="808" y="493"/>
                  </a:cubicBezTo>
                  <a:cubicBezTo>
                    <a:pt x="815" y="493"/>
                    <a:pt x="823" y="489"/>
                    <a:pt x="827" y="483"/>
                  </a:cubicBezTo>
                  <a:cubicBezTo>
                    <a:pt x="830" y="477"/>
                    <a:pt x="827" y="473"/>
                    <a:pt x="820" y="473"/>
                  </a:cubicBezTo>
                  <a:cubicBezTo>
                    <a:pt x="820" y="473"/>
                    <a:pt x="820" y="473"/>
                    <a:pt x="820" y="473"/>
                  </a:cubicBezTo>
                  <a:moveTo>
                    <a:pt x="856" y="473"/>
                  </a:moveTo>
                  <a:cubicBezTo>
                    <a:pt x="849" y="473"/>
                    <a:pt x="841" y="477"/>
                    <a:pt x="838" y="483"/>
                  </a:cubicBezTo>
                  <a:cubicBezTo>
                    <a:pt x="834" y="489"/>
                    <a:pt x="837" y="493"/>
                    <a:pt x="844" y="493"/>
                  </a:cubicBezTo>
                  <a:cubicBezTo>
                    <a:pt x="851" y="493"/>
                    <a:pt x="859" y="488"/>
                    <a:pt x="862" y="483"/>
                  </a:cubicBezTo>
                  <a:cubicBezTo>
                    <a:pt x="866" y="477"/>
                    <a:pt x="863" y="473"/>
                    <a:pt x="856" y="473"/>
                  </a:cubicBezTo>
                  <a:cubicBezTo>
                    <a:pt x="856" y="473"/>
                    <a:pt x="856" y="473"/>
                    <a:pt x="856" y="473"/>
                  </a:cubicBezTo>
                  <a:moveTo>
                    <a:pt x="891" y="472"/>
                  </a:moveTo>
                  <a:cubicBezTo>
                    <a:pt x="884" y="473"/>
                    <a:pt x="876" y="477"/>
                    <a:pt x="873" y="483"/>
                  </a:cubicBezTo>
                  <a:cubicBezTo>
                    <a:pt x="869" y="488"/>
                    <a:pt x="872" y="493"/>
                    <a:pt x="879" y="493"/>
                  </a:cubicBezTo>
                  <a:cubicBezTo>
                    <a:pt x="886" y="493"/>
                    <a:pt x="894" y="488"/>
                    <a:pt x="897" y="483"/>
                  </a:cubicBezTo>
                  <a:cubicBezTo>
                    <a:pt x="901" y="477"/>
                    <a:pt x="898" y="472"/>
                    <a:pt x="891" y="472"/>
                  </a:cubicBezTo>
                  <a:cubicBezTo>
                    <a:pt x="891" y="472"/>
                    <a:pt x="891" y="472"/>
                    <a:pt x="891" y="472"/>
                  </a:cubicBezTo>
                  <a:moveTo>
                    <a:pt x="926" y="472"/>
                  </a:moveTo>
                  <a:cubicBezTo>
                    <a:pt x="919" y="472"/>
                    <a:pt x="911" y="477"/>
                    <a:pt x="908" y="482"/>
                  </a:cubicBezTo>
                  <a:cubicBezTo>
                    <a:pt x="905" y="488"/>
                    <a:pt x="908" y="493"/>
                    <a:pt x="914" y="493"/>
                  </a:cubicBezTo>
                  <a:cubicBezTo>
                    <a:pt x="921" y="492"/>
                    <a:pt x="929" y="488"/>
                    <a:pt x="933" y="482"/>
                  </a:cubicBezTo>
                  <a:cubicBezTo>
                    <a:pt x="936" y="477"/>
                    <a:pt x="933" y="472"/>
                    <a:pt x="926" y="472"/>
                  </a:cubicBezTo>
                  <a:cubicBezTo>
                    <a:pt x="926" y="472"/>
                    <a:pt x="926" y="472"/>
                    <a:pt x="926" y="472"/>
                  </a:cubicBezTo>
                  <a:moveTo>
                    <a:pt x="961" y="472"/>
                  </a:moveTo>
                  <a:cubicBezTo>
                    <a:pt x="954" y="472"/>
                    <a:pt x="946" y="477"/>
                    <a:pt x="943" y="482"/>
                  </a:cubicBezTo>
                  <a:cubicBezTo>
                    <a:pt x="940" y="488"/>
                    <a:pt x="943" y="492"/>
                    <a:pt x="950" y="492"/>
                  </a:cubicBezTo>
                  <a:cubicBezTo>
                    <a:pt x="957" y="492"/>
                    <a:pt x="965" y="488"/>
                    <a:pt x="968" y="482"/>
                  </a:cubicBezTo>
                  <a:cubicBezTo>
                    <a:pt x="971" y="476"/>
                    <a:pt x="968" y="472"/>
                    <a:pt x="961" y="472"/>
                  </a:cubicBezTo>
                  <a:cubicBezTo>
                    <a:pt x="961" y="472"/>
                    <a:pt x="961" y="472"/>
                    <a:pt x="961" y="472"/>
                  </a:cubicBezTo>
                  <a:moveTo>
                    <a:pt x="996" y="472"/>
                  </a:moveTo>
                  <a:cubicBezTo>
                    <a:pt x="989" y="472"/>
                    <a:pt x="981" y="476"/>
                    <a:pt x="978" y="482"/>
                  </a:cubicBezTo>
                  <a:cubicBezTo>
                    <a:pt x="975" y="488"/>
                    <a:pt x="978" y="492"/>
                    <a:pt x="985" y="492"/>
                  </a:cubicBezTo>
                  <a:cubicBezTo>
                    <a:pt x="992" y="492"/>
                    <a:pt x="1000" y="487"/>
                    <a:pt x="1003" y="482"/>
                  </a:cubicBezTo>
                  <a:cubicBezTo>
                    <a:pt x="1006" y="476"/>
                    <a:pt x="1003" y="472"/>
                    <a:pt x="996" y="472"/>
                  </a:cubicBezTo>
                  <a:cubicBezTo>
                    <a:pt x="996" y="472"/>
                    <a:pt x="996" y="472"/>
                    <a:pt x="996" y="472"/>
                  </a:cubicBezTo>
                  <a:moveTo>
                    <a:pt x="1032" y="471"/>
                  </a:moveTo>
                  <a:cubicBezTo>
                    <a:pt x="1025" y="472"/>
                    <a:pt x="1017" y="476"/>
                    <a:pt x="1014" y="482"/>
                  </a:cubicBezTo>
                  <a:cubicBezTo>
                    <a:pt x="1011" y="487"/>
                    <a:pt x="1014" y="492"/>
                    <a:pt x="1021" y="492"/>
                  </a:cubicBezTo>
                  <a:cubicBezTo>
                    <a:pt x="1028" y="492"/>
                    <a:pt x="1036" y="487"/>
                    <a:pt x="1039" y="482"/>
                  </a:cubicBezTo>
                  <a:cubicBezTo>
                    <a:pt x="1042" y="476"/>
                    <a:pt x="1039" y="471"/>
                    <a:pt x="1032" y="471"/>
                  </a:cubicBezTo>
                  <a:cubicBezTo>
                    <a:pt x="1032" y="471"/>
                    <a:pt x="1032" y="471"/>
                    <a:pt x="1032" y="471"/>
                  </a:cubicBezTo>
                  <a:moveTo>
                    <a:pt x="1067" y="471"/>
                  </a:moveTo>
                  <a:cubicBezTo>
                    <a:pt x="1060" y="471"/>
                    <a:pt x="1052" y="476"/>
                    <a:pt x="1049" y="482"/>
                  </a:cubicBezTo>
                  <a:cubicBezTo>
                    <a:pt x="1046" y="487"/>
                    <a:pt x="1049" y="492"/>
                    <a:pt x="1056" y="492"/>
                  </a:cubicBezTo>
                  <a:cubicBezTo>
                    <a:pt x="1063" y="492"/>
                    <a:pt x="1071" y="487"/>
                    <a:pt x="1074" y="481"/>
                  </a:cubicBezTo>
                  <a:cubicBezTo>
                    <a:pt x="1077" y="476"/>
                    <a:pt x="1074" y="471"/>
                    <a:pt x="1067" y="471"/>
                  </a:cubicBezTo>
                  <a:cubicBezTo>
                    <a:pt x="1067" y="471"/>
                    <a:pt x="1067" y="471"/>
                    <a:pt x="1067" y="471"/>
                  </a:cubicBezTo>
                  <a:moveTo>
                    <a:pt x="1101" y="471"/>
                  </a:moveTo>
                  <a:cubicBezTo>
                    <a:pt x="1094" y="471"/>
                    <a:pt x="1087" y="476"/>
                    <a:pt x="1084" y="481"/>
                  </a:cubicBezTo>
                  <a:cubicBezTo>
                    <a:pt x="1081" y="487"/>
                    <a:pt x="1084" y="491"/>
                    <a:pt x="1091" y="491"/>
                  </a:cubicBezTo>
                  <a:cubicBezTo>
                    <a:pt x="1098" y="491"/>
                    <a:pt x="1106" y="487"/>
                    <a:pt x="1108" y="481"/>
                  </a:cubicBezTo>
                  <a:cubicBezTo>
                    <a:pt x="1111" y="476"/>
                    <a:pt x="1108" y="471"/>
                    <a:pt x="1101" y="471"/>
                  </a:cubicBezTo>
                  <a:cubicBezTo>
                    <a:pt x="1101" y="471"/>
                    <a:pt x="1101" y="471"/>
                    <a:pt x="1101" y="471"/>
                  </a:cubicBezTo>
                  <a:moveTo>
                    <a:pt x="1137" y="471"/>
                  </a:moveTo>
                  <a:cubicBezTo>
                    <a:pt x="1130" y="471"/>
                    <a:pt x="1122" y="475"/>
                    <a:pt x="1119" y="481"/>
                  </a:cubicBezTo>
                  <a:cubicBezTo>
                    <a:pt x="1117" y="487"/>
                    <a:pt x="1120" y="491"/>
                    <a:pt x="1127" y="491"/>
                  </a:cubicBezTo>
                  <a:cubicBezTo>
                    <a:pt x="1134" y="491"/>
                    <a:pt x="1141" y="486"/>
                    <a:pt x="1144" y="481"/>
                  </a:cubicBezTo>
                  <a:cubicBezTo>
                    <a:pt x="1147" y="475"/>
                    <a:pt x="1144" y="471"/>
                    <a:pt x="1137" y="471"/>
                  </a:cubicBezTo>
                  <a:cubicBezTo>
                    <a:pt x="1137" y="471"/>
                    <a:pt x="1137" y="471"/>
                    <a:pt x="1137" y="471"/>
                  </a:cubicBezTo>
                  <a:moveTo>
                    <a:pt x="2049" y="465"/>
                  </a:moveTo>
                  <a:cubicBezTo>
                    <a:pt x="2042" y="465"/>
                    <a:pt x="2036" y="470"/>
                    <a:pt x="2035" y="476"/>
                  </a:cubicBezTo>
                  <a:cubicBezTo>
                    <a:pt x="2034" y="481"/>
                    <a:pt x="2039" y="486"/>
                    <a:pt x="2046" y="486"/>
                  </a:cubicBezTo>
                  <a:cubicBezTo>
                    <a:pt x="2052" y="486"/>
                    <a:pt x="2059" y="481"/>
                    <a:pt x="2060" y="475"/>
                  </a:cubicBezTo>
                  <a:cubicBezTo>
                    <a:pt x="2060" y="470"/>
                    <a:pt x="2056" y="465"/>
                    <a:pt x="2049" y="465"/>
                  </a:cubicBezTo>
                  <a:cubicBezTo>
                    <a:pt x="2049" y="465"/>
                    <a:pt x="2049" y="465"/>
                    <a:pt x="2049" y="465"/>
                  </a:cubicBezTo>
                  <a:moveTo>
                    <a:pt x="2084" y="465"/>
                  </a:moveTo>
                  <a:cubicBezTo>
                    <a:pt x="2078" y="465"/>
                    <a:pt x="2071" y="470"/>
                    <a:pt x="2070" y="475"/>
                  </a:cubicBezTo>
                  <a:cubicBezTo>
                    <a:pt x="2070" y="481"/>
                    <a:pt x="2074" y="485"/>
                    <a:pt x="2081" y="485"/>
                  </a:cubicBezTo>
                  <a:cubicBezTo>
                    <a:pt x="2088" y="485"/>
                    <a:pt x="2094" y="481"/>
                    <a:pt x="2095" y="475"/>
                  </a:cubicBezTo>
                  <a:cubicBezTo>
                    <a:pt x="2096" y="470"/>
                    <a:pt x="2091" y="465"/>
                    <a:pt x="2084" y="465"/>
                  </a:cubicBezTo>
                  <a:cubicBezTo>
                    <a:pt x="2084" y="465"/>
                    <a:pt x="2084" y="465"/>
                    <a:pt x="2084" y="465"/>
                  </a:cubicBezTo>
                  <a:moveTo>
                    <a:pt x="2118" y="465"/>
                  </a:moveTo>
                  <a:cubicBezTo>
                    <a:pt x="2111" y="465"/>
                    <a:pt x="2105" y="469"/>
                    <a:pt x="2104" y="475"/>
                  </a:cubicBezTo>
                  <a:cubicBezTo>
                    <a:pt x="2103" y="481"/>
                    <a:pt x="2108" y="485"/>
                    <a:pt x="2115" y="485"/>
                  </a:cubicBezTo>
                  <a:cubicBezTo>
                    <a:pt x="2122" y="485"/>
                    <a:pt x="2128" y="481"/>
                    <a:pt x="2129" y="475"/>
                  </a:cubicBezTo>
                  <a:cubicBezTo>
                    <a:pt x="2129" y="469"/>
                    <a:pt x="2125" y="465"/>
                    <a:pt x="2118" y="465"/>
                  </a:cubicBezTo>
                  <a:cubicBezTo>
                    <a:pt x="2118" y="465"/>
                    <a:pt x="2118" y="465"/>
                    <a:pt x="2118" y="465"/>
                  </a:cubicBezTo>
                  <a:moveTo>
                    <a:pt x="2153" y="465"/>
                  </a:moveTo>
                  <a:cubicBezTo>
                    <a:pt x="2146" y="465"/>
                    <a:pt x="2140" y="469"/>
                    <a:pt x="2140" y="475"/>
                  </a:cubicBezTo>
                  <a:cubicBezTo>
                    <a:pt x="2139" y="480"/>
                    <a:pt x="2144" y="485"/>
                    <a:pt x="2151" y="485"/>
                  </a:cubicBezTo>
                  <a:cubicBezTo>
                    <a:pt x="2158" y="485"/>
                    <a:pt x="2164" y="480"/>
                    <a:pt x="2164" y="475"/>
                  </a:cubicBezTo>
                  <a:cubicBezTo>
                    <a:pt x="2165" y="469"/>
                    <a:pt x="2160" y="465"/>
                    <a:pt x="2153" y="465"/>
                  </a:cubicBezTo>
                  <a:cubicBezTo>
                    <a:pt x="2153" y="465"/>
                    <a:pt x="2153" y="465"/>
                    <a:pt x="2153" y="465"/>
                  </a:cubicBezTo>
                  <a:moveTo>
                    <a:pt x="2190" y="463"/>
                  </a:moveTo>
                  <a:cubicBezTo>
                    <a:pt x="2184" y="463"/>
                    <a:pt x="2178" y="468"/>
                    <a:pt x="2177" y="474"/>
                  </a:cubicBezTo>
                  <a:cubicBezTo>
                    <a:pt x="2176" y="479"/>
                    <a:pt x="2181" y="484"/>
                    <a:pt x="2188" y="484"/>
                  </a:cubicBezTo>
                  <a:cubicBezTo>
                    <a:pt x="2195" y="484"/>
                    <a:pt x="2201" y="479"/>
                    <a:pt x="2202" y="474"/>
                  </a:cubicBezTo>
                  <a:cubicBezTo>
                    <a:pt x="2202" y="468"/>
                    <a:pt x="2197" y="463"/>
                    <a:pt x="2190" y="463"/>
                  </a:cubicBezTo>
                  <a:cubicBezTo>
                    <a:pt x="2190" y="463"/>
                    <a:pt x="2190" y="463"/>
                    <a:pt x="2190" y="463"/>
                  </a:cubicBezTo>
                  <a:moveTo>
                    <a:pt x="2226" y="463"/>
                  </a:moveTo>
                  <a:cubicBezTo>
                    <a:pt x="2219" y="463"/>
                    <a:pt x="2214" y="468"/>
                    <a:pt x="2213" y="473"/>
                  </a:cubicBezTo>
                  <a:cubicBezTo>
                    <a:pt x="2212" y="479"/>
                    <a:pt x="2217" y="484"/>
                    <a:pt x="2224" y="484"/>
                  </a:cubicBezTo>
                  <a:cubicBezTo>
                    <a:pt x="2231" y="484"/>
                    <a:pt x="2237" y="479"/>
                    <a:pt x="2238" y="473"/>
                  </a:cubicBezTo>
                  <a:cubicBezTo>
                    <a:pt x="2238" y="468"/>
                    <a:pt x="2233" y="463"/>
                    <a:pt x="2226" y="463"/>
                  </a:cubicBezTo>
                  <a:cubicBezTo>
                    <a:pt x="2226" y="463"/>
                    <a:pt x="2226" y="463"/>
                    <a:pt x="2226" y="463"/>
                  </a:cubicBezTo>
                  <a:moveTo>
                    <a:pt x="2261" y="463"/>
                  </a:moveTo>
                  <a:cubicBezTo>
                    <a:pt x="2254" y="463"/>
                    <a:pt x="2248" y="468"/>
                    <a:pt x="2248" y="473"/>
                  </a:cubicBezTo>
                  <a:cubicBezTo>
                    <a:pt x="2247" y="479"/>
                    <a:pt x="2253" y="483"/>
                    <a:pt x="2259" y="483"/>
                  </a:cubicBezTo>
                  <a:cubicBezTo>
                    <a:pt x="2266" y="483"/>
                    <a:pt x="2272" y="479"/>
                    <a:pt x="2273" y="473"/>
                  </a:cubicBezTo>
                  <a:cubicBezTo>
                    <a:pt x="2273" y="467"/>
                    <a:pt x="2268" y="463"/>
                    <a:pt x="2261" y="463"/>
                  </a:cubicBezTo>
                  <a:cubicBezTo>
                    <a:pt x="2261" y="463"/>
                    <a:pt x="2261" y="463"/>
                    <a:pt x="2261" y="463"/>
                  </a:cubicBezTo>
                  <a:moveTo>
                    <a:pt x="2296" y="463"/>
                  </a:moveTo>
                  <a:cubicBezTo>
                    <a:pt x="2289" y="463"/>
                    <a:pt x="2283" y="467"/>
                    <a:pt x="2283" y="473"/>
                  </a:cubicBezTo>
                  <a:cubicBezTo>
                    <a:pt x="2282" y="479"/>
                    <a:pt x="2287" y="483"/>
                    <a:pt x="2294" y="483"/>
                  </a:cubicBezTo>
                  <a:cubicBezTo>
                    <a:pt x="2301" y="483"/>
                    <a:pt x="2307" y="478"/>
                    <a:pt x="2307" y="473"/>
                  </a:cubicBezTo>
                  <a:cubicBezTo>
                    <a:pt x="2308" y="467"/>
                    <a:pt x="2303" y="463"/>
                    <a:pt x="2296" y="463"/>
                  </a:cubicBezTo>
                  <a:cubicBezTo>
                    <a:pt x="2296" y="463"/>
                    <a:pt x="2296" y="463"/>
                    <a:pt x="2296" y="463"/>
                  </a:cubicBezTo>
                  <a:moveTo>
                    <a:pt x="2331" y="462"/>
                  </a:moveTo>
                  <a:cubicBezTo>
                    <a:pt x="2324" y="462"/>
                    <a:pt x="2318" y="467"/>
                    <a:pt x="2318" y="473"/>
                  </a:cubicBezTo>
                  <a:cubicBezTo>
                    <a:pt x="2317" y="478"/>
                    <a:pt x="2322" y="483"/>
                    <a:pt x="2329" y="483"/>
                  </a:cubicBezTo>
                  <a:cubicBezTo>
                    <a:pt x="2336" y="483"/>
                    <a:pt x="2342" y="478"/>
                    <a:pt x="2342" y="473"/>
                  </a:cubicBezTo>
                  <a:cubicBezTo>
                    <a:pt x="2343" y="467"/>
                    <a:pt x="2337" y="462"/>
                    <a:pt x="2331" y="462"/>
                  </a:cubicBezTo>
                  <a:cubicBezTo>
                    <a:pt x="2331" y="462"/>
                    <a:pt x="2331" y="462"/>
                    <a:pt x="2331" y="462"/>
                  </a:cubicBezTo>
                  <a:moveTo>
                    <a:pt x="2366" y="462"/>
                  </a:moveTo>
                  <a:cubicBezTo>
                    <a:pt x="2359" y="462"/>
                    <a:pt x="2353" y="467"/>
                    <a:pt x="2353" y="472"/>
                  </a:cubicBezTo>
                  <a:cubicBezTo>
                    <a:pt x="2353" y="478"/>
                    <a:pt x="2358" y="483"/>
                    <a:pt x="2365" y="483"/>
                  </a:cubicBezTo>
                  <a:cubicBezTo>
                    <a:pt x="2371" y="483"/>
                    <a:pt x="2377" y="478"/>
                    <a:pt x="2377" y="472"/>
                  </a:cubicBezTo>
                  <a:cubicBezTo>
                    <a:pt x="2378" y="467"/>
                    <a:pt x="2372" y="462"/>
                    <a:pt x="2366" y="462"/>
                  </a:cubicBezTo>
                  <a:cubicBezTo>
                    <a:pt x="2366" y="462"/>
                    <a:pt x="2366" y="462"/>
                    <a:pt x="2366" y="462"/>
                  </a:cubicBezTo>
                  <a:moveTo>
                    <a:pt x="2401" y="462"/>
                  </a:moveTo>
                  <a:cubicBezTo>
                    <a:pt x="2394" y="462"/>
                    <a:pt x="2389" y="467"/>
                    <a:pt x="2388" y="472"/>
                  </a:cubicBezTo>
                  <a:cubicBezTo>
                    <a:pt x="2388" y="478"/>
                    <a:pt x="2394" y="482"/>
                    <a:pt x="2400" y="482"/>
                  </a:cubicBezTo>
                  <a:cubicBezTo>
                    <a:pt x="2407" y="482"/>
                    <a:pt x="2413" y="478"/>
                    <a:pt x="2413" y="472"/>
                  </a:cubicBezTo>
                  <a:cubicBezTo>
                    <a:pt x="2413" y="466"/>
                    <a:pt x="2408" y="462"/>
                    <a:pt x="2401" y="462"/>
                  </a:cubicBezTo>
                  <a:cubicBezTo>
                    <a:pt x="2401" y="462"/>
                    <a:pt x="2401" y="462"/>
                    <a:pt x="2401" y="462"/>
                  </a:cubicBezTo>
                  <a:moveTo>
                    <a:pt x="2436" y="462"/>
                  </a:moveTo>
                  <a:cubicBezTo>
                    <a:pt x="2429" y="462"/>
                    <a:pt x="2424" y="466"/>
                    <a:pt x="2423" y="472"/>
                  </a:cubicBezTo>
                  <a:cubicBezTo>
                    <a:pt x="2423" y="478"/>
                    <a:pt x="2429" y="482"/>
                    <a:pt x="2435" y="482"/>
                  </a:cubicBezTo>
                  <a:cubicBezTo>
                    <a:pt x="2442" y="482"/>
                    <a:pt x="2448" y="477"/>
                    <a:pt x="2448" y="472"/>
                  </a:cubicBezTo>
                  <a:cubicBezTo>
                    <a:pt x="2448" y="466"/>
                    <a:pt x="2443" y="462"/>
                    <a:pt x="2436" y="462"/>
                  </a:cubicBezTo>
                  <a:cubicBezTo>
                    <a:pt x="2436" y="462"/>
                    <a:pt x="2436" y="462"/>
                    <a:pt x="2436" y="462"/>
                  </a:cubicBezTo>
                  <a:moveTo>
                    <a:pt x="2471" y="461"/>
                  </a:moveTo>
                  <a:cubicBezTo>
                    <a:pt x="2464" y="462"/>
                    <a:pt x="2459" y="466"/>
                    <a:pt x="2459" y="472"/>
                  </a:cubicBezTo>
                  <a:cubicBezTo>
                    <a:pt x="2458" y="477"/>
                    <a:pt x="2464" y="482"/>
                    <a:pt x="2471" y="482"/>
                  </a:cubicBezTo>
                  <a:cubicBezTo>
                    <a:pt x="2478" y="482"/>
                    <a:pt x="2483" y="477"/>
                    <a:pt x="2483" y="472"/>
                  </a:cubicBezTo>
                  <a:cubicBezTo>
                    <a:pt x="2483" y="466"/>
                    <a:pt x="2478" y="461"/>
                    <a:pt x="2471" y="461"/>
                  </a:cubicBezTo>
                  <a:cubicBezTo>
                    <a:pt x="2471" y="461"/>
                    <a:pt x="2471" y="461"/>
                    <a:pt x="2471" y="461"/>
                  </a:cubicBezTo>
                  <a:moveTo>
                    <a:pt x="2541" y="461"/>
                  </a:moveTo>
                  <a:cubicBezTo>
                    <a:pt x="2534" y="461"/>
                    <a:pt x="2529" y="466"/>
                    <a:pt x="2529" y="471"/>
                  </a:cubicBezTo>
                  <a:cubicBezTo>
                    <a:pt x="2529" y="477"/>
                    <a:pt x="2534" y="481"/>
                    <a:pt x="2541" y="481"/>
                  </a:cubicBezTo>
                  <a:cubicBezTo>
                    <a:pt x="2548" y="481"/>
                    <a:pt x="2553" y="477"/>
                    <a:pt x="2553" y="471"/>
                  </a:cubicBezTo>
                  <a:cubicBezTo>
                    <a:pt x="2553" y="466"/>
                    <a:pt x="2548" y="461"/>
                    <a:pt x="2541" y="461"/>
                  </a:cubicBezTo>
                  <a:cubicBezTo>
                    <a:pt x="2541" y="461"/>
                    <a:pt x="2541" y="461"/>
                    <a:pt x="2541" y="461"/>
                  </a:cubicBezTo>
                  <a:moveTo>
                    <a:pt x="2612" y="461"/>
                  </a:moveTo>
                  <a:cubicBezTo>
                    <a:pt x="2605" y="461"/>
                    <a:pt x="2600" y="466"/>
                    <a:pt x="2600" y="471"/>
                  </a:cubicBezTo>
                  <a:cubicBezTo>
                    <a:pt x="2600" y="477"/>
                    <a:pt x="2606" y="482"/>
                    <a:pt x="2613" y="481"/>
                  </a:cubicBezTo>
                  <a:cubicBezTo>
                    <a:pt x="2620" y="481"/>
                    <a:pt x="2625" y="477"/>
                    <a:pt x="2625" y="471"/>
                  </a:cubicBezTo>
                  <a:cubicBezTo>
                    <a:pt x="2625" y="466"/>
                    <a:pt x="2619" y="461"/>
                    <a:pt x="2612" y="461"/>
                  </a:cubicBezTo>
                  <a:cubicBezTo>
                    <a:pt x="2612" y="461"/>
                    <a:pt x="2612" y="461"/>
                    <a:pt x="2612" y="461"/>
                  </a:cubicBezTo>
                  <a:moveTo>
                    <a:pt x="2647" y="461"/>
                  </a:moveTo>
                  <a:cubicBezTo>
                    <a:pt x="2640" y="461"/>
                    <a:pt x="2635" y="465"/>
                    <a:pt x="2635" y="471"/>
                  </a:cubicBezTo>
                  <a:cubicBezTo>
                    <a:pt x="2635" y="477"/>
                    <a:pt x="2641" y="481"/>
                    <a:pt x="2648" y="481"/>
                  </a:cubicBezTo>
                  <a:cubicBezTo>
                    <a:pt x="2655" y="481"/>
                    <a:pt x="2660" y="477"/>
                    <a:pt x="2660" y="471"/>
                  </a:cubicBezTo>
                  <a:cubicBezTo>
                    <a:pt x="2659" y="465"/>
                    <a:pt x="2654" y="461"/>
                    <a:pt x="2647" y="461"/>
                  </a:cubicBezTo>
                  <a:cubicBezTo>
                    <a:pt x="2647" y="461"/>
                    <a:pt x="2647" y="461"/>
                    <a:pt x="2647" y="461"/>
                  </a:cubicBezTo>
                  <a:moveTo>
                    <a:pt x="2681" y="461"/>
                  </a:moveTo>
                  <a:cubicBezTo>
                    <a:pt x="2675" y="461"/>
                    <a:pt x="2669" y="465"/>
                    <a:pt x="2670" y="471"/>
                  </a:cubicBezTo>
                  <a:cubicBezTo>
                    <a:pt x="2670" y="476"/>
                    <a:pt x="2676" y="481"/>
                    <a:pt x="2683" y="481"/>
                  </a:cubicBezTo>
                  <a:cubicBezTo>
                    <a:pt x="2690" y="481"/>
                    <a:pt x="2695" y="476"/>
                    <a:pt x="2694" y="471"/>
                  </a:cubicBezTo>
                  <a:cubicBezTo>
                    <a:pt x="2694" y="465"/>
                    <a:pt x="2688" y="461"/>
                    <a:pt x="2682" y="461"/>
                  </a:cubicBezTo>
                  <a:cubicBezTo>
                    <a:pt x="2681" y="461"/>
                    <a:pt x="2681" y="461"/>
                    <a:pt x="2681" y="461"/>
                  </a:cubicBezTo>
                  <a:moveTo>
                    <a:pt x="2716" y="460"/>
                  </a:moveTo>
                  <a:cubicBezTo>
                    <a:pt x="2709" y="460"/>
                    <a:pt x="2704" y="465"/>
                    <a:pt x="2705" y="471"/>
                  </a:cubicBezTo>
                  <a:cubicBezTo>
                    <a:pt x="2705" y="476"/>
                    <a:pt x="2711" y="481"/>
                    <a:pt x="2718" y="481"/>
                  </a:cubicBezTo>
                  <a:cubicBezTo>
                    <a:pt x="2725" y="481"/>
                    <a:pt x="2730" y="476"/>
                    <a:pt x="2729" y="470"/>
                  </a:cubicBezTo>
                  <a:cubicBezTo>
                    <a:pt x="2729" y="465"/>
                    <a:pt x="2723" y="460"/>
                    <a:pt x="2716" y="460"/>
                  </a:cubicBezTo>
                  <a:cubicBezTo>
                    <a:pt x="2716" y="460"/>
                    <a:pt x="2716" y="460"/>
                    <a:pt x="2716" y="460"/>
                  </a:cubicBezTo>
                  <a:moveTo>
                    <a:pt x="2751" y="460"/>
                  </a:moveTo>
                  <a:cubicBezTo>
                    <a:pt x="2745" y="460"/>
                    <a:pt x="2740" y="465"/>
                    <a:pt x="2740" y="470"/>
                  </a:cubicBezTo>
                  <a:cubicBezTo>
                    <a:pt x="2740" y="476"/>
                    <a:pt x="2746" y="481"/>
                    <a:pt x="2753" y="481"/>
                  </a:cubicBezTo>
                  <a:cubicBezTo>
                    <a:pt x="2760" y="480"/>
                    <a:pt x="2765" y="476"/>
                    <a:pt x="2765" y="470"/>
                  </a:cubicBezTo>
                  <a:cubicBezTo>
                    <a:pt x="2764" y="465"/>
                    <a:pt x="2758" y="460"/>
                    <a:pt x="2751" y="460"/>
                  </a:cubicBezTo>
                  <a:cubicBezTo>
                    <a:pt x="2751" y="460"/>
                    <a:pt x="2751" y="460"/>
                    <a:pt x="2751" y="460"/>
                  </a:cubicBezTo>
                  <a:moveTo>
                    <a:pt x="2786" y="459"/>
                  </a:moveTo>
                  <a:cubicBezTo>
                    <a:pt x="2779" y="459"/>
                    <a:pt x="2774" y="464"/>
                    <a:pt x="2775" y="469"/>
                  </a:cubicBezTo>
                  <a:cubicBezTo>
                    <a:pt x="2776" y="475"/>
                    <a:pt x="2782" y="480"/>
                    <a:pt x="2788" y="480"/>
                  </a:cubicBezTo>
                  <a:cubicBezTo>
                    <a:pt x="2795" y="479"/>
                    <a:pt x="2800" y="475"/>
                    <a:pt x="2800" y="469"/>
                  </a:cubicBezTo>
                  <a:cubicBezTo>
                    <a:pt x="2799" y="464"/>
                    <a:pt x="2793" y="459"/>
                    <a:pt x="2786" y="459"/>
                  </a:cubicBezTo>
                  <a:cubicBezTo>
                    <a:pt x="2786" y="459"/>
                    <a:pt x="2786" y="459"/>
                    <a:pt x="2786" y="459"/>
                  </a:cubicBezTo>
                  <a:moveTo>
                    <a:pt x="2819" y="459"/>
                  </a:moveTo>
                  <a:cubicBezTo>
                    <a:pt x="2812" y="459"/>
                    <a:pt x="2807" y="463"/>
                    <a:pt x="2808" y="469"/>
                  </a:cubicBezTo>
                  <a:cubicBezTo>
                    <a:pt x="2809" y="475"/>
                    <a:pt x="2815" y="479"/>
                    <a:pt x="2822" y="479"/>
                  </a:cubicBezTo>
                  <a:cubicBezTo>
                    <a:pt x="2828" y="479"/>
                    <a:pt x="2833" y="475"/>
                    <a:pt x="2833" y="469"/>
                  </a:cubicBezTo>
                  <a:cubicBezTo>
                    <a:pt x="2832" y="463"/>
                    <a:pt x="2826" y="459"/>
                    <a:pt x="2819" y="459"/>
                  </a:cubicBezTo>
                  <a:cubicBezTo>
                    <a:pt x="2819" y="459"/>
                    <a:pt x="2819" y="459"/>
                    <a:pt x="2819" y="459"/>
                  </a:cubicBezTo>
                  <a:moveTo>
                    <a:pt x="2854" y="459"/>
                  </a:moveTo>
                  <a:cubicBezTo>
                    <a:pt x="2847" y="459"/>
                    <a:pt x="2842" y="463"/>
                    <a:pt x="2843" y="469"/>
                  </a:cubicBezTo>
                  <a:cubicBezTo>
                    <a:pt x="2844" y="475"/>
                    <a:pt x="2850" y="479"/>
                    <a:pt x="2857" y="479"/>
                  </a:cubicBezTo>
                  <a:cubicBezTo>
                    <a:pt x="2863" y="479"/>
                    <a:pt x="2868" y="474"/>
                    <a:pt x="2868" y="469"/>
                  </a:cubicBezTo>
                  <a:cubicBezTo>
                    <a:pt x="2867" y="463"/>
                    <a:pt x="2861" y="459"/>
                    <a:pt x="2854" y="459"/>
                  </a:cubicBezTo>
                  <a:cubicBezTo>
                    <a:pt x="2854" y="459"/>
                    <a:pt x="2854" y="459"/>
                    <a:pt x="2854" y="459"/>
                  </a:cubicBezTo>
                  <a:moveTo>
                    <a:pt x="2889" y="458"/>
                  </a:moveTo>
                  <a:cubicBezTo>
                    <a:pt x="2882" y="458"/>
                    <a:pt x="2877" y="463"/>
                    <a:pt x="2878" y="469"/>
                  </a:cubicBezTo>
                  <a:cubicBezTo>
                    <a:pt x="2879" y="474"/>
                    <a:pt x="2885" y="479"/>
                    <a:pt x="2892" y="479"/>
                  </a:cubicBezTo>
                  <a:cubicBezTo>
                    <a:pt x="2899" y="479"/>
                    <a:pt x="2904" y="474"/>
                    <a:pt x="2903" y="469"/>
                  </a:cubicBezTo>
                  <a:cubicBezTo>
                    <a:pt x="2902" y="463"/>
                    <a:pt x="2896" y="458"/>
                    <a:pt x="2889" y="458"/>
                  </a:cubicBezTo>
                  <a:cubicBezTo>
                    <a:pt x="2889" y="458"/>
                    <a:pt x="2889" y="458"/>
                    <a:pt x="2889" y="458"/>
                  </a:cubicBezTo>
                  <a:moveTo>
                    <a:pt x="2924" y="458"/>
                  </a:moveTo>
                  <a:cubicBezTo>
                    <a:pt x="2918" y="458"/>
                    <a:pt x="2913" y="463"/>
                    <a:pt x="2914" y="468"/>
                  </a:cubicBezTo>
                  <a:cubicBezTo>
                    <a:pt x="2915" y="474"/>
                    <a:pt x="2921" y="479"/>
                    <a:pt x="2928" y="479"/>
                  </a:cubicBezTo>
                  <a:cubicBezTo>
                    <a:pt x="2934" y="479"/>
                    <a:pt x="2939" y="474"/>
                    <a:pt x="2938" y="468"/>
                  </a:cubicBezTo>
                  <a:cubicBezTo>
                    <a:pt x="2937" y="463"/>
                    <a:pt x="2931" y="458"/>
                    <a:pt x="2925" y="458"/>
                  </a:cubicBezTo>
                  <a:cubicBezTo>
                    <a:pt x="2925" y="458"/>
                    <a:pt x="2924" y="458"/>
                    <a:pt x="2924" y="458"/>
                  </a:cubicBezTo>
                  <a:moveTo>
                    <a:pt x="2959" y="458"/>
                  </a:moveTo>
                  <a:cubicBezTo>
                    <a:pt x="2952" y="458"/>
                    <a:pt x="2948" y="463"/>
                    <a:pt x="2949" y="468"/>
                  </a:cubicBezTo>
                  <a:cubicBezTo>
                    <a:pt x="2950" y="474"/>
                    <a:pt x="2956" y="478"/>
                    <a:pt x="2963" y="478"/>
                  </a:cubicBezTo>
                  <a:cubicBezTo>
                    <a:pt x="2969" y="478"/>
                    <a:pt x="2974" y="474"/>
                    <a:pt x="2973" y="468"/>
                  </a:cubicBezTo>
                  <a:cubicBezTo>
                    <a:pt x="2972" y="462"/>
                    <a:pt x="2966" y="458"/>
                    <a:pt x="2959" y="458"/>
                  </a:cubicBezTo>
                  <a:cubicBezTo>
                    <a:pt x="2959" y="458"/>
                    <a:pt x="2959" y="458"/>
                    <a:pt x="2959" y="458"/>
                  </a:cubicBezTo>
                  <a:moveTo>
                    <a:pt x="2994" y="458"/>
                  </a:moveTo>
                  <a:cubicBezTo>
                    <a:pt x="2987" y="458"/>
                    <a:pt x="2983" y="462"/>
                    <a:pt x="2984" y="468"/>
                  </a:cubicBezTo>
                  <a:cubicBezTo>
                    <a:pt x="2985" y="474"/>
                    <a:pt x="2991" y="478"/>
                    <a:pt x="2998" y="478"/>
                  </a:cubicBezTo>
                  <a:cubicBezTo>
                    <a:pt x="3005" y="478"/>
                    <a:pt x="3009" y="473"/>
                    <a:pt x="3008" y="468"/>
                  </a:cubicBezTo>
                  <a:cubicBezTo>
                    <a:pt x="3007" y="462"/>
                    <a:pt x="3001" y="458"/>
                    <a:pt x="2994" y="458"/>
                  </a:cubicBezTo>
                  <a:cubicBezTo>
                    <a:pt x="2994" y="458"/>
                    <a:pt x="2994" y="458"/>
                    <a:pt x="2994" y="458"/>
                  </a:cubicBezTo>
                  <a:moveTo>
                    <a:pt x="3029" y="457"/>
                  </a:moveTo>
                  <a:cubicBezTo>
                    <a:pt x="3022" y="457"/>
                    <a:pt x="3018" y="462"/>
                    <a:pt x="3019" y="468"/>
                  </a:cubicBezTo>
                  <a:cubicBezTo>
                    <a:pt x="3020" y="473"/>
                    <a:pt x="3026" y="478"/>
                    <a:pt x="3033" y="478"/>
                  </a:cubicBezTo>
                  <a:cubicBezTo>
                    <a:pt x="3040" y="478"/>
                    <a:pt x="3044" y="473"/>
                    <a:pt x="3043" y="468"/>
                  </a:cubicBezTo>
                  <a:cubicBezTo>
                    <a:pt x="3042" y="462"/>
                    <a:pt x="3036" y="457"/>
                    <a:pt x="3029" y="457"/>
                  </a:cubicBezTo>
                  <a:cubicBezTo>
                    <a:pt x="3029" y="457"/>
                    <a:pt x="3029" y="457"/>
                    <a:pt x="3029" y="457"/>
                  </a:cubicBezTo>
                  <a:moveTo>
                    <a:pt x="3064" y="457"/>
                  </a:moveTo>
                  <a:cubicBezTo>
                    <a:pt x="3057" y="457"/>
                    <a:pt x="3053" y="462"/>
                    <a:pt x="3054" y="467"/>
                  </a:cubicBezTo>
                  <a:cubicBezTo>
                    <a:pt x="3055" y="473"/>
                    <a:pt x="3061" y="478"/>
                    <a:pt x="3068" y="478"/>
                  </a:cubicBezTo>
                  <a:cubicBezTo>
                    <a:pt x="3075" y="478"/>
                    <a:pt x="3080" y="473"/>
                    <a:pt x="3078" y="467"/>
                  </a:cubicBezTo>
                  <a:cubicBezTo>
                    <a:pt x="3077" y="462"/>
                    <a:pt x="3071" y="457"/>
                    <a:pt x="3064" y="457"/>
                  </a:cubicBezTo>
                  <a:cubicBezTo>
                    <a:pt x="3064" y="457"/>
                    <a:pt x="3064" y="457"/>
                    <a:pt x="3064" y="457"/>
                  </a:cubicBezTo>
                  <a:moveTo>
                    <a:pt x="3100" y="457"/>
                  </a:moveTo>
                  <a:cubicBezTo>
                    <a:pt x="3093" y="457"/>
                    <a:pt x="3089" y="462"/>
                    <a:pt x="3090" y="467"/>
                  </a:cubicBezTo>
                  <a:cubicBezTo>
                    <a:pt x="3091" y="473"/>
                    <a:pt x="3098" y="477"/>
                    <a:pt x="3105" y="477"/>
                  </a:cubicBezTo>
                  <a:cubicBezTo>
                    <a:pt x="3111" y="477"/>
                    <a:pt x="3116" y="473"/>
                    <a:pt x="3115" y="467"/>
                  </a:cubicBezTo>
                  <a:cubicBezTo>
                    <a:pt x="3113" y="461"/>
                    <a:pt x="3107" y="457"/>
                    <a:pt x="3100" y="457"/>
                  </a:cubicBezTo>
                  <a:cubicBezTo>
                    <a:pt x="3100" y="457"/>
                    <a:pt x="3100" y="457"/>
                    <a:pt x="3100" y="457"/>
                  </a:cubicBezTo>
                  <a:moveTo>
                    <a:pt x="3135" y="457"/>
                  </a:moveTo>
                  <a:cubicBezTo>
                    <a:pt x="3128" y="457"/>
                    <a:pt x="3124" y="461"/>
                    <a:pt x="3125" y="467"/>
                  </a:cubicBezTo>
                  <a:cubicBezTo>
                    <a:pt x="3126" y="473"/>
                    <a:pt x="3133" y="477"/>
                    <a:pt x="3140" y="477"/>
                  </a:cubicBezTo>
                  <a:cubicBezTo>
                    <a:pt x="3146" y="477"/>
                    <a:pt x="3151" y="472"/>
                    <a:pt x="3150" y="467"/>
                  </a:cubicBezTo>
                  <a:cubicBezTo>
                    <a:pt x="3148" y="461"/>
                    <a:pt x="3142" y="457"/>
                    <a:pt x="3135" y="457"/>
                  </a:cubicBezTo>
                  <a:cubicBezTo>
                    <a:pt x="3135" y="457"/>
                    <a:pt x="3135" y="457"/>
                    <a:pt x="3135" y="457"/>
                  </a:cubicBezTo>
                  <a:moveTo>
                    <a:pt x="3170" y="456"/>
                  </a:moveTo>
                  <a:cubicBezTo>
                    <a:pt x="3163" y="456"/>
                    <a:pt x="3159" y="461"/>
                    <a:pt x="3160" y="467"/>
                  </a:cubicBezTo>
                  <a:cubicBezTo>
                    <a:pt x="3162" y="472"/>
                    <a:pt x="3168" y="477"/>
                    <a:pt x="3175" y="477"/>
                  </a:cubicBezTo>
                  <a:cubicBezTo>
                    <a:pt x="3182" y="477"/>
                    <a:pt x="3186" y="472"/>
                    <a:pt x="3185" y="467"/>
                  </a:cubicBezTo>
                  <a:cubicBezTo>
                    <a:pt x="3183" y="461"/>
                    <a:pt x="3177" y="456"/>
                    <a:pt x="3170" y="456"/>
                  </a:cubicBezTo>
                  <a:cubicBezTo>
                    <a:pt x="3170" y="456"/>
                    <a:pt x="3170" y="456"/>
                    <a:pt x="3170" y="456"/>
                  </a:cubicBezTo>
                  <a:moveTo>
                    <a:pt x="3205" y="456"/>
                  </a:moveTo>
                  <a:cubicBezTo>
                    <a:pt x="3199" y="456"/>
                    <a:pt x="3194" y="461"/>
                    <a:pt x="3196" y="467"/>
                  </a:cubicBezTo>
                  <a:cubicBezTo>
                    <a:pt x="3197" y="472"/>
                    <a:pt x="3204" y="477"/>
                    <a:pt x="3211" y="477"/>
                  </a:cubicBezTo>
                  <a:cubicBezTo>
                    <a:pt x="3217" y="477"/>
                    <a:pt x="3222" y="472"/>
                    <a:pt x="3220" y="466"/>
                  </a:cubicBezTo>
                  <a:cubicBezTo>
                    <a:pt x="3219" y="461"/>
                    <a:pt x="3212" y="456"/>
                    <a:pt x="3205" y="456"/>
                  </a:cubicBezTo>
                  <a:cubicBezTo>
                    <a:pt x="3205" y="456"/>
                    <a:pt x="3205" y="456"/>
                    <a:pt x="3205" y="456"/>
                  </a:cubicBezTo>
                  <a:moveTo>
                    <a:pt x="3240" y="456"/>
                  </a:moveTo>
                  <a:cubicBezTo>
                    <a:pt x="3233" y="456"/>
                    <a:pt x="3229" y="461"/>
                    <a:pt x="3231" y="466"/>
                  </a:cubicBezTo>
                  <a:cubicBezTo>
                    <a:pt x="3232" y="472"/>
                    <a:pt x="3239" y="477"/>
                    <a:pt x="3246" y="476"/>
                  </a:cubicBezTo>
                  <a:cubicBezTo>
                    <a:pt x="3252" y="476"/>
                    <a:pt x="3257" y="472"/>
                    <a:pt x="3255" y="466"/>
                  </a:cubicBezTo>
                  <a:cubicBezTo>
                    <a:pt x="3254" y="460"/>
                    <a:pt x="3247" y="456"/>
                    <a:pt x="3240" y="456"/>
                  </a:cubicBezTo>
                  <a:cubicBezTo>
                    <a:pt x="3240" y="456"/>
                    <a:pt x="3240" y="456"/>
                    <a:pt x="3240" y="456"/>
                  </a:cubicBezTo>
                  <a:moveTo>
                    <a:pt x="3275" y="456"/>
                  </a:moveTo>
                  <a:cubicBezTo>
                    <a:pt x="3268" y="456"/>
                    <a:pt x="3264" y="460"/>
                    <a:pt x="3266" y="466"/>
                  </a:cubicBezTo>
                  <a:cubicBezTo>
                    <a:pt x="3267" y="472"/>
                    <a:pt x="3274" y="476"/>
                    <a:pt x="3281" y="476"/>
                  </a:cubicBezTo>
                  <a:cubicBezTo>
                    <a:pt x="3288" y="476"/>
                    <a:pt x="3292" y="472"/>
                    <a:pt x="3290" y="466"/>
                  </a:cubicBezTo>
                  <a:cubicBezTo>
                    <a:pt x="3289" y="460"/>
                    <a:pt x="3282" y="456"/>
                    <a:pt x="3275" y="456"/>
                  </a:cubicBezTo>
                  <a:cubicBezTo>
                    <a:pt x="3275" y="456"/>
                    <a:pt x="3275" y="456"/>
                    <a:pt x="3275" y="456"/>
                  </a:cubicBezTo>
                  <a:moveTo>
                    <a:pt x="3310" y="455"/>
                  </a:moveTo>
                  <a:cubicBezTo>
                    <a:pt x="3303" y="456"/>
                    <a:pt x="3299" y="460"/>
                    <a:pt x="3300" y="466"/>
                  </a:cubicBezTo>
                  <a:cubicBezTo>
                    <a:pt x="3302" y="471"/>
                    <a:pt x="3309" y="476"/>
                    <a:pt x="3316" y="476"/>
                  </a:cubicBezTo>
                  <a:cubicBezTo>
                    <a:pt x="3323" y="476"/>
                    <a:pt x="3327" y="471"/>
                    <a:pt x="3325" y="466"/>
                  </a:cubicBezTo>
                  <a:cubicBezTo>
                    <a:pt x="3323" y="460"/>
                    <a:pt x="3317" y="455"/>
                    <a:pt x="3310" y="455"/>
                  </a:cubicBezTo>
                  <a:cubicBezTo>
                    <a:pt x="3310" y="455"/>
                    <a:pt x="3310" y="455"/>
                    <a:pt x="3310" y="455"/>
                  </a:cubicBezTo>
                  <a:moveTo>
                    <a:pt x="3345" y="455"/>
                  </a:moveTo>
                  <a:cubicBezTo>
                    <a:pt x="3338" y="455"/>
                    <a:pt x="3334" y="460"/>
                    <a:pt x="3336" y="466"/>
                  </a:cubicBezTo>
                  <a:cubicBezTo>
                    <a:pt x="3337" y="471"/>
                    <a:pt x="3344" y="476"/>
                    <a:pt x="3351" y="476"/>
                  </a:cubicBezTo>
                  <a:cubicBezTo>
                    <a:pt x="3358" y="476"/>
                    <a:pt x="3362" y="471"/>
                    <a:pt x="3360" y="465"/>
                  </a:cubicBezTo>
                  <a:cubicBezTo>
                    <a:pt x="3358" y="460"/>
                    <a:pt x="3352" y="455"/>
                    <a:pt x="3345" y="455"/>
                  </a:cubicBezTo>
                  <a:cubicBezTo>
                    <a:pt x="3345" y="455"/>
                    <a:pt x="3345" y="455"/>
                    <a:pt x="3345" y="455"/>
                  </a:cubicBezTo>
                  <a:moveTo>
                    <a:pt x="3380" y="455"/>
                  </a:moveTo>
                  <a:cubicBezTo>
                    <a:pt x="3373" y="455"/>
                    <a:pt x="3369" y="460"/>
                    <a:pt x="3371" y="465"/>
                  </a:cubicBezTo>
                  <a:cubicBezTo>
                    <a:pt x="3373" y="471"/>
                    <a:pt x="3380" y="476"/>
                    <a:pt x="3387" y="476"/>
                  </a:cubicBezTo>
                  <a:cubicBezTo>
                    <a:pt x="3394" y="475"/>
                    <a:pt x="3398" y="471"/>
                    <a:pt x="3396" y="465"/>
                  </a:cubicBezTo>
                  <a:cubicBezTo>
                    <a:pt x="3394" y="460"/>
                    <a:pt x="3387" y="455"/>
                    <a:pt x="3380" y="455"/>
                  </a:cubicBezTo>
                  <a:cubicBezTo>
                    <a:pt x="3380" y="455"/>
                    <a:pt x="3380" y="455"/>
                    <a:pt x="3380" y="455"/>
                  </a:cubicBezTo>
                  <a:moveTo>
                    <a:pt x="3415" y="455"/>
                  </a:moveTo>
                  <a:cubicBezTo>
                    <a:pt x="3408" y="455"/>
                    <a:pt x="3404" y="459"/>
                    <a:pt x="3406" y="465"/>
                  </a:cubicBezTo>
                  <a:cubicBezTo>
                    <a:pt x="3408" y="471"/>
                    <a:pt x="3415" y="475"/>
                    <a:pt x="3422" y="475"/>
                  </a:cubicBezTo>
                  <a:cubicBezTo>
                    <a:pt x="3429" y="475"/>
                    <a:pt x="3432" y="471"/>
                    <a:pt x="3431" y="465"/>
                  </a:cubicBezTo>
                  <a:cubicBezTo>
                    <a:pt x="3429" y="459"/>
                    <a:pt x="3422" y="455"/>
                    <a:pt x="3415" y="455"/>
                  </a:cubicBezTo>
                  <a:cubicBezTo>
                    <a:pt x="3415" y="455"/>
                    <a:pt x="3415" y="455"/>
                    <a:pt x="3415" y="455"/>
                  </a:cubicBezTo>
                  <a:moveTo>
                    <a:pt x="3450" y="455"/>
                  </a:moveTo>
                  <a:cubicBezTo>
                    <a:pt x="3443" y="455"/>
                    <a:pt x="3439" y="459"/>
                    <a:pt x="3441" y="465"/>
                  </a:cubicBezTo>
                  <a:cubicBezTo>
                    <a:pt x="3443" y="471"/>
                    <a:pt x="3450" y="475"/>
                    <a:pt x="3457" y="475"/>
                  </a:cubicBezTo>
                  <a:cubicBezTo>
                    <a:pt x="3464" y="475"/>
                    <a:pt x="3468" y="470"/>
                    <a:pt x="3466" y="465"/>
                  </a:cubicBezTo>
                  <a:cubicBezTo>
                    <a:pt x="3464" y="459"/>
                    <a:pt x="3457" y="455"/>
                    <a:pt x="3450" y="455"/>
                  </a:cubicBezTo>
                  <a:cubicBezTo>
                    <a:pt x="3450" y="455"/>
                    <a:pt x="3450" y="455"/>
                    <a:pt x="3450" y="455"/>
                  </a:cubicBezTo>
                  <a:moveTo>
                    <a:pt x="3485" y="454"/>
                  </a:moveTo>
                  <a:cubicBezTo>
                    <a:pt x="3478" y="454"/>
                    <a:pt x="3474" y="459"/>
                    <a:pt x="3476" y="465"/>
                  </a:cubicBezTo>
                  <a:cubicBezTo>
                    <a:pt x="3478" y="470"/>
                    <a:pt x="3485" y="475"/>
                    <a:pt x="3492" y="475"/>
                  </a:cubicBezTo>
                  <a:cubicBezTo>
                    <a:pt x="3499" y="475"/>
                    <a:pt x="3503" y="470"/>
                    <a:pt x="3500" y="464"/>
                  </a:cubicBezTo>
                  <a:cubicBezTo>
                    <a:pt x="3498" y="459"/>
                    <a:pt x="3491" y="454"/>
                    <a:pt x="3485" y="454"/>
                  </a:cubicBezTo>
                  <a:cubicBezTo>
                    <a:pt x="3485" y="454"/>
                    <a:pt x="3485" y="454"/>
                    <a:pt x="3485" y="454"/>
                  </a:cubicBezTo>
                  <a:moveTo>
                    <a:pt x="3520" y="454"/>
                  </a:moveTo>
                  <a:cubicBezTo>
                    <a:pt x="3513" y="454"/>
                    <a:pt x="3509" y="459"/>
                    <a:pt x="3511" y="464"/>
                  </a:cubicBezTo>
                  <a:cubicBezTo>
                    <a:pt x="3513" y="470"/>
                    <a:pt x="3520" y="475"/>
                    <a:pt x="3527" y="475"/>
                  </a:cubicBezTo>
                  <a:cubicBezTo>
                    <a:pt x="3534" y="475"/>
                    <a:pt x="3538" y="470"/>
                    <a:pt x="3536" y="464"/>
                  </a:cubicBezTo>
                  <a:cubicBezTo>
                    <a:pt x="3534" y="459"/>
                    <a:pt x="3526" y="454"/>
                    <a:pt x="3520" y="454"/>
                  </a:cubicBezTo>
                  <a:cubicBezTo>
                    <a:pt x="3520" y="454"/>
                    <a:pt x="3520" y="454"/>
                    <a:pt x="3520" y="454"/>
                  </a:cubicBezTo>
                  <a:moveTo>
                    <a:pt x="3555" y="454"/>
                  </a:moveTo>
                  <a:cubicBezTo>
                    <a:pt x="3548" y="454"/>
                    <a:pt x="3544" y="458"/>
                    <a:pt x="3547" y="464"/>
                  </a:cubicBezTo>
                  <a:cubicBezTo>
                    <a:pt x="3549" y="470"/>
                    <a:pt x="3556" y="474"/>
                    <a:pt x="3563" y="474"/>
                  </a:cubicBezTo>
                  <a:cubicBezTo>
                    <a:pt x="3570" y="474"/>
                    <a:pt x="3573" y="470"/>
                    <a:pt x="3571" y="464"/>
                  </a:cubicBezTo>
                  <a:cubicBezTo>
                    <a:pt x="3569" y="458"/>
                    <a:pt x="3562" y="454"/>
                    <a:pt x="3555" y="454"/>
                  </a:cubicBezTo>
                  <a:cubicBezTo>
                    <a:pt x="3555" y="454"/>
                    <a:pt x="3555" y="454"/>
                    <a:pt x="3555" y="454"/>
                  </a:cubicBezTo>
                  <a:moveTo>
                    <a:pt x="3590" y="453"/>
                  </a:moveTo>
                  <a:cubicBezTo>
                    <a:pt x="3583" y="453"/>
                    <a:pt x="3579" y="458"/>
                    <a:pt x="3581" y="464"/>
                  </a:cubicBezTo>
                  <a:cubicBezTo>
                    <a:pt x="3584" y="469"/>
                    <a:pt x="3591" y="474"/>
                    <a:pt x="3598" y="474"/>
                  </a:cubicBezTo>
                  <a:cubicBezTo>
                    <a:pt x="3605" y="474"/>
                    <a:pt x="3608" y="469"/>
                    <a:pt x="3606" y="463"/>
                  </a:cubicBezTo>
                  <a:cubicBezTo>
                    <a:pt x="3604" y="458"/>
                    <a:pt x="3597" y="453"/>
                    <a:pt x="3590" y="453"/>
                  </a:cubicBezTo>
                  <a:cubicBezTo>
                    <a:pt x="3590" y="453"/>
                    <a:pt x="3590" y="453"/>
                    <a:pt x="3590" y="453"/>
                  </a:cubicBezTo>
                  <a:moveTo>
                    <a:pt x="3624" y="453"/>
                  </a:moveTo>
                  <a:cubicBezTo>
                    <a:pt x="3618" y="453"/>
                    <a:pt x="3614" y="458"/>
                    <a:pt x="3616" y="463"/>
                  </a:cubicBezTo>
                  <a:cubicBezTo>
                    <a:pt x="3619" y="469"/>
                    <a:pt x="3626" y="474"/>
                    <a:pt x="3633" y="474"/>
                  </a:cubicBezTo>
                  <a:cubicBezTo>
                    <a:pt x="3640" y="474"/>
                    <a:pt x="3643" y="469"/>
                    <a:pt x="3641" y="463"/>
                  </a:cubicBezTo>
                  <a:cubicBezTo>
                    <a:pt x="3639" y="458"/>
                    <a:pt x="3631" y="453"/>
                    <a:pt x="3625" y="453"/>
                  </a:cubicBezTo>
                  <a:cubicBezTo>
                    <a:pt x="3624" y="453"/>
                    <a:pt x="3624" y="453"/>
                    <a:pt x="3624" y="453"/>
                  </a:cubicBezTo>
                  <a:moveTo>
                    <a:pt x="3659" y="453"/>
                  </a:moveTo>
                  <a:cubicBezTo>
                    <a:pt x="3653" y="453"/>
                    <a:pt x="3649" y="458"/>
                    <a:pt x="3651" y="463"/>
                  </a:cubicBezTo>
                  <a:cubicBezTo>
                    <a:pt x="3654" y="469"/>
                    <a:pt x="3661" y="473"/>
                    <a:pt x="3668" y="473"/>
                  </a:cubicBezTo>
                  <a:cubicBezTo>
                    <a:pt x="3675" y="473"/>
                    <a:pt x="3678" y="469"/>
                    <a:pt x="3676" y="463"/>
                  </a:cubicBezTo>
                  <a:cubicBezTo>
                    <a:pt x="3674" y="457"/>
                    <a:pt x="3666" y="453"/>
                    <a:pt x="3660" y="453"/>
                  </a:cubicBezTo>
                  <a:cubicBezTo>
                    <a:pt x="3659" y="453"/>
                    <a:pt x="3659" y="453"/>
                    <a:pt x="3659" y="453"/>
                  </a:cubicBezTo>
                  <a:moveTo>
                    <a:pt x="3697" y="453"/>
                  </a:moveTo>
                  <a:cubicBezTo>
                    <a:pt x="3690" y="453"/>
                    <a:pt x="3686" y="457"/>
                    <a:pt x="3689" y="463"/>
                  </a:cubicBezTo>
                  <a:cubicBezTo>
                    <a:pt x="3691" y="469"/>
                    <a:pt x="3699" y="473"/>
                    <a:pt x="3705" y="473"/>
                  </a:cubicBezTo>
                  <a:cubicBezTo>
                    <a:pt x="3712" y="473"/>
                    <a:pt x="3716" y="468"/>
                    <a:pt x="3713" y="463"/>
                  </a:cubicBezTo>
                  <a:cubicBezTo>
                    <a:pt x="3711" y="457"/>
                    <a:pt x="3703" y="453"/>
                    <a:pt x="3697" y="453"/>
                  </a:cubicBezTo>
                  <a:cubicBezTo>
                    <a:pt x="3697" y="453"/>
                    <a:pt x="3697" y="453"/>
                    <a:pt x="3697" y="453"/>
                  </a:cubicBezTo>
                  <a:moveTo>
                    <a:pt x="3731" y="452"/>
                  </a:moveTo>
                  <a:cubicBezTo>
                    <a:pt x="3724" y="452"/>
                    <a:pt x="3721" y="457"/>
                    <a:pt x="3723" y="463"/>
                  </a:cubicBezTo>
                  <a:cubicBezTo>
                    <a:pt x="3726" y="468"/>
                    <a:pt x="3733" y="473"/>
                    <a:pt x="3740" y="473"/>
                  </a:cubicBezTo>
                  <a:cubicBezTo>
                    <a:pt x="3747" y="473"/>
                    <a:pt x="3750" y="468"/>
                    <a:pt x="3748" y="463"/>
                  </a:cubicBezTo>
                  <a:cubicBezTo>
                    <a:pt x="3745" y="457"/>
                    <a:pt x="3738" y="452"/>
                    <a:pt x="3731" y="452"/>
                  </a:cubicBezTo>
                  <a:cubicBezTo>
                    <a:pt x="3731" y="452"/>
                    <a:pt x="3731" y="452"/>
                    <a:pt x="3731" y="452"/>
                  </a:cubicBezTo>
                  <a:moveTo>
                    <a:pt x="3766" y="452"/>
                  </a:moveTo>
                  <a:cubicBezTo>
                    <a:pt x="3759" y="452"/>
                    <a:pt x="3756" y="457"/>
                    <a:pt x="3758" y="462"/>
                  </a:cubicBezTo>
                  <a:cubicBezTo>
                    <a:pt x="3761" y="468"/>
                    <a:pt x="3768" y="473"/>
                    <a:pt x="3775" y="473"/>
                  </a:cubicBezTo>
                  <a:cubicBezTo>
                    <a:pt x="3782" y="473"/>
                    <a:pt x="3785" y="468"/>
                    <a:pt x="3783" y="462"/>
                  </a:cubicBezTo>
                  <a:cubicBezTo>
                    <a:pt x="3780" y="457"/>
                    <a:pt x="3772" y="452"/>
                    <a:pt x="3766" y="452"/>
                  </a:cubicBezTo>
                  <a:cubicBezTo>
                    <a:pt x="3766" y="452"/>
                    <a:pt x="3766" y="452"/>
                    <a:pt x="3766" y="452"/>
                  </a:cubicBezTo>
                  <a:moveTo>
                    <a:pt x="3801" y="452"/>
                  </a:moveTo>
                  <a:cubicBezTo>
                    <a:pt x="3794" y="452"/>
                    <a:pt x="3791" y="457"/>
                    <a:pt x="3793" y="462"/>
                  </a:cubicBezTo>
                  <a:cubicBezTo>
                    <a:pt x="3796" y="468"/>
                    <a:pt x="3804" y="472"/>
                    <a:pt x="3810" y="472"/>
                  </a:cubicBezTo>
                  <a:cubicBezTo>
                    <a:pt x="3817" y="472"/>
                    <a:pt x="3820" y="468"/>
                    <a:pt x="3818" y="462"/>
                  </a:cubicBezTo>
                  <a:cubicBezTo>
                    <a:pt x="3815" y="456"/>
                    <a:pt x="3807" y="452"/>
                    <a:pt x="3801" y="452"/>
                  </a:cubicBezTo>
                  <a:cubicBezTo>
                    <a:pt x="3801" y="452"/>
                    <a:pt x="3801" y="452"/>
                    <a:pt x="3801" y="452"/>
                  </a:cubicBezTo>
                  <a:moveTo>
                    <a:pt x="3836" y="452"/>
                  </a:moveTo>
                  <a:cubicBezTo>
                    <a:pt x="3829" y="452"/>
                    <a:pt x="3826" y="456"/>
                    <a:pt x="3829" y="462"/>
                  </a:cubicBezTo>
                  <a:cubicBezTo>
                    <a:pt x="3831" y="468"/>
                    <a:pt x="3839" y="472"/>
                    <a:pt x="3846" y="472"/>
                  </a:cubicBezTo>
                  <a:cubicBezTo>
                    <a:pt x="3853" y="472"/>
                    <a:pt x="3856" y="467"/>
                    <a:pt x="3853" y="462"/>
                  </a:cubicBezTo>
                  <a:cubicBezTo>
                    <a:pt x="3850" y="456"/>
                    <a:pt x="3843" y="452"/>
                    <a:pt x="3836" y="452"/>
                  </a:cubicBezTo>
                  <a:cubicBezTo>
                    <a:pt x="3836" y="452"/>
                    <a:pt x="3836" y="452"/>
                    <a:pt x="3836" y="452"/>
                  </a:cubicBezTo>
                  <a:moveTo>
                    <a:pt x="3871" y="451"/>
                  </a:moveTo>
                  <a:cubicBezTo>
                    <a:pt x="3864" y="451"/>
                    <a:pt x="3861" y="456"/>
                    <a:pt x="3863" y="462"/>
                  </a:cubicBezTo>
                  <a:cubicBezTo>
                    <a:pt x="3866" y="467"/>
                    <a:pt x="3874" y="472"/>
                    <a:pt x="3881" y="472"/>
                  </a:cubicBezTo>
                  <a:cubicBezTo>
                    <a:pt x="3888" y="472"/>
                    <a:pt x="3891" y="467"/>
                    <a:pt x="3888" y="462"/>
                  </a:cubicBezTo>
                  <a:cubicBezTo>
                    <a:pt x="3885" y="456"/>
                    <a:pt x="3877" y="451"/>
                    <a:pt x="3871" y="451"/>
                  </a:cubicBezTo>
                  <a:cubicBezTo>
                    <a:pt x="3871" y="451"/>
                    <a:pt x="3871" y="451"/>
                    <a:pt x="3871" y="451"/>
                  </a:cubicBezTo>
                  <a:moveTo>
                    <a:pt x="3906" y="451"/>
                  </a:moveTo>
                  <a:cubicBezTo>
                    <a:pt x="3899" y="451"/>
                    <a:pt x="3896" y="456"/>
                    <a:pt x="3899" y="462"/>
                  </a:cubicBezTo>
                  <a:cubicBezTo>
                    <a:pt x="3901" y="467"/>
                    <a:pt x="3909" y="472"/>
                    <a:pt x="3916" y="472"/>
                  </a:cubicBezTo>
                  <a:cubicBezTo>
                    <a:pt x="3923" y="472"/>
                    <a:pt x="3926" y="467"/>
                    <a:pt x="3923" y="461"/>
                  </a:cubicBezTo>
                  <a:cubicBezTo>
                    <a:pt x="3920" y="456"/>
                    <a:pt x="3912" y="451"/>
                    <a:pt x="3906" y="451"/>
                  </a:cubicBezTo>
                  <a:cubicBezTo>
                    <a:pt x="3906" y="451"/>
                    <a:pt x="3906" y="451"/>
                    <a:pt x="3906" y="451"/>
                  </a:cubicBezTo>
                  <a:moveTo>
                    <a:pt x="3940" y="451"/>
                  </a:moveTo>
                  <a:cubicBezTo>
                    <a:pt x="3933" y="451"/>
                    <a:pt x="3930" y="456"/>
                    <a:pt x="3933" y="461"/>
                  </a:cubicBezTo>
                  <a:cubicBezTo>
                    <a:pt x="3936" y="467"/>
                    <a:pt x="3944" y="472"/>
                    <a:pt x="3951" y="471"/>
                  </a:cubicBezTo>
                  <a:cubicBezTo>
                    <a:pt x="3958" y="471"/>
                    <a:pt x="3961" y="467"/>
                    <a:pt x="3958" y="461"/>
                  </a:cubicBezTo>
                  <a:cubicBezTo>
                    <a:pt x="3955" y="455"/>
                    <a:pt x="3947" y="451"/>
                    <a:pt x="3940" y="451"/>
                  </a:cubicBezTo>
                  <a:cubicBezTo>
                    <a:pt x="3940" y="451"/>
                    <a:pt x="3940" y="451"/>
                    <a:pt x="3940" y="451"/>
                  </a:cubicBezTo>
                  <a:moveTo>
                    <a:pt x="3975" y="451"/>
                  </a:moveTo>
                  <a:cubicBezTo>
                    <a:pt x="3968" y="451"/>
                    <a:pt x="3965" y="455"/>
                    <a:pt x="3968" y="461"/>
                  </a:cubicBezTo>
                  <a:cubicBezTo>
                    <a:pt x="3971" y="467"/>
                    <a:pt x="3979" y="471"/>
                    <a:pt x="3986" y="471"/>
                  </a:cubicBezTo>
                  <a:cubicBezTo>
                    <a:pt x="3993" y="471"/>
                    <a:pt x="3996" y="467"/>
                    <a:pt x="3993" y="461"/>
                  </a:cubicBezTo>
                  <a:cubicBezTo>
                    <a:pt x="3990" y="455"/>
                    <a:pt x="3982" y="451"/>
                    <a:pt x="3975" y="451"/>
                  </a:cubicBezTo>
                  <a:cubicBezTo>
                    <a:pt x="3975" y="451"/>
                    <a:pt x="3975" y="451"/>
                    <a:pt x="3975" y="451"/>
                  </a:cubicBezTo>
                  <a:moveTo>
                    <a:pt x="4009" y="450"/>
                  </a:moveTo>
                  <a:cubicBezTo>
                    <a:pt x="4002" y="450"/>
                    <a:pt x="3999" y="455"/>
                    <a:pt x="4003" y="461"/>
                  </a:cubicBezTo>
                  <a:cubicBezTo>
                    <a:pt x="4006" y="466"/>
                    <a:pt x="4014" y="471"/>
                    <a:pt x="4020" y="471"/>
                  </a:cubicBezTo>
                  <a:cubicBezTo>
                    <a:pt x="4027" y="471"/>
                    <a:pt x="4030" y="466"/>
                    <a:pt x="4027" y="461"/>
                  </a:cubicBezTo>
                  <a:cubicBezTo>
                    <a:pt x="4024" y="455"/>
                    <a:pt x="4016" y="450"/>
                    <a:pt x="4009" y="450"/>
                  </a:cubicBezTo>
                  <a:cubicBezTo>
                    <a:pt x="4009" y="450"/>
                    <a:pt x="4009" y="450"/>
                    <a:pt x="4009" y="450"/>
                  </a:cubicBezTo>
                  <a:moveTo>
                    <a:pt x="316" y="449"/>
                  </a:moveTo>
                  <a:cubicBezTo>
                    <a:pt x="309" y="449"/>
                    <a:pt x="300" y="453"/>
                    <a:pt x="295" y="459"/>
                  </a:cubicBezTo>
                  <a:cubicBezTo>
                    <a:pt x="291" y="465"/>
                    <a:pt x="293" y="469"/>
                    <a:pt x="300" y="469"/>
                  </a:cubicBezTo>
                  <a:cubicBezTo>
                    <a:pt x="306" y="469"/>
                    <a:pt x="315" y="464"/>
                    <a:pt x="320" y="459"/>
                  </a:cubicBezTo>
                  <a:cubicBezTo>
                    <a:pt x="324" y="453"/>
                    <a:pt x="322" y="449"/>
                    <a:pt x="316" y="449"/>
                  </a:cubicBezTo>
                  <a:cubicBezTo>
                    <a:pt x="316" y="449"/>
                    <a:pt x="316" y="449"/>
                    <a:pt x="316" y="449"/>
                  </a:cubicBezTo>
                  <a:moveTo>
                    <a:pt x="350" y="448"/>
                  </a:moveTo>
                  <a:cubicBezTo>
                    <a:pt x="344" y="449"/>
                    <a:pt x="335" y="453"/>
                    <a:pt x="330" y="459"/>
                  </a:cubicBezTo>
                  <a:cubicBezTo>
                    <a:pt x="326" y="464"/>
                    <a:pt x="328" y="469"/>
                    <a:pt x="334" y="469"/>
                  </a:cubicBezTo>
                  <a:cubicBezTo>
                    <a:pt x="341" y="469"/>
                    <a:pt x="350" y="464"/>
                    <a:pt x="355" y="459"/>
                  </a:cubicBezTo>
                  <a:cubicBezTo>
                    <a:pt x="359" y="453"/>
                    <a:pt x="357" y="448"/>
                    <a:pt x="350" y="448"/>
                  </a:cubicBezTo>
                  <a:cubicBezTo>
                    <a:pt x="350" y="448"/>
                    <a:pt x="350" y="448"/>
                    <a:pt x="350" y="448"/>
                  </a:cubicBezTo>
                  <a:moveTo>
                    <a:pt x="385" y="448"/>
                  </a:moveTo>
                  <a:cubicBezTo>
                    <a:pt x="378" y="448"/>
                    <a:pt x="370" y="453"/>
                    <a:pt x="365" y="458"/>
                  </a:cubicBezTo>
                  <a:cubicBezTo>
                    <a:pt x="361" y="464"/>
                    <a:pt x="363" y="469"/>
                    <a:pt x="370" y="468"/>
                  </a:cubicBezTo>
                  <a:cubicBezTo>
                    <a:pt x="376" y="468"/>
                    <a:pt x="385" y="464"/>
                    <a:pt x="390" y="458"/>
                  </a:cubicBezTo>
                  <a:cubicBezTo>
                    <a:pt x="394" y="453"/>
                    <a:pt x="392" y="448"/>
                    <a:pt x="385" y="448"/>
                  </a:cubicBezTo>
                  <a:cubicBezTo>
                    <a:pt x="385" y="448"/>
                    <a:pt x="385" y="448"/>
                    <a:pt x="385" y="448"/>
                  </a:cubicBezTo>
                  <a:moveTo>
                    <a:pt x="420" y="448"/>
                  </a:moveTo>
                  <a:cubicBezTo>
                    <a:pt x="413" y="448"/>
                    <a:pt x="404" y="453"/>
                    <a:pt x="400" y="458"/>
                  </a:cubicBezTo>
                  <a:cubicBezTo>
                    <a:pt x="396" y="464"/>
                    <a:pt x="398" y="468"/>
                    <a:pt x="404" y="468"/>
                  </a:cubicBezTo>
                  <a:cubicBezTo>
                    <a:pt x="411" y="468"/>
                    <a:pt x="420" y="464"/>
                    <a:pt x="424" y="458"/>
                  </a:cubicBezTo>
                  <a:cubicBezTo>
                    <a:pt x="429" y="452"/>
                    <a:pt x="427" y="448"/>
                    <a:pt x="420" y="448"/>
                  </a:cubicBezTo>
                  <a:cubicBezTo>
                    <a:pt x="420" y="448"/>
                    <a:pt x="420" y="448"/>
                    <a:pt x="420" y="448"/>
                  </a:cubicBezTo>
                  <a:moveTo>
                    <a:pt x="455" y="448"/>
                  </a:moveTo>
                  <a:cubicBezTo>
                    <a:pt x="448" y="448"/>
                    <a:pt x="439" y="452"/>
                    <a:pt x="435" y="458"/>
                  </a:cubicBezTo>
                  <a:cubicBezTo>
                    <a:pt x="431" y="464"/>
                    <a:pt x="433" y="468"/>
                    <a:pt x="440" y="468"/>
                  </a:cubicBezTo>
                  <a:cubicBezTo>
                    <a:pt x="446" y="468"/>
                    <a:pt x="455" y="463"/>
                    <a:pt x="459" y="458"/>
                  </a:cubicBezTo>
                  <a:cubicBezTo>
                    <a:pt x="464" y="452"/>
                    <a:pt x="462" y="448"/>
                    <a:pt x="455" y="448"/>
                  </a:cubicBezTo>
                  <a:cubicBezTo>
                    <a:pt x="455" y="448"/>
                    <a:pt x="455" y="448"/>
                    <a:pt x="455" y="448"/>
                  </a:cubicBezTo>
                  <a:moveTo>
                    <a:pt x="491" y="447"/>
                  </a:moveTo>
                  <a:cubicBezTo>
                    <a:pt x="484" y="448"/>
                    <a:pt x="475" y="452"/>
                    <a:pt x="471" y="458"/>
                  </a:cubicBezTo>
                  <a:cubicBezTo>
                    <a:pt x="467" y="463"/>
                    <a:pt x="469" y="468"/>
                    <a:pt x="476" y="468"/>
                  </a:cubicBezTo>
                  <a:cubicBezTo>
                    <a:pt x="483" y="468"/>
                    <a:pt x="491" y="463"/>
                    <a:pt x="496" y="458"/>
                  </a:cubicBezTo>
                  <a:cubicBezTo>
                    <a:pt x="500" y="452"/>
                    <a:pt x="498" y="447"/>
                    <a:pt x="491" y="447"/>
                  </a:cubicBezTo>
                  <a:cubicBezTo>
                    <a:pt x="491" y="447"/>
                    <a:pt x="491" y="447"/>
                    <a:pt x="491" y="447"/>
                  </a:cubicBezTo>
                  <a:moveTo>
                    <a:pt x="525" y="447"/>
                  </a:moveTo>
                  <a:cubicBezTo>
                    <a:pt x="519" y="447"/>
                    <a:pt x="510" y="452"/>
                    <a:pt x="506" y="457"/>
                  </a:cubicBezTo>
                  <a:cubicBezTo>
                    <a:pt x="502" y="463"/>
                    <a:pt x="504" y="468"/>
                    <a:pt x="511" y="468"/>
                  </a:cubicBezTo>
                  <a:cubicBezTo>
                    <a:pt x="518" y="467"/>
                    <a:pt x="526" y="463"/>
                    <a:pt x="530" y="457"/>
                  </a:cubicBezTo>
                  <a:cubicBezTo>
                    <a:pt x="534" y="452"/>
                    <a:pt x="532" y="447"/>
                    <a:pt x="526" y="447"/>
                  </a:cubicBezTo>
                  <a:cubicBezTo>
                    <a:pt x="525" y="447"/>
                    <a:pt x="525" y="447"/>
                    <a:pt x="525" y="447"/>
                  </a:cubicBezTo>
                  <a:moveTo>
                    <a:pt x="560" y="447"/>
                  </a:moveTo>
                  <a:cubicBezTo>
                    <a:pt x="554" y="447"/>
                    <a:pt x="545" y="452"/>
                    <a:pt x="541" y="457"/>
                  </a:cubicBezTo>
                  <a:cubicBezTo>
                    <a:pt x="537" y="463"/>
                    <a:pt x="539" y="467"/>
                    <a:pt x="546" y="467"/>
                  </a:cubicBezTo>
                  <a:cubicBezTo>
                    <a:pt x="553" y="467"/>
                    <a:pt x="561" y="463"/>
                    <a:pt x="565" y="457"/>
                  </a:cubicBezTo>
                  <a:cubicBezTo>
                    <a:pt x="569" y="451"/>
                    <a:pt x="567" y="447"/>
                    <a:pt x="560" y="447"/>
                  </a:cubicBezTo>
                  <a:cubicBezTo>
                    <a:pt x="560" y="447"/>
                    <a:pt x="560" y="447"/>
                    <a:pt x="560" y="447"/>
                  </a:cubicBezTo>
                  <a:moveTo>
                    <a:pt x="596" y="447"/>
                  </a:moveTo>
                  <a:cubicBezTo>
                    <a:pt x="589" y="447"/>
                    <a:pt x="580" y="451"/>
                    <a:pt x="576" y="457"/>
                  </a:cubicBezTo>
                  <a:cubicBezTo>
                    <a:pt x="572" y="463"/>
                    <a:pt x="575" y="467"/>
                    <a:pt x="581" y="467"/>
                  </a:cubicBezTo>
                  <a:cubicBezTo>
                    <a:pt x="588" y="467"/>
                    <a:pt x="597" y="462"/>
                    <a:pt x="601" y="457"/>
                  </a:cubicBezTo>
                  <a:cubicBezTo>
                    <a:pt x="605" y="451"/>
                    <a:pt x="602" y="447"/>
                    <a:pt x="596" y="447"/>
                  </a:cubicBezTo>
                  <a:cubicBezTo>
                    <a:pt x="596" y="447"/>
                    <a:pt x="596" y="447"/>
                    <a:pt x="596" y="447"/>
                  </a:cubicBezTo>
                  <a:moveTo>
                    <a:pt x="630" y="447"/>
                  </a:moveTo>
                  <a:cubicBezTo>
                    <a:pt x="623" y="447"/>
                    <a:pt x="615" y="451"/>
                    <a:pt x="611" y="457"/>
                  </a:cubicBezTo>
                  <a:cubicBezTo>
                    <a:pt x="607" y="462"/>
                    <a:pt x="610" y="467"/>
                    <a:pt x="616" y="467"/>
                  </a:cubicBezTo>
                  <a:cubicBezTo>
                    <a:pt x="623" y="467"/>
                    <a:pt x="632" y="462"/>
                    <a:pt x="635" y="457"/>
                  </a:cubicBezTo>
                  <a:cubicBezTo>
                    <a:pt x="639" y="451"/>
                    <a:pt x="637" y="447"/>
                    <a:pt x="630" y="447"/>
                  </a:cubicBezTo>
                  <a:cubicBezTo>
                    <a:pt x="630" y="447"/>
                    <a:pt x="630" y="447"/>
                    <a:pt x="630" y="447"/>
                  </a:cubicBezTo>
                  <a:moveTo>
                    <a:pt x="665" y="446"/>
                  </a:moveTo>
                  <a:cubicBezTo>
                    <a:pt x="658" y="446"/>
                    <a:pt x="650" y="451"/>
                    <a:pt x="646" y="456"/>
                  </a:cubicBezTo>
                  <a:cubicBezTo>
                    <a:pt x="642" y="462"/>
                    <a:pt x="645" y="467"/>
                    <a:pt x="651" y="467"/>
                  </a:cubicBezTo>
                  <a:cubicBezTo>
                    <a:pt x="658" y="466"/>
                    <a:pt x="667" y="462"/>
                    <a:pt x="670" y="456"/>
                  </a:cubicBezTo>
                  <a:cubicBezTo>
                    <a:pt x="674" y="451"/>
                    <a:pt x="672" y="446"/>
                    <a:pt x="665" y="446"/>
                  </a:cubicBezTo>
                  <a:cubicBezTo>
                    <a:pt x="665" y="446"/>
                    <a:pt x="665" y="446"/>
                    <a:pt x="665" y="446"/>
                  </a:cubicBezTo>
                  <a:moveTo>
                    <a:pt x="700" y="446"/>
                  </a:moveTo>
                  <a:cubicBezTo>
                    <a:pt x="693" y="446"/>
                    <a:pt x="684" y="451"/>
                    <a:pt x="681" y="456"/>
                  </a:cubicBezTo>
                  <a:cubicBezTo>
                    <a:pt x="677" y="462"/>
                    <a:pt x="679" y="466"/>
                    <a:pt x="686" y="466"/>
                  </a:cubicBezTo>
                  <a:cubicBezTo>
                    <a:pt x="693" y="466"/>
                    <a:pt x="702" y="462"/>
                    <a:pt x="705" y="456"/>
                  </a:cubicBezTo>
                  <a:cubicBezTo>
                    <a:pt x="709" y="451"/>
                    <a:pt x="706" y="446"/>
                    <a:pt x="700" y="446"/>
                  </a:cubicBezTo>
                  <a:cubicBezTo>
                    <a:pt x="700" y="446"/>
                    <a:pt x="700" y="446"/>
                    <a:pt x="700" y="446"/>
                  </a:cubicBezTo>
                  <a:moveTo>
                    <a:pt x="735" y="446"/>
                  </a:moveTo>
                  <a:cubicBezTo>
                    <a:pt x="728" y="446"/>
                    <a:pt x="719" y="450"/>
                    <a:pt x="716" y="456"/>
                  </a:cubicBezTo>
                  <a:cubicBezTo>
                    <a:pt x="712" y="462"/>
                    <a:pt x="715" y="466"/>
                    <a:pt x="721" y="466"/>
                  </a:cubicBezTo>
                  <a:cubicBezTo>
                    <a:pt x="728" y="466"/>
                    <a:pt x="737" y="461"/>
                    <a:pt x="740" y="456"/>
                  </a:cubicBezTo>
                  <a:cubicBezTo>
                    <a:pt x="744" y="450"/>
                    <a:pt x="741" y="446"/>
                    <a:pt x="735" y="446"/>
                  </a:cubicBezTo>
                  <a:cubicBezTo>
                    <a:pt x="735" y="446"/>
                    <a:pt x="735" y="446"/>
                    <a:pt x="735" y="446"/>
                  </a:cubicBezTo>
                  <a:moveTo>
                    <a:pt x="770" y="446"/>
                  </a:moveTo>
                  <a:cubicBezTo>
                    <a:pt x="763" y="446"/>
                    <a:pt x="755" y="450"/>
                    <a:pt x="751" y="456"/>
                  </a:cubicBezTo>
                  <a:cubicBezTo>
                    <a:pt x="748" y="461"/>
                    <a:pt x="750" y="466"/>
                    <a:pt x="757" y="466"/>
                  </a:cubicBezTo>
                  <a:cubicBezTo>
                    <a:pt x="764" y="466"/>
                    <a:pt x="772" y="461"/>
                    <a:pt x="776" y="456"/>
                  </a:cubicBezTo>
                  <a:cubicBezTo>
                    <a:pt x="779" y="450"/>
                    <a:pt x="777" y="446"/>
                    <a:pt x="770" y="446"/>
                  </a:cubicBezTo>
                  <a:cubicBezTo>
                    <a:pt x="770" y="446"/>
                    <a:pt x="770" y="446"/>
                    <a:pt x="770" y="446"/>
                  </a:cubicBezTo>
                  <a:moveTo>
                    <a:pt x="804" y="445"/>
                  </a:moveTo>
                  <a:cubicBezTo>
                    <a:pt x="798" y="445"/>
                    <a:pt x="789" y="450"/>
                    <a:pt x="786" y="456"/>
                  </a:cubicBezTo>
                  <a:cubicBezTo>
                    <a:pt x="782" y="461"/>
                    <a:pt x="785" y="466"/>
                    <a:pt x="792" y="466"/>
                  </a:cubicBezTo>
                  <a:cubicBezTo>
                    <a:pt x="799" y="466"/>
                    <a:pt x="807" y="461"/>
                    <a:pt x="810" y="455"/>
                  </a:cubicBezTo>
                  <a:cubicBezTo>
                    <a:pt x="814" y="450"/>
                    <a:pt x="811" y="445"/>
                    <a:pt x="804" y="445"/>
                  </a:cubicBezTo>
                  <a:cubicBezTo>
                    <a:pt x="804" y="445"/>
                    <a:pt x="804" y="445"/>
                    <a:pt x="804" y="445"/>
                  </a:cubicBezTo>
                  <a:moveTo>
                    <a:pt x="837" y="445"/>
                  </a:moveTo>
                  <a:cubicBezTo>
                    <a:pt x="831" y="445"/>
                    <a:pt x="822" y="450"/>
                    <a:pt x="819" y="455"/>
                  </a:cubicBezTo>
                  <a:cubicBezTo>
                    <a:pt x="816" y="461"/>
                    <a:pt x="818" y="465"/>
                    <a:pt x="825" y="465"/>
                  </a:cubicBezTo>
                  <a:cubicBezTo>
                    <a:pt x="832" y="465"/>
                    <a:pt x="840" y="461"/>
                    <a:pt x="843" y="455"/>
                  </a:cubicBezTo>
                  <a:cubicBezTo>
                    <a:pt x="847" y="450"/>
                    <a:pt x="844" y="445"/>
                    <a:pt x="837" y="445"/>
                  </a:cubicBezTo>
                  <a:cubicBezTo>
                    <a:pt x="837" y="445"/>
                    <a:pt x="837" y="445"/>
                    <a:pt x="837" y="445"/>
                  </a:cubicBezTo>
                  <a:moveTo>
                    <a:pt x="873" y="445"/>
                  </a:moveTo>
                  <a:cubicBezTo>
                    <a:pt x="866" y="445"/>
                    <a:pt x="858" y="449"/>
                    <a:pt x="854" y="455"/>
                  </a:cubicBezTo>
                  <a:cubicBezTo>
                    <a:pt x="851" y="461"/>
                    <a:pt x="854" y="465"/>
                    <a:pt x="860" y="465"/>
                  </a:cubicBezTo>
                  <a:cubicBezTo>
                    <a:pt x="867" y="465"/>
                    <a:pt x="875" y="460"/>
                    <a:pt x="879" y="455"/>
                  </a:cubicBezTo>
                  <a:cubicBezTo>
                    <a:pt x="882" y="449"/>
                    <a:pt x="879" y="445"/>
                    <a:pt x="873" y="445"/>
                  </a:cubicBezTo>
                  <a:cubicBezTo>
                    <a:pt x="873" y="445"/>
                    <a:pt x="873" y="445"/>
                    <a:pt x="873" y="445"/>
                  </a:cubicBezTo>
                  <a:moveTo>
                    <a:pt x="907" y="445"/>
                  </a:moveTo>
                  <a:cubicBezTo>
                    <a:pt x="900" y="445"/>
                    <a:pt x="892" y="449"/>
                    <a:pt x="889" y="455"/>
                  </a:cubicBezTo>
                  <a:cubicBezTo>
                    <a:pt x="886" y="460"/>
                    <a:pt x="889" y="465"/>
                    <a:pt x="895" y="465"/>
                  </a:cubicBezTo>
                  <a:cubicBezTo>
                    <a:pt x="902" y="465"/>
                    <a:pt x="910" y="460"/>
                    <a:pt x="913" y="455"/>
                  </a:cubicBezTo>
                  <a:cubicBezTo>
                    <a:pt x="917" y="449"/>
                    <a:pt x="914" y="445"/>
                    <a:pt x="907" y="445"/>
                  </a:cubicBezTo>
                  <a:cubicBezTo>
                    <a:pt x="907" y="445"/>
                    <a:pt x="907" y="445"/>
                    <a:pt x="907" y="445"/>
                  </a:cubicBezTo>
                  <a:moveTo>
                    <a:pt x="942" y="444"/>
                  </a:moveTo>
                  <a:cubicBezTo>
                    <a:pt x="935" y="444"/>
                    <a:pt x="927" y="449"/>
                    <a:pt x="924" y="455"/>
                  </a:cubicBezTo>
                  <a:cubicBezTo>
                    <a:pt x="921" y="460"/>
                    <a:pt x="924" y="465"/>
                    <a:pt x="930" y="465"/>
                  </a:cubicBezTo>
                  <a:cubicBezTo>
                    <a:pt x="937" y="465"/>
                    <a:pt x="945" y="460"/>
                    <a:pt x="948" y="454"/>
                  </a:cubicBezTo>
                  <a:cubicBezTo>
                    <a:pt x="952" y="449"/>
                    <a:pt x="949" y="444"/>
                    <a:pt x="942" y="444"/>
                  </a:cubicBezTo>
                  <a:cubicBezTo>
                    <a:pt x="942" y="444"/>
                    <a:pt x="942" y="444"/>
                    <a:pt x="942" y="444"/>
                  </a:cubicBezTo>
                  <a:moveTo>
                    <a:pt x="977" y="444"/>
                  </a:moveTo>
                  <a:cubicBezTo>
                    <a:pt x="970" y="444"/>
                    <a:pt x="962" y="449"/>
                    <a:pt x="959" y="454"/>
                  </a:cubicBezTo>
                  <a:cubicBezTo>
                    <a:pt x="956" y="460"/>
                    <a:pt x="958" y="464"/>
                    <a:pt x="965" y="464"/>
                  </a:cubicBezTo>
                  <a:cubicBezTo>
                    <a:pt x="972" y="464"/>
                    <a:pt x="980" y="460"/>
                    <a:pt x="983" y="454"/>
                  </a:cubicBezTo>
                  <a:cubicBezTo>
                    <a:pt x="986" y="449"/>
                    <a:pt x="983" y="444"/>
                    <a:pt x="977" y="444"/>
                  </a:cubicBezTo>
                  <a:cubicBezTo>
                    <a:pt x="977" y="444"/>
                    <a:pt x="977" y="444"/>
                    <a:pt x="977" y="444"/>
                  </a:cubicBezTo>
                  <a:moveTo>
                    <a:pt x="1011" y="444"/>
                  </a:moveTo>
                  <a:cubicBezTo>
                    <a:pt x="1005" y="444"/>
                    <a:pt x="997" y="448"/>
                    <a:pt x="994" y="454"/>
                  </a:cubicBezTo>
                  <a:cubicBezTo>
                    <a:pt x="991" y="460"/>
                    <a:pt x="994" y="464"/>
                    <a:pt x="1000" y="464"/>
                  </a:cubicBezTo>
                  <a:cubicBezTo>
                    <a:pt x="1007" y="464"/>
                    <a:pt x="1015" y="460"/>
                    <a:pt x="1018" y="454"/>
                  </a:cubicBezTo>
                  <a:cubicBezTo>
                    <a:pt x="1021" y="448"/>
                    <a:pt x="1018" y="444"/>
                    <a:pt x="1012" y="444"/>
                  </a:cubicBezTo>
                  <a:cubicBezTo>
                    <a:pt x="1012" y="444"/>
                    <a:pt x="1011" y="444"/>
                    <a:pt x="1011" y="444"/>
                  </a:cubicBezTo>
                  <a:moveTo>
                    <a:pt x="1047" y="444"/>
                  </a:moveTo>
                  <a:cubicBezTo>
                    <a:pt x="1040" y="444"/>
                    <a:pt x="1032" y="448"/>
                    <a:pt x="1029" y="454"/>
                  </a:cubicBezTo>
                  <a:cubicBezTo>
                    <a:pt x="1026" y="459"/>
                    <a:pt x="1029" y="464"/>
                    <a:pt x="1036" y="464"/>
                  </a:cubicBezTo>
                  <a:cubicBezTo>
                    <a:pt x="1043" y="464"/>
                    <a:pt x="1051" y="459"/>
                    <a:pt x="1053" y="454"/>
                  </a:cubicBezTo>
                  <a:cubicBezTo>
                    <a:pt x="1056" y="448"/>
                    <a:pt x="1053" y="444"/>
                    <a:pt x="1047" y="444"/>
                  </a:cubicBezTo>
                  <a:cubicBezTo>
                    <a:pt x="1047" y="444"/>
                    <a:pt x="1047" y="444"/>
                    <a:pt x="1047" y="444"/>
                  </a:cubicBezTo>
                  <a:moveTo>
                    <a:pt x="1081" y="443"/>
                  </a:moveTo>
                  <a:cubicBezTo>
                    <a:pt x="1074" y="443"/>
                    <a:pt x="1067" y="448"/>
                    <a:pt x="1064" y="454"/>
                  </a:cubicBezTo>
                  <a:cubicBezTo>
                    <a:pt x="1061" y="459"/>
                    <a:pt x="1064" y="464"/>
                    <a:pt x="1071" y="464"/>
                  </a:cubicBezTo>
                  <a:cubicBezTo>
                    <a:pt x="1077" y="464"/>
                    <a:pt x="1085" y="459"/>
                    <a:pt x="1088" y="453"/>
                  </a:cubicBezTo>
                  <a:cubicBezTo>
                    <a:pt x="1091" y="448"/>
                    <a:pt x="1088" y="443"/>
                    <a:pt x="1081" y="443"/>
                  </a:cubicBezTo>
                  <a:cubicBezTo>
                    <a:pt x="1081" y="443"/>
                    <a:pt x="1081" y="443"/>
                    <a:pt x="1081" y="443"/>
                  </a:cubicBezTo>
                  <a:moveTo>
                    <a:pt x="1115" y="443"/>
                  </a:moveTo>
                  <a:cubicBezTo>
                    <a:pt x="1109" y="443"/>
                    <a:pt x="1101" y="448"/>
                    <a:pt x="1098" y="453"/>
                  </a:cubicBezTo>
                  <a:cubicBezTo>
                    <a:pt x="1095" y="459"/>
                    <a:pt x="1098" y="463"/>
                    <a:pt x="1105" y="463"/>
                  </a:cubicBezTo>
                  <a:cubicBezTo>
                    <a:pt x="1112" y="463"/>
                    <a:pt x="1120" y="459"/>
                    <a:pt x="1122" y="453"/>
                  </a:cubicBezTo>
                  <a:cubicBezTo>
                    <a:pt x="1125" y="448"/>
                    <a:pt x="1122" y="443"/>
                    <a:pt x="1115" y="443"/>
                  </a:cubicBezTo>
                  <a:cubicBezTo>
                    <a:pt x="1115" y="443"/>
                    <a:pt x="1115" y="443"/>
                    <a:pt x="1115" y="443"/>
                  </a:cubicBezTo>
                  <a:moveTo>
                    <a:pt x="1256" y="442"/>
                  </a:moveTo>
                  <a:cubicBezTo>
                    <a:pt x="1249" y="442"/>
                    <a:pt x="1242" y="447"/>
                    <a:pt x="1239" y="452"/>
                  </a:cubicBezTo>
                  <a:cubicBezTo>
                    <a:pt x="1237" y="458"/>
                    <a:pt x="1240" y="463"/>
                    <a:pt x="1247" y="462"/>
                  </a:cubicBezTo>
                  <a:cubicBezTo>
                    <a:pt x="1253" y="462"/>
                    <a:pt x="1261" y="458"/>
                    <a:pt x="1264" y="452"/>
                  </a:cubicBezTo>
                  <a:cubicBezTo>
                    <a:pt x="1266" y="447"/>
                    <a:pt x="1263" y="442"/>
                    <a:pt x="1256" y="442"/>
                  </a:cubicBezTo>
                  <a:cubicBezTo>
                    <a:pt x="1256" y="442"/>
                    <a:pt x="1256" y="442"/>
                    <a:pt x="1256" y="442"/>
                  </a:cubicBezTo>
                  <a:moveTo>
                    <a:pt x="1291" y="442"/>
                  </a:moveTo>
                  <a:cubicBezTo>
                    <a:pt x="1284" y="442"/>
                    <a:pt x="1276" y="447"/>
                    <a:pt x="1274" y="452"/>
                  </a:cubicBezTo>
                  <a:cubicBezTo>
                    <a:pt x="1271" y="458"/>
                    <a:pt x="1275" y="462"/>
                    <a:pt x="1282" y="462"/>
                  </a:cubicBezTo>
                  <a:cubicBezTo>
                    <a:pt x="1288" y="462"/>
                    <a:pt x="1296" y="458"/>
                    <a:pt x="1298" y="452"/>
                  </a:cubicBezTo>
                  <a:cubicBezTo>
                    <a:pt x="1301" y="446"/>
                    <a:pt x="1297" y="442"/>
                    <a:pt x="1291" y="442"/>
                  </a:cubicBezTo>
                  <a:cubicBezTo>
                    <a:pt x="1291" y="442"/>
                    <a:pt x="1291" y="442"/>
                    <a:pt x="1291" y="442"/>
                  </a:cubicBezTo>
                  <a:moveTo>
                    <a:pt x="2018" y="437"/>
                  </a:moveTo>
                  <a:cubicBezTo>
                    <a:pt x="2012" y="437"/>
                    <a:pt x="2005" y="442"/>
                    <a:pt x="2004" y="448"/>
                  </a:cubicBezTo>
                  <a:cubicBezTo>
                    <a:pt x="2003" y="453"/>
                    <a:pt x="2008" y="458"/>
                    <a:pt x="2015" y="458"/>
                  </a:cubicBezTo>
                  <a:cubicBezTo>
                    <a:pt x="2022" y="458"/>
                    <a:pt x="2028" y="453"/>
                    <a:pt x="2029" y="448"/>
                  </a:cubicBezTo>
                  <a:cubicBezTo>
                    <a:pt x="2030" y="442"/>
                    <a:pt x="2025" y="437"/>
                    <a:pt x="2018" y="437"/>
                  </a:cubicBezTo>
                  <a:cubicBezTo>
                    <a:pt x="2018" y="437"/>
                    <a:pt x="2018" y="437"/>
                    <a:pt x="2018" y="437"/>
                  </a:cubicBezTo>
                  <a:moveTo>
                    <a:pt x="2053" y="437"/>
                  </a:moveTo>
                  <a:cubicBezTo>
                    <a:pt x="2047" y="437"/>
                    <a:pt x="2041" y="442"/>
                    <a:pt x="2040" y="447"/>
                  </a:cubicBezTo>
                  <a:cubicBezTo>
                    <a:pt x="2039" y="453"/>
                    <a:pt x="2043" y="458"/>
                    <a:pt x="2050" y="458"/>
                  </a:cubicBezTo>
                  <a:cubicBezTo>
                    <a:pt x="2057" y="458"/>
                    <a:pt x="2063" y="453"/>
                    <a:pt x="2064" y="447"/>
                  </a:cubicBezTo>
                  <a:cubicBezTo>
                    <a:pt x="2065" y="442"/>
                    <a:pt x="2060" y="437"/>
                    <a:pt x="2054" y="437"/>
                  </a:cubicBezTo>
                  <a:cubicBezTo>
                    <a:pt x="2054" y="437"/>
                    <a:pt x="2053" y="437"/>
                    <a:pt x="2053" y="437"/>
                  </a:cubicBezTo>
                  <a:moveTo>
                    <a:pt x="2088" y="437"/>
                  </a:moveTo>
                  <a:cubicBezTo>
                    <a:pt x="2082" y="437"/>
                    <a:pt x="2076" y="442"/>
                    <a:pt x="2075" y="447"/>
                  </a:cubicBezTo>
                  <a:cubicBezTo>
                    <a:pt x="2074" y="453"/>
                    <a:pt x="2079" y="457"/>
                    <a:pt x="2085" y="457"/>
                  </a:cubicBezTo>
                  <a:cubicBezTo>
                    <a:pt x="2092" y="457"/>
                    <a:pt x="2098" y="453"/>
                    <a:pt x="2099" y="447"/>
                  </a:cubicBezTo>
                  <a:cubicBezTo>
                    <a:pt x="2100" y="441"/>
                    <a:pt x="2095" y="437"/>
                    <a:pt x="2089" y="437"/>
                  </a:cubicBezTo>
                  <a:cubicBezTo>
                    <a:pt x="2089" y="437"/>
                    <a:pt x="2089" y="437"/>
                    <a:pt x="2088" y="437"/>
                  </a:cubicBezTo>
                  <a:moveTo>
                    <a:pt x="2122" y="437"/>
                  </a:moveTo>
                  <a:cubicBezTo>
                    <a:pt x="2115" y="437"/>
                    <a:pt x="2109" y="441"/>
                    <a:pt x="2108" y="447"/>
                  </a:cubicBezTo>
                  <a:cubicBezTo>
                    <a:pt x="2107" y="453"/>
                    <a:pt x="2112" y="457"/>
                    <a:pt x="2119" y="457"/>
                  </a:cubicBezTo>
                  <a:cubicBezTo>
                    <a:pt x="2126" y="457"/>
                    <a:pt x="2132" y="452"/>
                    <a:pt x="2132" y="447"/>
                  </a:cubicBezTo>
                  <a:cubicBezTo>
                    <a:pt x="2133" y="441"/>
                    <a:pt x="2128" y="437"/>
                    <a:pt x="2122" y="437"/>
                  </a:cubicBezTo>
                  <a:cubicBezTo>
                    <a:pt x="2122" y="437"/>
                    <a:pt x="2122" y="437"/>
                    <a:pt x="2122" y="437"/>
                  </a:cubicBezTo>
                  <a:moveTo>
                    <a:pt x="2157" y="436"/>
                  </a:moveTo>
                  <a:cubicBezTo>
                    <a:pt x="2150" y="436"/>
                    <a:pt x="2144" y="441"/>
                    <a:pt x="2143" y="447"/>
                  </a:cubicBezTo>
                  <a:cubicBezTo>
                    <a:pt x="2143" y="452"/>
                    <a:pt x="2147" y="457"/>
                    <a:pt x="2154" y="457"/>
                  </a:cubicBezTo>
                  <a:cubicBezTo>
                    <a:pt x="2161" y="457"/>
                    <a:pt x="2167" y="452"/>
                    <a:pt x="2168" y="447"/>
                  </a:cubicBezTo>
                  <a:cubicBezTo>
                    <a:pt x="2168" y="441"/>
                    <a:pt x="2163" y="436"/>
                    <a:pt x="2157" y="436"/>
                  </a:cubicBezTo>
                  <a:cubicBezTo>
                    <a:pt x="2157" y="436"/>
                    <a:pt x="2157" y="436"/>
                    <a:pt x="2157" y="436"/>
                  </a:cubicBezTo>
                  <a:moveTo>
                    <a:pt x="2576" y="433"/>
                  </a:moveTo>
                  <a:cubicBezTo>
                    <a:pt x="2569" y="433"/>
                    <a:pt x="2564" y="438"/>
                    <a:pt x="2564" y="444"/>
                  </a:cubicBezTo>
                  <a:cubicBezTo>
                    <a:pt x="2564" y="449"/>
                    <a:pt x="2569" y="454"/>
                    <a:pt x="2576" y="454"/>
                  </a:cubicBezTo>
                  <a:cubicBezTo>
                    <a:pt x="2583" y="454"/>
                    <a:pt x="2588" y="449"/>
                    <a:pt x="2588" y="444"/>
                  </a:cubicBezTo>
                  <a:cubicBezTo>
                    <a:pt x="2588" y="438"/>
                    <a:pt x="2582" y="433"/>
                    <a:pt x="2576" y="433"/>
                  </a:cubicBezTo>
                  <a:cubicBezTo>
                    <a:pt x="2576" y="433"/>
                    <a:pt x="2576" y="433"/>
                    <a:pt x="2576" y="433"/>
                  </a:cubicBezTo>
                  <a:moveTo>
                    <a:pt x="2611" y="433"/>
                  </a:moveTo>
                  <a:cubicBezTo>
                    <a:pt x="2604" y="433"/>
                    <a:pt x="2599" y="438"/>
                    <a:pt x="2599" y="443"/>
                  </a:cubicBezTo>
                  <a:cubicBezTo>
                    <a:pt x="2599" y="449"/>
                    <a:pt x="2605" y="454"/>
                    <a:pt x="2612" y="454"/>
                  </a:cubicBezTo>
                  <a:cubicBezTo>
                    <a:pt x="2619" y="454"/>
                    <a:pt x="2624" y="449"/>
                    <a:pt x="2624" y="443"/>
                  </a:cubicBezTo>
                  <a:cubicBezTo>
                    <a:pt x="2623" y="438"/>
                    <a:pt x="2618" y="433"/>
                    <a:pt x="2611" y="433"/>
                  </a:cubicBezTo>
                  <a:cubicBezTo>
                    <a:pt x="2611" y="433"/>
                    <a:pt x="2611" y="433"/>
                    <a:pt x="2611" y="433"/>
                  </a:cubicBezTo>
                  <a:moveTo>
                    <a:pt x="2645" y="433"/>
                  </a:moveTo>
                  <a:cubicBezTo>
                    <a:pt x="2639" y="433"/>
                    <a:pt x="2633" y="438"/>
                    <a:pt x="2634" y="443"/>
                  </a:cubicBezTo>
                  <a:cubicBezTo>
                    <a:pt x="2634" y="449"/>
                    <a:pt x="2640" y="453"/>
                    <a:pt x="2646" y="453"/>
                  </a:cubicBezTo>
                  <a:cubicBezTo>
                    <a:pt x="2653" y="453"/>
                    <a:pt x="2658" y="449"/>
                    <a:pt x="2658" y="443"/>
                  </a:cubicBezTo>
                  <a:cubicBezTo>
                    <a:pt x="2658" y="437"/>
                    <a:pt x="2652" y="433"/>
                    <a:pt x="2645" y="433"/>
                  </a:cubicBezTo>
                  <a:cubicBezTo>
                    <a:pt x="2645" y="433"/>
                    <a:pt x="2645" y="433"/>
                    <a:pt x="2645" y="433"/>
                  </a:cubicBezTo>
                  <a:moveTo>
                    <a:pt x="2680" y="433"/>
                  </a:moveTo>
                  <a:cubicBezTo>
                    <a:pt x="2673" y="433"/>
                    <a:pt x="2668" y="437"/>
                    <a:pt x="2668" y="443"/>
                  </a:cubicBezTo>
                  <a:cubicBezTo>
                    <a:pt x="2668" y="449"/>
                    <a:pt x="2674" y="453"/>
                    <a:pt x="2681" y="453"/>
                  </a:cubicBezTo>
                  <a:cubicBezTo>
                    <a:pt x="2688" y="453"/>
                    <a:pt x="2693" y="448"/>
                    <a:pt x="2692" y="443"/>
                  </a:cubicBezTo>
                  <a:cubicBezTo>
                    <a:pt x="2692" y="437"/>
                    <a:pt x="2686" y="433"/>
                    <a:pt x="2680" y="433"/>
                  </a:cubicBezTo>
                  <a:cubicBezTo>
                    <a:pt x="2680" y="433"/>
                    <a:pt x="2680" y="433"/>
                    <a:pt x="2680" y="433"/>
                  </a:cubicBezTo>
                  <a:moveTo>
                    <a:pt x="2194" y="433"/>
                  </a:moveTo>
                  <a:cubicBezTo>
                    <a:pt x="2187" y="433"/>
                    <a:pt x="2181" y="437"/>
                    <a:pt x="2180" y="443"/>
                  </a:cubicBezTo>
                  <a:cubicBezTo>
                    <a:pt x="2180" y="449"/>
                    <a:pt x="2185" y="453"/>
                    <a:pt x="2191" y="453"/>
                  </a:cubicBezTo>
                  <a:cubicBezTo>
                    <a:pt x="2198" y="453"/>
                    <a:pt x="2204" y="448"/>
                    <a:pt x="2205" y="443"/>
                  </a:cubicBezTo>
                  <a:cubicBezTo>
                    <a:pt x="2205" y="437"/>
                    <a:pt x="2200" y="433"/>
                    <a:pt x="2194" y="433"/>
                  </a:cubicBezTo>
                  <a:cubicBezTo>
                    <a:pt x="2194" y="433"/>
                    <a:pt x="2194" y="433"/>
                    <a:pt x="2194" y="433"/>
                  </a:cubicBezTo>
                  <a:moveTo>
                    <a:pt x="2714" y="432"/>
                  </a:moveTo>
                  <a:cubicBezTo>
                    <a:pt x="2707" y="433"/>
                    <a:pt x="2702" y="437"/>
                    <a:pt x="2703" y="443"/>
                  </a:cubicBezTo>
                  <a:cubicBezTo>
                    <a:pt x="2703" y="448"/>
                    <a:pt x="2709" y="453"/>
                    <a:pt x="2716" y="453"/>
                  </a:cubicBezTo>
                  <a:cubicBezTo>
                    <a:pt x="2722" y="453"/>
                    <a:pt x="2727" y="448"/>
                    <a:pt x="2727" y="443"/>
                  </a:cubicBezTo>
                  <a:cubicBezTo>
                    <a:pt x="2727" y="437"/>
                    <a:pt x="2721" y="432"/>
                    <a:pt x="2714" y="432"/>
                  </a:cubicBezTo>
                  <a:cubicBezTo>
                    <a:pt x="2714" y="432"/>
                    <a:pt x="2714" y="432"/>
                    <a:pt x="2714" y="432"/>
                  </a:cubicBezTo>
                  <a:moveTo>
                    <a:pt x="2229" y="432"/>
                  </a:moveTo>
                  <a:cubicBezTo>
                    <a:pt x="2223" y="432"/>
                    <a:pt x="2217" y="437"/>
                    <a:pt x="2216" y="443"/>
                  </a:cubicBezTo>
                  <a:cubicBezTo>
                    <a:pt x="2216" y="448"/>
                    <a:pt x="2221" y="453"/>
                    <a:pt x="2227" y="453"/>
                  </a:cubicBezTo>
                  <a:cubicBezTo>
                    <a:pt x="2234" y="453"/>
                    <a:pt x="2240" y="448"/>
                    <a:pt x="2240" y="443"/>
                  </a:cubicBezTo>
                  <a:cubicBezTo>
                    <a:pt x="2241" y="437"/>
                    <a:pt x="2236" y="432"/>
                    <a:pt x="2229" y="432"/>
                  </a:cubicBezTo>
                  <a:cubicBezTo>
                    <a:pt x="2229" y="432"/>
                    <a:pt x="2229" y="432"/>
                    <a:pt x="2229" y="432"/>
                  </a:cubicBezTo>
                  <a:moveTo>
                    <a:pt x="2749" y="432"/>
                  </a:moveTo>
                  <a:cubicBezTo>
                    <a:pt x="2742" y="432"/>
                    <a:pt x="2737" y="437"/>
                    <a:pt x="2738" y="443"/>
                  </a:cubicBezTo>
                  <a:cubicBezTo>
                    <a:pt x="2738" y="448"/>
                    <a:pt x="2744" y="453"/>
                    <a:pt x="2751" y="453"/>
                  </a:cubicBezTo>
                  <a:cubicBezTo>
                    <a:pt x="2757" y="453"/>
                    <a:pt x="2762" y="448"/>
                    <a:pt x="2762" y="442"/>
                  </a:cubicBezTo>
                  <a:cubicBezTo>
                    <a:pt x="2761" y="437"/>
                    <a:pt x="2756" y="432"/>
                    <a:pt x="2749" y="432"/>
                  </a:cubicBezTo>
                  <a:cubicBezTo>
                    <a:pt x="2749" y="432"/>
                    <a:pt x="2749" y="432"/>
                    <a:pt x="2749" y="432"/>
                  </a:cubicBezTo>
                  <a:moveTo>
                    <a:pt x="2264" y="432"/>
                  </a:moveTo>
                  <a:cubicBezTo>
                    <a:pt x="2257" y="432"/>
                    <a:pt x="2251" y="437"/>
                    <a:pt x="2251" y="442"/>
                  </a:cubicBezTo>
                  <a:cubicBezTo>
                    <a:pt x="2250" y="448"/>
                    <a:pt x="2255" y="453"/>
                    <a:pt x="2262" y="453"/>
                  </a:cubicBezTo>
                  <a:cubicBezTo>
                    <a:pt x="2269" y="453"/>
                    <a:pt x="2275" y="448"/>
                    <a:pt x="2275" y="442"/>
                  </a:cubicBezTo>
                  <a:cubicBezTo>
                    <a:pt x="2275" y="437"/>
                    <a:pt x="2270" y="432"/>
                    <a:pt x="2264" y="432"/>
                  </a:cubicBezTo>
                  <a:cubicBezTo>
                    <a:pt x="2264" y="432"/>
                    <a:pt x="2264" y="432"/>
                    <a:pt x="2264" y="432"/>
                  </a:cubicBezTo>
                  <a:moveTo>
                    <a:pt x="2298" y="432"/>
                  </a:moveTo>
                  <a:cubicBezTo>
                    <a:pt x="2291" y="432"/>
                    <a:pt x="2285" y="437"/>
                    <a:pt x="2285" y="442"/>
                  </a:cubicBezTo>
                  <a:cubicBezTo>
                    <a:pt x="2285" y="448"/>
                    <a:pt x="2290" y="452"/>
                    <a:pt x="2296" y="452"/>
                  </a:cubicBezTo>
                  <a:cubicBezTo>
                    <a:pt x="2303" y="452"/>
                    <a:pt x="2309" y="448"/>
                    <a:pt x="2309" y="442"/>
                  </a:cubicBezTo>
                  <a:cubicBezTo>
                    <a:pt x="2310" y="436"/>
                    <a:pt x="2305" y="432"/>
                    <a:pt x="2298" y="432"/>
                  </a:cubicBezTo>
                  <a:cubicBezTo>
                    <a:pt x="2298" y="432"/>
                    <a:pt x="2298" y="432"/>
                    <a:pt x="2298" y="432"/>
                  </a:cubicBezTo>
                  <a:moveTo>
                    <a:pt x="2332" y="432"/>
                  </a:moveTo>
                  <a:cubicBezTo>
                    <a:pt x="2326" y="432"/>
                    <a:pt x="2320" y="436"/>
                    <a:pt x="2320" y="442"/>
                  </a:cubicBezTo>
                  <a:cubicBezTo>
                    <a:pt x="2319" y="448"/>
                    <a:pt x="2324" y="452"/>
                    <a:pt x="2331" y="452"/>
                  </a:cubicBezTo>
                  <a:cubicBezTo>
                    <a:pt x="2338" y="452"/>
                    <a:pt x="2344" y="447"/>
                    <a:pt x="2344" y="442"/>
                  </a:cubicBezTo>
                  <a:cubicBezTo>
                    <a:pt x="2344" y="436"/>
                    <a:pt x="2339" y="432"/>
                    <a:pt x="2332" y="432"/>
                  </a:cubicBezTo>
                  <a:cubicBezTo>
                    <a:pt x="2332" y="432"/>
                    <a:pt x="2332" y="432"/>
                    <a:pt x="2332" y="432"/>
                  </a:cubicBezTo>
                  <a:moveTo>
                    <a:pt x="2367" y="431"/>
                  </a:moveTo>
                  <a:cubicBezTo>
                    <a:pt x="2360" y="431"/>
                    <a:pt x="2355" y="436"/>
                    <a:pt x="2354" y="442"/>
                  </a:cubicBezTo>
                  <a:cubicBezTo>
                    <a:pt x="2354" y="447"/>
                    <a:pt x="2359" y="452"/>
                    <a:pt x="2366" y="452"/>
                  </a:cubicBezTo>
                  <a:cubicBezTo>
                    <a:pt x="2373" y="452"/>
                    <a:pt x="2379" y="447"/>
                    <a:pt x="2379" y="442"/>
                  </a:cubicBezTo>
                  <a:cubicBezTo>
                    <a:pt x="2379" y="436"/>
                    <a:pt x="2374" y="431"/>
                    <a:pt x="2367" y="431"/>
                  </a:cubicBezTo>
                  <a:cubicBezTo>
                    <a:pt x="2367" y="431"/>
                    <a:pt x="2367" y="431"/>
                    <a:pt x="2367" y="431"/>
                  </a:cubicBezTo>
                  <a:moveTo>
                    <a:pt x="2402" y="431"/>
                  </a:moveTo>
                  <a:cubicBezTo>
                    <a:pt x="2395" y="431"/>
                    <a:pt x="2390" y="436"/>
                    <a:pt x="2390" y="441"/>
                  </a:cubicBezTo>
                  <a:cubicBezTo>
                    <a:pt x="2389" y="447"/>
                    <a:pt x="2395" y="452"/>
                    <a:pt x="2401" y="452"/>
                  </a:cubicBezTo>
                  <a:cubicBezTo>
                    <a:pt x="2408" y="452"/>
                    <a:pt x="2414" y="447"/>
                    <a:pt x="2414" y="441"/>
                  </a:cubicBezTo>
                  <a:cubicBezTo>
                    <a:pt x="2414" y="436"/>
                    <a:pt x="2409" y="431"/>
                    <a:pt x="2402" y="431"/>
                  </a:cubicBezTo>
                  <a:cubicBezTo>
                    <a:pt x="2402" y="431"/>
                    <a:pt x="2402" y="431"/>
                    <a:pt x="2402" y="431"/>
                  </a:cubicBezTo>
                  <a:moveTo>
                    <a:pt x="2437" y="431"/>
                  </a:moveTo>
                  <a:cubicBezTo>
                    <a:pt x="2430" y="431"/>
                    <a:pt x="2424" y="436"/>
                    <a:pt x="2424" y="441"/>
                  </a:cubicBezTo>
                  <a:cubicBezTo>
                    <a:pt x="2424" y="447"/>
                    <a:pt x="2429" y="451"/>
                    <a:pt x="2436" y="451"/>
                  </a:cubicBezTo>
                  <a:cubicBezTo>
                    <a:pt x="2443" y="451"/>
                    <a:pt x="2448" y="447"/>
                    <a:pt x="2449" y="441"/>
                  </a:cubicBezTo>
                  <a:cubicBezTo>
                    <a:pt x="2449" y="435"/>
                    <a:pt x="2443" y="431"/>
                    <a:pt x="2437" y="431"/>
                  </a:cubicBezTo>
                  <a:cubicBezTo>
                    <a:pt x="2437" y="431"/>
                    <a:pt x="2437" y="431"/>
                    <a:pt x="2437" y="431"/>
                  </a:cubicBezTo>
                  <a:moveTo>
                    <a:pt x="2471" y="431"/>
                  </a:moveTo>
                  <a:cubicBezTo>
                    <a:pt x="2464" y="431"/>
                    <a:pt x="2459" y="435"/>
                    <a:pt x="2459" y="441"/>
                  </a:cubicBezTo>
                  <a:cubicBezTo>
                    <a:pt x="2459" y="447"/>
                    <a:pt x="2464" y="451"/>
                    <a:pt x="2471" y="451"/>
                  </a:cubicBezTo>
                  <a:cubicBezTo>
                    <a:pt x="2478" y="451"/>
                    <a:pt x="2483" y="446"/>
                    <a:pt x="2483" y="441"/>
                  </a:cubicBezTo>
                  <a:cubicBezTo>
                    <a:pt x="2483" y="435"/>
                    <a:pt x="2478" y="431"/>
                    <a:pt x="2471" y="431"/>
                  </a:cubicBezTo>
                  <a:cubicBezTo>
                    <a:pt x="2471" y="431"/>
                    <a:pt x="2471" y="431"/>
                    <a:pt x="2471" y="431"/>
                  </a:cubicBezTo>
                  <a:moveTo>
                    <a:pt x="2506" y="430"/>
                  </a:moveTo>
                  <a:cubicBezTo>
                    <a:pt x="2499" y="431"/>
                    <a:pt x="2494" y="435"/>
                    <a:pt x="2493" y="441"/>
                  </a:cubicBezTo>
                  <a:cubicBezTo>
                    <a:pt x="2493" y="446"/>
                    <a:pt x="2499" y="451"/>
                    <a:pt x="2506" y="451"/>
                  </a:cubicBezTo>
                  <a:cubicBezTo>
                    <a:pt x="2512" y="451"/>
                    <a:pt x="2518" y="446"/>
                    <a:pt x="2518" y="441"/>
                  </a:cubicBezTo>
                  <a:cubicBezTo>
                    <a:pt x="2518" y="435"/>
                    <a:pt x="2512" y="430"/>
                    <a:pt x="2506" y="430"/>
                  </a:cubicBezTo>
                  <a:cubicBezTo>
                    <a:pt x="2506" y="430"/>
                    <a:pt x="2506" y="430"/>
                    <a:pt x="2506" y="430"/>
                  </a:cubicBezTo>
                  <a:moveTo>
                    <a:pt x="2540" y="430"/>
                  </a:moveTo>
                  <a:cubicBezTo>
                    <a:pt x="2534" y="430"/>
                    <a:pt x="2528" y="435"/>
                    <a:pt x="2528" y="441"/>
                  </a:cubicBezTo>
                  <a:cubicBezTo>
                    <a:pt x="2528" y="446"/>
                    <a:pt x="2534" y="451"/>
                    <a:pt x="2541" y="451"/>
                  </a:cubicBezTo>
                  <a:cubicBezTo>
                    <a:pt x="2547" y="451"/>
                    <a:pt x="2553" y="446"/>
                    <a:pt x="2553" y="440"/>
                  </a:cubicBezTo>
                  <a:cubicBezTo>
                    <a:pt x="2553" y="435"/>
                    <a:pt x="2547" y="430"/>
                    <a:pt x="2540" y="430"/>
                  </a:cubicBezTo>
                  <a:cubicBezTo>
                    <a:pt x="2540" y="430"/>
                    <a:pt x="2540" y="430"/>
                    <a:pt x="2540" y="430"/>
                  </a:cubicBezTo>
                  <a:moveTo>
                    <a:pt x="2782" y="429"/>
                  </a:moveTo>
                  <a:cubicBezTo>
                    <a:pt x="2776" y="430"/>
                    <a:pt x="2771" y="434"/>
                    <a:pt x="2771" y="440"/>
                  </a:cubicBezTo>
                  <a:cubicBezTo>
                    <a:pt x="2772" y="445"/>
                    <a:pt x="2778" y="450"/>
                    <a:pt x="2784" y="450"/>
                  </a:cubicBezTo>
                  <a:cubicBezTo>
                    <a:pt x="2791" y="450"/>
                    <a:pt x="2796" y="445"/>
                    <a:pt x="2796" y="440"/>
                  </a:cubicBezTo>
                  <a:cubicBezTo>
                    <a:pt x="2795" y="434"/>
                    <a:pt x="2789" y="429"/>
                    <a:pt x="2782" y="429"/>
                  </a:cubicBezTo>
                  <a:cubicBezTo>
                    <a:pt x="2782" y="429"/>
                    <a:pt x="2782" y="429"/>
                    <a:pt x="2782" y="429"/>
                  </a:cubicBezTo>
                  <a:moveTo>
                    <a:pt x="2816" y="429"/>
                  </a:moveTo>
                  <a:cubicBezTo>
                    <a:pt x="2809" y="429"/>
                    <a:pt x="2804" y="434"/>
                    <a:pt x="2805" y="440"/>
                  </a:cubicBezTo>
                  <a:cubicBezTo>
                    <a:pt x="2805" y="445"/>
                    <a:pt x="2811" y="450"/>
                    <a:pt x="2818" y="450"/>
                  </a:cubicBezTo>
                  <a:cubicBezTo>
                    <a:pt x="2825" y="450"/>
                    <a:pt x="2830" y="445"/>
                    <a:pt x="2829" y="439"/>
                  </a:cubicBezTo>
                  <a:cubicBezTo>
                    <a:pt x="2828" y="434"/>
                    <a:pt x="2823" y="429"/>
                    <a:pt x="2816" y="429"/>
                  </a:cubicBezTo>
                  <a:cubicBezTo>
                    <a:pt x="2816" y="429"/>
                    <a:pt x="2816" y="429"/>
                    <a:pt x="2816" y="429"/>
                  </a:cubicBezTo>
                  <a:moveTo>
                    <a:pt x="2850" y="429"/>
                  </a:moveTo>
                  <a:cubicBezTo>
                    <a:pt x="2843" y="429"/>
                    <a:pt x="2839" y="434"/>
                    <a:pt x="2839" y="439"/>
                  </a:cubicBezTo>
                  <a:cubicBezTo>
                    <a:pt x="2840" y="445"/>
                    <a:pt x="2846" y="450"/>
                    <a:pt x="2853" y="449"/>
                  </a:cubicBezTo>
                  <a:cubicBezTo>
                    <a:pt x="2860" y="449"/>
                    <a:pt x="2864" y="445"/>
                    <a:pt x="2864" y="439"/>
                  </a:cubicBezTo>
                  <a:cubicBezTo>
                    <a:pt x="2863" y="434"/>
                    <a:pt x="2857" y="429"/>
                    <a:pt x="2850" y="429"/>
                  </a:cubicBezTo>
                  <a:cubicBezTo>
                    <a:pt x="2850" y="429"/>
                    <a:pt x="2850" y="429"/>
                    <a:pt x="2850" y="429"/>
                  </a:cubicBezTo>
                  <a:moveTo>
                    <a:pt x="2885" y="429"/>
                  </a:moveTo>
                  <a:cubicBezTo>
                    <a:pt x="2878" y="429"/>
                    <a:pt x="2873" y="433"/>
                    <a:pt x="2874" y="439"/>
                  </a:cubicBezTo>
                  <a:cubicBezTo>
                    <a:pt x="2875" y="445"/>
                    <a:pt x="2881" y="449"/>
                    <a:pt x="2888" y="449"/>
                  </a:cubicBezTo>
                  <a:cubicBezTo>
                    <a:pt x="2894" y="449"/>
                    <a:pt x="2899" y="445"/>
                    <a:pt x="2898" y="439"/>
                  </a:cubicBezTo>
                  <a:cubicBezTo>
                    <a:pt x="2898" y="433"/>
                    <a:pt x="2892" y="429"/>
                    <a:pt x="2885" y="429"/>
                  </a:cubicBezTo>
                  <a:cubicBezTo>
                    <a:pt x="2885" y="429"/>
                    <a:pt x="2885" y="429"/>
                    <a:pt x="2885" y="429"/>
                  </a:cubicBezTo>
                  <a:moveTo>
                    <a:pt x="2920" y="429"/>
                  </a:moveTo>
                  <a:cubicBezTo>
                    <a:pt x="2913" y="429"/>
                    <a:pt x="2908" y="433"/>
                    <a:pt x="2909" y="439"/>
                  </a:cubicBezTo>
                  <a:cubicBezTo>
                    <a:pt x="2910" y="444"/>
                    <a:pt x="2916" y="449"/>
                    <a:pt x="2923" y="449"/>
                  </a:cubicBezTo>
                  <a:cubicBezTo>
                    <a:pt x="2930" y="449"/>
                    <a:pt x="2935" y="444"/>
                    <a:pt x="2934" y="439"/>
                  </a:cubicBezTo>
                  <a:cubicBezTo>
                    <a:pt x="2933" y="433"/>
                    <a:pt x="2927" y="429"/>
                    <a:pt x="2920" y="429"/>
                  </a:cubicBezTo>
                  <a:cubicBezTo>
                    <a:pt x="2920" y="429"/>
                    <a:pt x="2920" y="429"/>
                    <a:pt x="2920" y="429"/>
                  </a:cubicBezTo>
                  <a:moveTo>
                    <a:pt x="2954" y="428"/>
                  </a:moveTo>
                  <a:cubicBezTo>
                    <a:pt x="2948" y="428"/>
                    <a:pt x="2943" y="433"/>
                    <a:pt x="2944" y="439"/>
                  </a:cubicBezTo>
                  <a:cubicBezTo>
                    <a:pt x="2945" y="444"/>
                    <a:pt x="2951" y="449"/>
                    <a:pt x="2958" y="449"/>
                  </a:cubicBezTo>
                  <a:cubicBezTo>
                    <a:pt x="2964" y="449"/>
                    <a:pt x="2969" y="444"/>
                    <a:pt x="2968" y="438"/>
                  </a:cubicBezTo>
                  <a:cubicBezTo>
                    <a:pt x="2967" y="433"/>
                    <a:pt x="2961" y="428"/>
                    <a:pt x="2954" y="428"/>
                  </a:cubicBezTo>
                  <a:cubicBezTo>
                    <a:pt x="2954" y="428"/>
                    <a:pt x="2954" y="428"/>
                    <a:pt x="2954" y="428"/>
                  </a:cubicBezTo>
                  <a:moveTo>
                    <a:pt x="2989" y="428"/>
                  </a:moveTo>
                  <a:cubicBezTo>
                    <a:pt x="2982" y="428"/>
                    <a:pt x="2978" y="433"/>
                    <a:pt x="2979" y="438"/>
                  </a:cubicBezTo>
                  <a:cubicBezTo>
                    <a:pt x="2980" y="444"/>
                    <a:pt x="2986" y="449"/>
                    <a:pt x="2993" y="449"/>
                  </a:cubicBezTo>
                  <a:cubicBezTo>
                    <a:pt x="2999" y="448"/>
                    <a:pt x="3004" y="444"/>
                    <a:pt x="3003" y="438"/>
                  </a:cubicBezTo>
                  <a:cubicBezTo>
                    <a:pt x="3002" y="433"/>
                    <a:pt x="2996" y="428"/>
                    <a:pt x="2989" y="428"/>
                  </a:cubicBezTo>
                  <a:cubicBezTo>
                    <a:pt x="2989" y="428"/>
                    <a:pt x="2989" y="428"/>
                    <a:pt x="2989" y="428"/>
                  </a:cubicBezTo>
                  <a:moveTo>
                    <a:pt x="3023" y="428"/>
                  </a:moveTo>
                  <a:cubicBezTo>
                    <a:pt x="3017" y="428"/>
                    <a:pt x="3012" y="432"/>
                    <a:pt x="3013" y="438"/>
                  </a:cubicBezTo>
                  <a:cubicBezTo>
                    <a:pt x="3014" y="444"/>
                    <a:pt x="3020" y="448"/>
                    <a:pt x="3027" y="448"/>
                  </a:cubicBezTo>
                  <a:cubicBezTo>
                    <a:pt x="3034" y="448"/>
                    <a:pt x="3038" y="444"/>
                    <a:pt x="3037" y="438"/>
                  </a:cubicBezTo>
                  <a:cubicBezTo>
                    <a:pt x="3036" y="432"/>
                    <a:pt x="3030" y="428"/>
                    <a:pt x="3023" y="428"/>
                  </a:cubicBezTo>
                  <a:cubicBezTo>
                    <a:pt x="3023" y="428"/>
                    <a:pt x="3023" y="428"/>
                    <a:pt x="3023" y="428"/>
                  </a:cubicBezTo>
                  <a:moveTo>
                    <a:pt x="3058" y="428"/>
                  </a:moveTo>
                  <a:cubicBezTo>
                    <a:pt x="3051" y="428"/>
                    <a:pt x="3047" y="432"/>
                    <a:pt x="3048" y="438"/>
                  </a:cubicBezTo>
                  <a:cubicBezTo>
                    <a:pt x="3049" y="444"/>
                    <a:pt x="3055" y="448"/>
                    <a:pt x="3062" y="448"/>
                  </a:cubicBezTo>
                  <a:cubicBezTo>
                    <a:pt x="3069" y="448"/>
                    <a:pt x="3073" y="443"/>
                    <a:pt x="3072" y="438"/>
                  </a:cubicBezTo>
                  <a:cubicBezTo>
                    <a:pt x="3071" y="432"/>
                    <a:pt x="3065" y="428"/>
                    <a:pt x="3058" y="428"/>
                  </a:cubicBezTo>
                  <a:cubicBezTo>
                    <a:pt x="3058" y="428"/>
                    <a:pt x="3058" y="428"/>
                    <a:pt x="3058" y="428"/>
                  </a:cubicBezTo>
                  <a:moveTo>
                    <a:pt x="3094" y="427"/>
                  </a:moveTo>
                  <a:cubicBezTo>
                    <a:pt x="3087" y="427"/>
                    <a:pt x="3083" y="432"/>
                    <a:pt x="3084" y="438"/>
                  </a:cubicBezTo>
                  <a:cubicBezTo>
                    <a:pt x="3085" y="443"/>
                    <a:pt x="3091" y="448"/>
                    <a:pt x="3098" y="448"/>
                  </a:cubicBezTo>
                  <a:cubicBezTo>
                    <a:pt x="3105" y="448"/>
                    <a:pt x="3109" y="443"/>
                    <a:pt x="3108" y="437"/>
                  </a:cubicBezTo>
                  <a:cubicBezTo>
                    <a:pt x="3107" y="432"/>
                    <a:pt x="3100" y="427"/>
                    <a:pt x="3094" y="427"/>
                  </a:cubicBezTo>
                  <a:cubicBezTo>
                    <a:pt x="3094" y="427"/>
                    <a:pt x="3094" y="427"/>
                    <a:pt x="3094" y="427"/>
                  </a:cubicBezTo>
                  <a:moveTo>
                    <a:pt x="3128" y="427"/>
                  </a:moveTo>
                  <a:cubicBezTo>
                    <a:pt x="3121" y="427"/>
                    <a:pt x="3117" y="432"/>
                    <a:pt x="3118" y="437"/>
                  </a:cubicBezTo>
                  <a:cubicBezTo>
                    <a:pt x="3120" y="443"/>
                    <a:pt x="3126" y="448"/>
                    <a:pt x="3133" y="448"/>
                  </a:cubicBezTo>
                  <a:cubicBezTo>
                    <a:pt x="3139" y="447"/>
                    <a:pt x="3144" y="443"/>
                    <a:pt x="3143" y="437"/>
                  </a:cubicBezTo>
                  <a:cubicBezTo>
                    <a:pt x="3141" y="432"/>
                    <a:pt x="3135" y="427"/>
                    <a:pt x="3128" y="427"/>
                  </a:cubicBezTo>
                  <a:cubicBezTo>
                    <a:pt x="3128" y="427"/>
                    <a:pt x="3128" y="427"/>
                    <a:pt x="3128" y="427"/>
                  </a:cubicBezTo>
                  <a:moveTo>
                    <a:pt x="3163" y="427"/>
                  </a:moveTo>
                  <a:cubicBezTo>
                    <a:pt x="3156" y="427"/>
                    <a:pt x="3152" y="431"/>
                    <a:pt x="3153" y="437"/>
                  </a:cubicBezTo>
                  <a:cubicBezTo>
                    <a:pt x="3154" y="443"/>
                    <a:pt x="3161" y="447"/>
                    <a:pt x="3168" y="447"/>
                  </a:cubicBezTo>
                  <a:cubicBezTo>
                    <a:pt x="3174" y="447"/>
                    <a:pt x="3179" y="443"/>
                    <a:pt x="3177" y="437"/>
                  </a:cubicBezTo>
                  <a:cubicBezTo>
                    <a:pt x="3176" y="431"/>
                    <a:pt x="3169" y="427"/>
                    <a:pt x="3163" y="427"/>
                  </a:cubicBezTo>
                  <a:cubicBezTo>
                    <a:pt x="3163" y="427"/>
                    <a:pt x="3163" y="427"/>
                    <a:pt x="3163" y="427"/>
                  </a:cubicBezTo>
                  <a:moveTo>
                    <a:pt x="3198" y="427"/>
                  </a:moveTo>
                  <a:cubicBezTo>
                    <a:pt x="3191" y="427"/>
                    <a:pt x="3187" y="431"/>
                    <a:pt x="3188" y="437"/>
                  </a:cubicBezTo>
                  <a:cubicBezTo>
                    <a:pt x="3190" y="443"/>
                    <a:pt x="3196" y="447"/>
                    <a:pt x="3203" y="447"/>
                  </a:cubicBezTo>
                  <a:cubicBezTo>
                    <a:pt x="3210" y="447"/>
                    <a:pt x="3214" y="442"/>
                    <a:pt x="3212" y="437"/>
                  </a:cubicBezTo>
                  <a:cubicBezTo>
                    <a:pt x="3211" y="431"/>
                    <a:pt x="3204" y="427"/>
                    <a:pt x="3198" y="427"/>
                  </a:cubicBezTo>
                  <a:cubicBezTo>
                    <a:pt x="3198" y="427"/>
                    <a:pt x="3198" y="427"/>
                    <a:pt x="3198" y="427"/>
                  </a:cubicBezTo>
                  <a:moveTo>
                    <a:pt x="3232" y="426"/>
                  </a:moveTo>
                  <a:cubicBezTo>
                    <a:pt x="3225" y="426"/>
                    <a:pt x="3221" y="431"/>
                    <a:pt x="3223" y="437"/>
                  </a:cubicBezTo>
                  <a:cubicBezTo>
                    <a:pt x="3224" y="442"/>
                    <a:pt x="3231" y="447"/>
                    <a:pt x="3238" y="447"/>
                  </a:cubicBezTo>
                  <a:cubicBezTo>
                    <a:pt x="3244" y="447"/>
                    <a:pt x="3249" y="442"/>
                    <a:pt x="3247" y="436"/>
                  </a:cubicBezTo>
                  <a:cubicBezTo>
                    <a:pt x="3245" y="431"/>
                    <a:pt x="3239" y="426"/>
                    <a:pt x="3232" y="426"/>
                  </a:cubicBezTo>
                  <a:cubicBezTo>
                    <a:pt x="3232" y="426"/>
                    <a:pt x="3232" y="426"/>
                    <a:pt x="3232" y="426"/>
                  </a:cubicBezTo>
                  <a:moveTo>
                    <a:pt x="3267" y="426"/>
                  </a:moveTo>
                  <a:cubicBezTo>
                    <a:pt x="3260" y="426"/>
                    <a:pt x="3256" y="431"/>
                    <a:pt x="3257" y="436"/>
                  </a:cubicBezTo>
                  <a:cubicBezTo>
                    <a:pt x="3259" y="442"/>
                    <a:pt x="3266" y="447"/>
                    <a:pt x="3272" y="447"/>
                  </a:cubicBezTo>
                  <a:cubicBezTo>
                    <a:pt x="3279" y="447"/>
                    <a:pt x="3283" y="442"/>
                    <a:pt x="3282" y="436"/>
                  </a:cubicBezTo>
                  <a:cubicBezTo>
                    <a:pt x="3280" y="431"/>
                    <a:pt x="3273" y="426"/>
                    <a:pt x="3267" y="426"/>
                  </a:cubicBezTo>
                  <a:cubicBezTo>
                    <a:pt x="3267" y="426"/>
                    <a:pt x="3267" y="426"/>
                    <a:pt x="3267" y="426"/>
                  </a:cubicBezTo>
                  <a:moveTo>
                    <a:pt x="3301" y="426"/>
                  </a:moveTo>
                  <a:cubicBezTo>
                    <a:pt x="3294" y="426"/>
                    <a:pt x="3290" y="430"/>
                    <a:pt x="3292" y="436"/>
                  </a:cubicBezTo>
                  <a:cubicBezTo>
                    <a:pt x="3294" y="442"/>
                    <a:pt x="3300" y="446"/>
                    <a:pt x="3307" y="446"/>
                  </a:cubicBezTo>
                  <a:cubicBezTo>
                    <a:pt x="3314" y="446"/>
                    <a:pt x="3318" y="442"/>
                    <a:pt x="3316" y="436"/>
                  </a:cubicBezTo>
                  <a:cubicBezTo>
                    <a:pt x="3315" y="430"/>
                    <a:pt x="3308" y="426"/>
                    <a:pt x="3301" y="426"/>
                  </a:cubicBezTo>
                  <a:cubicBezTo>
                    <a:pt x="3301" y="426"/>
                    <a:pt x="3301" y="426"/>
                    <a:pt x="3301" y="426"/>
                  </a:cubicBezTo>
                  <a:moveTo>
                    <a:pt x="3336" y="426"/>
                  </a:moveTo>
                  <a:cubicBezTo>
                    <a:pt x="3329" y="426"/>
                    <a:pt x="3325" y="430"/>
                    <a:pt x="3327" y="436"/>
                  </a:cubicBezTo>
                  <a:cubicBezTo>
                    <a:pt x="3328" y="442"/>
                    <a:pt x="3335" y="446"/>
                    <a:pt x="3342" y="446"/>
                  </a:cubicBezTo>
                  <a:cubicBezTo>
                    <a:pt x="3349" y="446"/>
                    <a:pt x="3353" y="441"/>
                    <a:pt x="3351" y="436"/>
                  </a:cubicBezTo>
                  <a:cubicBezTo>
                    <a:pt x="3349" y="430"/>
                    <a:pt x="3342" y="426"/>
                    <a:pt x="3336" y="426"/>
                  </a:cubicBezTo>
                  <a:cubicBezTo>
                    <a:pt x="3336" y="426"/>
                    <a:pt x="3336" y="426"/>
                    <a:pt x="3336" y="426"/>
                  </a:cubicBezTo>
                  <a:moveTo>
                    <a:pt x="3371" y="425"/>
                  </a:moveTo>
                  <a:cubicBezTo>
                    <a:pt x="3364" y="425"/>
                    <a:pt x="3360" y="430"/>
                    <a:pt x="3362" y="436"/>
                  </a:cubicBezTo>
                  <a:cubicBezTo>
                    <a:pt x="3364" y="441"/>
                    <a:pt x="3370" y="446"/>
                    <a:pt x="3377" y="446"/>
                  </a:cubicBezTo>
                  <a:cubicBezTo>
                    <a:pt x="3384" y="446"/>
                    <a:pt x="3388" y="441"/>
                    <a:pt x="3386" y="436"/>
                  </a:cubicBezTo>
                  <a:cubicBezTo>
                    <a:pt x="3384" y="430"/>
                    <a:pt x="3377" y="425"/>
                    <a:pt x="3371" y="425"/>
                  </a:cubicBezTo>
                  <a:cubicBezTo>
                    <a:pt x="3371" y="425"/>
                    <a:pt x="3371" y="425"/>
                    <a:pt x="3371" y="425"/>
                  </a:cubicBezTo>
                  <a:moveTo>
                    <a:pt x="3405" y="425"/>
                  </a:moveTo>
                  <a:cubicBezTo>
                    <a:pt x="3398" y="425"/>
                    <a:pt x="3394" y="430"/>
                    <a:pt x="3396" y="435"/>
                  </a:cubicBezTo>
                  <a:cubicBezTo>
                    <a:pt x="3398" y="441"/>
                    <a:pt x="3405" y="446"/>
                    <a:pt x="3412" y="446"/>
                  </a:cubicBezTo>
                  <a:cubicBezTo>
                    <a:pt x="3419" y="446"/>
                    <a:pt x="3422" y="441"/>
                    <a:pt x="3421" y="435"/>
                  </a:cubicBezTo>
                  <a:cubicBezTo>
                    <a:pt x="3419" y="430"/>
                    <a:pt x="3412" y="425"/>
                    <a:pt x="3405" y="425"/>
                  </a:cubicBezTo>
                  <a:cubicBezTo>
                    <a:pt x="3405" y="425"/>
                    <a:pt x="3405" y="425"/>
                    <a:pt x="3405" y="425"/>
                  </a:cubicBezTo>
                  <a:moveTo>
                    <a:pt x="3440" y="425"/>
                  </a:moveTo>
                  <a:cubicBezTo>
                    <a:pt x="3433" y="425"/>
                    <a:pt x="3429" y="430"/>
                    <a:pt x="3431" y="435"/>
                  </a:cubicBezTo>
                  <a:cubicBezTo>
                    <a:pt x="3433" y="441"/>
                    <a:pt x="3440" y="445"/>
                    <a:pt x="3447" y="445"/>
                  </a:cubicBezTo>
                  <a:cubicBezTo>
                    <a:pt x="3453" y="445"/>
                    <a:pt x="3457" y="441"/>
                    <a:pt x="3455" y="435"/>
                  </a:cubicBezTo>
                  <a:cubicBezTo>
                    <a:pt x="3453" y="429"/>
                    <a:pt x="3446" y="425"/>
                    <a:pt x="3440" y="425"/>
                  </a:cubicBezTo>
                  <a:cubicBezTo>
                    <a:pt x="3440" y="425"/>
                    <a:pt x="3440" y="425"/>
                    <a:pt x="3440" y="425"/>
                  </a:cubicBezTo>
                  <a:moveTo>
                    <a:pt x="3474" y="425"/>
                  </a:moveTo>
                  <a:cubicBezTo>
                    <a:pt x="3467" y="425"/>
                    <a:pt x="3463" y="429"/>
                    <a:pt x="3465" y="435"/>
                  </a:cubicBezTo>
                  <a:cubicBezTo>
                    <a:pt x="3467" y="441"/>
                    <a:pt x="3475" y="445"/>
                    <a:pt x="3481" y="445"/>
                  </a:cubicBezTo>
                  <a:cubicBezTo>
                    <a:pt x="3488" y="445"/>
                    <a:pt x="3492" y="440"/>
                    <a:pt x="3490" y="435"/>
                  </a:cubicBezTo>
                  <a:cubicBezTo>
                    <a:pt x="3488" y="429"/>
                    <a:pt x="3481" y="425"/>
                    <a:pt x="3474" y="425"/>
                  </a:cubicBezTo>
                  <a:cubicBezTo>
                    <a:pt x="3474" y="425"/>
                    <a:pt x="3474" y="425"/>
                    <a:pt x="3474" y="425"/>
                  </a:cubicBezTo>
                  <a:moveTo>
                    <a:pt x="3509" y="424"/>
                  </a:moveTo>
                  <a:cubicBezTo>
                    <a:pt x="3502" y="424"/>
                    <a:pt x="3498" y="429"/>
                    <a:pt x="3500" y="435"/>
                  </a:cubicBezTo>
                  <a:cubicBezTo>
                    <a:pt x="3502" y="440"/>
                    <a:pt x="3509" y="445"/>
                    <a:pt x="3516" y="445"/>
                  </a:cubicBezTo>
                  <a:cubicBezTo>
                    <a:pt x="3523" y="445"/>
                    <a:pt x="3527" y="440"/>
                    <a:pt x="3525" y="435"/>
                  </a:cubicBezTo>
                  <a:cubicBezTo>
                    <a:pt x="3522" y="429"/>
                    <a:pt x="3515" y="424"/>
                    <a:pt x="3509" y="424"/>
                  </a:cubicBezTo>
                  <a:cubicBezTo>
                    <a:pt x="3509" y="424"/>
                    <a:pt x="3509" y="424"/>
                    <a:pt x="3509" y="424"/>
                  </a:cubicBezTo>
                  <a:moveTo>
                    <a:pt x="3544" y="424"/>
                  </a:moveTo>
                  <a:cubicBezTo>
                    <a:pt x="3537" y="424"/>
                    <a:pt x="3533" y="429"/>
                    <a:pt x="3535" y="434"/>
                  </a:cubicBezTo>
                  <a:cubicBezTo>
                    <a:pt x="3537" y="440"/>
                    <a:pt x="3545" y="445"/>
                    <a:pt x="3551" y="445"/>
                  </a:cubicBezTo>
                  <a:cubicBezTo>
                    <a:pt x="3558" y="445"/>
                    <a:pt x="3562" y="440"/>
                    <a:pt x="3560" y="434"/>
                  </a:cubicBezTo>
                  <a:cubicBezTo>
                    <a:pt x="3557" y="429"/>
                    <a:pt x="3550" y="424"/>
                    <a:pt x="3544" y="424"/>
                  </a:cubicBezTo>
                  <a:cubicBezTo>
                    <a:pt x="3544" y="424"/>
                    <a:pt x="3544" y="424"/>
                    <a:pt x="3544" y="424"/>
                  </a:cubicBezTo>
                  <a:moveTo>
                    <a:pt x="3578" y="424"/>
                  </a:moveTo>
                  <a:cubicBezTo>
                    <a:pt x="3571" y="424"/>
                    <a:pt x="3568" y="428"/>
                    <a:pt x="3570" y="434"/>
                  </a:cubicBezTo>
                  <a:cubicBezTo>
                    <a:pt x="3572" y="440"/>
                    <a:pt x="3579" y="444"/>
                    <a:pt x="3586" y="444"/>
                  </a:cubicBezTo>
                  <a:cubicBezTo>
                    <a:pt x="3593" y="444"/>
                    <a:pt x="3596" y="440"/>
                    <a:pt x="3594" y="434"/>
                  </a:cubicBezTo>
                  <a:cubicBezTo>
                    <a:pt x="3592" y="428"/>
                    <a:pt x="3585" y="424"/>
                    <a:pt x="3578" y="424"/>
                  </a:cubicBezTo>
                  <a:cubicBezTo>
                    <a:pt x="3578" y="424"/>
                    <a:pt x="3578" y="424"/>
                    <a:pt x="3578" y="424"/>
                  </a:cubicBezTo>
                  <a:moveTo>
                    <a:pt x="3612" y="423"/>
                  </a:moveTo>
                  <a:cubicBezTo>
                    <a:pt x="3606" y="423"/>
                    <a:pt x="3602" y="428"/>
                    <a:pt x="3604" y="434"/>
                  </a:cubicBezTo>
                  <a:cubicBezTo>
                    <a:pt x="3607" y="439"/>
                    <a:pt x="3614" y="444"/>
                    <a:pt x="3621" y="444"/>
                  </a:cubicBezTo>
                  <a:cubicBezTo>
                    <a:pt x="3627" y="444"/>
                    <a:pt x="3631" y="439"/>
                    <a:pt x="3629" y="434"/>
                  </a:cubicBezTo>
                  <a:cubicBezTo>
                    <a:pt x="3626" y="428"/>
                    <a:pt x="3619" y="423"/>
                    <a:pt x="3612" y="423"/>
                  </a:cubicBezTo>
                  <a:cubicBezTo>
                    <a:pt x="3612" y="423"/>
                    <a:pt x="3612" y="423"/>
                    <a:pt x="3612" y="423"/>
                  </a:cubicBezTo>
                  <a:moveTo>
                    <a:pt x="3647" y="423"/>
                  </a:moveTo>
                  <a:cubicBezTo>
                    <a:pt x="3640" y="423"/>
                    <a:pt x="3637" y="428"/>
                    <a:pt x="3639" y="434"/>
                  </a:cubicBezTo>
                  <a:cubicBezTo>
                    <a:pt x="3641" y="439"/>
                    <a:pt x="3649" y="444"/>
                    <a:pt x="3656" y="444"/>
                  </a:cubicBezTo>
                  <a:cubicBezTo>
                    <a:pt x="3662" y="444"/>
                    <a:pt x="3666" y="439"/>
                    <a:pt x="3663" y="433"/>
                  </a:cubicBezTo>
                  <a:cubicBezTo>
                    <a:pt x="3661" y="428"/>
                    <a:pt x="3654" y="423"/>
                    <a:pt x="3647" y="423"/>
                  </a:cubicBezTo>
                  <a:cubicBezTo>
                    <a:pt x="3647" y="423"/>
                    <a:pt x="3647" y="423"/>
                    <a:pt x="3647" y="423"/>
                  </a:cubicBezTo>
                  <a:moveTo>
                    <a:pt x="3684" y="423"/>
                  </a:moveTo>
                  <a:cubicBezTo>
                    <a:pt x="3677" y="423"/>
                    <a:pt x="3674" y="428"/>
                    <a:pt x="3676" y="433"/>
                  </a:cubicBezTo>
                  <a:cubicBezTo>
                    <a:pt x="3678" y="439"/>
                    <a:pt x="3686" y="444"/>
                    <a:pt x="3693" y="443"/>
                  </a:cubicBezTo>
                  <a:cubicBezTo>
                    <a:pt x="3699" y="443"/>
                    <a:pt x="3703" y="439"/>
                    <a:pt x="3700" y="433"/>
                  </a:cubicBezTo>
                  <a:cubicBezTo>
                    <a:pt x="3698" y="427"/>
                    <a:pt x="3690" y="423"/>
                    <a:pt x="3684" y="423"/>
                  </a:cubicBezTo>
                  <a:cubicBezTo>
                    <a:pt x="3684" y="423"/>
                    <a:pt x="3684" y="423"/>
                    <a:pt x="3684" y="423"/>
                  </a:cubicBezTo>
                  <a:moveTo>
                    <a:pt x="3718" y="423"/>
                  </a:moveTo>
                  <a:cubicBezTo>
                    <a:pt x="3711" y="423"/>
                    <a:pt x="3708" y="427"/>
                    <a:pt x="3710" y="433"/>
                  </a:cubicBezTo>
                  <a:cubicBezTo>
                    <a:pt x="3713" y="439"/>
                    <a:pt x="3720" y="443"/>
                    <a:pt x="3727" y="443"/>
                  </a:cubicBezTo>
                  <a:cubicBezTo>
                    <a:pt x="3734" y="443"/>
                    <a:pt x="3737" y="439"/>
                    <a:pt x="3734" y="433"/>
                  </a:cubicBezTo>
                  <a:cubicBezTo>
                    <a:pt x="3732" y="427"/>
                    <a:pt x="3725" y="423"/>
                    <a:pt x="3718" y="423"/>
                  </a:cubicBezTo>
                  <a:cubicBezTo>
                    <a:pt x="3718" y="423"/>
                    <a:pt x="3718" y="423"/>
                    <a:pt x="3718" y="423"/>
                  </a:cubicBezTo>
                  <a:moveTo>
                    <a:pt x="3752" y="422"/>
                  </a:moveTo>
                  <a:cubicBezTo>
                    <a:pt x="3745" y="422"/>
                    <a:pt x="3742" y="427"/>
                    <a:pt x="3745" y="433"/>
                  </a:cubicBezTo>
                  <a:cubicBezTo>
                    <a:pt x="3747" y="438"/>
                    <a:pt x="3755" y="443"/>
                    <a:pt x="3761" y="443"/>
                  </a:cubicBezTo>
                  <a:cubicBezTo>
                    <a:pt x="3768" y="443"/>
                    <a:pt x="3772" y="438"/>
                    <a:pt x="3769" y="433"/>
                  </a:cubicBezTo>
                  <a:cubicBezTo>
                    <a:pt x="3766" y="427"/>
                    <a:pt x="3759" y="422"/>
                    <a:pt x="3752" y="422"/>
                  </a:cubicBezTo>
                  <a:cubicBezTo>
                    <a:pt x="3752" y="422"/>
                    <a:pt x="3752" y="422"/>
                    <a:pt x="3752" y="422"/>
                  </a:cubicBezTo>
                  <a:moveTo>
                    <a:pt x="3787" y="422"/>
                  </a:moveTo>
                  <a:cubicBezTo>
                    <a:pt x="3780" y="422"/>
                    <a:pt x="3777" y="427"/>
                    <a:pt x="3779" y="433"/>
                  </a:cubicBezTo>
                  <a:cubicBezTo>
                    <a:pt x="3782" y="438"/>
                    <a:pt x="3790" y="443"/>
                    <a:pt x="3796" y="443"/>
                  </a:cubicBezTo>
                  <a:cubicBezTo>
                    <a:pt x="3803" y="443"/>
                    <a:pt x="3806" y="438"/>
                    <a:pt x="3804" y="432"/>
                  </a:cubicBezTo>
                  <a:cubicBezTo>
                    <a:pt x="3801" y="427"/>
                    <a:pt x="3793" y="422"/>
                    <a:pt x="3787" y="422"/>
                  </a:cubicBezTo>
                  <a:cubicBezTo>
                    <a:pt x="3787" y="422"/>
                    <a:pt x="3787" y="422"/>
                    <a:pt x="3787" y="422"/>
                  </a:cubicBezTo>
                  <a:moveTo>
                    <a:pt x="3822" y="422"/>
                  </a:moveTo>
                  <a:cubicBezTo>
                    <a:pt x="3815" y="422"/>
                    <a:pt x="3812" y="427"/>
                    <a:pt x="3814" y="432"/>
                  </a:cubicBezTo>
                  <a:cubicBezTo>
                    <a:pt x="3817" y="438"/>
                    <a:pt x="3825" y="443"/>
                    <a:pt x="3832" y="443"/>
                  </a:cubicBezTo>
                  <a:cubicBezTo>
                    <a:pt x="3838" y="442"/>
                    <a:pt x="3841" y="438"/>
                    <a:pt x="3839" y="432"/>
                  </a:cubicBezTo>
                  <a:cubicBezTo>
                    <a:pt x="3836" y="426"/>
                    <a:pt x="3828" y="422"/>
                    <a:pt x="3822" y="422"/>
                  </a:cubicBezTo>
                  <a:cubicBezTo>
                    <a:pt x="3822" y="422"/>
                    <a:pt x="3822" y="422"/>
                    <a:pt x="3822" y="422"/>
                  </a:cubicBezTo>
                  <a:moveTo>
                    <a:pt x="3856" y="422"/>
                  </a:moveTo>
                  <a:cubicBezTo>
                    <a:pt x="3849" y="422"/>
                    <a:pt x="3846" y="426"/>
                    <a:pt x="3849" y="432"/>
                  </a:cubicBezTo>
                  <a:cubicBezTo>
                    <a:pt x="3852" y="438"/>
                    <a:pt x="3859" y="442"/>
                    <a:pt x="3866" y="442"/>
                  </a:cubicBezTo>
                  <a:cubicBezTo>
                    <a:pt x="3873" y="442"/>
                    <a:pt x="3876" y="438"/>
                    <a:pt x="3873" y="432"/>
                  </a:cubicBezTo>
                  <a:cubicBezTo>
                    <a:pt x="3870" y="426"/>
                    <a:pt x="3863" y="422"/>
                    <a:pt x="3856" y="422"/>
                  </a:cubicBezTo>
                  <a:cubicBezTo>
                    <a:pt x="3856" y="422"/>
                    <a:pt x="3856" y="422"/>
                    <a:pt x="3856" y="422"/>
                  </a:cubicBezTo>
                  <a:moveTo>
                    <a:pt x="3890" y="421"/>
                  </a:moveTo>
                  <a:cubicBezTo>
                    <a:pt x="3884" y="422"/>
                    <a:pt x="3881" y="426"/>
                    <a:pt x="3884" y="432"/>
                  </a:cubicBezTo>
                  <a:cubicBezTo>
                    <a:pt x="3886" y="438"/>
                    <a:pt x="3894" y="442"/>
                    <a:pt x="3901" y="442"/>
                  </a:cubicBezTo>
                  <a:cubicBezTo>
                    <a:pt x="3908" y="442"/>
                    <a:pt x="3911" y="437"/>
                    <a:pt x="3908" y="432"/>
                  </a:cubicBezTo>
                  <a:cubicBezTo>
                    <a:pt x="3905" y="426"/>
                    <a:pt x="3897" y="421"/>
                    <a:pt x="3891" y="421"/>
                  </a:cubicBezTo>
                  <a:cubicBezTo>
                    <a:pt x="3891" y="421"/>
                    <a:pt x="3891" y="421"/>
                    <a:pt x="3890" y="421"/>
                  </a:cubicBezTo>
                  <a:moveTo>
                    <a:pt x="3925" y="421"/>
                  </a:moveTo>
                  <a:cubicBezTo>
                    <a:pt x="3918" y="421"/>
                    <a:pt x="3915" y="426"/>
                    <a:pt x="3918" y="432"/>
                  </a:cubicBezTo>
                  <a:cubicBezTo>
                    <a:pt x="3921" y="437"/>
                    <a:pt x="3929" y="442"/>
                    <a:pt x="3935" y="442"/>
                  </a:cubicBezTo>
                  <a:cubicBezTo>
                    <a:pt x="3942" y="442"/>
                    <a:pt x="3945" y="437"/>
                    <a:pt x="3942" y="431"/>
                  </a:cubicBezTo>
                  <a:cubicBezTo>
                    <a:pt x="3939" y="426"/>
                    <a:pt x="3932" y="421"/>
                    <a:pt x="3925" y="421"/>
                  </a:cubicBezTo>
                  <a:cubicBezTo>
                    <a:pt x="3925" y="421"/>
                    <a:pt x="3925" y="421"/>
                    <a:pt x="3925" y="421"/>
                  </a:cubicBezTo>
                  <a:moveTo>
                    <a:pt x="3959" y="421"/>
                  </a:moveTo>
                  <a:cubicBezTo>
                    <a:pt x="3953" y="421"/>
                    <a:pt x="3950" y="426"/>
                    <a:pt x="3953" y="431"/>
                  </a:cubicBezTo>
                  <a:cubicBezTo>
                    <a:pt x="3956" y="437"/>
                    <a:pt x="3964" y="442"/>
                    <a:pt x="3970" y="442"/>
                  </a:cubicBezTo>
                  <a:cubicBezTo>
                    <a:pt x="3977" y="442"/>
                    <a:pt x="3980" y="437"/>
                    <a:pt x="3977" y="431"/>
                  </a:cubicBezTo>
                  <a:cubicBezTo>
                    <a:pt x="3974" y="426"/>
                    <a:pt x="3966" y="421"/>
                    <a:pt x="3959" y="421"/>
                  </a:cubicBezTo>
                  <a:cubicBezTo>
                    <a:pt x="3959" y="421"/>
                    <a:pt x="3959" y="421"/>
                    <a:pt x="3959" y="421"/>
                  </a:cubicBezTo>
                  <a:moveTo>
                    <a:pt x="3993" y="421"/>
                  </a:moveTo>
                  <a:cubicBezTo>
                    <a:pt x="3986" y="421"/>
                    <a:pt x="3983" y="425"/>
                    <a:pt x="3986" y="431"/>
                  </a:cubicBezTo>
                  <a:cubicBezTo>
                    <a:pt x="3989" y="437"/>
                    <a:pt x="3997" y="441"/>
                    <a:pt x="4004" y="441"/>
                  </a:cubicBezTo>
                  <a:cubicBezTo>
                    <a:pt x="4011" y="441"/>
                    <a:pt x="4014" y="437"/>
                    <a:pt x="4011" y="431"/>
                  </a:cubicBezTo>
                  <a:cubicBezTo>
                    <a:pt x="4008" y="425"/>
                    <a:pt x="4000" y="421"/>
                    <a:pt x="3993" y="421"/>
                  </a:cubicBezTo>
                  <a:cubicBezTo>
                    <a:pt x="3993" y="421"/>
                    <a:pt x="3993" y="421"/>
                    <a:pt x="3993" y="421"/>
                  </a:cubicBezTo>
                  <a:moveTo>
                    <a:pt x="4028" y="420"/>
                  </a:moveTo>
                  <a:cubicBezTo>
                    <a:pt x="4021" y="421"/>
                    <a:pt x="4018" y="425"/>
                    <a:pt x="4021" y="431"/>
                  </a:cubicBezTo>
                  <a:cubicBezTo>
                    <a:pt x="4025" y="437"/>
                    <a:pt x="4033" y="441"/>
                    <a:pt x="4039" y="441"/>
                  </a:cubicBezTo>
                  <a:cubicBezTo>
                    <a:pt x="4046" y="441"/>
                    <a:pt x="4049" y="436"/>
                    <a:pt x="4046" y="431"/>
                  </a:cubicBezTo>
                  <a:cubicBezTo>
                    <a:pt x="4042" y="425"/>
                    <a:pt x="4035" y="420"/>
                    <a:pt x="4028" y="420"/>
                  </a:cubicBezTo>
                  <a:cubicBezTo>
                    <a:pt x="4028" y="420"/>
                    <a:pt x="4028" y="420"/>
                    <a:pt x="4028" y="420"/>
                  </a:cubicBezTo>
                  <a:moveTo>
                    <a:pt x="4063" y="420"/>
                  </a:moveTo>
                  <a:cubicBezTo>
                    <a:pt x="4056" y="420"/>
                    <a:pt x="4053" y="425"/>
                    <a:pt x="4056" y="431"/>
                  </a:cubicBezTo>
                  <a:cubicBezTo>
                    <a:pt x="4060" y="436"/>
                    <a:pt x="4068" y="441"/>
                    <a:pt x="4074" y="441"/>
                  </a:cubicBezTo>
                  <a:cubicBezTo>
                    <a:pt x="4081" y="441"/>
                    <a:pt x="4084" y="436"/>
                    <a:pt x="4081" y="430"/>
                  </a:cubicBezTo>
                  <a:cubicBezTo>
                    <a:pt x="4077" y="425"/>
                    <a:pt x="4069" y="420"/>
                    <a:pt x="4063" y="420"/>
                  </a:cubicBezTo>
                  <a:cubicBezTo>
                    <a:pt x="4063" y="420"/>
                    <a:pt x="4063" y="420"/>
                    <a:pt x="4063" y="420"/>
                  </a:cubicBezTo>
                  <a:moveTo>
                    <a:pt x="339" y="419"/>
                  </a:moveTo>
                  <a:cubicBezTo>
                    <a:pt x="332" y="420"/>
                    <a:pt x="323" y="424"/>
                    <a:pt x="319" y="430"/>
                  </a:cubicBezTo>
                  <a:cubicBezTo>
                    <a:pt x="314" y="435"/>
                    <a:pt x="316" y="440"/>
                    <a:pt x="323" y="440"/>
                  </a:cubicBezTo>
                  <a:cubicBezTo>
                    <a:pt x="330" y="440"/>
                    <a:pt x="339" y="435"/>
                    <a:pt x="343" y="430"/>
                  </a:cubicBezTo>
                  <a:cubicBezTo>
                    <a:pt x="347" y="424"/>
                    <a:pt x="346" y="419"/>
                    <a:pt x="339" y="419"/>
                  </a:cubicBezTo>
                  <a:cubicBezTo>
                    <a:pt x="339" y="419"/>
                    <a:pt x="339" y="419"/>
                    <a:pt x="339" y="419"/>
                  </a:cubicBezTo>
                  <a:moveTo>
                    <a:pt x="373" y="419"/>
                  </a:moveTo>
                  <a:cubicBezTo>
                    <a:pt x="367" y="419"/>
                    <a:pt x="358" y="424"/>
                    <a:pt x="353" y="429"/>
                  </a:cubicBezTo>
                  <a:cubicBezTo>
                    <a:pt x="349" y="435"/>
                    <a:pt x="351" y="440"/>
                    <a:pt x="357" y="439"/>
                  </a:cubicBezTo>
                  <a:cubicBezTo>
                    <a:pt x="364" y="439"/>
                    <a:pt x="373" y="435"/>
                    <a:pt x="377" y="429"/>
                  </a:cubicBezTo>
                  <a:cubicBezTo>
                    <a:pt x="382" y="424"/>
                    <a:pt x="380" y="419"/>
                    <a:pt x="373" y="419"/>
                  </a:cubicBezTo>
                  <a:cubicBezTo>
                    <a:pt x="373" y="419"/>
                    <a:pt x="373" y="419"/>
                    <a:pt x="373" y="419"/>
                  </a:cubicBezTo>
                  <a:moveTo>
                    <a:pt x="408" y="419"/>
                  </a:moveTo>
                  <a:cubicBezTo>
                    <a:pt x="401" y="419"/>
                    <a:pt x="392" y="424"/>
                    <a:pt x="388" y="429"/>
                  </a:cubicBezTo>
                  <a:cubicBezTo>
                    <a:pt x="384" y="435"/>
                    <a:pt x="385" y="439"/>
                    <a:pt x="392" y="439"/>
                  </a:cubicBezTo>
                  <a:cubicBezTo>
                    <a:pt x="399" y="439"/>
                    <a:pt x="408" y="435"/>
                    <a:pt x="412" y="429"/>
                  </a:cubicBezTo>
                  <a:cubicBezTo>
                    <a:pt x="416" y="423"/>
                    <a:pt x="414" y="419"/>
                    <a:pt x="408" y="419"/>
                  </a:cubicBezTo>
                  <a:cubicBezTo>
                    <a:pt x="408" y="419"/>
                    <a:pt x="408" y="419"/>
                    <a:pt x="408" y="419"/>
                  </a:cubicBezTo>
                  <a:moveTo>
                    <a:pt x="442" y="419"/>
                  </a:moveTo>
                  <a:cubicBezTo>
                    <a:pt x="435" y="419"/>
                    <a:pt x="427" y="423"/>
                    <a:pt x="422" y="429"/>
                  </a:cubicBezTo>
                  <a:cubicBezTo>
                    <a:pt x="418" y="435"/>
                    <a:pt x="420" y="439"/>
                    <a:pt x="427" y="439"/>
                  </a:cubicBezTo>
                  <a:cubicBezTo>
                    <a:pt x="433" y="439"/>
                    <a:pt x="442" y="434"/>
                    <a:pt x="447" y="429"/>
                  </a:cubicBezTo>
                  <a:cubicBezTo>
                    <a:pt x="451" y="423"/>
                    <a:pt x="449" y="419"/>
                    <a:pt x="442" y="419"/>
                  </a:cubicBezTo>
                  <a:cubicBezTo>
                    <a:pt x="442" y="419"/>
                    <a:pt x="442" y="419"/>
                    <a:pt x="442" y="419"/>
                  </a:cubicBezTo>
                  <a:moveTo>
                    <a:pt x="477" y="418"/>
                  </a:moveTo>
                  <a:cubicBezTo>
                    <a:pt x="470" y="419"/>
                    <a:pt x="461" y="423"/>
                    <a:pt x="457" y="429"/>
                  </a:cubicBezTo>
                  <a:cubicBezTo>
                    <a:pt x="453" y="434"/>
                    <a:pt x="455" y="439"/>
                    <a:pt x="462" y="439"/>
                  </a:cubicBezTo>
                  <a:cubicBezTo>
                    <a:pt x="468" y="439"/>
                    <a:pt x="477" y="434"/>
                    <a:pt x="481" y="429"/>
                  </a:cubicBezTo>
                  <a:cubicBezTo>
                    <a:pt x="485" y="423"/>
                    <a:pt x="483" y="418"/>
                    <a:pt x="477" y="418"/>
                  </a:cubicBezTo>
                  <a:cubicBezTo>
                    <a:pt x="477" y="418"/>
                    <a:pt x="477" y="418"/>
                    <a:pt x="477" y="418"/>
                  </a:cubicBezTo>
                  <a:moveTo>
                    <a:pt x="512" y="418"/>
                  </a:moveTo>
                  <a:cubicBezTo>
                    <a:pt x="506" y="418"/>
                    <a:pt x="497" y="423"/>
                    <a:pt x="493" y="428"/>
                  </a:cubicBezTo>
                  <a:cubicBezTo>
                    <a:pt x="489" y="434"/>
                    <a:pt x="491" y="439"/>
                    <a:pt x="497" y="438"/>
                  </a:cubicBezTo>
                  <a:cubicBezTo>
                    <a:pt x="504" y="438"/>
                    <a:pt x="513" y="434"/>
                    <a:pt x="517" y="428"/>
                  </a:cubicBezTo>
                  <a:cubicBezTo>
                    <a:pt x="521" y="423"/>
                    <a:pt x="519" y="418"/>
                    <a:pt x="512" y="418"/>
                  </a:cubicBezTo>
                  <a:cubicBezTo>
                    <a:pt x="512" y="418"/>
                    <a:pt x="512" y="418"/>
                    <a:pt x="512" y="418"/>
                  </a:cubicBezTo>
                  <a:moveTo>
                    <a:pt x="546" y="418"/>
                  </a:moveTo>
                  <a:cubicBezTo>
                    <a:pt x="540" y="418"/>
                    <a:pt x="531" y="423"/>
                    <a:pt x="527" y="428"/>
                  </a:cubicBezTo>
                  <a:cubicBezTo>
                    <a:pt x="523" y="434"/>
                    <a:pt x="525" y="438"/>
                    <a:pt x="532" y="438"/>
                  </a:cubicBezTo>
                  <a:cubicBezTo>
                    <a:pt x="539" y="438"/>
                    <a:pt x="547" y="434"/>
                    <a:pt x="551" y="428"/>
                  </a:cubicBezTo>
                  <a:cubicBezTo>
                    <a:pt x="555" y="422"/>
                    <a:pt x="553" y="418"/>
                    <a:pt x="547" y="418"/>
                  </a:cubicBezTo>
                  <a:cubicBezTo>
                    <a:pt x="547" y="418"/>
                    <a:pt x="547" y="418"/>
                    <a:pt x="546" y="418"/>
                  </a:cubicBezTo>
                  <a:moveTo>
                    <a:pt x="581" y="418"/>
                  </a:moveTo>
                  <a:cubicBezTo>
                    <a:pt x="574" y="418"/>
                    <a:pt x="566" y="422"/>
                    <a:pt x="562" y="428"/>
                  </a:cubicBezTo>
                  <a:cubicBezTo>
                    <a:pt x="558" y="434"/>
                    <a:pt x="560" y="438"/>
                    <a:pt x="567" y="438"/>
                  </a:cubicBezTo>
                  <a:cubicBezTo>
                    <a:pt x="573" y="438"/>
                    <a:pt x="582" y="433"/>
                    <a:pt x="586" y="428"/>
                  </a:cubicBezTo>
                  <a:cubicBezTo>
                    <a:pt x="590" y="422"/>
                    <a:pt x="588" y="418"/>
                    <a:pt x="581" y="418"/>
                  </a:cubicBezTo>
                  <a:cubicBezTo>
                    <a:pt x="581" y="418"/>
                    <a:pt x="581" y="418"/>
                    <a:pt x="581" y="418"/>
                  </a:cubicBezTo>
                  <a:moveTo>
                    <a:pt x="616" y="417"/>
                  </a:moveTo>
                  <a:cubicBezTo>
                    <a:pt x="609" y="418"/>
                    <a:pt x="601" y="422"/>
                    <a:pt x="597" y="428"/>
                  </a:cubicBezTo>
                  <a:cubicBezTo>
                    <a:pt x="593" y="433"/>
                    <a:pt x="595" y="438"/>
                    <a:pt x="602" y="438"/>
                  </a:cubicBezTo>
                  <a:cubicBezTo>
                    <a:pt x="609" y="438"/>
                    <a:pt x="617" y="433"/>
                    <a:pt x="621" y="428"/>
                  </a:cubicBezTo>
                  <a:cubicBezTo>
                    <a:pt x="625" y="422"/>
                    <a:pt x="623" y="417"/>
                    <a:pt x="616" y="417"/>
                  </a:cubicBezTo>
                  <a:cubicBezTo>
                    <a:pt x="616" y="417"/>
                    <a:pt x="616" y="417"/>
                    <a:pt x="616" y="417"/>
                  </a:cubicBezTo>
                  <a:moveTo>
                    <a:pt x="650" y="417"/>
                  </a:moveTo>
                  <a:cubicBezTo>
                    <a:pt x="643" y="417"/>
                    <a:pt x="635" y="422"/>
                    <a:pt x="631" y="427"/>
                  </a:cubicBezTo>
                  <a:cubicBezTo>
                    <a:pt x="627" y="433"/>
                    <a:pt x="630" y="438"/>
                    <a:pt x="636" y="437"/>
                  </a:cubicBezTo>
                  <a:cubicBezTo>
                    <a:pt x="643" y="437"/>
                    <a:pt x="652" y="433"/>
                    <a:pt x="655" y="427"/>
                  </a:cubicBezTo>
                  <a:cubicBezTo>
                    <a:pt x="659" y="422"/>
                    <a:pt x="657" y="417"/>
                    <a:pt x="650" y="417"/>
                  </a:cubicBezTo>
                  <a:cubicBezTo>
                    <a:pt x="650" y="417"/>
                    <a:pt x="650" y="417"/>
                    <a:pt x="650" y="417"/>
                  </a:cubicBezTo>
                  <a:moveTo>
                    <a:pt x="685" y="417"/>
                  </a:moveTo>
                  <a:cubicBezTo>
                    <a:pt x="678" y="417"/>
                    <a:pt x="669" y="422"/>
                    <a:pt x="666" y="427"/>
                  </a:cubicBezTo>
                  <a:cubicBezTo>
                    <a:pt x="662" y="433"/>
                    <a:pt x="664" y="437"/>
                    <a:pt x="671" y="437"/>
                  </a:cubicBezTo>
                  <a:cubicBezTo>
                    <a:pt x="678" y="437"/>
                    <a:pt x="686" y="433"/>
                    <a:pt x="690" y="427"/>
                  </a:cubicBezTo>
                  <a:cubicBezTo>
                    <a:pt x="694" y="421"/>
                    <a:pt x="691" y="417"/>
                    <a:pt x="685" y="417"/>
                  </a:cubicBezTo>
                  <a:cubicBezTo>
                    <a:pt x="685" y="417"/>
                    <a:pt x="685" y="417"/>
                    <a:pt x="685" y="417"/>
                  </a:cubicBezTo>
                  <a:moveTo>
                    <a:pt x="719" y="417"/>
                  </a:moveTo>
                  <a:cubicBezTo>
                    <a:pt x="712" y="417"/>
                    <a:pt x="704" y="421"/>
                    <a:pt x="700" y="427"/>
                  </a:cubicBezTo>
                  <a:cubicBezTo>
                    <a:pt x="696" y="433"/>
                    <a:pt x="699" y="437"/>
                    <a:pt x="706" y="437"/>
                  </a:cubicBezTo>
                  <a:cubicBezTo>
                    <a:pt x="712" y="437"/>
                    <a:pt x="721" y="432"/>
                    <a:pt x="724" y="427"/>
                  </a:cubicBezTo>
                  <a:cubicBezTo>
                    <a:pt x="728" y="421"/>
                    <a:pt x="726" y="417"/>
                    <a:pt x="719" y="417"/>
                  </a:cubicBezTo>
                  <a:cubicBezTo>
                    <a:pt x="719" y="417"/>
                    <a:pt x="719" y="417"/>
                    <a:pt x="719" y="417"/>
                  </a:cubicBezTo>
                  <a:moveTo>
                    <a:pt x="753" y="416"/>
                  </a:moveTo>
                  <a:cubicBezTo>
                    <a:pt x="747" y="417"/>
                    <a:pt x="738" y="421"/>
                    <a:pt x="735" y="427"/>
                  </a:cubicBezTo>
                  <a:cubicBezTo>
                    <a:pt x="731" y="432"/>
                    <a:pt x="734" y="437"/>
                    <a:pt x="740" y="437"/>
                  </a:cubicBezTo>
                  <a:cubicBezTo>
                    <a:pt x="747" y="437"/>
                    <a:pt x="755" y="432"/>
                    <a:pt x="759" y="427"/>
                  </a:cubicBezTo>
                  <a:cubicBezTo>
                    <a:pt x="763" y="421"/>
                    <a:pt x="760" y="416"/>
                    <a:pt x="753" y="416"/>
                  </a:cubicBezTo>
                  <a:cubicBezTo>
                    <a:pt x="753" y="416"/>
                    <a:pt x="753" y="416"/>
                    <a:pt x="753" y="416"/>
                  </a:cubicBezTo>
                  <a:moveTo>
                    <a:pt x="788" y="416"/>
                  </a:moveTo>
                  <a:cubicBezTo>
                    <a:pt x="782" y="416"/>
                    <a:pt x="773" y="421"/>
                    <a:pt x="770" y="426"/>
                  </a:cubicBezTo>
                  <a:cubicBezTo>
                    <a:pt x="766" y="432"/>
                    <a:pt x="769" y="437"/>
                    <a:pt x="775" y="437"/>
                  </a:cubicBezTo>
                  <a:cubicBezTo>
                    <a:pt x="782" y="436"/>
                    <a:pt x="790" y="432"/>
                    <a:pt x="794" y="426"/>
                  </a:cubicBezTo>
                  <a:cubicBezTo>
                    <a:pt x="797" y="421"/>
                    <a:pt x="795" y="416"/>
                    <a:pt x="788" y="416"/>
                  </a:cubicBezTo>
                  <a:cubicBezTo>
                    <a:pt x="788" y="416"/>
                    <a:pt x="788" y="416"/>
                    <a:pt x="788" y="416"/>
                  </a:cubicBezTo>
                  <a:moveTo>
                    <a:pt x="822" y="416"/>
                  </a:moveTo>
                  <a:cubicBezTo>
                    <a:pt x="816" y="416"/>
                    <a:pt x="808" y="421"/>
                    <a:pt x="804" y="426"/>
                  </a:cubicBezTo>
                  <a:cubicBezTo>
                    <a:pt x="801" y="432"/>
                    <a:pt x="803" y="436"/>
                    <a:pt x="810" y="436"/>
                  </a:cubicBezTo>
                  <a:cubicBezTo>
                    <a:pt x="817" y="436"/>
                    <a:pt x="825" y="432"/>
                    <a:pt x="828" y="426"/>
                  </a:cubicBezTo>
                  <a:cubicBezTo>
                    <a:pt x="832" y="420"/>
                    <a:pt x="829" y="416"/>
                    <a:pt x="823" y="416"/>
                  </a:cubicBezTo>
                  <a:cubicBezTo>
                    <a:pt x="823" y="416"/>
                    <a:pt x="822" y="416"/>
                    <a:pt x="822" y="416"/>
                  </a:cubicBezTo>
                  <a:moveTo>
                    <a:pt x="855" y="416"/>
                  </a:moveTo>
                  <a:cubicBezTo>
                    <a:pt x="848" y="416"/>
                    <a:pt x="840" y="420"/>
                    <a:pt x="837" y="426"/>
                  </a:cubicBezTo>
                  <a:cubicBezTo>
                    <a:pt x="833" y="432"/>
                    <a:pt x="836" y="436"/>
                    <a:pt x="843" y="436"/>
                  </a:cubicBezTo>
                  <a:cubicBezTo>
                    <a:pt x="850" y="436"/>
                    <a:pt x="858" y="431"/>
                    <a:pt x="861" y="426"/>
                  </a:cubicBezTo>
                  <a:cubicBezTo>
                    <a:pt x="864" y="420"/>
                    <a:pt x="862" y="416"/>
                    <a:pt x="855" y="416"/>
                  </a:cubicBezTo>
                  <a:cubicBezTo>
                    <a:pt x="855" y="416"/>
                    <a:pt x="855" y="416"/>
                    <a:pt x="855" y="416"/>
                  </a:cubicBezTo>
                  <a:moveTo>
                    <a:pt x="890" y="415"/>
                  </a:moveTo>
                  <a:cubicBezTo>
                    <a:pt x="883" y="416"/>
                    <a:pt x="875" y="420"/>
                    <a:pt x="872" y="426"/>
                  </a:cubicBezTo>
                  <a:cubicBezTo>
                    <a:pt x="868" y="431"/>
                    <a:pt x="871" y="436"/>
                    <a:pt x="878" y="436"/>
                  </a:cubicBezTo>
                  <a:cubicBezTo>
                    <a:pt x="885" y="436"/>
                    <a:pt x="893" y="431"/>
                    <a:pt x="896" y="426"/>
                  </a:cubicBezTo>
                  <a:cubicBezTo>
                    <a:pt x="899" y="420"/>
                    <a:pt x="897" y="415"/>
                    <a:pt x="890" y="415"/>
                  </a:cubicBezTo>
                  <a:cubicBezTo>
                    <a:pt x="890" y="415"/>
                    <a:pt x="890" y="415"/>
                    <a:pt x="890" y="415"/>
                  </a:cubicBezTo>
                  <a:moveTo>
                    <a:pt x="924" y="415"/>
                  </a:moveTo>
                  <a:cubicBezTo>
                    <a:pt x="917" y="415"/>
                    <a:pt x="909" y="420"/>
                    <a:pt x="906" y="425"/>
                  </a:cubicBezTo>
                  <a:cubicBezTo>
                    <a:pt x="903" y="431"/>
                    <a:pt x="906" y="436"/>
                    <a:pt x="912" y="436"/>
                  </a:cubicBezTo>
                  <a:cubicBezTo>
                    <a:pt x="919" y="435"/>
                    <a:pt x="927" y="431"/>
                    <a:pt x="930" y="425"/>
                  </a:cubicBezTo>
                  <a:cubicBezTo>
                    <a:pt x="934" y="420"/>
                    <a:pt x="931" y="415"/>
                    <a:pt x="924" y="415"/>
                  </a:cubicBezTo>
                  <a:cubicBezTo>
                    <a:pt x="924" y="415"/>
                    <a:pt x="924" y="415"/>
                    <a:pt x="924" y="415"/>
                  </a:cubicBezTo>
                  <a:moveTo>
                    <a:pt x="959" y="415"/>
                  </a:moveTo>
                  <a:cubicBezTo>
                    <a:pt x="952" y="415"/>
                    <a:pt x="944" y="420"/>
                    <a:pt x="941" y="425"/>
                  </a:cubicBezTo>
                  <a:cubicBezTo>
                    <a:pt x="938" y="431"/>
                    <a:pt x="940" y="435"/>
                    <a:pt x="947" y="435"/>
                  </a:cubicBezTo>
                  <a:cubicBezTo>
                    <a:pt x="954" y="435"/>
                    <a:pt x="962" y="431"/>
                    <a:pt x="965" y="425"/>
                  </a:cubicBezTo>
                  <a:cubicBezTo>
                    <a:pt x="968" y="419"/>
                    <a:pt x="965" y="415"/>
                    <a:pt x="959" y="415"/>
                  </a:cubicBezTo>
                  <a:cubicBezTo>
                    <a:pt x="959" y="415"/>
                    <a:pt x="959" y="415"/>
                    <a:pt x="959" y="415"/>
                  </a:cubicBezTo>
                  <a:moveTo>
                    <a:pt x="993" y="415"/>
                  </a:moveTo>
                  <a:cubicBezTo>
                    <a:pt x="986" y="415"/>
                    <a:pt x="978" y="419"/>
                    <a:pt x="975" y="425"/>
                  </a:cubicBezTo>
                  <a:cubicBezTo>
                    <a:pt x="972" y="431"/>
                    <a:pt x="975" y="435"/>
                    <a:pt x="982" y="435"/>
                  </a:cubicBezTo>
                  <a:cubicBezTo>
                    <a:pt x="988" y="435"/>
                    <a:pt x="996" y="430"/>
                    <a:pt x="999" y="425"/>
                  </a:cubicBezTo>
                  <a:cubicBezTo>
                    <a:pt x="1002" y="419"/>
                    <a:pt x="999" y="415"/>
                    <a:pt x="993" y="415"/>
                  </a:cubicBezTo>
                  <a:cubicBezTo>
                    <a:pt x="993" y="415"/>
                    <a:pt x="993" y="415"/>
                    <a:pt x="993" y="415"/>
                  </a:cubicBezTo>
                  <a:moveTo>
                    <a:pt x="1027" y="415"/>
                  </a:moveTo>
                  <a:cubicBezTo>
                    <a:pt x="1021" y="415"/>
                    <a:pt x="1013" y="419"/>
                    <a:pt x="1010" y="425"/>
                  </a:cubicBezTo>
                  <a:cubicBezTo>
                    <a:pt x="1007" y="430"/>
                    <a:pt x="1010" y="435"/>
                    <a:pt x="1016" y="435"/>
                  </a:cubicBezTo>
                  <a:cubicBezTo>
                    <a:pt x="1023" y="435"/>
                    <a:pt x="1031" y="430"/>
                    <a:pt x="1034" y="425"/>
                  </a:cubicBezTo>
                  <a:cubicBezTo>
                    <a:pt x="1037" y="419"/>
                    <a:pt x="1034" y="415"/>
                    <a:pt x="1027" y="415"/>
                  </a:cubicBezTo>
                  <a:cubicBezTo>
                    <a:pt x="1027" y="415"/>
                    <a:pt x="1027" y="415"/>
                    <a:pt x="1027" y="415"/>
                  </a:cubicBezTo>
                  <a:moveTo>
                    <a:pt x="1062" y="414"/>
                  </a:moveTo>
                  <a:cubicBezTo>
                    <a:pt x="1055" y="414"/>
                    <a:pt x="1048" y="419"/>
                    <a:pt x="1045" y="424"/>
                  </a:cubicBezTo>
                  <a:cubicBezTo>
                    <a:pt x="1042" y="430"/>
                    <a:pt x="1045" y="435"/>
                    <a:pt x="1051" y="435"/>
                  </a:cubicBezTo>
                  <a:cubicBezTo>
                    <a:pt x="1058" y="435"/>
                    <a:pt x="1066" y="430"/>
                    <a:pt x="1069" y="424"/>
                  </a:cubicBezTo>
                  <a:cubicBezTo>
                    <a:pt x="1072" y="419"/>
                    <a:pt x="1069" y="414"/>
                    <a:pt x="1062" y="414"/>
                  </a:cubicBezTo>
                  <a:cubicBezTo>
                    <a:pt x="1062" y="414"/>
                    <a:pt x="1062" y="414"/>
                    <a:pt x="1062" y="414"/>
                  </a:cubicBezTo>
                  <a:moveTo>
                    <a:pt x="1096" y="414"/>
                  </a:moveTo>
                  <a:cubicBezTo>
                    <a:pt x="1090" y="414"/>
                    <a:pt x="1082" y="419"/>
                    <a:pt x="1079" y="424"/>
                  </a:cubicBezTo>
                  <a:cubicBezTo>
                    <a:pt x="1076" y="430"/>
                    <a:pt x="1079" y="434"/>
                    <a:pt x="1086" y="434"/>
                  </a:cubicBezTo>
                  <a:cubicBezTo>
                    <a:pt x="1093" y="434"/>
                    <a:pt x="1100" y="430"/>
                    <a:pt x="1103" y="424"/>
                  </a:cubicBezTo>
                  <a:cubicBezTo>
                    <a:pt x="1106" y="419"/>
                    <a:pt x="1103" y="414"/>
                    <a:pt x="1096" y="414"/>
                  </a:cubicBezTo>
                  <a:cubicBezTo>
                    <a:pt x="1096" y="414"/>
                    <a:pt x="1096" y="414"/>
                    <a:pt x="1096" y="414"/>
                  </a:cubicBezTo>
                  <a:moveTo>
                    <a:pt x="1130" y="414"/>
                  </a:moveTo>
                  <a:cubicBezTo>
                    <a:pt x="1123" y="414"/>
                    <a:pt x="1116" y="418"/>
                    <a:pt x="1113" y="424"/>
                  </a:cubicBezTo>
                  <a:cubicBezTo>
                    <a:pt x="1110" y="430"/>
                    <a:pt x="1113" y="434"/>
                    <a:pt x="1120" y="434"/>
                  </a:cubicBezTo>
                  <a:cubicBezTo>
                    <a:pt x="1127" y="434"/>
                    <a:pt x="1134" y="429"/>
                    <a:pt x="1137" y="424"/>
                  </a:cubicBezTo>
                  <a:cubicBezTo>
                    <a:pt x="1140" y="418"/>
                    <a:pt x="1137" y="414"/>
                    <a:pt x="1130" y="414"/>
                  </a:cubicBezTo>
                  <a:cubicBezTo>
                    <a:pt x="1130" y="414"/>
                    <a:pt x="1130" y="414"/>
                    <a:pt x="1130" y="414"/>
                  </a:cubicBezTo>
                  <a:moveTo>
                    <a:pt x="1269" y="413"/>
                  </a:moveTo>
                  <a:cubicBezTo>
                    <a:pt x="1263" y="413"/>
                    <a:pt x="1255" y="417"/>
                    <a:pt x="1253" y="423"/>
                  </a:cubicBezTo>
                  <a:cubicBezTo>
                    <a:pt x="1250" y="429"/>
                    <a:pt x="1253" y="433"/>
                    <a:pt x="1260" y="433"/>
                  </a:cubicBezTo>
                  <a:cubicBezTo>
                    <a:pt x="1267" y="433"/>
                    <a:pt x="1274" y="428"/>
                    <a:pt x="1277" y="423"/>
                  </a:cubicBezTo>
                  <a:cubicBezTo>
                    <a:pt x="1279" y="417"/>
                    <a:pt x="1276" y="413"/>
                    <a:pt x="1269" y="413"/>
                  </a:cubicBezTo>
                  <a:cubicBezTo>
                    <a:pt x="1269" y="413"/>
                    <a:pt x="1269" y="413"/>
                    <a:pt x="1269" y="413"/>
                  </a:cubicBezTo>
                  <a:moveTo>
                    <a:pt x="2093" y="407"/>
                  </a:moveTo>
                  <a:cubicBezTo>
                    <a:pt x="2086" y="408"/>
                    <a:pt x="2080" y="412"/>
                    <a:pt x="2079" y="418"/>
                  </a:cubicBezTo>
                  <a:cubicBezTo>
                    <a:pt x="2078" y="423"/>
                    <a:pt x="2083" y="428"/>
                    <a:pt x="2090" y="428"/>
                  </a:cubicBezTo>
                  <a:cubicBezTo>
                    <a:pt x="2097" y="428"/>
                    <a:pt x="2103" y="423"/>
                    <a:pt x="2103" y="418"/>
                  </a:cubicBezTo>
                  <a:cubicBezTo>
                    <a:pt x="2104" y="412"/>
                    <a:pt x="2100" y="407"/>
                    <a:pt x="2093" y="407"/>
                  </a:cubicBezTo>
                  <a:cubicBezTo>
                    <a:pt x="2093" y="407"/>
                    <a:pt x="2093" y="407"/>
                    <a:pt x="2093" y="407"/>
                  </a:cubicBezTo>
                  <a:moveTo>
                    <a:pt x="2126" y="407"/>
                  </a:moveTo>
                  <a:cubicBezTo>
                    <a:pt x="2119" y="407"/>
                    <a:pt x="2113" y="412"/>
                    <a:pt x="2112" y="418"/>
                  </a:cubicBezTo>
                  <a:cubicBezTo>
                    <a:pt x="2111" y="423"/>
                    <a:pt x="2116" y="428"/>
                    <a:pt x="2123" y="428"/>
                  </a:cubicBezTo>
                  <a:cubicBezTo>
                    <a:pt x="2130" y="428"/>
                    <a:pt x="2136" y="423"/>
                    <a:pt x="2136" y="417"/>
                  </a:cubicBezTo>
                  <a:cubicBezTo>
                    <a:pt x="2137" y="412"/>
                    <a:pt x="2132" y="407"/>
                    <a:pt x="2126" y="407"/>
                  </a:cubicBezTo>
                  <a:cubicBezTo>
                    <a:pt x="2126" y="407"/>
                    <a:pt x="2126" y="407"/>
                    <a:pt x="2126" y="407"/>
                  </a:cubicBezTo>
                  <a:moveTo>
                    <a:pt x="2160" y="407"/>
                  </a:moveTo>
                  <a:cubicBezTo>
                    <a:pt x="2154" y="407"/>
                    <a:pt x="2148" y="412"/>
                    <a:pt x="2147" y="417"/>
                  </a:cubicBezTo>
                  <a:cubicBezTo>
                    <a:pt x="2146" y="423"/>
                    <a:pt x="2151" y="427"/>
                    <a:pt x="2158" y="427"/>
                  </a:cubicBezTo>
                  <a:cubicBezTo>
                    <a:pt x="2165" y="427"/>
                    <a:pt x="2171" y="423"/>
                    <a:pt x="2171" y="417"/>
                  </a:cubicBezTo>
                  <a:cubicBezTo>
                    <a:pt x="2172" y="412"/>
                    <a:pt x="2167" y="407"/>
                    <a:pt x="2160" y="407"/>
                  </a:cubicBezTo>
                  <a:cubicBezTo>
                    <a:pt x="2160" y="407"/>
                    <a:pt x="2160" y="407"/>
                    <a:pt x="2160" y="407"/>
                  </a:cubicBezTo>
                  <a:moveTo>
                    <a:pt x="2197" y="403"/>
                  </a:moveTo>
                  <a:cubicBezTo>
                    <a:pt x="2190" y="403"/>
                    <a:pt x="2184" y="408"/>
                    <a:pt x="2184" y="413"/>
                  </a:cubicBezTo>
                  <a:cubicBezTo>
                    <a:pt x="2183" y="419"/>
                    <a:pt x="2188" y="424"/>
                    <a:pt x="2195" y="424"/>
                  </a:cubicBezTo>
                  <a:cubicBezTo>
                    <a:pt x="2201" y="424"/>
                    <a:pt x="2207" y="419"/>
                    <a:pt x="2208" y="413"/>
                  </a:cubicBezTo>
                  <a:cubicBezTo>
                    <a:pt x="2209" y="408"/>
                    <a:pt x="2204" y="403"/>
                    <a:pt x="2197" y="403"/>
                  </a:cubicBezTo>
                  <a:cubicBezTo>
                    <a:pt x="2197" y="403"/>
                    <a:pt x="2197" y="403"/>
                    <a:pt x="2197" y="403"/>
                  </a:cubicBezTo>
                  <a:moveTo>
                    <a:pt x="2232" y="403"/>
                  </a:moveTo>
                  <a:cubicBezTo>
                    <a:pt x="2226" y="403"/>
                    <a:pt x="2220" y="408"/>
                    <a:pt x="2219" y="413"/>
                  </a:cubicBezTo>
                  <a:cubicBezTo>
                    <a:pt x="2219" y="419"/>
                    <a:pt x="2223" y="423"/>
                    <a:pt x="2230" y="423"/>
                  </a:cubicBezTo>
                  <a:cubicBezTo>
                    <a:pt x="2237" y="423"/>
                    <a:pt x="2243" y="419"/>
                    <a:pt x="2243" y="413"/>
                  </a:cubicBezTo>
                  <a:cubicBezTo>
                    <a:pt x="2244" y="407"/>
                    <a:pt x="2239" y="403"/>
                    <a:pt x="2232" y="403"/>
                  </a:cubicBezTo>
                  <a:cubicBezTo>
                    <a:pt x="2232" y="403"/>
                    <a:pt x="2232" y="403"/>
                    <a:pt x="2232" y="403"/>
                  </a:cubicBezTo>
                  <a:moveTo>
                    <a:pt x="2266" y="403"/>
                  </a:moveTo>
                  <a:cubicBezTo>
                    <a:pt x="2260" y="403"/>
                    <a:pt x="2254" y="407"/>
                    <a:pt x="2253" y="413"/>
                  </a:cubicBezTo>
                  <a:cubicBezTo>
                    <a:pt x="2253" y="419"/>
                    <a:pt x="2258" y="423"/>
                    <a:pt x="2264" y="423"/>
                  </a:cubicBezTo>
                  <a:cubicBezTo>
                    <a:pt x="2271" y="423"/>
                    <a:pt x="2277" y="418"/>
                    <a:pt x="2277" y="413"/>
                  </a:cubicBezTo>
                  <a:cubicBezTo>
                    <a:pt x="2278" y="407"/>
                    <a:pt x="2273" y="403"/>
                    <a:pt x="2266" y="403"/>
                  </a:cubicBezTo>
                  <a:cubicBezTo>
                    <a:pt x="2266" y="403"/>
                    <a:pt x="2266" y="403"/>
                    <a:pt x="2266" y="403"/>
                  </a:cubicBezTo>
                  <a:moveTo>
                    <a:pt x="2300" y="402"/>
                  </a:moveTo>
                  <a:cubicBezTo>
                    <a:pt x="2293" y="402"/>
                    <a:pt x="2288" y="407"/>
                    <a:pt x="2287" y="413"/>
                  </a:cubicBezTo>
                  <a:cubicBezTo>
                    <a:pt x="2287" y="418"/>
                    <a:pt x="2292" y="423"/>
                    <a:pt x="2299" y="423"/>
                  </a:cubicBezTo>
                  <a:cubicBezTo>
                    <a:pt x="2305" y="423"/>
                    <a:pt x="2311" y="418"/>
                    <a:pt x="2311" y="413"/>
                  </a:cubicBezTo>
                  <a:cubicBezTo>
                    <a:pt x="2312" y="407"/>
                    <a:pt x="2307" y="402"/>
                    <a:pt x="2300" y="402"/>
                  </a:cubicBezTo>
                  <a:cubicBezTo>
                    <a:pt x="2300" y="402"/>
                    <a:pt x="2300" y="402"/>
                    <a:pt x="2300" y="402"/>
                  </a:cubicBezTo>
                  <a:moveTo>
                    <a:pt x="2334" y="402"/>
                  </a:moveTo>
                  <a:cubicBezTo>
                    <a:pt x="2327" y="402"/>
                    <a:pt x="2322" y="407"/>
                    <a:pt x="2321" y="412"/>
                  </a:cubicBezTo>
                  <a:cubicBezTo>
                    <a:pt x="2321" y="418"/>
                    <a:pt x="2326" y="423"/>
                    <a:pt x="2333" y="423"/>
                  </a:cubicBezTo>
                  <a:cubicBezTo>
                    <a:pt x="2340" y="423"/>
                    <a:pt x="2345" y="418"/>
                    <a:pt x="2346" y="412"/>
                  </a:cubicBezTo>
                  <a:cubicBezTo>
                    <a:pt x="2346" y="407"/>
                    <a:pt x="2341" y="402"/>
                    <a:pt x="2334" y="402"/>
                  </a:cubicBezTo>
                  <a:cubicBezTo>
                    <a:pt x="2334" y="402"/>
                    <a:pt x="2334" y="402"/>
                    <a:pt x="2334" y="402"/>
                  </a:cubicBezTo>
                  <a:moveTo>
                    <a:pt x="2369" y="402"/>
                  </a:moveTo>
                  <a:cubicBezTo>
                    <a:pt x="2362" y="402"/>
                    <a:pt x="2356" y="407"/>
                    <a:pt x="2356" y="412"/>
                  </a:cubicBezTo>
                  <a:cubicBezTo>
                    <a:pt x="2356" y="418"/>
                    <a:pt x="2361" y="422"/>
                    <a:pt x="2368" y="422"/>
                  </a:cubicBezTo>
                  <a:cubicBezTo>
                    <a:pt x="2374" y="422"/>
                    <a:pt x="2380" y="418"/>
                    <a:pt x="2380" y="412"/>
                  </a:cubicBezTo>
                  <a:cubicBezTo>
                    <a:pt x="2380" y="406"/>
                    <a:pt x="2375" y="402"/>
                    <a:pt x="2369" y="402"/>
                  </a:cubicBezTo>
                  <a:cubicBezTo>
                    <a:pt x="2369" y="402"/>
                    <a:pt x="2369" y="402"/>
                    <a:pt x="2369" y="402"/>
                  </a:cubicBezTo>
                  <a:moveTo>
                    <a:pt x="2575" y="402"/>
                  </a:moveTo>
                  <a:cubicBezTo>
                    <a:pt x="2568" y="402"/>
                    <a:pt x="2563" y="406"/>
                    <a:pt x="2563" y="412"/>
                  </a:cubicBezTo>
                  <a:cubicBezTo>
                    <a:pt x="2563" y="418"/>
                    <a:pt x="2569" y="422"/>
                    <a:pt x="2575" y="422"/>
                  </a:cubicBezTo>
                  <a:cubicBezTo>
                    <a:pt x="2582" y="422"/>
                    <a:pt x="2587" y="418"/>
                    <a:pt x="2587" y="412"/>
                  </a:cubicBezTo>
                  <a:cubicBezTo>
                    <a:pt x="2587" y="406"/>
                    <a:pt x="2581" y="402"/>
                    <a:pt x="2575" y="402"/>
                  </a:cubicBezTo>
                  <a:cubicBezTo>
                    <a:pt x="2575" y="402"/>
                    <a:pt x="2575" y="402"/>
                    <a:pt x="2575" y="402"/>
                  </a:cubicBezTo>
                  <a:moveTo>
                    <a:pt x="2403" y="402"/>
                  </a:moveTo>
                  <a:cubicBezTo>
                    <a:pt x="2397" y="402"/>
                    <a:pt x="2391" y="406"/>
                    <a:pt x="2391" y="412"/>
                  </a:cubicBezTo>
                  <a:cubicBezTo>
                    <a:pt x="2391" y="418"/>
                    <a:pt x="2396" y="422"/>
                    <a:pt x="2402" y="422"/>
                  </a:cubicBezTo>
                  <a:cubicBezTo>
                    <a:pt x="2409" y="422"/>
                    <a:pt x="2415" y="417"/>
                    <a:pt x="2415" y="412"/>
                  </a:cubicBezTo>
                  <a:cubicBezTo>
                    <a:pt x="2415" y="406"/>
                    <a:pt x="2410" y="402"/>
                    <a:pt x="2403" y="402"/>
                  </a:cubicBezTo>
                  <a:cubicBezTo>
                    <a:pt x="2403" y="402"/>
                    <a:pt x="2403" y="402"/>
                    <a:pt x="2403" y="402"/>
                  </a:cubicBezTo>
                  <a:moveTo>
                    <a:pt x="2610" y="402"/>
                  </a:moveTo>
                  <a:cubicBezTo>
                    <a:pt x="2603" y="402"/>
                    <a:pt x="2598" y="406"/>
                    <a:pt x="2598" y="412"/>
                  </a:cubicBezTo>
                  <a:cubicBezTo>
                    <a:pt x="2598" y="417"/>
                    <a:pt x="2604" y="422"/>
                    <a:pt x="2610" y="422"/>
                  </a:cubicBezTo>
                  <a:cubicBezTo>
                    <a:pt x="2617" y="422"/>
                    <a:pt x="2622" y="417"/>
                    <a:pt x="2622" y="412"/>
                  </a:cubicBezTo>
                  <a:cubicBezTo>
                    <a:pt x="2622" y="406"/>
                    <a:pt x="2616" y="402"/>
                    <a:pt x="2610" y="402"/>
                  </a:cubicBezTo>
                  <a:cubicBezTo>
                    <a:pt x="2610" y="402"/>
                    <a:pt x="2610" y="402"/>
                    <a:pt x="2610" y="402"/>
                  </a:cubicBezTo>
                  <a:moveTo>
                    <a:pt x="2437" y="401"/>
                  </a:moveTo>
                  <a:cubicBezTo>
                    <a:pt x="2431" y="401"/>
                    <a:pt x="2425" y="406"/>
                    <a:pt x="2425" y="412"/>
                  </a:cubicBezTo>
                  <a:cubicBezTo>
                    <a:pt x="2425" y="417"/>
                    <a:pt x="2430" y="422"/>
                    <a:pt x="2437" y="422"/>
                  </a:cubicBezTo>
                  <a:cubicBezTo>
                    <a:pt x="2443" y="422"/>
                    <a:pt x="2449" y="417"/>
                    <a:pt x="2449" y="412"/>
                  </a:cubicBezTo>
                  <a:cubicBezTo>
                    <a:pt x="2449" y="406"/>
                    <a:pt x="2444" y="401"/>
                    <a:pt x="2437" y="401"/>
                  </a:cubicBezTo>
                  <a:cubicBezTo>
                    <a:pt x="2437" y="401"/>
                    <a:pt x="2437" y="401"/>
                    <a:pt x="2437" y="401"/>
                  </a:cubicBezTo>
                  <a:moveTo>
                    <a:pt x="2644" y="401"/>
                  </a:moveTo>
                  <a:cubicBezTo>
                    <a:pt x="2637" y="401"/>
                    <a:pt x="2632" y="406"/>
                    <a:pt x="2632" y="412"/>
                  </a:cubicBezTo>
                  <a:cubicBezTo>
                    <a:pt x="2632" y="417"/>
                    <a:pt x="2638" y="422"/>
                    <a:pt x="2645" y="422"/>
                  </a:cubicBezTo>
                  <a:cubicBezTo>
                    <a:pt x="2651" y="422"/>
                    <a:pt x="2657" y="417"/>
                    <a:pt x="2656" y="411"/>
                  </a:cubicBezTo>
                  <a:cubicBezTo>
                    <a:pt x="2656" y="406"/>
                    <a:pt x="2650" y="401"/>
                    <a:pt x="2644" y="401"/>
                  </a:cubicBezTo>
                  <a:cubicBezTo>
                    <a:pt x="2644" y="401"/>
                    <a:pt x="2644" y="401"/>
                    <a:pt x="2644" y="401"/>
                  </a:cubicBezTo>
                  <a:moveTo>
                    <a:pt x="2471" y="401"/>
                  </a:moveTo>
                  <a:cubicBezTo>
                    <a:pt x="2465" y="401"/>
                    <a:pt x="2459" y="406"/>
                    <a:pt x="2459" y="411"/>
                  </a:cubicBezTo>
                  <a:cubicBezTo>
                    <a:pt x="2459" y="417"/>
                    <a:pt x="2465" y="422"/>
                    <a:pt x="2471" y="422"/>
                  </a:cubicBezTo>
                  <a:cubicBezTo>
                    <a:pt x="2478" y="422"/>
                    <a:pt x="2483" y="417"/>
                    <a:pt x="2483" y="411"/>
                  </a:cubicBezTo>
                  <a:cubicBezTo>
                    <a:pt x="2483" y="406"/>
                    <a:pt x="2478" y="401"/>
                    <a:pt x="2472" y="401"/>
                  </a:cubicBezTo>
                  <a:cubicBezTo>
                    <a:pt x="2472" y="401"/>
                    <a:pt x="2472" y="401"/>
                    <a:pt x="2471" y="401"/>
                  </a:cubicBezTo>
                  <a:moveTo>
                    <a:pt x="2677" y="401"/>
                  </a:moveTo>
                  <a:cubicBezTo>
                    <a:pt x="2671" y="401"/>
                    <a:pt x="2666" y="406"/>
                    <a:pt x="2666" y="411"/>
                  </a:cubicBezTo>
                  <a:cubicBezTo>
                    <a:pt x="2666" y="417"/>
                    <a:pt x="2672" y="422"/>
                    <a:pt x="2679" y="421"/>
                  </a:cubicBezTo>
                  <a:cubicBezTo>
                    <a:pt x="2686" y="421"/>
                    <a:pt x="2691" y="417"/>
                    <a:pt x="2690" y="411"/>
                  </a:cubicBezTo>
                  <a:cubicBezTo>
                    <a:pt x="2690" y="406"/>
                    <a:pt x="2684" y="401"/>
                    <a:pt x="2678" y="401"/>
                  </a:cubicBezTo>
                  <a:cubicBezTo>
                    <a:pt x="2678" y="401"/>
                    <a:pt x="2678" y="401"/>
                    <a:pt x="2677" y="401"/>
                  </a:cubicBezTo>
                  <a:moveTo>
                    <a:pt x="2506" y="401"/>
                  </a:moveTo>
                  <a:cubicBezTo>
                    <a:pt x="2499" y="401"/>
                    <a:pt x="2494" y="406"/>
                    <a:pt x="2494" y="411"/>
                  </a:cubicBezTo>
                  <a:cubicBezTo>
                    <a:pt x="2494" y="417"/>
                    <a:pt x="2499" y="421"/>
                    <a:pt x="2506" y="421"/>
                  </a:cubicBezTo>
                  <a:cubicBezTo>
                    <a:pt x="2512" y="421"/>
                    <a:pt x="2518" y="417"/>
                    <a:pt x="2518" y="411"/>
                  </a:cubicBezTo>
                  <a:cubicBezTo>
                    <a:pt x="2518" y="405"/>
                    <a:pt x="2512" y="401"/>
                    <a:pt x="2506" y="401"/>
                  </a:cubicBezTo>
                  <a:cubicBezTo>
                    <a:pt x="2506" y="401"/>
                    <a:pt x="2506" y="401"/>
                    <a:pt x="2506" y="401"/>
                  </a:cubicBezTo>
                  <a:moveTo>
                    <a:pt x="2712" y="401"/>
                  </a:moveTo>
                  <a:cubicBezTo>
                    <a:pt x="2705" y="401"/>
                    <a:pt x="2700" y="405"/>
                    <a:pt x="2700" y="411"/>
                  </a:cubicBezTo>
                  <a:cubicBezTo>
                    <a:pt x="2701" y="417"/>
                    <a:pt x="2706" y="421"/>
                    <a:pt x="2713" y="421"/>
                  </a:cubicBezTo>
                  <a:cubicBezTo>
                    <a:pt x="2720" y="421"/>
                    <a:pt x="2725" y="417"/>
                    <a:pt x="2724" y="411"/>
                  </a:cubicBezTo>
                  <a:cubicBezTo>
                    <a:pt x="2724" y="405"/>
                    <a:pt x="2718" y="401"/>
                    <a:pt x="2712" y="401"/>
                  </a:cubicBezTo>
                  <a:cubicBezTo>
                    <a:pt x="2712" y="401"/>
                    <a:pt x="2712" y="401"/>
                    <a:pt x="2712" y="401"/>
                  </a:cubicBezTo>
                  <a:moveTo>
                    <a:pt x="2540" y="401"/>
                  </a:moveTo>
                  <a:cubicBezTo>
                    <a:pt x="2533" y="401"/>
                    <a:pt x="2528" y="405"/>
                    <a:pt x="2528" y="411"/>
                  </a:cubicBezTo>
                  <a:cubicBezTo>
                    <a:pt x="2528" y="417"/>
                    <a:pt x="2534" y="421"/>
                    <a:pt x="2540" y="421"/>
                  </a:cubicBezTo>
                  <a:cubicBezTo>
                    <a:pt x="2547" y="421"/>
                    <a:pt x="2552" y="416"/>
                    <a:pt x="2552" y="411"/>
                  </a:cubicBezTo>
                  <a:cubicBezTo>
                    <a:pt x="2552" y="405"/>
                    <a:pt x="2547" y="401"/>
                    <a:pt x="2540" y="401"/>
                  </a:cubicBezTo>
                  <a:cubicBezTo>
                    <a:pt x="2540" y="401"/>
                    <a:pt x="2540" y="401"/>
                    <a:pt x="2540" y="401"/>
                  </a:cubicBezTo>
                  <a:moveTo>
                    <a:pt x="2746" y="401"/>
                  </a:moveTo>
                  <a:cubicBezTo>
                    <a:pt x="2739" y="401"/>
                    <a:pt x="2734" y="405"/>
                    <a:pt x="2735" y="411"/>
                  </a:cubicBezTo>
                  <a:cubicBezTo>
                    <a:pt x="2735" y="416"/>
                    <a:pt x="2741" y="421"/>
                    <a:pt x="2748" y="421"/>
                  </a:cubicBezTo>
                  <a:cubicBezTo>
                    <a:pt x="2754" y="421"/>
                    <a:pt x="2759" y="416"/>
                    <a:pt x="2759" y="411"/>
                  </a:cubicBezTo>
                  <a:cubicBezTo>
                    <a:pt x="2758" y="405"/>
                    <a:pt x="2753" y="401"/>
                    <a:pt x="2746" y="401"/>
                  </a:cubicBezTo>
                  <a:cubicBezTo>
                    <a:pt x="2746" y="401"/>
                    <a:pt x="2746" y="401"/>
                    <a:pt x="2746" y="401"/>
                  </a:cubicBezTo>
                  <a:moveTo>
                    <a:pt x="2781" y="400"/>
                  </a:moveTo>
                  <a:cubicBezTo>
                    <a:pt x="2774" y="400"/>
                    <a:pt x="2769" y="405"/>
                    <a:pt x="2770" y="411"/>
                  </a:cubicBezTo>
                  <a:cubicBezTo>
                    <a:pt x="2770" y="416"/>
                    <a:pt x="2776" y="421"/>
                    <a:pt x="2783" y="421"/>
                  </a:cubicBezTo>
                  <a:cubicBezTo>
                    <a:pt x="2789" y="421"/>
                    <a:pt x="2794" y="416"/>
                    <a:pt x="2794" y="410"/>
                  </a:cubicBezTo>
                  <a:cubicBezTo>
                    <a:pt x="2793" y="405"/>
                    <a:pt x="2787" y="400"/>
                    <a:pt x="2781" y="400"/>
                  </a:cubicBezTo>
                  <a:cubicBezTo>
                    <a:pt x="2781" y="400"/>
                    <a:pt x="2781" y="400"/>
                    <a:pt x="2781" y="400"/>
                  </a:cubicBezTo>
                  <a:moveTo>
                    <a:pt x="2815" y="400"/>
                  </a:moveTo>
                  <a:cubicBezTo>
                    <a:pt x="2808" y="400"/>
                    <a:pt x="2803" y="405"/>
                    <a:pt x="2804" y="410"/>
                  </a:cubicBezTo>
                  <a:cubicBezTo>
                    <a:pt x="2804" y="416"/>
                    <a:pt x="2810" y="421"/>
                    <a:pt x="2817" y="421"/>
                  </a:cubicBezTo>
                  <a:cubicBezTo>
                    <a:pt x="2824" y="420"/>
                    <a:pt x="2828" y="416"/>
                    <a:pt x="2828" y="410"/>
                  </a:cubicBezTo>
                  <a:cubicBezTo>
                    <a:pt x="2827" y="405"/>
                    <a:pt x="2821" y="400"/>
                    <a:pt x="2815" y="400"/>
                  </a:cubicBezTo>
                  <a:cubicBezTo>
                    <a:pt x="2815" y="400"/>
                    <a:pt x="2815" y="400"/>
                    <a:pt x="2815" y="400"/>
                  </a:cubicBezTo>
                  <a:moveTo>
                    <a:pt x="2849" y="400"/>
                  </a:moveTo>
                  <a:cubicBezTo>
                    <a:pt x="2842" y="400"/>
                    <a:pt x="2837" y="404"/>
                    <a:pt x="2838" y="410"/>
                  </a:cubicBezTo>
                  <a:cubicBezTo>
                    <a:pt x="2839" y="416"/>
                    <a:pt x="2845" y="420"/>
                    <a:pt x="2851" y="420"/>
                  </a:cubicBezTo>
                  <a:cubicBezTo>
                    <a:pt x="2858" y="420"/>
                    <a:pt x="2863" y="416"/>
                    <a:pt x="2862" y="410"/>
                  </a:cubicBezTo>
                  <a:cubicBezTo>
                    <a:pt x="2861" y="404"/>
                    <a:pt x="2856" y="400"/>
                    <a:pt x="2849" y="400"/>
                  </a:cubicBezTo>
                  <a:cubicBezTo>
                    <a:pt x="2849" y="400"/>
                    <a:pt x="2849" y="400"/>
                    <a:pt x="2849" y="400"/>
                  </a:cubicBezTo>
                  <a:moveTo>
                    <a:pt x="2883" y="400"/>
                  </a:moveTo>
                  <a:cubicBezTo>
                    <a:pt x="2876" y="400"/>
                    <a:pt x="2872" y="404"/>
                    <a:pt x="2872" y="410"/>
                  </a:cubicBezTo>
                  <a:cubicBezTo>
                    <a:pt x="2873" y="416"/>
                    <a:pt x="2879" y="420"/>
                    <a:pt x="2886" y="420"/>
                  </a:cubicBezTo>
                  <a:cubicBezTo>
                    <a:pt x="2892" y="420"/>
                    <a:pt x="2897" y="415"/>
                    <a:pt x="2896" y="410"/>
                  </a:cubicBezTo>
                  <a:cubicBezTo>
                    <a:pt x="2896" y="404"/>
                    <a:pt x="2890" y="400"/>
                    <a:pt x="2883" y="400"/>
                  </a:cubicBezTo>
                  <a:cubicBezTo>
                    <a:pt x="2883" y="400"/>
                    <a:pt x="2883" y="400"/>
                    <a:pt x="2883" y="400"/>
                  </a:cubicBezTo>
                  <a:moveTo>
                    <a:pt x="2917" y="399"/>
                  </a:moveTo>
                  <a:cubicBezTo>
                    <a:pt x="2911" y="399"/>
                    <a:pt x="2906" y="404"/>
                    <a:pt x="2907" y="410"/>
                  </a:cubicBezTo>
                  <a:cubicBezTo>
                    <a:pt x="2908" y="415"/>
                    <a:pt x="2914" y="420"/>
                    <a:pt x="2920" y="420"/>
                  </a:cubicBezTo>
                  <a:cubicBezTo>
                    <a:pt x="2927" y="420"/>
                    <a:pt x="2932" y="415"/>
                    <a:pt x="2931" y="409"/>
                  </a:cubicBezTo>
                  <a:cubicBezTo>
                    <a:pt x="2930" y="404"/>
                    <a:pt x="2924" y="399"/>
                    <a:pt x="2917" y="399"/>
                  </a:cubicBezTo>
                  <a:cubicBezTo>
                    <a:pt x="2917" y="399"/>
                    <a:pt x="2917" y="399"/>
                    <a:pt x="2917" y="399"/>
                  </a:cubicBezTo>
                  <a:moveTo>
                    <a:pt x="2952" y="399"/>
                  </a:moveTo>
                  <a:cubicBezTo>
                    <a:pt x="2945" y="399"/>
                    <a:pt x="2941" y="404"/>
                    <a:pt x="2942" y="409"/>
                  </a:cubicBezTo>
                  <a:cubicBezTo>
                    <a:pt x="2942" y="415"/>
                    <a:pt x="2949" y="420"/>
                    <a:pt x="2955" y="420"/>
                  </a:cubicBezTo>
                  <a:cubicBezTo>
                    <a:pt x="2962" y="419"/>
                    <a:pt x="2967" y="415"/>
                    <a:pt x="2966" y="409"/>
                  </a:cubicBezTo>
                  <a:cubicBezTo>
                    <a:pt x="2965" y="404"/>
                    <a:pt x="2959" y="399"/>
                    <a:pt x="2952" y="399"/>
                  </a:cubicBezTo>
                  <a:cubicBezTo>
                    <a:pt x="2952" y="399"/>
                    <a:pt x="2952" y="399"/>
                    <a:pt x="2952" y="399"/>
                  </a:cubicBezTo>
                  <a:moveTo>
                    <a:pt x="2985" y="399"/>
                  </a:moveTo>
                  <a:cubicBezTo>
                    <a:pt x="2978" y="399"/>
                    <a:pt x="2974" y="403"/>
                    <a:pt x="2975" y="409"/>
                  </a:cubicBezTo>
                  <a:cubicBezTo>
                    <a:pt x="2976" y="415"/>
                    <a:pt x="2982" y="419"/>
                    <a:pt x="2989" y="419"/>
                  </a:cubicBezTo>
                  <a:cubicBezTo>
                    <a:pt x="2995" y="419"/>
                    <a:pt x="3000" y="415"/>
                    <a:pt x="2999" y="409"/>
                  </a:cubicBezTo>
                  <a:cubicBezTo>
                    <a:pt x="2998" y="403"/>
                    <a:pt x="2992" y="399"/>
                    <a:pt x="2985" y="399"/>
                  </a:cubicBezTo>
                  <a:cubicBezTo>
                    <a:pt x="2985" y="399"/>
                    <a:pt x="2985" y="399"/>
                    <a:pt x="2985" y="399"/>
                  </a:cubicBezTo>
                  <a:moveTo>
                    <a:pt x="3019" y="399"/>
                  </a:moveTo>
                  <a:cubicBezTo>
                    <a:pt x="3012" y="399"/>
                    <a:pt x="3008" y="403"/>
                    <a:pt x="3009" y="409"/>
                  </a:cubicBezTo>
                  <a:cubicBezTo>
                    <a:pt x="3010" y="415"/>
                    <a:pt x="3016" y="419"/>
                    <a:pt x="3023" y="419"/>
                  </a:cubicBezTo>
                  <a:cubicBezTo>
                    <a:pt x="3030" y="419"/>
                    <a:pt x="3034" y="414"/>
                    <a:pt x="3033" y="409"/>
                  </a:cubicBezTo>
                  <a:cubicBezTo>
                    <a:pt x="3032" y="403"/>
                    <a:pt x="3026" y="399"/>
                    <a:pt x="3019" y="399"/>
                  </a:cubicBezTo>
                  <a:cubicBezTo>
                    <a:pt x="3019" y="399"/>
                    <a:pt x="3019" y="399"/>
                    <a:pt x="3019" y="399"/>
                  </a:cubicBezTo>
                  <a:moveTo>
                    <a:pt x="3053" y="398"/>
                  </a:moveTo>
                  <a:cubicBezTo>
                    <a:pt x="3046" y="398"/>
                    <a:pt x="3042" y="403"/>
                    <a:pt x="3043" y="409"/>
                  </a:cubicBezTo>
                  <a:cubicBezTo>
                    <a:pt x="3044" y="414"/>
                    <a:pt x="3050" y="419"/>
                    <a:pt x="3057" y="419"/>
                  </a:cubicBezTo>
                  <a:cubicBezTo>
                    <a:pt x="3064" y="419"/>
                    <a:pt x="3068" y="414"/>
                    <a:pt x="3067" y="408"/>
                  </a:cubicBezTo>
                  <a:cubicBezTo>
                    <a:pt x="3066" y="403"/>
                    <a:pt x="3059" y="398"/>
                    <a:pt x="3053" y="398"/>
                  </a:cubicBezTo>
                  <a:cubicBezTo>
                    <a:pt x="3053" y="398"/>
                    <a:pt x="3053" y="398"/>
                    <a:pt x="3053" y="398"/>
                  </a:cubicBezTo>
                  <a:moveTo>
                    <a:pt x="3087" y="398"/>
                  </a:moveTo>
                  <a:cubicBezTo>
                    <a:pt x="3080" y="398"/>
                    <a:pt x="3076" y="403"/>
                    <a:pt x="3077" y="408"/>
                  </a:cubicBezTo>
                  <a:cubicBezTo>
                    <a:pt x="3078" y="414"/>
                    <a:pt x="3085" y="419"/>
                    <a:pt x="3091" y="419"/>
                  </a:cubicBezTo>
                  <a:cubicBezTo>
                    <a:pt x="3098" y="419"/>
                    <a:pt x="3102" y="414"/>
                    <a:pt x="3101" y="408"/>
                  </a:cubicBezTo>
                  <a:cubicBezTo>
                    <a:pt x="3100" y="403"/>
                    <a:pt x="3093" y="398"/>
                    <a:pt x="3087" y="398"/>
                  </a:cubicBezTo>
                  <a:cubicBezTo>
                    <a:pt x="3087" y="398"/>
                    <a:pt x="3087" y="398"/>
                    <a:pt x="3087" y="398"/>
                  </a:cubicBezTo>
                  <a:moveTo>
                    <a:pt x="3121" y="398"/>
                  </a:moveTo>
                  <a:cubicBezTo>
                    <a:pt x="3114" y="398"/>
                    <a:pt x="3110" y="402"/>
                    <a:pt x="3111" y="408"/>
                  </a:cubicBezTo>
                  <a:cubicBezTo>
                    <a:pt x="3113" y="414"/>
                    <a:pt x="3119" y="418"/>
                    <a:pt x="3126" y="418"/>
                  </a:cubicBezTo>
                  <a:cubicBezTo>
                    <a:pt x="3132" y="418"/>
                    <a:pt x="3137" y="414"/>
                    <a:pt x="3135" y="408"/>
                  </a:cubicBezTo>
                  <a:cubicBezTo>
                    <a:pt x="3134" y="402"/>
                    <a:pt x="3128" y="398"/>
                    <a:pt x="3121" y="398"/>
                  </a:cubicBezTo>
                  <a:cubicBezTo>
                    <a:pt x="3121" y="398"/>
                    <a:pt x="3121" y="398"/>
                    <a:pt x="3121" y="398"/>
                  </a:cubicBezTo>
                  <a:moveTo>
                    <a:pt x="3362" y="398"/>
                  </a:moveTo>
                  <a:cubicBezTo>
                    <a:pt x="3356" y="398"/>
                    <a:pt x="3352" y="402"/>
                    <a:pt x="3354" y="408"/>
                  </a:cubicBezTo>
                  <a:cubicBezTo>
                    <a:pt x="3355" y="414"/>
                    <a:pt x="3362" y="418"/>
                    <a:pt x="3369" y="418"/>
                  </a:cubicBezTo>
                  <a:cubicBezTo>
                    <a:pt x="3376" y="418"/>
                    <a:pt x="3379" y="414"/>
                    <a:pt x="3378" y="408"/>
                  </a:cubicBezTo>
                  <a:cubicBezTo>
                    <a:pt x="3376" y="402"/>
                    <a:pt x="3369" y="398"/>
                    <a:pt x="3362" y="398"/>
                  </a:cubicBezTo>
                  <a:cubicBezTo>
                    <a:pt x="3362" y="398"/>
                    <a:pt x="3362" y="398"/>
                    <a:pt x="3362" y="398"/>
                  </a:cubicBezTo>
                  <a:moveTo>
                    <a:pt x="3156" y="398"/>
                  </a:moveTo>
                  <a:cubicBezTo>
                    <a:pt x="3149" y="398"/>
                    <a:pt x="3145" y="402"/>
                    <a:pt x="3146" y="408"/>
                  </a:cubicBezTo>
                  <a:cubicBezTo>
                    <a:pt x="3147" y="414"/>
                    <a:pt x="3154" y="418"/>
                    <a:pt x="3161" y="418"/>
                  </a:cubicBezTo>
                  <a:cubicBezTo>
                    <a:pt x="3167" y="418"/>
                    <a:pt x="3172" y="413"/>
                    <a:pt x="3170" y="408"/>
                  </a:cubicBezTo>
                  <a:cubicBezTo>
                    <a:pt x="3169" y="402"/>
                    <a:pt x="3162" y="398"/>
                    <a:pt x="3156" y="398"/>
                  </a:cubicBezTo>
                  <a:cubicBezTo>
                    <a:pt x="3156" y="398"/>
                    <a:pt x="3156" y="398"/>
                    <a:pt x="3156" y="398"/>
                  </a:cubicBezTo>
                  <a:moveTo>
                    <a:pt x="3396" y="397"/>
                  </a:moveTo>
                  <a:cubicBezTo>
                    <a:pt x="3390" y="398"/>
                    <a:pt x="3386" y="402"/>
                    <a:pt x="3387" y="408"/>
                  </a:cubicBezTo>
                  <a:cubicBezTo>
                    <a:pt x="3389" y="413"/>
                    <a:pt x="3396" y="418"/>
                    <a:pt x="3403" y="418"/>
                  </a:cubicBezTo>
                  <a:cubicBezTo>
                    <a:pt x="3410" y="418"/>
                    <a:pt x="3413" y="413"/>
                    <a:pt x="3412" y="408"/>
                  </a:cubicBezTo>
                  <a:cubicBezTo>
                    <a:pt x="3410" y="402"/>
                    <a:pt x="3403" y="397"/>
                    <a:pt x="3396" y="397"/>
                  </a:cubicBezTo>
                  <a:cubicBezTo>
                    <a:pt x="3396" y="397"/>
                    <a:pt x="3396" y="397"/>
                    <a:pt x="3396" y="397"/>
                  </a:cubicBezTo>
                  <a:moveTo>
                    <a:pt x="3190" y="397"/>
                  </a:moveTo>
                  <a:cubicBezTo>
                    <a:pt x="3183" y="397"/>
                    <a:pt x="3179" y="402"/>
                    <a:pt x="3180" y="408"/>
                  </a:cubicBezTo>
                  <a:cubicBezTo>
                    <a:pt x="3182" y="413"/>
                    <a:pt x="3188" y="418"/>
                    <a:pt x="3195" y="418"/>
                  </a:cubicBezTo>
                  <a:cubicBezTo>
                    <a:pt x="3202" y="418"/>
                    <a:pt x="3206" y="413"/>
                    <a:pt x="3204" y="407"/>
                  </a:cubicBezTo>
                  <a:cubicBezTo>
                    <a:pt x="3203" y="402"/>
                    <a:pt x="3196" y="397"/>
                    <a:pt x="3190" y="397"/>
                  </a:cubicBezTo>
                  <a:cubicBezTo>
                    <a:pt x="3190" y="397"/>
                    <a:pt x="3190" y="397"/>
                    <a:pt x="3190" y="397"/>
                  </a:cubicBezTo>
                  <a:moveTo>
                    <a:pt x="3430" y="397"/>
                  </a:moveTo>
                  <a:cubicBezTo>
                    <a:pt x="3424" y="397"/>
                    <a:pt x="3420" y="402"/>
                    <a:pt x="3422" y="408"/>
                  </a:cubicBezTo>
                  <a:cubicBezTo>
                    <a:pt x="3424" y="413"/>
                    <a:pt x="3430" y="418"/>
                    <a:pt x="3437" y="418"/>
                  </a:cubicBezTo>
                  <a:cubicBezTo>
                    <a:pt x="3444" y="418"/>
                    <a:pt x="3448" y="413"/>
                    <a:pt x="3446" y="407"/>
                  </a:cubicBezTo>
                  <a:cubicBezTo>
                    <a:pt x="3444" y="402"/>
                    <a:pt x="3437" y="397"/>
                    <a:pt x="3430" y="397"/>
                  </a:cubicBezTo>
                  <a:cubicBezTo>
                    <a:pt x="3430" y="397"/>
                    <a:pt x="3430" y="397"/>
                    <a:pt x="3430" y="397"/>
                  </a:cubicBezTo>
                  <a:moveTo>
                    <a:pt x="3224" y="397"/>
                  </a:moveTo>
                  <a:cubicBezTo>
                    <a:pt x="3217" y="397"/>
                    <a:pt x="3213" y="402"/>
                    <a:pt x="3215" y="407"/>
                  </a:cubicBezTo>
                  <a:cubicBezTo>
                    <a:pt x="3216" y="413"/>
                    <a:pt x="3223" y="418"/>
                    <a:pt x="3229" y="418"/>
                  </a:cubicBezTo>
                  <a:cubicBezTo>
                    <a:pt x="3236" y="418"/>
                    <a:pt x="3240" y="413"/>
                    <a:pt x="3239" y="407"/>
                  </a:cubicBezTo>
                  <a:cubicBezTo>
                    <a:pt x="3237" y="402"/>
                    <a:pt x="3231" y="397"/>
                    <a:pt x="3224" y="397"/>
                  </a:cubicBezTo>
                  <a:cubicBezTo>
                    <a:pt x="3224" y="397"/>
                    <a:pt x="3224" y="397"/>
                    <a:pt x="3224" y="397"/>
                  </a:cubicBezTo>
                  <a:moveTo>
                    <a:pt x="3464" y="397"/>
                  </a:moveTo>
                  <a:cubicBezTo>
                    <a:pt x="3458" y="397"/>
                    <a:pt x="3454" y="402"/>
                    <a:pt x="3456" y="407"/>
                  </a:cubicBezTo>
                  <a:cubicBezTo>
                    <a:pt x="3458" y="413"/>
                    <a:pt x="3465" y="418"/>
                    <a:pt x="3472" y="418"/>
                  </a:cubicBezTo>
                  <a:cubicBezTo>
                    <a:pt x="3478" y="417"/>
                    <a:pt x="3482" y="413"/>
                    <a:pt x="3480" y="407"/>
                  </a:cubicBezTo>
                  <a:cubicBezTo>
                    <a:pt x="3478" y="402"/>
                    <a:pt x="3471" y="397"/>
                    <a:pt x="3465" y="397"/>
                  </a:cubicBezTo>
                  <a:cubicBezTo>
                    <a:pt x="3464" y="397"/>
                    <a:pt x="3464" y="397"/>
                    <a:pt x="3464" y="397"/>
                  </a:cubicBezTo>
                  <a:moveTo>
                    <a:pt x="3258" y="397"/>
                  </a:moveTo>
                  <a:cubicBezTo>
                    <a:pt x="3251" y="397"/>
                    <a:pt x="3247" y="401"/>
                    <a:pt x="3249" y="407"/>
                  </a:cubicBezTo>
                  <a:cubicBezTo>
                    <a:pt x="3250" y="413"/>
                    <a:pt x="3257" y="417"/>
                    <a:pt x="3264" y="417"/>
                  </a:cubicBezTo>
                  <a:cubicBezTo>
                    <a:pt x="3270" y="417"/>
                    <a:pt x="3274" y="413"/>
                    <a:pt x="3273" y="407"/>
                  </a:cubicBezTo>
                  <a:cubicBezTo>
                    <a:pt x="3271" y="401"/>
                    <a:pt x="3265" y="397"/>
                    <a:pt x="3258" y="397"/>
                  </a:cubicBezTo>
                  <a:cubicBezTo>
                    <a:pt x="3258" y="397"/>
                    <a:pt x="3258" y="397"/>
                    <a:pt x="3258" y="397"/>
                  </a:cubicBezTo>
                  <a:moveTo>
                    <a:pt x="3499" y="397"/>
                  </a:moveTo>
                  <a:cubicBezTo>
                    <a:pt x="3492" y="397"/>
                    <a:pt x="3489" y="401"/>
                    <a:pt x="3491" y="407"/>
                  </a:cubicBezTo>
                  <a:cubicBezTo>
                    <a:pt x="3493" y="413"/>
                    <a:pt x="3500" y="417"/>
                    <a:pt x="3507" y="417"/>
                  </a:cubicBezTo>
                  <a:cubicBezTo>
                    <a:pt x="3513" y="417"/>
                    <a:pt x="3517" y="413"/>
                    <a:pt x="3515" y="407"/>
                  </a:cubicBezTo>
                  <a:cubicBezTo>
                    <a:pt x="3513" y="401"/>
                    <a:pt x="3506" y="397"/>
                    <a:pt x="3499" y="397"/>
                  </a:cubicBezTo>
                  <a:cubicBezTo>
                    <a:pt x="3499" y="397"/>
                    <a:pt x="3499" y="397"/>
                    <a:pt x="3499" y="397"/>
                  </a:cubicBezTo>
                  <a:moveTo>
                    <a:pt x="3292" y="397"/>
                  </a:moveTo>
                  <a:cubicBezTo>
                    <a:pt x="3286" y="397"/>
                    <a:pt x="3282" y="401"/>
                    <a:pt x="3283" y="407"/>
                  </a:cubicBezTo>
                  <a:cubicBezTo>
                    <a:pt x="3285" y="413"/>
                    <a:pt x="3292" y="417"/>
                    <a:pt x="3298" y="417"/>
                  </a:cubicBezTo>
                  <a:cubicBezTo>
                    <a:pt x="3305" y="417"/>
                    <a:pt x="3309" y="412"/>
                    <a:pt x="3307" y="407"/>
                  </a:cubicBezTo>
                  <a:cubicBezTo>
                    <a:pt x="3306" y="401"/>
                    <a:pt x="3299" y="397"/>
                    <a:pt x="3292" y="397"/>
                  </a:cubicBezTo>
                  <a:cubicBezTo>
                    <a:pt x="3292" y="397"/>
                    <a:pt x="3292" y="397"/>
                    <a:pt x="3292" y="397"/>
                  </a:cubicBezTo>
                  <a:moveTo>
                    <a:pt x="3533" y="396"/>
                  </a:moveTo>
                  <a:cubicBezTo>
                    <a:pt x="3526" y="397"/>
                    <a:pt x="3523" y="401"/>
                    <a:pt x="3525" y="407"/>
                  </a:cubicBezTo>
                  <a:cubicBezTo>
                    <a:pt x="3527" y="413"/>
                    <a:pt x="3534" y="417"/>
                    <a:pt x="3541" y="417"/>
                  </a:cubicBezTo>
                  <a:cubicBezTo>
                    <a:pt x="3547" y="417"/>
                    <a:pt x="3551" y="412"/>
                    <a:pt x="3549" y="407"/>
                  </a:cubicBezTo>
                  <a:cubicBezTo>
                    <a:pt x="3547" y="401"/>
                    <a:pt x="3540" y="396"/>
                    <a:pt x="3533" y="396"/>
                  </a:cubicBezTo>
                  <a:cubicBezTo>
                    <a:pt x="3533" y="396"/>
                    <a:pt x="3533" y="396"/>
                    <a:pt x="3533" y="396"/>
                  </a:cubicBezTo>
                  <a:moveTo>
                    <a:pt x="3327" y="396"/>
                  </a:moveTo>
                  <a:cubicBezTo>
                    <a:pt x="3320" y="396"/>
                    <a:pt x="3316" y="401"/>
                    <a:pt x="3318" y="407"/>
                  </a:cubicBezTo>
                  <a:cubicBezTo>
                    <a:pt x="3320" y="412"/>
                    <a:pt x="3326" y="417"/>
                    <a:pt x="3333" y="417"/>
                  </a:cubicBezTo>
                  <a:cubicBezTo>
                    <a:pt x="3340" y="417"/>
                    <a:pt x="3344" y="412"/>
                    <a:pt x="3342" y="406"/>
                  </a:cubicBezTo>
                  <a:cubicBezTo>
                    <a:pt x="3340" y="401"/>
                    <a:pt x="3333" y="396"/>
                    <a:pt x="3327" y="396"/>
                  </a:cubicBezTo>
                  <a:cubicBezTo>
                    <a:pt x="3327" y="396"/>
                    <a:pt x="3327" y="396"/>
                    <a:pt x="3327" y="396"/>
                  </a:cubicBezTo>
                  <a:moveTo>
                    <a:pt x="3567" y="395"/>
                  </a:moveTo>
                  <a:cubicBezTo>
                    <a:pt x="3561" y="395"/>
                    <a:pt x="3557" y="400"/>
                    <a:pt x="3559" y="406"/>
                  </a:cubicBezTo>
                  <a:cubicBezTo>
                    <a:pt x="3561" y="411"/>
                    <a:pt x="3569" y="416"/>
                    <a:pt x="3575" y="416"/>
                  </a:cubicBezTo>
                  <a:cubicBezTo>
                    <a:pt x="3582" y="416"/>
                    <a:pt x="3586" y="411"/>
                    <a:pt x="3583" y="406"/>
                  </a:cubicBezTo>
                  <a:cubicBezTo>
                    <a:pt x="3581" y="400"/>
                    <a:pt x="3574" y="395"/>
                    <a:pt x="3567" y="395"/>
                  </a:cubicBezTo>
                  <a:cubicBezTo>
                    <a:pt x="3567" y="395"/>
                    <a:pt x="3567" y="395"/>
                    <a:pt x="3567" y="395"/>
                  </a:cubicBezTo>
                  <a:moveTo>
                    <a:pt x="3601" y="395"/>
                  </a:moveTo>
                  <a:cubicBezTo>
                    <a:pt x="3595" y="395"/>
                    <a:pt x="3591" y="400"/>
                    <a:pt x="3594" y="406"/>
                  </a:cubicBezTo>
                  <a:cubicBezTo>
                    <a:pt x="3596" y="411"/>
                    <a:pt x="3603" y="416"/>
                    <a:pt x="3610" y="416"/>
                  </a:cubicBezTo>
                  <a:cubicBezTo>
                    <a:pt x="3616" y="416"/>
                    <a:pt x="3620" y="411"/>
                    <a:pt x="3618" y="405"/>
                  </a:cubicBezTo>
                  <a:cubicBezTo>
                    <a:pt x="3615" y="400"/>
                    <a:pt x="3608" y="395"/>
                    <a:pt x="3602" y="395"/>
                  </a:cubicBezTo>
                  <a:cubicBezTo>
                    <a:pt x="3602" y="395"/>
                    <a:pt x="3601" y="395"/>
                    <a:pt x="3601" y="395"/>
                  </a:cubicBezTo>
                  <a:moveTo>
                    <a:pt x="3635" y="395"/>
                  </a:moveTo>
                  <a:cubicBezTo>
                    <a:pt x="3629" y="395"/>
                    <a:pt x="3625" y="400"/>
                    <a:pt x="3628" y="405"/>
                  </a:cubicBezTo>
                  <a:cubicBezTo>
                    <a:pt x="3630" y="411"/>
                    <a:pt x="3637" y="416"/>
                    <a:pt x="3644" y="415"/>
                  </a:cubicBezTo>
                  <a:cubicBezTo>
                    <a:pt x="3651" y="415"/>
                    <a:pt x="3654" y="411"/>
                    <a:pt x="3652" y="405"/>
                  </a:cubicBezTo>
                  <a:cubicBezTo>
                    <a:pt x="3649" y="399"/>
                    <a:pt x="3642" y="395"/>
                    <a:pt x="3636" y="395"/>
                  </a:cubicBezTo>
                  <a:cubicBezTo>
                    <a:pt x="3636" y="395"/>
                    <a:pt x="3635" y="395"/>
                    <a:pt x="3635" y="395"/>
                  </a:cubicBezTo>
                  <a:moveTo>
                    <a:pt x="3670" y="395"/>
                  </a:moveTo>
                  <a:cubicBezTo>
                    <a:pt x="3664" y="395"/>
                    <a:pt x="3660" y="399"/>
                    <a:pt x="3663" y="405"/>
                  </a:cubicBezTo>
                  <a:cubicBezTo>
                    <a:pt x="3665" y="411"/>
                    <a:pt x="3672" y="415"/>
                    <a:pt x="3679" y="415"/>
                  </a:cubicBezTo>
                  <a:cubicBezTo>
                    <a:pt x="3686" y="415"/>
                    <a:pt x="3689" y="411"/>
                    <a:pt x="3687" y="405"/>
                  </a:cubicBezTo>
                  <a:cubicBezTo>
                    <a:pt x="3684" y="399"/>
                    <a:pt x="3677" y="395"/>
                    <a:pt x="3670" y="395"/>
                  </a:cubicBezTo>
                  <a:cubicBezTo>
                    <a:pt x="3670" y="395"/>
                    <a:pt x="3670" y="395"/>
                    <a:pt x="3670" y="395"/>
                  </a:cubicBezTo>
                  <a:moveTo>
                    <a:pt x="3704" y="394"/>
                  </a:moveTo>
                  <a:cubicBezTo>
                    <a:pt x="3698" y="394"/>
                    <a:pt x="3695" y="399"/>
                    <a:pt x="3697" y="405"/>
                  </a:cubicBezTo>
                  <a:cubicBezTo>
                    <a:pt x="3700" y="410"/>
                    <a:pt x="3707" y="415"/>
                    <a:pt x="3714" y="415"/>
                  </a:cubicBezTo>
                  <a:cubicBezTo>
                    <a:pt x="3720" y="415"/>
                    <a:pt x="3724" y="410"/>
                    <a:pt x="3721" y="405"/>
                  </a:cubicBezTo>
                  <a:cubicBezTo>
                    <a:pt x="3719" y="399"/>
                    <a:pt x="3711" y="394"/>
                    <a:pt x="3705" y="394"/>
                  </a:cubicBezTo>
                  <a:cubicBezTo>
                    <a:pt x="3705" y="394"/>
                    <a:pt x="3705" y="394"/>
                    <a:pt x="3704" y="394"/>
                  </a:cubicBezTo>
                  <a:moveTo>
                    <a:pt x="3740" y="394"/>
                  </a:moveTo>
                  <a:cubicBezTo>
                    <a:pt x="3733" y="394"/>
                    <a:pt x="3730" y="399"/>
                    <a:pt x="3732" y="405"/>
                  </a:cubicBezTo>
                  <a:cubicBezTo>
                    <a:pt x="3735" y="410"/>
                    <a:pt x="3742" y="415"/>
                    <a:pt x="3749" y="415"/>
                  </a:cubicBezTo>
                  <a:cubicBezTo>
                    <a:pt x="3756" y="415"/>
                    <a:pt x="3759" y="410"/>
                    <a:pt x="3756" y="404"/>
                  </a:cubicBezTo>
                  <a:cubicBezTo>
                    <a:pt x="3754" y="399"/>
                    <a:pt x="3746" y="394"/>
                    <a:pt x="3740" y="394"/>
                  </a:cubicBezTo>
                  <a:cubicBezTo>
                    <a:pt x="3740" y="394"/>
                    <a:pt x="3740" y="394"/>
                    <a:pt x="3740" y="394"/>
                  </a:cubicBezTo>
                  <a:moveTo>
                    <a:pt x="3774" y="394"/>
                  </a:moveTo>
                  <a:cubicBezTo>
                    <a:pt x="3767" y="394"/>
                    <a:pt x="3764" y="399"/>
                    <a:pt x="3767" y="404"/>
                  </a:cubicBezTo>
                  <a:cubicBezTo>
                    <a:pt x="3769" y="410"/>
                    <a:pt x="3777" y="415"/>
                    <a:pt x="3783" y="414"/>
                  </a:cubicBezTo>
                  <a:cubicBezTo>
                    <a:pt x="3790" y="414"/>
                    <a:pt x="3793" y="410"/>
                    <a:pt x="3791" y="404"/>
                  </a:cubicBezTo>
                  <a:cubicBezTo>
                    <a:pt x="3788" y="398"/>
                    <a:pt x="3780" y="394"/>
                    <a:pt x="3774" y="394"/>
                  </a:cubicBezTo>
                  <a:cubicBezTo>
                    <a:pt x="3774" y="394"/>
                    <a:pt x="3774" y="394"/>
                    <a:pt x="3774" y="394"/>
                  </a:cubicBezTo>
                  <a:moveTo>
                    <a:pt x="3808" y="394"/>
                  </a:moveTo>
                  <a:cubicBezTo>
                    <a:pt x="3801" y="394"/>
                    <a:pt x="3798" y="398"/>
                    <a:pt x="3801" y="404"/>
                  </a:cubicBezTo>
                  <a:cubicBezTo>
                    <a:pt x="3804" y="410"/>
                    <a:pt x="3811" y="414"/>
                    <a:pt x="3818" y="414"/>
                  </a:cubicBezTo>
                  <a:cubicBezTo>
                    <a:pt x="3825" y="414"/>
                    <a:pt x="3828" y="410"/>
                    <a:pt x="3825" y="404"/>
                  </a:cubicBezTo>
                  <a:cubicBezTo>
                    <a:pt x="3822" y="398"/>
                    <a:pt x="3815" y="394"/>
                    <a:pt x="3808" y="394"/>
                  </a:cubicBezTo>
                  <a:cubicBezTo>
                    <a:pt x="3808" y="394"/>
                    <a:pt x="3808" y="394"/>
                    <a:pt x="3808" y="394"/>
                  </a:cubicBezTo>
                  <a:moveTo>
                    <a:pt x="3843" y="393"/>
                  </a:moveTo>
                  <a:cubicBezTo>
                    <a:pt x="3836" y="393"/>
                    <a:pt x="3833" y="398"/>
                    <a:pt x="3836" y="404"/>
                  </a:cubicBezTo>
                  <a:cubicBezTo>
                    <a:pt x="3838" y="409"/>
                    <a:pt x="3846" y="414"/>
                    <a:pt x="3853" y="414"/>
                  </a:cubicBezTo>
                  <a:cubicBezTo>
                    <a:pt x="3859" y="414"/>
                    <a:pt x="3862" y="409"/>
                    <a:pt x="3860" y="404"/>
                  </a:cubicBezTo>
                  <a:cubicBezTo>
                    <a:pt x="3857" y="398"/>
                    <a:pt x="3849" y="393"/>
                    <a:pt x="3843" y="393"/>
                  </a:cubicBezTo>
                  <a:cubicBezTo>
                    <a:pt x="3843" y="393"/>
                    <a:pt x="3843" y="393"/>
                    <a:pt x="3843" y="393"/>
                  </a:cubicBezTo>
                  <a:moveTo>
                    <a:pt x="3877" y="393"/>
                  </a:moveTo>
                  <a:cubicBezTo>
                    <a:pt x="3870" y="393"/>
                    <a:pt x="3867" y="398"/>
                    <a:pt x="3870" y="404"/>
                  </a:cubicBezTo>
                  <a:cubicBezTo>
                    <a:pt x="3873" y="409"/>
                    <a:pt x="3880" y="414"/>
                    <a:pt x="3887" y="414"/>
                  </a:cubicBezTo>
                  <a:cubicBezTo>
                    <a:pt x="3894" y="414"/>
                    <a:pt x="3897" y="409"/>
                    <a:pt x="3894" y="403"/>
                  </a:cubicBezTo>
                  <a:cubicBezTo>
                    <a:pt x="3891" y="398"/>
                    <a:pt x="3883" y="393"/>
                    <a:pt x="3877" y="393"/>
                  </a:cubicBezTo>
                  <a:cubicBezTo>
                    <a:pt x="3877" y="393"/>
                    <a:pt x="3877" y="393"/>
                    <a:pt x="3877" y="393"/>
                  </a:cubicBezTo>
                  <a:moveTo>
                    <a:pt x="3909" y="392"/>
                  </a:moveTo>
                  <a:cubicBezTo>
                    <a:pt x="3903" y="392"/>
                    <a:pt x="3900" y="396"/>
                    <a:pt x="3903" y="402"/>
                  </a:cubicBezTo>
                  <a:cubicBezTo>
                    <a:pt x="3906" y="408"/>
                    <a:pt x="3913" y="412"/>
                    <a:pt x="3920" y="412"/>
                  </a:cubicBezTo>
                  <a:cubicBezTo>
                    <a:pt x="3927" y="412"/>
                    <a:pt x="3930" y="407"/>
                    <a:pt x="3927" y="402"/>
                  </a:cubicBezTo>
                  <a:cubicBezTo>
                    <a:pt x="3924" y="396"/>
                    <a:pt x="3916" y="392"/>
                    <a:pt x="3910" y="392"/>
                  </a:cubicBezTo>
                  <a:cubicBezTo>
                    <a:pt x="3910" y="392"/>
                    <a:pt x="3909" y="392"/>
                    <a:pt x="3909" y="392"/>
                  </a:cubicBezTo>
                  <a:moveTo>
                    <a:pt x="3944" y="391"/>
                  </a:moveTo>
                  <a:cubicBezTo>
                    <a:pt x="3937" y="391"/>
                    <a:pt x="3934" y="396"/>
                    <a:pt x="3937" y="402"/>
                  </a:cubicBezTo>
                  <a:cubicBezTo>
                    <a:pt x="3940" y="407"/>
                    <a:pt x="3948" y="412"/>
                    <a:pt x="3955" y="412"/>
                  </a:cubicBezTo>
                  <a:cubicBezTo>
                    <a:pt x="3961" y="412"/>
                    <a:pt x="3964" y="407"/>
                    <a:pt x="3961" y="401"/>
                  </a:cubicBezTo>
                  <a:cubicBezTo>
                    <a:pt x="3958" y="396"/>
                    <a:pt x="3950" y="391"/>
                    <a:pt x="3944" y="391"/>
                  </a:cubicBezTo>
                  <a:cubicBezTo>
                    <a:pt x="3944" y="391"/>
                    <a:pt x="3944" y="391"/>
                    <a:pt x="3944" y="391"/>
                  </a:cubicBezTo>
                  <a:moveTo>
                    <a:pt x="3977" y="391"/>
                  </a:moveTo>
                  <a:cubicBezTo>
                    <a:pt x="3970" y="391"/>
                    <a:pt x="3967" y="396"/>
                    <a:pt x="3970" y="401"/>
                  </a:cubicBezTo>
                  <a:cubicBezTo>
                    <a:pt x="3973" y="407"/>
                    <a:pt x="3981" y="412"/>
                    <a:pt x="3988" y="412"/>
                  </a:cubicBezTo>
                  <a:cubicBezTo>
                    <a:pt x="3995" y="412"/>
                    <a:pt x="3998" y="407"/>
                    <a:pt x="3994" y="401"/>
                  </a:cubicBezTo>
                  <a:cubicBezTo>
                    <a:pt x="3991" y="396"/>
                    <a:pt x="3984" y="391"/>
                    <a:pt x="3977" y="391"/>
                  </a:cubicBezTo>
                  <a:cubicBezTo>
                    <a:pt x="3977" y="391"/>
                    <a:pt x="3977" y="391"/>
                    <a:pt x="3977" y="391"/>
                  </a:cubicBezTo>
                  <a:moveTo>
                    <a:pt x="4046" y="391"/>
                  </a:moveTo>
                  <a:cubicBezTo>
                    <a:pt x="4039" y="391"/>
                    <a:pt x="4036" y="395"/>
                    <a:pt x="4040" y="401"/>
                  </a:cubicBezTo>
                  <a:cubicBezTo>
                    <a:pt x="4043" y="407"/>
                    <a:pt x="4051" y="411"/>
                    <a:pt x="4057" y="411"/>
                  </a:cubicBezTo>
                  <a:cubicBezTo>
                    <a:pt x="4064" y="411"/>
                    <a:pt x="4067" y="406"/>
                    <a:pt x="4064" y="401"/>
                  </a:cubicBezTo>
                  <a:cubicBezTo>
                    <a:pt x="4060" y="395"/>
                    <a:pt x="4052" y="391"/>
                    <a:pt x="4046" y="391"/>
                  </a:cubicBezTo>
                  <a:cubicBezTo>
                    <a:pt x="4046" y="391"/>
                    <a:pt x="4046" y="391"/>
                    <a:pt x="4046" y="391"/>
                  </a:cubicBezTo>
                  <a:moveTo>
                    <a:pt x="363" y="389"/>
                  </a:moveTo>
                  <a:cubicBezTo>
                    <a:pt x="357" y="389"/>
                    <a:pt x="348" y="394"/>
                    <a:pt x="343" y="399"/>
                  </a:cubicBezTo>
                  <a:cubicBezTo>
                    <a:pt x="339" y="405"/>
                    <a:pt x="340" y="409"/>
                    <a:pt x="347" y="409"/>
                  </a:cubicBezTo>
                  <a:cubicBezTo>
                    <a:pt x="354" y="409"/>
                    <a:pt x="363" y="405"/>
                    <a:pt x="367" y="399"/>
                  </a:cubicBezTo>
                  <a:cubicBezTo>
                    <a:pt x="371" y="393"/>
                    <a:pt x="370" y="389"/>
                    <a:pt x="363" y="389"/>
                  </a:cubicBezTo>
                  <a:cubicBezTo>
                    <a:pt x="363" y="389"/>
                    <a:pt x="363" y="389"/>
                    <a:pt x="363" y="389"/>
                  </a:cubicBezTo>
                  <a:moveTo>
                    <a:pt x="397" y="389"/>
                  </a:moveTo>
                  <a:cubicBezTo>
                    <a:pt x="390" y="389"/>
                    <a:pt x="382" y="393"/>
                    <a:pt x="377" y="399"/>
                  </a:cubicBezTo>
                  <a:cubicBezTo>
                    <a:pt x="373" y="405"/>
                    <a:pt x="375" y="409"/>
                    <a:pt x="381" y="409"/>
                  </a:cubicBezTo>
                  <a:cubicBezTo>
                    <a:pt x="388" y="409"/>
                    <a:pt x="397" y="404"/>
                    <a:pt x="401" y="399"/>
                  </a:cubicBezTo>
                  <a:cubicBezTo>
                    <a:pt x="405" y="393"/>
                    <a:pt x="404" y="389"/>
                    <a:pt x="397" y="389"/>
                  </a:cubicBezTo>
                  <a:cubicBezTo>
                    <a:pt x="397" y="389"/>
                    <a:pt x="397" y="389"/>
                    <a:pt x="397" y="389"/>
                  </a:cubicBezTo>
                  <a:moveTo>
                    <a:pt x="431" y="389"/>
                  </a:moveTo>
                  <a:cubicBezTo>
                    <a:pt x="425" y="389"/>
                    <a:pt x="416" y="393"/>
                    <a:pt x="411" y="399"/>
                  </a:cubicBezTo>
                  <a:cubicBezTo>
                    <a:pt x="407" y="404"/>
                    <a:pt x="409" y="409"/>
                    <a:pt x="416" y="409"/>
                  </a:cubicBezTo>
                  <a:cubicBezTo>
                    <a:pt x="422" y="409"/>
                    <a:pt x="431" y="404"/>
                    <a:pt x="435" y="399"/>
                  </a:cubicBezTo>
                  <a:cubicBezTo>
                    <a:pt x="440" y="393"/>
                    <a:pt x="438" y="389"/>
                    <a:pt x="431" y="389"/>
                  </a:cubicBezTo>
                  <a:cubicBezTo>
                    <a:pt x="431" y="389"/>
                    <a:pt x="431" y="389"/>
                    <a:pt x="431" y="389"/>
                  </a:cubicBezTo>
                  <a:moveTo>
                    <a:pt x="465" y="388"/>
                  </a:moveTo>
                  <a:cubicBezTo>
                    <a:pt x="458" y="388"/>
                    <a:pt x="450" y="393"/>
                    <a:pt x="445" y="398"/>
                  </a:cubicBezTo>
                  <a:cubicBezTo>
                    <a:pt x="441" y="404"/>
                    <a:pt x="443" y="409"/>
                    <a:pt x="450" y="409"/>
                  </a:cubicBezTo>
                  <a:cubicBezTo>
                    <a:pt x="456" y="408"/>
                    <a:pt x="465" y="404"/>
                    <a:pt x="469" y="398"/>
                  </a:cubicBezTo>
                  <a:cubicBezTo>
                    <a:pt x="474" y="393"/>
                    <a:pt x="472" y="388"/>
                    <a:pt x="465" y="388"/>
                  </a:cubicBezTo>
                  <a:cubicBezTo>
                    <a:pt x="465" y="388"/>
                    <a:pt x="465" y="388"/>
                    <a:pt x="465" y="388"/>
                  </a:cubicBezTo>
                  <a:moveTo>
                    <a:pt x="499" y="388"/>
                  </a:moveTo>
                  <a:cubicBezTo>
                    <a:pt x="493" y="388"/>
                    <a:pt x="484" y="393"/>
                    <a:pt x="480" y="398"/>
                  </a:cubicBezTo>
                  <a:cubicBezTo>
                    <a:pt x="476" y="404"/>
                    <a:pt x="478" y="408"/>
                    <a:pt x="484" y="408"/>
                  </a:cubicBezTo>
                  <a:cubicBezTo>
                    <a:pt x="491" y="408"/>
                    <a:pt x="500" y="404"/>
                    <a:pt x="504" y="398"/>
                  </a:cubicBezTo>
                  <a:cubicBezTo>
                    <a:pt x="508" y="392"/>
                    <a:pt x="506" y="388"/>
                    <a:pt x="499" y="388"/>
                  </a:cubicBezTo>
                  <a:cubicBezTo>
                    <a:pt x="499" y="388"/>
                    <a:pt x="499" y="388"/>
                    <a:pt x="499" y="388"/>
                  </a:cubicBezTo>
                  <a:moveTo>
                    <a:pt x="534" y="388"/>
                  </a:moveTo>
                  <a:cubicBezTo>
                    <a:pt x="528" y="388"/>
                    <a:pt x="519" y="392"/>
                    <a:pt x="515" y="398"/>
                  </a:cubicBezTo>
                  <a:cubicBezTo>
                    <a:pt x="511" y="404"/>
                    <a:pt x="513" y="408"/>
                    <a:pt x="520" y="408"/>
                  </a:cubicBezTo>
                  <a:cubicBezTo>
                    <a:pt x="526" y="408"/>
                    <a:pt x="535" y="403"/>
                    <a:pt x="539" y="398"/>
                  </a:cubicBezTo>
                  <a:cubicBezTo>
                    <a:pt x="543" y="392"/>
                    <a:pt x="541" y="388"/>
                    <a:pt x="535" y="388"/>
                  </a:cubicBezTo>
                  <a:cubicBezTo>
                    <a:pt x="534" y="388"/>
                    <a:pt x="534" y="388"/>
                    <a:pt x="534" y="388"/>
                  </a:cubicBezTo>
                  <a:moveTo>
                    <a:pt x="568" y="387"/>
                  </a:moveTo>
                  <a:cubicBezTo>
                    <a:pt x="562" y="388"/>
                    <a:pt x="553" y="392"/>
                    <a:pt x="549" y="398"/>
                  </a:cubicBezTo>
                  <a:cubicBezTo>
                    <a:pt x="545" y="403"/>
                    <a:pt x="547" y="408"/>
                    <a:pt x="554" y="408"/>
                  </a:cubicBezTo>
                  <a:cubicBezTo>
                    <a:pt x="560" y="408"/>
                    <a:pt x="569" y="403"/>
                    <a:pt x="573" y="398"/>
                  </a:cubicBezTo>
                  <a:cubicBezTo>
                    <a:pt x="577" y="392"/>
                    <a:pt x="575" y="387"/>
                    <a:pt x="568" y="387"/>
                  </a:cubicBezTo>
                  <a:cubicBezTo>
                    <a:pt x="568" y="387"/>
                    <a:pt x="568" y="387"/>
                    <a:pt x="568" y="387"/>
                  </a:cubicBezTo>
                  <a:moveTo>
                    <a:pt x="602" y="387"/>
                  </a:moveTo>
                  <a:cubicBezTo>
                    <a:pt x="596" y="387"/>
                    <a:pt x="587" y="392"/>
                    <a:pt x="583" y="397"/>
                  </a:cubicBezTo>
                  <a:cubicBezTo>
                    <a:pt x="579" y="403"/>
                    <a:pt x="582" y="408"/>
                    <a:pt x="588" y="407"/>
                  </a:cubicBezTo>
                  <a:cubicBezTo>
                    <a:pt x="595" y="407"/>
                    <a:pt x="603" y="403"/>
                    <a:pt x="607" y="397"/>
                  </a:cubicBezTo>
                  <a:cubicBezTo>
                    <a:pt x="611" y="392"/>
                    <a:pt x="609" y="387"/>
                    <a:pt x="603" y="387"/>
                  </a:cubicBezTo>
                  <a:cubicBezTo>
                    <a:pt x="603" y="387"/>
                    <a:pt x="602" y="387"/>
                    <a:pt x="602" y="387"/>
                  </a:cubicBezTo>
                  <a:moveTo>
                    <a:pt x="637" y="387"/>
                  </a:moveTo>
                  <a:cubicBezTo>
                    <a:pt x="630" y="387"/>
                    <a:pt x="622" y="392"/>
                    <a:pt x="618" y="397"/>
                  </a:cubicBezTo>
                  <a:cubicBezTo>
                    <a:pt x="614" y="403"/>
                    <a:pt x="616" y="407"/>
                    <a:pt x="623" y="407"/>
                  </a:cubicBezTo>
                  <a:cubicBezTo>
                    <a:pt x="630" y="407"/>
                    <a:pt x="638" y="403"/>
                    <a:pt x="642" y="397"/>
                  </a:cubicBezTo>
                  <a:cubicBezTo>
                    <a:pt x="646" y="391"/>
                    <a:pt x="644" y="387"/>
                    <a:pt x="637" y="387"/>
                  </a:cubicBezTo>
                  <a:cubicBezTo>
                    <a:pt x="637" y="387"/>
                    <a:pt x="637" y="387"/>
                    <a:pt x="637" y="387"/>
                  </a:cubicBezTo>
                  <a:moveTo>
                    <a:pt x="671" y="387"/>
                  </a:moveTo>
                  <a:cubicBezTo>
                    <a:pt x="664" y="387"/>
                    <a:pt x="656" y="391"/>
                    <a:pt x="652" y="397"/>
                  </a:cubicBezTo>
                  <a:cubicBezTo>
                    <a:pt x="648" y="403"/>
                    <a:pt x="650" y="407"/>
                    <a:pt x="657" y="407"/>
                  </a:cubicBezTo>
                  <a:cubicBezTo>
                    <a:pt x="664" y="407"/>
                    <a:pt x="672" y="402"/>
                    <a:pt x="676" y="397"/>
                  </a:cubicBezTo>
                  <a:cubicBezTo>
                    <a:pt x="680" y="391"/>
                    <a:pt x="677" y="387"/>
                    <a:pt x="671" y="387"/>
                  </a:cubicBezTo>
                  <a:cubicBezTo>
                    <a:pt x="671" y="387"/>
                    <a:pt x="671" y="387"/>
                    <a:pt x="671" y="387"/>
                  </a:cubicBezTo>
                  <a:moveTo>
                    <a:pt x="705" y="386"/>
                  </a:moveTo>
                  <a:cubicBezTo>
                    <a:pt x="698" y="387"/>
                    <a:pt x="690" y="391"/>
                    <a:pt x="686" y="397"/>
                  </a:cubicBezTo>
                  <a:cubicBezTo>
                    <a:pt x="682" y="402"/>
                    <a:pt x="685" y="407"/>
                    <a:pt x="691" y="407"/>
                  </a:cubicBezTo>
                  <a:cubicBezTo>
                    <a:pt x="698" y="407"/>
                    <a:pt x="706" y="402"/>
                    <a:pt x="710" y="397"/>
                  </a:cubicBezTo>
                  <a:cubicBezTo>
                    <a:pt x="714" y="391"/>
                    <a:pt x="711" y="386"/>
                    <a:pt x="705" y="386"/>
                  </a:cubicBezTo>
                  <a:cubicBezTo>
                    <a:pt x="705" y="386"/>
                    <a:pt x="705" y="386"/>
                    <a:pt x="705" y="386"/>
                  </a:cubicBezTo>
                  <a:moveTo>
                    <a:pt x="739" y="386"/>
                  </a:moveTo>
                  <a:cubicBezTo>
                    <a:pt x="732" y="386"/>
                    <a:pt x="724" y="391"/>
                    <a:pt x="720" y="396"/>
                  </a:cubicBezTo>
                  <a:cubicBezTo>
                    <a:pt x="716" y="402"/>
                    <a:pt x="719" y="407"/>
                    <a:pt x="726" y="406"/>
                  </a:cubicBezTo>
                  <a:cubicBezTo>
                    <a:pt x="732" y="406"/>
                    <a:pt x="740" y="402"/>
                    <a:pt x="744" y="396"/>
                  </a:cubicBezTo>
                  <a:cubicBezTo>
                    <a:pt x="748" y="391"/>
                    <a:pt x="745" y="386"/>
                    <a:pt x="739" y="386"/>
                  </a:cubicBezTo>
                  <a:cubicBezTo>
                    <a:pt x="739" y="386"/>
                    <a:pt x="739" y="386"/>
                    <a:pt x="739" y="386"/>
                  </a:cubicBezTo>
                  <a:moveTo>
                    <a:pt x="773" y="386"/>
                  </a:moveTo>
                  <a:cubicBezTo>
                    <a:pt x="766" y="386"/>
                    <a:pt x="758" y="391"/>
                    <a:pt x="754" y="396"/>
                  </a:cubicBezTo>
                  <a:cubicBezTo>
                    <a:pt x="751" y="402"/>
                    <a:pt x="753" y="406"/>
                    <a:pt x="760" y="406"/>
                  </a:cubicBezTo>
                  <a:cubicBezTo>
                    <a:pt x="767" y="406"/>
                    <a:pt x="775" y="402"/>
                    <a:pt x="778" y="396"/>
                  </a:cubicBezTo>
                  <a:cubicBezTo>
                    <a:pt x="782" y="390"/>
                    <a:pt x="780" y="386"/>
                    <a:pt x="773" y="386"/>
                  </a:cubicBezTo>
                  <a:cubicBezTo>
                    <a:pt x="773" y="386"/>
                    <a:pt x="773" y="386"/>
                    <a:pt x="773" y="386"/>
                  </a:cubicBezTo>
                  <a:moveTo>
                    <a:pt x="807" y="386"/>
                  </a:moveTo>
                  <a:cubicBezTo>
                    <a:pt x="801" y="386"/>
                    <a:pt x="793" y="390"/>
                    <a:pt x="789" y="396"/>
                  </a:cubicBezTo>
                  <a:cubicBezTo>
                    <a:pt x="786" y="402"/>
                    <a:pt x="788" y="406"/>
                    <a:pt x="795" y="406"/>
                  </a:cubicBezTo>
                  <a:cubicBezTo>
                    <a:pt x="801" y="406"/>
                    <a:pt x="809" y="401"/>
                    <a:pt x="813" y="396"/>
                  </a:cubicBezTo>
                  <a:cubicBezTo>
                    <a:pt x="816" y="390"/>
                    <a:pt x="814" y="386"/>
                    <a:pt x="807" y="386"/>
                  </a:cubicBezTo>
                  <a:cubicBezTo>
                    <a:pt x="807" y="386"/>
                    <a:pt x="807" y="386"/>
                    <a:pt x="807" y="386"/>
                  </a:cubicBezTo>
                  <a:moveTo>
                    <a:pt x="841" y="385"/>
                  </a:moveTo>
                  <a:cubicBezTo>
                    <a:pt x="835" y="386"/>
                    <a:pt x="826" y="390"/>
                    <a:pt x="823" y="396"/>
                  </a:cubicBezTo>
                  <a:cubicBezTo>
                    <a:pt x="820" y="401"/>
                    <a:pt x="822" y="406"/>
                    <a:pt x="829" y="406"/>
                  </a:cubicBezTo>
                  <a:cubicBezTo>
                    <a:pt x="835" y="406"/>
                    <a:pt x="844" y="401"/>
                    <a:pt x="847" y="396"/>
                  </a:cubicBezTo>
                  <a:cubicBezTo>
                    <a:pt x="850" y="390"/>
                    <a:pt x="848" y="385"/>
                    <a:pt x="841" y="385"/>
                  </a:cubicBezTo>
                  <a:cubicBezTo>
                    <a:pt x="841" y="385"/>
                    <a:pt x="841" y="385"/>
                    <a:pt x="841" y="385"/>
                  </a:cubicBezTo>
                  <a:moveTo>
                    <a:pt x="873" y="385"/>
                  </a:moveTo>
                  <a:cubicBezTo>
                    <a:pt x="867" y="385"/>
                    <a:pt x="859" y="390"/>
                    <a:pt x="855" y="395"/>
                  </a:cubicBezTo>
                  <a:cubicBezTo>
                    <a:pt x="852" y="401"/>
                    <a:pt x="855" y="406"/>
                    <a:pt x="861" y="406"/>
                  </a:cubicBezTo>
                  <a:cubicBezTo>
                    <a:pt x="868" y="405"/>
                    <a:pt x="876" y="401"/>
                    <a:pt x="879" y="395"/>
                  </a:cubicBezTo>
                  <a:cubicBezTo>
                    <a:pt x="883" y="390"/>
                    <a:pt x="880" y="385"/>
                    <a:pt x="874" y="385"/>
                  </a:cubicBezTo>
                  <a:cubicBezTo>
                    <a:pt x="874" y="385"/>
                    <a:pt x="874" y="385"/>
                    <a:pt x="873" y="385"/>
                  </a:cubicBezTo>
                  <a:moveTo>
                    <a:pt x="908" y="385"/>
                  </a:moveTo>
                  <a:cubicBezTo>
                    <a:pt x="901" y="385"/>
                    <a:pt x="893" y="390"/>
                    <a:pt x="890" y="395"/>
                  </a:cubicBezTo>
                  <a:cubicBezTo>
                    <a:pt x="887" y="401"/>
                    <a:pt x="889" y="405"/>
                    <a:pt x="896" y="405"/>
                  </a:cubicBezTo>
                  <a:cubicBezTo>
                    <a:pt x="903" y="405"/>
                    <a:pt x="911" y="401"/>
                    <a:pt x="914" y="395"/>
                  </a:cubicBezTo>
                  <a:cubicBezTo>
                    <a:pt x="917" y="389"/>
                    <a:pt x="915" y="385"/>
                    <a:pt x="908" y="385"/>
                  </a:cubicBezTo>
                  <a:cubicBezTo>
                    <a:pt x="908" y="385"/>
                    <a:pt x="908" y="385"/>
                    <a:pt x="908" y="385"/>
                  </a:cubicBezTo>
                  <a:moveTo>
                    <a:pt x="942" y="385"/>
                  </a:moveTo>
                  <a:cubicBezTo>
                    <a:pt x="935" y="385"/>
                    <a:pt x="927" y="389"/>
                    <a:pt x="924" y="395"/>
                  </a:cubicBezTo>
                  <a:cubicBezTo>
                    <a:pt x="921" y="401"/>
                    <a:pt x="923" y="405"/>
                    <a:pt x="930" y="405"/>
                  </a:cubicBezTo>
                  <a:cubicBezTo>
                    <a:pt x="937" y="405"/>
                    <a:pt x="945" y="400"/>
                    <a:pt x="948" y="395"/>
                  </a:cubicBezTo>
                  <a:cubicBezTo>
                    <a:pt x="951" y="389"/>
                    <a:pt x="948" y="385"/>
                    <a:pt x="942" y="385"/>
                  </a:cubicBezTo>
                  <a:cubicBezTo>
                    <a:pt x="942" y="385"/>
                    <a:pt x="942" y="385"/>
                    <a:pt x="942" y="385"/>
                  </a:cubicBezTo>
                  <a:moveTo>
                    <a:pt x="1044" y="384"/>
                  </a:moveTo>
                  <a:cubicBezTo>
                    <a:pt x="1037" y="384"/>
                    <a:pt x="1029" y="389"/>
                    <a:pt x="1026" y="394"/>
                  </a:cubicBezTo>
                  <a:cubicBezTo>
                    <a:pt x="1023" y="400"/>
                    <a:pt x="1026" y="404"/>
                    <a:pt x="1033" y="404"/>
                  </a:cubicBezTo>
                  <a:cubicBezTo>
                    <a:pt x="1039" y="404"/>
                    <a:pt x="1047" y="400"/>
                    <a:pt x="1050" y="394"/>
                  </a:cubicBezTo>
                  <a:cubicBezTo>
                    <a:pt x="1053" y="388"/>
                    <a:pt x="1050" y="384"/>
                    <a:pt x="1044" y="384"/>
                  </a:cubicBezTo>
                  <a:cubicBezTo>
                    <a:pt x="1044" y="384"/>
                    <a:pt x="1044" y="384"/>
                    <a:pt x="1044" y="384"/>
                  </a:cubicBezTo>
                  <a:moveTo>
                    <a:pt x="1078" y="384"/>
                  </a:moveTo>
                  <a:cubicBezTo>
                    <a:pt x="1072" y="384"/>
                    <a:pt x="1064" y="388"/>
                    <a:pt x="1061" y="394"/>
                  </a:cubicBezTo>
                  <a:cubicBezTo>
                    <a:pt x="1058" y="400"/>
                    <a:pt x="1061" y="404"/>
                    <a:pt x="1068" y="404"/>
                  </a:cubicBezTo>
                  <a:cubicBezTo>
                    <a:pt x="1074" y="404"/>
                    <a:pt x="1082" y="399"/>
                    <a:pt x="1085" y="394"/>
                  </a:cubicBezTo>
                  <a:cubicBezTo>
                    <a:pt x="1088" y="388"/>
                    <a:pt x="1085" y="384"/>
                    <a:pt x="1078" y="384"/>
                  </a:cubicBezTo>
                  <a:cubicBezTo>
                    <a:pt x="1078" y="384"/>
                    <a:pt x="1078" y="384"/>
                    <a:pt x="1078" y="384"/>
                  </a:cubicBezTo>
                  <a:moveTo>
                    <a:pt x="1112" y="383"/>
                  </a:moveTo>
                  <a:cubicBezTo>
                    <a:pt x="1105" y="383"/>
                    <a:pt x="1098" y="388"/>
                    <a:pt x="1095" y="394"/>
                  </a:cubicBezTo>
                  <a:cubicBezTo>
                    <a:pt x="1092" y="399"/>
                    <a:pt x="1095" y="404"/>
                    <a:pt x="1102" y="404"/>
                  </a:cubicBezTo>
                  <a:cubicBezTo>
                    <a:pt x="1108" y="404"/>
                    <a:pt x="1116" y="399"/>
                    <a:pt x="1119" y="394"/>
                  </a:cubicBezTo>
                  <a:cubicBezTo>
                    <a:pt x="1122" y="388"/>
                    <a:pt x="1119" y="383"/>
                    <a:pt x="1112" y="383"/>
                  </a:cubicBezTo>
                  <a:cubicBezTo>
                    <a:pt x="1112" y="383"/>
                    <a:pt x="1112" y="383"/>
                    <a:pt x="1112" y="383"/>
                  </a:cubicBezTo>
                  <a:moveTo>
                    <a:pt x="1145" y="383"/>
                  </a:moveTo>
                  <a:cubicBezTo>
                    <a:pt x="1139" y="383"/>
                    <a:pt x="1131" y="388"/>
                    <a:pt x="1128" y="393"/>
                  </a:cubicBezTo>
                  <a:cubicBezTo>
                    <a:pt x="1126" y="399"/>
                    <a:pt x="1129" y="404"/>
                    <a:pt x="1135" y="404"/>
                  </a:cubicBezTo>
                  <a:cubicBezTo>
                    <a:pt x="1142" y="403"/>
                    <a:pt x="1150" y="399"/>
                    <a:pt x="1152" y="393"/>
                  </a:cubicBezTo>
                  <a:cubicBezTo>
                    <a:pt x="1155" y="388"/>
                    <a:pt x="1152" y="383"/>
                    <a:pt x="1146" y="383"/>
                  </a:cubicBezTo>
                  <a:cubicBezTo>
                    <a:pt x="1146" y="383"/>
                    <a:pt x="1145" y="383"/>
                    <a:pt x="1145" y="383"/>
                  </a:cubicBezTo>
                  <a:moveTo>
                    <a:pt x="1180" y="383"/>
                  </a:moveTo>
                  <a:cubicBezTo>
                    <a:pt x="1173" y="383"/>
                    <a:pt x="1166" y="388"/>
                    <a:pt x="1163" y="393"/>
                  </a:cubicBezTo>
                  <a:cubicBezTo>
                    <a:pt x="1160" y="399"/>
                    <a:pt x="1163" y="403"/>
                    <a:pt x="1170" y="403"/>
                  </a:cubicBezTo>
                  <a:cubicBezTo>
                    <a:pt x="1177" y="403"/>
                    <a:pt x="1184" y="399"/>
                    <a:pt x="1187" y="393"/>
                  </a:cubicBezTo>
                  <a:cubicBezTo>
                    <a:pt x="1190" y="387"/>
                    <a:pt x="1186" y="383"/>
                    <a:pt x="1180" y="383"/>
                  </a:cubicBezTo>
                  <a:cubicBezTo>
                    <a:pt x="1180" y="383"/>
                    <a:pt x="1180" y="383"/>
                    <a:pt x="1180" y="383"/>
                  </a:cubicBezTo>
                  <a:moveTo>
                    <a:pt x="1214" y="383"/>
                  </a:moveTo>
                  <a:cubicBezTo>
                    <a:pt x="1207" y="383"/>
                    <a:pt x="1200" y="387"/>
                    <a:pt x="1197" y="393"/>
                  </a:cubicBezTo>
                  <a:cubicBezTo>
                    <a:pt x="1194" y="399"/>
                    <a:pt x="1197" y="403"/>
                    <a:pt x="1204" y="403"/>
                  </a:cubicBezTo>
                  <a:cubicBezTo>
                    <a:pt x="1211" y="403"/>
                    <a:pt x="1218" y="398"/>
                    <a:pt x="1221" y="393"/>
                  </a:cubicBezTo>
                  <a:cubicBezTo>
                    <a:pt x="1223" y="387"/>
                    <a:pt x="1220" y="383"/>
                    <a:pt x="1214" y="383"/>
                  </a:cubicBezTo>
                  <a:cubicBezTo>
                    <a:pt x="1214" y="383"/>
                    <a:pt x="1214" y="383"/>
                    <a:pt x="1214" y="383"/>
                  </a:cubicBezTo>
                  <a:moveTo>
                    <a:pt x="1249" y="382"/>
                  </a:moveTo>
                  <a:cubicBezTo>
                    <a:pt x="1242" y="382"/>
                    <a:pt x="1235" y="387"/>
                    <a:pt x="1232" y="393"/>
                  </a:cubicBezTo>
                  <a:cubicBezTo>
                    <a:pt x="1229" y="398"/>
                    <a:pt x="1233" y="403"/>
                    <a:pt x="1239" y="403"/>
                  </a:cubicBezTo>
                  <a:cubicBezTo>
                    <a:pt x="1246" y="403"/>
                    <a:pt x="1253" y="398"/>
                    <a:pt x="1256" y="392"/>
                  </a:cubicBezTo>
                  <a:cubicBezTo>
                    <a:pt x="1258" y="387"/>
                    <a:pt x="1255" y="382"/>
                    <a:pt x="1249" y="382"/>
                  </a:cubicBezTo>
                  <a:cubicBezTo>
                    <a:pt x="1249" y="382"/>
                    <a:pt x="1249" y="382"/>
                    <a:pt x="1249" y="382"/>
                  </a:cubicBezTo>
                  <a:moveTo>
                    <a:pt x="1283" y="382"/>
                  </a:moveTo>
                  <a:cubicBezTo>
                    <a:pt x="1276" y="382"/>
                    <a:pt x="1269" y="387"/>
                    <a:pt x="1266" y="392"/>
                  </a:cubicBezTo>
                  <a:cubicBezTo>
                    <a:pt x="1264" y="398"/>
                    <a:pt x="1267" y="403"/>
                    <a:pt x="1274" y="402"/>
                  </a:cubicBezTo>
                  <a:cubicBezTo>
                    <a:pt x="1280" y="402"/>
                    <a:pt x="1288" y="398"/>
                    <a:pt x="1290" y="392"/>
                  </a:cubicBezTo>
                  <a:cubicBezTo>
                    <a:pt x="1293" y="387"/>
                    <a:pt x="1290" y="382"/>
                    <a:pt x="1283" y="382"/>
                  </a:cubicBezTo>
                  <a:cubicBezTo>
                    <a:pt x="1283" y="382"/>
                    <a:pt x="1283" y="382"/>
                    <a:pt x="1283" y="382"/>
                  </a:cubicBezTo>
                  <a:moveTo>
                    <a:pt x="1317" y="382"/>
                  </a:moveTo>
                  <a:cubicBezTo>
                    <a:pt x="1310" y="382"/>
                    <a:pt x="1303" y="387"/>
                    <a:pt x="1300" y="392"/>
                  </a:cubicBezTo>
                  <a:cubicBezTo>
                    <a:pt x="1298" y="398"/>
                    <a:pt x="1301" y="402"/>
                    <a:pt x="1308" y="402"/>
                  </a:cubicBezTo>
                  <a:cubicBezTo>
                    <a:pt x="1315" y="402"/>
                    <a:pt x="1322" y="398"/>
                    <a:pt x="1324" y="392"/>
                  </a:cubicBezTo>
                  <a:cubicBezTo>
                    <a:pt x="1327" y="386"/>
                    <a:pt x="1323" y="382"/>
                    <a:pt x="1317" y="382"/>
                  </a:cubicBezTo>
                  <a:cubicBezTo>
                    <a:pt x="1317" y="382"/>
                    <a:pt x="1317" y="382"/>
                    <a:pt x="1317" y="382"/>
                  </a:cubicBezTo>
                  <a:moveTo>
                    <a:pt x="1960" y="378"/>
                  </a:moveTo>
                  <a:cubicBezTo>
                    <a:pt x="1954" y="378"/>
                    <a:pt x="1947" y="382"/>
                    <a:pt x="1946" y="388"/>
                  </a:cubicBezTo>
                  <a:cubicBezTo>
                    <a:pt x="1945" y="394"/>
                    <a:pt x="1950" y="398"/>
                    <a:pt x="1956" y="398"/>
                  </a:cubicBezTo>
                  <a:cubicBezTo>
                    <a:pt x="1963" y="398"/>
                    <a:pt x="1969" y="393"/>
                    <a:pt x="1970" y="388"/>
                  </a:cubicBezTo>
                  <a:cubicBezTo>
                    <a:pt x="1971" y="382"/>
                    <a:pt x="1967" y="378"/>
                    <a:pt x="1960" y="378"/>
                  </a:cubicBezTo>
                  <a:cubicBezTo>
                    <a:pt x="1960" y="378"/>
                    <a:pt x="1960" y="378"/>
                    <a:pt x="1960" y="378"/>
                  </a:cubicBezTo>
                  <a:moveTo>
                    <a:pt x="2029" y="377"/>
                  </a:moveTo>
                  <a:cubicBezTo>
                    <a:pt x="2022" y="377"/>
                    <a:pt x="2016" y="382"/>
                    <a:pt x="2015" y="388"/>
                  </a:cubicBezTo>
                  <a:cubicBezTo>
                    <a:pt x="2014" y="393"/>
                    <a:pt x="2019" y="398"/>
                    <a:pt x="2025" y="398"/>
                  </a:cubicBezTo>
                  <a:cubicBezTo>
                    <a:pt x="2032" y="398"/>
                    <a:pt x="2038" y="393"/>
                    <a:pt x="2039" y="387"/>
                  </a:cubicBezTo>
                  <a:cubicBezTo>
                    <a:pt x="2040" y="382"/>
                    <a:pt x="2035" y="377"/>
                    <a:pt x="2029" y="377"/>
                  </a:cubicBezTo>
                  <a:cubicBezTo>
                    <a:pt x="2029" y="377"/>
                    <a:pt x="2029" y="377"/>
                    <a:pt x="2029" y="377"/>
                  </a:cubicBezTo>
                  <a:moveTo>
                    <a:pt x="2063" y="377"/>
                  </a:moveTo>
                  <a:cubicBezTo>
                    <a:pt x="2057" y="377"/>
                    <a:pt x="2051" y="382"/>
                    <a:pt x="2050" y="387"/>
                  </a:cubicBezTo>
                  <a:cubicBezTo>
                    <a:pt x="2049" y="393"/>
                    <a:pt x="2053" y="397"/>
                    <a:pt x="2060" y="397"/>
                  </a:cubicBezTo>
                  <a:cubicBezTo>
                    <a:pt x="2066" y="397"/>
                    <a:pt x="2073" y="393"/>
                    <a:pt x="2073" y="387"/>
                  </a:cubicBezTo>
                  <a:cubicBezTo>
                    <a:pt x="2074" y="381"/>
                    <a:pt x="2070" y="377"/>
                    <a:pt x="2063" y="377"/>
                  </a:cubicBezTo>
                  <a:cubicBezTo>
                    <a:pt x="2063" y="377"/>
                    <a:pt x="2063" y="377"/>
                    <a:pt x="2063" y="377"/>
                  </a:cubicBezTo>
                  <a:moveTo>
                    <a:pt x="2132" y="376"/>
                  </a:moveTo>
                  <a:cubicBezTo>
                    <a:pt x="2125" y="376"/>
                    <a:pt x="2119" y="381"/>
                    <a:pt x="2118" y="386"/>
                  </a:cubicBezTo>
                  <a:cubicBezTo>
                    <a:pt x="2117" y="392"/>
                    <a:pt x="2122" y="396"/>
                    <a:pt x="2129" y="396"/>
                  </a:cubicBezTo>
                  <a:cubicBezTo>
                    <a:pt x="2135" y="396"/>
                    <a:pt x="2141" y="392"/>
                    <a:pt x="2142" y="386"/>
                  </a:cubicBezTo>
                  <a:cubicBezTo>
                    <a:pt x="2143" y="380"/>
                    <a:pt x="2138" y="376"/>
                    <a:pt x="2132" y="376"/>
                  </a:cubicBezTo>
                  <a:cubicBezTo>
                    <a:pt x="2132" y="376"/>
                    <a:pt x="2132" y="376"/>
                    <a:pt x="2132" y="376"/>
                  </a:cubicBezTo>
                  <a:moveTo>
                    <a:pt x="2166" y="376"/>
                  </a:moveTo>
                  <a:cubicBezTo>
                    <a:pt x="2160" y="376"/>
                    <a:pt x="2154" y="380"/>
                    <a:pt x="2153" y="386"/>
                  </a:cubicBezTo>
                  <a:cubicBezTo>
                    <a:pt x="2152" y="392"/>
                    <a:pt x="2157" y="396"/>
                    <a:pt x="2164" y="396"/>
                  </a:cubicBezTo>
                  <a:cubicBezTo>
                    <a:pt x="2170" y="396"/>
                    <a:pt x="2176" y="391"/>
                    <a:pt x="2177" y="386"/>
                  </a:cubicBezTo>
                  <a:cubicBezTo>
                    <a:pt x="2178" y="380"/>
                    <a:pt x="2173" y="376"/>
                    <a:pt x="2166" y="376"/>
                  </a:cubicBezTo>
                  <a:cubicBezTo>
                    <a:pt x="2166" y="376"/>
                    <a:pt x="2166" y="376"/>
                    <a:pt x="2166" y="376"/>
                  </a:cubicBezTo>
                  <a:moveTo>
                    <a:pt x="2200" y="375"/>
                  </a:moveTo>
                  <a:cubicBezTo>
                    <a:pt x="2194" y="375"/>
                    <a:pt x="2188" y="380"/>
                    <a:pt x="2187" y="386"/>
                  </a:cubicBezTo>
                  <a:cubicBezTo>
                    <a:pt x="2186" y="391"/>
                    <a:pt x="2191" y="396"/>
                    <a:pt x="2198" y="396"/>
                  </a:cubicBezTo>
                  <a:cubicBezTo>
                    <a:pt x="2204" y="396"/>
                    <a:pt x="2210" y="391"/>
                    <a:pt x="2211" y="386"/>
                  </a:cubicBezTo>
                  <a:cubicBezTo>
                    <a:pt x="2211" y="380"/>
                    <a:pt x="2207" y="375"/>
                    <a:pt x="2200" y="375"/>
                  </a:cubicBezTo>
                  <a:cubicBezTo>
                    <a:pt x="2200" y="375"/>
                    <a:pt x="2200" y="375"/>
                    <a:pt x="2200" y="375"/>
                  </a:cubicBezTo>
                  <a:moveTo>
                    <a:pt x="2235" y="375"/>
                  </a:moveTo>
                  <a:cubicBezTo>
                    <a:pt x="2228" y="375"/>
                    <a:pt x="2223" y="380"/>
                    <a:pt x="2222" y="385"/>
                  </a:cubicBezTo>
                  <a:cubicBezTo>
                    <a:pt x="2221" y="391"/>
                    <a:pt x="2226" y="396"/>
                    <a:pt x="2233" y="396"/>
                  </a:cubicBezTo>
                  <a:cubicBezTo>
                    <a:pt x="2239" y="396"/>
                    <a:pt x="2245" y="391"/>
                    <a:pt x="2246" y="385"/>
                  </a:cubicBezTo>
                  <a:cubicBezTo>
                    <a:pt x="2246" y="380"/>
                    <a:pt x="2241" y="375"/>
                    <a:pt x="2235" y="375"/>
                  </a:cubicBezTo>
                  <a:cubicBezTo>
                    <a:pt x="2235" y="375"/>
                    <a:pt x="2235" y="375"/>
                    <a:pt x="2235" y="375"/>
                  </a:cubicBezTo>
                  <a:moveTo>
                    <a:pt x="2269" y="375"/>
                  </a:moveTo>
                  <a:cubicBezTo>
                    <a:pt x="2262" y="375"/>
                    <a:pt x="2256" y="380"/>
                    <a:pt x="2256" y="385"/>
                  </a:cubicBezTo>
                  <a:cubicBezTo>
                    <a:pt x="2255" y="391"/>
                    <a:pt x="2260" y="395"/>
                    <a:pt x="2267" y="395"/>
                  </a:cubicBezTo>
                  <a:cubicBezTo>
                    <a:pt x="2273" y="395"/>
                    <a:pt x="2279" y="391"/>
                    <a:pt x="2280" y="385"/>
                  </a:cubicBezTo>
                  <a:cubicBezTo>
                    <a:pt x="2280" y="379"/>
                    <a:pt x="2275" y="375"/>
                    <a:pt x="2269" y="375"/>
                  </a:cubicBezTo>
                  <a:cubicBezTo>
                    <a:pt x="2269" y="375"/>
                    <a:pt x="2269" y="375"/>
                    <a:pt x="2269" y="375"/>
                  </a:cubicBezTo>
                  <a:moveTo>
                    <a:pt x="2574" y="375"/>
                  </a:moveTo>
                  <a:cubicBezTo>
                    <a:pt x="2567" y="375"/>
                    <a:pt x="2562" y="379"/>
                    <a:pt x="2562" y="385"/>
                  </a:cubicBezTo>
                  <a:cubicBezTo>
                    <a:pt x="2562" y="391"/>
                    <a:pt x="2568" y="395"/>
                    <a:pt x="2574" y="395"/>
                  </a:cubicBezTo>
                  <a:cubicBezTo>
                    <a:pt x="2581" y="395"/>
                    <a:pt x="2586" y="391"/>
                    <a:pt x="2586" y="385"/>
                  </a:cubicBezTo>
                  <a:cubicBezTo>
                    <a:pt x="2586" y="379"/>
                    <a:pt x="2580" y="375"/>
                    <a:pt x="2574" y="375"/>
                  </a:cubicBezTo>
                  <a:cubicBezTo>
                    <a:pt x="2574" y="375"/>
                    <a:pt x="2574" y="375"/>
                    <a:pt x="2574" y="375"/>
                  </a:cubicBezTo>
                  <a:moveTo>
                    <a:pt x="2302" y="375"/>
                  </a:moveTo>
                  <a:cubicBezTo>
                    <a:pt x="2296" y="375"/>
                    <a:pt x="2290" y="379"/>
                    <a:pt x="2289" y="385"/>
                  </a:cubicBezTo>
                  <a:cubicBezTo>
                    <a:pt x="2289" y="391"/>
                    <a:pt x="2294" y="395"/>
                    <a:pt x="2301" y="395"/>
                  </a:cubicBezTo>
                  <a:cubicBezTo>
                    <a:pt x="2307" y="395"/>
                    <a:pt x="2313" y="390"/>
                    <a:pt x="2313" y="385"/>
                  </a:cubicBezTo>
                  <a:cubicBezTo>
                    <a:pt x="2314" y="379"/>
                    <a:pt x="2309" y="375"/>
                    <a:pt x="2302" y="375"/>
                  </a:cubicBezTo>
                  <a:cubicBezTo>
                    <a:pt x="2302" y="375"/>
                    <a:pt x="2302" y="375"/>
                    <a:pt x="2302" y="375"/>
                  </a:cubicBezTo>
                  <a:moveTo>
                    <a:pt x="2336" y="374"/>
                  </a:moveTo>
                  <a:cubicBezTo>
                    <a:pt x="2329" y="374"/>
                    <a:pt x="2324" y="379"/>
                    <a:pt x="2323" y="385"/>
                  </a:cubicBezTo>
                  <a:cubicBezTo>
                    <a:pt x="2323" y="390"/>
                    <a:pt x="2328" y="395"/>
                    <a:pt x="2335" y="395"/>
                  </a:cubicBezTo>
                  <a:cubicBezTo>
                    <a:pt x="2341" y="395"/>
                    <a:pt x="2347" y="390"/>
                    <a:pt x="2347" y="385"/>
                  </a:cubicBezTo>
                  <a:cubicBezTo>
                    <a:pt x="2347" y="379"/>
                    <a:pt x="2342" y="374"/>
                    <a:pt x="2336" y="374"/>
                  </a:cubicBezTo>
                  <a:cubicBezTo>
                    <a:pt x="2336" y="374"/>
                    <a:pt x="2336" y="374"/>
                    <a:pt x="2336" y="374"/>
                  </a:cubicBezTo>
                  <a:moveTo>
                    <a:pt x="2370" y="374"/>
                  </a:moveTo>
                  <a:cubicBezTo>
                    <a:pt x="2363" y="374"/>
                    <a:pt x="2358" y="379"/>
                    <a:pt x="2357" y="384"/>
                  </a:cubicBezTo>
                  <a:cubicBezTo>
                    <a:pt x="2357" y="390"/>
                    <a:pt x="2362" y="395"/>
                    <a:pt x="2369" y="395"/>
                  </a:cubicBezTo>
                  <a:cubicBezTo>
                    <a:pt x="2375" y="395"/>
                    <a:pt x="2381" y="390"/>
                    <a:pt x="2381" y="384"/>
                  </a:cubicBezTo>
                  <a:cubicBezTo>
                    <a:pt x="2381" y="379"/>
                    <a:pt x="2376" y="374"/>
                    <a:pt x="2370" y="374"/>
                  </a:cubicBezTo>
                  <a:cubicBezTo>
                    <a:pt x="2370" y="374"/>
                    <a:pt x="2370" y="374"/>
                    <a:pt x="2370" y="374"/>
                  </a:cubicBezTo>
                  <a:moveTo>
                    <a:pt x="2404" y="374"/>
                  </a:moveTo>
                  <a:cubicBezTo>
                    <a:pt x="2398" y="374"/>
                    <a:pt x="2392" y="379"/>
                    <a:pt x="2392" y="384"/>
                  </a:cubicBezTo>
                  <a:cubicBezTo>
                    <a:pt x="2392" y="390"/>
                    <a:pt x="2397" y="394"/>
                    <a:pt x="2403" y="394"/>
                  </a:cubicBezTo>
                  <a:cubicBezTo>
                    <a:pt x="2410" y="394"/>
                    <a:pt x="2416" y="390"/>
                    <a:pt x="2416" y="384"/>
                  </a:cubicBezTo>
                  <a:cubicBezTo>
                    <a:pt x="2416" y="378"/>
                    <a:pt x="2411" y="374"/>
                    <a:pt x="2404" y="374"/>
                  </a:cubicBezTo>
                  <a:cubicBezTo>
                    <a:pt x="2404" y="374"/>
                    <a:pt x="2404" y="374"/>
                    <a:pt x="2404" y="374"/>
                  </a:cubicBezTo>
                  <a:moveTo>
                    <a:pt x="2608" y="374"/>
                  </a:moveTo>
                  <a:cubicBezTo>
                    <a:pt x="2602" y="374"/>
                    <a:pt x="2597" y="378"/>
                    <a:pt x="2597" y="384"/>
                  </a:cubicBezTo>
                  <a:cubicBezTo>
                    <a:pt x="2597" y="390"/>
                    <a:pt x="2603" y="394"/>
                    <a:pt x="2609" y="394"/>
                  </a:cubicBezTo>
                  <a:cubicBezTo>
                    <a:pt x="2616" y="394"/>
                    <a:pt x="2621" y="389"/>
                    <a:pt x="2621" y="384"/>
                  </a:cubicBezTo>
                  <a:cubicBezTo>
                    <a:pt x="2621" y="378"/>
                    <a:pt x="2615" y="374"/>
                    <a:pt x="2609" y="374"/>
                  </a:cubicBezTo>
                  <a:cubicBezTo>
                    <a:pt x="2609" y="374"/>
                    <a:pt x="2609" y="374"/>
                    <a:pt x="2608" y="374"/>
                  </a:cubicBezTo>
                  <a:moveTo>
                    <a:pt x="2438" y="374"/>
                  </a:moveTo>
                  <a:cubicBezTo>
                    <a:pt x="2431" y="374"/>
                    <a:pt x="2426" y="378"/>
                    <a:pt x="2426" y="384"/>
                  </a:cubicBezTo>
                  <a:cubicBezTo>
                    <a:pt x="2426" y="390"/>
                    <a:pt x="2431" y="394"/>
                    <a:pt x="2437" y="394"/>
                  </a:cubicBezTo>
                  <a:cubicBezTo>
                    <a:pt x="2444" y="394"/>
                    <a:pt x="2449" y="389"/>
                    <a:pt x="2450" y="384"/>
                  </a:cubicBezTo>
                  <a:cubicBezTo>
                    <a:pt x="2450" y="378"/>
                    <a:pt x="2444" y="374"/>
                    <a:pt x="2438" y="374"/>
                  </a:cubicBezTo>
                  <a:cubicBezTo>
                    <a:pt x="2438" y="374"/>
                    <a:pt x="2438" y="374"/>
                    <a:pt x="2438" y="374"/>
                  </a:cubicBezTo>
                  <a:moveTo>
                    <a:pt x="2642" y="373"/>
                  </a:moveTo>
                  <a:cubicBezTo>
                    <a:pt x="2636" y="373"/>
                    <a:pt x="2631" y="378"/>
                    <a:pt x="2631" y="384"/>
                  </a:cubicBezTo>
                  <a:cubicBezTo>
                    <a:pt x="2631" y="389"/>
                    <a:pt x="2637" y="394"/>
                    <a:pt x="2643" y="394"/>
                  </a:cubicBezTo>
                  <a:cubicBezTo>
                    <a:pt x="2650" y="394"/>
                    <a:pt x="2655" y="389"/>
                    <a:pt x="2655" y="384"/>
                  </a:cubicBezTo>
                  <a:cubicBezTo>
                    <a:pt x="2654" y="378"/>
                    <a:pt x="2649" y="373"/>
                    <a:pt x="2642" y="373"/>
                  </a:cubicBezTo>
                  <a:cubicBezTo>
                    <a:pt x="2642" y="373"/>
                    <a:pt x="2642" y="373"/>
                    <a:pt x="2642" y="373"/>
                  </a:cubicBezTo>
                  <a:moveTo>
                    <a:pt x="2472" y="373"/>
                  </a:moveTo>
                  <a:cubicBezTo>
                    <a:pt x="2465" y="373"/>
                    <a:pt x="2460" y="378"/>
                    <a:pt x="2460" y="384"/>
                  </a:cubicBezTo>
                  <a:cubicBezTo>
                    <a:pt x="2460" y="389"/>
                    <a:pt x="2465" y="394"/>
                    <a:pt x="2472" y="394"/>
                  </a:cubicBezTo>
                  <a:cubicBezTo>
                    <a:pt x="2478" y="394"/>
                    <a:pt x="2484" y="389"/>
                    <a:pt x="2484" y="384"/>
                  </a:cubicBezTo>
                  <a:cubicBezTo>
                    <a:pt x="2484" y="378"/>
                    <a:pt x="2478" y="373"/>
                    <a:pt x="2472" y="373"/>
                  </a:cubicBezTo>
                  <a:cubicBezTo>
                    <a:pt x="2472" y="373"/>
                    <a:pt x="2472" y="373"/>
                    <a:pt x="2472" y="373"/>
                  </a:cubicBezTo>
                  <a:moveTo>
                    <a:pt x="2676" y="373"/>
                  </a:moveTo>
                  <a:cubicBezTo>
                    <a:pt x="2669" y="373"/>
                    <a:pt x="2664" y="378"/>
                    <a:pt x="2664" y="384"/>
                  </a:cubicBezTo>
                  <a:cubicBezTo>
                    <a:pt x="2665" y="389"/>
                    <a:pt x="2670" y="394"/>
                    <a:pt x="2677" y="394"/>
                  </a:cubicBezTo>
                  <a:cubicBezTo>
                    <a:pt x="2684" y="394"/>
                    <a:pt x="2689" y="389"/>
                    <a:pt x="2688" y="383"/>
                  </a:cubicBezTo>
                  <a:cubicBezTo>
                    <a:pt x="2688" y="378"/>
                    <a:pt x="2682" y="373"/>
                    <a:pt x="2676" y="373"/>
                  </a:cubicBezTo>
                  <a:cubicBezTo>
                    <a:pt x="2676" y="373"/>
                    <a:pt x="2676" y="373"/>
                    <a:pt x="2676" y="373"/>
                  </a:cubicBezTo>
                  <a:moveTo>
                    <a:pt x="2505" y="373"/>
                  </a:moveTo>
                  <a:cubicBezTo>
                    <a:pt x="2499" y="373"/>
                    <a:pt x="2494" y="378"/>
                    <a:pt x="2494" y="383"/>
                  </a:cubicBezTo>
                  <a:cubicBezTo>
                    <a:pt x="2494" y="389"/>
                    <a:pt x="2499" y="394"/>
                    <a:pt x="2506" y="394"/>
                  </a:cubicBezTo>
                  <a:cubicBezTo>
                    <a:pt x="2512" y="394"/>
                    <a:pt x="2517" y="389"/>
                    <a:pt x="2517" y="383"/>
                  </a:cubicBezTo>
                  <a:cubicBezTo>
                    <a:pt x="2517" y="378"/>
                    <a:pt x="2512" y="373"/>
                    <a:pt x="2506" y="373"/>
                  </a:cubicBezTo>
                  <a:cubicBezTo>
                    <a:pt x="2506" y="373"/>
                    <a:pt x="2506" y="373"/>
                    <a:pt x="2505" y="373"/>
                  </a:cubicBezTo>
                  <a:moveTo>
                    <a:pt x="2709" y="373"/>
                  </a:moveTo>
                  <a:cubicBezTo>
                    <a:pt x="2703" y="373"/>
                    <a:pt x="2698" y="378"/>
                    <a:pt x="2698" y="383"/>
                  </a:cubicBezTo>
                  <a:cubicBezTo>
                    <a:pt x="2699" y="389"/>
                    <a:pt x="2704" y="393"/>
                    <a:pt x="2711" y="393"/>
                  </a:cubicBezTo>
                  <a:cubicBezTo>
                    <a:pt x="2718" y="393"/>
                    <a:pt x="2723" y="389"/>
                    <a:pt x="2722" y="383"/>
                  </a:cubicBezTo>
                  <a:cubicBezTo>
                    <a:pt x="2722" y="377"/>
                    <a:pt x="2716" y="373"/>
                    <a:pt x="2709" y="373"/>
                  </a:cubicBezTo>
                  <a:cubicBezTo>
                    <a:pt x="2709" y="373"/>
                    <a:pt x="2709" y="373"/>
                    <a:pt x="2709" y="373"/>
                  </a:cubicBezTo>
                  <a:moveTo>
                    <a:pt x="2539" y="373"/>
                  </a:moveTo>
                  <a:cubicBezTo>
                    <a:pt x="2533" y="373"/>
                    <a:pt x="2528" y="378"/>
                    <a:pt x="2528" y="383"/>
                  </a:cubicBezTo>
                  <a:cubicBezTo>
                    <a:pt x="2528" y="389"/>
                    <a:pt x="2533" y="393"/>
                    <a:pt x="2540" y="393"/>
                  </a:cubicBezTo>
                  <a:cubicBezTo>
                    <a:pt x="2546" y="393"/>
                    <a:pt x="2552" y="389"/>
                    <a:pt x="2552" y="383"/>
                  </a:cubicBezTo>
                  <a:cubicBezTo>
                    <a:pt x="2551" y="377"/>
                    <a:pt x="2546" y="373"/>
                    <a:pt x="2540" y="373"/>
                  </a:cubicBezTo>
                  <a:cubicBezTo>
                    <a:pt x="2540" y="373"/>
                    <a:pt x="2539" y="373"/>
                    <a:pt x="2539" y="373"/>
                  </a:cubicBezTo>
                  <a:moveTo>
                    <a:pt x="2743" y="373"/>
                  </a:moveTo>
                  <a:cubicBezTo>
                    <a:pt x="2737" y="373"/>
                    <a:pt x="2732" y="377"/>
                    <a:pt x="2732" y="383"/>
                  </a:cubicBezTo>
                  <a:cubicBezTo>
                    <a:pt x="2733" y="389"/>
                    <a:pt x="2739" y="393"/>
                    <a:pt x="2745" y="393"/>
                  </a:cubicBezTo>
                  <a:cubicBezTo>
                    <a:pt x="2752" y="393"/>
                    <a:pt x="2757" y="388"/>
                    <a:pt x="2756" y="383"/>
                  </a:cubicBezTo>
                  <a:cubicBezTo>
                    <a:pt x="2756" y="377"/>
                    <a:pt x="2750" y="373"/>
                    <a:pt x="2743" y="373"/>
                  </a:cubicBezTo>
                  <a:cubicBezTo>
                    <a:pt x="2743" y="373"/>
                    <a:pt x="2743" y="373"/>
                    <a:pt x="2743" y="373"/>
                  </a:cubicBezTo>
                  <a:moveTo>
                    <a:pt x="2778" y="372"/>
                  </a:moveTo>
                  <a:cubicBezTo>
                    <a:pt x="2771" y="372"/>
                    <a:pt x="2766" y="377"/>
                    <a:pt x="2767" y="383"/>
                  </a:cubicBezTo>
                  <a:cubicBezTo>
                    <a:pt x="2767" y="388"/>
                    <a:pt x="2773" y="393"/>
                    <a:pt x="2780" y="393"/>
                  </a:cubicBezTo>
                  <a:cubicBezTo>
                    <a:pt x="2786" y="393"/>
                    <a:pt x="2791" y="388"/>
                    <a:pt x="2791" y="383"/>
                  </a:cubicBezTo>
                  <a:cubicBezTo>
                    <a:pt x="2790" y="377"/>
                    <a:pt x="2784" y="372"/>
                    <a:pt x="2778" y="372"/>
                  </a:cubicBezTo>
                  <a:cubicBezTo>
                    <a:pt x="2778" y="372"/>
                    <a:pt x="2778" y="372"/>
                    <a:pt x="2778" y="372"/>
                  </a:cubicBezTo>
                  <a:moveTo>
                    <a:pt x="2811" y="372"/>
                  </a:moveTo>
                  <a:cubicBezTo>
                    <a:pt x="2805" y="372"/>
                    <a:pt x="2800" y="377"/>
                    <a:pt x="2801" y="382"/>
                  </a:cubicBezTo>
                  <a:cubicBezTo>
                    <a:pt x="2801" y="388"/>
                    <a:pt x="2807" y="393"/>
                    <a:pt x="2814" y="393"/>
                  </a:cubicBezTo>
                  <a:cubicBezTo>
                    <a:pt x="2820" y="393"/>
                    <a:pt x="2825" y="388"/>
                    <a:pt x="2824" y="382"/>
                  </a:cubicBezTo>
                  <a:cubicBezTo>
                    <a:pt x="2824" y="377"/>
                    <a:pt x="2818" y="372"/>
                    <a:pt x="2811" y="372"/>
                  </a:cubicBezTo>
                  <a:cubicBezTo>
                    <a:pt x="2811" y="372"/>
                    <a:pt x="2811" y="372"/>
                    <a:pt x="2811" y="372"/>
                  </a:cubicBezTo>
                  <a:moveTo>
                    <a:pt x="2845" y="372"/>
                  </a:moveTo>
                  <a:cubicBezTo>
                    <a:pt x="2839" y="372"/>
                    <a:pt x="2834" y="377"/>
                    <a:pt x="2835" y="382"/>
                  </a:cubicBezTo>
                  <a:cubicBezTo>
                    <a:pt x="2835" y="388"/>
                    <a:pt x="2841" y="392"/>
                    <a:pt x="2848" y="392"/>
                  </a:cubicBezTo>
                  <a:cubicBezTo>
                    <a:pt x="2854" y="392"/>
                    <a:pt x="2859" y="388"/>
                    <a:pt x="2858" y="382"/>
                  </a:cubicBezTo>
                  <a:cubicBezTo>
                    <a:pt x="2858" y="376"/>
                    <a:pt x="2852" y="372"/>
                    <a:pt x="2845" y="372"/>
                  </a:cubicBezTo>
                  <a:cubicBezTo>
                    <a:pt x="2845" y="372"/>
                    <a:pt x="2845" y="372"/>
                    <a:pt x="2845" y="372"/>
                  </a:cubicBezTo>
                  <a:moveTo>
                    <a:pt x="2879" y="372"/>
                  </a:moveTo>
                  <a:cubicBezTo>
                    <a:pt x="2872" y="372"/>
                    <a:pt x="2868" y="376"/>
                    <a:pt x="2868" y="382"/>
                  </a:cubicBezTo>
                  <a:cubicBezTo>
                    <a:pt x="2869" y="388"/>
                    <a:pt x="2875" y="392"/>
                    <a:pt x="2882" y="392"/>
                  </a:cubicBezTo>
                  <a:cubicBezTo>
                    <a:pt x="2888" y="392"/>
                    <a:pt x="2893" y="387"/>
                    <a:pt x="2892" y="382"/>
                  </a:cubicBezTo>
                  <a:cubicBezTo>
                    <a:pt x="2891" y="376"/>
                    <a:pt x="2886" y="372"/>
                    <a:pt x="2879" y="372"/>
                  </a:cubicBezTo>
                  <a:cubicBezTo>
                    <a:pt x="2879" y="372"/>
                    <a:pt x="2879" y="372"/>
                    <a:pt x="2879" y="372"/>
                  </a:cubicBezTo>
                  <a:moveTo>
                    <a:pt x="2913" y="371"/>
                  </a:moveTo>
                  <a:cubicBezTo>
                    <a:pt x="2906" y="371"/>
                    <a:pt x="2902" y="376"/>
                    <a:pt x="2903" y="382"/>
                  </a:cubicBezTo>
                  <a:cubicBezTo>
                    <a:pt x="2903" y="387"/>
                    <a:pt x="2909" y="392"/>
                    <a:pt x="2916" y="392"/>
                  </a:cubicBezTo>
                  <a:cubicBezTo>
                    <a:pt x="2923" y="392"/>
                    <a:pt x="2927" y="387"/>
                    <a:pt x="2926" y="382"/>
                  </a:cubicBezTo>
                  <a:cubicBezTo>
                    <a:pt x="2926" y="376"/>
                    <a:pt x="2920" y="371"/>
                    <a:pt x="2913" y="371"/>
                  </a:cubicBezTo>
                  <a:cubicBezTo>
                    <a:pt x="2913" y="371"/>
                    <a:pt x="2913" y="371"/>
                    <a:pt x="2913" y="371"/>
                  </a:cubicBezTo>
                  <a:moveTo>
                    <a:pt x="2945" y="371"/>
                  </a:moveTo>
                  <a:cubicBezTo>
                    <a:pt x="2939" y="371"/>
                    <a:pt x="2935" y="375"/>
                    <a:pt x="2935" y="381"/>
                  </a:cubicBezTo>
                  <a:cubicBezTo>
                    <a:pt x="2936" y="386"/>
                    <a:pt x="2942" y="390"/>
                    <a:pt x="2948" y="390"/>
                  </a:cubicBezTo>
                  <a:cubicBezTo>
                    <a:pt x="2955" y="390"/>
                    <a:pt x="2959" y="386"/>
                    <a:pt x="2958" y="381"/>
                  </a:cubicBezTo>
                  <a:cubicBezTo>
                    <a:pt x="2957" y="375"/>
                    <a:pt x="2951" y="371"/>
                    <a:pt x="2945" y="371"/>
                  </a:cubicBezTo>
                  <a:cubicBezTo>
                    <a:pt x="2945" y="371"/>
                    <a:pt x="2945" y="371"/>
                    <a:pt x="2945" y="371"/>
                  </a:cubicBezTo>
                  <a:moveTo>
                    <a:pt x="2980" y="371"/>
                  </a:moveTo>
                  <a:cubicBezTo>
                    <a:pt x="2974" y="371"/>
                    <a:pt x="2969" y="375"/>
                    <a:pt x="2970" y="380"/>
                  </a:cubicBezTo>
                  <a:cubicBezTo>
                    <a:pt x="2971" y="386"/>
                    <a:pt x="2977" y="390"/>
                    <a:pt x="2983" y="390"/>
                  </a:cubicBezTo>
                  <a:cubicBezTo>
                    <a:pt x="2990" y="390"/>
                    <a:pt x="2994" y="386"/>
                    <a:pt x="2993" y="380"/>
                  </a:cubicBezTo>
                  <a:cubicBezTo>
                    <a:pt x="2992" y="375"/>
                    <a:pt x="2986" y="371"/>
                    <a:pt x="2980" y="371"/>
                  </a:cubicBezTo>
                  <a:cubicBezTo>
                    <a:pt x="2980" y="371"/>
                    <a:pt x="2980" y="371"/>
                    <a:pt x="2980" y="371"/>
                  </a:cubicBezTo>
                  <a:moveTo>
                    <a:pt x="3014" y="371"/>
                  </a:moveTo>
                  <a:cubicBezTo>
                    <a:pt x="3007" y="371"/>
                    <a:pt x="3003" y="375"/>
                    <a:pt x="3004" y="381"/>
                  </a:cubicBezTo>
                  <a:cubicBezTo>
                    <a:pt x="3005" y="387"/>
                    <a:pt x="3011" y="391"/>
                    <a:pt x="3018" y="391"/>
                  </a:cubicBezTo>
                  <a:cubicBezTo>
                    <a:pt x="3024" y="391"/>
                    <a:pt x="3029" y="386"/>
                    <a:pt x="3028" y="381"/>
                  </a:cubicBezTo>
                  <a:cubicBezTo>
                    <a:pt x="3026" y="375"/>
                    <a:pt x="3020" y="371"/>
                    <a:pt x="3014" y="371"/>
                  </a:cubicBezTo>
                  <a:cubicBezTo>
                    <a:pt x="3014" y="371"/>
                    <a:pt x="3014" y="371"/>
                    <a:pt x="3014" y="371"/>
                  </a:cubicBezTo>
                  <a:moveTo>
                    <a:pt x="3047" y="370"/>
                  </a:moveTo>
                  <a:cubicBezTo>
                    <a:pt x="3041" y="370"/>
                    <a:pt x="3036" y="375"/>
                    <a:pt x="3037" y="381"/>
                  </a:cubicBezTo>
                  <a:cubicBezTo>
                    <a:pt x="3038" y="386"/>
                    <a:pt x="3045" y="391"/>
                    <a:pt x="3051" y="391"/>
                  </a:cubicBezTo>
                  <a:cubicBezTo>
                    <a:pt x="3058" y="391"/>
                    <a:pt x="3062" y="386"/>
                    <a:pt x="3061" y="381"/>
                  </a:cubicBezTo>
                  <a:cubicBezTo>
                    <a:pt x="3060" y="375"/>
                    <a:pt x="3054" y="370"/>
                    <a:pt x="3047" y="370"/>
                  </a:cubicBezTo>
                  <a:cubicBezTo>
                    <a:pt x="3047" y="370"/>
                    <a:pt x="3047" y="370"/>
                    <a:pt x="3047" y="370"/>
                  </a:cubicBezTo>
                  <a:moveTo>
                    <a:pt x="3081" y="370"/>
                  </a:moveTo>
                  <a:cubicBezTo>
                    <a:pt x="3074" y="370"/>
                    <a:pt x="3070" y="375"/>
                    <a:pt x="3071" y="380"/>
                  </a:cubicBezTo>
                  <a:cubicBezTo>
                    <a:pt x="3072" y="386"/>
                    <a:pt x="3079" y="391"/>
                    <a:pt x="3085" y="391"/>
                  </a:cubicBezTo>
                  <a:cubicBezTo>
                    <a:pt x="3092" y="391"/>
                    <a:pt x="3096" y="386"/>
                    <a:pt x="3095" y="380"/>
                  </a:cubicBezTo>
                  <a:cubicBezTo>
                    <a:pt x="3094" y="375"/>
                    <a:pt x="3087" y="370"/>
                    <a:pt x="3081" y="370"/>
                  </a:cubicBezTo>
                  <a:cubicBezTo>
                    <a:pt x="3081" y="370"/>
                    <a:pt x="3081" y="370"/>
                    <a:pt x="3081" y="370"/>
                  </a:cubicBezTo>
                  <a:moveTo>
                    <a:pt x="3115" y="370"/>
                  </a:moveTo>
                  <a:cubicBezTo>
                    <a:pt x="3108" y="370"/>
                    <a:pt x="3104" y="375"/>
                    <a:pt x="3105" y="380"/>
                  </a:cubicBezTo>
                  <a:cubicBezTo>
                    <a:pt x="3106" y="386"/>
                    <a:pt x="3113" y="390"/>
                    <a:pt x="3119" y="390"/>
                  </a:cubicBezTo>
                  <a:cubicBezTo>
                    <a:pt x="3126" y="390"/>
                    <a:pt x="3130" y="386"/>
                    <a:pt x="3129" y="380"/>
                  </a:cubicBezTo>
                  <a:cubicBezTo>
                    <a:pt x="3128" y="374"/>
                    <a:pt x="3121" y="370"/>
                    <a:pt x="3115" y="370"/>
                  </a:cubicBezTo>
                  <a:cubicBezTo>
                    <a:pt x="3115" y="370"/>
                    <a:pt x="3115" y="370"/>
                    <a:pt x="3115" y="370"/>
                  </a:cubicBezTo>
                  <a:moveTo>
                    <a:pt x="3149" y="370"/>
                  </a:moveTo>
                  <a:cubicBezTo>
                    <a:pt x="3142" y="370"/>
                    <a:pt x="3138" y="374"/>
                    <a:pt x="3140" y="380"/>
                  </a:cubicBezTo>
                  <a:cubicBezTo>
                    <a:pt x="3141" y="386"/>
                    <a:pt x="3147" y="390"/>
                    <a:pt x="3154" y="390"/>
                  </a:cubicBezTo>
                  <a:cubicBezTo>
                    <a:pt x="3161" y="390"/>
                    <a:pt x="3165" y="385"/>
                    <a:pt x="3163" y="380"/>
                  </a:cubicBezTo>
                  <a:cubicBezTo>
                    <a:pt x="3162" y="374"/>
                    <a:pt x="3156" y="370"/>
                    <a:pt x="3149" y="370"/>
                  </a:cubicBezTo>
                  <a:cubicBezTo>
                    <a:pt x="3149" y="370"/>
                    <a:pt x="3149" y="370"/>
                    <a:pt x="3149" y="370"/>
                  </a:cubicBezTo>
                  <a:moveTo>
                    <a:pt x="3183" y="369"/>
                  </a:moveTo>
                  <a:cubicBezTo>
                    <a:pt x="3176" y="369"/>
                    <a:pt x="3172" y="374"/>
                    <a:pt x="3173" y="380"/>
                  </a:cubicBezTo>
                  <a:cubicBezTo>
                    <a:pt x="3175" y="385"/>
                    <a:pt x="3181" y="390"/>
                    <a:pt x="3188" y="390"/>
                  </a:cubicBezTo>
                  <a:cubicBezTo>
                    <a:pt x="3194" y="390"/>
                    <a:pt x="3199" y="385"/>
                    <a:pt x="3197" y="380"/>
                  </a:cubicBezTo>
                  <a:cubicBezTo>
                    <a:pt x="3196" y="374"/>
                    <a:pt x="3189" y="369"/>
                    <a:pt x="3183" y="369"/>
                  </a:cubicBezTo>
                  <a:cubicBezTo>
                    <a:pt x="3183" y="369"/>
                    <a:pt x="3183" y="369"/>
                    <a:pt x="3183" y="369"/>
                  </a:cubicBezTo>
                  <a:moveTo>
                    <a:pt x="3217" y="369"/>
                  </a:moveTo>
                  <a:cubicBezTo>
                    <a:pt x="3210" y="369"/>
                    <a:pt x="3206" y="374"/>
                    <a:pt x="3207" y="379"/>
                  </a:cubicBezTo>
                  <a:cubicBezTo>
                    <a:pt x="3209" y="385"/>
                    <a:pt x="3215" y="390"/>
                    <a:pt x="3222" y="390"/>
                  </a:cubicBezTo>
                  <a:cubicBezTo>
                    <a:pt x="3229" y="390"/>
                    <a:pt x="3233" y="385"/>
                    <a:pt x="3231" y="379"/>
                  </a:cubicBezTo>
                  <a:cubicBezTo>
                    <a:pt x="3230" y="374"/>
                    <a:pt x="3223" y="369"/>
                    <a:pt x="3217" y="369"/>
                  </a:cubicBezTo>
                  <a:cubicBezTo>
                    <a:pt x="3217" y="369"/>
                    <a:pt x="3217" y="369"/>
                    <a:pt x="3217" y="369"/>
                  </a:cubicBezTo>
                  <a:moveTo>
                    <a:pt x="3250" y="369"/>
                  </a:moveTo>
                  <a:cubicBezTo>
                    <a:pt x="3244" y="369"/>
                    <a:pt x="3240" y="374"/>
                    <a:pt x="3241" y="379"/>
                  </a:cubicBezTo>
                  <a:cubicBezTo>
                    <a:pt x="3243" y="385"/>
                    <a:pt x="3249" y="389"/>
                    <a:pt x="3256" y="389"/>
                  </a:cubicBezTo>
                  <a:cubicBezTo>
                    <a:pt x="3262" y="389"/>
                    <a:pt x="3267" y="385"/>
                    <a:pt x="3265" y="379"/>
                  </a:cubicBezTo>
                  <a:cubicBezTo>
                    <a:pt x="3263" y="373"/>
                    <a:pt x="3257" y="369"/>
                    <a:pt x="3250" y="369"/>
                  </a:cubicBezTo>
                  <a:cubicBezTo>
                    <a:pt x="3250" y="369"/>
                    <a:pt x="3250" y="369"/>
                    <a:pt x="3250" y="369"/>
                  </a:cubicBezTo>
                  <a:moveTo>
                    <a:pt x="3284" y="369"/>
                  </a:moveTo>
                  <a:cubicBezTo>
                    <a:pt x="3278" y="369"/>
                    <a:pt x="3274" y="373"/>
                    <a:pt x="3275" y="379"/>
                  </a:cubicBezTo>
                  <a:cubicBezTo>
                    <a:pt x="3277" y="385"/>
                    <a:pt x="3283" y="389"/>
                    <a:pt x="3290" y="389"/>
                  </a:cubicBezTo>
                  <a:cubicBezTo>
                    <a:pt x="3297" y="389"/>
                    <a:pt x="3301" y="384"/>
                    <a:pt x="3299" y="379"/>
                  </a:cubicBezTo>
                  <a:cubicBezTo>
                    <a:pt x="3297" y="373"/>
                    <a:pt x="3291" y="369"/>
                    <a:pt x="3284" y="369"/>
                  </a:cubicBezTo>
                  <a:cubicBezTo>
                    <a:pt x="3284" y="369"/>
                    <a:pt x="3284" y="369"/>
                    <a:pt x="3284" y="369"/>
                  </a:cubicBezTo>
                  <a:moveTo>
                    <a:pt x="3319" y="368"/>
                  </a:moveTo>
                  <a:cubicBezTo>
                    <a:pt x="3313" y="368"/>
                    <a:pt x="3309" y="373"/>
                    <a:pt x="3311" y="379"/>
                  </a:cubicBezTo>
                  <a:cubicBezTo>
                    <a:pt x="3312" y="384"/>
                    <a:pt x="3319" y="389"/>
                    <a:pt x="3326" y="389"/>
                  </a:cubicBezTo>
                  <a:cubicBezTo>
                    <a:pt x="3332" y="389"/>
                    <a:pt x="3336" y="384"/>
                    <a:pt x="3334" y="379"/>
                  </a:cubicBezTo>
                  <a:cubicBezTo>
                    <a:pt x="3333" y="373"/>
                    <a:pt x="3326" y="368"/>
                    <a:pt x="3319" y="368"/>
                  </a:cubicBezTo>
                  <a:cubicBezTo>
                    <a:pt x="3319" y="368"/>
                    <a:pt x="3319" y="368"/>
                    <a:pt x="3319" y="368"/>
                  </a:cubicBezTo>
                  <a:moveTo>
                    <a:pt x="3353" y="368"/>
                  </a:moveTo>
                  <a:cubicBezTo>
                    <a:pt x="3346" y="368"/>
                    <a:pt x="3343" y="373"/>
                    <a:pt x="3344" y="378"/>
                  </a:cubicBezTo>
                  <a:cubicBezTo>
                    <a:pt x="3346" y="384"/>
                    <a:pt x="3353" y="389"/>
                    <a:pt x="3359" y="389"/>
                  </a:cubicBezTo>
                  <a:cubicBezTo>
                    <a:pt x="3366" y="389"/>
                    <a:pt x="3370" y="384"/>
                    <a:pt x="3368" y="378"/>
                  </a:cubicBezTo>
                  <a:cubicBezTo>
                    <a:pt x="3366" y="373"/>
                    <a:pt x="3360" y="368"/>
                    <a:pt x="3353" y="368"/>
                  </a:cubicBezTo>
                  <a:cubicBezTo>
                    <a:pt x="3353" y="368"/>
                    <a:pt x="3353" y="368"/>
                    <a:pt x="3353" y="368"/>
                  </a:cubicBezTo>
                  <a:moveTo>
                    <a:pt x="3386" y="368"/>
                  </a:moveTo>
                  <a:cubicBezTo>
                    <a:pt x="3380" y="368"/>
                    <a:pt x="3376" y="373"/>
                    <a:pt x="3378" y="378"/>
                  </a:cubicBezTo>
                  <a:cubicBezTo>
                    <a:pt x="3380" y="384"/>
                    <a:pt x="3387" y="388"/>
                    <a:pt x="3393" y="388"/>
                  </a:cubicBezTo>
                  <a:cubicBezTo>
                    <a:pt x="3400" y="388"/>
                    <a:pt x="3404" y="384"/>
                    <a:pt x="3402" y="378"/>
                  </a:cubicBezTo>
                  <a:cubicBezTo>
                    <a:pt x="3400" y="372"/>
                    <a:pt x="3393" y="368"/>
                    <a:pt x="3387" y="368"/>
                  </a:cubicBezTo>
                  <a:cubicBezTo>
                    <a:pt x="3386" y="368"/>
                    <a:pt x="3386" y="368"/>
                    <a:pt x="3386" y="368"/>
                  </a:cubicBezTo>
                  <a:moveTo>
                    <a:pt x="3420" y="368"/>
                  </a:moveTo>
                  <a:cubicBezTo>
                    <a:pt x="3414" y="368"/>
                    <a:pt x="3410" y="372"/>
                    <a:pt x="3412" y="378"/>
                  </a:cubicBezTo>
                  <a:cubicBezTo>
                    <a:pt x="3414" y="384"/>
                    <a:pt x="3420" y="388"/>
                    <a:pt x="3427" y="388"/>
                  </a:cubicBezTo>
                  <a:cubicBezTo>
                    <a:pt x="3434" y="388"/>
                    <a:pt x="3437" y="383"/>
                    <a:pt x="3435" y="378"/>
                  </a:cubicBezTo>
                  <a:cubicBezTo>
                    <a:pt x="3433" y="372"/>
                    <a:pt x="3427" y="368"/>
                    <a:pt x="3420" y="368"/>
                  </a:cubicBezTo>
                  <a:cubicBezTo>
                    <a:pt x="3420" y="368"/>
                    <a:pt x="3420" y="368"/>
                    <a:pt x="3420" y="368"/>
                  </a:cubicBezTo>
                  <a:moveTo>
                    <a:pt x="3454" y="367"/>
                  </a:moveTo>
                  <a:cubicBezTo>
                    <a:pt x="3447" y="367"/>
                    <a:pt x="3444" y="372"/>
                    <a:pt x="3446" y="378"/>
                  </a:cubicBezTo>
                  <a:cubicBezTo>
                    <a:pt x="3448" y="383"/>
                    <a:pt x="3455" y="388"/>
                    <a:pt x="3461" y="388"/>
                  </a:cubicBezTo>
                  <a:cubicBezTo>
                    <a:pt x="3468" y="388"/>
                    <a:pt x="3472" y="383"/>
                    <a:pt x="3470" y="378"/>
                  </a:cubicBezTo>
                  <a:cubicBezTo>
                    <a:pt x="3468" y="372"/>
                    <a:pt x="3461" y="367"/>
                    <a:pt x="3454" y="367"/>
                  </a:cubicBezTo>
                  <a:cubicBezTo>
                    <a:pt x="3454" y="367"/>
                    <a:pt x="3454" y="367"/>
                    <a:pt x="3454" y="367"/>
                  </a:cubicBezTo>
                  <a:moveTo>
                    <a:pt x="3488" y="367"/>
                  </a:moveTo>
                  <a:cubicBezTo>
                    <a:pt x="3482" y="367"/>
                    <a:pt x="3478" y="372"/>
                    <a:pt x="3480" y="377"/>
                  </a:cubicBezTo>
                  <a:cubicBezTo>
                    <a:pt x="3482" y="383"/>
                    <a:pt x="3489" y="388"/>
                    <a:pt x="3496" y="388"/>
                  </a:cubicBezTo>
                  <a:cubicBezTo>
                    <a:pt x="3502" y="388"/>
                    <a:pt x="3506" y="383"/>
                    <a:pt x="3504" y="377"/>
                  </a:cubicBezTo>
                  <a:cubicBezTo>
                    <a:pt x="3502" y="372"/>
                    <a:pt x="3495" y="367"/>
                    <a:pt x="3488" y="367"/>
                  </a:cubicBezTo>
                  <a:cubicBezTo>
                    <a:pt x="3488" y="367"/>
                    <a:pt x="3488" y="367"/>
                    <a:pt x="3488" y="367"/>
                  </a:cubicBezTo>
                  <a:moveTo>
                    <a:pt x="3522" y="367"/>
                  </a:moveTo>
                  <a:cubicBezTo>
                    <a:pt x="3515" y="367"/>
                    <a:pt x="3512" y="372"/>
                    <a:pt x="3514" y="377"/>
                  </a:cubicBezTo>
                  <a:cubicBezTo>
                    <a:pt x="3516" y="383"/>
                    <a:pt x="3523" y="387"/>
                    <a:pt x="3530" y="387"/>
                  </a:cubicBezTo>
                  <a:cubicBezTo>
                    <a:pt x="3536" y="387"/>
                    <a:pt x="3540" y="383"/>
                    <a:pt x="3538" y="377"/>
                  </a:cubicBezTo>
                  <a:cubicBezTo>
                    <a:pt x="3535" y="371"/>
                    <a:pt x="3528" y="367"/>
                    <a:pt x="3522" y="367"/>
                  </a:cubicBezTo>
                  <a:cubicBezTo>
                    <a:pt x="3522" y="367"/>
                    <a:pt x="3522" y="367"/>
                    <a:pt x="3522" y="367"/>
                  </a:cubicBezTo>
                  <a:moveTo>
                    <a:pt x="3556" y="367"/>
                  </a:moveTo>
                  <a:cubicBezTo>
                    <a:pt x="3549" y="367"/>
                    <a:pt x="3546" y="371"/>
                    <a:pt x="3548" y="377"/>
                  </a:cubicBezTo>
                  <a:cubicBezTo>
                    <a:pt x="3550" y="383"/>
                    <a:pt x="3557" y="387"/>
                    <a:pt x="3564" y="387"/>
                  </a:cubicBezTo>
                  <a:cubicBezTo>
                    <a:pt x="3570" y="387"/>
                    <a:pt x="3574" y="382"/>
                    <a:pt x="3572" y="377"/>
                  </a:cubicBezTo>
                  <a:cubicBezTo>
                    <a:pt x="3569" y="371"/>
                    <a:pt x="3562" y="367"/>
                    <a:pt x="3556" y="367"/>
                  </a:cubicBezTo>
                  <a:cubicBezTo>
                    <a:pt x="3556" y="367"/>
                    <a:pt x="3556" y="367"/>
                    <a:pt x="3556" y="367"/>
                  </a:cubicBezTo>
                  <a:moveTo>
                    <a:pt x="3589" y="366"/>
                  </a:moveTo>
                  <a:cubicBezTo>
                    <a:pt x="3583" y="366"/>
                    <a:pt x="3579" y="371"/>
                    <a:pt x="3582" y="377"/>
                  </a:cubicBezTo>
                  <a:cubicBezTo>
                    <a:pt x="3584" y="382"/>
                    <a:pt x="3591" y="387"/>
                    <a:pt x="3598" y="387"/>
                  </a:cubicBezTo>
                  <a:cubicBezTo>
                    <a:pt x="3604" y="387"/>
                    <a:pt x="3608" y="382"/>
                    <a:pt x="3605" y="377"/>
                  </a:cubicBezTo>
                  <a:cubicBezTo>
                    <a:pt x="3603" y="371"/>
                    <a:pt x="3596" y="366"/>
                    <a:pt x="3589" y="366"/>
                  </a:cubicBezTo>
                  <a:cubicBezTo>
                    <a:pt x="3589" y="366"/>
                    <a:pt x="3589" y="366"/>
                    <a:pt x="3589" y="366"/>
                  </a:cubicBezTo>
                  <a:moveTo>
                    <a:pt x="3623" y="366"/>
                  </a:moveTo>
                  <a:cubicBezTo>
                    <a:pt x="3617" y="366"/>
                    <a:pt x="3613" y="371"/>
                    <a:pt x="3616" y="376"/>
                  </a:cubicBezTo>
                  <a:cubicBezTo>
                    <a:pt x="3618" y="382"/>
                    <a:pt x="3625" y="387"/>
                    <a:pt x="3632" y="387"/>
                  </a:cubicBezTo>
                  <a:cubicBezTo>
                    <a:pt x="3638" y="387"/>
                    <a:pt x="3642" y="382"/>
                    <a:pt x="3639" y="376"/>
                  </a:cubicBezTo>
                  <a:cubicBezTo>
                    <a:pt x="3637" y="371"/>
                    <a:pt x="3630" y="366"/>
                    <a:pt x="3623" y="366"/>
                  </a:cubicBezTo>
                  <a:cubicBezTo>
                    <a:pt x="3623" y="366"/>
                    <a:pt x="3623" y="366"/>
                    <a:pt x="3623" y="366"/>
                  </a:cubicBezTo>
                  <a:moveTo>
                    <a:pt x="3659" y="366"/>
                  </a:moveTo>
                  <a:cubicBezTo>
                    <a:pt x="3653" y="366"/>
                    <a:pt x="3649" y="371"/>
                    <a:pt x="3652" y="376"/>
                  </a:cubicBezTo>
                  <a:cubicBezTo>
                    <a:pt x="3654" y="382"/>
                    <a:pt x="3661" y="386"/>
                    <a:pt x="3668" y="386"/>
                  </a:cubicBezTo>
                  <a:cubicBezTo>
                    <a:pt x="3675" y="386"/>
                    <a:pt x="3678" y="382"/>
                    <a:pt x="3675" y="376"/>
                  </a:cubicBezTo>
                  <a:cubicBezTo>
                    <a:pt x="3673" y="370"/>
                    <a:pt x="3666" y="366"/>
                    <a:pt x="3659" y="366"/>
                  </a:cubicBezTo>
                  <a:cubicBezTo>
                    <a:pt x="3659" y="366"/>
                    <a:pt x="3659" y="366"/>
                    <a:pt x="3659" y="366"/>
                  </a:cubicBezTo>
                  <a:moveTo>
                    <a:pt x="3693" y="366"/>
                  </a:moveTo>
                  <a:cubicBezTo>
                    <a:pt x="3686" y="366"/>
                    <a:pt x="3683" y="370"/>
                    <a:pt x="3685" y="376"/>
                  </a:cubicBezTo>
                  <a:cubicBezTo>
                    <a:pt x="3688" y="382"/>
                    <a:pt x="3695" y="386"/>
                    <a:pt x="3702" y="386"/>
                  </a:cubicBezTo>
                  <a:cubicBezTo>
                    <a:pt x="3708" y="386"/>
                    <a:pt x="3711" y="381"/>
                    <a:pt x="3709" y="376"/>
                  </a:cubicBezTo>
                  <a:cubicBezTo>
                    <a:pt x="3706" y="370"/>
                    <a:pt x="3699" y="366"/>
                    <a:pt x="3693" y="366"/>
                  </a:cubicBezTo>
                  <a:cubicBezTo>
                    <a:pt x="3693" y="366"/>
                    <a:pt x="3693" y="366"/>
                    <a:pt x="3693" y="366"/>
                  </a:cubicBezTo>
                  <a:moveTo>
                    <a:pt x="3726" y="365"/>
                  </a:moveTo>
                  <a:cubicBezTo>
                    <a:pt x="3720" y="365"/>
                    <a:pt x="3716" y="370"/>
                    <a:pt x="3719" y="376"/>
                  </a:cubicBezTo>
                  <a:cubicBezTo>
                    <a:pt x="3721" y="381"/>
                    <a:pt x="3729" y="386"/>
                    <a:pt x="3735" y="386"/>
                  </a:cubicBezTo>
                  <a:cubicBezTo>
                    <a:pt x="3742" y="386"/>
                    <a:pt x="3745" y="381"/>
                    <a:pt x="3743" y="376"/>
                  </a:cubicBezTo>
                  <a:cubicBezTo>
                    <a:pt x="3740" y="370"/>
                    <a:pt x="3733" y="365"/>
                    <a:pt x="3726" y="365"/>
                  </a:cubicBezTo>
                  <a:cubicBezTo>
                    <a:pt x="3726" y="365"/>
                    <a:pt x="3726" y="365"/>
                    <a:pt x="3726" y="365"/>
                  </a:cubicBezTo>
                  <a:moveTo>
                    <a:pt x="3760" y="365"/>
                  </a:moveTo>
                  <a:cubicBezTo>
                    <a:pt x="3754" y="365"/>
                    <a:pt x="3750" y="370"/>
                    <a:pt x="3753" y="375"/>
                  </a:cubicBezTo>
                  <a:cubicBezTo>
                    <a:pt x="3756" y="381"/>
                    <a:pt x="3763" y="386"/>
                    <a:pt x="3770" y="386"/>
                  </a:cubicBezTo>
                  <a:cubicBezTo>
                    <a:pt x="3776" y="386"/>
                    <a:pt x="3779" y="381"/>
                    <a:pt x="3777" y="375"/>
                  </a:cubicBezTo>
                  <a:cubicBezTo>
                    <a:pt x="3774" y="370"/>
                    <a:pt x="3767" y="365"/>
                    <a:pt x="3760" y="365"/>
                  </a:cubicBezTo>
                  <a:cubicBezTo>
                    <a:pt x="3760" y="365"/>
                    <a:pt x="3760" y="365"/>
                    <a:pt x="3760" y="365"/>
                  </a:cubicBezTo>
                  <a:moveTo>
                    <a:pt x="3794" y="365"/>
                  </a:moveTo>
                  <a:cubicBezTo>
                    <a:pt x="3788" y="365"/>
                    <a:pt x="3785" y="370"/>
                    <a:pt x="3787" y="375"/>
                  </a:cubicBezTo>
                  <a:cubicBezTo>
                    <a:pt x="3790" y="381"/>
                    <a:pt x="3798" y="385"/>
                    <a:pt x="3804" y="385"/>
                  </a:cubicBezTo>
                  <a:cubicBezTo>
                    <a:pt x="3811" y="385"/>
                    <a:pt x="3814" y="381"/>
                    <a:pt x="3811" y="375"/>
                  </a:cubicBezTo>
                  <a:cubicBezTo>
                    <a:pt x="3808" y="369"/>
                    <a:pt x="3801" y="365"/>
                    <a:pt x="3794" y="365"/>
                  </a:cubicBezTo>
                  <a:cubicBezTo>
                    <a:pt x="3794" y="365"/>
                    <a:pt x="3794" y="365"/>
                    <a:pt x="3794" y="365"/>
                  </a:cubicBezTo>
                  <a:moveTo>
                    <a:pt x="3828" y="365"/>
                  </a:moveTo>
                  <a:cubicBezTo>
                    <a:pt x="3821" y="365"/>
                    <a:pt x="3818" y="369"/>
                    <a:pt x="3821" y="375"/>
                  </a:cubicBezTo>
                  <a:cubicBezTo>
                    <a:pt x="3824" y="381"/>
                    <a:pt x="3831" y="385"/>
                    <a:pt x="3838" y="385"/>
                  </a:cubicBezTo>
                  <a:cubicBezTo>
                    <a:pt x="3845" y="385"/>
                    <a:pt x="3848" y="380"/>
                    <a:pt x="3845" y="375"/>
                  </a:cubicBezTo>
                  <a:cubicBezTo>
                    <a:pt x="3842" y="369"/>
                    <a:pt x="3834" y="365"/>
                    <a:pt x="3828" y="365"/>
                  </a:cubicBezTo>
                  <a:cubicBezTo>
                    <a:pt x="3828" y="365"/>
                    <a:pt x="3828" y="365"/>
                    <a:pt x="3828" y="365"/>
                  </a:cubicBezTo>
                  <a:moveTo>
                    <a:pt x="3862" y="364"/>
                  </a:moveTo>
                  <a:cubicBezTo>
                    <a:pt x="3855" y="364"/>
                    <a:pt x="3852" y="369"/>
                    <a:pt x="3855" y="375"/>
                  </a:cubicBezTo>
                  <a:cubicBezTo>
                    <a:pt x="3858" y="380"/>
                    <a:pt x="3865" y="385"/>
                    <a:pt x="3872" y="385"/>
                  </a:cubicBezTo>
                  <a:cubicBezTo>
                    <a:pt x="3879" y="385"/>
                    <a:pt x="3882" y="380"/>
                    <a:pt x="3879" y="375"/>
                  </a:cubicBezTo>
                  <a:cubicBezTo>
                    <a:pt x="3876" y="369"/>
                    <a:pt x="3868" y="364"/>
                    <a:pt x="3862" y="364"/>
                  </a:cubicBezTo>
                  <a:cubicBezTo>
                    <a:pt x="3862" y="364"/>
                    <a:pt x="3862" y="364"/>
                    <a:pt x="3862" y="364"/>
                  </a:cubicBezTo>
                  <a:moveTo>
                    <a:pt x="3895" y="364"/>
                  </a:moveTo>
                  <a:cubicBezTo>
                    <a:pt x="3889" y="364"/>
                    <a:pt x="3886" y="369"/>
                    <a:pt x="3889" y="374"/>
                  </a:cubicBezTo>
                  <a:cubicBezTo>
                    <a:pt x="3892" y="380"/>
                    <a:pt x="3899" y="385"/>
                    <a:pt x="3906" y="385"/>
                  </a:cubicBezTo>
                  <a:cubicBezTo>
                    <a:pt x="3912" y="385"/>
                    <a:pt x="3915" y="380"/>
                    <a:pt x="3912" y="374"/>
                  </a:cubicBezTo>
                  <a:cubicBezTo>
                    <a:pt x="3910" y="369"/>
                    <a:pt x="3902" y="364"/>
                    <a:pt x="3895" y="364"/>
                  </a:cubicBezTo>
                  <a:cubicBezTo>
                    <a:pt x="3895" y="364"/>
                    <a:pt x="3895" y="364"/>
                    <a:pt x="3895" y="364"/>
                  </a:cubicBezTo>
                  <a:moveTo>
                    <a:pt x="3995" y="364"/>
                  </a:moveTo>
                  <a:cubicBezTo>
                    <a:pt x="3988" y="364"/>
                    <a:pt x="3986" y="369"/>
                    <a:pt x="3989" y="374"/>
                  </a:cubicBezTo>
                  <a:cubicBezTo>
                    <a:pt x="3992" y="380"/>
                    <a:pt x="4000" y="385"/>
                    <a:pt x="4006" y="385"/>
                  </a:cubicBezTo>
                  <a:cubicBezTo>
                    <a:pt x="4013" y="385"/>
                    <a:pt x="4016" y="380"/>
                    <a:pt x="4013" y="374"/>
                  </a:cubicBezTo>
                  <a:cubicBezTo>
                    <a:pt x="4009" y="369"/>
                    <a:pt x="4002" y="364"/>
                    <a:pt x="3995" y="364"/>
                  </a:cubicBezTo>
                  <a:cubicBezTo>
                    <a:pt x="3995" y="364"/>
                    <a:pt x="3995" y="364"/>
                    <a:pt x="3995" y="364"/>
                  </a:cubicBezTo>
                  <a:moveTo>
                    <a:pt x="3929" y="364"/>
                  </a:moveTo>
                  <a:cubicBezTo>
                    <a:pt x="3923" y="364"/>
                    <a:pt x="3920" y="369"/>
                    <a:pt x="3923" y="374"/>
                  </a:cubicBezTo>
                  <a:cubicBezTo>
                    <a:pt x="3926" y="380"/>
                    <a:pt x="3933" y="384"/>
                    <a:pt x="3940" y="384"/>
                  </a:cubicBezTo>
                  <a:cubicBezTo>
                    <a:pt x="3947" y="384"/>
                    <a:pt x="3949" y="380"/>
                    <a:pt x="3946" y="374"/>
                  </a:cubicBezTo>
                  <a:cubicBezTo>
                    <a:pt x="3943" y="368"/>
                    <a:pt x="3936" y="364"/>
                    <a:pt x="3929" y="364"/>
                  </a:cubicBezTo>
                  <a:cubicBezTo>
                    <a:pt x="3929" y="364"/>
                    <a:pt x="3929" y="364"/>
                    <a:pt x="3929" y="364"/>
                  </a:cubicBezTo>
                  <a:moveTo>
                    <a:pt x="3962" y="364"/>
                  </a:moveTo>
                  <a:cubicBezTo>
                    <a:pt x="3956" y="364"/>
                    <a:pt x="3953" y="368"/>
                    <a:pt x="3956" y="374"/>
                  </a:cubicBezTo>
                  <a:cubicBezTo>
                    <a:pt x="3959" y="380"/>
                    <a:pt x="3967" y="384"/>
                    <a:pt x="3973" y="384"/>
                  </a:cubicBezTo>
                  <a:cubicBezTo>
                    <a:pt x="3980" y="384"/>
                    <a:pt x="3983" y="379"/>
                    <a:pt x="3979" y="374"/>
                  </a:cubicBezTo>
                  <a:cubicBezTo>
                    <a:pt x="3976" y="368"/>
                    <a:pt x="3969" y="364"/>
                    <a:pt x="3962" y="364"/>
                  </a:cubicBezTo>
                  <a:cubicBezTo>
                    <a:pt x="3962" y="364"/>
                    <a:pt x="3962" y="364"/>
                    <a:pt x="3962" y="364"/>
                  </a:cubicBezTo>
                  <a:moveTo>
                    <a:pt x="386" y="360"/>
                  </a:moveTo>
                  <a:cubicBezTo>
                    <a:pt x="380" y="360"/>
                    <a:pt x="371" y="364"/>
                    <a:pt x="366" y="370"/>
                  </a:cubicBezTo>
                  <a:cubicBezTo>
                    <a:pt x="362" y="376"/>
                    <a:pt x="364" y="380"/>
                    <a:pt x="370" y="380"/>
                  </a:cubicBezTo>
                  <a:cubicBezTo>
                    <a:pt x="377" y="380"/>
                    <a:pt x="386" y="375"/>
                    <a:pt x="390" y="370"/>
                  </a:cubicBezTo>
                  <a:cubicBezTo>
                    <a:pt x="394" y="364"/>
                    <a:pt x="393" y="360"/>
                    <a:pt x="386" y="360"/>
                  </a:cubicBezTo>
                  <a:cubicBezTo>
                    <a:pt x="386" y="360"/>
                    <a:pt x="386" y="360"/>
                    <a:pt x="386" y="360"/>
                  </a:cubicBezTo>
                  <a:moveTo>
                    <a:pt x="420" y="360"/>
                  </a:moveTo>
                  <a:cubicBezTo>
                    <a:pt x="413" y="360"/>
                    <a:pt x="404" y="364"/>
                    <a:pt x="400" y="370"/>
                  </a:cubicBezTo>
                  <a:cubicBezTo>
                    <a:pt x="396" y="375"/>
                    <a:pt x="397" y="380"/>
                    <a:pt x="404" y="380"/>
                  </a:cubicBezTo>
                  <a:cubicBezTo>
                    <a:pt x="411" y="380"/>
                    <a:pt x="419" y="375"/>
                    <a:pt x="424" y="370"/>
                  </a:cubicBezTo>
                  <a:cubicBezTo>
                    <a:pt x="428" y="364"/>
                    <a:pt x="426" y="360"/>
                    <a:pt x="420" y="360"/>
                  </a:cubicBezTo>
                  <a:cubicBezTo>
                    <a:pt x="420" y="360"/>
                    <a:pt x="420" y="360"/>
                    <a:pt x="420" y="360"/>
                  </a:cubicBezTo>
                  <a:moveTo>
                    <a:pt x="453" y="359"/>
                  </a:moveTo>
                  <a:cubicBezTo>
                    <a:pt x="447" y="359"/>
                    <a:pt x="438" y="364"/>
                    <a:pt x="434" y="369"/>
                  </a:cubicBezTo>
                  <a:cubicBezTo>
                    <a:pt x="430" y="375"/>
                    <a:pt x="431" y="380"/>
                    <a:pt x="438" y="380"/>
                  </a:cubicBezTo>
                  <a:cubicBezTo>
                    <a:pt x="445" y="379"/>
                    <a:pt x="453" y="375"/>
                    <a:pt x="458" y="369"/>
                  </a:cubicBezTo>
                  <a:cubicBezTo>
                    <a:pt x="462" y="364"/>
                    <a:pt x="460" y="359"/>
                    <a:pt x="454" y="359"/>
                  </a:cubicBezTo>
                  <a:cubicBezTo>
                    <a:pt x="454" y="359"/>
                    <a:pt x="453" y="359"/>
                    <a:pt x="453" y="359"/>
                  </a:cubicBezTo>
                  <a:moveTo>
                    <a:pt x="487" y="359"/>
                  </a:moveTo>
                  <a:cubicBezTo>
                    <a:pt x="480" y="359"/>
                    <a:pt x="472" y="364"/>
                    <a:pt x="468" y="369"/>
                  </a:cubicBezTo>
                  <a:cubicBezTo>
                    <a:pt x="463" y="375"/>
                    <a:pt x="465" y="379"/>
                    <a:pt x="472" y="379"/>
                  </a:cubicBezTo>
                  <a:cubicBezTo>
                    <a:pt x="478" y="379"/>
                    <a:pt x="487" y="375"/>
                    <a:pt x="491" y="369"/>
                  </a:cubicBezTo>
                  <a:cubicBezTo>
                    <a:pt x="495" y="363"/>
                    <a:pt x="494" y="359"/>
                    <a:pt x="487" y="359"/>
                  </a:cubicBezTo>
                  <a:cubicBezTo>
                    <a:pt x="487" y="359"/>
                    <a:pt x="487" y="359"/>
                    <a:pt x="487" y="359"/>
                  </a:cubicBezTo>
                  <a:moveTo>
                    <a:pt x="521" y="359"/>
                  </a:moveTo>
                  <a:cubicBezTo>
                    <a:pt x="514" y="359"/>
                    <a:pt x="506" y="363"/>
                    <a:pt x="501" y="369"/>
                  </a:cubicBezTo>
                  <a:cubicBezTo>
                    <a:pt x="497" y="375"/>
                    <a:pt x="499" y="379"/>
                    <a:pt x="506" y="379"/>
                  </a:cubicBezTo>
                  <a:cubicBezTo>
                    <a:pt x="512" y="379"/>
                    <a:pt x="521" y="374"/>
                    <a:pt x="525" y="369"/>
                  </a:cubicBezTo>
                  <a:cubicBezTo>
                    <a:pt x="529" y="363"/>
                    <a:pt x="527" y="359"/>
                    <a:pt x="521" y="359"/>
                  </a:cubicBezTo>
                  <a:cubicBezTo>
                    <a:pt x="521" y="359"/>
                    <a:pt x="521" y="359"/>
                    <a:pt x="521" y="359"/>
                  </a:cubicBezTo>
                  <a:moveTo>
                    <a:pt x="556" y="358"/>
                  </a:moveTo>
                  <a:cubicBezTo>
                    <a:pt x="549" y="359"/>
                    <a:pt x="541" y="363"/>
                    <a:pt x="536" y="369"/>
                  </a:cubicBezTo>
                  <a:cubicBezTo>
                    <a:pt x="532" y="374"/>
                    <a:pt x="534" y="379"/>
                    <a:pt x="541" y="379"/>
                  </a:cubicBezTo>
                  <a:cubicBezTo>
                    <a:pt x="548" y="379"/>
                    <a:pt x="556" y="374"/>
                    <a:pt x="560" y="369"/>
                  </a:cubicBezTo>
                  <a:cubicBezTo>
                    <a:pt x="564" y="363"/>
                    <a:pt x="562" y="358"/>
                    <a:pt x="556" y="358"/>
                  </a:cubicBezTo>
                  <a:cubicBezTo>
                    <a:pt x="556" y="358"/>
                    <a:pt x="556" y="358"/>
                    <a:pt x="556" y="358"/>
                  </a:cubicBezTo>
                  <a:moveTo>
                    <a:pt x="589" y="358"/>
                  </a:moveTo>
                  <a:cubicBezTo>
                    <a:pt x="583" y="358"/>
                    <a:pt x="574" y="363"/>
                    <a:pt x="570" y="368"/>
                  </a:cubicBezTo>
                  <a:cubicBezTo>
                    <a:pt x="566" y="374"/>
                    <a:pt x="568" y="379"/>
                    <a:pt x="575" y="378"/>
                  </a:cubicBezTo>
                  <a:cubicBezTo>
                    <a:pt x="581" y="378"/>
                    <a:pt x="590" y="374"/>
                    <a:pt x="594" y="368"/>
                  </a:cubicBezTo>
                  <a:cubicBezTo>
                    <a:pt x="598" y="363"/>
                    <a:pt x="596" y="358"/>
                    <a:pt x="589" y="358"/>
                  </a:cubicBezTo>
                  <a:cubicBezTo>
                    <a:pt x="589" y="358"/>
                    <a:pt x="589" y="358"/>
                    <a:pt x="589" y="358"/>
                  </a:cubicBezTo>
                  <a:moveTo>
                    <a:pt x="623" y="358"/>
                  </a:moveTo>
                  <a:cubicBezTo>
                    <a:pt x="616" y="358"/>
                    <a:pt x="608" y="363"/>
                    <a:pt x="604" y="368"/>
                  </a:cubicBezTo>
                  <a:cubicBezTo>
                    <a:pt x="600" y="374"/>
                    <a:pt x="602" y="378"/>
                    <a:pt x="609" y="378"/>
                  </a:cubicBezTo>
                  <a:cubicBezTo>
                    <a:pt x="615" y="378"/>
                    <a:pt x="624" y="374"/>
                    <a:pt x="628" y="368"/>
                  </a:cubicBezTo>
                  <a:cubicBezTo>
                    <a:pt x="632" y="362"/>
                    <a:pt x="629" y="358"/>
                    <a:pt x="623" y="358"/>
                  </a:cubicBezTo>
                  <a:cubicBezTo>
                    <a:pt x="623" y="358"/>
                    <a:pt x="623" y="358"/>
                    <a:pt x="623" y="358"/>
                  </a:cubicBezTo>
                  <a:moveTo>
                    <a:pt x="657" y="358"/>
                  </a:moveTo>
                  <a:cubicBezTo>
                    <a:pt x="651" y="358"/>
                    <a:pt x="642" y="362"/>
                    <a:pt x="638" y="368"/>
                  </a:cubicBezTo>
                  <a:cubicBezTo>
                    <a:pt x="634" y="374"/>
                    <a:pt x="637" y="378"/>
                    <a:pt x="643" y="378"/>
                  </a:cubicBezTo>
                  <a:cubicBezTo>
                    <a:pt x="650" y="378"/>
                    <a:pt x="658" y="373"/>
                    <a:pt x="662" y="368"/>
                  </a:cubicBezTo>
                  <a:cubicBezTo>
                    <a:pt x="666" y="362"/>
                    <a:pt x="664" y="358"/>
                    <a:pt x="657" y="358"/>
                  </a:cubicBezTo>
                  <a:cubicBezTo>
                    <a:pt x="657" y="358"/>
                    <a:pt x="657" y="358"/>
                    <a:pt x="657" y="358"/>
                  </a:cubicBezTo>
                  <a:moveTo>
                    <a:pt x="691" y="357"/>
                  </a:moveTo>
                  <a:cubicBezTo>
                    <a:pt x="684" y="357"/>
                    <a:pt x="676" y="362"/>
                    <a:pt x="672" y="368"/>
                  </a:cubicBezTo>
                  <a:cubicBezTo>
                    <a:pt x="668" y="373"/>
                    <a:pt x="670" y="378"/>
                    <a:pt x="677" y="378"/>
                  </a:cubicBezTo>
                  <a:cubicBezTo>
                    <a:pt x="683" y="378"/>
                    <a:pt x="692" y="373"/>
                    <a:pt x="696" y="367"/>
                  </a:cubicBezTo>
                  <a:cubicBezTo>
                    <a:pt x="699" y="362"/>
                    <a:pt x="697" y="357"/>
                    <a:pt x="691" y="357"/>
                  </a:cubicBezTo>
                  <a:cubicBezTo>
                    <a:pt x="691" y="357"/>
                    <a:pt x="691" y="357"/>
                    <a:pt x="691" y="357"/>
                  </a:cubicBezTo>
                  <a:moveTo>
                    <a:pt x="724" y="357"/>
                  </a:moveTo>
                  <a:cubicBezTo>
                    <a:pt x="718" y="357"/>
                    <a:pt x="709" y="362"/>
                    <a:pt x="706" y="367"/>
                  </a:cubicBezTo>
                  <a:cubicBezTo>
                    <a:pt x="702" y="373"/>
                    <a:pt x="704" y="378"/>
                    <a:pt x="711" y="377"/>
                  </a:cubicBezTo>
                  <a:cubicBezTo>
                    <a:pt x="717" y="377"/>
                    <a:pt x="726" y="373"/>
                    <a:pt x="729" y="367"/>
                  </a:cubicBezTo>
                  <a:cubicBezTo>
                    <a:pt x="733" y="362"/>
                    <a:pt x="731" y="357"/>
                    <a:pt x="724" y="357"/>
                  </a:cubicBezTo>
                  <a:cubicBezTo>
                    <a:pt x="724" y="357"/>
                    <a:pt x="724" y="357"/>
                    <a:pt x="724" y="357"/>
                  </a:cubicBezTo>
                  <a:moveTo>
                    <a:pt x="758" y="357"/>
                  </a:moveTo>
                  <a:cubicBezTo>
                    <a:pt x="751" y="357"/>
                    <a:pt x="743" y="362"/>
                    <a:pt x="739" y="367"/>
                  </a:cubicBezTo>
                  <a:cubicBezTo>
                    <a:pt x="736" y="373"/>
                    <a:pt x="738" y="377"/>
                    <a:pt x="745" y="377"/>
                  </a:cubicBezTo>
                  <a:cubicBezTo>
                    <a:pt x="751" y="377"/>
                    <a:pt x="759" y="373"/>
                    <a:pt x="763" y="367"/>
                  </a:cubicBezTo>
                  <a:cubicBezTo>
                    <a:pt x="767" y="361"/>
                    <a:pt x="764" y="357"/>
                    <a:pt x="758" y="357"/>
                  </a:cubicBezTo>
                  <a:cubicBezTo>
                    <a:pt x="758" y="357"/>
                    <a:pt x="758" y="357"/>
                    <a:pt x="758" y="357"/>
                  </a:cubicBezTo>
                  <a:moveTo>
                    <a:pt x="792" y="357"/>
                  </a:moveTo>
                  <a:cubicBezTo>
                    <a:pt x="785" y="357"/>
                    <a:pt x="777" y="361"/>
                    <a:pt x="773" y="367"/>
                  </a:cubicBezTo>
                  <a:cubicBezTo>
                    <a:pt x="770" y="372"/>
                    <a:pt x="772" y="377"/>
                    <a:pt x="779" y="377"/>
                  </a:cubicBezTo>
                  <a:cubicBezTo>
                    <a:pt x="785" y="377"/>
                    <a:pt x="793" y="372"/>
                    <a:pt x="797" y="367"/>
                  </a:cubicBezTo>
                  <a:cubicBezTo>
                    <a:pt x="800" y="361"/>
                    <a:pt x="798" y="357"/>
                    <a:pt x="792" y="357"/>
                  </a:cubicBezTo>
                  <a:cubicBezTo>
                    <a:pt x="792" y="357"/>
                    <a:pt x="792" y="357"/>
                    <a:pt x="792" y="357"/>
                  </a:cubicBezTo>
                  <a:moveTo>
                    <a:pt x="826" y="356"/>
                  </a:moveTo>
                  <a:cubicBezTo>
                    <a:pt x="819" y="356"/>
                    <a:pt x="811" y="361"/>
                    <a:pt x="807" y="367"/>
                  </a:cubicBezTo>
                  <a:cubicBezTo>
                    <a:pt x="804" y="372"/>
                    <a:pt x="806" y="377"/>
                    <a:pt x="813" y="377"/>
                  </a:cubicBezTo>
                  <a:cubicBezTo>
                    <a:pt x="820" y="377"/>
                    <a:pt x="828" y="372"/>
                    <a:pt x="831" y="366"/>
                  </a:cubicBezTo>
                  <a:cubicBezTo>
                    <a:pt x="835" y="361"/>
                    <a:pt x="832" y="356"/>
                    <a:pt x="826" y="356"/>
                  </a:cubicBezTo>
                  <a:cubicBezTo>
                    <a:pt x="826" y="356"/>
                    <a:pt x="826" y="356"/>
                    <a:pt x="826" y="356"/>
                  </a:cubicBezTo>
                  <a:moveTo>
                    <a:pt x="859" y="356"/>
                  </a:moveTo>
                  <a:cubicBezTo>
                    <a:pt x="853" y="356"/>
                    <a:pt x="845" y="361"/>
                    <a:pt x="841" y="366"/>
                  </a:cubicBezTo>
                  <a:cubicBezTo>
                    <a:pt x="838" y="372"/>
                    <a:pt x="840" y="376"/>
                    <a:pt x="847" y="376"/>
                  </a:cubicBezTo>
                  <a:cubicBezTo>
                    <a:pt x="853" y="376"/>
                    <a:pt x="861" y="372"/>
                    <a:pt x="865" y="366"/>
                  </a:cubicBezTo>
                  <a:cubicBezTo>
                    <a:pt x="868" y="361"/>
                    <a:pt x="866" y="356"/>
                    <a:pt x="859" y="356"/>
                  </a:cubicBezTo>
                  <a:cubicBezTo>
                    <a:pt x="859" y="356"/>
                    <a:pt x="859" y="356"/>
                    <a:pt x="859" y="356"/>
                  </a:cubicBezTo>
                  <a:moveTo>
                    <a:pt x="891" y="356"/>
                  </a:moveTo>
                  <a:cubicBezTo>
                    <a:pt x="885" y="356"/>
                    <a:pt x="877" y="361"/>
                    <a:pt x="873" y="366"/>
                  </a:cubicBezTo>
                  <a:cubicBezTo>
                    <a:pt x="870" y="372"/>
                    <a:pt x="872" y="376"/>
                    <a:pt x="879" y="376"/>
                  </a:cubicBezTo>
                  <a:cubicBezTo>
                    <a:pt x="885" y="376"/>
                    <a:pt x="893" y="372"/>
                    <a:pt x="897" y="366"/>
                  </a:cubicBezTo>
                  <a:cubicBezTo>
                    <a:pt x="900" y="360"/>
                    <a:pt x="898" y="356"/>
                    <a:pt x="891" y="356"/>
                  </a:cubicBezTo>
                  <a:cubicBezTo>
                    <a:pt x="891" y="356"/>
                    <a:pt x="891" y="356"/>
                    <a:pt x="891" y="356"/>
                  </a:cubicBezTo>
                  <a:moveTo>
                    <a:pt x="925" y="356"/>
                  </a:moveTo>
                  <a:cubicBezTo>
                    <a:pt x="919" y="356"/>
                    <a:pt x="911" y="360"/>
                    <a:pt x="907" y="366"/>
                  </a:cubicBezTo>
                  <a:cubicBezTo>
                    <a:pt x="904" y="371"/>
                    <a:pt x="907" y="376"/>
                    <a:pt x="913" y="376"/>
                  </a:cubicBezTo>
                  <a:cubicBezTo>
                    <a:pt x="920" y="376"/>
                    <a:pt x="928" y="371"/>
                    <a:pt x="931" y="366"/>
                  </a:cubicBezTo>
                  <a:cubicBezTo>
                    <a:pt x="934" y="360"/>
                    <a:pt x="932" y="356"/>
                    <a:pt x="925" y="356"/>
                  </a:cubicBezTo>
                  <a:cubicBezTo>
                    <a:pt x="925" y="356"/>
                    <a:pt x="925" y="356"/>
                    <a:pt x="925" y="356"/>
                  </a:cubicBezTo>
                  <a:moveTo>
                    <a:pt x="959" y="355"/>
                  </a:moveTo>
                  <a:cubicBezTo>
                    <a:pt x="952" y="355"/>
                    <a:pt x="944" y="360"/>
                    <a:pt x="941" y="366"/>
                  </a:cubicBezTo>
                  <a:cubicBezTo>
                    <a:pt x="938" y="371"/>
                    <a:pt x="940" y="376"/>
                    <a:pt x="947" y="376"/>
                  </a:cubicBezTo>
                  <a:cubicBezTo>
                    <a:pt x="954" y="376"/>
                    <a:pt x="961" y="371"/>
                    <a:pt x="965" y="365"/>
                  </a:cubicBezTo>
                  <a:cubicBezTo>
                    <a:pt x="968" y="360"/>
                    <a:pt x="965" y="355"/>
                    <a:pt x="959" y="355"/>
                  </a:cubicBezTo>
                  <a:cubicBezTo>
                    <a:pt x="959" y="355"/>
                    <a:pt x="959" y="355"/>
                    <a:pt x="959" y="355"/>
                  </a:cubicBezTo>
                  <a:moveTo>
                    <a:pt x="1060" y="355"/>
                  </a:moveTo>
                  <a:cubicBezTo>
                    <a:pt x="1053" y="355"/>
                    <a:pt x="1045" y="359"/>
                    <a:pt x="1042" y="365"/>
                  </a:cubicBezTo>
                  <a:cubicBezTo>
                    <a:pt x="1039" y="370"/>
                    <a:pt x="1042" y="375"/>
                    <a:pt x="1049" y="375"/>
                  </a:cubicBezTo>
                  <a:cubicBezTo>
                    <a:pt x="1055" y="375"/>
                    <a:pt x="1063" y="370"/>
                    <a:pt x="1066" y="365"/>
                  </a:cubicBezTo>
                  <a:cubicBezTo>
                    <a:pt x="1069" y="359"/>
                    <a:pt x="1066" y="355"/>
                    <a:pt x="1060" y="355"/>
                  </a:cubicBezTo>
                  <a:cubicBezTo>
                    <a:pt x="1060" y="355"/>
                    <a:pt x="1060" y="355"/>
                    <a:pt x="1060" y="355"/>
                  </a:cubicBezTo>
                  <a:moveTo>
                    <a:pt x="1094" y="354"/>
                  </a:moveTo>
                  <a:cubicBezTo>
                    <a:pt x="1087" y="354"/>
                    <a:pt x="1079" y="359"/>
                    <a:pt x="1076" y="365"/>
                  </a:cubicBezTo>
                  <a:cubicBezTo>
                    <a:pt x="1073" y="370"/>
                    <a:pt x="1076" y="375"/>
                    <a:pt x="1083" y="375"/>
                  </a:cubicBezTo>
                  <a:cubicBezTo>
                    <a:pt x="1090" y="375"/>
                    <a:pt x="1097" y="370"/>
                    <a:pt x="1100" y="364"/>
                  </a:cubicBezTo>
                  <a:cubicBezTo>
                    <a:pt x="1103" y="359"/>
                    <a:pt x="1100" y="354"/>
                    <a:pt x="1094" y="354"/>
                  </a:cubicBezTo>
                  <a:cubicBezTo>
                    <a:pt x="1094" y="354"/>
                    <a:pt x="1094" y="354"/>
                    <a:pt x="1094" y="354"/>
                  </a:cubicBezTo>
                  <a:moveTo>
                    <a:pt x="1127" y="354"/>
                  </a:moveTo>
                  <a:cubicBezTo>
                    <a:pt x="1121" y="354"/>
                    <a:pt x="1113" y="359"/>
                    <a:pt x="1110" y="364"/>
                  </a:cubicBezTo>
                  <a:cubicBezTo>
                    <a:pt x="1107" y="370"/>
                    <a:pt x="1110" y="374"/>
                    <a:pt x="1117" y="374"/>
                  </a:cubicBezTo>
                  <a:cubicBezTo>
                    <a:pt x="1123" y="374"/>
                    <a:pt x="1131" y="370"/>
                    <a:pt x="1134" y="364"/>
                  </a:cubicBezTo>
                  <a:cubicBezTo>
                    <a:pt x="1137" y="359"/>
                    <a:pt x="1134" y="354"/>
                    <a:pt x="1127" y="354"/>
                  </a:cubicBezTo>
                  <a:cubicBezTo>
                    <a:pt x="1127" y="354"/>
                    <a:pt x="1127" y="354"/>
                    <a:pt x="1127" y="354"/>
                  </a:cubicBezTo>
                  <a:moveTo>
                    <a:pt x="1160" y="354"/>
                  </a:moveTo>
                  <a:cubicBezTo>
                    <a:pt x="1154" y="354"/>
                    <a:pt x="1146" y="358"/>
                    <a:pt x="1143" y="364"/>
                  </a:cubicBezTo>
                  <a:cubicBezTo>
                    <a:pt x="1140" y="370"/>
                    <a:pt x="1143" y="374"/>
                    <a:pt x="1150" y="374"/>
                  </a:cubicBezTo>
                  <a:cubicBezTo>
                    <a:pt x="1157" y="374"/>
                    <a:pt x="1164" y="370"/>
                    <a:pt x="1167" y="364"/>
                  </a:cubicBezTo>
                  <a:cubicBezTo>
                    <a:pt x="1170" y="358"/>
                    <a:pt x="1167" y="354"/>
                    <a:pt x="1160" y="354"/>
                  </a:cubicBezTo>
                  <a:cubicBezTo>
                    <a:pt x="1160" y="354"/>
                    <a:pt x="1160" y="354"/>
                    <a:pt x="1160" y="354"/>
                  </a:cubicBezTo>
                  <a:moveTo>
                    <a:pt x="1194" y="354"/>
                  </a:moveTo>
                  <a:cubicBezTo>
                    <a:pt x="1188" y="354"/>
                    <a:pt x="1180" y="358"/>
                    <a:pt x="1177" y="364"/>
                  </a:cubicBezTo>
                  <a:cubicBezTo>
                    <a:pt x="1175" y="369"/>
                    <a:pt x="1178" y="374"/>
                    <a:pt x="1184" y="374"/>
                  </a:cubicBezTo>
                  <a:cubicBezTo>
                    <a:pt x="1191" y="374"/>
                    <a:pt x="1198" y="369"/>
                    <a:pt x="1201" y="364"/>
                  </a:cubicBezTo>
                  <a:cubicBezTo>
                    <a:pt x="1204" y="358"/>
                    <a:pt x="1201" y="354"/>
                    <a:pt x="1194" y="354"/>
                  </a:cubicBezTo>
                  <a:cubicBezTo>
                    <a:pt x="1194" y="354"/>
                    <a:pt x="1194" y="354"/>
                    <a:pt x="1194" y="354"/>
                  </a:cubicBezTo>
                  <a:moveTo>
                    <a:pt x="1228" y="353"/>
                  </a:moveTo>
                  <a:cubicBezTo>
                    <a:pt x="1221" y="353"/>
                    <a:pt x="1214" y="358"/>
                    <a:pt x="1211" y="364"/>
                  </a:cubicBezTo>
                  <a:cubicBezTo>
                    <a:pt x="1208" y="369"/>
                    <a:pt x="1211" y="374"/>
                    <a:pt x="1218" y="374"/>
                  </a:cubicBezTo>
                  <a:cubicBezTo>
                    <a:pt x="1225" y="374"/>
                    <a:pt x="1232" y="369"/>
                    <a:pt x="1235" y="363"/>
                  </a:cubicBezTo>
                  <a:cubicBezTo>
                    <a:pt x="1237" y="358"/>
                    <a:pt x="1234" y="353"/>
                    <a:pt x="1228" y="353"/>
                  </a:cubicBezTo>
                  <a:cubicBezTo>
                    <a:pt x="1228" y="353"/>
                    <a:pt x="1228" y="353"/>
                    <a:pt x="1228" y="353"/>
                  </a:cubicBezTo>
                  <a:moveTo>
                    <a:pt x="1262" y="353"/>
                  </a:moveTo>
                  <a:cubicBezTo>
                    <a:pt x="1256" y="353"/>
                    <a:pt x="1248" y="358"/>
                    <a:pt x="1246" y="363"/>
                  </a:cubicBezTo>
                  <a:cubicBezTo>
                    <a:pt x="1243" y="369"/>
                    <a:pt x="1246" y="373"/>
                    <a:pt x="1253" y="373"/>
                  </a:cubicBezTo>
                  <a:cubicBezTo>
                    <a:pt x="1259" y="373"/>
                    <a:pt x="1267" y="369"/>
                    <a:pt x="1269" y="363"/>
                  </a:cubicBezTo>
                  <a:cubicBezTo>
                    <a:pt x="1272" y="358"/>
                    <a:pt x="1269" y="353"/>
                    <a:pt x="1262" y="353"/>
                  </a:cubicBezTo>
                  <a:cubicBezTo>
                    <a:pt x="1262" y="353"/>
                    <a:pt x="1262" y="353"/>
                    <a:pt x="1262" y="353"/>
                  </a:cubicBezTo>
                  <a:moveTo>
                    <a:pt x="1296" y="353"/>
                  </a:moveTo>
                  <a:cubicBezTo>
                    <a:pt x="1290" y="353"/>
                    <a:pt x="1282" y="357"/>
                    <a:pt x="1280" y="363"/>
                  </a:cubicBezTo>
                  <a:cubicBezTo>
                    <a:pt x="1277" y="369"/>
                    <a:pt x="1281" y="373"/>
                    <a:pt x="1287" y="373"/>
                  </a:cubicBezTo>
                  <a:cubicBezTo>
                    <a:pt x="1294" y="373"/>
                    <a:pt x="1301" y="368"/>
                    <a:pt x="1303" y="363"/>
                  </a:cubicBezTo>
                  <a:cubicBezTo>
                    <a:pt x="1306" y="357"/>
                    <a:pt x="1303" y="353"/>
                    <a:pt x="1296" y="353"/>
                  </a:cubicBezTo>
                  <a:cubicBezTo>
                    <a:pt x="1296" y="353"/>
                    <a:pt x="1296" y="353"/>
                    <a:pt x="1296" y="353"/>
                  </a:cubicBezTo>
                  <a:moveTo>
                    <a:pt x="1330" y="353"/>
                  </a:moveTo>
                  <a:cubicBezTo>
                    <a:pt x="1323" y="353"/>
                    <a:pt x="1316" y="357"/>
                    <a:pt x="1313" y="363"/>
                  </a:cubicBezTo>
                  <a:cubicBezTo>
                    <a:pt x="1311" y="368"/>
                    <a:pt x="1314" y="373"/>
                    <a:pt x="1321" y="373"/>
                  </a:cubicBezTo>
                  <a:cubicBezTo>
                    <a:pt x="1327" y="373"/>
                    <a:pt x="1335" y="368"/>
                    <a:pt x="1337" y="363"/>
                  </a:cubicBezTo>
                  <a:cubicBezTo>
                    <a:pt x="1339" y="357"/>
                    <a:pt x="1336" y="353"/>
                    <a:pt x="1330" y="353"/>
                  </a:cubicBezTo>
                  <a:cubicBezTo>
                    <a:pt x="1330" y="353"/>
                    <a:pt x="1330" y="353"/>
                    <a:pt x="1330" y="353"/>
                  </a:cubicBezTo>
                  <a:moveTo>
                    <a:pt x="1967" y="350"/>
                  </a:moveTo>
                  <a:cubicBezTo>
                    <a:pt x="1961" y="350"/>
                    <a:pt x="1954" y="354"/>
                    <a:pt x="1953" y="360"/>
                  </a:cubicBezTo>
                  <a:cubicBezTo>
                    <a:pt x="1952" y="366"/>
                    <a:pt x="1957" y="370"/>
                    <a:pt x="1963" y="370"/>
                  </a:cubicBezTo>
                  <a:cubicBezTo>
                    <a:pt x="1970" y="370"/>
                    <a:pt x="1976" y="365"/>
                    <a:pt x="1977" y="360"/>
                  </a:cubicBezTo>
                  <a:cubicBezTo>
                    <a:pt x="1978" y="354"/>
                    <a:pt x="1974" y="350"/>
                    <a:pt x="1967" y="350"/>
                  </a:cubicBezTo>
                  <a:cubicBezTo>
                    <a:pt x="1967" y="350"/>
                    <a:pt x="1967" y="350"/>
                    <a:pt x="1967" y="350"/>
                  </a:cubicBezTo>
                  <a:moveTo>
                    <a:pt x="2001" y="349"/>
                  </a:moveTo>
                  <a:cubicBezTo>
                    <a:pt x="1995" y="349"/>
                    <a:pt x="1988" y="354"/>
                    <a:pt x="1987" y="360"/>
                  </a:cubicBezTo>
                  <a:cubicBezTo>
                    <a:pt x="1986" y="365"/>
                    <a:pt x="1991" y="370"/>
                    <a:pt x="1997" y="370"/>
                  </a:cubicBezTo>
                  <a:cubicBezTo>
                    <a:pt x="2004" y="370"/>
                    <a:pt x="2010" y="365"/>
                    <a:pt x="2011" y="360"/>
                  </a:cubicBezTo>
                  <a:cubicBezTo>
                    <a:pt x="2012" y="354"/>
                    <a:pt x="2008" y="349"/>
                    <a:pt x="2001" y="349"/>
                  </a:cubicBezTo>
                  <a:cubicBezTo>
                    <a:pt x="2001" y="349"/>
                    <a:pt x="2001" y="349"/>
                    <a:pt x="2001" y="349"/>
                  </a:cubicBezTo>
                  <a:moveTo>
                    <a:pt x="2067" y="349"/>
                  </a:moveTo>
                  <a:cubicBezTo>
                    <a:pt x="2061" y="349"/>
                    <a:pt x="2055" y="354"/>
                    <a:pt x="2054" y="359"/>
                  </a:cubicBezTo>
                  <a:cubicBezTo>
                    <a:pt x="2053" y="365"/>
                    <a:pt x="2058" y="369"/>
                    <a:pt x="2064" y="369"/>
                  </a:cubicBezTo>
                  <a:cubicBezTo>
                    <a:pt x="2071" y="369"/>
                    <a:pt x="2077" y="365"/>
                    <a:pt x="2078" y="359"/>
                  </a:cubicBezTo>
                  <a:cubicBezTo>
                    <a:pt x="2078" y="353"/>
                    <a:pt x="2074" y="349"/>
                    <a:pt x="2068" y="349"/>
                  </a:cubicBezTo>
                  <a:cubicBezTo>
                    <a:pt x="2067" y="349"/>
                    <a:pt x="2067" y="349"/>
                    <a:pt x="2067" y="349"/>
                  </a:cubicBezTo>
                  <a:moveTo>
                    <a:pt x="2203" y="346"/>
                  </a:moveTo>
                  <a:cubicBezTo>
                    <a:pt x="2197" y="346"/>
                    <a:pt x="2191" y="351"/>
                    <a:pt x="2190" y="356"/>
                  </a:cubicBezTo>
                  <a:cubicBezTo>
                    <a:pt x="2190" y="362"/>
                    <a:pt x="2195" y="366"/>
                    <a:pt x="2201" y="366"/>
                  </a:cubicBezTo>
                  <a:cubicBezTo>
                    <a:pt x="2208" y="366"/>
                    <a:pt x="2213" y="362"/>
                    <a:pt x="2214" y="356"/>
                  </a:cubicBezTo>
                  <a:cubicBezTo>
                    <a:pt x="2215" y="350"/>
                    <a:pt x="2210" y="346"/>
                    <a:pt x="2203" y="346"/>
                  </a:cubicBezTo>
                  <a:cubicBezTo>
                    <a:pt x="2203" y="346"/>
                    <a:pt x="2203" y="346"/>
                    <a:pt x="2203" y="346"/>
                  </a:cubicBezTo>
                  <a:moveTo>
                    <a:pt x="2238" y="346"/>
                  </a:moveTo>
                  <a:cubicBezTo>
                    <a:pt x="2231" y="346"/>
                    <a:pt x="2226" y="350"/>
                    <a:pt x="2225" y="356"/>
                  </a:cubicBezTo>
                  <a:cubicBezTo>
                    <a:pt x="2224" y="362"/>
                    <a:pt x="2229" y="366"/>
                    <a:pt x="2236" y="366"/>
                  </a:cubicBezTo>
                  <a:cubicBezTo>
                    <a:pt x="2242" y="366"/>
                    <a:pt x="2248" y="361"/>
                    <a:pt x="2249" y="356"/>
                  </a:cubicBezTo>
                  <a:cubicBezTo>
                    <a:pt x="2249" y="350"/>
                    <a:pt x="2244" y="346"/>
                    <a:pt x="2238" y="346"/>
                  </a:cubicBezTo>
                  <a:cubicBezTo>
                    <a:pt x="2238" y="346"/>
                    <a:pt x="2238" y="346"/>
                    <a:pt x="2238" y="346"/>
                  </a:cubicBezTo>
                  <a:moveTo>
                    <a:pt x="2271" y="345"/>
                  </a:moveTo>
                  <a:cubicBezTo>
                    <a:pt x="2265" y="345"/>
                    <a:pt x="2259" y="350"/>
                    <a:pt x="2258" y="356"/>
                  </a:cubicBezTo>
                  <a:cubicBezTo>
                    <a:pt x="2258" y="361"/>
                    <a:pt x="2263" y="366"/>
                    <a:pt x="2269" y="366"/>
                  </a:cubicBezTo>
                  <a:cubicBezTo>
                    <a:pt x="2276" y="366"/>
                    <a:pt x="2282" y="361"/>
                    <a:pt x="2282" y="356"/>
                  </a:cubicBezTo>
                  <a:cubicBezTo>
                    <a:pt x="2282" y="350"/>
                    <a:pt x="2278" y="345"/>
                    <a:pt x="2271" y="345"/>
                  </a:cubicBezTo>
                  <a:cubicBezTo>
                    <a:pt x="2271" y="345"/>
                    <a:pt x="2271" y="345"/>
                    <a:pt x="2271" y="345"/>
                  </a:cubicBezTo>
                  <a:moveTo>
                    <a:pt x="2573" y="345"/>
                  </a:moveTo>
                  <a:cubicBezTo>
                    <a:pt x="2567" y="345"/>
                    <a:pt x="2561" y="350"/>
                    <a:pt x="2561" y="356"/>
                  </a:cubicBezTo>
                  <a:cubicBezTo>
                    <a:pt x="2562" y="361"/>
                    <a:pt x="2567" y="366"/>
                    <a:pt x="2574" y="366"/>
                  </a:cubicBezTo>
                  <a:cubicBezTo>
                    <a:pt x="2580" y="366"/>
                    <a:pt x="2585" y="361"/>
                    <a:pt x="2585" y="355"/>
                  </a:cubicBezTo>
                  <a:cubicBezTo>
                    <a:pt x="2585" y="350"/>
                    <a:pt x="2580" y="345"/>
                    <a:pt x="2573" y="345"/>
                  </a:cubicBezTo>
                  <a:cubicBezTo>
                    <a:pt x="2573" y="345"/>
                    <a:pt x="2573" y="345"/>
                    <a:pt x="2573" y="345"/>
                  </a:cubicBezTo>
                  <a:moveTo>
                    <a:pt x="2304" y="345"/>
                  </a:moveTo>
                  <a:cubicBezTo>
                    <a:pt x="2298" y="345"/>
                    <a:pt x="2292" y="350"/>
                    <a:pt x="2292" y="355"/>
                  </a:cubicBezTo>
                  <a:cubicBezTo>
                    <a:pt x="2291" y="361"/>
                    <a:pt x="2296" y="366"/>
                    <a:pt x="2303" y="366"/>
                  </a:cubicBezTo>
                  <a:cubicBezTo>
                    <a:pt x="2309" y="366"/>
                    <a:pt x="2315" y="361"/>
                    <a:pt x="2315" y="355"/>
                  </a:cubicBezTo>
                  <a:cubicBezTo>
                    <a:pt x="2316" y="350"/>
                    <a:pt x="2311" y="345"/>
                    <a:pt x="2304" y="345"/>
                  </a:cubicBezTo>
                  <a:cubicBezTo>
                    <a:pt x="2304" y="345"/>
                    <a:pt x="2304" y="345"/>
                    <a:pt x="2304" y="345"/>
                  </a:cubicBezTo>
                  <a:moveTo>
                    <a:pt x="2338" y="345"/>
                  </a:moveTo>
                  <a:cubicBezTo>
                    <a:pt x="2331" y="345"/>
                    <a:pt x="2326" y="350"/>
                    <a:pt x="2325" y="355"/>
                  </a:cubicBezTo>
                  <a:cubicBezTo>
                    <a:pt x="2325" y="361"/>
                    <a:pt x="2330" y="365"/>
                    <a:pt x="2336" y="365"/>
                  </a:cubicBezTo>
                  <a:cubicBezTo>
                    <a:pt x="2343" y="365"/>
                    <a:pt x="2348" y="361"/>
                    <a:pt x="2349" y="355"/>
                  </a:cubicBezTo>
                  <a:cubicBezTo>
                    <a:pt x="2349" y="349"/>
                    <a:pt x="2344" y="345"/>
                    <a:pt x="2338" y="345"/>
                  </a:cubicBezTo>
                  <a:cubicBezTo>
                    <a:pt x="2338" y="345"/>
                    <a:pt x="2338" y="345"/>
                    <a:pt x="2338" y="345"/>
                  </a:cubicBezTo>
                  <a:moveTo>
                    <a:pt x="2371" y="345"/>
                  </a:moveTo>
                  <a:cubicBezTo>
                    <a:pt x="2365" y="345"/>
                    <a:pt x="2359" y="349"/>
                    <a:pt x="2359" y="355"/>
                  </a:cubicBezTo>
                  <a:cubicBezTo>
                    <a:pt x="2359" y="361"/>
                    <a:pt x="2364" y="365"/>
                    <a:pt x="2370" y="365"/>
                  </a:cubicBezTo>
                  <a:cubicBezTo>
                    <a:pt x="2377" y="365"/>
                    <a:pt x="2382" y="360"/>
                    <a:pt x="2383" y="355"/>
                  </a:cubicBezTo>
                  <a:cubicBezTo>
                    <a:pt x="2383" y="349"/>
                    <a:pt x="2378" y="345"/>
                    <a:pt x="2371" y="345"/>
                  </a:cubicBezTo>
                  <a:cubicBezTo>
                    <a:pt x="2371" y="345"/>
                    <a:pt x="2371" y="345"/>
                    <a:pt x="2371" y="345"/>
                  </a:cubicBezTo>
                  <a:moveTo>
                    <a:pt x="2405" y="344"/>
                  </a:moveTo>
                  <a:cubicBezTo>
                    <a:pt x="2399" y="344"/>
                    <a:pt x="2393" y="349"/>
                    <a:pt x="2393" y="355"/>
                  </a:cubicBezTo>
                  <a:cubicBezTo>
                    <a:pt x="2393" y="360"/>
                    <a:pt x="2398" y="365"/>
                    <a:pt x="2404" y="365"/>
                  </a:cubicBezTo>
                  <a:cubicBezTo>
                    <a:pt x="2411" y="365"/>
                    <a:pt x="2416" y="360"/>
                    <a:pt x="2417" y="355"/>
                  </a:cubicBezTo>
                  <a:cubicBezTo>
                    <a:pt x="2417" y="349"/>
                    <a:pt x="2412" y="344"/>
                    <a:pt x="2405" y="344"/>
                  </a:cubicBezTo>
                  <a:cubicBezTo>
                    <a:pt x="2405" y="344"/>
                    <a:pt x="2405" y="344"/>
                    <a:pt x="2405" y="344"/>
                  </a:cubicBezTo>
                  <a:moveTo>
                    <a:pt x="2607" y="344"/>
                  </a:moveTo>
                  <a:cubicBezTo>
                    <a:pt x="2601" y="344"/>
                    <a:pt x="2596" y="349"/>
                    <a:pt x="2596" y="355"/>
                  </a:cubicBezTo>
                  <a:cubicBezTo>
                    <a:pt x="2596" y="360"/>
                    <a:pt x="2602" y="365"/>
                    <a:pt x="2608" y="365"/>
                  </a:cubicBezTo>
                  <a:cubicBezTo>
                    <a:pt x="2615" y="365"/>
                    <a:pt x="2620" y="360"/>
                    <a:pt x="2620" y="354"/>
                  </a:cubicBezTo>
                  <a:cubicBezTo>
                    <a:pt x="2619" y="349"/>
                    <a:pt x="2614" y="344"/>
                    <a:pt x="2607" y="344"/>
                  </a:cubicBezTo>
                  <a:cubicBezTo>
                    <a:pt x="2607" y="344"/>
                    <a:pt x="2607" y="344"/>
                    <a:pt x="2607" y="344"/>
                  </a:cubicBezTo>
                  <a:moveTo>
                    <a:pt x="2439" y="344"/>
                  </a:moveTo>
                  <a:cubicBezTo>
                    <a:pt x="2432" y="344"/>
                    <a:pt x="2427" y="349"/>
                    <a:pt x="2427" y="354"/>
                  </a:cubicBezTo>
                  <a:cubicBezTo>
                    <a:pt x="2426" y="360"/>
                    <a:pt x="2432" y="365"/>
                    <a:pt x="2438" y="365"/>
                  </a:cubicBezTo>
                  <a:cubicBezTo>
                    <a:pt x="2445" y="365"/>
                    <a:pt x="2450" y="360"/>
                    <a:pt x="2450" y="354"/>
                  </a:cubicBezTo>
                  <a:cubicBezTo>
                    <a:pt x="2450" y="349"/>
                    <a:pt x="2445" y="344"/>
                    <a:pt x="2439" y="344"/>
                  </a:cubicBezTo>
                  <a:cubicBezTo>
                    <a:pt x="2439" y="344"/>
                    <a:pt x="2439" y="344"/>
                    <a:pt x="2439" y="344"/>
                  </a:cubicBezTo>
                  <a:moveTo>
                    <a:pt x="2641" y="344"/>
                  </a:moveTo>
                  <a:cubicBezTo>
                    <a:pt x="2634" y="344"/>
                    <a:pt x="2629" y="349"/>
                    <a:pt x="2629" y="354"/>
                  </a:cubicBezTo>
                  <a:cubicBezTo>
                    <a:pt x="2630" y="360"/>
                    <a:pt x="2635" y="364"/>
                    <a:pt x="2642" y="364"/>
                  </a:cubicBezTo>
                  <a:cubicBezTo>
                    <a:pt x="2648" y="364"/>
                    <a:pt x="2653" y="360"/>
                    <a:pt x="2653" y="354"/>
                  </a:cubicBezTo>
                  <a:cubicBezTo>
                    <a:pt x="2653" y="348"/>
                    <a:pt x="2647" y="344"/>
                    <a:pt x="2641" y="344"/>
                  </a:cubicBezTo>
                  <a:cubicBezTo>
                    <a:pt x="2641" y="344"/>
                    <a:pt x="2641" y="344"/>
                    <a:pt x="2641" y="344"/>
                  </a:cubicBezTo>
                  <a:moveTo>
                    <a:pt x="2472" y="344"/>
                  </a:moveTo>
                  <a:cubicBezTo>
                    <a:pt x="2466" y="344"/>
                    <a:pt x="2460" y="349"/>
                    <a:pt x="2460" y="354"/>
                  </a:cubicBezTo>
                  <a:cubicBezTo>
                    <a:pt x="2460" y="360"/>
                    <a:pt x="2465" y="364"/>
                    <a:pt x="2472" y="364"/>
                  </a:cubicBezTo>
                  <a:cubicBezTo>
                    <a:pt x="2478" y="364"/>
                    <a:pt x="2484" y="360"/>
                    <a:pt x="2484" y="354"/>
                  </a:cubicBezTo>
                  <a:cubicBezTo>
                    <a:pt x="2484" y="348"/>
                    <a:pt x="2479" y="344"/>
                    <a:pt x="2472" y="344"/>
                  </a:cubicBezTo>
                  <a:cubicBezTo>
                    <a:pt x="2472" y="344"/>
                    <a:pt x="2472" y="344"/>
                    <a:pt x="2472" y="344"/>
                  </a:cubicBezTo>
                  <a:moveTo>
                    <a:pt x="2674" y="344"/>
                  </a:moveTo>
                  <a:cubicBezTo>
                    <a:pt x="2667" y="344"/>
                    <a:pt x="2662" y="348"/>
                    <a:pt x="2663" y="354"/>
                  </a:cubicBezTo>
                  <a:cubicBezTo>
                    <a:pt x="2663" y="360"/>
                    <a:pt x="2669" y="364"/>
                    <a:pt x="2675" y="364"/>
                  </a:cubicBezTo>
                  <a:cubicBezTo>
                    <a:pt x="2682" y="364"/>
                    <a:pt x="2687" y="359"/>
                    <a:pt x="2686" y="354"/>
                  </a:cubicBezTo>
                  <a:cubicBezTo>
                    <a:pt x="2686" y="348"/>
                    <a:pt x="2680" y="344"/>
                    <a:pt x="2674" y="344"/>
                  </a:cubicBezTo>
                  <a:cubicBezTo>
                    <a:pt x="2674" y="344"/>
                    <a:pt x="2674" y="344"/>
                    <a:pt x="2674" y="344"/>
                  </a:cubicBezTo>
                  <a:moveTo>
                    <a:pt x="2505" y="344"/>
                  </a:moveTo>
                  <a:cubicBezTo>
                    <a:pt x="2499" y="344"/>
                    <a:pt x="2494" y="348"/>
                    <a:pt x="2494" y="354"/>
                  </a:cubicBezTo>
                  <a:cubicBezTo>
                    <a:pt x="2494" y="360"/>
                    <a:pt x="2499" y="364"/>
                    <a:pt x="2505" y="364"/>
                  </a:cubicBezTo>
                  <a:cubicBezTo>
                    <a:pt x="2512" y="364"/>
                    <a:pt x="2517" y="359"/>
                    <a:pt x="2517" y="354"/>
                  </a:cubicBezTo>
                  <a:cubicBezTo>
                    <a:pt x="2517" y="348"/>
                    <a:pt x="2512" y="344"/>
                    <a:pt x="2506" y="344"/>
                  </a:cubicBezTo>
                  <a:cubicBezTo>
                    <a:pt x="2505" y="344"/>
                    <a:pt x="2505" y="344"/>
                    <a:pt x="2505" y="344"/>
                  </a:cubicBezTo>
                  <a:moveTo>
                    <a:pt x="2707" y="343"/>
                  </a:moveTo>
                  <a:cubicBezTo>
                    <a:pt x="2701" y="343"/>
                    <a:pt x="2696" y="348"/>
                    <a:pt x="2696" y="354"/>
                  </a:cubicBezTo>
                  <a:cubicBezTo>
                    <a:pt x="2697" y="359"/>
                    <a:pt x="2702" y="364"/>
                    <a:pt x="2709" y="364"/>
                  </a:cubicBezTo>
                  <a:cubicBezTo>
                    <a:pt x="2715" y="364"/>
                    <a:pt x="2720" y="359"/>
                    <a:pt x="2720" y="354"/>
                  </a:cubicBezTo>
                  <a:cubicBezTo>
                    <a:pt x="2719" y="348"/>
                    <a:pt x="2714" y="343"/>
                    <a:pt x="2707" y="343"/>
                  </a:cubicBezTo>
                  <a:cubicBezTo>
                    <a:pt x="2707" y="343"/>
                    <a:pt x="2707" y="343"/>
                    <a:pt x="2707" y="343"/>
                  </a:cubicBezTo>
                  <a:moveTo>
                    <a:pt x="2539" y="343"/>
                  </a:moveTo>
                  <a:cubicBezTo>
                    <a:pt x="2533" y="343"/>
                    <a:pt x="2527" y="348"/>
                    <a:pt x="2527" y="354"/>
                  </a:cubicBezTo>
                  <a:cubicBezTo>
                    <a:pt x="2527" y="359"/>
                    <a:pt x="2533" y="364"/>
                    <a:pt x="2539" y="364"/>
                  </a:cubicBezTo>
                  <a:cubicBezTo>
                    <a:pt x="2546" y="364"/>
                    <a:pt x="2551" y="359"/>
                    <a:pt x="2551" y="354"/>
                  </a:cubicBezTo>
                  <a:cubicBezTo>
                    <a:pt x="2551" y="348"/>
                    <a:pt x="2546" y="343"/>
                    <a:pt x="2539" y="343"/>
                  </a:cubicBezTo>
                  <a:cubicBezTo>
                    <a:pt x="2539" y="343"/>
                    <a:pt x="2539" y="343"/>
                    <a:pt x="2539" y="343"/>
                  </a:cubicBezTo>
                  <a:moveTo>
                    <a:pt x="2741" y="343"/>
                  </a:moveTo>
                  <a:cubicBezTo>
                    <a:pt x="2734" y="343"/>
                    <a:pt x="2729" y="348"/>
                    <a:pt x="2730" y="353"/>
                  </a:cubicBezTo>
                  <a:cubicBezTo>
                    <a:pt x="2730" y="359"/>
                    <a:pt x="2736" y="364"/>
                    <a:pt x="2743" y="364"/>
                  </a:cubicBezTo>
                  <a:cubicBezTo>
                    <a:pt x="2749" y="364"/>
                    <a:pt x="2754" y="359"/>
                    <a:pt x="2753" y="353"/>
                  </a:cubicBezTo>
                  <a:cubicBezTo>
                    <a:pt x="2753" y="348"/>
                    <a:pt x="2747" y="343"/>
                    <a:pt x="2741" y="343"/>
                  </a:cubicBezTo>
                  <a:cubicBezTo>
                    <a:pt x="2741" y="343"/>
                    <a:pt x="2741" y="343"/>
                    <a:pt x="2741" y="343"/>
                  </a:cubicBezTo>
                  <a:moveTo>
                    <a:pt x="2941" y="343"/>
                  </a:moveTo>
                  <a:cubicBezTo>
                    <a:pt x="2934" y="343"/>
                    <a:pt x="2930" y="347"/>
                    <a:pt x="2931" y="353"/>
                  </a:cubicBezTo>
                  <a:cubicBezTo>
                    <a:pt x="2932" y="358"/>
                    <a:pt x="2938" y="362"/>
                    <a:pt x="2944" y="362"/>
                  </a:cubicBezTo>
                  <a:cubicBezTo>
                    <a:pt x="2950" y="362"/>
                    <a:pt x="2954" y="358"/>
                    <a:pt x="2953" y="353"/>
                  </a:cubicBezTo>
                  <a:cubicBezTo>
                    <a:pt x="2952" y="347"/>
                    <a:pt x="2947" y="343"/>
                    <a:pt x="2941" y="343"/>
                  </a:cubicBezTo>
                  <a:cubicBezTo>
                    <a:pt x="2941" y="343"/>
                    <a:pt x="2941" y="343"/>
                    <a:pt x="2941" y="343"/>
                  </a:cubicBezTo>
                  <a:moveTo>
                    <a:pt x="2775" y="343"/>
                  </a:moveTo>
                  <a:cubicBezTo>
                    <a:pt x="2768" y="343"/>
                    <a:pt x="2763" y="348"/>
                    <a:pt x="2764" y="353"/>
                  </a:cubicBezTo>
                  <a:cubicBezTo>
                    <a:pt x="2764" y="359"/>
                    <a:pt x="2770" y="363"/>
                    <a:pt x="2777" y="363"/>
                  </a:cubicBezTo>
                  <a:cubicBezTo>
                    <a:pt x="2783" y="363"/>
                    <a:pt x="2788" y="359"/>
                    <a:pt x="2787" y="353"/>
                  </a:cubicBezTo>
                  <a:cubicBezTo>
                    <a:pt x="2787" y="347"/>
                    <a:pt x="2781" y="343"/>
                    <a:pt x="2775" y="343"/>
                  </a:cubicBezTo>
                  <a:cubicBezTo>
                    <a:pt x="2775" y="343"/>
                    <a:pt x="2775" y="343"/>
                    <a:pt x="2775" y="343"/>
                  </a:cubicBezTo>
                  <a:moveTo>
                    <a:pt x="2975" y="343"/>
                  </a:moveTo>
                  <a:cubicBezTo>
                    <a:pt x="2969" y="343"/>
                    <a:pt x="2965" y="347"/>
                    <a:pt x="2966" y="352"/>
                  </a:cubicBezTo>
                  <a:cubicBezTo>
                    <a:pt x="2966" y="358"/>
                    <a:pt x="2972" y="362"/>
                    <a:pt x="2978" y="362"/>
                  </a:cubicBezTo>
                  <a:cubicBezTo>
                    <a:pt x="2985" y="362"/>
                    <a:pt x="2989" y="358"/>
                    <a:pt x="2988" y="352"/>
                  </a:cubicBezTo>
                  <a:cubicBezTo>
                    <a:pt x="2987" y="347"/>
                    <a:pt x="2981" y="343"/>
                    <a:pt x="2975" y="343"/>
                  </a:cubicBezTo>
                  <a:cubicBezTo>
                    <a:pt x="2975" y="343"/>
                    <a:pt x="2975" y="343"/>
                    <a:pt x="2975" y="343"/>
                  </a:cubicBezTo>
                  <a:moveTo>
                    <a:pt x="2808" y="343"/>
                  </a:moveTo>
                  <a:cubicBezTo>
                    <a:pt x="2802" y="343"/>
                    <a:pt x="2797" y="347"/>
                    <a:pt x="2797" y="353"/>
                  </a:cubicBezTo>
                  <a:cubicBezTo>
                    <a:pt x="2798" y="359"/>
                    <a:pt x="2804" y="363"/>
                    <a:pt x="2810" y="363"/>
                  </a:cubicBezTo>
                  <a:cubicBezTo>
                    <a:pt x="2817" y="363"/>
                    <a:pt x="2822" y="358"/>
                    <a:pt x="2821" y="353"/>
                  </a:cubicBezTo>
                  <a:cubicBezTo>
                    <a:pt x="2820" y="347"/>
                    <a:pt x="2815" y="343"/>
                    <a:pt x="2808" y="343"/>
                  </a:cubicBezTo>
                  <a:cubicBezTo>
                    <a:pt x="2808" y="343"/>
                    <a:pt x="2808" y="343"/>
                    <a:pt x="2808" y="343"/>
                  </a:cubicBezTo>
                  <a:moveTo>
                    <a:pt x="2842" y="342"/>
                  </a:moveTo>
                  <a:cubicBezTo>
                    <a:pt x="2835" y="342"/>
                    <a:pt x="2830" y="347"/>
                    <a:pt x="2831" y="353"/>
                  </a:cubicBezTo>
                  <a:cubicBezTo>
                    <a:pt x="2832" y="358"/>
                    <a:pt x="2838" y="363"/>
                    <a:pt x="2844" y="363"/>
                  </a:cubicBezTo>
                  <a:cubicBezTo>
                    <a:pt x="2851" y="363"/>
                    <a:pt x="2855" y="358"/>
                    <a:pt x="2855" y="353"/>
                  </a:cubicBezTo>
                  <a:cubicBezTo>
                    <a:pt x="2854" y="347"/>
                    <a:pt x="2848" y="342"/>
                    <a:pt x="2842" y="342"/>
                  </a:cubicBezTo>
                  <a:cubicBezTo>
                    <a:pt x="2842" y="342"/>
                    <a:pt x="2842" y="342"/>
                    <a:pt x="2842" y="342"/>
                  </a:cubicBezTo>
                  <a:moveTo>
                    <a:pt x="2875" y="342"/>
                  </a:moveTo>
                  <a:cubicBezTo>
                    <a:pt x="2868" y="342"/>
                    <a:pt x="2864" y="347"/>
                    <a:pt x="2865" y="352"/>
                  </a:cubicBezTo>
                  <a:cubicBezTo>
                    <a:pt x="2865" y="358"/>
                    <a:pt x="2871" y="363"/>
                    <a:pt x="2878" y="363"/>
                  </a:cubicBezTo>
                  <a:cubicBezTo>
                    <a:pt x="2884" y="363"/>
                    <a:pt x="2889" y="358"/>
                    <a:pt x="2888" y="352"/>
                  </a:cubicBezTo>
                  <a:cubicBezTo>
                    <a:pt x="2887" y="347"/>
                    <a:pt x="2881" y="342"/>
                    <a:pt x="2875" y="342"/>
                  </a:cubicBezTo>
                  <a:cubicBezTo>
                    <a:pt x="2875" y="342"/>
                    <a:pt x="2875" y="342"/>
                    <a:pt x="2875" y="342"/>
                  </a:cubicBezTo>
                  <a:moveTo>
                    <a:pt x="2908" y="342"/>
                  </a:moveTo>
                  <a:cubicBezTo>
                    <a:pt x="2902" y="342"/>
                    <a:pt x="2897" y="347"/>
                    <a:pt x="2898" y="352"/>
                  </a:cubicBezTo>
                  <a:cubicBezTo>
                    <a:pt x="2899" y="358"/>
                    <a:pt x="2905" y="362"/>
                    <a:pt x="2912" y="362"/>
                  </a:cubicBezTo>
                  <a:cubicBezTo>
                    <a:pt x="2918" y="362"/>
                    <a:pt x="2923" y="358"/>
                    <a:pt x="2922" y="352"/>
                  </a:cubicBezTo>
                  <a:cubicBezTo>
                    <a:pt x="2921" y="346"/>
                    <a:pt x="2915" y="342"/>
                    <a:pt x="2909" y="342"/>
                  </a:cubicBezTo>
                  <a:cubicBezTo>
                    <a:pt x="2909" y="342"/>
                    <a:pt x="2908" y="342"/>
                    <a:pt x="2908" y="342"/>
                  </a:cubicBezTo>
                  <a:moveTo>
                    <a:pt x="3008" y="341"/>
                  </a:moveTo>
                  <a:cubicBezTo>
                    <a:pt x="3002" y="341"/>
                    <a:pt x="2997" y="346"/>
                    <a:pt x="2998" y="351"/>
                  </a:cubicBezTo>
                  <a:cubicBezTo>
                    <a:pt x="2999" y="357"/>
                    <a:pt x="3005" y="362"/>
                    <a:pt x="3012" y="362"/>
                  </a:cubicBezTo>
                  <a:cubicBezTo>
                    <a:pt x="3018" y="362"/>
                    <a:pt x="3023" y="357"/>
                    <a:pt x="3022" y="351"/>
                  </a:cubicBezTo>
                  <a:cubicBezTo>
                    <a:pt x="3021" y="346"/>
                    <a:pt x="3015" y="341"/>
                    <a:pt x="3008" y="341"/>
                  </a:cubicBezTo>
                  <a:cubicBezTo>
                    <a:pt x="3008" y="341"/>
                    <a:pt x="3008" y="341"/>
                    <a:pt x="3008" y="341"/>
                  </a:cubicBezTo>
                  <a:moveTo>
                    <a:pt x="3041" y="341"/>
                  </a:moveTo>
                  <a:cubicBezTo>
                    <a:pt x="3035" y="341"/>
                    <a:pt x="3030" y="346"/>
                    <a:pt x="3031" y="351"/>
                  </a:cubicBezTo>
                  <a:cubicBezTo>
                    <a:pt x="3033" y="357"/>
                    <a:pt x="3039" y="361"/>
                    <a:pt x="3045" y="361"/>
                  </a:cubicBezTo>
                  <a:cubicBezTo>
                    <a:pt x="3052" y="361"/>
                    <a:pt x="3056" y="357"/>
                    <a:pt x="3055" y="351"/>
                  </a:cubicBezTo>
                  <a:cubicBezTo>
                    <a:pt x="3054" y="345"/>
                    <a:pt x="3048" y="341"/>
                    <a:pt x="3041" y="341"/>
                  </a:cubicBezTo>
                  <a:cubicBezTo>
                    <a:pt x="3041" y="341"/>
                    <a:pt x="3041" y="341"/>
                    <a:pt x="3041" y="341"/>
                  </a:cubicBezTo>
                  <a:moveTo>
                    <a:pt x="3074" y="341"/>
                  </a:moveTo>
                  <a:cubicBezTo>
                    <a:pt x="3068" y="341"/>
                    <a:pt x="3064" y="345"/>
                    <a:pt x="3065" y="351"/>
                  </a:cubicBezTo>
                  <a:cubicBezTo>
                    <a:pt x="3066" y="357"/>
                    <a:pt x="3072" y="361"/>
                    <a:pt x="3079" y="361"/>
                  </a:cubicBezTo>
                  <a:cubicBezTo>
                    <a:pt x="3085" y="361"/>
                    <a:pt x="3090" y="356"/>
                    <a:pt x="3088" y="351"/>
                  </a:cubicBezTo>
                  <a:cubicBezTo>
                    <a:pt x="3087" y="345"/>
                    <a:pt x="3081" y="341"/>
                    <a:pt x="3075" y="341"/>
                  </a:cubicBezTo>
                  <a:cubicBezTo>
                    <a:pt x="3075" y="341"/>
                    <a:pt x="3075" y="341"/>
                    <a:pt x="3074" y="341"/>
                  </a:cubicBezTo>
                  <a:moveTo>
                    <a:pt x="3108" y="340"/>
                  </a:moveTo>
                  <a:cubicBezTo>
                    <a:pt x="3102" y="340"/>
                    <a:pt x="3097" y="345"/>
                    <a:pt x="3099" y="351"/>
                  </a:cubicBezTo>
                  <a:cubicBezTo>
                    <a:pt x="3100" y="356"/>
                    <a:pt x="3106" y="361"/>
                    <a:pt x="3113" y="361"/>
                  </a:cubicBezTo>
                  <a:cubicBezTo>
                    <a:pt x="3119" y="361"/>
                    <a:pt x="3123" y="356"/>
                    <a:pt x="3122" y="351"/>
                  </a:cubicBezTo>
                  <a:cubicBezTo>
                    <a:pt x="3121" y="345"/>
                    <a:pt x="3115" y="340"/>
                    <a:pt x="3108" y="340"/>
                  </a:cubicBezTo>
                  <a:cubicBezTo>
                    <a:pt x="3108" y="340"/>
                    <a:pt x="3108" y="340"/>
                    <a:pt x="3108" y="340"/>
                  </a:cubicBezTo>
                  <a:moveTo>
                    <a:pt x="3142" y="340"/>
                  </a:moveTo>
                  <a:cubicBezTo>
                    <a:pt x="3135" y="340"/>
                    <a:pt x="3131" y="345"/>
                    <a:pt x="3133" y="350"/>
                  </a:cubicBezTo>
                  <a:cubicBezTo>
                    <a:pt x="3134" y="356"/>
                    <a:pt x="3140" y="361"/>
                    <a:pt x="3147" y="361"/>
                  </a:cubicBezTo>
                  <a:cubicBezTo>
                    <a:pt x="3153" y="361"/>
                    <a:pt x="3158" y="356"/>
                    <a:pt x="3156" y="350"/>
                  </a:cubicBezTo>
                  <a:cubicBezTo>
                    <a:pt x="3155" y="345"/>
                    <a:pt x="3148" y="340"/>
                    <a:pt x="3142" y="340"/>
                  </a:cubicBezTo>
                  <a:cubicBezTo>
                    <a:pt x="3142" y="340"/>
                    <a:pt x="3142" y="340"/>
                    <a:pt x="3142" y="340"/>
                  </a:cubicBezTo>
                  <a:moveTo>
                    <a:pt x="3175" y="340"/>
                  </a:moveTo>
                  <a:cubicBezTo>
                    <a:pt x="3169" y="340"/>
                    <a:pt x="3165" y="344"/>
                    <a:pt x="3166" y="350"/>
                  </a:cubicBezTo>
                  <a:cubicBezTo>
                    <a:pt x="3167" y="356"/>
                    <a:pt x="3174" y="360"/>
                    <a:pt x="3180" y="360"/>
                  </a:cubicBezTo>
                  <a:cubicBezTo>
                    <a:pt x="3187" y="360"/>
                    <a:pt x="3191" y="356"/>
                    <a:pt x="3190" y="350"/>
                  </a:cubicBezTo>
                  <a:cubicBezTo>
                    <a:pt x="3188" y="344"/>
                    <a:pt x="3182" y="340"/>
                    <a:pt x="3175" y="340"/>
                  </a:cubicBezTo>
                  <a:cubicBezTo>
                    <a:pt x="3175" y="340"/>
                    <a:pt x="3175" y="340"/>
                    <a:pt x="3175" y="340"/>
                  </a:cubicBezTo>
                  <a:moveTo>
                    <a:pt x="3209" y="340"/>
                  </a:moveTo>
                  <a:cubicBezTo>
                    <a:pt x="3202" y="340"/>
                    <a:pt x="3198" y="344"/>
                    <a:pt x="3200" y="350"/>
                  </a:cubicBezTo>
                  <a:cubicBezTo>
                    <a:pt x="3201" y="356"/>
                    <a:pt x="3208" y="360"/>
                    <a:pt x="3214" y="360"/>
                  </a:cubicBezTo>
                  <a:cubicBezTo>
                    <a:pt x="3221" y="360"/>
                    <a:pt x="3225" y="355"/>
                    <a:pt x="3223" y="350"/>
                  </a:cubicBezTo>
                  <a:cubicBezTo>
                    <a:pt x="3222" y="344"/>
                    <a:pt x="3215" y="340"/>
                    <a:pt x="3209" y="340"/>
                  </a:cubicBezTo>
                  <a:cubicBezTo>
                    <a:pt x="3209" y="340"/>
                    <a:pt x="3209" y="340"/>
                    <a:pt x="3209" y="340"/>
                  </a:cubicBezTo>
                  <a:moveTo>
                    <a:pt x="3242" y="339"/>
                  </a:moveTo>
                  <a:cubicBezTo>
                    <a:pt x="3236" y="339"/>
                    <a:pt x="3232" y="344"/>
                    <a:pt x="3233" y="350"/>
                  </a:cubicBezTo>
                  <a:cubicBezTo>
                    <a:pt x="3235" y="355"/>
                    <a:pt x="3241" y="360"/>
                    <a:pt x="3248" y="360"/>
                  </a:cubicBezTo>
                  <a:cubicBezTo>
                    <a:pt x="3254" y="360"/>
                    <a:pt x="3258" y="355"/>
                    <a:pt x="3257" y="349"/>
                  </a:cubicBezTo>
                  <a:cubicBezTo>
                    <a:pt x="3255" y="344"/>
                    <a:pt x="3249" y="339"/>
                    <a:pt x="3242" y="339"/>
                  </a:cubicBezTo>
                  <a:cubicBezTo>
                    <a:pt x="3242" y="339"/>
                    <a:pt x="3242" y="339"/>
                    <a:pt x="3242" y="339"/>
                  </a:cubicBezTo>
                  <a:moveTo>
                    <a:pt x="3276" y="339"/>
                  </a:moveTo>
                  <a:cubicBezTo>
                    <a:pt x="3269" y="339"/>
                    <a:pt x="3265" y="344"/>
                    <a:pt x="3267" y="349"/>
                  </a:cubicBezTo>
                  <a:cubicBezTo>
                    <a:pt x="3268" y="355"/>
                    <a:pt x="3275" y="360"/>
                    <a:pt x="3282" y="360"/>
                  </a:cubicBezTo>
                  <a:cubicBezTo>
                    <a:pt x="3288" y="360"/>
                    <a:pt x="3292" y="355"/>
                    <a:pt x="3290" y="349"/>
                  </a:cubicBezTo>
                  <a:cubicBezTo>
                    <a:pt x="3289" y="344"/>
                    <a:pt x="3282" y="339"/>
                    <a:pt x="3276" y="339"/>
                  </a:cubicBezTo>
                  <a:cubicBezTo>
                    <a:pt x="3276" y="339"/>
                    <a:pt x="3276" y="339"/>
                    <a:pt x="3276" y="339"/>
                  </a:cubicBezTo>
                  <a:moveTo>
                    <a:pt x="3310" y="339"/>
                  </a:moveTo>
                  <a:cubicBezTo>
                    <a:pt x="3304" y="339"/>
                    <a:pt x="3300" y="343"/>
                    <a:pt x="3302" y="349"/>
                  </a:cubicBezTo>
                  <a:cubicBezTo>
                    <a:pt x="3303" y="355"/>
                    <a:pt x="3310" y="359"/>
                    <a:pt x="3317" y="359"/>
                  </a:cubicBezTo>
                  <a:cubicBezTo>
                    <a:pt x="3323" y="359"/>
                    <a:pt x="3327" y="355"/>
                    <a:pt x="3325" y="349"/>
                  </a:cubicBezTo>
                  <a:cubicBezTo>
                    <a:pt x="3324" y="343"/>
                    <a:pt x="3317" y="339"/>
                    <a:pt x="3311" y="339"/>
                  </a:cubicBezTo>
                  <a:cubicBezTo>
                    <a:pt x="3311" y="339"/>
                    <a:pt x="3310" y="339"/>
                    <a:pt x="3310" y="339"/>
                  </a:cubicBezTo>
                  <a:moveTo>
                    <a:pt x="3344" y="339"/>
                  </a:moveTo>
                  <a:cubicBezTo>
                    <a:pt x="3337" y="339"/>
                    <a:pt x="3333" y="343"/>
                    <a:pt x="3335" y="349"/>
                  </a:cubicBezTo>
                  <a:cubicBezTo>
                    <a:pt x="3337" y="355"/>
                    <a:pt x="3344" y="359"/>
                    <a:pt x="3350" y="359"/>
                  </a:cubicBezTo>
                  <a:cubicBezTo>
                    <a:pt x="3357" y="359"/>
                    <a:pt x="3361" y="354"/>
                    <a:pt x="3359" y="349"/>
                  </a:cubicBezTo>
                  <a:cubicBezTo>
                    <a:pt x="3357" y="343"/>
                    <a:pt x="3350" y="339"/>
                    <a:pt x="3344" y="339"/>
                  </a:cubicBezTo>
                  <a:cubicBezTo>
                    <a:pt x="3344" y="339"/>
                    <a:pt x="3344" y="339"/>
                    <a:pt x="3344" y="339"/>
                  </a:cubicBezTo>
                  <a:moveTo>
                    <a:pt x="3377" y="338"/>
                  </a:moveTo>
                  <a:cubicBezTo>
                    <a:pt x="3370" y="338"/>
                    <a:pt x="3367" y="343"/>
                    <a:pt x="3368" y="349"/>
                  </a:cubicBezTo>
                  <a:cubicBezTo>
                    <a:pt x="3370" y="354"/>
                    <a:pt x="3377" y="359"/>
                    <a:pt x="3383" y="359"/>
                  </a:cubicBezTo>
                  <a:cubicBezTo>
                    <a:pt x="3390" y="359"/>
                    <a:pt x="3394" y="354"/>
                    <a:pt x="3392" y="348"/>
                  </a:cubicBezTo>
                  <a:cubicBezTo>
                    <a:pt x="3390" y="343"/>
                    <a:pt x="3383" y="338"/>
                    <a:pt x="3377" y="338"/>
                  </a:cubicBezTo>
                  <a:cubicBezTo>
                    <a:pt x="3377" y="338"/>
                    <a:pt x="3377" y="338"/>
                    <a:pt x="3377" y="338"/>
                  </a:cubicBezTo>
                  <a:moveTo>
                    <a:pt x="3410" y="338"/>
                  </a:moveTo>
                  <a:cubicBezTo>
                    <a:pt x="3404" y="338"/>
                    <a:pt x="3400" y="343"/>
                    <a:pt x="3402" y="348"/>
                  </a:cubicBezTo>
                  <a:cubicBezTo>
                    <a:pt x="3404" y="354"/>
                    <a:pt x="3410" y="359"/>
                    <a:pt x="3417" y="359"/>
                  </a:cubicBezTo>
                  <a:cubicBezTo>
                    <a:pt x="3424" y="358"/>
                    <a:pt x="3427" y="354"/>
                    <a:pt x="3425" y="348"/>
                  </a:cubicBezTo>
                  <a:cubicBezTo>
                    <a:pt x="3423" y="343"/>
                    <a:pt x="3417" y="338"/>
                    <a:pt x="3410" y="338"/>
                  </a:cubicBezTo>
                  <a:cubicBezTo>
                    <a:pt x="3410" y="338"/>
                    <a:pt x="3410" y="338"/>
                    <a:pt x="3410" y="338"/>
                  </a:cubicBezTo>
                  <a:moveTo>
                    <a:pt x="3444" y="338"/>
                  </a:moveTo>
                  <a:cubicBezTo>
                    <a:pt x="3437" y="338"/>
                    <a:pt x="3433" y="342"/>
                    <a:pt x="3435" y="348"/>
                  </a:cubicBezTo>
                  <a:cubicBezTo>
                    <a:pt x="3437" y="354"/>
                    <a:pt x="3444" y="358"/>
                    <a:pt x="3451" y="358"/>
                  </a:cubicBezTo>
                  <a:cubicBezTo>
                    <a:pt x="3457" y="358"/>
                    <a:pt x="3461" y="354"/>
                    <a:pt x="3459" y="348"/>
                  </a:cubicBezTo>
                  <a:cubicBezTo>
                    <a:pt x="3457" y="342"/>
                    <a:pt x="3450" y="338"/>
                    <a:pt x="3444" y="338"/>
                  </a:cubicBezTo>
                  <a:cubicBezTo>
                    <a:pt x="3444" y="338"/>
                    <a:pt x="3444" y="338"/>
                    <a:pt x="3444" y="338"/>
                  </a:cubicBezTo>
                  <a:moveTo>
                    <a:pt x="3477" y="337"/>
                  </a:moveTo>
                  <a:cubicBezTo>
                    <a:pt x="3471" y="338"/>
                    <a:pt x="3467" y="342"/>
                    <a:pt x="3469" y="348"/>
                  </a:cubicBezTo>
                  <a:cubicBezTo>
                    <a:pt x="3471" y="354"/>
                    <a:pt x="3478" y="358"/>
                    <a:pt x="3485" y="358"/>
                  </a:cubicBezTo>
                  <a:cubicBezTo>
                    <a:pt x="3491" y="358"/>
                    <a:pt x="3495" y="353"/>
                    <a:pt x="3493" y="348"/>
                  </a:cubicBezTo>
                  <a:cubicBezTo>
                    <a:pt x="3491" y="342"/>
                    <a:pt x="3484" y="337"/>
                    <a:pt x="3478" y="337"/>
                  </a:cubicBezTo>
                  <a:cubicBezTo>
                    <a:pt x="3478" y="337"/>
                    <a:pt x="3478" y="337"/>
                    <a:pt x="3477" y="337"/>
                  </a:cubicBezTo>
                  <a:moveTo>
                    <a:pt x="3511" y="337"/>
                  </a:moveTo>
                  <a:cubicBezTo>
                    <a:pt x="3504" y="337"/>
                    <a:pt x="3501" y="342"/>
                    <a:pt x="3503" y="348"/>
                  </a:cubicBezTo>
                  <a:cubicBezTo>
                    <a:pt x="3505" y="353"/>
                    <a:pt x="3512" y="358"/>
                    <a:pt x="3518" y="358"/>
                  </a:cubicBezTo>
                  <a:cubicBezTo>
                    <a:pt x="3525" y="358"/>
                    <a:pt x="3528" y="353"/>
                    <a:pt x="3526" y="347"/>
                  </a:cubicBezTo>
                  <a:cubicBezTo>
                    <a:pt x="3524" y="342"/>
                    <a:pt x="3517" y="337"/>
                    <a:pt x="3511" y="337"/>
                  </a:cubicBezTo>
                  <a:cubicBezTo>
                    <a:pt x="3511" y="337"/>
                    <a:pt x="3511" y="337"/>
                    <a:pt x="3511" y="337"/>
                  </a:cubicBezTo>
                  <a:moveTo>
                    <a:pt x="3544" y="337"/>
                  </a:moveTo>
                  <a:cubicBezTo>
                    <a:pt x="3538" y="337"/>
                    <a:pt x="3534" y="342"/>
                    <a:pt x="3536" y="347"/>
                  </a:cubicBezTo>
                  <a:cubicBezTo>
                    <a:pt x="3539" y="353"/>
                    <a:pt x="3546" y="358"/>
                    <a:pt x="3552" y="358"/>
                  </a:cubicBezTo>
                  <a:cubicBezTo>
                    <a:pt x="3559" y="357"/>
                    <a:pt x="3562" y="353"/>
                    <a:pt x="3560" y="347"/>
                  </a:cubicBezTo>
                  <a:cubicBezTo>
                    <a:pt x="3558" y="342"/>
                    <a:pt x="3551" y="337"/>
                    <a:pt x="3544" y="337"/>
                  </a:cubicBezTo>
                  <a:cubicBezTo>
                    <a:pt x="3544" y="337"/>
                    <a:pt x="3544" y="337"/>
                    <a:pt x="3544" y="337"/>
                  </a:cubicBezTo>
                  <a:moveTo>
                    <a:pt x="3577" y="337"/>
                  </a:moveTo>
                  <a:cubicBezTo>
                    <a:pt x="3571" y="337"/>
                    <a:pt x="3568" y="341"/>
                    <a:pt x="3570" y="347"/>
                  </a:cubicBezTo>
                  <a:cubicBezTo>
                    <a:pt x="3572" y="353"/>
                    <a:pt x="3579" y="357"/>
                    <a:pt x="3586" y="357"/>
                  </a:cubicBezTo>
                  <a:cubicBezTo>
                    <a:pt x="3592" y="357"/>
                    <a:pt x="3596" y="353"/>
                    <a:pt x="3593" y="347"/>
                  </a:cubicBezTo>
                  <a:cubicBezTo>
                    <a:pt x="3591" y="341"/>
                    <a:pt x="3584" y="337"/>
                    <a:pt x="3578" y="337"/>
                  </a:cubicBezTo>
                  <a:cubicBezTo>
                    <a:pt x="3578" y="337"/>
                    <a:pt x="3578" y="337"/>
                    <a:pt x="3577" y="337"/>
                  </a:cubicBezTo>
                  <a:moveTo>
                    <a:pt x="3611" y="336"/>
                  </a:moveTo>
                  <a:cubicBezTo>
                    <a:pt x="3605" y="337"/>
                    <a:pt x="3601" y="341"/>
                    <a:pt x="3604" y="347"/>
                  </a:cubicBezTo>
                  <a:cubicBezTo>
                    <a:pt x="3606" y="352"/>
                    <a:pt x="3613" y="357"/>
                    <a:pt x="3619" y="357"/>
                  </a:cubicBezTo>
                  <a:cubicBezTo>
                    <a:pt x="3626" y="357"/>
                    <a:pt x="3629" y="352"/>
                    <a:pt x="3627" y="347"/>
                  </a:cubicBezTo>
                  <a:cubicBezTo>
                    <a:pt x="3625" y="341"/>
                    <a:pt x="3618" y="336"/>
                    <a:pt x="3611" y="336"/>
                  </a:cubicBezTo>
                  <a:cubicBezTo>
                    <a:pt x="3611" y="336"/>
                    <a:pt x="3611" y="336"/>
                    <a:pt x="3611" y="336"/>
                  </a:cubicBezTo>
                  <a:moveTo>
                    <a:pt x="3647" y="336"/>
                  </a:moveTo>
                  <a:cubicBezTo>
                    <a:pt x="3640" y="336"/>
                    <a:pt x="3637" y="341"/>
                    <a:pt x="3639" y="347"/>
                  </a:cubicBezTo>
                  <a:cubicBezTo>
                    <a:pt x="3642" y="352"/>
                    <a:pt x="3649" y="357"/>
                    <a:pt x="3655" y="357"/>
                  </a:cubicBezTo>
                  <a:cubicBezTo>
                    <a:pt x="3662" y="357"/>
                    <a:pt x="3665" y="352"/>
                    <a:pt x="3663" y="346"/>
                  </a:cubicBezTo>
                  <a:cubicBezTo>
                    <a:pt x="3660" y="341"/>
                    <a:pt x="3653" y="336"/>
                    <a:pt x="3647" y="336"/>
                  </a:cubicBezTo>
                  <a:cubicBezTo>
                    <a:pt x="3647" y="336"/>
                    <a:pt x="3647" y="336"/>
                    <a:pt x="3647" y="336"/>
                  </a:cubicBezTo>
                  <a:moveTo>
                    <a:pt x="3680" y="336"/>
                  </a:moveTo>
                  <a:cubicBezTo>
                    <a:pt x="3673" y="336"/>
                    <a:pt x="3670" y="341"/>
                    <a:pt x="3672" y="346"/>
                  </a:cubicBezTo>
                  <a:cubicBezTo>
                    <a:pt x="3675" y="352"/>
                    <a:pt x="3682" y="357"/>
                    <a:pt x="3689" y="356"/>
                  </a:cubicBezTo>
                  <a:cubicBezTo>
                    <a:pt x="3695" y="356"/>
                    <a:pt x="3698" y="352"/>
                    <a:pt x="3696" y="346"/>
                  </a:cubicBezTo>
                  <a:cubicBezTo>
                    <a:pt x="3693" y="340"/>
                    <a:pt x="3686" y="336"/>
                    <a:pt x="3680" y="336"/>
                  </a:cubicBezTo>
                  <a:cubicBezTo>
                    <a:pt x="3680" y="336"/>
                    <a:pt x="3680" y="336"/>
                    <a:pt x="3680" y="336"/>
                  </a:cubicBezTo>
                  <a:moveTo>
                    <a:pt x="3713" y="336"/>
                  </a:moveTo>
                  <a:cubicBezTo>
                    <a:pt x="3706" y="336"/>
                    <a:pt x="3703" y="340"/>
                    <a:pt x="3706" y="346"/>
                  </a:cubicBezTo>
                  <a:cubicBezTo>
                    <a:pt x="3708" y="352"/>
                    <a:pt x="3716" y="356"/>
                    <a:pt x="3722" y="356"/>
                  </a:cubicBezTo>
                  <a:cubicBezTo>
                    <a:pt x="3729" y="356"/>
                    <a:pt x="3732" y="352"/>
                    <a:pt x="3729" y="346"/>
                  </a:cubicBezTo>
                  <a:cubicBezTo>
                    <a:pt x="3727" y="340"/>
                    <a:pt x="3719" y="336"/>
                    <a:pt x="3713" y="336"/>
                  </a:cubicBezTo>
                  <a:cubicBezTo>
                    <a:pt x="3713" y="336"/>
                    <a:pt x="3713" y="336"/>
                    <a:pt x="3713" y="336"/>
                  </a:cubicBezTo>
                  <a:moveTo>
                    <a:pt x="3746" y="335"/>
                  </a:moveTo>
                  <a:cubicBezTo>
                    <a:pt x="3740" y="335"/>
                    <a:pt x="3737" y="340"/>
                    <a:pt x="3739" y="346"/>
                  </a:cubicBezTo>
                  <a:cubicBezTo>
                    <a:pt x="3742" y="351"/>
                    <a:pt x="3749" y="356"/>
                    <a:pt x="3756" y="356"/>
                  </a:cubicBezTo>
                  <a:cubicBezTo>
                    <a:pt x="3762" y="356"/>
                    <a:pt x="3766" y="351"/>
                    <a:pt x="3763" y="346"/>
                  </a:cubicBezTo>
                  <a:cubicBezTo>
                    <a:pt x="3760" y="340"/>
                    <a:pt x="3753" y="335"/>
                    <a:pt x="3746" y="335"/>
                  </a:cubicBezTo>
                  <a:cubicBezTo>
                    <a:pt x="3746" y="335"/>
                    <a:pt x="3746" y="335"/>
                    <a:pt x="3746" y="335"/>
                  </a:cubicBezTo>
                  <a:moveTo>
                    <a:pt x="3780" y="335"/>
                  </a:moveTo>
                  <a:cubicBezTo>
                    <a:pt x="3774" y="335"/>
                    <a:pt x="3771" y="340"/>
                    <a:pt x="3773" y="346"/>
                  </a:cubicBezTo>
                  <a:cubicBezTo>
                    <a:pt x="3776" y="351"/>
                    <a:pt x="3783" y="356"/>
                    <a:pt x="3790" y="356"/>
                  </a:cubicBezTo>
                  <a:cubicBezTo>
                    <a:pt x="3796" y="356"/>
                    <a:pt x="3800" y="351"/>
                    <a:pt x="3797" y="345"/>
                  </a:cubicBezTo>
                  <a:cubicBezTo>
                    <a:pt x="3794" y="340"/>
                    <a:pt x="3787" y="335"/>
                    <a:pt x="3780" y="335"/>
                  </a:cubicBezTo>
                  <a:cubicBezTo>
                    <a:pt x="3780" y="335"/>
                    <a:pt x="3780" y="335"/>
                    <a:pt x="3780" y="335"/>
                  </a:cubicBezTo>
                  <a:moveTo>
                    <a:pt x="4149" y="335"/>
                  </a:moveTo>
                  <a:cubicBezTo>
                    <a:pt x="4143" y="335"/>
                    <a:pt x="4140" y="340"/>
                    <a:pt x="4144" y="345"/>
                  </a:cubicBezTo>
                  <a:cubicBezTo>
                    <a:pt x="4147" y="351"/>
                    <a:pt x="4155" y="356"/>
                    <a:pt x="4162" y="356"/>
                  </a:cubicBezTo>
                  <a:cubicBezTo>
                    <a:pt x="4168" y="356"/>
                    <a:pt x="4171" y="351"/>
                    <a:pt x="4167" y="345"/>
                  </a:cubicBezTo>
                  <a:cubicBezTo>
                    <a:pt x="4164" y="340"/>
                    <a:pt x="4156" y="335"/>
                    <a:pt x="4149" y="335"/>
                  </a:cubicBezTo>
                  <a:cubicBezTo>
                    <a:pt x="4149" y="335"/>
                    <a:pt x="4149" y="335"/>
                    <a:pt x="4149" y="335"/>
                  </a:cubicBezTo>
                  <a:moveTo>
                    <a:pt x="3813" y="335"/>
                  </a:moveTo>
                  <a:cubicBezTo>
                    <a:pt x="3807" y="335"/>
                    <a:pt x="3804" y="340"/>
                    <a:pt x="3807" y="345"/>
                  </a:cubicBezTo>
                  <a:cubicBezTo>
                    <a:pt x="3809" y="351"/>
                    <a:pt x="3817" y="356"/>
                    <a:pt x="3823" y="355"/>
                  </a:cubicBezTo>
                  <a:cubicBezTo>
                    <a:pt x="3830" y="355"/>
                    <a:pt x="3833" y="351"/>
                    <a:pt x="3830" y="345"/>
                  </a:cubicBezTo>
                  <a:cubicBezTo>
                    <a:pt x="3827" y="339"/>
                    <a:pt x="3820" y="335"/>
                    <a:pt x="3814" y="335"/>
                  </a:cubicBezTo>
                  <a:cubicBezTo>
                    <a:pt x="3814" y="335"/>
                    <a:pt x="3813" y="335"/>
                    <a:pt x="3813" y="335"/>
                  </a:cubicBezTo>
                  <a:moveTo>
                    <a:pt x="3847" y="335"/>
                  </a:moveTo>
                  <a:cubicBezTo>
                    <a:pt x="3840" y="335"/>
                    <a:pt x="3837" y="339"/>
                    <a:pt x="3840" y="345"/>
                  </a:cubicBezTo>
                  <a:cubicBezTo>
                    <a:pt x="3843" y="351"/>
                    <a:pt x="3851" y="355"/>
                    <a:pt x="3857" y="355"/>
                  </a:cubicBezTo>
                  <a:cubicBezTo>
                    <a:pt x="3864" y="355"/>
                    <a:pt x="3867" y="351"/>
                    <a:pt x="3864" y="345"/>
                  </a:cubicBezTo>
                  <a:cubicBezTo>
                    <a:pt x="3861" y="339"/>
                    <a:pt x="3853" y="335"/>
                    <a:pt x="3847" y="335"/>
                  </a:cubicBezTo>
                  <a:cubicBezTo>
                    <a:pt x="3847" y="335"/>
                    <a:pt x="3847" y="335"/>
                    <a:pt x="3847" y="335"/>
                  </a:cubicBezTo>
                  <a:moveTo>
                    <a:pt x="3880" y="334"/>
                  </a:moveTo>
                  <a:cubicBezTo>
                    <a:pt x="3874" y="334"/>
                    <a:pt x="3871" y="339"/>
                    <a:pt x="3874" y="345"/>
                  </a:cubicBezTo>
                  <a:cubicBezTo>
                    <a:pt x="3877" y="350"/>
                    <a:pt x="3884" y="355"/>
                    <a:pt x="3891" y="355"/>
                  </a:cubicBezTo>
                  <a:cubicBezTo>
                    <a:pt x="3897" y="355"/>
                    <a:pt x="3900" y="350"/>
                    <a:pt x="3897" y="345"/>
                  </a:cubicBezTo>
                  <a:cubicBezTo>
                    <a:pt x="3894" y="339"/>
                    <a:pt x="3887" y="334"/>
                    <a:pt x="3880" y="334"/>
                  </a:cubicBezTo>
                  <a:cubicBezTo>
                    <a:pt x="3880" y="334"/>
                    <a:pt x="3880" y="334"/>
                    <a:pt x="3880" y="334"/>
                  </a:cubicBezTo>
                  <a:moveTo>
                    <a:pt x="3914" y="334"/>
                  </a:moveTo>
                  <a:cubicBezTo>
                    <a:pt x="3907" y="334"/>
                    <a:pt x="3904" y="339"/>
                    <a:pt x="3907" y="345"/>
                  </a:cubicBezTo>
                  <a:cubicBezTo>
                    <a:pt x="3910" y="350"/>
                    <a:pt x="3918" y="355"/>
                    <a:pt x="3924" y="355"/>
                  </a:cubicBezTo>
                  <a:cubicBezTo>
                    <a:pt x="3931" y="355"/>
                    <a:pt x="3934" y="350"/>
                    <a:pt x="3931" y="344"/>
                  </a:cubicBezTo>
                  <a:cubicBezTo>
                    <a:pt x="3928" y="339"/>
                    <a:pt x="3920" y="334"/>
                    <a:pt x="3914" y="334"/>
                  </a:cubicBezTo>
                  <a:cubicBezTo>
                    <a:pt x="3914" y="334"/>
                    <a:pt x="3914" y="334"/>
                    <a:pt x="3914" y="334"/>
                  </a:cubicBezTo>
                  <a:moveTo>
                    <a:pt x="407" y="333"/>
                  </a:moveTo>
                  <a:cubicBezTo>
                    <a:pt x="401" y="333"/>
                    <a:pt x="392" y="338"/>
                    <a:pt x="388" y="343"/>
                  </a:cubicBezTo>
                  <a:cubicBezTo>
                    <a:pt x="383" y="349"/>
                    <a:pt x="385" y="353"/>
                    <a:pt x="391" y="353"/>
                  </a:cubicBezTo>
                  <a:cubicBezTo>
                    <a:pt x="398" y="353"/>
                    <a:pt x="407" y="349"/>
                    <a:pt x="411" y="343"/>
                  </a:cubicBezTo>
                  <a:cubicBezTo>
                    <a:pt x="415" y="338"/>
                    <a:pt x="414" y="333"/>
                    <a:pt x="407" y="333"/>
                  </a:cubicBezTo>
                  <a:cubicBezTo>
                    <a:pt x="407" y="333"/>
                    <a:pt x="407" y="333"/>
                    <a:pt x="407" y="333"/>
                  </a:cubicBezTo>
                  <a:moveTo>
                    <a:pt x="4115" y="333"/>
                  </a:moveTo>
                  <a:cubicBezTo>
                    <a:pt x="4109" y="333"/>
                    <a:pt x="4106" y="338"/>
                    <a:pt x="4110" y="343"/>
                  </a:cubicBezTo>
                  <a:cubicBezTo>
                    <a:pt x="4113" y="349"/>
                    <a:pt x="4121" y="354"/>
                    <a:pt x="4128" y="354"/>
                  </a:cubicBezTo>
                  <a:cubicBezTo>
                    <a:pt x="4134" y="354"/>
                    <a:pt x="4137" y="349"/>
                    <a:pt x="4133" y="343"/>
                  </a:cubicBezTo>
                  <a:cubicBezTo>
                    <a:pt x="4130" y="338"/>
                    <a:pt x="4122" y="333"/>
                    <a:pt x="4115" y="333"/>
                  </a:cubicBezTo>
                  <a:cubicBezTo>
                    <a:pt x="4115" y="333"/>
                    <a:pt x="4115" y="333"/>
                    <a:pt x="4115" y="333"/>
                  </a:cubicBezTo>
                  <a:moveTo>
                    <a:pt x="440" y="333"/>
                  </a:moveTo>
                  <a:cubicBezTo>
                    <a:pt x="434" y="333"/>
                    <a:pt x="425" y="337"/>
                    <a:pt x="421" y="343"/>
                  </a:cubicBezTo>
                  <a:cubicBezTo>
                    <a:pt x="416" y="349"/>
                    <a:pt x="418" y="353"/>
                    <a:pt x="425" y="353"/>
                  </a:cubicBezTo>
                  <a:cubicBezTo>
                    <a:pt x="431" y="353"/>
                    <a:pt x="440" y="348"/>
                    <a:pt x="444" y="343"/>
                  </a:cubicBezTo>
                  <a:cubicBezTo>
                    <a:pt x="449" y="337"/>
                    <a:pt x="447" y="333"/>
                    <a:pt x="440" y="333"/>
                  </a:cubicBezTo>
                  <a:cubicBezTo>
                    <a:pt x="440" y="333"/>
                    <a:pt x="440" y="333"/>
                    <a:pt x="440" y="333"/>
                  </a:cubicBezTo>
                  <a:moveTo>
                    <a:pt x="474" y="333"/>
                  </a:moveTo>
                  <a:cubicBezTo>
                    <a:pt x="467" y="333"/>
                    <a:pt x="459" y="337"/>
                    <a:pt x="454" y="343"/>
                  </a:cubicBezTo>
                  <a:cubicBezTo>
                    <a:pt x="450" y="348"/>
                    <a:pt x="452" y="353"/>
                    <a:pt x="458" y="353"/>
                  </a:cubicBezTo>
                  <a:cubicBezTo>
                    <a:pt x="465" y="353"/>
                    <a:pt x="474" y="348"/>
                    <a:pt x="478" y="343"/>
                  </a:cubicBezTo>
                  <a:cubicBezTo>
                    <a:pt x="482" y="337"/>
                    <a:pt x="480" y="333"/>
                    <a:pt x="474" y="333"/>
                  </a:cubicBezTo>
                  <a:cubicBezTo>
                    <a:pt x="474" y="333"/>
                    <a:pt x="474" y="333"/>
                    <a:pt x="474" y="333"/>
                  </a:cubicBezTo>
                  <a:moveTo>
                    <a:pt x="507" y="332"/>
                  </a:moveTo>
                  <a:cubicBezTo>
                    <a:pt x="500" y="332"/>
                    <a:pt x="492" y="337"/>
                    <a:pt x="488" y="343"/>
                  </a:cubicBezTo>
                  <a:cubicBezTo>
                    <a:pt x="483" y="348"/>
                    <a:pt x="485" y="353"/>
                    <a:pt x="492" y="353"/>
                  </a:cubicBezTo>
                  <a:cubicBezTo>
                    <a:pt x="498" y="353"/>
                    <a:pt x="507" y="348"/>
                    <a:pt x="511" y="342"/>
                  </a:cubicBezTo>
                  <a:cubicBezTo>
                    <a:pt x="515" y="337"/>
                    <a:pt x="513" y="332"/>
                    <a:pt x="507" y="332"/>
                  </a:cubicBezTo>
                  <a:cubicBezTo>
                    <a:pt x="507" y="332"/>
                    <a:pt x="507" y="332"/>
                    <a:pt x="507" y="332"/>
                  </a:cubicBezTo>
                  <a:moveTo>
                    <a:pt x="540" y="332"/>
                  </a:moveTo>
                  <a:cubicBezTo>
                    <a:pt x="534" y="332"/>
                    <a:pt x="525" y="337"/>
                    <a:pt x="521" y="342"/>
                  </a:cubicBezTo>
                  <a:cubicBezTo>
                    <a:pt x="517" y="348"/>
                    <a:pt x="519" y="352"/>
                    <a:pt x="526" y="352"/>
                  </a:cubicBezTo>
                  <a:cubicBezTo>
                    <a:pt x="532" y="352"/>
                    <a:pt x="541" y="348"/>
                    <a:pt x="545" y="342"/>
                  </a:cubicBezTo>
                  <a:cubicBezTo>
                    <a:pt x="549" y="337"/>
                    <a:pt x="547" y="332"/>
                    <a:pt x="541" y="332"/>
                  </a:cubicBezTo>
                  <a:cubicBezTo>
                    <a:pt x="540" y="332"/>
                    <a:pt x="540" y="332"/>
                    <a:pt x="540" y="332"/>
                  </a:cubicBezTo>
                  <a:moveTo>
                    <a:pt x="575" y="332"/>
                  </a:moveTo>
                  <a:cubicBezTo>
                    <a:pt x="568" y="332"/>
                    <a:pt x="560" y="336"/>
                    <a:pt x="556" y="342"/>
                  </a:cubicBezTo>
                  <a:cubicBezTo>
                    <a:pt x="552" y="348"/>
                    <a:pt x="554" y="352"/>
                    <a:pt x="560" y="352"/>
                  </a:cubicBezTo>
                  <a:cubicBezTo>
                    <a:pt x="567" y="352"/>
                    <a:pt x="575" y="347"/>
                    <a:pt x="579" y="342"/>
                  </a:cubicBezTo>
                  <a:cubicBezTo>
                    <a:pt x="583" y="336"/>
                    <a:pt x="581" y="332"/>
                    <a:pt x="575" y="332"/>
                  </a:cubicBezTo>
                  <a:cubicBezTo>
                    <a:pt x="575" y="332"/>
                    <a:pt x="575" y="332"/>
                    <a:pt x="575" y="332"/>
                  </a:cubicBezTo>
                  <a:moveTo>
                    <a:pt x="608" y="332"/>
                  </a:moveTo>
                  <a:cubicBezTo>
                    <a:pt x="602" y="332"/>
                    <a:pt x="593" y="336"/>
                    <a:pt x="589" y="342"/>
                  </a:cubicBezTo>
                  <a:cubicBezTo>
                    <a:pt x="585" y="347"/>
                    <a:pt x="587" y="352"/>
                    <a:pt x="594" y="352"/>
                  </a:cubicBezTo>
                  <a:cubicBezTo>
                    <a:pt x="600" y="352"/>
                    <a:pt x="609" y="347"/>
                    <a:pt x="613" y="342"/>
                  </a:cubicBezTo>
                  <a:cubicBezTo>
                    <a:pt x="617" y="336"/>
                    <a:pt x="615" y="332"/>
                    <a:pt x="608" y="332"/>
                  </a:cubicBezTo>
                  <a:cubicBezTo>
                    <a:pt x="608" y="332"/>
                    <a:pt x="608" y="332"/>
                    <a:pt x="608" y="332"/>
                  </a:cubicBezTo>
                  <a:moveTo>
                    <a:pt x="642" y="331"/>
                  </a:moveTo>
                  <a:cubicBezTo>
                    <a:pt x="635" y="331"/>
                    <a:pt x="627" y="336"/>
                    <a:pt x="623" y="341"/>
                  </a:cubicBezTo>
                  <a:cubicBezTo>
                    <a:pt x="619" y="347"/>
                    <a:pt x="621" y="352"/>
                    <a:pt x="627" y="352"/>
                  </a:cubicBezTo>
                  <a:cubicBezTo>
                    <a:pt x="634" y="351"/>
                    <a:pt x="642" y="347"/>
                    <a:pt x="646" y="341"/>
                  </a:cubicBezTo>
                  <a:cubicBezTo>
                    <a:pt x="650" y="336"/>
                    <a:pt x="648" y="331"/>
                    <a:pt x="642" y="331"/>
                  </a:cubicBezTo>
                  <a:cubicBezTo>
                    <a:pt x="642" y="331"/>
                    <a:pt x="642" y="331"/>
                    <a:pt x="642" y="331"/>
                  </a:cubicBezTo>
                  <a:moveTo>
                    <a:pt x="675" y="331"/>
                  </a:moveTo>
                  <a:cubicBezTo>
                    <a:pt x="669" y="331"/>
                    <a:pt x="660" y="336"/>
                    <a:pt x="657" y="341"/>
                  </a:cubicBezTo>
                  <a:cubicBezTo>
                    <a:pt x="653" y="347"/>
                    <a:pt x="655" y="351"/>
                    <a:pt x="661" y="351"/>
                  </a:cubicBezTo>
                  <a:cubicBezTo>
                    <a:pt x="668" y="351"/>
                    <a:pt x="676" y="347"/>
                    <a:pt x="680" y="341"/>
                  </a:cubicBezTo>
                  <a:cubicBezTo>
                    <a:pt x="684" y="335"/>
                    <a:pt x="682" y="331"/>
                    <a:pt x="675" y="331"/>
                  </a:cubicBezTo>
                  <a:cubicBezTo>
                    <a:pt x="675" y="331"/>
                    <a:pt x="675" y="331"/>
                    <a:pt x="675" y="331"/>
                  </a:cubicBezTo>
                  <a:moveTo>
                    <a:pt x="708" y="331"/>
                  </a:moveTo>
                  <a:cubicBezTo>
                    <a:pt x="702" y="331"/>
                    <a:pt x="694" y="335"/>
                    <a:pt x="690" y="341"/>
                  </a:cubicBezTo>
                  <a:cubicBezTo>
                    <a:pt x="686" y="347"/>
                    <a:pt x="688" y="351"/>
                    <a:pt x="695" y="351"/>
                  </a:cubicBezTo>
                  <a:cubicBezTo>
                    <a:pt x="701" y="351"/>
                    <a:pt x="710" y="346"/>
                    <a:pt x="713" y="341"/>
                  </a:cubicBezTo>
                  <a:cubicBezTo>
                    <a:pt x="717" y="335"/>
                    <a:pt x="715" y="331"/>
                    <a:pt x="709" y="331"/>
                  </a:cubicBezTo>
                  <a:cubicBezTo>
                    <a:pt x="709" y="331"/>
                    <a:pt x="709" y="331"/>
                    <a:pt x="708" y="331"/>
                  </a:cubicBezTo>
                  <a:moveTo>
                    <a:pt x="742" y="330"/>
                  </a:moveTo>
                  <a:cubicBezTo>
                    <a:pt x="735" y="331"/>
                    <a:pt x="727" y="335"/>
                    <a:pt x="723" y="341"/>
                  </a:cubicBezTo>
                  <a:cubicBezTo>
                    <a:pt x="720" y="346"/>
                    <a:pt x="722" y="351"/>
                    <a:pt x="729" y="351"/>
                  </a:cubicBezTo>
                  <a:cubicBezTo>
                    <a:pt x="735" y="351"/>
                    <a:pt x="743" y="346"/>
                    <a:pt x="747" y="341"/>
                  </a:cubicBezTo>
                  <a:cubicBezTo>
                    <a:pt x="751" y="335"/>
                    <a:pt x="748" y="330"/>
                    <a:pt x="742" y="330"/>
                  </a:cubicBezTo>
                  <a:cubicBezTo>
                    <a:pt x="742" y="330"/>
                    <a:pt x="742" y="330"/>
                    <a:pt x="742" y="330"/>
                  </a:cubicBezTo>
                  <a:moveTo>
                    <a:pt x="775" y="330"/>
                  </a:moveTo>
                  <a:cubicBezTo>
                    <a:pt x="769" y="330"/>
                    <a:pt x="760" y="335"/>
                    <a:pt x="757" y="340"/>
                  </a:cubicBezTo>
                  <a:cubicBezTo>
                    <a:pt x="753" y="346"/>
                    <a:pt x="755" y="351"/>
                    <a:pt x="762" y="350"/>
                  </a:cubicBezTo>
                  <a:cubicBezTo>
                    <a:pt x="768" y="350"/>
                    <a:pt x="777" y="346"/>
                    <a:pt x="780" y="340"/>
                  </a:cubicBezTo>
                  <a:cubicBezTo>
                    <a:pt x="784" y="335"/>
                    <a:pt x="782" y="330"/>
                    <a:pt x="775" y="330"/>
                  </a:cubicBezTo>
                  <a:cubicBezTo>
                    <a:pt x="775" y="330"/>
                    <a:pt x="775" y="330"/>
                    <a:pt x="775" y="330"/>
                  </a:cubicBezTo>
                  <a:moveTo>
                    <a:pt x="808" y="330"/>
                  </a:moveTo>
                  <a:cubicBezTo>
                    <a:pt x="802" y="330"/>
                    <a:pt x="794" y="335"/>
                    <a:pt x="790" y="340"/>
                  </a:cubicBezTo>
                  <a:cubicBezTo>
                    <a:pt x="787" y="346"/>
                    <a:pt x="789" y="350"/>
                    <a:pt x="796" y="350"/>
                  </a:cubicBezTo>
                  <a:cubicBezTo>
                    <a:pt x="802" y="350"/>
                    <a:pt x="810" y="346"/>
                    <a:pt x="814" y="340"/>
                  </a:cubicBezTo>
                  <a:cubicBezTo>
                    <a:pt x="817" y="334"/>
                    <a:pt x="815" y="330"/>
                    <a:pt x="809" y="330"/>
                  </a:cubicBezTo>
                  <a:cubicBezTo>
                    <a:pt x="809" y="330"/>
                    <a:pt x="809" y="330"/>
                    <a:pt x="808" y="330"/>
                  </a:cubicBezTo>
                  <a:moveTo>
                    <a:pt x="842" y="330"/>
                  </a:moveTo>
                  <a:cubicBezTo>
                    <a:pt x="836" y="330"/>
                    <a:pt x="828" y="334"/>
                    <a:pt x="824" y="340"/>
                  </a:cubicBezTo>
                  <a:cubicBezTo>
                    <a:pt x="821" y="346"/>
                    <a:pt x="823" y="350"/>
                    <a:pt x="830" y="350"/>
                  </a:cubicBezTo>
                  <a:cubicBezTo>
                    <a:pt x="836" y="350"/>
                    <a:pt x="844" y="345"/>
                    <a:pt x="848" y="340"/>
                  </a:cubicBezTo>
                  <a:cubicBezTo>
                    <a:pt x="851" y="334"/>
                    <a:pt x="849" y="330"/>
                    <a:pt x="842" y="330"/>
                  </a:cubicBezTo>
                  <a:cubicBezTo>
                    <a:pt x="842" y="330"/>
                    <a:pt x="842" y="330"/>
                    <a:pt x="842" y="330"/>
                  </a:cubicBezTo>
                  <a:moveTo>
                    <a:pt x="875" y="329"/>
                  </a:moveTo>
                  <a:cubicBezTo>
                    <a:pt x="869" y="329"/>
                    <a:pt x="861" y="334"/>
                    <a:pt x="858" y="340"/>
                  </a:cubicBezTo>
                  <a:cubicBezTo>
                    <a:pt x="854" y="345"/>
                    <a:pt x="857" y="350"/>
                    <a:pt x="863" y="350"/>
                  </a:cubicBezTo>
                  <a:cubicBezTo>
                    <a:pt x="870" y="350"/>
                    <a:pt x="878" y="345"/>
                    <a:pt x="881" y="339"/>
                  </a:cubicBezTo>
                  <a:cubicBezTo>
                    <a:pt x="884" y="334"/>
                    <a:pt x="882" y="329"/>
                    <a:pt x="876" y="329"/>
                  </a:cubicBezTo>
                  <a:cubicBezTo>
                    <a:pt x="875" y="329"/>
                    <a:pt x="875" y="329"/>
                    <a:pt x="875" y="329"/>
                  </a:cubicBezTo>
                  <a:moveTo>
                    <a:pt x="907" y="329"/>
                  </a:moveTo>
                  <a:cubicBezTo>
                    <a:pt x="901" y="329"/>
                    <a:pt x="893" y="334"/>
                    <a:pt x="889" y="339"/>
                  </a:cubicBezTo>
                  <a:cubicBezTo>
                    <a:pt x="886" y="345"/>
                    <a:pt x="888" y="350"/>
                    <a:pt x="895" y="349"/>
                  </a:cubicBezTo>
                  <a:cubicBezTo>
                    <a:pt x="901" y="349"/>
                    <a:pt x="909" y="345"/>
                    <a:pt x="913" y="339"/>
                  </a:cubicBezTo>
                  <a:cubicBezTo>
                    <a:pt x="916" y="334"/>
                    <a:pt x="913" y="329"/>
                    <a:pt x="907" y="329"/>
                  </a:cubicBezTo>
                  <a:cubicBezTo>
                    <a:pt x="907" y="329"/>
                    <a:pt x="907" y="329"/>
                    <a:pt x="907" y="329"/>
                  </a:cubicBezTo>
                  <a:moveTo>
                    <a:pt x="941" y="329"/>
                  </a:moveTo>
                  <a:cubicBezTo>
                    <a:pt x="934" y="329"/>
                    <a:pt x="926" y="334"/>
                    <a:pt x="923" y="339"/>
                  </a:cubicBezTo>
                  <a:cubicBezTo>
                    <a:pt x="920" y="345"/>
                    <a:pt x="922" y="349"/>
                    <a:pt x="929" y="349"/>
                  </a:cubicBezTo>
                  <a:cubicBezTo>
                    <a:pt x="935" y="349"/>
                    <a:pt x="943" y="345"/>
                    <a:pt x="947" y="339"/>
                  </a:cubicBezTo>
                  <a:cubicBezTo>
                    <a:pt x="950" y="333"/>
                    <a:pt x="947" y="329"/>
                    <a:pt x="941" y="329"/>
                  </a:cubicBezTo>
                  <a:cubicBezTo>
                    <a:pt x="941" y="329"/>
                    <a:pt x="941" y="329"/>
                    <a:pt x="941" y="329"/>
                  </a:cubicBezTo>
                  <a:moveTo>
                    <a:pt x="1141" y="327"/>
                  </a:moveTo>
                  <a:cubicBezTo>
                    <a:pt x="1134" y="327"/>
                    <a:pt x="1127" y="332"/>
                    <a:pt x="1124" y="338"/>
                  </a:cubicBezTo>
                  <a:cubicBezTo>
                    <a:pt x="1121" y="343"/>
                    <a:pt x="1124" y="348"/>
                    <a:pt x="1130" y="348"/>
                  </a:cubicBezTo>
                  <a:cubicBezTo>
                    <a:pt x="1137" y="348"/>
                    <a:pt x="1144" y="343"/>
                    <a:pt x="1147" y="337"/>
                  </a:cubicBezTo>
                  <a:cubicBezTo>
                    <a:pt x="1150" y="332"/>
                    <a:pt x="1147" y="327"/>
                    <a:pt x="1141" y="327"/>
                  </a:cubicBezTo>
                  <a:cubicBezTo>
                    <a:pt x="1141" y="327"/>
                    <a:pt x="1141" y="327"/>
                    <a:pt x="1141" y="327"/>
                  </a:cubicBezTo>
                  <a:moveTo>
                    <a:pt x="1174" y="326"/>
                  </a:moveTo>
                  <a:cubicBezTo>
                    <a:pt x="1168" y="326"/>
                    <a:pt x="1160" y="331"/>
                    <a:pt x="1157" y="336"/>
                  </a:cubicBezTo>
                  <a:cubicBezTo>
                    <a:pt x="1154" y="342"/>
                    <a:pt x="1157" y="346"/>
                    <a:pt x="1164" y="346"/>
                  </a:cubicBezTo>
                  <a:cubicBezTo>
                    <a:pt x="1170" y="346"/>
                    <a:pt x="1178" y="342"/>
                    <a:pt x="1181" y="336"/>
                  </a:cubicBezTo>
                  <a:cubicBezTo>
                    <a:pt x="1183" y="330"/>
                    <a:pt x="1180" y="326"/>
                    <a:pt x="1174" y="326"/>
                  </a:cubicBezTo>
                  <a:cubicBezTo>
                    <a:pt x="1174" y="326"/>
                    <a:pt x="1174" y="326"/>
                    <a:pt x="1174" y="326"/>
                  </a:cubicBezTo>
                  <a:moveTo>
                    <a:pt x="1208" y="326"/>
                  </a:moveTo>
                  <a:cubicBezTo>
                    <a:pt x="1201" y="326"/>
                    <a:pt x="1194" y="330"/>
                    <a:pt x="1191" y="336"/>
                  </a:cubicBezTo>
                  <a:cubicBezTo>
                    <a:pt x="1188" y="342"/>
                    <a:pt x="1191" y="346"/>
                    <a:pt x="1198" y="346"/>
                  </a:cubicBezTo>
                  <a:cubicBezTo>
                    <a:pt x="1204" y="346"/>
                    <a:pt x="1212" y="341"/>
                    <a:pt x="1214" y="336"/>
                  </a:cubicBezTo>
                  <a:cubicBezTo>
                    <a:pt x="1217" y="330"/>
                    <a:pt x="1214" y="326"/>
                    <a:pt x="1208" y="326"/>
                  </a:cubicBezTo>
                  <a:cubicBezTo>
                    <a:pt x="1208" y="326"/>
                    <a:pt x="1208" y="326"/>
                    <a:pt x="1208" y="326"/>
                  </a:cubicBezTo>
                  <a:moveTo>
                    <a:pt x="1241" y="325"/>
                  </a:moveTo>
                  <a:cubicBezTo>
                    <a:pt x="1234" y="325"/>
                    <a:pt x="1227" y="330"/>
                    <a:pt x="1224" y="336"/>
                  </a:cubicBezTo>
                  <a:cubicBezTo>
                    <a:pt x="1222" y="341"/>
                    <a:pt x="1225" y="346"/>
                    <a:pt x="1231" y="346"/>
                  </a:cubicBezTo>
                  <a:cubicBezTo>
                    <a:pt x="1238" y="346"/>
                    <a:pt x="1245" y="341"/>
                    <a:pt x="1248" y="335"/>
                  </a:cubicBezTo>
                  <a:cubicBezTo>
                    <a:pt x="1250" y="330"/>
                    <a:pt x="1247" y="325"/>
                    <a:pt x="1241" y="325"/>
                  </a:cubicBezTo>
                  <a:cubicBezTo>
                    <a:pt x="1241" y="325"/>
                    <a:pt x="1241" y="325"/>
                    <a:pt x="1241" y="325"/>
                  </a:cubicBezTo>
                  <a:moveTo>
                    <a:pt x="1275" y="325"/>
                  </a:moveTo>
                  <a:cubicBezTo>
                    <a:pt x="1269" y="325"/>
                    <a:pt x="1261" y="330"/>
                    <a:pt x="1259" y="335"/>
                  </a:cubicBezTo>
                  <a:cubicBezTo>
                    <a:pt x="1256" y="341"/>
                    <a:pt x="1259" y="346"/>
                    <a:pt x="1266" y="345"/>
                  </a:cubicBezTo>
                  <a:cubicBezTo>
                    <a:pt x="1272" y="345"/>
                    <a:pt x="1279" y="341"/>
                    <a:pt x="1282" y="335"/>
                  </a:cubicBezTo>
                  <a:cubicBezTo>
                    <a:pt x="1285" y="330"/>
                    <a:pt x="1281" y="325"/>
                    <a:pt x="1275" y="325"/>
                  </a:cubicBezTo>
                  <a:cubicBezTo>
                    <a:pt x="1275" y="325"/>
                    <a:pt x="1275" y="325"/>
                    <a:pt x="1275" y="325"/>
                  </a:cubicBezTo>
                  <a:moveTo>
                    <a:pt x="2042" y="320"/>
                  </a:moveTo>
                  <a:cubicBezTo>
                    <a:pt x="2035" y="320"/>
                    <a:pt x="2029" y="324"/>
                    <a:pt x="2028" y="330"/>
                  </a:cubicBezTo>
                  <a:cubicBezTo>
                    <a:pt x="2027" y="336"/>
                    <a:pt x="2032" y="340"/>
                    <a:pt x="2038" y="340"/>
                  </a:cubicBezTo>
                  <a:cubicBezTo>
                    <a:pt x="2045" y="340"/>
                    <a:pt x="2051" y="335"/>
                    <a:pt x="2052" y="330"/>
                  </a:cubicBezTo>
                  <a:cubicBezTo>
                    <a:pt x="2052" y="324"/>
                    <a:pt x="2048" y="320"/>
                    <a:pt x="2042" y="320"/>
                  </a:cubicBezTo>
                  <a:cubicBezTo>
                    <a:pt x="2042" y="320"/>
                    <a:pt x="2042" y="320"/>
                    <a:pt x="2042" y="320"/>
                  </a:cubicBezTo>
                  <a:moveTo>
                    <a:pt x="2207" y="318"/>
                  </a:moveTo>
                  <a:cubicBezTo>
                    <a:pt x="2201" y="318"/>
                    <a:pt x="2195" y="323"/>
                    <a:pt x="2194" y="328"/>
                  </a:cubicBezTo>
                  <a:cubicBezTo>
                    <a:pt x="2193" y="334"/>
                    <a:pt x="2198" y="338"/>
                    <a:pt x="2205" y="338"/>
                  </a:cubicBezTo>
                  <a:cubicBezTo>
                    <a:pt x="2211" y="338"/>
                    <a:pt x="2217" y="334"/>
                    <a:pt x="2217" y="328"/>
                  </a:cubicBezTo>
                  <a:cubicBezTo>
                    <a:pt x="2218" y="322"/>
                    <a:pt x="2213" y="318"/>
                    <a:pt x="2207" y="318"/>
                  </a:cubicBezTo>
                  <a:cubicBezTo>
                    <a:pt x="2207" y="318"/>
                    <a:pt x="2207" y="318"/>
                    <a:pt x="2207" y="318"/>
                  </a:cubicBezTo>
                  <a:moveTo>
                    <a:pt x="2240" y="317"/>
                  </a:moveTo>
                  <a:cubicBezTo>
                    <a:pt x="2234" y="318"/>
                    <a:pt x="2228" y="322"/>
                    <a:pt x="2228" y="328"/>
                  </a:cubicBezTo>
                  <a:cubicBezTo>
                    <a:pt x="2227" y="333"/>
                    <a:pt x="2232" y="338"/>
                    <a:pt x="2238" y="338"/>
                  </a:cubicBezTo>
                  <a:cubicBezTo>
                    <a:pt x="2245" y="338"/>
                    <a:pt x="2251" y="333"/>
                    <a:pt x="2251" y="328"/>
                  </a:cubicBezTo>
                  <a:cubicBezTo>
                    <a:pt x="2252" y="322"/>
                    <a:pt x="2247" y="317"/>
                    <a:pt x="2241" y="317"/>
                  </a:cubicBezTo>
                  <a:cubicBezTo>
                    <a:pt x="2241" y="317"/>
                    <a:pt x="2241" y="317"/>
                    <a:pt x="2240" y="317"/>
                  </a:cubicBezTo>
                  <a:moveTo>
                    <a:pt x="2274" y="317"/>
                  </a:moveTo>
                  <a:cubicBezTo>
                    <a:pt x="2267" y="317"/>
                    <a:pt x="2261" y="322"/>
                    <a:pt x="2261" y="328"/>
                  </a:cubicBezTo>
                  <a:cubicBezTo>
                    <a:pt x="2260" y="333"/>
                    <a:pt x="2265" y="338"/>
                    <a:pt x="2272" y="338"/>
                  </a:cubicBezTo>
                  <a:cubicBezTo>
                    <a:pt x="2278" y="338"/>
                    <a:pt x="2284" y="333"/>
                    <a:pt x="2284" y="327"/>
                  </a:cubicBezTo>
                  <a:cubicBezTo>
                    <a:pt x="2285" y="322"/>
                    <a:pt x="2280" y="317"/>
                    <a:pt x="2274" y="317"/>
                  </a:cubicBezTo>
                  <a:cubicBezTo>
                    <a:pt x="2274" y="317"/>
                    <a:pt x="2274" y="317"/>
                    <a:pt x="2274" y="317"/>
                  </a:cubicBezTo>
                  <a:moveTo>
                    <a:pt x="2373" y="316"/>
                  </a:moveTo>
                  <a:cubicBezTo>
                    <a:pt x="2366" y="316"/>
                    <a:pt x="2361" y="321"/>
                    <a:pt x="2360" y="327"/>
                  </a:cubicBezTo>
                  <a:cubicBezTo>
                    <a:pt x="2360" y="332"/>
                    <a:pt x="2365" y="337"/>
                    <a:pt x="2372" y="337"/>
                  </a:cubicBezTo>
                  <a:cubicBezTo>
                    <a:pt x="2378" y="337"/>
                    <a:pt x="2384" y="332"/>
                    <a:pt x="2384" y="327"/>
                  </a:cubicBezTo>
                  <a:cubicBezTo>
                    <a:pt x="2384" y="321"/>
                    <a:pt x="2379" y="316"/>
                    <a:pt x="2373" y="316"/>
                  </a:cubicBezTo>
                  <a:cubicBezTo>
                    <a:pt x="2373" y="316"/>
                    <a:pt x="2373" y="316"/>
                    <a:pt x="2373" y="316"/>
                  </a:cubicBezTo>
                  <a:moveTo>
                    <a:pt x="2406" y="316"/>
                  </a:moveTo>
                  <a:cubicBezTo>
                    <a:pt x="2400" y="316"/>
                    <a:pt x="2394" y="321"/>
                    <a:pt x="2394" y="326"/>
                  </a:cubicBezTo>
                  <a:cubicBezTo>
                    <a:pt x="2394" y="332"/>
                    <a:pt x="2399" y="337"/>
                    <a:pt x="2405" y="337"/>
                  </a:cubicBezTo>
                  <a:cubicBezTo>
                    <a:pt x="2412" y="337"/>
                    <a:pt x="2417" y="332"/>
                    <a:pt x="2417" y="326"/>
                  </a:cubicBezTo>
                  <a:cubicBezTo>
                    <a:pt x="2418" y="321"/>
                    <a:pt x="2413" y="316"/>
                    <a:pt x="2406" y="316"/>
                  </a:cubicBezTo>
                  <a:cubicBezTo>
                    <a:pt x="2406" y="316"/>
                    <a:pt x="2406" y="316"/>
                    <a:pt x="2406" y="316"/>
                  </a:cubicBezTo>
                  <a:moveTo>
                    <a:pt x="2606" y="316"/>
                  </a:moveTo>
                  <a:cubicBezTo>
                    <a:pt x="2600" y="316"/>
                    <a:pt x="2595" y="321"/>
                    <a:pt x="2595" y="326"/>
                  </a:cubicBezTo>
                  <a:cubicBezTo>
                    <a:pt x="2595" y="332"/>
                    <a:pt x="2601" y="336"/>
                    <a:pt x="2607" y="336"/>
                  </a:cubicBezTo>
                  <a:cubicBezTo>
                    <a:pt x="2613" y="336"/>
                    <a:pt x="2619" y="332"/>
                    <a:pt x="2618" y="326"/>
                  </a:cubicBezTo>
                  <a:cubicBezTo>
                    <a:pt x="2618" y="320"/>
                    <a:pt x="2613" y="316"/>
                    <a:pt x="2606" y="316"/>
                  </a:cubicBezTo>
                  <a:cubicBezTo>
                    <a:pt x="2606" y="316"/>
                    <a:pt x="2606" y="316"/>
                    <a:pt x="2606" y="316"/>
                  </a:cubicBezTo>
                  <a:moveTo>
                    <a:pt x="2439" y="316"/>
                  </a:moveTo>
                  <a:cubicBezTo>
                    <a:pt x="2433" y="316"/>
                    <a:pt x="2427" y="321"/>
                    <a:pt x="2427" y="326"/>
                  </a:cubicBezTo>
                  <a:cubicBezTo>
                    <a:pt x="2427" y="332"/>
                    <a:pt x="2432" y="336"/>
                    <a:pt x="2439" y="336"/>
                  </a:cubicBezTo>
                  <a:cubicBezTo>
                    <a:pt x="2445" y="336"/>
                    <a:pt x="2451" y="332"/>
                    <a:pt x="2451" y="326"/>
                  </a:cubicBezTo>
                  <a:cubicBezTo>
                    <a:pt x="2451" y="320"/>
                    <a:pt x="2446" y="316"/>
                    <a:pt x="2439" y="316"/>
                  </a:cubicBezTo>
                  <a:cubicBezTo>
                    <a:pt x="2439" y="316"/>
                    <a:pt x="2439" y="316"/>
                    <a:pt x="2439" y="316"/>
                  </a:cubicBezTo>
                  <a:moveTo>
                    <a:pt x="2639" y="316"/>
                  </a:moveTo>
                  <a:cubicBezTo>
                    <a:pt x="2633" y="316"/>
                    <a:pt x="2628" y="320"/>
                    <a:pt x="2628" y="326"/>
                  </a:cubicBezTo>
                  <a:cubicBezTo>
                    <a:pt x="2628" y="332"/>
                    <a:pt x="2634" y="336"/>
                    <a:pt x="2640" y="336"/>
                  </a:cubicBezTo>
                  <a:cubicBezTo>
                    <a:pt x="2647" y="336"/>
                    <a:pt x="2652" y="331"/>
                    <a:pt x="2651" y="326"/>
                  </a:cubicBezTo>
                  <a:cubicBezTo>
                    <a:pt x="2651" y="320"/>
                    <a:pt x="2646" y="316"/>
                    <a:pt x="2639" y="316"/>
                  </a:cubicBezTo>
                  <a:cubicBezTo>
                    <a:pt x="2639" y="316"/>
                    <a:pt x="2639" y="316"/>
                    <a:pt x="2639" y="316"/>
                  </a:cubicBezTo>
                  <a:moveTo>
                    <a:pt x="2472" y="316"/>
                  </a:moveTo>
                  <a:cubicBezTo>
                    <a:pt x="2466" y="316"/>
                    <a:pt x="2461" y="320"/>
                    <a:pt x="2461" y="326"/>
                  </a:cubicBezTo>
                  <a:cubicBezTo>
                    <a:pt x="2461" y="332"/>
                    <a:pt x="2466" y="336"/>
                    <a:pt x="2472" y="336"/>
                  </a:cubicBezTo>
                  <a:cubicBezTo>
                    <a:pt x="2479" y="336"/>
                    <a:pt x="2484" y="331"/>
                    <a:pt x="2484" y="326"/>
                  </a:cubicBezTo>
                  <a:cubicBezTo>
                    <a:pt x="2484" y="320"/>
                    <a:pt x="2479" y="316"/>
                    <a:pt x="2472" y="316"/>
                  </a:cubicBezTo>
                  <a:cubicBezTo>
                    <a:pt x="2472" y="316"/>
                    <a:pt x="2472" y="316"/>
                    <a:pt x="2472" y="316"/>
                  </a:cubicBezTo>
                  <a:moveTo>
                    <a:pt x="2672" y="315"/>
                  </a:moveTo>
                  <a:cubicBezTo>
                    <a:pt x="2666" y="315"/>
                    <a:pt x="2661" y="320"/>
                    <a:pt x="2661" y="326"/>
                  </a:cubicBezTo>
                  <a:cubicBezTo>
                    <a:pt x="2661" y="331"/>
                    <a:pt x="2667" y="336"/>
                    <a:pt x="2673" y="336"/>
                  </a:cubicBezTo>
                  <a:cubicBezTo>
                    <a:pt x="2680" y="336"/>
                    <a:pt x="2685" y="331"/>
                    <a:pt x="2684" y="326"/>
                  </a:cubicBezTo>
                  <a:cubicBezTo>
                    <a:pt x="2684" y="320"/>
                    <a:pt x="2678" y="315"/>
                    <a:pt x="2672" y="315"/>
                  </a:cubicBezTo>
                  <a:cubicBezTo>
                    <a:pt x="2672" y="315"/>
                    <a:pt x="2672" y="315"/>
                    <a:pt x="2672" y="315"/>
                  </a:cubicBezTo>
                  <a:moveTo>
                    <a:pt x="2505" y="315"/>
                  </a:moveTo>
                  <a:cubicBezTo>
                    <a:pt x="2499" y="315"/>
                    <a:pt x="2494" y="320"/>
                    <a:pt x="2494" y="326"/>
                  </a:cubicBezTo>
                  <a:cubicBezTo>
                    <a:pt x="2494" y="331"/>
                    <a:pt x="2499" y="336"/>
                    <a:pt x="2505" y="336"/>
                  </a:cubicBezTo>
                  <a:cubicBezTo>
                    <a:pt x="2512" y="336"/>
                    <a:pt x="2517" y="331"/>
                    <a:pt x="2517" y="326"/>
                  </a:cubicBezTo>
                  <a:cubicBezTo>
                    <a:pt x="2517" y="320"/>
                    <a:pt x="2512" y="315"/>
                    <a:pt x="2505" y="315"/>
                  </a:cubicBezTo>
                  <a:cubicBezTo>
                    <a:pt x="2505" y="315"/>
                    <a:pt x="2505" y="315"/>
                    <a:pt x="2505" y="315"/>
                  </a:cubicBezTo>
                  <a:moveTo>
                    <a:pt x="2705" y="315"/>
                  </a:moveTo>
                  <a:cubicBezTo>
                    <a:pt x="2699" y="315"/>
                    <a:pt x="2694" y="320"/>
                    <a:pt x="2694" y="325"/>
                  </a:cubicBezTo>
                  <a:cubicBezTo>
                    <a:pt x="2694" y="331"/>
                    <a:pt x="2700" y="336"/>
                    <a:pt x="2707" y="336"/>
                  </a:cubicBezTo>
                  <a:cubicBezTo>
                    <a:pt x="2713" y="336"/>
                    <a:pt x="2718" y="331"/>
                    <a:pt x="2717" y="325"/>
                  </a:cubicBezTo>
                  <a:cubicBezTo>
                    <a:pt x="2717" y="320"/>
                    <a:pt x="2711" y="315"/>
                    <a:pt x="2705" y="315"/>
                  </a:cubicBezTo>
                  <a:cubicBezTo>
                    <a:pt x="2705" y="315"/>
                    <a:pt x="2705" y="315"/>
                    <a:pt x="2705" y="315"/>
                  </a:cubicBezTo>
                  <a:moveTo>
                    <a:pt x="2539" y="315"/>
                  </a:moveTo>
                  <a:cubicBezTo>
                    <a:pt x="2532" y="315"/>
                    <a:pt x="2527" y="320"/>
                    <a:pt x="2527" y="325"/>
                  </a:cubicBezTo>
                  <a:cubicBezTo>
                    <a:pt x="2527" y="331"/>
                    <a:pt x="2532" y="336"/>
                    <a:pt x="2539" y="336"/>
                  </a:cubicBezTo>
                  <a:cubicBezTo>
                    <a:pt x="2545" y="336"/>
                    <a:pt x="2551" y="331"/>
                    <a:pt x="2550" y="325"/>
                  </a:cubicBezTo>
                  <a:cubicBezTo>
                    <a:pt x="2550" y="320"/>
                    <a:pt x="2545" y="315"/>
                    <a:pt x="2539" y="315"/>
                  </a:cubicBezTo>
                  <a:cubicBezTo>
                    <a:pt x="2539" y="315"/>
                    <a:pt x="2539" y="315"/>
                    <a:pt x="2539" y="315"/>
                  </a:cubicBezTo>
                  <a:moveTo>
                    <a:pt x="2738" y="315"/>
                  </a:moveTo>
                  <a:cubicBezTo>
                    <a:pt x="2732" y="315"/>
                    <a:pt x="2727" y="320"/>
                    <a:pt x="2727" y="325"/>
                  </a:cubicBezTo>
                  <a:cubicBezTo>
                    <a:pt x="2728" y="331"/>
                    <a:pt x="2734" y="335"/>
                    <a:pt x="2740" y="335"/>
                  </a:cubicBezTo>
                  <a:cubicBezTo>
                    <a:pt x="2747" y="335"/>
                    <a:pt x="2751" y="331"/>
                    <a:pt x="2751" y="325"/>
                  </a:cubicBezTo>
                  <a:cubicBezTo>
                    <a:pt x="2750" y="319"/>
                    <a:pt x="2745" y="315"/>
                    <a:pt x="2738" y="315"/>
                  </a:cubicBezTo>
                  <a:cubicBezTo>
                    <a:pt x="2738" y="315"/>
                    <a:pt x="2738" y="315"/>
                    <a:pt x="2738" y="315"/>
                  </a:cubicBezTo>
                  <a:moveTo>
                    <a:pt x="2572" y="315"/>
                  </a:moveTo>
                  <a:cubicBezTo>
                    <a:pt x="2566" y="315"/>
                    <a:pt x="2561" y="320"/>
                    <a:pt x="2561" y="325"/>
                  </a:cubicBezTo>
                  <a:cubicBezTo>
                    <a:pt x="2561" y="331"/>
                    <a:pt x="2566" y="335"/>
                    <a:pt x="2573" y="335"/>
                  </a:cubicBezTo>
                  <a:cubicBezTo>
                    <a:pt x="2579" y="335"/>
                    <a:pt x="2584" y="331"/>
                    <a:pt x="2584" y="325"/>
                  </a:cubicBezTo>
                  <a:cubicBezTo>
                    <a:pt x="2584" y="319"/>
                    <a:pt x="2579" y="315"/>
                    <a:pt x="2572" y="315"/>
                  </a:cubicBezTo>
                  <a:cubicBezTo>
                    <a:pt x="2572" y="315"/>
                    <a:pt x="2572" y="315"/>
                    <a:pt x="2572" y="315"/>
                  </a:cubicBezTo>
                  <a:moveTo>
                    <a:pt x="2772" y="315"/>
                  </a:moveTo>
                  <a:cubicBezTo>
                    <a:pt x="2765" y="315"/>
                    <a:pt x="2761" y="319"/>
                    <a:pt x="2761" y="325"/>
                  </a:cubicBezTo>
                  <a:cubicBezTo>
                    <a:pt x="2762" y="331"/>
                    <a:pt x="2767" y="335"/>
                    <a:pt x="2774" y="335"/>
                  </a:cubicBezTo>
                  <a:cubicBezTo>
                    <a:pt x="2780" y="335"/>
                    <a:pt x="2785" y="330"/>
                    <a:pt x="2785" y="325"/>
                  </a:cubicBezTo>
                  <a:cubicBezTo>
                    <a:pt x="2784" y="319"/>
                    <a:pt x="2778" y="315"/>
                    <a:pt x="2772" y="315"/>
                  </a:cubicBezTo>
                  <a:cubicBezTo>
                    <a:pt x="2772" y="315"/>
                    <a:pt x="2772" y="315"/>
                    <a:pt x="2772" y="315"/>
                  </a:cubicBezTo>
                  <a:moveTo>
                    <a:pt x="2805" y="314"/>
                  </a:moveTo>
                  <a:cubicBezTo>
                    <a:pt x="2798" y="314"/>
                    <a:pt x="2794" y="319"/>
                    <a:pt x="2794" y="325"/>
                  </a:cubicBezTo>
                  <a:cubicBezTo>
                    <a:pt x="2795" y="330"/>
                    <a:pt x="2801" y="335"/>
                    <a:pt x="2807" y="335"/>
                  </a:cubicBezTo>
                  <a:cubicBezTo>
                    <a:pt x="2814" y="335"/>
                    <a:pt x="2818" y="330"/>
                    <a:pt x="2818" y="325"/>
                  </a:cubicBezTo>
                  <a:cubicBezTo>
                    <a:pt x="2817" y="319"/>
                    <a:pt x="2811" y="314"/>
                    <a:pt x="2805" y="314"/>
                  </a:cubicBezTo>
                  <a:cubicBezTo>
                    <a:pt x="2805" y="314"/>
                    <a:pt x="2805" y="314"/>
                    <a:pt x="2805" y="314"/>
                  </a:cubicBezTo>
                  <a:moveTo>
                    <a:pt x="2838" y="314"/>
                  </a:moveTo>
                  <a:cubicBezTo>
                    <a:pt x="2832" y="314"/>
                    <a:pt x="2827" y="319"/>
                    <a:pt x="2828" y="324"/>
                  </a:cubicBezTo>
                  <a:cubicBezTo>
                    <a:pt x="2828" y="330"/>
                    <a:pt x="2834" y="335"/>
                    <a:pt x="2841" y="335"/>
                  </a:cubicBezTo>
                  <a:cubicBezTo>
                    <a:pt x="2847" y="335"/>
                    <a:pt x="2852" y="330"/>
                    <a:pt x="2851" y="324"/>
                  </a:cubicBezTo>
                  <a:cubicBezTo>
                    <a:pt x="2850" y="319"/>
                    <a:pt x="2844" y="314"/>
                    <a:pt x="2838" y="314"/>
                  </a:cubicBezTo>
                  <a:cubicBezTo>
                    <a:pt x="2838" y="314"/>
                    <a:pt x="2838" y="314"/>
                    <a:pt x="2838" y="314"/>
                  </a:cubicBezTo>
                  <a:moveTo>
                    <a:pt x="2871" y="314"/>
                  </a:moveTo>
                  <a:cubicBezTo>
                    <a:pt x="2865" y="314"/>
                    <a:pt x="2860" y="319"/>
                    <a:pt x="2861" y="324"/>
                  </a:cubicBezTo>
                  <a:cubicBezTo>
                    <a:pt x="2861" y="330"/>
                    <a:pt x="2867" y="334"/>
                    <a:pt x="2874" y="334"/>
                  </a:cubicBezTo>
                  <a:cubicBezTo>
                    <a:pt x="2880" y="334"/>
                    <a:pt x="2885" y="330"/>
                    <a:pt x="2884" y="324"/>
                  </a:cubicBezTo>
                  <a:cubicBezTo>
                    <a:pt x="2883" y="318"/>
                    <a:pt x="2877" y="314"/>
                    <a:pt x="2871" y="314"/>
                  </a:cubicBezTo>
                  <a:cubicBezTo>
                    <a:pt x="2871" y="314"/>
                    <a:pt x="2871" y="314"/>
                    <a:pt x="2871" y="314"/>
                  </a:cubicBezTo>
                  <a:moveTo>
                    <a:pt x="2904" y="314"/>
                  </a:moveTo>
                  <a:cubicBezTo>
                    <a:pt x="2898" y="314"/>
                    <a:pt x="2893" y="318"/>
                    <a:pt x="2894" y="324"/>
                  </a:cubicBezTo>
                  <a:cubicBezTo>
                    <a:pt x="2895" y="330"/>
                    <a:pt x="2901" y="334"/>
                    <a:pt x="2907" y="334"/>
                  </a:cubicBezTo>
                  <a:cubicBezTo>
                    <a:pt x="2914" y="334"/>
                    <a:pt x="2918" y="329"/>
                    <a:pt x="2917" y="324"/>
                  </a:cubicBezTo>
                  <a:cubicBezTo>
                    <a:pt x="2917" y="318"/>
                    <a:pt x="2911" y="314"/>
                    <a:pt x="2904" y="314"/>
                  </a:cubicBezTo>
                  <a:cubicBezTo>
                    <a:pt x="2904" y="314"/>
                    <a:pt x="2904" y="314"/>
                    <a:pt x="2904" y="314"/>
                  </a:cubicBezTo>
                  <a:moveTo>
                    <a:pt x="2938" y="313"/>
                  </a:moveTo>
                  <a:cubicBezTo>
                    <a:pt x="2931" y="313"/>
                    <a:pt x="2927" y="318"/>
                    <a:pt x="2928" y="324"/>
                  </a:cubicBezTo>
                  <a:cubicBezTo>
                    <a:pt x="2929" y="329"/>
                    <a:pt x="2935" y="334"/>
                    <a:pt x="2941" y="334"/>
                  </a:cubicBezTo>
                  <a:cubicBezTo>
                    <a:pt x="2948" y="334"/>
                    <a:pt x="2952" y="329"/>
                    <a:pt x="2951" y="323"/>
                  </a:cubicBezTo>
                  <a:cubicBezTo>
                    <a:pt x="2950" y="318"/>
                    <a:pt x="2944" y="313"/>
                    <a:pt x="2938" y="313"/>
                  </a:cubicBezTo>
                  <a:cubicBezTo>
                    <a:pt x="2938" y="313"/>
                    <a:pt x="2938" y="313"/>
                    <a:pt x="2938" y="313"/>
                  </a:cubicBezTo>
                  <a:moveTo>
                    <a:pt x="2969" y="313"/>
                  </a:moveTo>
                  <a:cubicBezTo>
                    <a:pt x="2962" y="313"/>
                    <a:pt x="2958" y="318"/>
                    <a:pt x="2959" y="324"/>
                  </a:cubicBezTo>
                  <a:cubicBezTo>
                    <a:pt x="2960" y="329"/>
                    <a:pt x="2966" y="334"/>
                    <a:pt x="2972" y="334"/>
                  </a:cubicBezTo>
                  <a:cubicBezTo>
                    <a:pt x="2979" y="334"/>
                    <a:pt x="2983" y="329"/>
                    <a:pt x="2982" y="323"/>
                  </a:cubicBezTo>
                  <a:cubicBezTo>
                    <a:pt x="2981" y="318"/>
                    <a:pt x="2975" y="313"/>
                    <a:pt x="2969" y="313"/>
                  </a:cubicBezTo>
                  <a:cubicBezTo>
                    <a:pt x="2969" y="313"/>
                    <a:pt x="2969" y="313"/>
                    <a:pt x="2969" y="313"/>
                  </a:cubicBezTo>
                  <a:moveTo>
                    <a:pt x="3002" y="313"/>
                  </a:moveTo>
                  <a:cubicBezTo>
                    <a:pt x="2995" y="313"/>
                    <a:pt x="2991" y="318"/>
                    <a:pt x="2992" y="323"/>
                  </a:cubicBezTo>
                  <a:cubicBezTo>
                    <a:pt x="2993" y="329"/>
                    <a:pt x="2999" y="333"/>
                    <a:pt x="3005" y="333"/>
                  </a:cubicBezTo>
                  <a:cubicBezTo>
                    <a:pt x="3012" y="333"/>
                    <a:pt x="3016" y="329"/>
                    <a:pt x="3015" y="323"/>
                  </a:cubicBezTo>
                  <a:cubicBezTo>
                    <a:pt x="3014" y="317"/>
                    <a:pt x="3008" y="313"/>
                    <a:pt x="3002" y="313"/>
                  </a:cubicBezTo>
                  <a:cubicBezTo>
                    <a:pt x="3002" y="313"/>
                    <a:pt x="3002" y="313"/>
                    <a:pt x="3002" y="313"/>
                  </a:cubicBezTo>
                  <a:moveTo>
                    <a:pt x="3035" y="313"/>
                  </a:moveTo>
                  <a:cubicBezTo>
                    <a:pt x="3028" y="313"/>
                    <a:pt x="3024" y="317"/>
                    <a:pt x="3025" y="323"/>
                  </a:cubicBezTo>
                  <a:cubicBezTo>
                    <a:pt x="3026" y="329"/>
                    <a:pt x="3032" y="333"/>
                    <a:pt x="3039" y="333"/>
                  </a:cubicBezTo>
                  <a:cubicBezTo>
                    <a:pt x="3045" y="333"/>
                    <a:pt x="3050" y="328"/>
                    <a:pt x="3049" y="323"/>
                  </a:cubicBezTo>
                  <a:cubicBezTo>
                    <a:pt x="3047" y="317"/>
                    <a:pt x="3041" y="313"/>
                    <a:pt x="3035" y="313"/>
                  </a:cubicBezTo>
                  <a:cubicBezTo>
                    <a:pt x="3035" y="313"/>
                    <a:pt x="3035" y="313"/>
                    <a:pt x="3035" y="313"/>
                  </a:cubicBezTo>
                  <a:moveTo>
                    <a:pt x="3069" y="312"/>
                  </a:moveTo>
                  <a:cubicBezTo>
                    <a:pt x="3063" y="312"/>
                    <a:pt x="3058" y="317"/>
                    <a:pt x="3060" y="323"/>
                  </a:cubicBezTo>
                  <a:cubicBezTo>
                    <a:pt x="3061" y="328"/>
                    <a:pt x="3067" y="333"/>
                    <a:pt x="3073" y="333"/>
                  </a:cubicBezTo>
                  <a:cubicBezTo>
                    <a:pt x="3080" y="333"/>
                    <a:pt x="3084" y="328"/>
                    <a:pt x="3083" y="323"/>
                  </a:cubicBezTo>
                  <a:cubicBezTo>
                    <a:pt x="3082" y="317"/>
                    <a:pt x="3076" y="312"/>
                    <a:pt x="3069" y="312"/>
                  </a:cubicBezTo>
                  <a:cubicBezTo>
                    <a:pt x="3069" y="312"/>
                    <a:pt x="3069" y="312"/>
                    <a:pt x="3069" y="312"/>
                  </a:cubicBezTo>
                  <a:moveTo>
                    <a:pt x="3102" y="312"/>
                  </a:moveTo>
                  <a:cubicBezTo>
                    <a:pt x="3096" y="312"/>
                    <a:pt x="3091" y="317"/>
                    <a:pt x="3093" y="322"/>
                  </a:cubicBezTo>
                  <a:cubicBezTo>
                    <a:pt x="3094" y="328"/>
                    <a:pt x="3100" y="333"/>
                    <a:pt x="3107" y="333"/>
                  </a:cubicBezTo>
                  <a:cubicBezTo>
                    <a:pt x="3113" y="333"/>
                    <a:pt x="3117" y="328"/>
                    <a:pt x="3116" y="322"/>
                  </a:cubicBezTo>
                  <a:cubicBezTo>
                    <a:pt x="3115" y="317"/>
                    <a:pt x="3108" y="312"/>
                    <a:pt x="3102" y="312"/>
                  </a:cubicBezTo>
                  <a:cubicBezTo>
                    <a:pt x="3102" y="312"/>
                    <a:pt x="3102" y="312"/>
                    <a:pt x="3102" y="312"/>
                  </a:cubicBezTo>
                  <a:moveTo>
                    <a:pt x="3135" y="312"/>
                  </a:moveTo>
                  <a:cubicBezTo>
                    <a:pt x="3129" y="312"/>
                    <a:pt x="3125" y="317"/>
                    <a:pt x="3126" y="322"/>
                  </a:cubicBezTo>
                  <a:cubicBezTo>
                    <a:pt x="3127" y="328"/>
                    <a:pt x="3134" y="332"/>
                    <a:pt x="3140" y="332"/>
                  </a:cubicBezTo>
                  <a:cubicBezTo>
                    <a:pt x="3147" y="332"/>
                    <a:pt x="3151" y="328"/>
                    <a:pt x="3149" y="322"/>
                  </a:cubicBezTo>
                  <a:cubicBezTo>
                    <a:pt x="3148" y="316"/>
                    <a:pt x="3142" y="312"/>
                    <a:pt x="3135" y="312"/>
                  </a:cubicBezTo>
                  <a:cubicBezTo>
                    <a:pt x="3135" y="312"/>
                    <a:pt x="3135" y="312"/>
                    <a:pt x="3135" y="312"/>
                  </a:cubicBezTo>
                  <a:moveTo>
                    <a:pt x="3169" y="312"/>
                  </a:moveTo>
                  <a:cubicBezTo>
                    <a:pt x="3162" y="312"/>
                    <a:pt x="3158" y="316"/>
                    <a:pt x="3160" y="322"/>
                  </a:cubicBezTo>
                  <a:cubicBezTo>
                    <a:pt x="3161" y="328"/>
                    <a:pt x="3167" y="332"/>
                    <a:pt x="3174" y="332"/>
                  </a:cubicBezTo>
                  <a:cubicBezTo>
                    <a:pt x="3180" y="332"/>
                    <a:pt x="3184" y="327"/>
                    <a:pt x="3183" y="322"/>
                  </a:cubicBezTo>
                  <a:cubicBezTo>
                    <a:pt x="3182" y="316"/>
                    <a:pt x="3175" y="312"/>
                    <a:pt x="3169" y="312"/>
                  </a:cubicBezTo>
                  <a:cubicBezTo>
                    <a:pt x="3169" y="312"/>
                    <a:pt x="3169" y="312"/>
                    <a:pt x="3169" y="312"/>
                  </a:cubicBezTo>
                  <a:moveTo>
                    <a:pt x="3202" y="311"/>
                  </a:moveTo>
                  <a:cubicBezTo>
                    <a:pt x="3195" y="311"/>
                    <a:pt x="3191" y="316"/>
                    <a:pt x="3193" y="322"/>
                  </a:cubicBezTo>
                  <a:cubicBezTo>
                    <a:pt x="3194" y="327"/>
                    <a:pt x="3201" y="332"/>
                    <a:pt x="3207" y="332"/>
                  </a:cubicBezTo>
                  <a:cubicBezTo>
                    <a:pt x="3214" y="332"/>
                    <a:pt x="3218" y="327"/>
                    <a:pt x="3216" y="321"/>
                  </a:cubicBezTo>
                  <a:cubicBezTo>
                    <a:pt x="3215" y="316"/>
                    <a:pt x="3208" y="311"/>
                    <a:pt x="3202" y="311"/>
                  </a:cubicBezTo>
                  <a:cubicBezTo>
                    <a:pt x="3202" y="311"/>
                    <a:pt x="3202" y="311"/>
                    <a:pt x="3202" y="311"/>
                  </a:cubicBezTo>
                  <a:moveTo>
                    <a:pt x="3235" y="311"/>
                  </a:moveTo>
                  <a:cubicBezTo>
                    <a:pt x="3228" y="311"/>
                    <a:pt x="3224" y="316"/>
                    <a:pt x="3226" y="321"/>
                  </a:cubicBezTo>
                  <a:cubicBezTo>
                    <a:pt x="3228" y="327"/>
                    <a:pt x="3234" y="332"/>
                    <a:pt x="3240" y="332"/>
                  </a:cubicBezTo>
                  <a:cubicBezTo>
                    <a:pt x="3247" y="332"/>
                    <a:pt x="3251" y="327"/>
                    <a:pt x="3249" y="321"/>
                  </a:cubicBezTo>
                  <a:cubicBezTo>
                    <a:pt x="3248" y="316"/>
                    <a:pt x="3241" y="311"/>
                    <a:pt x="3235" y="311"/>
                  </a:cubicBezTo>
                  <a:cubicBezTo>
                    <a:pt x="3235" y="311"/>
                    <a:pt x="3235" y="311"/>
                    <a:pt x="3235" y="311"/>
                  </a:cubicBezTo>
                  <a:moveTo>
                    <a:pt x="3268" y="311"/>
                  </a:moveTo>
                  <a:cubicBezTo>
                    <a:pt x="3261" y="311"/>
                    <a:pt x="3258" y="315"/>
                    <a:pt x="3259" y="321"/>
                  </a:cubicBezTo>
                  <a:cubicBezTo>
                    <a:pt x="3261" y="327"/>
                    <a:pt x="3267" y="331"/>
                    <a:pt x="3274" y="331"/>
                  </a:cubicBezTo>
                  <a:cubicBezTo>
                    <a:pt x="3280" y="331"/>
                    <a:pt x="3284" y="327"/>
                    <a:pt x="3282" y="321"/>
                  </a:cubicBezTo>
                  <a:cubicBezTo>
                    <a:pt x="3281" y="315"/>
                    <a:pt x="3274" y="311"/>
                    <a:pt x="3268" y="311"/>
                  </a:cubicBezTo>
                  <a:cubicBezTo>
                    <a:pt x="3268" y="311"/>
                    <a:pt x="3268" y="311"/>
                    <a:pt x="3268" y="311"/>
                  </a:cubicBezTo>
                  <a:moveTo>
                    <a:pt x="3301" y="311"/>
                  </a:moveTo>
                  <a:cubicBezTo>
                    <a:pt x="3294" y="311"/>
                    <a:pt x="3291" y="315"/>
                    <a:pt x="3292" y="321"/>
                  </a:cubicBezTo>
                  <a:cubicBezTo>
                    <a:pt x="3294" y="327"/>
                    <a:pt x="3300" y="331"/>
                    <a:pt x="3307" y="331"/>
                  </a:cubicBezTo>
                  <a:cubicBezTo>
                    <a:pt x="3313" y="331"/>
                    <a:pt x="3317" y="326"/>
                    <a:pt x="3315" y="321"/>
                  </a:cubicBezTo>
                  <a:cubicBezTo>
                    <a:pt x="3314" y="315"/>
                    <a:pt x="3307" y="311"/>
                    <a:pt x="3301" y="311"/>
                  </a:cubicBezTo>
                  <a:cubicBezTo>
                    <a:pt x="3301" y="311"/>
                    <a:pt x="3301" y="311"/>
                    <a:pt x="3301" y="311"/>
                  </a:cubicBezTo>
                  <a:moveTo>
                    <a:pt x="3334" y="310"/>
                  </a:moveTo>
                  <a:cubicBezTo>
                    <a:pt x="3327" y="310"/>
                    <a:pt x="3324" y="315"/>
                    <a:pt x="3325" y="321"/>
                  </a:cubicBezTo>
                  <a:cubicBezTo>
                    <a:pt x="3327" y="326"/>
                    <a:pt x="3334" y="331"/>
                    <a:pt x="3340" y="331"/>
                  </a:cubicBezTo>
                  <a:cubicBezTo>
                    <a:pt x="3347" y="331"/>
                    <a:pt x="3350" y="326"/>
                    <a:pt x="3349" y="320"/>
                  </a:cubicBezTo>
                  <a:cubicBezTo>
                    <a:pt x="3347" y="315"/>
                    <a:pt x="3340" y="310"/>
                    <a:pt x="3334" y="310"/>
                  </a:cubicBezTo>
                  <a:cubicBezTo>
                    <a:pt x="3334" y="310"/>
                    <a:pt x="3334" y="310"/>
                    <a:pt x="3334" y="310"/>
                  </a:cubicBezTo>
                  <a:moveTo>
                    <a:pt x="3367" y="310"/>
                  </a:moveTo>
                  <a:cubicBezTo>
                    <a:pt x="3361" y="310"/>
                    <a:pt x="3357" y="315"/>
                    <a:pt x="3359" y="320"/>
                  </a:cubicBezTo>
                  <a:cubicBezTo>
                    <a:pt x="3360" y="326"/>
                    <a:pt x="3367" y="331"/>
                    <a:pt x="3374" y="331"/>
                  </a:cubicBezTo>
                  <a:cubicBezTo>
                    <a:pt x="3380" y="331"/>
                    <a:pt x="3384" y="326"/>
                    <a:pt x="3382" y="320"/>
                  </a:cubicBezTo>
                  <a:cubicBezTo>
                    <a:pt x="3380" y="315"/>
                    <a:pt x="3373" y="310"/>
                    <a:pt x="3367" y="310"/>
                  </a:cubicBezTo>
                  <a:cubicBezTo>
                    <a:pt x="3367" y="310"/>
                    <a:pt x="3367" y="310"/>
                    <a:pt x="3367" y="310"/>
                  </a:cubicBezTo>
                  <a:moveTo>
                    <a:pt x="3401" y="310"/>
                  </a:moveTo>
                  <a:cubicBezTo>
                    <a:pt x="3395" y="310"/>
                    <a:pt x="3391" y="314"/>
                    <a:pt x="3393" y="320"/>
                  </a:cubicBezTo>
                  <a:cubicBezTo>
                    <a:pt x="3395" y="326"/>
                    <a:pt x="3402" y="330"/>
                    <a:pt x="3408" y="330"/>
                  </a:cubicBezTo>
                  <a:cubicBezTo>
                    <a:pt x="3414" y="330"/>
                    <a:pt x="3418" y="326"/>
                    <a:pt x="3416" y="320"/>
                  </a:cubicBezTo>
                  <a:cubicBezTo>
                    <a:pt x="3414" y="314"/>
                    <a:pt x="3408" y="310"/>
                    <a:pt x="3401" y="310"/>
                  </a:cubicBezTo>
                  <a:cubicBezTo>
                    <a:pt x="3401" y="310"/>
                    <a:pt x="3401" y="310"/>
                    <a:pt x="3401" y="310"/>
                  </a:cubicBezTo>
                  <a:moveTo>
                    <a:pt x="3434" y="309"/>
                  </a:moveTo>
                  <a:cubicBezTo>
                    <a:pt x="3428" y="310"/>
                    <a:pt x="3424" y="314"/>
                    <a:pt x="3426" y="320"/>
                  </a:cubicBezTo>
                  <a:cubicBezTo>
                    <a:pt x="3428" y="326"/>
                    <a:pt x="3435" y="330"/>
                    <a:pt x="3441" y="330"/>
                  </a:cubicBezTo>
                  <a:cubicBezTo>
                    <a:pt x="3448" y="330"/>
                    <a:pt x="3451" y="325"/>
                    <a:pt x="3449" y="320"/>
                  </a:cubicBezTo>
                  <a:cubicBezTo>
                    <a:pt x="3447" y="314"/>
                    <a:pt x="3441" y="309"/>
                    <a:pt x="3434" y="309"/>
                  </a:cubicBezTo>
                  <a:cubicBezTo>
                    <a:pt x="3434" y="309"/>
                    <a:pt x="3434" y="309"/>
                    <a:pt x="3434" y="309"/>
                  </a:cubicBezTo>
                  <a:moveTo>
                    <a:pt x="3467" y="309"/>
                  </a:moveTo>
                  <a:cubicBezTo>
                    <a:pt x="3461" y="309"/>
                    <a:pt x="3457" y="314"/>
                    <a:pt x="3459" y="320"/>
                  </a:cubicBezTo>
                  <a:cubicBezTo>
                    <a:pt x="3461" y="325"/>
                    <a:pt x="3468" y="330"/>
                    <a:pt x="3475" y="330"/>
                  </a:cubicBezTo>
                  <a:cubicBezTo>
                    <a:pt x="3481" y="330"/>
                    <a:pt x="3485" y="325"/>
                    <a:pt x="3483" y="319"/>
                  </a:cubicBezTo>
                  <a:cubicBezTo>
                    <a:pt x="3481" y="314"/>
                    <a:pt x="3474" y="309"/>
                    <a:pt x="3467" y="309"/>
                  </a:cubicBezTo>
                  <a:cubicBezTo>
                    <a:pt x="3467" y="309"/>
                    <a:pt x="3467" y="309"/>
                    <a:pt x="3467" y="309"/>
                  </a:cubicBezTo>
                  <a:moveTo>
                    <a:pt x="3501" y="309"/>
                  </a:moveTo>
                  <a:cubicBezTo>
                    <a:pt x="3494" y="309"/>
                    <a:pt x="3491" y="314"/>
                    <a:pt x="3493" y="319"/>
                  </a:cubicBezTo>
                  <a:cubicBezTo>
                    <a:pt x="3495" y="325"/>
                    <a:pt x="3502" y="330"/>
                    <a:pt x="3508" y="330"/>
                  </a:cubicBezTo>
                  <a:cubicBezTo>
                    <a:pt x="3515" y="329"/>
                    <a:pt x="3518" y="325"/>
                    <a:pt x="3516" y="319"/>
                  </a:cubicBezTo>
                  <a:cubicBezTo>
                    <a:pt x="3514" y="313"/>
                    <a:pt x="3507" y="309"/>
                    <a:pt x="3501" y="309"/>
                  </a:cubicBezTo>
                  <a:cubicBezTo>
                    <a:pt x="3501" y="309"/>
                    <a:pt x="3501" y="309"/>
                    <a:pt x="3501" y="309"/>
                  </a:cubicBezTo>
                  <a:moveTo>
                    <a:pt x="3534" y="309"/>
                  </a:moveTo>
                  <a:cubicBezTo>
                    <a:pt x="3527" y="309"/>
                    <a:pt x="3524" y="313"/>
                    <a:pt x="3526" y="319"/>
                  </a:cubicBezTo>
                  <a:cubicBezTo>
                    <a:pt x="3528" y="325"/>
                    <a:pt x="3535" y="329"/>
                    <a:pt x="3542" y="329"/>
                  </a:cubicBezTo>
                  <a:cubicBezTo>
                    <a:pt x="3548" y="329"/>
                    <a:pt x="3551" y="325"/>
                    <a:pt x="3549" y="319"/>
                  </a:cubicBezTo>
                  <a:cubicBezTo>
                    <a:pt x="3547" y="313"/>
                    <a:pt x="3540" y="309"/>
                    <a:pt x="3534" y="309"/>
                  </a:cubicBezTo>
                  <a:cubicBezTo>
                    <a:pt x="3534" y="309"/>
                    <a:pt x="3534" y="309"/>
                    <a:pt x="3534" y="309"/>
                  </a:cubicBezTo>
                  <a:moveTo>
                    <a:pt x="3567" y="308"/>
                  </a:moveTo>
                  <a:cubicBezTo>
                    <a:pt x="3560" y="308"/>
                    <a:pt x="3557" y="313"/>
                    <a:pt x="3559" y="319"/>
                  </a:cubicBezTo>
                  <a:cubicBezTo>
                    <a:pt x="3561" y="324"/>
                    <a:pt x="3569" y="329"/>
                    <a:pt x="3575" y="329"/>
                  </a:cubicBezTo>
                  <a:cubicBezTo>
                    <a:pt x="3581" y="329"/>
                    <a:pt x="3585" y="324"/>
                    <a:pt x="3583" y="319"/>
                  </a:cubicBezTo>
                  <a:cubicBezTo>
                    <a:pt x="3580" y="313"/>
                    <a:pt x="3573" y="308"/>
                    <a:pt x="3567" y="308"/>
                  </a:cubicBezTo>
                  <a:cubicBezTo>
                    <a:pt x="3567" y="308"/>
                    <a:pt x="3567" y="308"/>
                    <a:pt x="3567" y="308"/>
                  </a:cubicBezTo>
                  <a:moveTo>
                    <a:pt x="3600" y="308"/>
                  </a:moveTo>
                  <a:cubicBezTo>
                    <a:pt x="3593" y="308"/>
                    <a:pt x="3590" y="313"/>
                    <a:pt x="3592" y="319"/>
                  </a:cubicBezTo>
                  <a:cubicBezTo>
                    <a:pt x="3595" y="324"/>
                    <a:pt x="3602" y="329"/>
                    <a:pt x="3608" y="329"/>
                  </a:cubicBezTo>
                  <a:cubicBezTo>
                    <a:pt x="3615" y="329"/>
                    <a:pt x="3618" y="324"/>
                    <a:pt x="3616" y="318"/>
                  </a:cubicBezTo>
                  <a:cubicBezTo>
                    <a:pt x="3613" y="313"/>
                    <a:pt x="3606" y="308"/>
                    <a:pt x="3600" y="308"/>
                  </a:cubicBezTo>
                  <a:cubicBezTo>
                    <a:pt x="3600" y="308"/>
                    <a:pt x="3600" y="308"/>
                    <a:pt x="3600" y="308"/>
                  </a:cubicBezTo>
                  <a:moveTo>
                    <a:pt x="129" y="308"/>
                  </a:moveTo>
                  <a:cubicBezTo>
                    <a:pt x="123" y="308"/>
                    <a:pt x="113" y="313"/>
                    <a:pt x="108" y="318"/>
                  </a:cubicBezTo>
                  <a:cubicBezTo>
                    <a:pt x="103" y="324"/>
                    <a:pt x="105" y="328"/>
                    <a:pt x="111" y="328"/>
                  </a:cubicBezTo>
                  <a:cubicBezTo>
                    <a:pt x="117" y="328"/>
                    <a:pt x="127" y="324"/>
                    <a:pt x="132" y="318"/>
                  </a:cubicBezTo>
                  <a:cubicBezTo>
                    <a:pt x="137" y="313"/>
                    <a:pt x="135" y="308"/>
                    <a:pt x="129" y="308"/>
                  </a:cubicBezTo>
                  <a:cubicBezTo>
                    <a:pt x="129" y="308"/>
                    <a:pt x="129" y="308"/>
                    <a:pt x="129" y="308"/>
                  </a:cubicBezTo>
                  <a:moveTo>
                    <a:pt x="3633" y="308"/>
                  </a:moveTo>
                  <a:cubicBezTo>
                    <a:pt x="3627" y="308"/>
                    <a:pt x="3624" y="313"/>
                    <a:pt x="3626" y="318"/>
                  </a:cubicBezTo>
                  <a:cubicBezTo>
                    <a:pt x="3628" y="324"/>
                    <a:pt x="3636" y="329"/>
                    <a:pt x="3642" y="328"/>
                  </a:cubicBezTo>
                  <a:cubicBezTo>
                    <a:pt x="3649" y="328"/>
                    <a:pt x="3652" y="324"/>
                    <a:pt x="3649" y="318"/>
                  </a:cubicBezTo>
                  <a:cubicBezTo>
                    <a:pt x="3647" y="312"/>
                    <a:pt x="3640" y="308"/>
                    <a:pt x="3633" y="308"/>
                  </a:cubicBezTo>
                  <a:cubicBezTo>
                    <a:pt x="3633" y="308"/>
                    <a:pt x="3633" y="308"/>
                    <a:pt x="3633" y="308"/>
                  </a:cubicBezTo>
                  <a:moveTo>
                    <a:pt x="162" y="308"/>
                  </a:moveTo>
                  <a:cubicBezTo>
                    <a:pt x="156" y="308"/>
                    <a:pt x="146" y="312"/>
                    <a:pt x="141" y="318"/>
                  </a:cubicBezTo>
                  <a:cubicBezTo>
                    <a:pt x="136" y="324"/>
                    <a:pt x="138" y="328"/>
                    <a:pt x="144" y="328"/>
                  </a:cubicBezTo>
                  <a:cubicBezTo>
                    <a:pt x="151" y="328"/>
                    <a:pt x="160" y="323"/>
                    <a:pt x="165" y="318"/>
                  </a:cubicBezTo>
                  <a:cubicBezTo>
                    <a:pt x="170" y="312"/>
                    <a:pt x="168" y="308"/>
                    <a:pt x="162" y="308"/>
                  </a:cubicBezTo>
                  <a:cubicBezTo>
                    <a:pt x="162" y="308"/>
                    <a:pt x="162" y="308"/>
                    <a:pt x="162" y="308"/>
                  </a:cubicBezTo>
                  <a:moveTo>
                    <a:pt x="3667" y="308"/>
                  </a:moveTo>
                  <a:cubicBezTo>
                    <a:pt x="3660" y="308"/>
                    <a:pt x="3657" y="312"/>
                    <a:pt x="3659" y="318"/>
                  </a:cubicBezTo>
                  <a:cubicBezTo>
                    <a:pt x="3662" y="324"/>
                    <a:pt x="3669" y="328"/>
                    <a:pt x="3675" y="328"/>
                  </a:cubicBezTo>
                  <a:cubicBezTo>
                    <a:pt x="3682" y="328"/>
                    <a:pt x="3685" y="324"/>
                    <a:pt x="3683" y="318"/>
                  </a:cubicBezTo>
                  <a:cubicBezTo>
                    <a:pt x="3680" y="312"/>
                    <a:pt x="3673" y="308"/>
                    <a:pt x="3667" y="308"/>
                  </a:cubicBezTo>
                  <a:cubicBezTo>
                    <a:pt x="3667" y="308"/>
                    <a:pt x="3667" y="308"/>
                    <a:pt x="3667" y="308"/>
                  </a:cubicBezTo>
                  <a:moveTo>
                    <a:pt x="3701" y="307"/>
                  </a:moveTo>
                  <a:cubicBezTo>
                    <a:pt x="3694" y="307"/>
                    <a:pt x="3691" y="312"/>
                    <a:pt x="3694" y="318"/>
                  </a:cubicBezTo>
                  <a:cubicBezTo>
                    <a:pt x="3696" y="323"/>
                    <a:pt x="3704" y="328"/>
                    <a:pt x="3710" y="328"/>
                  </a:cubicBezTo>
                  <a:cubicBezTo>
                    <a:pt x="3716" y="328"/>
                    <a:pt x="3720" y="323"/>
                    <a:pt x="3717" y="318"/>
                  </a:cubicBezTo>
                  <a:cubicBezTo>
                    <a:pt x="3714" y="312"/>
                    <a:pt x="3707" y="307"/>
                    <a:pt x="3701" y="307"/>
                  </a:cubicBezTo>
                  <a:cubicBezTo>
                    <a:pt x="3701" y="307"/>
                    <a:pt x="3701" y="307"/>
                    <a:pt x="3701" y="307"/>
                  </a:cubicBezTo>
                  <a:moveTo>
                    <a:pt x="3734" y="307"/>
                  </a:moveTo>
                  <a:cubicBezTo>
                    <a:pt x="3727" y="307"/>
                    <a:pt x="3724" y="312"/>
                    <a:pt x="3727" y="317"/>
                  </a:cubicBezTo>
                  <a:cubicBezTo>
                    <a:pt x="3729" y="323"/>
                    <a:pt x="3737" y="328"/>
                    <a:pt x="3743" y="328"/>
                  </a:cubicBezTo>
                  <a:cubicBezTo>
                    <a:pt x="3750" y="328"/>
                    <a:pt x="3753" y="323"/>
                    <a:pt x="3750" y="317"/>
                  </a:cubicBezTo>
                  <a:cubicBezTo>
                    <a:pt x="3747" y="312"/>
                    <a:pt x="3740" y="307"/>
                    <a:pt x="3734" y="307"/>
                  </a:cubicBezTo>
                  <a:cubicBezTo>
                    <a:pt x="3734" y="307"/>
                    <a:pt x="3734" y="307"/>
                    <a:pt x="3734" y="307"/>
                  </a:cubicBezTo>
                  <a:moveTo>
                    <a:pt x="3767" y="307"/>
                  </a:moveTo>
                  <a:cubicBezTo>
                    <a:pt x="3760" y="307"/>
                    <a:pt x="3757" y="312"/>
                    <a:pt x="3760" y="317"/>
                  </a:cubicBezTo>
                  <a:cubicBezTo>
                    <a:pt x="3763" y="323"/>
                    <a:pt x="3770" y="327"/>
                    <a:pt x="3777" y="327"/>
                  </a:cubicBezTo>
                  <a:cubicBezTo>
                    <a:pt x="3783" y="327"/>
                    <a:pt x="3786" y="323"/>
                    <a:pt x="3783" y="317"/>
                  </a:cubicBezTo>
                  <a:cubicBezTo>
                    <a:pt x="3781" y="311"/>
                    <a:pt x="3773" y="307"/>
                    <a:pt x="3767" y="307"/>
                  </a:cubicBezTo>
                  <a:cubicBezTo>
                    <a:pt x="3767" y="307"/>
                    <a:pt x="3767" y="307"/>
                    <a:pt x="3767" y="307"/>
                  </a:cubicBezTo>
                  <a:moveTo>
                    <a:pt x="3800" y="307"/>
                  </a:moveTo>
                  <a:cubicBezTo>
                    <a:pt x="3794" y="307"/>
                    <a:pt x="3791" y="311"/>
                    <a:pt x="3794" y="317"/>
                  </a:cubicBezTo>
                  <a:cubicBezTo>
                    <a:pt x="3796" y="323"/>
                    <a:pt x="3804" y="327"/>
                    <a:pt x="3810" y="327"/>
                  </a:cubicBezTo>
                  <a:cubicBezTo>
                    <a:pt x="3817" y="327"/>
                    <a:pt x="3820" y="322"/>
                    <a:pt x="3817" y="317"/>
                  </a:cubicBezTo>
                  <a:cubicBezTo>
                    <a:pt x="3814" y="311"/>
                    <a:pt x="3807" y="307"/>
                    <a:pt x="3800" y="307"/>
                  </a:cubicBezTo>
                  <a:cubicBezTo>
                    <a:pt x="3800" y="307"/>
                    <a:pt x="3800" y="307"/>
                    <a:pt x="3800" y="307"/>
                  </a:cubicBezTo>
                  <a:moveTo>
                    <a:pt x="3833" y="306"/>
                  </a:moveTo>
                  <a:cubicBezTo>
                    <a:pt x="3827" y="306"/>
                    <a:pt x="3824" y="311"/>
                    <a:pt x="3827" y="317"/>
                  </a:cubicBezTo>
                  <a:cubicBezTo>
                    <a:pt x="3829" y="322"/>
                    <a:pt x="3837" y="327"/>
                    <a:pt x="3843" y="327"/>
                  </a:cubicBezTo>
                  <a:cubicBezTo>
                    <a:pt x="3850" y="327"/>
                    <a:pt x="3853" y="322"/>
                    <a:pt x="3850" y="317"/>
                  </a:cubicBezTo>
                  <a:cubicBezTo>
                    <a:pt x="3847" y="311"/>
                    <a:pt x="3840" y="306"/>
                    <a:pt x="3833" y="306"/>
                  </a:cubicBezTo>
                  <a:cubicBezTo>
                    <a:pt x="3833" y="306"/>
                    <a:pt x="3833" y="306"/>
                    <a:pt x="3833" y="306"/>
                  </a:cubicBezTo>
                  <a:moveTo>
                    <a:pt x="4131" y="305"/>
                  </a:moveTo>
                  <a:cubicBezTo>
                    <a:pt x="4125" y="305"/>
                    <a:pt x="4122" y="310"/>
                    <a:pt x="4126" y="316"/>
                  </a:cubicBezTo>
                  <a:cubicBezTo>
                    <a:pt x="4129" y="321"/>
                    <a:pt x="4137" y="326"/>
                    <a:pt x="4144" y="326"/>
                  </a:cubicBezTo>
                  <a:cubicBezTo>
                    <a:pt x="4150" y="326"/>
                    <a:pt x="4152" y="321"/>
                    <a:pt x="4149" y="315"/>
                  </a:cubicBezTo>
                  <a:cubicBezTo>
                    <a:pt x="4146" y="310"/>
                    <a:pt x="4138" y="305"/>
                    <a:pt x="4131" y="305"/>
                  </a:cubicBezTo>
                  <a:cubicBezTo>
                    <a:pt x="4131" y="305"/>
                    <a:pt x="4131" y="305"/>
                    <a:pt x="4131" y="305"/>
                  </a:cubicBezTo>
                  <a:moveTo>
                    <a:pt x="4098" y="304"/>
                  </a:moveTo>
                  <a:cubicBezTo>
                    <a:pt x="4091" y="305"/>
                    <a:pt x="4089" y="309"/>
                    <a:pt x="4092" y="315"/>
                  </a:cubicBezTo>
                  <a:cubicBezTo>
                    <a:pt x="4095" y="321"/>
                    <a:pt x="4103" y="325"/>
                    <a:pt x="4110" y="325"/>
                  </a:cubicBezTo>
                  <a:cubicBezTo>
                    <a:pt x="4116" y="325"/>
                    <a:pt x="4119" y="320"/>
                    <a:pt x="4115" y="315"/>
                  </a:cubicBezTo>
                  <a:cubicBezTo>
                    <a:pt x="4112" y="309"/>
                    <a:pt x="4104" y="304"/>
                    <a:pt x="4098" y="304"/>
                  </a:cubicBezTo>
                  <a:cubicBezTo>
                    <a:pt x="4098" y="304"/>
                    <a:pt x="4098" y="304"/>
                    <a:pt x="4098" y="304"/>
                  </a:cubicBezTo>
                  <a:moveTo>
                    <a:pt x="430" y="304"/>
                  </a:moveTo>
                  <a:cubicBezTo>
                    <a:pt x="424" y="304"/>
                    <a:pt x="415" y="308"/>
                    <a:pt x="411" y="314"/>
                  </a:cubicBezTo>
                  <a:cubicBezTo>
                    <a:pt x="406" y="320"/>
                    <a:pt x="408" y="324"/>
                    <a:pt x="414" y="324"/>
                  </a:cubicBezTo>
                  <a:cubicBezTo>
                    <a:pt x="421" y="324"/>
                    <a:pt x="429" y="319"/>
                    <a:pt x="434" y="314"/>
                  </a:cubicBezTo>
                  <a:cubicBezTo>
                    <a:pt x="438" y="308"/>
                    <a:pt x="436" y="304"/>
                    <a:pt x="430" y="304"/>
                  </a:cubicBezTo>
                  <a:cubicBezTo>
                    <a:pt x="430" y="304"/>
                    <a:pt x="430" y="304"/>
                    <a:pt x="430" y="304"/>
                  </a:cubicBezTo>
                  <a:moveTo>
                    <a:pt x="463" y="304"/>
                  </a:moveTo>
                  <a:cubicBezTo>
                    <a:pt x="456" y="304"/>
                    <a:pt x="448" y="308"/>
                    <a:pt x="443" y="314"/>
                  </a:cubicBezTo>
                  <a:cubicBezTo>
                    <a:pt x="439" y="319"/>
                    <a:pt x="441" y="324"/>
                    <a:pt x="447" y="324"/>
                  </a:cubicBezTo>
                  <a:cubicBezTo>
                    <a:pt x="454" y="324"/>
                    <a:pt x="462" y="319"/>
                    <a:pt x="467" y="314"/>
                  </a:cubicBezTo>
                  <a:cubicBezTo>
                    <a:pt x="471" y="308"/>
                    <a:pt x="469" y="304"/>
                    <a:pt x="463" y="304"/>
                  </a:cubicBezTo>
                  <a:cubicBezTo>
                    <a:pt x="463" y="304"/>
                    <a:pt x="463" y="304"/>
                    <a:pt x="463" y="304"/>
                  </a:cubicBezTo>
                  <a:moveTo>
                    <a:pt x="496" y="303"/>
                  </a:moveTo>
                  <a:cubicBezTo>
                    <a:pt x="489" y="303"/>
                    <a:pt x="481" y="308"/>
                    <a:pt x="477" y="314"/>
                  </a:cubicBezTo>
                  <a:cubicBezTo>
                    <a:pt x="472" y="319"/>
                    <a:pt x="474" y="324"/>
                    <a:pt x="481" y="324"/>
                  </a:cubicBezTo>
                  <a:cubicBezTo>
                    <a:pt x="487" y="324"/>
                    <a:pt x="496" y="319"/>
                    <a:pt x="500" y="313"/>
                  </a:cubicBezTo>
                  <a:cubicBezTo>
                    <a:pt x="504" y="308"/>
                    <a:pt x="502" y="303"/>
                    <a:pt x="496" y="303"/>
                  </a:cubicBezTo>
                  <a:cubicBezTo>
                    <a:pt x="496" y="303"/>
                    <a:pt x="496" y="303"/>
                    <a:pt x="496" y="303"/>
                  </a:cubicBezTo>
                  <a:moveTo>
                    <a:pt x="529" y="303"/>
                  </a:moveTo>
                  <a:cubicBezTo>
                    <a:pt x="522" y="303"/>
                    <a:pt x="514" y="308"/>
                    <a:pt x="510" y="313"/>
                  </a:cubicBezTo>
                  <a:cubicBezTo>
                    <a:pt x="505" y="319"/>
                    <a:pt x="507" y="323"/>
                    <a:pt x="514" y="323"/>
                  </a:cubicBezTo>
                  <a:cubicBezTo>
                    <a:pt x="520" y="323"/>
                    <a:pt x="529" y="319"/>
                    <a:pt x="533" y="313"/>
                  </a:cubicBezTo>
                  <a:cubicBezTo>
                    <a:pt x="537" y="308"/>
                    <a:pt x="535" y="303"/>
                    <a:pt x="529" y="303"/>
                  </a:cubicBezTo>
                  <a:cubicBezTo>
                    <a:pt x="529" y="303"/>
                    <a:pt x="529" y="303"/>
                    <a:pt x="529" y="303"/>
                  </a:cubicBezTo>
                  <a:moveTo>
                    <a:pt x="562" y="303"/>
                  </a:moveTo>
                  <a:cubicBezTo>
                    <a:pt x="555" y="303"/>
                    <a:pt x="547" y="307"/>
                    <a:pt x="543" y="313"/>
                  </a:cubicBezTo>
                  <a:cubicBezTo>
                    <a:pt x="539" y="319"/>
                    <a:pt x="541" y="323"/>
                    <a:pt x="547" y="323"/>
                  </a:cubicBezTo>
                  <a:cubicBezTo>
                    <a:pt x="553" y="323"/>
                    <a:pt x="562" y="318"/>
                    <a:pt x="566" y="313"/>
                  </a:cubicBezTo>
                  <a:cubicBezTo>
                    <a:pt x="570" y="307"/>
                    <a:pt x="568" y="303"/>
                    <a:pt x="562" y="303"/>
                  </a:cubicBezTo>
                  <a:cubicBezTo>
                    <a:pt x="562" y="303"/>
                    <a:pt x="562" y="303"/>
                    <a:pt x="562" y="303"/>
                  </a:cubicBezTo>
                  <a:moveTo>
                    <a:pt x="596" y="303"/>
                  </a:moveTo>
                  <a:cubicBezTo>
                    <a:pt x="590" y="303"/>
                    <a:pt x="581" y="307"/>
                    <a:pt x="577" y="313"/>
                  </a:cubicBezTo>
                  <a:cubicBezTo>
                    <a:pt x="573" y="318"/>
                    <a:pt x="575" y="323"/>
                    <a:pt x="581" y="323"/>
                  </a:cubicBezTo>
                  <a:cubicBezTo>
                    <a:pt x="588" y="323"/>
                    <a:pt x="596" y="318"/>
                    <a:pt x="600" y="313"/>
                  </a:cubicBezTo>
                  <a:cubicBezTo>
                    <a:pt x="604" y="307"/>
                    <a:pt x="602" y="303"/>
                    <a:pt x="596" y="303"/>
                  </a:cubicBezTo>
                  <a:cubicBezTo>
                    <a:pt x="596" y="303"/>
                    <a:pt x="596" y="303"/>
                    <a:pt x="596" y="303"/>
                  </a:cubicBezTo>
                  <a:moveTo>
                    <a:pt x="629" y="302"/>
                  </a:moveTo>
                  <a:cubicBezTo>
                    <a:pt x="622" y="302"/>
                    <a:pt x="614" y="307"/>
                    <a:pt x="610" y="312"/>
                  </a:cubicBezTo>
                  <a:cubicBezTo>
                    <a:pt x="606" y="318"/>
                    <a:pt x="608" y="323"/>
                    <a:pt x="614" y="323"/>
                  </a:cubicBezTo>
                  <a:cubicBezTo>
                    <a:pt x="621" y="322"/>
                    <a:pt x="629" y="318"/>
                    <a:pt x="633" y="312"/>
                  </a:cubicBezTo>
                  <a:cubicBezTo>
                    <a:pt x="637" y="307"/>
                    <a:pt x="635" y="302"/>
                    <a:pt x="629" y="302"/>
                  </a:cubicBezTo>
                  <a:cubicBezTo>
                    <a:pt x="629" y="302"/>
                    <a:pt x="629" y="302"/>
                    <a:pt x="629" y="302"/>
                  </a:cubicBezTo>
                  <a:moveTo>
                    <a:pt x="662" y="302"/>
                  </a:moveTo>
                  <a:cubicBezTo>
                    <a:pt x="655" y="302"/>
                    <a:pt x="647" y="307"/>
                    <a:pt x="643" y="312"/>
                  </a:cubicBezTo>
                  <a:cubicBezTo>
                    <a:pt x="639" y="318"/>
                    <a:pt x="641" y="322"/>
                    <a:pt x="648" y="322"/>
                  </a:cubicBezTo>
                  <a:cubicBezTo>
                    <a:pt x="654" y="322"/>
                    <a:pt x="663" y="318"/>
                    <a:pt x="666" y="312"/>
                  </a:cubicBezTo>
                  <a:cubicBezTo>
                    <a:pt x="670" y="306"/>
                    <a:pt x="668" y="302"/>
                    <a:pt x="662" y="302"/>
                  </a:cubicBezTo>
                  <a:cubicBezTo>
                    <a:pt x="662" y="302"/>
                    <a:pt x="662" y="302"/>
                    <a:pt x="662" y="302"/>
                  </a:cubicBezTo>
                  <a:moveTo>
                    <a:pt x="695" y="302"/>
                  </a:moveTo>
                  <a:cubicBezTo>
                    <a:pt x="689" y="302"/>
                    <a:pt x="681" y="306"/>
                    <a:pt x="677" y="312"/>
                  </a:cubicBezTo>
                  <a:cubicBezTo>
                    <a:pt x="673" y="318"/>
                    <a:pt x="675" y="322"/>
                    <a:pt x="681" y="322"/>
                  </a:cubicBezTo>
                  <a:cubicBezTo>
                    <a:pt x="688" y="322"/>
                    <a:pt x="696" y="317"/>
                    <a:pt x="700" y="312"/>
                  </a:cubicBezTo>
                  <a:cubicBezTo>
                    <a:pt x="704" y="306"/>
                    <a:pt x="702" y="302"/>
                    <a:pt x="695" y="302"/>
                  </a:cubicBezTo>
                  <a:cubicBezTo>
                    <a:pt x="695" y="302"/>
                    <a:pt x="695" y="302"/>
                    <a:pt x="695" y="302"/>
                  </a:cubicBezTo>
                  <a:moveTo>
                    <a:pt x="728" y="301"/>
                  </a:moveTo>
                  <a:cubicBezTo>
                    <a:pt x="722" y="302"/>
                    <a:pt x="713" y="306"/>
                    <a:pt x="710" y="312"/>
                  </a:cubicBezTo>
                  <a:cubicBezTo>
                    <a:pt x="706" y="317"/>
                    <a:pt x="708" y="322"/>
                    <a:pt x="715" y="322"/>
                  </a:cubicBezTo>
                  <a:cubicBezTo>
                    <a:pt x="721" y="322"/>
                    <a:pt x="729" y="317"/>
                    <a:pt x="733" y="311"/>
                  </a:cubicBezTo>
                  <a:cubicBezTo>
                    <a:pt x="737" y="306"/>
                    <a:pt x="734" y="301"/>
                    <a:pt x="728" y="301"/>
                  </a:cubicBezTo>
                  <a:cubicBezTo>
                    <a:pt x="728" y="301"/>
                    <a:pt x="728" y="301"/>
                    <a:pt x="728" y="301"/>
                  </a:cubicBezTo>
                  <a:moveTo>
                    <a:pt x="761" y="301"/>
                  </a:moveTo>
                  <a:cubicBezTo>
                    <a:pt x="755" y="301"/>
                    <a:pt x="747" y="306"/>
                    <a:pt x="743" y="311"/>
                  </a:cubicBezTo>
                  <a:cubicBezTo>
                    <a:pt x="739" y="317"/>
                    <a:pt x="741" y="322"/>
                    <a:pt x="748" y="321"/>
                  </a:cubicBezTo>
                  <a:cubicBezTo>
                    <a:pt x="754" y="321"/>
                    <a:pt x="762" y="317"/>
                    <a:pt x="766" y="311"/>
                  </a:cubicBezTo>
                  <a:cubicBezTo>
                    <a:pt x="770" y="306"/>
                    <a:pt x="767" y="301"/>
                    <a:pt x="761" y="301"/>
                  </a:cubicBezTo>
                  <a:cubicBezTo>
                    <a:pt x="761" y="301"/>
                    <a:pt x="761" y="301"/>
                    <a:pt x="761" y="301"/>
                  </a:cubicBezTo>
                  <a:moveTo>
                    <a:pt x="794" y="301"/>
                  </a:moveTo>
                  <a:cubicBezTo>
                    <a:pt x="787" y="301"/>
                    <a:pt x="779" y="306"/>
                    <a:pt x="776" y="311"/>
                  </a:cubicBezTo>
                  <a:cubicBezTo>
                    <a:pt x="772" y="317"/>
                    <a:pt x="774" y="321"/>
                    <a:pt x="781" y="321"/>
                  </a:cubicBezTo>
                  <a:cubicBezTo>
                    <a:pt x="787" y="321"/>
                    <a:pt x="795" y="317"/>
                    <a:pt x="799" y="311"/>
                  </a:cubicBezTo>
                  <a:cubicBezTo>
                    <a:pt x="803" y="305"/>
                    <a:pt x="800" y="301"/>
                    <a:pt x="794" y="301"/>
                  </a:cubicBezTo>
                  <a:cubicBezTo>
                    <a:pt x="794" y="301"/>
                    <a:pt x="794" y="301"/>
                    <a:pt x="794" y="301"/>
                  </a:cubicBezTo>
                  <a:moveTo>
                    <a:pt x="827" y="301"/>
                  </a:moveTo>
                  <a:cubicBezTo>
                    <a:pt x="821" y="301"/>
                    <a:pt x="813" y="305"/>
                    <a:pt x="809" y="311"/>
                  </a:cubicBezTo>
                  <a:cubicBezTo>
                    <a:pt x="805" y="316"/>
                    <a:pt x="808" y="321"/>
                    <a:pt x="814" y="321"/>
                  </a:cubicBezTo>
                  <a:cubicBezTo>
                    <a:pt x="821" y="321"/>
                    <a:pt x="829" y="316"/>
                    <a:pt x="832" y="311"/>
                  </a:cubicBezTo>
                  <a:cubicBezTo>
                    <a:pt x="836" y="305"/>
                    <a:pt x="833" y="301"/>
                    <a:pt x="827" y="301"/>
                  </a:cubicBezTo>
                  <a:cubicBezTo>
                    <a:pt x="827" y="301"/>
                    <a:pt x="827" y="301"/>
                    <a:pt x="827" y="301"/>
                  </a:cubicBezTo>
                  <a:moveTo>
                    <a:pt x="860" y="300"/>
                  </a:moveTo>
                  <a:cubicBezTo>
                    <a:pt x="854" y="300"/>
                    <a:pt x="846" y="305"/>
                    <a:pt x="842" y="311"/>
                  </a:cubicBezTo>
                  <a:cubicBezTo>
                    <a:pt x="839" y="316"/>
                    <a:pt x="841" y="321"/>
                    <a:pt x="848" y="321"/>
                  </a:cubicBezTo>
                  <a:cubicBezTo>
                    <a:pt x="854" y="321"/>
                    <a:pt x="862" y="316"/>
                    <a:pt x="866" y="310"/>
                  </a:cubicBezTo>
                  <a:cubicBezTo>
                    <a:pt x="869" y="305"/>
                    <a:pt x="867" y="300"/>
                    <a:pt x="860" y="300"/>
                  </a:cubicBezTo>
                  <a:cubicBezTo>
                    <a:pt x="860" y="300"/>
                    <a:pt x="860" y="300"/>
                    <a:pt x="860" y="300"/>
                  </a:cubicBezTo>
                  <a:moveTo>
                    <a:pt x="893" y="300"/>
                  </a:moveTo>
                  <a:cubicBezTo>
                    <a:pt x="887" y="300"/>
                    <a:pt x="879" y="305"/>
                    <a:pt x="875" y="310"/>
                  </a:cubicBezTo>
                  <a:cubicBezTo>
                    <a:pt x="872" y="316"/>
                    <a:pt x="874" y="320"/>
                    <a:pt x="881" y="320"/>
                  </a:cubicBezTo>
                  <a:cubicBezTo>
                    <a:pt x="887" y="320"/>
                    <a:pt x="895" y="316"/>
                    <a:pt x="899" y="310"/>
                  </a:cubicBezTo>
                  <a:cubicBezTo>
                    <a:pt x="902" y="305"/>
                    <a:pt x="900" y="300"/>
                    <a:pt x="893" y="300"/>
                  </a:cubicBezTo>
                  <a:cubicBezTo>
                    <a:pt x="893" y="300"/>
                    <a:pt x="893" y="300"/>
                    <a:pt x="893" y="300"/>
                  </a:cubicBezTo>
                  <a:moveTo>
                    <a:pt x="924" y="300"/>
                  </a:moveTo>
                  <a:cubicBezTo>
                    <a:pt x="918" y="300"/>
                    <a:pt x="910" y="304"/>
                    <a:pt x="907" y="310"/>
                  </a:cubicBezTo>
                  <a:cubicBezTo>
                    <a:pt x="903" y="316"/>
                    <a:pt x="906" y="320"/>
                    <a:pt x="912" y="320"/>
                  </a:cubicBezTo>
                  <a:cubicBezTo>
                    <a:pt x="919" y="320"/>
                    <a:pt x="927" y="316"/>
                    <a:pt x="930" y="310"/>
                  </a:cubicBezTo>
                  <a:cubicBezTo>
                    <a:pt x="933" y="304"/>
                    <a:pt x="931" y="300"/>
                    <a:pt x="925" y="300"/>
                  </a:cubicBezTo>
                  <a:cubicBezTo>
                    <a:pt x="924" y="300"/>
                    <a:pt x="924" y="300"/>
                    <a:pt x="924" y="300"/>
                  </a:cubicBezTo>
                  <a:moveTo>
                    <a:pt x="1156" y="298"/>
                  </a:moveTo>
                  <a:cubicBezTo>
                    <a:pt x="1149" y="298"/>
                    <a:pt x="1142" y="303"/>
                    <a:pt x="1139" y="308"/>
                  </a:cubicBezTo>
                  <a:cubicBezTo>
                    <a:pt x="1136" y="314"/>
                    <a:pt x="1139" y="318"/>
                    <a:pt x="1145" y="318"/>
                  </a:cubicBezTo>
                  <a:cubicBezTo>
                    <a:pt x="1152" y="318"/>
                    <a:pt x="1159" y="314"/>
                    <a:pt x="1162" y="308"/>
                  </a:cubicBezTo>
                  <a:cubicBezTo>
                    <a:pt x="1165" y="302"/>
                    <a:pt x="1162" y="298"/>
                    <a:pt x="1156" y="298"/>
                  </a:cubicBezTo>
                  <a:cubicBezTo>
                    <a:pt x="1156" y="298"/>
                    <a:pt x="1156" y="298"/>
                    <a:pt x="1156" y="298"/>
                  </a:cubicBezTo>
                  <a:moveTo>
                    <a:pt x="1188" y="297"/>
                  </a:moveTo>
                  <a:cubicBezTo>
                    <a:pt x="1182" y="297"/>
                    <a:pt x="1174" y="302"/>
                    <a:pt x="1172" y="307"/>
                  </a:cubicBezTo>
                  <a:cubicBezTo>
                    <a:pt x="1169" y="313"/>
                    <a:pt x="1172" y="317"/>
                    <a:pt x="1178" y="317"/>
                  </a:cubicBezTo>
                  <a:cubicBezTo>
                    <a:pt x="1185" y="317"/>
                    <a:pt x="1192" y="313"/>
                    <a:pt x="1195" y="307"/>
                  </a:cubicBezTo>
                  <a:cubicBezTo>
                    <a:pt x="1198" y="302"/>
                    <a:pt x="1195" y="297"/>
                    <a:pt x="1188" y="297"/>
                  </a:cubicBezTo>
                  <a:cubicBezTo>
                    <a:pt x="1188" y="297"/>
                    <a:pt x="1188" y="297"/>
                    <a:pt x="1188" y="297"/>
                  </a:cubicBezTo>
                  <a:moveTo>
                    <a:pt x="1222" y="297"/>
                  </a:moveTo>
                  <a:cubicBezTo>
                    <a:pt x="1215" y="297"/>
                    <a:pt x="1208" y="301"/>
                    <a:pt x="1205" y="307"/>
                  </a:cubicBezTo>
                  <a:cubicBezTo>
                    <a:pt x="1202" y="313"/>
                    <a:pt x="1205" y="317"/>
                    <a:pt x="1212" y="317"/>
                  </a:cubicBezTo>
                  <a:cubicBezTo>
                    <a:pt x="1218" y="317"/>
                    <a:pt x="1226" y="312"/>
                    <a:pt x="1228" y="307"/>
                  </a:cubicBezTo>
                  <a:cubicBezTo>
                    <a:pt x="1231" y="301"/>
                    <a:pt x="1228" y="297"/>
                    <a:pt x="1222" y="297"/>
                  </a:cubicBezTo>
                  <a:cubicBezTo>
                    <a:pt x="1222" y="297"/>
                    <a:pt x="1222" y="297"/>
                    <a:pt x="1222" y="297"/>
                  </a:cubicBezTo>
                  <a:moveTo>
                    <a:pt x="1254" y="297"/>
                  </a:moveTo>
                  <a:cubicBezTo>
                    <a:pt x="1248" y="297"/>
                    <a:pt x="1241" y="301"/>
                    <a:pt x="1238" y="307"/>
                  </a:cubicBezTo>
                  <a:cubicBezTo>
                    <a:pt x="1235" y="312"/>
                    <a:pt x="1238" y="317"/>
                    <a:pt x="1245" y="317"/>
                  </a:cubicBezTo>
                  <a:cubicBezTo>
                    <a:pt x="1251" y="317"/>
                    <a:pt x="1259" y="312"/>
                    <a:pt x="1261" y="307"/>
                  </a:cubicBezTo>
                  <a:cubicBezTo>
                    <a:pt x="1264" y="301"/>
                    <a:pt x="1261" y="297"/>
                    <a:pt x="1254" y="297"/>
                  </a:cubicBezTo>
                  <a:cubicBezTo>
                    <a:pt x="1254" y="297"/>
                    <a:pt x="1254" y="297"/>
                    <a:pt x="1254" y="297"/>
                  </a:cubicBezTo>
                  <a:moveTo>
                    <a:pt x="1288" y="296"/>
                  </a:moveTo>
                  <a:cubicBezTo>
                    <a:pt x="1282" y="296"/>
                    <a:pt x="1275" y="301"/>
                    <a:pt x="1272" y="306"/>
                  </a:cubicBezTo>
                  <a:cubicBezTo>
                    <a:pt x="1269" y="312"/>
                    <a:pt x="1272" y="317"/>
                    <a:pt x="1279" y="317"/>
                  </a:cubicBezTo>
                  <a:cubicBezTo>
                    <a:pt x="1285" y="317"/>
                    <a:pt x="1293" y="312"/>
                    <a:pt x="1295" y="306"/>
                  </a:cubicBezTo>
                  <a:cubicBezTo>
                    <a:pt x="1298" y="301"/>
                    <a:pt x="1295" y="296"/>
                    <a:pt x="1288" y="296"/>
                  </a:cubicBezTo>
                  <a:cubicBezTo>
                    <a:pt x="1288" y="296"/>
                    <a:pt x="1288" y="296"/>
                    <a:pt x="1288" y="296"/>
                  </a:cubicBezTo>
                  <a:moveTo>
                    <a:pt x="2243" y="290"/>
                  </a:moveTo>
                  <a:cubicBezTo>
                    <a:pt x="2237" y="290"/>
                    <a:pt x="2231" y="294"/>
                    <a:pt x="2231" y="300"/>
                  </a:cubicBezTo>
                  <a:cubicBezTo>
                    <a:pt x="2230" y="306"/>
                    <a:pt x="2235" y="310"/>
                    <a:pt x="2241" y="310"/>
                  </a:cubicBezTo>
                  <a:cubicBezTo>
                    <a:pt x="2248" y="310"/>
                    <a:pt x="2253" y="305"/>
                    <a:pt x="2254" y="300"/>
                  </a:cubicBezTo>
                  <a:cubicBezTo>
                    <a:pt x="2254" y="294"/>
                    <a:pt x="2250" y="290"/>
                    <a:pt x="2243" y="290"/>
                  </a:cubicBezTo>
                  <a:cubicBezTo>
                    <a:pt x="2243" y="290"/>
                    <a:pt x="2243" y="290"/>
                    <a:pt x="2243" y="290"/>
                  </a:cubicBezTo>
                  <a:moveTo>
                    <a:pt x="2276" y="289"/>
                  </a:moveTo>
                  <a:cubicBezTo>
                    <a:pt x="2270" y="289"/>
                    <a:pt x="2264" y="294"/>
                    <a:pt x="2263" y="300"/>
                  </a:cubicBezTo>
                  <a:cubicBezTo>
                    <a:pt x="2263" y="305"/>
                    <a:pt x="2268" y="310"/>
                    <a:pt x="2274" y="310"/>
                  </a:cubicBezTo>
                  <a:cubicBezTo>
                    <a:pt x="2281" y="310"/>
                    <a:pt x="2286" y="305"/>
                    <a:pt x="2287" y="300"/>
                  </a:cubicBezTo>
                  <a:cubicBezTo>
                    <a:pt x="2287" y="294"/>
                    <a:pt x="2282" y="289"/>
                    <a:pt x="2276" y="289"/>
                  </a:cubicBezTo>
                  <a:cubicBezTo>
                    <a:pt x="2276" y="289"/>
                    <a:pt x="2276" y="289"/>
                    <a:pt x="2276" y="289"/>
                  </a:cubicBezTo>
                  <a:moveTo>
                    <a:pt x="2407" y="288"/>
                  </a:moveTo>
                  <a:cubicBezTo>
                    <a:pt x="2401" y="288"/>
                    <a:pt x="2395" y="293"/>
                    <a:pt x="2395" y="299"/>
                  </a:cubicBezTo>
                  <a:cubicBezTo>
                    <a:pt x="2395" y="304"/>
                    <a:pt x="2400" y="309"/>
                    <a:pt x="2406" y="309"/>
                  </a:cubicBezTo>
                  <a:cubicBezTo>
                    <a:pt x="2413" y="309"/>
                    <a:pt x="2418" y="304"/>
                    <a:pt x="2418" y="299"/>
                  </a:cubicBezTo>
                  <a:cubicBezTo>
                    <a:pt x="2419" y="293"/>
                    <a:pt x="2414" y="288"/>
                    <a:pt x="2407" y="288"/>
                  </a:cubicBezTo>
                  <a:cubicBezTo>
                    <a:pt x="2407" y="288"/>
                    <a:pt x="2407" y="288"/>
                    <a:pt x="2407" y="288"/>
                  </a:cubicBezTo>
                  <a:moveTo>
                    <a:pt x="2572" y="288"/>
                  </a:moveTo>
                  <a:cubicBezTo>
                    <a:pt x="2566" y="288"/>
                    <a:pt x="2561" y="293"/>
                    <a:pt x="2561" y="299"/>
                  </a:cubicBezTo>
                  <a:cubicBezTo>
                    <a:pt x="2561" y="304"/>
                    <a:pt x="2567" y="309"/>
                    <a:pt x="2573" y="309"/>
                  </a:cubicBezTo>
                  <a:cubicBezTo>
                    <a:pt x="2579" y="309"/>
                    <a:pt x="2584" y="304"/>
                    <a:pt x="2584" y="299"/>
                  </a:cubicBezTo>
                  <a:cubicBezTo>
                    <a:pt x="2584" y="293"/>
                    <a:pt x="2579" y="288"/>
                    <a:pt x="2573" y="288"/>
                  </a:cubicBezTo>
                  <a:cubicBezTo>
                    <a:pt x="2572" y="288"/>
                    <a:pt x="2572" y="288"/>
                    <a:pt x="2572" y="288"/>
                  </a:cubicBezTo>
                  <a:moveTo>
                    <a:pt x="2440" y="288"/>
                  </a:moveTo>
                  <a:cubicBezTo>
                    <a:pt x="2433" y="288"/>
                    <a:pt x="2428" y="293"/>
                    <a:pt x="2428" y="298"/>
                  </a:cubicBezTo>
                  <a:cubicBezTo>
                    <a:pt x="2428" y="304"/>
                    <a:pt x="2433" y="309"/>
                    <a:pt x="2439" y="309"/>
                  </a:cubicBezTo>
                  <a:cubicBezTo>
                    <a:pt x="2446" y="308"/>
                    <a:pt x="2451" y="304"/>
                    <a:pt x="2451" y="298"/>
                  </a:cubicBezTo>
                  <a:cubicBezTo>
                    <a:pt x="2451" y="293"/>
                    <a:pt x="2446" y="288"/>
                    <a:pt x="2440" y="288"/>
                  </a:cubicBezTo>
                  <a:cubicBezTo>
                    <a:pt x="2440" y="288"/>
                    <a:pt x="2440" y="288"/>
                    <a:pt x="2440" y="288"/>
                  </a:cubicBezTo>
                  <a:moveTo>
                    <a:pt x="2605" y="288"/>
                  </a:moveTo>
                  <a:cubicBezTo>
                    <a:pt x="2599" y="288"/>
                    <a:pt x="2594" y="293"/>
                    <a:pt x="2594" y="298"/>
                  </a:cubicBezTo>
                  <a:cubicBezTo>
                    <a:pt x="2594" y="304"/>
                    <a:pt x="2600" y="309"/>
                    <a:pt x="2606" y="309"/>
                  </a:cubicBezTo>
                  <a:cubicBezTo>
                    <a:pt x="2612" y="309"/>
                    <a:pt x="2617" y="304"/>
                    <a:pt x="2617" y="298"/>
                  </a:cubicBezTo>
                  <a:cubicBezTo>
                    <a:pt x="2617" y="293"/>
                    <a:pt x="2612" y="288"/>
                    <a:pt x="2605" y="288"/>
                  </a:cubicBezTo>
                  <a:cubicBezTo>
                    <a:pt x="2605" y="288"/>
                    <a:pt x="2605" y="288"/>
                    <a:pt x="2605" y="288"/>
                  </a:cubicBezTo>
                  <a:moveTo>
                    <a:pt x="2473" y="288"/>
                  </a:moveTo>
                  <a:cubicBezTo>
                    <a:pt x="2466" y="288"/>
                    <a:pt x="2461" y="293"/>
                    <a:pt x="2461" y="298"/>
                  </a:cubicBezTo>
                  <a:cubicBezTo>
                    <a:pt x="2461" y="304"/>
                    <a:pt x="2466" y="308"/>
                    <a:pt x="2472" y="308"/>
                  </a:cubicBezTo>
                  <a:cubicBezTo>
                    <a:pt x="2479" y="308"/>
                    <a:pt x="2484" y="304"/>
                    <a:pt x="2484" y="298"/>
                  </a:cubicBezTo>
                  <a:cubicBezTo>
                    <a:pt x="2484" y="292"/>
                    <a:pt x="2479" y="288"/>
                    <a:pt x="2473" y="288"/>
                  </a:cubicBezTo>
                  <a:cubicBezTo>
                    <a:pt x="2473" y="288"/>
                    <a:pt x="2473" y="288"/>
                    <a:pt x="2473" y="288"/>
                  </a:cubicBezTo>
                  <a:moveTo>
                    <a:pt x="2638" y="288"/>
                  </a:moveTo>
                  <a:cubicBezTo>
                    <a:pt x="2631" y="288"/>
                    <a:pt x="2627" y="293"/>
                    <a:pt x="2627" y="298"/>
                  </a:cubicBezTo>
                  <a:cubicBezTo>
                    <a:pt x="2627" y="304"/>
                    <a:pt x="2632" y="308"/>
                    <a:pt x="2639" y="308"/>
                  </a:cubicBezTo>
                  <a:cubicBezTo>
                    <a:pt x="2645" y="308"/>
                    <a:pt x="2650" y="304"/>
                    <a:pt x="2650" y="298"/>
                  </a:cubicBezTo>
                  <a:cubicBezTo>
                    <a:pt x="2650" y="292"/>
                    <a:pt x="2644" y="288"/>
                    <a:pt x="2638" y="288"/>
                  </a:cubicBezTo>
                  <a:cubicBezTo>
                    <a:pt x="2638" y="288"/>
                    <a:pt x="2638" y="288"/>
                    <a:pt x="2638" y="288"/>
                  </a:cubicBezTo>
                  <a:moveTo>
                    <a:pt x="2505" y="288"/>
                  </a:moveTo>
                  <a:cubicBezTo>
                    <a:pt x="2499" y="288"/>
                    <a:pt x="2494" y="292"/>
                    <a:pt x="2494" y="298"/>
                  </a:cubicBezTo>
                  <a:cubicBezTo>
                    <a:pt x="2494" y="304"/>
                    <a:pt x="2499" y="308"/>
                    <a:pt x="2505" y="308"/>
                  </a:cubicBezTo>
                  <a:cubicBezTo>
                    <a:pt x="2512" y="308"/>
                    <a:pt x="2517" y="303"/>
                    <a:pt x="2517" y="298"/>
                  </a:cubicBezTo>
                  <a:cubicBezTo>
                    <a:pt x="2517" y="292"/>
                    <a:pt x="2512" y="288"/>
                    <a:pt x="2505" y="288"/>
                  </a:cubicBezTo>
                  <a:cubicBezTo>
                    <a:pt x="2505" y="288"/>
                    <a:pt x="2505" y="288"/>
                    <a:pt x="2505" y="288"/>
                  </a:cubicBezTo>
                  <a:moveTo>
                    <a:pt x="2670" y="288"/>
                  </a:moveTo>
                  <a:cubicBezTo>
                    <a:pt x="2664" y="288"/>
                    <a:pt x="2659" y="292"/>
                    <a:pt x="2659" y="298"/>
                  </a:cubicBezTo>
                  <a:cubicBezTo>
                    <a:pt x="2660" y="304"/>
                    <a:pt x="2665" y="308"/>
                    <a:pt x="2672" y="308"/>
                  </a:cubicBezTo>
                  <a:cubicBezTo>
                    <a:pt x="2678" y="308"/>
                    <a:pt x="2683" y="303"/>
                    <a:pt x="2682" y="298"/>
                  </a:cubicBezTo>
                  <a:cubicBezTo>
                    <a:pt x="2682" y="292"/>
                    <a:pt x="2677" y="288"/>
                    <a:pt x="2670" y="288"/>
                  </a:cubicBezTo>
                  <a:cubicBezTo>
                    <a:pt x="2670" y="288"/>
                    <a:pt x="2670" y="288"/>
                    <a:pt x="2670" y="288"/>
                  </a:cubicBezTo>
                  <a:moveTo>
                    <a:pt x="2538" y="287"/>
                  </a:moveTo>
                  <a:cubicBezTo>
                    <a:pt x="2532" y="287"/>
                    <a:pt x="2527" y="292"/>
                    <a:pt x="2527" y="298"/>
                  </a:cubicBezTo>
                  <a:cubicBezTo>
                    <a:pt x="2527" y="303"/>
                    <a:pt x="2532" y="308"/>
                    <a:pt x="2539" y="308"/>
                  </a:cubicBezTo>
                  <a:cubicBezTo>
                    <a:pt x="2545" y="308"/>
                    <a:pt x="2550" y="303"/>
                    <a:pt x="2550" y="297"/>
                  </a:cubicBezTo>
                  <a:cubicBezTo>
                    <a:pt x="2550" y="292"/>
                    <a:pt x="2545" y="287"/>
                    <a:pt x="2538" y="287"/>
                  </a:cubicBezTo>
                  <a:cubicBezTo>
                    <a:pt x="2538" y="287"/>
                    <a:pt x="2538" y="287"/>
                    <a:pt x="2538" y="287"/>
                  </a:cubicBezTo>
                  <a:moveTo>
                    <a:pt x="2703" y="287"/>
                  </a:moveTo>
                  <a:cubicBezTo>
                    <a:pt x="2697" y="287"/>
                    <a:pt x="2692" y="292"/>
                    <a:pt x="2692" y="298"/>
                  </a:cubicBezTo>
                  <a:cubicBezTo>
                    <a:pt x="2692" y="303"/>
                    <a:pt x="2698" y="308"/>
                    <a:pt x="2704" y="308"/>
                  </a:cubicBezTo>
                  <a:cubicBezTo>
                    <a:pt x="2711" y="308"/>
                    <a:pt x="2716" y="303"/>
                    <a:pt x="2715" y="297"/>
                  </a:cubicBezTo>
                  <a:cubicBezTo>
                    <a:pt x="2715" y="292"/>
                    <a:pt x="2709" y="287"/>
                    <a:pt x="2703" y="287"/>
                  </a:cubicBezTo>
                  <a:cubicBezTo>
                    <a:pt x="2703" y="287"/>
                    <a:pt x="2703" y="287"/>
                    <a:pt x="2703" y="287"/>
                  </a:cubicBezTo>
                  <a:moveTo>
                    <a:pt x="2736" y="287"/>
                  </a:moveTo>
                  <a:cubicBezTo>
                    <a:pt x="2729" y="287"/>
                    <a:pt x="2725" y="292"/>
                    <a:pt x="2725" y="297"/>
                  </a:cubicBezTo>
                  <a:cubicBezTo>
                    <a:pt x="2726" y="303"/>
                    <a:pt x="2731" y="308"/>
                    <a:pt x="2738" y="308"/>
                  </a:cubicBezTo>
                  <a:cubicBezTo>
                    <a:pt x="2744" y="307"/>
                    <a:pt x="2749" y="303"/>
                    <a:pt x="2748" y="297"/>
                  </a:cubicBezTo>
                  <a:cubicBezTo>
                    <a:pt x="2748" y="292"/>
                    <a:pt x="2742" y="287"/>
                    <a:pt x="2736" y="287"/>
                  </a:cubicBezTo>
                  <a:cubicBezTo>
                    <a:pt x="2736" y="287"/>
                    <a:pt x="2736" y="287"/>
                    <a:pt x="2736" y="287"/>
                  </a:cubicBezTo>
                  <a:moveTo>
                    <a:pt x="2769" y="287"/>
                  </a:moveTo>
                  <a:cubicBezTo>
                    <a:pt x="2763" y="287"/>
                    <a:pt x="2758" y="291"/>
                    <a:pt x="2758" y="297"/>
                  </a:cubicBezTo>
                  <a:cubicBezTo>
                    <a:pt x="2759" y="303"/>
                    <a:pt x="2765" y="307"/>
                    <a:pt x="2771" y="307"/>
                  </a:cubicBezTo>
                  <a:cubicBezTo>
                    <a:pt x="2777" y="307"/>
                    <a:pt x="2782" y="303"/>
                    <a:pt x="2782" y="297"/>
                  </a:cubicBezTo>
                  <a:cubicBezTo>
                    <a:pt x="2781" y="291"/>
                    <a:pt x="2775" y="287"/>
                    <a:pt x="2769" y="287"/>
                  </a:cubicBezTo>
                  <a:cubicBezTo>
                    <a:pt x="2769" y="287"/>
                    <a:pt x="2769" y="287"/>
                    <a:pt x="2769" y="287"/>
                  </a:cubicBezTo>
                  <a:moveTo>
                    <a:pt x="2802" y="287"/>
                  </a:moveTo>
                  <a:cubicBezTo>
                    <a:pt x="2795" y="287"/>
                    <a:pt x="2791" y="291"/>
                    <a:pt x="2791" y="297"/>
                  </a:cubicBezTo>
                  <a:cubicBezTo>
                    <a:pt x="2792" y="302"/>
                    <a:pt x="2798" y="307"/>
                    <a:pt x="2804" y="307"/>
                  </a:cubicBezTo>
                  <a:cubicBezTo>
                    <a:pt x="2810" y="307"/>
                    <a:pt x="2815" y="302"/>
                    <a:pt x="2814" y="297"/>
                  </a:cubicBezTo>
                  <a:cubicBezTo>
                    <a:pt x="2814" y="291"/>
                    <a:pt x="2808" y="287"/>
                    <a:pt x="2802" y="287"/>
                  </a:cubicBezTo>
                  <a:cubicBezTo>
                    <a:pt x="2802" y="287"/>
                    <a:pt x="2802" y="287"/>
                    <a:pt x="2802" y="287"/>
                  </a:cubicBezTo>
                  <a:moveTo>
                    <a:pt x="2835" y="286"/>
                  </a:moveTo>
                  <a:cubicBezTo>
                    <a:pt x="2828" y="286"/>
                    <a:pt x="2824" y="291"/>
                    <a:pt x="2824" y="297"/>
                  </a:cubicBezTo>
                  <a:cubicBezTo>
                    <a:pt x="2825" y="302"/>
                    <a:pt x="2831" y="307"/>
                    <a:pt x="2837" y="307"/>
                  </a:cubicBezTo>
                  <a:cubicBezTo>
                    <a:pt x="2843" y="307"/>
                    <a:pt x="2848" y="302"/>
                    <a:pt x="2847" y="296"/>
                  </a:cubicBezTo>
                  <a:cubicBezTo>
                    <a:pt x="2847" y="291"/>
                    <a:pt x="2841" y="286"/>
                    <a:pt x="2835" y="286"/>
                  </a:cubicBezTo>
                  <a:cubicBezTo>
                    <a:pt x="2835" y="286"/>
                    <a:pt x="2835" y="286"/>
                    <a:pt x="2835" y="286"/>
                  </a:cubicBezTo>
                  <a:moveTo>
                    <a:pt x="2867" y="286"/>
                  </a:moveTo>
                  <a:cubicBezTo>
                    <a:pt x="2861" y="286"/>
                    <a:pt x="2856" y="291"/>
                    <a:pt x="2857" y="296"/>
                  </a:cubicBezTo>
                  <a:cubicBezTo>
                    <a:pt x="2858" y="302"/>
                    <a:pt x="2864" y="307"/>
                    <a:pt x="2870" y="306"/>
                  </a:cubicBezTo>
                  <a:cubicBezTo>
                    <a:pt x="2876" y="306"/>
                    <a:pt x="2881" y="302"/>
                    <a:pt x="2880" y="296"/>
                  </a:cubicBezTo>
                  <a:cubicBezTo>
                    <a:pt x="2879" y="290"/>
                    <a:pt x="2874" y="286"/>
                    <a:pt x="2867" y="286"/>
                  </a:cubicBezTo>
                  <a:cubicBezTo>
                    <a:pt x="2867" y="286"/>
                    <a:pt x="2867" y="286"/>
                    <a:pt x="2867" y="286"/>
                  </a:cubicBezTo>
                  <a:moveTo>
                    <a:pt x="2900" y="286"/>
                  </a:moveTo>
                  <a:cubicBezTo>
                    <a:pt x="2894" y="286"/>
                    <a:pt x="2889" y="290"/>
                    <a:pt x="2890" y="296"/>
                  </a:cubicBezTo>
                  <a:cubicBezTo>
                    <a:pt x="2891" y="302"/>
                    <a:pt x="2897" y="306"/>
                    <a:pt x="2903" y="306"/>
                  </a:cubicBezTo>
                  <a:cubicBezTo>
                    <a:pt x="2910" y="306"/>
                    <a:pt x="2914" y="302"/>
                    <a:pt x="2913" y="296"/>
                  </a:cubicBezTo>
                  <a:cubicBezTo>
                    <a:pt x="2912" y="290"/>
                    <a:pt x="2906" y="286"/>
                    <a:pt x="2900" y="286"/>
                  </a:cubicBezTo>
                  <a:cubicBezTo>
                    <a:pt x="2900" y="286"/>
                    <a:pt x="2900" y="286"/>
                    <a:pt x="2900" y="286"/>
                  </a:cubicBezTo>
                  <a:moveTo>
                    <a:pt x="2932" y="284"/>
                  </a:moveTo>
                  <a:cubicBezTo>
                    <a:pt x="2926" y="284"/>
                    <a:pt x="2922" y="288"/>
                    <a:pt x="2922" y="294"/>
                  </a:cubicBezTo>
                  <a:cubicBezTo>
                    <a:pt x="2923" y="300"/>
                    <a:pt x="2929" y="304"/>
                    <a:pt x="2936" y="304"/>
                  </a:cubicBezTo>
                  <a:cubicBezTo>
                    <a:pt x="2942" y="304"/>
                    <a:pt x="2946" y="300"/>
                    <a:pt x="2946" y="294"/>
                  </a:cubicBezTo>
                  <a:cubicBezTo>
                    <a:pt x="2945" y="288"/>
                    <a:pt x="2939" y="284"/>
                    <a:pt x="2932" y="284"/>
                  </a:cubicBezTo>
                  <a:cubicBezTo>
                    <a:pt x="2932" y="284"/>
                    <a:pt x="2932" y="284"/>
                    <a:pt x="2932" y="284"/>
                  </a:cubicBezTo>
                  <a:moveTo>
                    <a:pt x="2963" y="284"/>
                  </a:moveTo>
                  <a:cubicBezTo>
                    <a:pt x="2957" y="284"/>
                    <a:pt x="2953" y="288"/>
                    <a:pt x="2954" y="294"/>
                  </a:cubicBezTo>
                  <a:cubicBezTo>
                    <a:pt x="2955" y="300"/>
                    <a:pt x="2961" y="304"/>
                    <a:pt x="2967" y="304"/>
                  </a:cubicBezTo>
                  <a:cubicBezTo>
                    <a:pt x="2973" y="304"/>
                    <a:pt x="2978" y="299"/>
                    <a:pt x="2977" y="294"/>
                  </a:cubicBezTo>
                  <a:cubicBezTo>
                    <a:pt x="2976" y="288"/>
                    <a:pt x="2970" y="284"/>
                    <a:pt x="2964" y="284"/>
                  </a:cubicBezTo>
                  <a:cubicBezTo>
                    <a:pt x="2964" y="284"/>
                    <a:pt x="2964" y="284"/>
                    <a:pt x="2963" y="284"/>
                  </a:cubicBezTo>
                  <a:moveTo>
                    <a:pt x="2996" y="283"/>
                  </a:moveTo>
                  <a:cubicBezTo>
                    <a:pt x="2990" y="283"/>
                    <a:pt x="2985" y="288"/>
                    <a:pt x="2986" y="294"/>
                  </a:cubicBezTo>
                  <a:cubicBezTo>
                    <a:pt x="2987" y="299"/>
                    <a:pt x="2993" y="304"/>
                    <a:pt x="3000" y="304"/>
                  </a:cubicBezTo>
                  <a:cubicBezTo>
                    <a:pt x="3006" y="304"/>
                    <a:pt x="3011" y="299"/>
                    <a:pt x="3010" y="293"/>
                  </a:cubicBezTo>
                  <a:cubicBezTo>
                    <a:pt x="3008" y="288"/>
                    <a:pt x="3003" y="283"/>
                    <a:pt x="2996" y="283"/>
                  </a:cubicBezTo>
                  <a:cubicBezTo>
                    <a:pt x="2996" y="283"/>
                    <a:pt x="2996" y="283"/>
                    <a:pt x="2996" y="283"/>
                  </a:cubicBezTo>
                  <a:moveTo>
                    <a:pt x="3029" y="283"/>
                  </a:moveTo>
                  <a:cubicBezTo>
                    <a:pt x="3023" y="283"/>
                    <a:pt x="3018" y="288"/>
                    <a:pt x="3019" y="293"/>
                  </a:cubicBezTo>
                  <a:cubicBezTo>
                    <a:pt x="3021" y="299"/>
                    <a:pt x="3027" y="304"/>
                    <a:pt x="3033" y="304"/>
                  </a:cubicBezTo>
                  <a:cubicBezTo>
                    <a:pt x="3039" y="303"/>
                    <a:pt x="3044" y="299"/>
                    <a:pt x="3043" y="293"/>
                  </a:cubicBezTo>
                  <a:cubicBezTo>
                    <a:pt x="3041" y="288"/>
                    <a:pt x="3035" y="283"/>
                    <a:pt x="3029" y="283"/>
                  </a:cubicBezTo>
                  <a:cubicBezTo>
                    <a:pt x="3029" y="283"/>
                    <a:pt x="3029" y="283"/>
                    <a:pt x="3029" y="283"/>
                  </a:cubicBezTo>
                  <a:moveTo>
                    <a:pt x="3063" y="283"/>
                  </a:moveTo>
                  <a:cubicBezTo>
                    <a:pt x="3056" y="283"/>
                    <a:pt x="3052" y="287"/>
                    <a:pt x="3053" y="293"/>
                  </a:cubicBezTo>
                  <a:cubicBezTo>
                    <a:pt x="3055" y="299"/>
                    <a:pt x="3061" y="303"/>
                    <a:pt x="3067" y="303"/>
                  </a:cubicBezTo>
                  <a:cubicBezTo>
                    <a:pt x="3074" y="303"/>
                    <a:pt x="3078" y="299"/>
                    <a:pt x="3076" y="293"/>
                  </a:cubicBezTo>
                  <a:cubicBezTo>
                    <a:pt x="3075" y="287"/>
                    <a:pt x="3069" y="283"/>
                    <a:pt x="3063" y="283"/>
                  </a:cubicBezTo>
                  <a:cubicBezTo>
                    <a:pt x="3063" y="283"/>
                    <a:pt x="3063" y="283"/>
                    <a:pt x="3063" y="283"/>
                  </a:cubicBezTo>
                  <a:moveTo>
                    <a:pt x="3095" y="282"/>
                  </a:moveTo>
                  <a:cubicBezTo>
                    <a:pt x="3089" y="283"/>
                    <a:pt x="3085" y="287"/>
                    <a:pt x="3086" y="293"/>
                  </a:cubicBezTo>
                  <a:cubicBezTo>
                    <a:pt x="3087" y="298"/>
                    <a:pt x="3094" y="303"/>
                    <a:pt x="3100" y="303"/>
                  </a:cubicBezTo>
                  <a:cubicBezTo>
                    <a:pt x="3106" y="303"/>
                    <a:pt x="3110" y="298"/>
                    <a:pt x="3109" y="293"/>
                  </a:cubicBezTo>
                  <a:cubicBezTo>
                    <a:pt x="3108" y="287"/>
                    <a:pt x="3102" y="282"/>
                    <a:pt x="3096" y="282"/>
                  </a:cubicBezTo>
                  <a:cubicBezTo>
                    <a:pt x="3095" y="282"/>
                    <a:pt x="3095" y="282"/>
                    <a:pt x="3095" y="282"/>
                  </a:cubicBezTo>
                  <a:moveTo>
                    <a:pt x="3128" y="282"/>
                  </a:moveTo>
                  <a:cubicBezTo>
                    <a:pt x="3122" y="282"/>
                    <a:pt x="3118" y="287"/>
                    <a:pt x="3119" y="293"/>
                  </a:cubicBezTo>
                  <a:cubicBezTo>
                    <a:pt x="3120" y="298"/>
                    <a:pt x="3127" y="303"/>
                    <a:pt x="3133" y="303"/>
                  </a:cubicBezTo>
                  <a:cubicBezTo>
                    <a:pt x="3139" y="303"/>
                    <a:pt x="3144" y="298"/>
                    <a:pt x="3142" y="292"/>
                  </a:cubicBezTo>
                  <a:cubicBezTo>
                    <a:pt x="3141" y="287"/>
                    <a:pt x="3135" y="282"/>
                    <a:pt x="3128" y="282"/>
                  </a:cubicBezTo>
                  <a:cubicBezTo>
                    <a:pt x="3128" y="282"/>
                    <a:pt x="3128" y="282"/>
                    <a:pt x="3128" y="282"/>
                  </a:cubicBezTo>
                  <a:moveTo>
                    <a:pt x="3161" y="282"/>
                  </a:moveTo>
                  <a:cubicBezTo>
                    <a:pt x="3155" y="282"/>
                    <a:pt x="3151" y="287"/>
                    <a:pt x="3152" y="292"/>
                  </a:cubicBezTo>
                  <a:cubicBezTo>
                    <a:pt x="3154" y="298"/>
                    <a:pt x="3160" y="303"/>
                    <a:pt x="3167" y="302"/>
                  </a:cubicBezTo>
                  <a:cubicBezTo>
                    <a:pt x="3173" y="302"/>
                    <a:pt x="3177" y="298"/>
                    <a:pt x="3176" y="292"/>
                  </a:cubicBezTo>
                  <a:cubicBezTo>
                    <a:pt x="3174" y="286"/>
                    <a:pt x="3168" y="282"/>
                    <a:pt x="3162" y="282"/>
                  </a:cubicBezTo>
                  <a:cubicBezTo>
                    <a:pt x="3162" y="282"/>
                    <a:pt x="3161" y="282"/>
                    <a:pt x="3161" y="282"/>
                  </a:cubicBezTo>
                  <a:moveTo>
                    <a:pt x="3194" y="282"/>
                  </a:moveTo>
                  <a:cubicBezTo>
                    <a:pt x="3188" y="282"/>
                    <a:pt x="3184" y="286"/>
                    <a:pt x="3185" y="292"/>
                  </a:cubicBezTo>
                  <a:cubicBezTo>
                    <a:pt x="3187" y="298"/>
                    <a:pt x="3193" y="302"/>
                    <a:pt x="3199" y="302"/>
                  </a:cubicBezTo>
                  <a:cubicBezTo>
                    <a:pt x="3206" y="302"/>
                    <a:pt x="3210" y="298"/>
                    <a:pt x="3208" y="292"/>
                  </a:cubicBezTo>
                  <a:cubicBezTo>
                    <a:pt x="3207" y="286"/>
                    <a:pt x="3200" y="282"/>
                    <a:pt x="3194" y="282"/>
                  </a:cubicBezTo>
                  <a:cubicBezTo>
                    <a:pt x="3194" y="282"/>
                    <a:pt x="3194" y="282"/>
                    <a:pt x="3194" y="282"/>
                  </a:cubicBezTo>
                  <a:moveTo>
                    <a:pt x="3227" y="281"/>
                  </a:moveTo>
                  <a:cubicBezTo>
                    <a:pt x="3220" y="281"/>
                    <a:pt x="3217" y="286"/>
                    <a:pt x="3218" y="292"/>
                  </a:cubicBezTo>
                  <a:cubicBezTo>
                    <a:pt x="3220" y="297"/>
                    <a:pt x="3226" y="302"/>
                    <a:pt x="3232" y="302"/>
                  </a:cubicBezTo>
                  <a:cubicBezTo>
                    <a:pt x="3239" y="302"/>
                    <a:pt x="3243" y="297"/>
                    <a:pt x="3241" y="292"/>
                  </a:cubicBezTo>
                  <a:cubicBezTo>
                    <a:pt x="3240" y="286"/>
                    <a:pt x="3233" y="281"/>
                    <a:pt x="3227" y="281"/>
                  </a:cubicBezTo>
                  <a:cubicBezTo>
                    <a:pt x="3227" y="281"/>
                    <a:pt x="3227" y="281"/>
                    <a:pt x="3227" y="281"/>
                  </a:cubicBezTo>
                  <a:moveTo>
                    <a:pt x="3259" y="281"/>
                  </a:moveTo>
                  <a:cubicBezTo>
                    <a:pt x="3253" y="281"/>
                    <a:pt x="3249" y="286"/>
                    <a:pt x="3251" y="292"/>
                  </a:cubicBezTo>
                  <a:cubicBezTo>
                    <a:pt x="3252" y="297"/>
                    <a:pt x="3259" y="302"/>
                    <a:pt x="3265" y="302"/>
                  </a:cubicBezTo>
                  <a:cubicBezTo>
                    <a:pt x="3272" y="302"/>
                    <a:pt x="3275" y="297"/>
                    <a:pt x="3274" y="291"/>
                  </a:cubicBezTo>
                  <a:cubicBezTo>
                    <a:pt x="3272" y="286"/>
                    <a:pt x="3266" y="281"/>
                    <a:pt x="3260" y="281"/>
                  </a:cubicBezTo>
                  <a:cubicBezTo>
                    <a:pt x="3259" y="281"/>
                    <a:pt x="3259" y="281"/>
                    <a:pt x="3259" y="281"/>
                  </a:cubicBezTo>
                  <a:moveTo>
                    <a:pt x="3292" y="281"/>
                  </a:moveTo>
                  <a:cubicBezTo>
                    <a:pt x="3286" y="281"/>
                    <a:pt x="3282" y="286"/>
                    <a:pt x="3284" y="291"/>
                  </a:cubicBezTo>
                  <a:cubicBezTo>
                    <a:pt x="3285" y="297"/>
                    <a:pt x="3292" y="301"/>
                    <a:pt x="3298" y="301"/>
                  </a:cubicBezTo>
                  <a:cubicBezTo>
                    <a:pt x="3304" y="301"/>
                    <a:pt x="3308" y="297"/>
                    <a:pt x="3307" y="291"/>
                  </a:cubicBezTo>
                  <a:cubicBezTo>
                    <a:pt x="3305" y="285"/>
                    <a:pt x="3298" y="281"/>
                    <a:pt x="3292" y="281"/>
                  </a:cubicBezTo>
                  <a:cubicBezTo>
                    <a:pt x="3292" y="281"/>
                    <a:pt x="3292" y="281"/>
                    <a:pt x="3292" y="281"/>
                  </a:cubicBezTo>
                  <a:moveTo>
                    <a:pt x="3325" y="281"/>
                  </a:moveTo>
                  <a:cubicBezTo>
                    <a:pt x="3318" y="281"/>
                    <a:pt x="3315" y="285"/>
                    <a:pt x="3316" y="291"/>
                  </a:cubicBezTo>
                  <a:cubicBezTo>
                    <a:pt x="3318" y="297"/>
                    <a:pt x="3325" y="301"/>
                    <a:pt x="3331" y="301"/>
                  </a:cubicBezTo>
                  <a:cubicBezTo>
                    <a:pt x="3337" y="301"/>
                    <a:pt x="3341" y="296"/>
                    <a:pt x="3339" y="291"/>
                  </a:cubicBezTo>
                  <a:cubicBezTo>
                    <a:pt x="3338" y="285"/>
                    <a:pt x="3331" y="281"/>
                    <a:pt x="3325" y="281"/>
                  </a:cubicBezTo>
                  <a:cubicBezTo>
                    <a:pt x="3325" y="281"/>
                    <a:pt x="3325" y="281"/>
                    <a:pt x="3325" y="281"/>
                  </a:cubicBezTo>
                  <a:moveTo>
                    <a:pt x="3357" y="280"/>
                  </a:moveTo>
                  <a:cubicBezTo>
                    <a:pt x="3351" y="280"/>
                    <a:pt x="3347" y="285"/>
                    <a:pt x="3349" y="291"/>
                  </a:cubicBezTo>
                  <a:cubicBezTo>
                    <a:pt x="3351" y="296"/>
                    <a:pt x="3358" y="301"/>
                    <a:pt x="3364" y="301"/>
                  </a:cubicBezTo>
                  <a:cubicBezTo>
                    <a:pt x="3370" y="301"/>
                    <a:pt x="3374" y="296"/>
                    <a:pt x="3372" y="291"/>
                  </a:cubicBezTo>
                  <a:cubicBezTo>
                    <a:pt x="3370" y="285"/>
                    <a:pt x="3364" y="280"/>
                    <a:pt x="3358" y="280"/>
                  </a:cubicBezTo>
                  <a:cubicBezTo>
                    <a:pt x="3358" y="280"/>
                    <a:pt x="3357" y="280"/>
                    <a:pt x="3357" y="280"/>
                  </a:cubicBezTo>
                  <a:moveTo>
                    <a:pt x="3391" y="280"/>
                  </a:moveTo>
                  <a:cubicBezTo>
                    <a:pt x="3385" y="280"/>
                    <a:pt x="3381" y="285"/>
                    <a:pt x="3383" y="290"/>
                  </a:cubicBezTo>
                  <a:cubicBezTo>
                    <a:pt x="3385" y="296"/>
                    <a:pt x="3392" y="301"/>
                    <a:pt x="3398" y="301"/>
                  </a:cubicBezTo>
                  <a:cubicBezTo>
                    <a:pt x="3404" y="301"/>
                    <a:pt x="3408" y="296"/>
                    <a:pt x="3406" y="290"/>
                  </a:cubicBezTo>
                  <a:cubicBezTo>
                    <a:pt x="3404" y="285"/>
                    <a:pt x="3398" y="280"/>
                    <a:pt x="3391" y="280"/>
                  </a:cubicBezTo>
                  <a:cubicBezTo>
                    <a:pt x="3391" y="280"/>
                    <a:pt x="3391" y="280"/>
                    <a:pt x="3391" y="280"/>
                  </a:cubicBezTo>
                  <a:moveTo>
                    <a:pt x="3424" y="280"/>
                  </a:moveTo>
                  <a:cubicBezTo>
                    <a:pt x="3417" y="280"/>
                    <a:pt x="3414" y="284"/>
                    <a:pt x="3416" y="290"/>
                  </a:cubicBezTo>
                  <a:cubicBezTo>
                    <a:pt x="3418" y="296"/>
                    <a:pt x="3425" y="300"/>
                    <a:pt x="3431" y="300"/>
                  </a:cubicBezTo>
                  <a:cubicBezTo>
                    <a:pt x="3437" y="300"/>
                    <a:pt x="3441" y="296"/>
                    <a:pt x="3439" y="290"/>
                  </a:cubicBezTo>
                  <a:cubicBezTo>
                    <a:pt x="3437" y="284"/>
                    <a:pt x="3430" y="280"/>
                    <a:pt x="3424" y="280"/>
                  </a:cubicBezTo>
                  <a:cubicBezTo>
                    <a:pt x="3424" y="280"/>
                    <a:pt x="3424" y="280"/>
                    <a:pt x="3424" y="280"/>
                  </a:cubicBezTo>
                  <a:moveTo>
                    <a:pt x="3457" y="280"/>
                  </a:moveTo>
                  <a:cubicBezTo>
                    <a:pt x="3450" y="280"/>
                    <a:pt x="3447" y="284"/>
                    <a:pt x="3449" y="290"/>
                  </a:cubicBezTo>
                  <a:cubicBezTo>
                    <a:pt x="3451" y="296"/>
                    <a:pt x="3458" y="300"/>
                    <a:pt x="3464" y="300"/>
                  </a:cubicBezTo>
                  <a:cubicBezTo>
                    <a:pt x="3470" y="300"/>
                    <a:pt x="3474" y="295"/>
                    <a:pt x="3472" y="290"/>
                  </a:cubicBezTo>
                  <a:cubicBezTo>
                    <a:pt x="3470" y="284"/>
                    <a:pt x="3463" y="280"/>
                    <a:pt x="3457" y="280"/>
                  </a:cubicBezTo>
                  <a:cubicBezTo>
                    <a:pt x="3457" y="280"/>
                    <a:pt x="3457" y="280"/>
                    <a:pt x="3457" y="280"/>
                  </a:cubicBezTo>
                  <a:moveTo>
                    <a:pt x="3490" y="279"/>
                  </a:moveTo>
                  <a:cubicBezTo>
                    <a:pt x="3483" y="279"/>
                    <a:pt x="3480" y="284"/>
                    <a:pt x="3482" y="290"/>
                  </a:cubicBezTo>
                  <a:cubicBezTo>
                    <a:pt x="3484" y="295"/>
                    <a:pt x="3491" y="300"/>
                    <a:pt x="3497" y="300"/>
                  </a:cubicBezTo>
                  <a:cubicBezTo>
                    <a:pt x="3504" y="300"/>
                    <a:pt x="3507" y="295"/>
                    <a:pt x="3505" y="289"/>
                  </a:cubicBezTo>
                  <a:cubicBezTo>
                    <a:pt x="3503" y="284"/>
                    <a:pt x="3496" y="279"/>
                    <a:pt x="3490" y="279"/>
                  </a:cubicBezTo>
                  <a:cubicBezTo>
                    <a:pt x="3490" y="279"/>
                    <a:pt x="3490" y="279"/>
                    <a:pt x="3490" y="279"/>
                  </a:cubicBezTo>
                  <a:moveTo>
                    <a:pt x="3522" y="279"/>
                  </a:moveTo>
                  <a:cubicBezTo>
                    <a:pt x="3516" y="279"/>
                    <a:pt x="3513" y="284"/>
                    <a:pt x="3515" y="289"/>
                  </a:cubicBezTo>
                  <a:cubicBezTo>
                    <a:pt x="3517" y="295"/>
                    <a:pt x="3524" y="300"/>
                    <a:pt x="3530" y="300"/>
                  </a:cubicBezTo>
                  <a:cubicBezTo>
                    <a:pt x="3537" y="300"/>
                    <a:pt x="3540" y="295"/>
                    <a:pt x="3538" y="289"/>
                  </a:cubicBezTo>
                  <a:cubicBezTo>
                    <a:pt x="3536" y="284"/>
                    <a:pt x="3529" y="279"/>
                    <a:pt x="3522" y="279"/>
                  </a:cubicBezTo>
                  <a:cubicBezTo>
                    <a:pt x="3522" y="279"/>
                    <a:pt x="3522" y="279"/>
                    <a:pt x="3522" y="279"/>
                  </a:cubicBezTo>
                  <a:moveTo>
                    <a:pt x="3555" y="279"/>
                  </a:moveTo>
                  <a:cubicBezTo>
                    <a:pt x="3549" y="279"/>
                    <a:pt x="3545" y="283"/>
                    <a:pt x="3548" y="289"/>
                  </a:cubicBezTo>
                  <a:cubicBezTo>
                    <a:pt x="3550" y="295"/>
                    <a:pt x="3557" y="299"/>
                    <a:pt x="3563" y="299"/>
                  </a:cubicBezTo>
                  <a:cubicBezTo>
                    <a:pt x="3570" y="299"/>
                    <a:pt x="3573" y="295"/>
                    <a:pt x="3571" y="289"/>
                  </a:cubicBezTo>
                  <a:cubicBezTo>
                    <a:pt x="3568" y="283"/>
                    <a:pt x="3561" y="279"/>
                    <a:pt x="3555" y="279"/>
                  </a:cubicBezTo>
                  <a:cubicBezTo>
                    <a:pt x="3555" y="279"/>
                    <a:pt x="3555" y="279"/>
                    <a:pt x="3555" y="279"/>
                  </a:cubicBezTo>
                  <a:moveTo>
                    <a:pt x="3588" y="278"/>
                  </a:moveTo>
                  <a:cubicBezTo>
                    <a:pt x="3581" y="279"/>
                    <a:pt x="3578" y="283"/>
                    <a:pt x="3580" y="289"/>
                  </a:cubicBezTo>
                  <a:cubicBezTo>
                    <a:pt x="3583" y="295"/>
                    <a:pt x="3590" y="299"/>
                    <a:pt x="3596" y="299"/>
                  </a:cubicBezTo>
                  <a:cubicBezTo>
                    <a:pt x="3602" y="299"/>
                    <a:pt x="3606" y="294"/>
                    <a:pt x="3603" y="289"/>
                  </a:cubicBezTo>
                  <a:cubicBezTo>
                    <a:pt x="3601" y="283"/>
                    <a:pt x="3594" y="278"/>
                    <a:pt x="3588" y="278"/>
                  </a:cubicBezTo>
                  <a:cubicBezTo>
                    <a:pt x="3588" y="278"/>
                    <a:pt x="3588" y="278"/>
                    <a:pt x="3588" y="278"/>
                  </a:cubicBezTo>
                  <a:moveTo>
                    <a:pt x="3621" y="278"/>
                  </a:moveTo>
                  <a:cubicBezTo>
                    <a:pt x="3615" y="278"/>
                    <a:pt x="3611" y="283"/>
                    <a:pt x="3614" y="289"/>
                  </a:cubicBezTo>
                  <a:cubicBezTo>
                    <a:pt x="3616" y="294"/>
                    <a:pt x="3623" y="299"/>
                    <a:pt x="3630" y="299"/>
                  </a:cubicBezTo>
                  <a:cubicBezTo>
                    <a:pt x="3636" y="299"/>
                    <a:pt x="3639" y="294"/>
                    <a:pt x="3637" y="288"/>
                  </a:cubicBezTo>
                  <a:cubicBezTo>
                    <a:pt x="3634" y="283"/>
                    <a:pt x="3627" y="278"/>
                    <a:pt x="3621" y="278"/>
                  </a:cubicBezTo>
                  <a:cubicBezTo>
                    <a:pt x="3621" y="278"/>
                    <a:pt x="3621" y="278"/>
                    <a:pt x="3621" y="278"/>
                  </a:cubicBezTo>
                  <a:moveTo>
                    <a:pt x="3654" y="278"/>
                  </a:moveTo>
                  <a:cubicBezTo>
                    <a:pt x="3647" y="278"/>
                    <a:pt x="3644" y="283"/>
                    <a:pt x="3647" y="288"/>
                  </a:cubicBezTo>
                  <a:cubicBezTo>
                    <a:pt x="3649" y="294"/>
                    <a:pt x="3656" y="299"/>
                    <a:pt x="3663" y="298"/>
                  </a:cubicBezTo>
                  <a:cubicBezTo>
                    <a:pt x="3669" y="298"/>
                    <a:pt x="3672" y="294"/>
                    <a:pt x="3670" y="288"/>
                  </a:cubicBezTo>
                  <a:cubicBezTo>
                    <a:pt x="3667" y="282"/>
                    <a:pt x="3660" y="278"/>
                    <a:pt x="3654" y="278"/>
                  </a:cubicBezTo>
                  <a:cubicBezTo>
                    <a:pt x="3654" y="278"/>
                    <a:pt x="3654" y="278"/>
                    <a:pt x="3654" y="278"/>
                  </a:cubicBezTo>
                  <a:moveTo>
                    <a:pt x="156" y="278"/>
                  </a:moveTo>
                  <a:cubicBezTo>
                    <a:pt x="150" y="278"/>
                    <a:pt x="141" y="282"/>
                    <a:pt x="136" y="288"/>
                  </a:cubicBezTo>
                  <a:cubicBezTo>
                    <a:pt x="131" y="293"/>
                    <a:pt x="132" y="298"/>
                    <a:pt x="138" y="298"/>
                  </a:cubicBezTo>
                  <a:cubicBezTo>
                    <a:pt x="145" y="298"/>
                    <a:pt x="154" y="293"/>
                    <a:pt x="159" y="288"/>
                  </a:cubicBezTo>
                  <a:cubicBezTo>
                    <a:pt x="164" y="282"/>
                    <a:pt x="163" y="278"/>
                    <a:pt x="156" y="278"/>
                  </a:cubicBezTo>
                  <a:cubicBezTo>
                    <a:pt x="156" y="278"/>
                    <a:pt x="156" y="278"/>
                    <a:pt x="156" y="278"/>
                  </a:cubicBezTo>
                  <a:moveTo>
                    <a:pt x="3688" y="278"/>
                  </a:moveTo>
                  <a:cubicBezTo>
                    <a:pt x="3681" y="278"/>
                    <a:pt x="3678" y="282"/>
                    <a:pt x="3681" y="288"/>
                  </a:cubicBezTo>
                  <a:cubicBezTo>
                    <a:pt x="3683" y="294"/>
                    <a:pt x="3690" y="298"/>
                    <a:pt x="3697" y="298"/>
                  </a:cubicBezTo>
                  <a:cubicBezTo>
                    <a:pt x="3703" y="298"/>
                    <a:pt x="3706" y="294"/>
                    <a:pt x="3704" y="288"/>
                  </a:cubicBezTo>
                  <a:cubicBezTo>
                    <a:pt x="3701" y="282"/>
                    <a:pt x="3694" y="278"/>
                    <a:pt x="3688" y="278"/>
                  </a:cubicBezTo>
                  <a:cubicBezTo>
                    <a:pt x="3688" y="278"/>
                    <a:pt x="3688" y="278"/>
                    <a:pt x="3688" y="278"/>
                  </a:cubicBezTo>
                  <a:moveTo>
                    <a:pt x="189" y="277"/>
                  </a:moveTo>
                  <a:cubicBezTo>
                    <a:pt x="182" y="277"/>
                    <a:pt x="173" y="282"/>
                    <a:pt x="168" y="288"/>
                  </a:cubicBezTo>
                  <a:cubicBezTo>
                    <a:pt x="164" y="293"/>
                    <a:pt x="165" y="298"/>
                    <a:pt x="171" y="298"/>
                  </a:cubicBezTo>
                  <a:cubicBezTo>
                    <a:pt x="177" y="298"/>
                    <a:pt x="187" y="293"/>
                    <a:pt x="191" y="287"/>
                  </a:cubicBezTo>
                  <a:cubicBezTo>
                    <a:pt x="196" y="282"/>
                    <a:pt x="195" y="277"/>
                    <a:pt x="189" y="277"/>
                  </a:cubicBezTo>
                  <a:cubicBezTo>
                    <a:pt x="189" y="277"/>
                    <a:pt x="189" y="277"/>
                    <a:pt x="189" y="277"/>
                  </a:cubicBezTo>
                  <a:moveTo>
                    <a:pt x="3720" y="277"/>
                  </a:moveTo>
                  <a:cubicBezTo>
                    <a:pt x="3714" y="277"/>
                    <a:pt x="3711" y="282"/>
                    <a:pt x="3713" y="288"/>
                  </a:cubicBezTo>
                  <a:cubicBezTo>
                    <a:pt x="3716" y="293"/>
                    <a:pt x="3723" y="298"/>
                    <a:pt x="3729" y="298"/>
                  </a:cubicBezTo>
                  <a:cubicBezTo>
                    <a:pt x="3736" y="298"/>
                    <a:pt x="3739" y="293"/>
                    <a:pt x="3736" y="288"/>
                  </a:cubicBezTo>
                  <a:cubicBezTo>
                    <a:pt x="3734" y="282"/>
                    <a:pt x="3727" y="277"/>
                    <a:pt x="3720" y="277"/>
                  </a:cubicBezTo>
                  <a:cubicBezTo>
                    <a:pt x="3720" y="277"/>
                    <a:pt x="3720" y="277"/>
                    <a:pt x="3720" y="277"/>
                  </a:cubicBezTo>
                  <a:moveTo>
                    <a:pt x="221" y="277"/>
                  </a:moveTo>
                  <a:cubicBezTo>
                    <a:pt x="215" y="277"/>
                    <a:pt x="206" y="282"/>
                    <a:pt x="201" y="287"/>
                  </a:cubicBezTo>
                  <a:cubicBezTo>
                    <a:pt x="196" y="293"/>
                    <a:pt x="198" y="297"/>
                    <a:pt x="204" y="297"/>
                  </a:cubicBezTo>
                  <a:cubicBezTo>
                    <a:pt x="210" y="297"/>
                    <a:pt x="219" y="293"/>
                    <a:pt x="224" y="287"/>
                  </a:cubicBezTo>
                  <a:cubicBezTo>
                    <a:pt x="229" y="282"/>
                    <a:pt x="228" y="277"/>
                    <a:pt x="221" y="277"/>
                  </a:cubicBezTo>
                  <a:cubicBezTo>
                    <a:pt x="221" y="277"/>
                    <a:pt x="221" y="277"/>
                    <a:pt x="221" y="277"/>
                  </a:cubicBezTo>
                  <a:moveTo>
                    <a:pt x="3753" y="277"/>
                  </a:moveTo>
                  <a:cubicBezTo>
                    <a:pt x="3747" y="277"/>
                    <a:pt x="3744" y="282"/>
                    <a:pt x="3746" y="288"/>
                  </a:cubicBezTo>
                  <a:cubicBezTo>
                    <a:pt x="3749" y="293"/>
                    <a:pt x="3756" y="298"/>
                    <a:pt x="3763" y="298"/>
                  </a:cubicBezTo>
                  <a:cubicBezTo>
                    <a:pt x="3769" y="298"/>
                    <a:pt x="3772" y="293"/>
                    <a:pt x="3769" y="287"/>
                  </a:cubicBezTo>
                  <a:cubicBezTo>
                    <a:pt x="3767" y="282"/>
                    <a:pt x="3759" y="277"/>
                    <a:pt x="3753" y="277"/>
                  </a:cubicBezTo>
                  <a:cubicBezTo>
                    <a:pt x="3753" y="277"/>
                    <a:pt x="3753" y="277"/>
                    <a:pt x="3753" y="277"/>
                  </a:cubicBezTo>
                  <a:moveTo>
                    <a:pt x="254" y="277"/>
                  </a:moveTo>
                  <a:cubicBezTo>
                    <a:pt x="247" y="277"/>
                    <a:pt x="238" y="281"/>
                    <a:pt x="234" y="287"/>
                  </a:cubicBezTo>
                  <a:cubicBezTo>
                    <a:pt x="229" y="293"/>
                    <a:pt x="230" y="297"/>
                    <a:pt x="237" y="297"/>
                  </a:cubicBezTo>
                  <a:cubicBezTo>
                    <a:pt x="243" y="297"/>
                    <a:pt x="252" y="292"/>
                    <a:pt x="257" y="287"/>
                  </a:cubicBezTo>
                  <a:cubicBezTo>
                    <a:pt x="261" y="281"/>
                    <a:pt x="260" y="277"/>
                    <a:pt x="254" y="277"/>
                  </a:cubicBezTo>
                  <a:cubicBezTo>
                    <a:pt x="254" y="277"/>
                    <a:pt x="254" y="277"/>
                    <a:pt x="254" y="277"/>
                  </a:cubicBezTo>
                  <a:moveTo>
                    <a:pt x="3786" y="277"/>
                  </a:moveTo>
                  <a:cubicBezTo>
                    <a:pt x="3780" y="277"/>
                    <a:pt x="3777" y="282"/>
                    <a:pt x="3779" y="287"/>
                  </a:cubicBezTo>
                  <a:cubicBezTo>
                    <a:pt x="3782" y="293"/>
                    <a:pt x="3790" y="297"/>
                    <a:pt x="3796" y="297"/>
                  </a:cubicBezTo>
                  <a:cubicBezTo>
                    <a:pt x="3802" y="297"/>
                    <a:pt x="3805" y="293"/>
                    <a:pt x="3802" y="287"/>
                  </a:cubicBezTo>
                  <a:cubicBezTo>
                    <a:pt x="3800" y="281"/>
                    <a:pt x="3792" y="277"/>
                    <a:pt x="3786" y="277"/>
                  </a:cubicBezTo>
                  <a:cubicBezTo>
                    <a:pt x="3786" y="277"/>
                    <a:pt x="3786" y="277"/>
                    <a:pt x="3786" y="277"/>
                  </a:cubicBezTo>
                  <a:moveTo>
                    <a:pt x="385" y="277"/>
                  </a:moveTo>
                  <a:cubicBezTo>
                    <a:pt x="379" y="277"/>
                    <a:pt x="370" y="281"/>
                    <a:pt x="365" y="287"/>
                  </a:cubicBezTo>
                  <a:cubicBezTo>
                    <a:pt x="361" y="292"/>
                    <a:pt x="362" y="297"/>
                    <a:pt x="369" y="297"/>
                  </a:cubicBezTo>
                  <a:cubicBezTo>
                    <a:pt x="375" y="297"/>
                    <a:pt x="384" y="292"/>
                    <a:pt x="388" y="287"/>
                  </a:cubicBezTo>
                  <a:cubicBezTo>
                    <a:pt x="393" y="281"/>
                    <a:pt x="391" y="277"/>
                    <a:pt x="385" y="277"/>
                  </a:cubicBezTo>
                  <a:cubicBezTo>
                    <a:pt x="385" y="277"/>
                    <a:pt x="385" y="277"/>
                    <a:pt x="385" y="277"/>
                  </a:cubicBezTo>
                  <a:moveTo>
                    <a:pt x="3819" y="277"/>
                  </a:moveTo>
                  <a:cubicBezTo>
                    <a:pt x="3812" y="277"/>
                    <a:pt x="3809" y="281"/>
                    <a:pt x="3812" y="287"/>
                  </a:cubicBezTo>
                  <a:cubicBezTo>
                    <a:pt x="3815" y="293"/>
                    <a:pt x="3822" y="297"/>
                    <a:pt x="3829" y="297"/>
                  </a:cubicBezTo>
                  <a:cubicBezTo>
                    <a:pt x="3835" y="297"/>
                    <a:pt x="3838" y="292"/>
                    <a:pt x="3835" y="287"/>
                  </a:cubicBezTo>
                  <a:cubicBezTo>
                    <a:pt x="3832" y="281"/>
                    <a:pt x="3825" y="277"/>
                    <a:pt x="3819" y="277"/>
                  </a:cubicBezTo>
                  <a:cubicBezTo>
                    <a:pt x="3819" y="277"/>
                    <a:pt x="3819" y="277"/>
                    <a:pt x="3819" y="277"/>
                  </a:cubicBezTo>
                  <a:moveTo>
                    <a:pt x="286" y="277"/>
                  </a:moveTo>
                  <a:cubicBezTo>
                    <a:pt x="280" y="277"/>
                    <a:pt x="271" y="281"/>
                    <a:pt x="266" y="287"/>
                  </a:cubicBezTo>
                  <a:cubicBezTo>
                    <a:pt x="262" y="292"/>
                    <a:pt x="263" y="297"/>
                    <a:pt x="269" y="297"/>
                  </a:cubicBezTo>
                  <a:cubicBezTo>
                    <a:pt x="276" y="297"/>
                    <a:pt x="285" y="292"/>
                    <a:pt x="289" y="287"/>
                  </a:cubicBezTo>
                  <a:cubicBezTo>
                    <a:pt x="294" y="281"/>
                    <a:pt x="293" y="277"/>
                    <a:pt x="286" y="277"/>
                  </a:cubicBezTo>
                  <a:cubicBezTo>
                    <a:pt x="286" y="277"/>
                    <a:pt x="286" y="277"/>
                    <a:pt x="286" y="277"/>
                  </a:cubicBezTo>
                  <a:moveTo>
                    <a:pt x="418" y="276"/>
                  </a:moveTo>
                  <a:cubicBezTo>
                    <a:pt x="411" y="276"/>
                    <a:pt x="403" y="281"/>
                    <a:pt x="398" y="287"/>
                  </a:cubicBezTo>
                  <a:cubicBezTo>
                    <a:pt x="394" y="292"/>
                    <a:pt x="395" y="297"/>
                    <a:pt x="402" y="297"/>
                  </a:cubicBezTo>
                  <a:cubicBezTo>
                    <a:pt x="408" y="297"/>
                    <a:pt x="417" y="292"/>
                    <a:pt x="421" y="286"/>
                  </a:cubicBezTo>
                  <a:cubicBezTo>
                    <a:pt x="426" y="281"/>
                    <a:pt x="424" y="276"/>
                    <a:pt x="418" y="276"/>
                  </a:cubicBezTo>
                  <a:cubicBezTo>
                    <a:pt x="418" y="276"/>
                    <a:pt x="418" y="276"/>
                    <a:pt x="418" y="276"/>
                  </a:cubicBezTo>
                  <a:moveTo>
                    <a:pt x="452" y="276"/>
                  </a:moveTo>
                  <a:cubicBezTo>
                    <a:pt x="445" y="276"/>
                    <a:pt x="437" y="281"/>
                    <a:pt x="432" y="286"/>
                  </a:cubicBezTo>
                  <a:cubicBezTo>
                    <a:pt x="428" y="292"/>
                    <a:pt x="429" y="296"/>
                    <a:pt x="436" y="296"/>
                  </a:cubicBezTo>
                  <a:cubicBezTo>
                    <a:pt x="442" y="296"/>
                    <a:pt x="451" y="292"/>
                    <a:pt x="455" y="286"/>
                  </a:cubicBezTo>
                  <a:cubicBezTo>
                    <a:pt x="459" y="281"/>
                    <a:pt x="458" y="276"/>
                    <a:pt x="452" y="276"/>
                  </a:cubicBezTo>
                  <a:cubicBezTo>
                    <a:pt x="452" y="276"/>
                    <a:pt x="452" y="276"/>
                    <a:pt x="452" y="276"/>
                  </a:cubicBezTo>
                  <a:moveTo>
                    <a:pt x="484" y="276"/>
                  </a:moveTo>
                  <a:cubicBezTo>
                    <a:pt x="478" y="276"/>
                    <a:pt x="469" y="280"/>
                    <a:pt x="465" y="286"/>
                  </a:cubicBezTo>
                  <a:cubicBezTo>
                    <a:pt x="461" y="292"/>
                    <a:pt x="462" y="296"/>
                    <a:pt x="469" y="296"/>
                  </a:cubicBezTo>
                  <a:cubicBezTo>
                    <a:pt x="475" y="296"/>
                    <a:pt x="484" y="291"/>
                    <a:pt x="488" y="286"/>
                  </a:cubicBezTo>
                  <a:cubicBezTo>
                    <a:pt x="492" y="280"/>
                    <a:pt x="490" y="276"/>
                    <a:pt x="484" y="276"/>
                  </a:cubicBezTo>
                  <a:cubicBezTo>
                    <a:pt x="484" y="276"/>
                    <a:pt x="484" y="276"/>
                    <a:pt x="484" y="276"/>
                  </a:cubicBezTo>
                  <a:moveTo>
                    <a:pt x="517" y="276"/>
                  </a:moveTo>
                  <a:cubicBezTo>
                    <a:pt x="510" y="276"/>
                    <a:pt x="502" y="280"/>
                    <a:pt x="498" y="286"/>
                  </a:cubicBezTo>
                  <a:cubicBezTo>
                    <a:pt x="493" y="291"/>
                    <a:pt x="495" y="296"/>
                    <a:pt x="502" y="296"/>
                  </a:cubicBezTo>
                  <a:cubicBezTo>
                    <a:pt x="508" y="296"/>
                    <a:pt x="516" y="291"/>
                    <a:pt x="521" y="286"/>
                  </a:cubicBezTo>
                  <a:cubicBezTo>
                    <a:pt x="525" y="280"/>
                    <a:pt x="523" y="276"/>
                    <a:pt x="517" y="276"/>
                  </a:cubicBezTo>
                  <a:cubicBezTo>
                    <a:pt x="517" y="276"/>
                    <a:pt x="517" y="276"/>
                    <a:pt x="517" y="276"/>
                  </a:cubicBezTo>
                  <a:moveTo>
                    <a:pt x="549" y="275"/>
                  </a:moveTo>
                  <a:cubicBezTo>
                    <a:pt x="543" y="275"/>
                    <a:pt x="534" y="280"/>
                    <a:pt x="530" y="285"/>
                  </a:cubicBezTo>
                  <a:cubicBezTo>
                    <a:pt x="526" y="291"/>
                    <a:pt x="528" y="296"/>
                    <a:pt x="534" y="295"/>
                  </a:cubicBezTo>
                  <a:cubicBezTo>
                    <a:pt x="541" y="295"/>
                    <a:pt x="549" y="291"/>
                    <a:pt x="553" y="285"/>
                  </a:cubicBezTo>
                  <a:cubicBezTo>
                    <a:pt x="557" y="280"/>
                    <a:pt x="556" y="275"/>
                    <a:pt x="549" y="275"/>
                  </a:cubicBezTo>
                  <a:cubicBezTo>
                    <a:pt x="549" y="275"/>
                    <a:pt x="549" y="275"/>
                    <a:pt x="549" y="275"/>
                  </a:cubicBezTo>
                  <a:moveTo>
                    <a:pt x="4048" y="275"/>
                  </a:moveTo>
                  <a:cubicBezTo>
                    <a:pt x="4042" y="275"/>
                    <a:pt x="4039" y="280"/>
                    <a:pt x="4043" y="285"/>
                  </a:cubicBezTo>
                  <a:cubicBezTo>
                    <a:pt x="4046" y="291"/>
                    <a:pt x="4054" y="296"/>
                    <a:pt x="4060" y="296"/>
                  </a:cubicBezTo>
                  <a:cubicBezTo>
                    <a:pt x="4067" y="296"/>
                    <a:pt x="4069" y="291"/>
                    <a:pt x="4066" y="285"/>
                  </a:cubicBezTo>
                  <a:cubicBezTo>
                    <a:pt x="4062" y="280"/>
                    <a:pt x="4055" y="275"/>
                    <a:pt x="4048" y="275"/>
                  </a:cubicBezTo>
                  <a:cubicBezTo>
                    <a:pt x="4048" y="275"/>
                    <a:pt x="4048" y="275"/>
                    <a:pt x="4048" y="275"/>
                  </a:cubicBezTo>
                  <a:moveTo>
                    <a:pt x="582" y="275"/>
                  </a:moveTo>
                  <a:cubicBezTo>
                    <a:pt x="576" y="275"/>
                    <a:pt x="567" y="280"/>
                    <a:pt x="563" y="285"/>
                  </a:cubicBezTo>
                  <a:cubicBezTo>
                    <a:pt x="559" y="291"/>
                    <a:pt x="561" y="295"/>
                    <a:pt x="567" y="295"/>
                  </a:cubicBezTo>
                  <a:cubicBezTo>
                    <a:pt x="574" y="295"/>
                    <a:pt x="582" y="291"/>
                    <a:pt x="586" y="285"/>
                  </a:cubicBezTo>
                  <a:cubicBezTo>
                    <a:pt x="590" y="279"/>
                    <a:pt x="588" y="275"/>
                    <a:pt x="582" y="275"/>
                  </a:cubicBezTo>
                  <a:cubicBezTo>
                    <a:pt x="582" y="275"/>
                    <a:pt x="582" y="275"/>
                    <a:pt x="582" y="275"/>
                  </a:cubicBezTo>
                  <a:moveTo>
                    <a:pt x="4081" y="275"/>
                  </a:moveTo>
                  <a:cubicBezTo>
                    <a:pt x="4074" y="275"/>
                    <a:pt x="4072" y="279"/>
                    <a:pt x="4075" y="285"/>
                  </a:cubicBezTo>
                  <a:cubicBezTo>
                    <a:pt x="4079" y="291"/>
                    <a:pt x="4087" y="295"/>
                    <a:pt x="4093" y="295"/>
                  </a:cubicBezTo>
                  <a:cubicBezTo>
                    <a:pt x="4099" y="295"/>
                    <a:pt x="4102" y="291"/>
                    <a:pt x="4098" y="285"/>
                  </a:cubicBezTo>
                  <a:cubicBezTo>
                    <a:pt x="4095" y="279"/>
                    <a:pt x="4087" y="275"/>
                    <a:pt x="4081" y="275"/>
                  </a:cubicBezTo>
                  <a:cubicBezTo>
                    <a:pt x="4081" y="275"/>
                    <a:pt x="4081" y="275"/>
                    <a:pt x="4081" y="275"/>
                  </a:cubicBezTo>
                  <a:moveTo>
                    <a:pt x="616" y="275"/>
                  </a:moveTo>
                  <a:cubicBezTo>
                    <a:pt x="609" y="275"/>
                    <a:pt x="601" y="279"/>
                    <a:pt x="597" y="285"/>
                  </a:cubicBezTo>
                  <a:cubicBezTo>
                    <a:pt x="593" y="291"/>
                    <a:pt x="595" y="295"/>
                    <a:pt x="601" y="295"/>
                  </a:cubicBezTo>
                  <a:cubicBezTo>
                    <a:pt x="608" y="295"/>
                    <a:pt x="616" y="290"/>
                    <a:pt x="620" y="285"/>
                  </a:cubicBezTo>
                  <a:cubicBezTo>
                    <a:pt x="624" y="279"/>
                    <a:pt x="622" y="275"/>
                    <a:pt x="616" y="275"/>
                  </a:cubicBezTo>
                  <a:cubicBezTo>
                    <a:pt x="616" y="275"/>
                    <a:pt x="616" y="275"/>
                    <a:pt x="616" y="275"/>
                  </a:cubicBezTo>
                  <a:moveTo>
                    <a:pt x="648" y="274"/>
                  </a:moveTo>
                  <a:cubicBezTo>
                    <a:pt x="642" y="274"/>
                    <a:pt x="634" y="279"/>
                    <a:pt x="630" y="285"/>
                  </a:cubicBezTo>
                  <a:cubicBezTo>
                    <a:pt x="626" y="290"/>
                    <a:pt x="628" y="295"/>
                    <a:pt x="634" y="295"/>
                  </a:cubicBezTo>
                  <a:cubicBezTo>
                    <a:pt x="640" y="295"/>
                    <a:pt x="649" y="290"/>
                    <a:pt x="653" y="284"/>
                  </a:cubicBezTo>
                  <a:cubicBezTo>
                    <a:pt x="657" y="279"/>
                    <a:pt x="655" y="274"/>
                    <a:pt x="648" y="274"/>
                  </a:cubicBezTo>
                  <a:cubicBezTo>
                    <a:pt x="648" y="274"/>
                    <a:pt x="648" y="274"/>
                    <a:pt x="648" y="274"/>
                  </a:cubicBezTo>
                  <a:moveTo>
                    <a:pt x="681" y="274"/>
                  </a:moveTo>
                  <a:cubicBezTo>
                    <a:pt x="675" y="274"/>
                    <a:pt x="666" y="279"/>
                    <a:pt x="663" y="284"/>
                  </a:cubicBezTo>
                  <a:cubicBezTo>
                    <a:pt x="659" y="290"/>
                    <a:pt x="661" y="294"/>
                    <a:pt x="667" y="294"/>
                  </a:cubicBezTo>
                  <a:cubicBezTo>
                    <a:pt x="673" y="294"/>
                    <a:pt x="682" y="290"/>
                    <a:pt x="686" y="284"/>
                  </a:cubicBezTo>
                  <a:cubicBezTo>
                    <a:pt x="689" y="279"/>
                    <a:pt x="687" y="274"/>
                    <a:pt x="681" y="274"/>
                  </a:cubicBezTo>
                  <a:cubicBezTo>
                    <a:pt x="681" y="274"/>
                    <a:pt x="681" y="274"/>
                    <a:pt x="681" y="274"/>
                  </a:cubicBezTo>
                  <a:moveTo>
                    <a:pt x="714" y="274"/>
                  </a:moveTo>
                  <a:cubicBezTo>
                    <a:pt x="708" y="274"/>
                    <a:pt x="700" y="279"/>
                    <a:pt x="696" y="284"/>
                  </a:cubicBezTo>
                  <a:cubicBezTo>
                    <a:pt x="692" y="290"/>
                    <a:pt x="694" y="294"/>
                    <a:pt x="700" y="294"/>
                  </a:cubicBezTo>
                  <a:cubicBezTo>
                    <a:pt x="707" y="294"/>
                    <a:pt x="715" y="290"/>
                    <a:pt x="719" y="284"/>
                  </a:cubicBezTo>
                  <a:cubicBezTo>
                    <a:pt x="722" y="278"/>
                    <a:pt x="720" y="274"/>
                    <a:pt x="714" y="274"/>
                  </a:cubicBezTo>
                  <a:cubicBezTo>
                    <a:pt x="714" y="274"/>
                    <a:pt x="714" y="274"/>
                    <a:pt x="714" y="274"/>
                  </a:cubicBezTo>
                  <a:moveTo>
                    <a:pt x="747" y="274"/>
                  </a:moveTo>
                  <a:cubicBezTo>
                    <a:pt x="740" y="274"/>
                    <a:pt x="732" y="278"/>
                    <a:pt x="728" y="284"/>
                  </a:cubicBezTo>
                  <a:cubicBezTo>
                    <a:pt x="725" y="289"/>
                    <a:pt x="727" y="294"/>
                    <a:pt x="733" y="294"/>
                  </a:cubicBezTo>
                  <a:cubicBezTo>
                    <a:pt x="739" y="294"/>
                    <a:pt x="748" y="289"/>
                    <a:pt x="751" y="284"/>
                  </a:cubicBezTo>
                  <a:cubicBezTo>
                    <a:pt x="755" y="278"/>
                    <a:pt x="753" y="274"/>
                    <a:pt x="747" y="274"/>
                  </a:cubicBezTo>
                  <a:cubicBezTo>
                    <a:pt x="747" y="274"/>
                    <a:pt x="747" y="274"/>
                    <a:pt x="747" y="274"/>
                  </a:cubicBezTo>
                  <a:moveTo>
                    <a:pt x="779" y="273"/>
                  </a:moveTo>
                  <a:cubicBezTo>
                    <a:pt x="773" y="273"/>
                    <a:pt x="765" y="278"/>
                    <a:pt x="761" y="284"/>
                  </a:cubicBezTo>
                  <a:cubicBezTo>
                    <a:pt x="757" y="289"/>
                    <a:pt x="760" y="294"/>
                    <a:pt x="766" y="294"/>
                  </a:cubicBezTo>
                  <a:cubicBezTo>
                    <a:pt x="772" y="294"/>
                    <a:pt x="780" y="289"/>
                    <a:pt x="784" y="283"/>
                  </a:cubicBezTo>
                  <a:cubicBezTo>
                    <a:pt x="788" y="278"/>
                    <a:pt x="786" y="273"/>
                    <a:pt x="779" y="273"/>
                  </a:cubicBezTo>
                  <a:cubicBezTo>
                    <a:pt x="779" y="273"/>
                    <a:pt x="779" y="273"/>
                    <a:pt x="779" y="273"/>
                  </a:cubicBezTo>
                  <a:moveTo>
                    <a:pt x="812" y="273"/>
                  </a:moveTo>
                  <a:cubicBezTo>
                    <a:pt x="805" y="273"/>
                    <a:pt x="797" y="278"/>
                    <a:pt x="794" y="283"/>
                  </a:cubicBezTo>
                  <a:cubicBezTo>
                    <a:pt x="790" y="289"/>
                    <a:pt x="792" y="293"/>
                    <a:pt x="799" y="293"/>
                  </a:cubicBezTo>
                  <a:cubicBezTo>
                    <a:pt x="805" y="293"/>
                    <a:pt x="813" y="289"/>
                    <a:pt x="817" y="283"/>
                  </a:cubicBezTo>
                  <a:cubicBezTo>
                    <a:pt x="820" y="278"/>
                    <a:pt x="818" y="273"/>
                    <a:pt x="812" y="273"/>
                  </a:cubicBezTo>
                  <a:cubicBezTo>
                    <a:pt x="812" y="273"/>
                    <a:pt x="812" y="273"/>
                    <a:pt x="812" y="273"/>
                  </a:cubicBezTo>
                  <a:moveTo>
                    <a:pt x="844" y="273"/>
                  </a:moveTo>
                  <a:cubicBezTo>
                    <a:pt x="838" y="273"/>
                    <a:pt x="830" y="277"/>
                    <a:pt x="827" y="283"/>
                  </a:cubicBezTo>
                  <a:cubicBezTo>
                    <a:pt x="823" y="289"/>
                    <a:pt x="825" y="293"/>
                    <a:pt x="832" y="293"/>
                  </a:cubicBezTo>
                  <a:cubicBezTo>
                    <a:pt x="838" y="293"/>
                    <a:pt x="846" y="288"/>
                    <a:pt x="850" y="283"/>
                  </a:cubicBezTo>
                  <a:cubicBezTo>
                    <a:pt x="853" y="277"/>
                    <a:pt x="851" y="273"/>
                    <a:pt x="845" y="273"/>
                  </a:cubicBezTo>
                  <a:cubicBezTo>
                    <a:pt x="845" y="273"/>
                    <a:pt x="845" y="273"/>
                    <a:pt x="844" y="273"/>
                  </a:cubicBezTo>
                  <a:moveTo>
                    <a:pt x="877" y="273"/>
                  </a:moveTo>
                  <a:cubicBezTo>
                    <a:pt x="871" y="273"/>
                    <a:pt x="863" y="277"/>
                    <a:pt x="860" y="283"/>
                  </a:cubicBezTo>
                  <a:cubicBezTo>
                    <a:pt x="856" y="288"/>
                    <a:pt x="859" y="293"/>
                    <a:pt x="865" y="293"/>
                  </a:cubicBezTo>
                  <a:cubicBezTo>
                    <a:pt x="871" y="293"/>
                    <a:pt x="879" y="288"/>
                    <a:pt x="883" y="283"/>
                  </a:cubicBezTo>
                  <a:cubicBezTo>
                    <a:pt x="886" y="277"/>
                    <a:pt x="884" y="273"/>
                    <a:pt x="878" y="273"/>
                  </a:cubicBezTo>
                  <a:cubicBezTo>
                    <a:pt x="878" y="273"/>
                    <a:pt x="878" y="273"/>
                    <a:pt x="877" y="273"/>
                  </a:cubicBezTo>
                  <a:moveTo>
                    <a:pt x="910" y="272"/>
                  </a:moveTo>
                  <a:cubicBezTo>
                    <a:pt x="904" y="272"/>
                    <a:pt x="896" y="277"/>
                    <a:pt x="892" y="282"/>
                  </a:cubicBezTo>
                  <a:cubicBezTo>
                    <a:pt x="889" y="288"/>
                    <a:pt x="891" y="293"/>
                    <a:pt x="898" y="293"/>
                  </a:cubicBezTo>
                  <a:cubicBezTo>
                    <a:pt x="904" y="292"/>
                    <a:pt x="912" y="288"/>
                    <a:pt x="915" y="282"/>
                  </a:cubicBezTo>
                  <a:cubicBezTo>
                    <a:pt x="919" y="277"/>
                    <a:pt x="916" y="272"/>
                    <a:pt x="910" y="272"/>
                  </a:cubicBezTo>
                  <a:cubicBezTo>
                    <a:pt x="910" y="272"/>
                    <a:pt x="910" y="272"/>
                    <a:pt x="910" y="272"/>
                  </a:cubicBezTo>
                  <a:moveTo>
                    <a:pt x="941" y="272"/>
                  </a:moveTo>
                  <a:cubicBezTo>
                    <a:pt x="935" y="272"/>
                    <a:pt x="927" y="277"/>
                    <a:pt x="923" y="282"/>
                  </a:cubicBezTo>
                  <a:cubicBezTo>
                    <a:pt x="920" y="288"/>
                    <a:pt x="923" y="292"/>
                    <a:pt x="929" y="292"/>
                  </a:cubicBezTo>
                  <a:cubicBezTo>
                    <a:pt x="935" y="292"/>
                    <a:pt x="943" y="288"/>
                    <a:pt x="946" y="282"/>
                  </a:cubicBezTo>
                  <a:cubicBezTo>
                    <a:pt x="950" y="276"/>
                    <a:pt x="947" y="272"/>
                    <a:pt x="941" y="272"/>
                  </a:cubicBezTo>
                  <a:cubicBezTo>
                    <a:pt x="941" y="272"/>
                    <a:pt x="941" y="272"/>
                    <a:pt x="941" y="272"/>
                  </a:cubicBezTo>
                  <a:moveTo>
                    <a:pt x="1202" y="269"/>
                  </a:moveTo>
                  <a:cubicBezTo>
                    <a:pt x="1196" y="270"/>
                    <a:pt x="1188" y="274"/>
                    <a:pt x="1185" y="280"/>
                  </a:cubicBezTo>
                  <a:cubicBezTo>
                    <a:pt x="1183" y="285"/>
                    <a:pt x="1185" y="290"/>
                    <a:pt x="1192" y="290"/>
                  </a:cubicBezTo>
                  <a:cubicBezTo>
                    <a:pt x="1198" y="290"/>
                    <a:pt x="1206" y="285"/>
                    <a:pt x="1208" y="280"/>
                  </a:cubicBezTo>
                  <a:cubicBezTo>
                    <a:pt x="1211" y="274"/>
                    <a:pt x="1208" y="269"/>
                    <a:pt x="1202" y="269"/>
                  </a:cubicBezTo>
                  <a:cubicBezTo>
                    <a:pt x="1202" y="269"/>
                    <a:pt x="1202" y="269"/>
                    <a:pt x="1202" y="269"/>
                  </a:cubicBezTo>
                  <a:moveTo>
                    <a:pt x="1235" y="269"/>
                  </a:moveTo>
                  <a:cubicBezTo>
                    <a:pt x="1228" y="269"/>
                    <a:pt x="1221" y="274"/>
                    <a:pt x="1218" y="279"/>
                  </a:cubicBezTo>
                  <a:cubicBezTo>
                    <a:pt x="1216" y="285"/>
                    <a:pt x="1219" y="290"/>
                    <a:pt x="1225" y="290"/>
                  </a:cubicBezTo>
                  <a:cubicBezTo>
                    <a:pt x="1231" y="289"/>
                    <a:pt x="1239" y="285"/>
                    <a:pt x="1241" y="279"/>
                  </a:cubicBezTo>
                  <a:cubicBezTo>
                    <a:pt x="1244" y="274"/>
                    <a:pt x="1241" y="269"/>
                    <a:pt x="1235" y="269"/>
                  </a:cubicBezTo>
                  <a:cubicBezTo>
                    <a:pt x="1235" y="269"/>
                    <a:pt x="1235" y="269"/>
                    <a:pt x="1235" y="269"/>
                  </a:cubicBezTo>
                  <a:moveTo>
                    <a:pt x="1563" y="265"/>
                  </a:moveTo>
                  <a:cubicBezTo>
                    <a:pt x="1556" y="265"/>
                    <a:pt x="1550" y="270"/>
                    <a:pt x="1548" y="275"/>
                  </a:cubicBezTo>
                  <a:cubicBezTo>
                    <a:pt x="1546" y="281"/>
                    <a:pt x="1549" y="286"/>
                    <a:pt x="1555" y="286"/>
                  </a:cubicBezTo>
                  <a:cubicBezTo>
                    <a:pt x="1562" y="285"/>
                    <a:pt x="1568" y="281"/>
                    <a:pt x="1570" y="275"/>
                  </a:cubicBezTo>
                  <a:cubicBezTo>
                    <a:pt x="1572" y="270"/>
                    <a:pt x="1569" y="265"/>
                    <a:pt x="1563" y="265"/>
                  </a:cubicBezTo>
                  <a:cubicBezTo>
                    <a:pt x="1563" y="265"/>
                    <a:pt x="1563" y="265"/>
                    <a:pt x="1563" y="265"/>
                  </a:cubicBezTo>
                  <a:moveTo>
                    <a:pt x="2180" y="261"/>
                  </a:moveTo>
                  <a:cubicBezTo>
                    <a:pt x="2173" y="261"/>
                    <a:pt x="2168" y="265"/>
                    <a:pt x="2167" y="271"/>
                  </a:cubicBezTo>
                  <a:cubicBezTo>
                    <a:pt x="2166" y="277"/>
                    <a:pt x="2171" y="281"/>
                    <a:pt x="2177" y="281"/>
                  </a:cubicBezTo>
                  <a:cubicBezTo>
                    <a:pt x="2184" y="281"/>
                    <a:pt x="2189" y="277"/>
                    <a:pt x="2190" y="271"/>
                  </a:cubicBezTo>
                  <a:cubicBezTo>
                    <a:pt x="2191" y="265"/>
                    <a:pt x="2186" y="261"/>
                    <a:pt x="2180" y="261"/>
                  </a:cubicBezTo>
                  <a:cubicBezTo>
                    <a:pt x="2180" y="261"/>
                    <a:pt x="2180" y="261"/>
                    <a:pt x="2180" y="261"/>
                  </a:cubicBezTo>
                  <a:moveTo>
                    <a:pt x="2213" y="261"/>
                  </a:moveTo>
                  <a:cubicBezTo>
                    <a:pt x="2206" y="261"/>
                    <a:pt x="2201" y="265"/>
                    <a:pt x="2200" y="271"/>
                  </a:cubicBezTo>
                  <a:cubicBezTo>
                    <a:pt x="2200" y="276"/>
                    <a:pt x="2204" y="281"/>
                    <a:pt x="2210" y="281"/>
                  </a:cubicBezTo>
                  <a:cubicBezTo>
                    <a:pt x="2217" y="281"/>
                    <a:pt x="2222" y="276"/>
                    <a:pt x="2223" y="271"/>
                  </a:cubicBezTo>
                  <a:cubicBezTo>
                    <a:pt x="2224" y="265"/>
                    <a:pt x="2219" y="261"/>
                    <a:pt x="2213" y="261"/>
                  </a:cubicBezTo>
                  <a:cubicBezTo>
                    <a:pt x="2213" y="261"/>
                    <a:pt x="2213" y="261"/>
                    <a:pt x="2213" y="261"/>
                  </a:cubicBezTo>
                  <a:moveTo>
                    <a:pt x="2246" y="260"/>
                  </a:moveTo>
                  <a:cubicBezTo>
                    <a:pt x="2240" y="260"/>
                    <a:pt x="2234" y="265"/>
                    <a:pt x="2234" y="271"/>
                  </a:cubicBezTo>
                  <a:cubicBezTo>
                    <a:pt x="2233" y="276"/>
                    <a:pt x="2238" y="281"/>
                    <a:pt x="2244" y="281"/>
                  </a:cubicBezTo>
                  <a:cubicBezTo>
                    <a:pt x="2250" y="281"/>
                    <a:pt x="2256" y="276"/>
                    <a:pt x="2256" y="270"/>
                  </a:cubicBezTo>
                  <a:cubicBezTo>
                    <a:pt x="2257" y="265"/>
                    <a:pt x="2252" y="260"/>
                    <a:pt x="2246" y="260"/>
                  </a:cubicBezTo>
                  <a:cubicBezTo>
                    <a:pt x="2246" y="260"/>
                    <a:pt x="2246" y="260"/>
                    <a:pt x="2246" y="260"/>
                  </a:cubicBezTo>
                  <a:moveTo>
                    <a:pt x="2278" y="260"/>
                  </a:moveTo>
                  <a:cubicBezTo>
                    <a:pt x="2272" y="260"/>
                    <a:pt x="2267" y="265"/>
                    <a:pt x="2266" y="270"/>
                  </a:cubicBezTo>
                  <a:cubicBezTo>
                    <a:pt x="2266" y="276"/>
                    <a:pt x="2270" y="280"/>
                    <a:pt x="2277" y="280"/>
                  </a:cubicBezTo>
                  <a:cubicBezTo>
                    <a:pt x="2283" y="280"/>
                    <a:pt x="2288" y="276"/>
                    <a:pt x="2289" y="270"/>
                  </a:cubicBezTo>
                  <a:cubicBezTo>
                    <a:pt x="2289" y="264"/>
                    <a:pt x="2285" y="260"/>
                    <a:pt x="2278" y="260"/>
                  </a:cubicBezTo>
                  <a:cubicBezTo>
                    <a:pt x="2278" y="260"/>
                    <a:pt x="2278" y="260"/>
                    <a:pt x="2278" y="260"/>
                  </a:cubicBezTo>
                  <a:moveTo>
                    <a:pt x="2310" y="260"/>
                  </a:moveTo>
                  <a:cubicBezTo>
                    <a:pt x="2304" y="260"/>
                    <a:pt x="2299" y="264"/>
                    <a:pt x="2298" y="270"/>
                  </a:cubicBezTo>
                  <a:cubicBezTo>
                    <a:pt x="2298" y="276"/>
                    <a:pt x="2303" y="280"/>
                    <a:pt x="2309" y="280"/>
                  </a:cubicBezTo>
                  <a:cubicBezTo>
                    <a:pt x="2315" y="280"/>
                    <a:pt x="2321" y="275"/>
                    <a:pt x="2321" y="270"/>
                  </a:cubicBezTo>
                  <a:cubicBezTo>
                    <a:pt x="2321" y="264"/>
                    <a:pt x="2317" y="260"/>
                    <a:pt x="2311" y="260"/>
                  </a:cubicBezTo>
                  <a:cubicBezTo>
                    <a:pt x="2311" y="260"/>
                    <a:pt x="2310" y="260"/>
                    <a:pt x="2310" y="260"/>
                  </a:cubicBezTo>
                  <a:moveTo>
                    <a:pt x="2375" y="259"/>
                  </a:moveTo>
                  <a:cubicBezTo>
                    <a:pt x="2369" y="259"/>
                    <a:pt x="2364" y="264"/>
                    <a:pt x="2363" y="269"/>
                  </a:cubicBezTo>
                  <a:cubicBezTo>
                    <a:pt x="2363" y="275"/>
                    <a:pt x="2368" y="280"/>
                    <a:pt x="2374" y="280"/>
                  </a:cubicBezTo>
                  <a:cubicBezTo>
                    <a:pt x="2381" y="280"/>
                    <a:pt x="2386" y="275"/>
                    <a:pt x="2386" y="269"/>
                  </a:cubicBezTo>
                  <a:cubicBezTo>
                    <a:pt x="2387" y="264"/>
                    <a:pt x="2382" y="259"/>
                    <a:pt x="2375" y="259"/>
                  </a:cubicBezTo>
                  <a:cubicBezTo>
                    <a:pt x="2375" y="259"/>
                    <a:pt x="2375" y="259"/>
                    <a:pt x="2375" y="259"/>
                  </a:cubicBezTo>
                  <a:moveTo>
                    <a:pt x="2408" y="259"/>
                  </a:moveTo>
                  <a:cubicBezTo>
                    <a:pt x="2402" y="259"/>
                    <a:pt x="2397" y="264"/>
                    <a:pt x="2396" y="269"/>
                  </a:cubicBezTo>
                  <a:cubicBezTo>
                    <a:pt x="2396" y="275"/>
                    <a:pt x="2401" y="279"/>
                    <a:pt x="2407" y="279"/>
                  </a:cubicBezTo>
                  <a:cubicBezTo>
                    <a:pt x="2414" y="279"/>
                    <a:pt x="2419" y="275"/>
                    <a:pt x="2419" y="269"/>
                  </a:cubicBezTo>
                  <a:cubicBezTo>
                    <a:pt x="2419" y="263"/>
                    <a:pt x="2415" y="259"/>
                    <a:pt x="2408" y="259"/>
                  </a:cubicBezTo>
                  <a:cubicBezTo>
                    <a:pt x="2408" y="259"/>
                    <a:pt x="2408" y="259"/>
                    <a:pt x="2408" y="259"/>
                  </a:cubicBezTo>
                  <a:moveTo>
                    <a:pt x="2572" y="259"/>
                  </a:moveTo>
                  <a:cubicBezTo>
                    <a:pt x="2565" y="259"/>
                    <a:pt x="2560" y="264"/>
                    <a:pt x="2560" y="269"/>
                  </a:cubicBezTo>
                  <a:cubicBezTo>
                    <a:pt x="2561" y="275"/>
                    <a:pt x="2566" y="279"/>
                    <a:pt x="2572" y="279"/>
                  </a:cubicBezTo>
                  <a:cubicBezTo>
                    <a:pt x="2579" y="279"/>
                    <a:pt x="2584" y="275"/>
                    <a:pt x="2583" y="269"/>
                  </a:cubicBezTo>
                  <a:cubicBezTo>
                    <a:pt x="2583" y="263"/>
                    <a:pt x="2578" y="259"/>
                    <a:pt x="2572" y="259"/>
                  </a:cubicBezTo>
                  <a:cubicBezTo>
                    <a:pt x="2572" y="259"/>
                    <a:pt x="2572" y="259"/>
                    <a:pt x="2572" y="259"/>
                  </a:cubicBezTo>
                  <a:moveTo>
                    <a:pt x="2441" y="259"/>
                  </a:moveTo>
                  <a:cubicBezTo>
                    <a:pt x="2434" y="259"/>
                    <a:pt x="2429" y="263"/>
                    <a:pt x="2429" y="269"/>
                  </a:cubicBezTo>
                  <a:cubicBezTo>
                    <a:pt x="2429" y="275"/>
                    <a:pt x="2434" y="279"/>
                    <a:pt x="2440" y="279"/>
                  </a:cubicBezTo>
                  <a:cubicBezTo>
                    <a:pt x="2446" y="279"/>
                    <a:pt x="2452" y="274"/>
                    <a:pt x="2452" y="269"/>
                  </a:cubicBezTo>
                  <a:cubicBezTo>
                    <a:pt x="2452" y="263"/>
                    <a:pt x="2447" y="259"/>
                    <a:pt x="2441" y="259"/>
                  </a:cubicBezTo>
                  <a:cubicBezTo>
                    <a:pt x="2441" y="259"/>
                    <a:pt x="2441" y="259"/>
                    <a:pt x="2441" y="259"/>
                  </a:cubicBezTo>
                  <a:moveTo>
                    <a:pt x="2604" y="259"/>
                  </a:moveTo>
                  <a:cubicBezTo>
                    <a:pt x="2598" y="259"/>
                    <a:pt x="2593" y="263"/>
                    <a:pt x="2593" y="269"/>
                  </a:cubicBezTo>
                  <a:cubicBezTo>
                    <a:pt x="2593" y="275"/>
                    <a:pt x="2598" y="279"/>
                    <a:pt x="2605" y="279"/>
                  </a:cubicBezTo>
                  <a:cubicBezTo>
                    <a:pt x="2611" y="279"/>
                    <a:pt x="2616" y="274"/>
                    <a:pt x="2616" y="269"/>
                  </a:cubicBezTo>
                  <a:cubicBezTo>
                    <a:pt x="2616" y="263"/>
                    <a:pt x="2610" y="259"/>
                    <a:pt x="2604" y="259"/>
                  </a:cubicBezTo>
                  <a:cubicBezTo>
                    <a:pt x="2604" y="259"/>
                    <a:pt x="2604" y="259"/>
                    <a:pt x="2604" y="259"/>
                  </a:cubicBezTo>
                  <a:moveTo>
                    <a:pt x="2473" y="258"/>
                  </a:moveTo>
                  <a:cubicBezTo>
                    <a:pt x="2467" y="258"/>
                    <a:pt x="2462" y="263"/>
                    <a:pt x="2461" y="269"/>
                  </a:cubicBezTo>
                  <a:cubicBezTo>
                    <a:pt x="2461" y="274"/>
                    <a:pt x="2466" y="279"/>
                    <a:pt x="2473" y="279"/>
                  </a:cubicBezTo>
                  <a:cubicBezTo>
                    <a:pt x="2479" y="279"/>
                    <a:pt x="2484" y="274"/>
                    <a:pt x="2484" y="268"/>
                  </a:cubicBezTo>
                  <a:cubicBezTo>
                    <a:pt x="2484" y="263"/>
                    <a:pt x="2479" y="258"/>
                    <a:pt x="2473" y="258"/>
                  </a:cubicBezTo>
                  <a:cubicBezTo>
                    <a:pt x="2473" y="258"/>
                    <a:pt x="2473" y="258"/>
                    <a:pt x="2473" y="258"/>
                  </a:cubicBezTo>
                  <a:moveTo>
                    <a:pt x="2636" y="258"/>
                  </a:moveTo>
                  <a:cubicBezTo>
                    <a:pt x="2630" y="258"/>
                    <a:pt x="2625" y="263"/>
                    <a:pt x="2625" y="269"/>
                  </a:cubicBezTo>
                  <a:cubicBezTo>
                    <a:pt x="2626" y="274"/>
                    <a:pt x="2631" y="279"/>
                    <a:pt x="2637" y="279"/>
                  </a:cubicBezTo>
                  <a:cubicBezTo>
                    <a:pt x="2644" y="279"/>
                    <a:pt x="2649" y="274"/>
                    <a:pt x="2648" y="268"/>
                  </a:cubicBezTo>
                  <a:cubicBezTo>
                    <a:pt x="2648" y="263"/>
                    <a:pt x="2643" y="258"/>
                    <a:pt x="2636" y="258"/>
                  </a:cubicBezTo>
                  <a:cubicBezTo>
                    <a:pt x="2636" y="258"/>
                    <a:pt x="2636" y="258"/>
                    <a:pt x="2636" y="258"/>
                  </a:cubicBezTo>
                  <a:moveTo>
                    <a:pt x="2505" y="258"/>
                  </a:moveTo>
                  <a:cubicBezTo>
                    <a:pt x="2499" y="258"/>
                    <a:pt x="2494" y="263"/>
                    <a:pt x="2494" y="268"/>
                  </a:cubicBezTo>
                  <a:cubicBezTo>
                    <a:pt x="2494" y="274"/>
                    <a:pt x="2499" y="279"/>
                    <a:pt x="2505" y="279"/>
                  </a:cubicBezTo>
                  <a:cubicBezTo>
                    <a:pt x="2512" y="278"/>
                    <a:pt x="2517" y="274"/>
                    <a:pt x="2517" y="268"/>
                  </a:cubicBezTo>
                  <a:cubicBezTo>
                    <a:pt x="2517" y="263"/>
                    <a:pt x="2512" y="258"/>
                    <a:pt x="2505" y="258"/>
                  </a:cubicBezTo>
                  <a:cubicBezTo>
                    <a:pt x="2505" y="258"/>
                    <a:pt x="2505" y="258"/>
                    <a:pt x="2505" y="258"/>
                  </a:cubicBezTo>
                  <a:moveTo>
                    <a:pt x="2668" y="258"/>
                  </a:moveTo>
                  <a:cubicBezTo>
                    <a:pt x="2662" y="258"/>
                    <a:pt x="2657" y="263"/>
                    <a:pt x="2658" y="268"/>
                  </a:cubicBezTo>
                  <a:cubicBezTo>
                    <a:pt x="2658" y="274"/>
                    <a:pt x="2663" y="279"/>
                    <a:pt x="2670" y="279"/>
                  </a:cubicBezTo>
                  <a:cubicBezTo>
                    <a:pt x="2676" y="278"/>
                    <a:pt x="2681" y="274"/>
                    <a:pt x="2680" y="268"/>
                  </a:cubicBezTo>
                  <a:cubicBezTo>
                    <a:pt x="2680" y="263"/>
                    <a:pt x="2675" y="258"/>
                    <a:pt x="2668" y="258"/>
                  </a:cubicBezTo>
                  <a:cubicBezTo>
                    <a:pt x="2668" y="258"/>
                    <a:pt x="2668" y="258"/>
                    <a:pt x="2668" y="258"/>
                  </a:cubicBezTo>
                  <a:moveTo>
                    <a:pt x="2538" y="258"/>
                  </a:moveTo>
                  <a:cubicBezTo>
                    <a:pt x="2532" y="258"/>
                    <a:pt x="2527" y="262"/>
                    <a:pt x="2527" y="268"/>
                  </a:cubicBezTo>
                  <a:cubicBezTo>
                    <a:pt x="2527" y="274"/>
                    <a:pt x="2532" y="278"/>
                    <a:pt x="2538" y="278"/>
                  </a:cubicBezTo>
                  <a:cubicBezTo>
                    <a:pt x="2544" y="278"/>
                    <a:pt x="2550" y="274"/>
                    <a:pt x="2549" y="268"/>
                  </a:cubicBezTo>
                  <a:cubicBezTo>
                    <a:pt x="2549" y="262"/>
                    <a:pt x="2544" y="258"/>
                    <a:pt x="2538" y="258"/>
                  </a:cubicBezTo>
                  <a:cubicBezTo>
                    <a:pt x="2538" y="258"/>
                    <a:pt x="2538" y="258"/>
                    <a:pt x="2538" y="258"/>
                  </a:cubicBezTo>
                  <a:moveTo>
                    <a:pt x="2701" y="258"/>
                  </a:moveTo>
                  <a:cubicBezTo>
                    <a:pt x="2694" y="258"/>
                    <a:pt x="2690" y="262"/>
                    <a:pt x="2690" y="268"/>
                  </a:cubicBezTo>
                  <a:cubicBezTo>
                    <a:pt x="2690" y="274"/>
                    <a:pt x="2696" y="278"/>
                    <a:pt x="2702" y="278"/>
                  </a:cubicBezTo>
                  <a:cubicBezTo>
                    <a:pt x="2709" y="278"/>
                    <a:pt x="2713" y="274"/>
                    <a:pt x="2713" y="268"/>
                  </a:cubicBezTo>
                  <a:cubicBezTo>
                    <a:pt x="2712" y="262"/>
                    <a:pt x="2707" y="258"/>
                    <a:pt x="2701" y="258"/>
                  </a:cubicBezTo>
                  <a:cubicBezTo>
                    <a:pt x="2701" y="258"/>
                    <a:pt x="2701" y="258"/>
                    <a:pt x="2701" y="258"/>
                  </a:cubicBezTo>
                  <a:moveTo>
                    <a:pt x="2733" y="258"/>
                  </a:moveTo>
                  <a:cubicBezTo>
                    <a:pt x="2727" y="258"/>
                    <a:pt x="2722" y="262"/>
                    <a:pt x="2723" y="268"/>
                  </a:cubicBezTo>
                  <a:cubicBezTo>
                    <a:pt x="2723" y="274"/>
                    <a:pt x="2729" y="278"/>
                    <a:pt x="2735" y="278"/>
                  </a:cubicBezTo>
                  <a:cubicBezTo>
                    <a:pt x="2741" y="278"/>
                    <a:pt x="2746" y="273"/>
                    <a:pt x="2746" y="268"/>
                  </a:cubicBezTo>
                  <a:cubicBezTo>
                    <a:pt x="2745" y="262"/>
                    <a:pt x="2740" y="258"/>
                    <a:pt x="2733" y="258"/>
                  </a:cubicBezTo>
                  <a:cubicBezTo>
                    <a:pt x="2733" y="258"/>
                    <a:pt x="2733" y="258"/>
                    <a:pt x="2733" y="258"/>
                  </a:cubicBezTo>
                  <a:moveTo>
                    <a:pt x="2766" y="257"/>
                  </a:moveTo>
                  <a:cubicBezTo>
                    <a:pt x="2760" y="257"/>
                    <a:pt x="2755" y="262"/>
                    <a:pt x="2756" y="268"/>
                  </a:cubicBezTo>
                  <a:cubicBezTo>
                    <a:pt x="2756" y="273"/>
                    <a:pt x="2762" y="278"/>
                    <a:pt x="2768" y="278"/>
                  </a:cubicBezTo>
                  <a:cubicBezTo>
                    <a:pt x="2774" y="278"/>
                    <a:pt x="2779" y="273"/>
                    <a:pt x="2779" y="267"/>
                  </a:cubicBezTo>
                  <a:cubicBezTo>
                    <a:pt x="2778" y="262"/>
                    <a:pt x="2772" y="257"/>
                    <a:pt x="2766" y="257"/>
                  </a:cubicBezTo>
                  <a:cubicBezTo>
                    <a:pt x="2766" y="257"/>
                    <a:pt x="2766" y="257"/>
                    <a:pt x="2766" y="257"/>
                  </a:cubicBezTo>
                  <a:moveTo>
                    <a:pt x="2798" y="257"/>
                  </a:moveTo>
                  <a:cubicBezTo>
                    <a:pt x="2792" y="257"/>
                    <a:pt x="2787" y="262"/>
                    <a:pt x="2788" y="267"/>
                  </a:cubicBezTo>
                  <a:cubicBezTo>
                    <a:pt x="2789" y="273"/>
                    <a:pt x="2794" y="278"/>
                    <a:pt x="2801" y="277"/>
                  </a:cubicBezTo>
                  <a:cubicBezTo>
                    <a:pt x="2807" y="277"/>
                    <a:pt x="2812" y="273"/>
                    <a:pt x="2811" y="267"/>
                  </a:cubicBezTo>
                  <a:cubicBezTo>
                    <a:pt x="2810" y="262"/>
                    <a:pt x="2805" y="257"/>
                    <a:pt x="2798" y="257"/>
                  </a:cubicBezTo>
                  <a:cubicBezTo>
                    <a:pt x="2798" y="257"/>
                    <a:pt x="2798" y="257"/>
                    <a:pt x="2798" y="257"/>
                  </a:cubicBezTo>
                  <a:moveTo>
                    <a:pt x="2831" y="257"/>
                  </a:moveTo>
                  <a:cubicBezTo>
                    <a:pt x="2825" y="257"/>
                    <a:pt x="2820" y="261"/>
                    <a:pt x="2821" y="267"/>
                  </a:cubicBezTo>
                  <a:cubicBezTo>
                    <a:pt x="2821" y="273"/>
                    <a:pt x="2827" y="277"/>
                    <a:pt x="2833" y="277"/>
                  </a:cubicBezTo>
                  <a:cubicBezTo>
                    <a:pt x="2840" y="277"/>
                    <a:pt x="2844" y="273"/>
                    <a:pt x="2844" y="267"/>
                  </a:cubicBezTo>
                  <a:cubicBezTo>
                    <a:pt x="2843" y="261"/>
                    <a:pt x="2837" y="257"/>
                    <a:pt x="2831" y="257"/>
                  </a:cubicBezTo>
                  <a:cubicBezTo>
                    <a:pt x="2831" y="257"/>
                    <a:pt x="2831" y="257"/>
                    <a:pt x="2831" y="257"/>
                  </a:cubicBezTo>
                  <a:moveTo>
                    <a:pt x="2863" y="256"/>
                  </a:moveTo>
                  <a:cubicBezTo>
                    <a:pt x="2857" y="256"/>
                    <a:pt x="2852" y="261"/>
                    <a:pt x="2853" y="267"/>
                  </a:cubicBezTo>
                  <a:cubicBezTo>
                    <a:pt x="2854" y="272"/>
                    <a:pt x="2860" y="277"/>
                    <a:pt x="2866" y="277"/>
                  </a:cubicBezTo>
                  <a:cubicBezTo>
                    <a:pt x="2872" y="277"/>
                    <a:pt x="2877" y="272"/>
                    <a:pt x="2876" y="267"/>
                  </a:cubicBezTo>
                  <a:cubicBezTo>
                    <a:pt x="2875" y="261"/>
                    <a:pt x="2869" y="256"/>
                    <a:pt x="2863" y="256"/>
                  </a:cubicBezTo>
                  <a:cubicBezTo>
                    <a:pt x="2863" y="256"/>
                    <a:pt x="2863" y="256"/>
                    <a:pt x="2863" y="256"/>
                  </a:cubicBezTo>
                  <a:moveTo>
                    <a:pt x="2896" y="256"/>
                  </a:moveTo>
                  <a:cubicBezTo>
                    <a:pt x="2889" y="256"/>
                    <a:pt x="2885" y="261"/>
                    <a:pt x="2886" y="266"/>
                  </a:cubicBezTo>
                  <a:cubicBezTo>
                    <a:pt x="2887" y="272"/>
                    <a:pt x="2892" y="277"/>
                    <a:pt x="2899" y="277"/>
                  </a:cubicBezTo>
                  <a:cubicBezTo>
                    <a:pt x="2905" y="277"/>
                    <a:pt x="2909" y="272"/>
                    <a:pt x="2909" y="266"/>
                  </a:cubicBezTo>
                  <a:cubicBezTo>
                    <a:pt x="2908" y="261"/>
                    <a:pt x="2902" y="256"/>
                    <a:pt x="2896" y="256"/>
                  </a:cubicBezTo>
                  <a:cubicBezTo>
                    <a:pt x="2896" y="256"/>
                    <a:pt x="2896" y="256"/>
                    <a:pt x="2896" y="256"/>
                  </a:cubicBezTo>
                  <a:moveTo>
                    <a:pt x="2928" y="256"/>
                  </a:moveTo>
                  <a:cubicBezTo>
                    <a:pt x="2922" y="256"/>
                    <a:pt x="2917" y="260"/>
                    <a:pt x="2918" y="266"/>
                  </a:cubicBezTo>
                  <a:cubicBezTo>
                    <a:pt x="2919" y="272"/>
                    <a:pt x="2925" y="276"/>
                    <a:pt x="2931" y="276"/>
                  </a:cubicBezTo>
                  <a:cubicBezTo>
                    <a:pt x="2937" y="276"/>
                    <a:pt x="2942" y="271"/>
                    <a:pt x="2941" y="266"/>
                  </a:cubicBezTo>
                  <a:cubicBezTo>
                    <a:pt x="2940" y="260"/>
                    <a:pt x="2934" y="256"/>
                    <a:pt x="2928" y="256"/>
                  </a:cubicBezTo>
                  <a:cubicBezTo>
                    <a:pt x="2928" y="256"/>
                    <a:pt x="2928" y="256"/>
                    <a:pt x="2928" y="256"/>
                  </a:cubicBezTo>
                  <a:moveTo>
                    <a:pt x="2959" y="255"/>
                  </a:moveTo>
                  <a:cubicBezTo>
                    <a:pt x="2952" y="255"/>
                    <a:pt x="2948" y="260"/>
                    <a:pt x="2949" y="266"/>
                  </a:cubicBezTo>
                  <a:cubicBezTo>
                    <a:pt x="2950" y="271"/>
                    <a:pt x="2956" y="276"/>
                    <a:pt x="2962" y="276"/>
                  </a:cubicBezTo>
                  <a:cubicBezTo>
                    <a:pt x="2968" y="276"/>
                    <a:pt x="2973" y="271"/>
                    <a:pt x="2972" y="266"/>
                  </a:cubicBezTo>
                  <a:cubicBezTo>
                    <a:pt x="2971" y="260"/>
                    <a:pt x="2965" y="255"/>
                    <a:pt x="2959" y="255"/>
                  </a:cubicBezTo>
                  <a:cubicBezTo>
                    <a:pt x="2959" y="255"/>
                    <a:pt x="2959" y="255"/>
                    <a:pt x="2959" y="255"/>
                  </a:cubicBezTo>
                  <a:moveTo>
                    <a:pt x="2991" y="255"/>
                  </a:moveTo>
                  <a:cubicBezTo>
                    <a:pt x="2985" y="255"/>
                    <a:pt x="2980" y="260"/>
                    <a:pt x="2981" y="265"/>
                  </a:cubicBezTo>
                  <a:cubicBezTo>
                    <a:pt x="2982" y="271"/>
                    <a:pt x="2988" y="276"/>
                    <a:pt x="2995" y="276"/>
                  </a:cubicBezTo>
                  <a:cubicBezTo>
                    <a:pt x="3001" y="276"/>
                    <a:pt x="3005" y="271"/>
                    <a:pt x="3004" y="265"/>
                  </a:cubicBezTo>
                  <a:cubicBezTo>
                    <a:pt x="3003" y="260"/>
                    <a:pt x="2997" y="255"/>
                    <a:pt x="2991" y="255"/>
                  </a:cubicBezTo>
                  <a:cubicBezTo>
                    <a:pt x="2991" y="255"/>
                    <a:pt x="2991" y="255"/>
                    <a:pt x="2991" y="255"/>
                  </a:cubicBezTo>
                  <a:moveTo>
                    <a:pt x="3023" y="255"/>
                  </a:moveTo>
                  <a:cubicBezTo>
                    <a:pt x="3017" y="255"/>
                    <a:pt x="3013" y="260"/>
                    <a:pt x="3014" y="265"/>
                  </a:cubicBezTo>
                  <a:cubicBezTo>
                    <a:pt x="3015" y="271"/>
                    <a:pt x="3021" y="275"/>
                    <a:pt x="3027" y="275"/>
                  </a:cubicBezTo>
                  <a:cubicBezTo>
                    <a:pt x="3034" y="275"/>
                    <a:pt x="3038" y="271"/>
                    <a:pt x="3037" y="265"/>
                  </a:cubicBezTo>
                  <a:cubicBezTo>
                    <a:pt x="3036" y="259"/>
                    <a:pt x="3030" y="255"/>
                    <a:pt x="3024" y="255"/>
                  </a:cubicBezTo>
                  <a:cubicBezTo>
                    <a:pt x="3024" y="255"/>
                    <a:pt x="3023" y="255"/>
                    <a:pt x="3023" y="255"/>
                  </a:cubicBezTo>
                  <a:moveTo>
                    <a:pt x="3057" y="255"/>
                  </a:moveTo>
                  <a:cubicBezTo>
                    <a:pt x="3051" y="255"/>
                    <a:pt x="3047" y="259"/>
                    <a:pt x="3048" y="265"/>
                  </a:cubicBezTo>
                  <a:cubicBezTo>
                    <a:pt x="3049" y="271"/>
                    <a:pt x="3055" y="275"/>
                    <a:pt x="3061" y="275"/>
                  </a:cubicBezTo>
                  <a:cubicBezTo>
                    <a:pt x="3068" y="275"/>
                    <a:pt x="3072" y="270"/>
                    <a:pt x="3070" y="265"/>
                  </a:cubicBezTo>
                  <a:cubicBezTo>
                    <a:pt x="3069" y="259"/>
                    <a:pt x="3063" y="255"/>
                    <a:pt x="3057" y="255"/>
                  </a:cubicBezTo>
                  <a:cubicBezTo>
                    <a:pt x="3057" y="255"/>
                    <a:pt x="3057" y="255"/>
                    <a:pt x="3057" y="255"/>
                  </a:cubicBezTo>
                  <a:moveTo>
                    <a:pt x="3089" y="254"/>
                  </a:moveTo>
                  <a:cubicBezTo>
                    <a:pt x="3083" y="254"/>
                    <a:pt x="3079" y="259"/>
                    <a:pt x="3080" y="265"/>
                  </a:cubicBezTo>
                  <a:cubicBezTo>
                    <a:pt x="3081" y="270"/>
                    <a:pt x="3087" y="275"/>
                    <a:pt x="3094" y="275"/>
                  </a:cubicBezTo>
                  <a:cubicBezTo>
                    <a:pt x="3100" y="275"/>
                    <a:pt x="3104" y="270"/>
                    <a:pt x="3103" y="264"/>
                  </a:cubicBezTo>
                  <a:cubicBezTo>
                    <a:pt x="3102" y="259"/>
                    <a:pt x="3096" y="254"/>
                    <a:pt x="3089" y="254"/>
                  </a:cubicBezTo>
                  <a:cubicBezTo>
                    <a:pt x="3089" y="254"/>
                    <a:pt x="3089" y="254"/>
                    <a:pt x="3089" y="254"/>
                  </a:cubicBezTo>
                  <a:moveTo>
                    <a:pt x="3122" y="254"/>
                  </a:moveTo>
                  <a:cubicBezTo>
                    <a:pt x="3115" y="254"/>
                    <a:pt x="3111" y="259"/>
                    <a:pt x="3113" y="264"/>
                  </a:cubicBezTo>
                  <a:cubicBezTo>
                    <a:pt x="3114" y="270"/>
                    <a:pt x="3120" y="275"/>
                    <a:pt x="3126" y="275"/>
                  </a:cubicBezTo>
                  <a:cubicBezTo>
                    <a:pt x="3133" y="275"/>
                    <a:pt x="3137" y="270"/>
                    <a:pt x="3136" y="264"/>
                  </a:cubicBezTo>
                  <a:cubicBezTo>
                    <a:pt x="3134" y="259"/>
                    <a:pt x="3128" y="254"/>
                    <a:pt x="3122" y="254"/>
                  </a:cubicBezTo>
                  <a:cubicBezTo>
                    <a:pt x="3122" y="254"/>
                    <a:pt x="3122" y="254"/>
                    <a:pt x="3122" y="254"/>
                  </a:cubicBezTo>
                  <a:moveTo>
                    <a:pt x="3155" y="254"/>
                  </a:moveTo>
                  <a:cubicBezTo>
                    <a:pt x="3148" y="254"/>
                    <a:pt x="3144" y="258"/>
                    <a:pt x="3146" y="264"/>
                  </a:cubicBezTo>
                  <a:cubicBezTo>
                    <a:pt x="3147" y="270"/>
                    <a:pt x="3153" y="274"/>
                    <a:pt x="3160" y="274"/>
                  </a:cubicBezTo>
                  <a:cubicBezTo>
                    <a:pt x="3166" y="274"/>
                    <a:pt x="3170" y="270"/>
                    <a:pt x="3168" y="264"/>
                  </a:cubicBezTo>
                  <a:cubicBezTo>
                    <a:pt x="3167" y="258"/>
                    <a:pt x="3161" y="254"/>
                    <a:pt x="3155" y="254"/>
                  </a:cubicBezTo>
                  <a:cubicBezTo>
                    <a:pt x="3155" y="254"/>
                    <a:pt x="3155" y="254"/>
                    <a:pt x="3155" y="254"/>
                  </a:cubicBezTo>
                  <a:moveTo>
                    <a:pt x="3187" y="254"/>
                  </a:moveTo>
                  <a:cubicBezTo>
                    <a:pt x="3181" y="254"/>
                    <a:pt x="3177" y="258"/>
                    <a:pt x="3178" y="264"/>
                  </a:cubicBezTo>
                  <a:cubicBezTo>
                    <a:pt x="3179" y="270"/>
                    <a:pt x="3186" y="274"/>
                    <a:pt x="3192" y="274"/>
                  </a:cubicBezTo>
                  <a:cubicBezTo>
                    <a:pt x="3198" y="274"/>
                    <a:pt x="3202" y="269"/>
                    <a:pt x="3201" y="264"/>
                  </a:cubicBezTo>
                  <a:cubicBezTo>
                    <a:pt x="3199" y="258"/>
                    <a:pt x="3193" y="254"/>
                    <a:pt x="3187" y="254"/>
                  </a:cubicBezTo>
                  <a:cubicBezTo>
                    <a:pt x="3187" y="254"/>
                    <a:pt x="3187" y="254"/>
                    <a:pt x="3187" y="254"/>
                  </a:cubicBezTo>
                  <a:moveTo>
                    <a:pt x="3219" y="253"/>
                  </a:moveTo>
                  <a:cubicBezTo>
                    <a:pt x="3213" y="253"/>
                    <a:pt x="3209" y="258"/>
                    <a:pt x="3211" y="264"/>
                  </a:cubicBezTo>
                  <a:cubicBezTo>
                    <a:pt x="3212" y="269"/>
                    <a:pt x="3218" y="274"/>
                    <a:pt x="3225" y="274"/>
                  </a:cubicBezTo>
                  <a:cubicBezTo>
                    <a:pt x="3231" y="274"/>
                    <a:pt x="3235" y="269"/>
                    <a:pt x="3233" y="263"/>
                  </a:cubicBezTo>
                  <a:cubicBezTo>
                    <a:pt x="3232" y="258"/>
                    <a:pt x="3226" y="253"/>
                    <a:pt x="3219" y="253"/>
                  </a:cubicBezTo>
                  <a:cubicBezTo>
                    <a:pt x="3219" y="253"/>
                    <a:pt x="3219" y="253"/>
                    <a:pt x="3219" y="253"/>
                  </a:cubicBezTo>
                  <a:moveTo>
                    <a:pt x="3251" y="253"/>
                  </a:moveTo>
                  <a:cubicBezTo>
                    <a:pt x="3245" y="253"/>
                    <a:pt x="3241" y="258"/>
                    <a:pt x="3243" y="263"/>
                  </a:cubicBezTo>
                  <a:cubicBezTo>
                    <a:pt x="3245" y="269"/>
                    <a:pt x="3251" y="274"/>
                    <a:pt x="3257" y="273"/>
                  </a:cubicBezTo>
                  <a:cubicBezTo>
                    <a:pt x="3264" y="273"/>
                    <a:pt x="3267" y="269"/>
                    <a:pt x="3266" y="263"/>
                  </a:cubicBezTo>
                  <a:cubicBezTo>
                    <a:pt x="3264" y="257"/>
                    <a:pt x="3258" y="253"/>
                    <a:pt x="3252" y="253"/>
                  </a:cubicBezTo>
                  <a:cubicBezTo>
                    <a:pt x="3252" y="253"/>
                    <a:pt x="3251" y="253"/>
                    <a:pt x="3251" y="253"/>
                  </a:cubicBezTo>
                  <a:moveTo>
                    <a:pt x="3284" y="253"/>
                  </a:moveTo>
                  <a:cubicBezTo>
                    <a:pt x="3277" y="253"/>
                    <a:pt x="3274" y="257"/>
                    <a:pt x="3275" y="263"/>
                  </a:cubicBezTo>
                  <a:cubicBezTo>
                    <a:pt x="3277" y="269"/>
                    <a:pt x="3283" y="273"/>
                    <a:pt x="3290" y="273"/>
                  </a:cubicBezTo>
                  <a:cubicBezTo>
                    <a:pt x="3296" y="273"/>
                    <a:pt x="3300" y="269"/>
                    <a:pt x="3298" y="263"/>
                  </a:cubicBezTo>
                  <a:cubicBezTo>
                    <a:pt x="3296" y="257"/>
                    <a:pt x="3290" y="253"/>
                    <a:pt x="3284" y="253"/>
                  </a:cubicBezTo>
                  <a:cubicBezTo>
                    <a:pt x="3284" y="253"/>
                    <a:pt x="3284" y="253"/>
                    <a:pt x="3284" y="253"/>
                  </a:cubicBezTo>
                  <a:moveTo>
                    <a:pt x="3316" y="252"/>
                  </a:moveTo>
                  <a:cubicBezTo>
                    <a:pt x="3310" y="252"/>
                    <a:pt x="3306" y="257"/>
                    <a:pt x="3308" y="263"/>
                  </a:cubicBezTo>
                  <a:cubicBezTo>
                    <a:pt x="3309" y="268"/>
                    <a:pt x="3316" y="273"/>
                    <a:pt x="3322" y="273"/>
                  </a:cubicBezTo>
                  <a:cubicBezTo>
                    <a:pt x="3329" y="273"/>
                    <a:pt x="3332" y="268"/>
                    <a:pt x="3330" y="263"/>
                  </a:cubicBezTo>
                  <a:cubicBezTo>
                    <a:pt x="3329" y="257"/>
                    <a:pt x="3322" y="252"/>
                    <a:pt x="3316" y="252"/>
                  </a:cubicBezTo>
                  <a:cubicBezTo>
                    <a:pt x="3316" y="252"/>
                    <a:pt x="3316" y="252"/>
                    <a:pt x="3316" y="252"/>
                  </a:cubicBezTo>
                  <a:moveTo>
                    <a:pt x="3348" y="252"/>
                  </a:moveTo>
                  <a:cubicBezTo>
                    <a:pt x="3342" y="252"/>
                    <a:pt x="3339" y="257"/>
                    <a:pt x="3340" y="263"/>
                  </a:cubicBezTo>
                  <a:cubicBezTo>
                    <a:pt x="3342" y="268"/>
                    <a:pt x="3349" y="273"/>
                    <a:pt x="3355" y="273"/>
                  </a:cubicBezTo>
                  <a:cubicBezTo>
                    <a:pt x="3361" y="273"/>
                    <a:pt x="3365" y="268"/>
                    <a:pt x="3363" y="262"/>
                  </a:cubicBezTo>
                  <a:cubicBezTo>
                    <a:pt x="3361" y="257"/>
                    <a:pt x="3355" y="252"/>
                    <a:pt x="3349" y="252"/>
                  </a:cubicBezTo>
                  <a:cubicBezTo>
                    <a:pt x="3349" y="252"/>
                    <a:pt x="3348" y="252"/>
                    <a:pt x="3348" y="252"/>
                  </a:cubicBezTo>
                  <a:moveTo>
                    <a:pt x="3382" y="252"/>
                  </a:moveTo>
                  <a:cubicBezTo>
                    <a:pt x="3376" y="252"/>
                    <a:pt x="3372" y="257"/>
                    <a:pt x="3374" y="262"/>
                  </a:cubicBezTo>
                  <a:cubicBezTo>
                    <a:pt x="3376" y="268"/>
                    <a:pt x="3382" y="272"/>
                    <a:pt x="3389" y="272"/>
                  </a:cubicBezTo>
                  <a:cubicBezTo>
                    <a:pt x="3395" y="272"/>
                    <a:pt x="3399" y="268"/>
                    <a:pt x="3397" y="262"/>
                  </a:cubicBezTo>
                  <a:cubicBezTo>
                    <a:pt x="3395" y="256"/>
                    <a:pt x="3388" y="252"/>
                    <a:pt x="3382" y="252"/>
                  </a:cubicBezTo>
                  <a:cubicBezTo>
                    <a:pt x="3382" y="252"/>
                    <a:pt x="3382" y="252"/>
                    <a:pt x="3382" y="252"/>
                  </a:cubicBezTo>
                  <a:moveTo>
                    <a:pt x="3414" y="252"/>
                  </a:moveTo>
                  <a:cubicBezTo>
                    <a:pt x="3408" y="252"/>
                    <a:pt x="3404" y="256"/>
                    <a:pt x="3406" y="262"/>
                  </a:cubicBezTo>
                  <a:cubicBezTo>
                    <a:pt x="3408" y="268"/>
                    <a:pt x="3415" y="272"/>
                    <a:pt x="3421" y="272"/>
                  </a:cubicBezTo>
                  <a:cubicBezTo>
                    <a:pt x="3427" y="272"/>
                    <a:pt x="3431" y="267"/>
                    <a:pt x="3429" y="262"/>
                  </a:cubicBezTo>
                  <a:cubicBezTo>
                    <a:pt x="3427" y="256"/>
                    <a:pt x="3420" y="252"/>
                    <a:pt x="3414" y="252"/>
                  </a:cubicBezTo>
                  <a:cubicBezTo>
                    <a:pt x="3414" y="252"/>
                    <a:pt x="3414" y="252"/>
                    <a:pt x="3414" y="252"/>
                  </a:cubicBezTo>
                  <a:moveTo>
                    <a:pt x="3447" y="251"/>
                  </a:moveTo>
                  <a:cubicBezTo>
                    <a:pt x="3440" y="251"/>
                    <a:pt x="3437" y="256"/>
                    <a:pt x="3439" y="262"/>
                  </a:cubicBezTo>
                  <a:cubicBezTo>
                    <a:pt x="3441" y="267"/>
                    <a:pt x="3448" y="272"/>
                    <a:pt x="3454" y="272"/>
                  </a:cubicBezTo>
                  <a:cubicBezTo>
                    <a:pt x="3460" y="272"/>
                    <a:pt x="3464" y="267"/>
                    <a:pt x="3462" y="262"/>
                  </a:cubicBezTo>
                  <a:cubicBezTo>
                    <a:pt x="3460" y="256"/>
                    <a:pt x="3453" y="251"/>
                    <a:pt x="3447" y="251"/>
                  </a:cubicBezTo>
                  <a:cubicBezTo>
                    <a:pt x="3447" y="251"/>
                    <a:pt x="3447" y="251"/>
                    <a:pt x="3447" y="251"/>
                  </a:cubicBezTo>
                  <a:moveTo>
                    <a:pt x="3479" y="251"/>
                  </a:moveTo>
                  <a:cubicBezTo>
                    <a:pt x="3473" y="251"/>
                    <a:pt x="3470" y="256"/>
                    <a:pt x="3472" y="261"/>
                  </a:cubicBezTo>
                  <a:cubicBezTo>
                    <a:pt x="3474" y="267"/>
                    <a:pt x="3481" y="272"/>
                    <a:pt x="3487" y="272"/>
                  </a:cubicBezTo>
                  <a:cubicBezTo>
                    <a:pt x="3493" y="272"/>
                    <a:pt x="3497" y="267"/>
                    <a:pt x="3495" y="261"/>
                  </a:cubicBezTo>
                  <a:cubicBezTo>
                    <a:pt x="3492" y="256"/>
                    <a:pt x="3486" y="251"/>
                    <a:pt x="3480" y="251"/>
                  </a:cubicBezTo>
                  <a:cubicBezTo>
                    <a:pt x="3479" y="251"/>
                    <a:pt x="3479" y="251"/>
                    <a:pt x="3479" y="251"/>
                  </a:cubicBezTo>
                  <a:moveTo>
                    <a:pt x="3512" y="251"/>
                  </a:moveTo>
                  <a:cubicBezTo>
                    <a:pt x="3505" y="251"/>
                    <a:pt x="3502" y="255"/>
                    <a:pt x="3504" y="261"/>
                  </a:cubicBezTo>
                  <a:cubicBezTo>
                    <a:pt x="3506" y="267"/>
                    <a:pt x="3513" y="271"/>
                    <a:pt x="3519" y="271"/>
                  </a:cubicBezTo>
                  <a:cubicBezTo>
                    <a:pt x="3526" y="271"/>
                    <a:pt x="3529" y="267"/>
                    <a:pt x="3527" y="261"/>
                  </a:cubicBezTo>
                  <a:cubicBezTo>
                    <a:pt x="3525" y="255"/>
                    <a:pt x="3518" y="251"/>
                    <a:pt x="3512" y="251"/>
                  </a:cubicBezTo>
                  <a:cubicBezTo>
                    <a:pt x="3512" y="251"/>
                    <a:pt x="3512" y="251"/>
                    <a:pt x="3512" y="251"/>
                  </a:cubicBezTo>
                  <a:moveTo>
                    <a:pt x="3544" y="251"/>
                  </a:moveTo>
                  <a:cubicBezTo>
                    <a:pt x="3538" y="251"/>
                    <a:pt x="3534" y="255"/>
                    <a:pt x="3537" y="261"/>
                  </a:cubicBezTo>
                  <a:cubicBezTo>
                    <a:pt x="3539" y="267"/>
                    <a:pt x="3546" y="271"/>
                    <a:pt x="3552" y="271"/>
                  </a:cubicBezTo>
                  <a:cubicBezTo>
                    <a:pt x="3558" y="271"/>
                    <a:pt x="3562" y="266"/>
                    <a:pt x="3559" y="261"/>
                  </a:cubicBezTo>
                  <a:cubicBezTo>
                    <a:pt x="3557" y="255"/>
                    <a:pt x="3550" y="251"/>
                    <a:pt x="3544" y="251"/>
                  </a:cubicBezTo>
                  <a:cubicBezTo>
                    <a:pt x="3544" y="251"/>
                    <a:pt x="3544" y="251"/>
                    <a:pt x="3544" y="251"/>
                  </a:cubicBezTo>
                  <a:moveTo>
                    <a:pt x="3576" y="250"/>
                  </a:moveTo>
                  <a:cubicBezTo>
                    <a:pt x="3570" y="250"/>
                    <a:pt x="3567" y="255"/>
                    <a:pt x="3569" y="261"/>
                  </a:cubicBezTo>
                  <a:cubicBezTo>
                    <a:pt x="3571" y="266"/>
                    <a:pt x="3578" y="271"/>
                    <a:pt x="3585" y="271"/>
                  </a:cubicBezTo>
                  <a:cubicBezTo>
                    <a:pt x="3591" y="271"/>
                    <a:pt x="3594" y="266"/>
                    <a:pt x="3592" y="260"/>
                  </a:cubicBezTo>
                  <a:cubicBezTo>
                    <a:pt x="3589" y="255"/>
                    <a:pt x="3583" y="250"/>
                    <a:pt x="3576" y="250"/>
                  </a:cubicBezTo>
                  <a:cubicBezTo>
                    <a:pt x="3576" y="250"/>
                    <a:pt x="3576" y="250"/>
                    <a:pt x="3576" y="250"/>
                  </a:cubicBezTo>
                  <a:moveTo>
                    <a:pt x="3609" y="250"/>
                  </a:moveTo>
                  <a:cubicBezTo>
                    <a:pt x="3603" y="250"/>
                    <a:pt x="3600" y="255"/>
                    <a:pt x="3602" y="260"/>
                  </a:cubicBezTo>
                  <a:cubicBezTo>
                    <a:pt x="3604" y="266"/>
                    <a:pt x="3611" y="271"/>
                    <a:pt x="3618" y="271"/>
                  </a:cubicBezTo>
                  <a:cubicBezTo>
                    <a:pt x="3624" y="270"/>
                    <a:pt x="3627" y="266"/>
                    <a:pt x="3625" y="260"/>
                  </a:cubicBezTo>
                  <a:cubicBezTo>
                    <a:pt x="3622" y="254"/>
                    <a:pt x="3616" y="250"/>
                    <a:pt x="3609" y="250"/>
                  </a:cubicBezTo>
                  <a:cubicBezTo>
                    <a:pt x="3609" y="250"/>
                    <a:pt x="3609" y="250"/>
                    <a:pt x="3609" y="250"/>
                  </a:cubicBezTo>
                  <a:moveTo>
                    <a:pt x="3642" y="250"/>
                  </a:moveTo>
                  <a:cubicBezTo>
                    <a:pt x="3635" y="250"/>
                    <a:pt x="3632" y="254"/>
                    <a:pt x="3635" y="260"/>
                  </a:cubicBezTo>
                  <a:cubicBezTo>
                    <a:pt x="3637" y="266"/>
                    <a:pt x="3644" y="270"/>
                    <a:pt x="3650" y="270"/>
                  </a:cubicBezTo>
                  <a:cubicBezTo>
                    <a:pt x="3657" y="270"/>
                    <a:pt x="3660" y="266"/>
                    <a:pt x="3657" y="260"/>
                  </a:cubicBezTo>
                  <a:cubicBezTo>
                    <a:pt x="3655" y="254"/>
                    <a:pt x="3648" y="250"/>
                    <a:pt x="3642" y="250"/>
                  </a:cubicBezTo>
                  <a:cubicBezTo>
                    <a:pt x="3642" y="250"/>
                    <a:pt x="3642" y="250"/>
                    <a:pt x="3642" y="250"/>
                  </a:cubicBezTo>
                  <a:moveTo>
                    <a:pt x="3675" y="249"/>
                  </a:moveTo>
                  <a:cubicBezTo>
                    <a:pt x="3669" y="249"/>
                    <a:pt x="3666" y="254"/>
                    <a:pt x="3668" y="260"/>
                  </a:cubicBezTo>
                  <a:cubicBezTo>
                    <a:pt x="3671" y="265"/>
                    <a:pt x="3678" y="270"/>
                    <a:pt x="3684" y="270"/>
                  </a:cubicBezTo>
                  <a:cubicBezTo>
                    <a:pt x="3690" y="270"/>
                    <a:pt x="3694" y="265"/>
                    <a:pt x="3691" y="260"/>
                  </a:cubicBezTo>
                  <a:cubicBezTo>
                    <a:pt x="3688" y="254"/>
                    <a:pt x="3681" y="249"/>
                    <a:pt x="3675" y="249"/>
                  </a:cubicBezTo>
                  <a:cubicBezTo>
                    <a:pt x="3675" y="249"/>
                    <a:pt x="3675" y="249"/>
                    <a:pt x="3675" y="249"/>
                  </a:cubicBezTo>
                  <a:moveTo>
                    <a:pt x="181" y="249"/>
                  </a:moveTo>
                  <a:cubicBezTo>
                    <a:pt x="175" y="249"/>
                    <a:pt x="166" y="254"/>
                    <a:pt x="161" y="260"/>
                  </a:cubicBezTo>
                  <a:cubicBezTo>
                    <a:pt x="156" y="265"/>
                    <a:pt x="157" y="270"/>
                    <a:pt x="163" y="270"/>
                  </a:cubicBezTo>
                  <a:cubicBezTo>
                    <a:pt x="170" y="269"/>
                    <a:pt x="179" y="265"/>
                    <a:pt x="184" y="259"/>
                  </a:cubicBezTo>
                  <a:cubicBezTo>
                    <a:pt x="189" y="254"/>
                    <a:pt x="187" y="249"/>
                    <a:pt x="181" y="249"/>
                  </a:cubicBezTo>
                  <a:cubicBezTo>
                    <a:pt x="181" y="249"/>
                    <a:pt x="181" y="249"/>
                    <a:pt x="181" y="249"/>
                  </a:cubicBezTo>
                  <a:moveTo>
                    <a:pt x="3707" y="249"/>
                  </a:moveTo>
                  <a:cubicBezTo>
                    <a:pt x="3701" y="249"/>
                    <a:pt x="3698" y="254"/>
                    <a:pt x="3701" y="260"/>
                  </a:cubicBezTo>
                  <a:cubicBezTo>
                    <a:pt x="3703" y="265"/>
                    <a:pt x="3710" y="270"/>
                    <a:pt x="3717" y="270"/>
                  </a:cubicBezTo>
                  <a:cubicBezTo>
                    <a:pt x="3723" y="270"/>
                    <a:pt x="3726" y="265"/>
                    <a:pt x="3723" y="259"/>
                  </a:cubicBezTo>
                  <a:cubicBezTo>
                    <a:pt x="3721" y="254"/>
                    <a:pt x="3714" y="249"/>
                    <a:pt x="3707" y="249"/>
                  </a:cubicBezTo>
                  <a:cubicBezTo>
                    <a:pt x="3707" y="249"/>
                    <a:pt x="3707" y="249"/>
                    <a:pt x="3707" y="249"/>
                  </a:cubicBezTo>
                  <a:moveTo>
                    <a:pt x="213" y="249"/>
                  </a:moveTo>
                  <a:cubicBezTo>
                    <a:pt x="207" y="249"/>
                    <a:pt x="198" y="254"/>
                    <a:pt x="193" y="259"/>
                  </a:cubicBezTo>
                  <a:cubicBezTo>
                    <a:pt x="188" y="265"/>
                    <a:pt x="189" y="269"/>
                    <a:pt x="196" y="269"/>
                  </a:cubicBezTo>
                  <a:cubicBezTo>
                    <a:pt x="202" y="269"/>
                    <a:pt x="211" y="265"/>
                    <a:pt x="216" y="259"/>
                  </a:cubicBezTo>
                  <a:cubicBezTo>
                    <a:pt x="221" y="254"/>
                    <a:pt x="220" y="249"/>
                    <a:pt x="213" y="249"/>
                  </a:cubicBezTo>
                  <a:cubicBezTo>
                    <a:pt x="213" y="249"/>
                    <a:pt x="213" y="249"/>
                    <a:pt x="213" y="249"/>
                  </a:cubicBezTo>
                  <a:moveTo>
                    <a:pt x="3740" y="249"/>
                  </a:moveTo>
                  <a:cubicBezTo>
                    <a:pt x="3733" y="249"/>
                    <a:pt x="3731" y="254"/>
                    <a:pt x="3733" y="259"/>
                  </a:cubicBezTo>
                  <a:cubicBezTo>
                    <a:pt x="3736" y="265"/>
                    <a:pt x="3743" y="269"/>
                    <a:pt x="3749" y="269"/>
                  </a:cubicBezTo>
                  <a:cubicBezTo>
                    <a:pt x="3756" y="269"/>
                    <a:pt x="3759" y="265"/>
                    <a:pt x="3756" y="259"/>
                  </a:cubicBezTo>
                  <a:cubicBezTo>
                    <a:pt x="3753" y="253"/>
                    <a:pt x="3746" y="249"/>
                    <a:pt x="3740" y="249"/>
                  </a:cubicBezTo>
                  <a:cubicBezTo>
                    <a:pt x="3740" y="249"/>
                    <a:pt x="3740" y="249"/>
                    <a:pt x="3740" y="249"/>
                  </a:cubicBezTo>
                  <a:moveTo>
                    <a:pt x="246" y="249"/>
                  </a:moveTo>
                  <a:cubicBezTo>
                    <a:pt x="240" y="249"/>
                    <a:pt x="231" y="253"/>
                    <a:pt x="226" y="259"/>
                  </a:cubicBezTo>
                  <a:cubicBezTo>
                    <a:pt x="221" y="265"/>
                    <a:pt x="222" y="269"/>
                    <a:pt x="228" y="269"/>
                  </a:cubicBezTo>
                  <a:cubicBezTo>
                    <a:pt x="235" y="269"/>
                    <a:pt x="244" y="264"/>
                    <a:pt x="248" y="259"/>
                  </a:cubicBezTo>
                  <a:cubicBezTo>
                    <a:pt x="253" y="253"/>
                    <a:pt x="252" y="249"/>
                    <a:pt x="246" y="249"/>
                  </a:cubicBezTo>
                  <a:cubicBezTo>
                    <a:pt x="246" y="249"/>
                    <a:pt x="246" y="249"/>
                    <a:pt x="246" y="249"/>
                  </a:cubicBezTo>
                  <a:moveTo>
                    <a:pt x="3772" y="249"/>
                  </a:moveTo>
                  <a:cubicBezTo>
                    <a:pt x="3766" y="249"/>
                    <a:pt x="3763" y="253"/>
                    <a:pt x="3766" y="259"/>
                  </a:cubicBezTo>
                  <a:cubicBezTo>
                    <a:pt x="3769" y="265"/>
                    <a:pt x="3776" y="269"/>
                    <a:pt x="3782" y="269"/>
                  </a:cubicBezTo>
                  <a:cubicBezTo>
                    <a:pt x="3789" y="269"/>
                    <a:pt x="3792" y="264"/>
                    <a:pt x="3789" y="259"/>
                  </a:cubicBezTo>
                  <a:cubicBezTo>
                    <a:pt x="3786" y="253"/>
                    <a:pt x="3779" y="249"/>
                    <a:pt x="3773" y="249"/>
                  </a:cubicBezTo>
                  <a:cubicBezTo>
                    <a:pt x="3773" y="249"/>
                    <a:pt x="3773" y="249"/>
                    <a:pt x="3772" y="249"/>
                  </a:cubicBezTo>
                  <a:moveTo>
                    <a:pt x="278" y="248"/>
                  </a:moveTo>
                  <a:cubicBezTo>
                    <a:pt x="272" y="249"/>
                    <a:pt x="263" y="253"/>
                    <a:pt x="258" y="259"/>
                  </a:cubicBezTo>
                  <a:cubicBezTo>
                    <a:pt x="253" y="264"/>
                    <a:pt x="254" y="269"/>
                    <a:pt x="261" y="269"/>
                  </a:cubicBezTo>
                  <a:cubicBezTo>
                    <a:pt x="267" y="269"/>
                    <a:pt x="276" y="264"/>
                    <a:pt x="281" y="259"/>
                  </a:cubicBezTo>
                  <a:cubicBezTo>
                    <a:pt x="285" y="253"/>
                    <a:pt x="284" y="248"/>
                    <a:pt x="278" y="248"/>
                  </a:cubicBezTo>
                  <a:cubicBezTo>
                    <a:pt x="278" y="248"/>
                    <a:pt x="278" y="248"/>
                    <a:pt x="278" y="248"/>
                  </a:cubicBezTo>
                  <a:moveTo>
                    <a:pt x="3805" y="248"/>
                  </a:moveTo>
                  <a:cubicBezTo>
                    <a:pt x="3798" y="248"/>
                    <a:pt x="3796" y="253"/>
                    <a:pt x="3798" y="259"/>
                  </a:cubicBezTo>
                  <a:cubicBezTo>
                    <a:pt x="3801" y="264"/>
                    <a:pt x="3808" y="269"/>
                    <a:pt x="3815" y="269"/>
                  </a:cubicBezTo>
                  <a:cubicBezTo>
                    <a:pt x="3821" y="269"/>
                    <a:pt x="3824" y="264"/>
                    <a:pt x="3821" y="259"/>
                  </a:cubicBezTo>
                  <a:cubicBezTo>
                    <a:pt x="3818" y="253"/>
                    <a:pt x="3811" y="248"/>
                    <a:pt x="3805" y="248"/>
                  </a:cubicBezTo>
                  <a:cubicBezTo>
                    <a:pt x="3805" y="248"/>
                    <a:pt x="3805" y="248"/>
                    <a:pt x="3805" y="248"/>
                  </a:cubicBezTo>
                  <a:moveTo>
                    <a:pt x="310" y="248"/>
                  </a:moveTo>
                  <a:cubicBezTo>
                    <a:pt x="304" y="248"/>
                    <a:pt x="295" y="253"/>
                    <a:pt x="290" y="258"/>
                  </a:cubicBezTo>
                  <a:cubicBezTo>
                    <a:pt x="286" y="264"/>
                    <a:pt x="287" y="268"/>
                    <a:pt x="293" y="268"/>
                  </a:cubicBezTo>
                  <a:cubicBezTo>
                    <a:pt x="299" y="268"/>
                    <a:pt x="308" y="264"/>
                    <a:pt x="313" y="258"/>
                  </a:cubicBezTo>
                  <a:cubicBezTo>
                    <a:pt x="318" y="253"/>
                    <a:pt x="316" y="248"/>
                    <a:pt x="310" y="248"/>
                  </a:cubicBezTo>
                  <a:cubicBezTo>
                    <a:pt x="310" y="248"/>
                    <a:pt x="310" y="248"/>
                    <a:pt x="310" y="248"/>
                  </a:cubicBezTo>
                  <a:moveTo>
                    <a:pt x="3837" y="248"/>
                  </a:moveTo>
                  <a:cubicBezTo>
                    <a:pt x="3831" y="248"/>
                    <a:pt x="3828" y="253"/>
                    <a:pt x="3831" y="258"/>
                  </a:cubicBezTo>
                  <a:cubicBezTo>
                    <a:pt x="3834" y="264"/>
                    <a:pt x="3841" y="269"/>
                    <a:pt x="3847" y="269"/>
                  </a:cubicBezTo>
                  <a:cubicBezTo>
                    <a:pt x="3854" y="269"/>
                    <a:pt x="3856" y="264"/>
                    <a:pt x="3854" y="258"/>
                  </a:cubicBezTo>
                  <a:cubicBezTo>
                    <a:pt x="3851" y="253"/>
                    <a:pt x="3843" y="248"/>
                    <a:pt x="3837" y="248"/>
                  </a:cubicBezTo>
                  <a:cubicBezTo>
                    <a:pt x="3837" y="248"/>
                    <a:pt x="3837" y="248"/>
                    <a:pt x="3837" y="248"/>
                  </a:cubicBezTo>
                  <a:moveTo>
                    <a:pt x="342" y="248"/>
                  </a:moveTo>
                  <a:cubicBezTo>
                    <a:pt x="336" y="248"/>
                    <a:pt x="327" y="253"/>
                    <a:pt x="323" y="258"/>
                  </a:cubicBezTo>
                  <a:cubicBezTo>
                    <a:pt x="318" y="264"/>
                    <a:pt x="319" y="268"/>
                    <a:pt x="326" y="268"/>
                  </a:cubicBezTo>
                  <a:cubicBezTo>
                    <a:pt x="332" y="268"/>
                    <a:pt x="341" y="264"/>
                    <a:pt x="345" y="258"/>
                  </a:cubicBezTo>
                  <a:cubicBezTo>
                    <a:pt x="350" y="252"/>
                    <a:pt x="349" y="248"/>
                    <a:pt x="343" y="248"/>
                  </a:cubicBezTo>
                  <a:cubicBezTo>
                    <a:pt x="342" y="248"/>
                    <a:pt x="342" y="248"/>
                    <a:pt x="342" y="248"/>
                  </a:cubicBezTo>
                  <a:moveTo>
                    <a:pt x="3869" y="248"/>
                  </a:moveTo>
                  <a:cubicBezTo>
                    <a:pt x="3863" y="248"/>
                    <a:pt x="3860" y="252"/>
                    <a:pt x="3863" y="258"/>
                  </a:cubicBezTo>
                  <a:cubicBezTo>
                    <a:pt x="3866" y="264"/>
                    <a:pt x="3873" y="268"/>
                    <a:pt x="3880" y="268"/>
                  </a:cubicBezTo>
                  <a:cubicBezTo>
                    <a:pt x="3886" y="268"/>
                    <a:pt x="3889" y="264"/>
                    <a:pt x="3886" y="258"/>
                  </a:cubicBezTo>
                  <a:cubicBezTo>
                    <a:pt x="3883" y="252"/>
                    <a:pt x="3876" y="248"/>
                    <a:pt x="3869" y="248"/>
                  </a:cubicBezTo>
                  <a:cubicBezTo>
                    <a:pt x="3869" y="248"/>
                    <a:pt x="3869" y="248"/>
                    <a:pt x="3869" y="248"/>
                  </a:cubicBezTo>
                  <a:moveTo>
                    <a:pt x="376" y="248"/>
                  </a:moveTo>
                  <a:cubicBezTo>
                    <a:pt x="370" y="248"/>
                    <a:pt x="361" y="252"/>
                    <a:pt x="357" y="258"/>
                  </a:cubicBezTo>
                  <a:cubicBezTo>
                    <a:pt x="352" y="263"/>
                    <a:pt x="353" y="268"/>
                    <a:pt x="360" y="268"/>
                  </a:cubicBezTo>
                  <a:cubicBezTo>
                    <a:pt x="366" y="268"/>
                    <a:pt x="375" y="263"/>
                    <a:pt x="379" y="258"/>
                  </a:cubicBezTo>
                  <a:cubicBezTo>
                    <a:pt x="384" y="252"/>
                    <a:pt x="382" y="248"/>
                    <a:pt x="376" y="248"/>
                  </a:cubicBezTo>
                  <a:cubicBezTo>
                    <a:pt x="376" y="248"/>
                    <a:pt x="376" y="248"/>
                    <a:pt x="376" y="248"/>
                  </a:cubicBezTo>
                  <a:moveTo>
                    <a:pt x="3901" y="248"/>
                  </a:moveTo>
                  <a:cubicBezTo>
                    <a:pt x="3895" y="248"/>
                    <a:pt x="3893" y="252"/>
                    <a:pt x="3895" y="258"/>
                  </a:cubicBezTo>
                  <a:cubicBezTo>
                    <a:pt x="3898" y="264"/>
                    <a:pt x="3906" y="268"/>
                    <a:pt x="3912" y="268"/>
                  </a:cubicBezTo>
                  <a:cubicBezTo>
                    <a:pt x="3919" y="268"/>
                    <a:pt x="3921" y="263"/>
                    <a:pt x="3918" y="258"/>
                  </a:cubicBezTo>
                  <a:cubicBezTo>
                    <a:pt x="3915" y="252"/>
                    <a:pt x="3908" y="247"/>
                    <a:pt x="3902" y="247"/>
                  </a:cubicBezTo>
                  <a:cubicBezTo>
                    <a:pt x="3902" y="247"/>
                    <a:pt x="3901" y="248"/>
                    <a:pt x="3901" y="248"/>
                  </a:cubicBezTo>
                  <a:moveTo>
                    <a:pt x="408" y="247"/>
                  </a:moveTo>
                  <a:cubicBezTo>
                    <a:pt x="402" y="247"/>
                    <a:pt x="393" y="252"/>
                    <a:pt x="389" y="258"/>
                  </a:cubicBezTo>
                  <a:cubicBezTo>
                    <a:pt x="384" y="263"/>
                    <a:pt x="386" y="268"/>
                    <a:pt x="392" y="268"/>
                  </a:cubicBezTo>
                  <a:cubicBezTo>
                    <a:pt x="398" y="268"/>
                    <a:pt x="407" y="263"/>
                    <a:pt x="412" y="257"/>
                  </a:cubicBezTo>
                  <a:cubicBezTo>
                    <a:pt x="416" y="252"/>
                    <a:pt x="415" y="247"/>
                    <a:pt x="408" y="247"/>
                  </a:cubicBezTo>
                  <a:cubicBezTo>
                    <a:pt x="408" y="247"/>
                    <a:pt x="408" y="247"/>
                    <a:pt x="408" y="247"/>
                  </a:cubicBezTo>
                  <a:moveTo>
                    <a:pt x="3934" y="247"/>
                  </a:moveTo>
                  <a:cubicBezTo>
                    <a:pt x="3927" y="247"/>
                    <a:pt x="3925" y="252"/>
                    <a:pt x="3928" y="258"/>
                  </a:cubicBezTo>
                  <a:cubicBezTo>
                    <a:pt x="3931" y="263"/>
                    <a:pt x="3938" y="268"/>
                    <a:pt x="3945" y="268"/>
                  </a:cubicBezTo>
                  <a:cubicBezTo>
                    <a:pt x="3951" y="268"/>
                    <a:pt x="3954" y="263"/>
                    <a:pt x="3951" y="257"/>
                  </a:cubicBezTo>
                  <a:cubicBezTo>
                    <a:pt x="3947" y="252"/>
                    <a:pt x="3940" y="247"/>
                    <a:pt x="3934" y="247"/>
                  </a:cubicBezTo>
                  <a:cubicBezTo>
                    <a:pt x="3934" y="247"/>
                    <a:pt x="3934" y="247"/>
                    <a:pt x="3934" y="247"/>
                  </a:cubicBezTo>
                  <a:moveTo>
                    <a:pt x="441" y="247"/>
                  </a:moveTo>
                  <a:cubicBezTo>
                    <a:pt x="434" y="247"/>
                    <a:pt x="426" y="252"/>
                    <a:pt x="421" y="257"/>
                  </a:cubicBezTo>
                  <a:cubicBezTo>
                    <a:pt x="417" y="263"/>
                    <a:pt x="418" y="267"/>
                    <a:pt x="425" y="267"/>
                  </a:cubicBezTo>
                  <a:cubicBezTo>
                    <a:pt x="431" y="267"/>
                    <a:pt x="440" y="263"/>
                    <a:pt x="444" y="257"/>
                  </a:cubicBezTo>
                  <a:cubicBezTo>
                    <a:pt x="448" y="252"/>
                    <a:pt x="447" y="247"/>
                    <a:pt x="441" y="247"/>
                  </a:cubicBezTo>
                  <a:cubicBezTo>
                    <a:pt x="441" y="247"/>
                    <a:pt x="441" y="247"/>
                    <a:pt x="441" y="247"/>
                  </a:cubicBezTo>
                  <a:moveTo>
                    <a:pt x="474" y="247"/>
                  </a:moveTo>
                  <a:cubicBezTo>
                    <a:pt x="468" y="247"/>
                    <a:pt x="459" y="251"/>
                    <a:pt x="455" y="257"/>
                  </a:cubicBezTo>
                  <a:cubicBezTo>
                    <a:pt x="451" y="263"/>
                    <a:pt x="452" y="267"/>
                    <a:pt x="459" y="267"/>
                  </a:cubicBezTo>
                  <a:cubicBezTo>
                    <a:pt x="465" y="267"/>
                    <a:pt x="473" y="262"/>
                    <a:pt x="478" y="257"/>
                  </a:cubicBezTo>
                  <a:cubicBezTo>
                    <a:pt x="482" y="251"/>
                    <a:pt x="480" y="247"/>
                    <a:pt x="474" y="247"/>
                  </a:cubicBezTo>
                  <a:cubicBezTo>
                    <a:pt x="474" y="247"/>
                    <a:pt x="474" y="247"/>
                    <a:pt x="474" y="247"/>
                  </a:cubicBezTo>
                  <a:moveTo>
                    <a:pt x="506" y="247"/>
                  </a:moveTo>
                  <a:cubicBezTo>
                    <a:pt x="500" y="247"/>
                    <a:pt x="492" y="251"/>
                    <a:pt x="487" y="257"/>
                  </a:cubicBezTo>
                  <a:cubicBezTo>
                    <a:pt x="483" y="262"/>
                    <a:pt x="485" y="267"/>
                    <a:pt x="491" y="267"/>
                  </a:cubicBezTo>
                  <a:cubicBezTo>
                    <a:pt x="497" y="267"/>
                    <a:pt x="506" y="262"/>
                    <a:pt x="510" y="257"/>
                  </a:cubicBezTo>
                  <a:cubicBezTo>
                    <a:pt x="514" y="251"/>
                    <a:pt x="513" y="247"/>
                    <a:pt x="506" y="247"/>
                  </a:cubicBezTo>
                  <a:cubicBezTo>
                    <a:pt x="506" y="247"/>
                    <a:pt x="506" y="247"/>
                    <a:pt x="506" y="247"/>
                  </a:cubicBezTo>
                  <a:moveTo>
                    <a:pt x="539" y="246"/>
                  </a:moveTo>
                  <a:cubicBezTo>
                    <a:pt x="532" y="246"/>
                    <a:pt x="524" y="251"/>
                    <a:pt x="520" y="256"/>
                  </a:cubicBezTo>
                  <a:cubicBezTo>
                    <a:pt x="516" y="262"/>
                    <a:pt x="517" y="267"/>
                    <a:pt x="524" y="267"/>
                  </a:cubicBezTo>
                  <a:cubicBezTo>
                    <a:pt x="530" y="266"/>
                    <a:pt x="538" y="262"/>
                    <a:pt x="542" y="256"/>
                  </a:cubicBezTo>
                  <a:cubicBezTo>
                    <a:pt x="547" y="251"/>
                    <a:pt x="545" y="246"/>
                    <a:pt x="539" y="246"/>
                  </a:cubicBezTo>
                  <a:cubicBezTo>
                    <a:pt x="539" y="246"/>
                    <a:pt x="539" y="246"/>
                    <a:pt x="539" y="246"/>
                  </a:cubicBezTo>
                  <a:moveTo>
                    <a:pt x="4063" y="246"/>
                  </a:moveTo>
                  <a:cubicBezTo>
                    <a:pt x="4057" y="246"/>
                    <a:pt x="4055" y="251"/>
                    <a:pt x="4058" y="257"/>
                  </a:cubicBezTo>
                  <a:cubicBezTo>
                    <a:pt x="4061" y="262"/>
                    <a:pt x="4069" y="267"/>
                    <a:pt x="4075" y="267"/>
                  </a:cubicBezTo>
                  <a:cubicBezTo>
                    <a:pt x="4082" y="267"/>
                    <a:pt x="4084" y="262"/>
                    <a:pt x="4081" y="256"/>
                  </a:cubicBezTo>
                  <a:cubicBezTo>
                    <a:pt x="4077" y="251"/>
                    <a:pt x="4070" y="246"/>
                    <a:pt x="4063" y="246"/>
                  </a:cubicBezTo>
                  <a:cubicBezTo>
                    <a:pt x="4063" y="246"/>
                    <a:pt x="4063" y="246"/>
                    <a:pt x="4063" y="246"/>
                  </a:cubicBezTo>
                  <a:moveTo>
                    <a:pt x="571" y="246"/>
                  </a:moveTo>
                  <a:cubicBezTo>
                    <a:pt x="565" y="246"/>
                    <a:pt x="556" y="251"/>
                    <a:pt x="552" y="256"/>
                  </a:cubicBezTo>
                  <a:cubicBezTo>
                    <a:pt x="548" y="262"/>
                    <a:pt x="550" y="266"/>
                    <a:pt x="556" y="266"/>
                  </a:cubicBezTo>
                  <a:cubicBezTo>
                    <a:pt x="562" y="266"/>
                    <a:pt x="571" y="262"/>
                    <a:pt x="575" y="256"/>
                  </a:cubicBezTo>
                  <a:cubicBezTo>
                    <a:pt x="579" y="250"/>
                    <a:pt x="577" y="246"/>
                    <a:pt x="571" y="246"/>
                  </a:cubicBezTo>
                  <a:cubicBezTo>
                    <a:pt x="571" y="246"/>
                    <a:pt x="571" y="246"/>
                    <a:pt x="571" y="246"/>
                  </a:cubicBezTo>
                  <a:moveTo>
                    <a:pt x="4095" y="246"/>
                  </a:moveTo>
                  <a:cubicBezTo>
                    <a:pt x="4089" y="246"/>
                    <a:pt x="4087" y="251"/>
                    <a:pt x="4090" y="256"/>
                  </a:cubicBezTo>
                  <a:cubicBezTo>
                    <a:pt x="4094" y="262"/>
                    <a:pt x="4101" y="267"/>
                    <a:pt x="4108" y="266"/>
                  </a:cubicBezTo>
                  <a:cubicBezTo>
                    <a:pt x="4114" y="266"/>
                    <a:pt x="4116" y="262"/>
                    <a:pt x="4113" y="256"/>
                  </a:cubicBezTo>
                  <a:cubicBezTo>
                    <a:pt x="4110" y="250"/>
                    <a:pt x="4102" y="246"/>
                    <a:pt x="4096" y="246"/>
                  </a:cubicBezTo>
                  <a:cubicBezTo>
                    <a:pt x="4096" y="246"/>
                    <a:pt x="4095" y="246"/>
                    <a:pt x="4095" y="246"/>
                  </a:cubicBezTo>
                  <a:moveTo>
                    <a:pt x="603" y="246"/>
                  </a:moveTo>
                  <a:cubicBezTo>
                    <a:pt x="597" y="246"/>
                    <a:pt x="589" y="250"/>
                    <a:pt x="585" y="256"/>
                  </a:cubicBezTo>
                  <a:cubicBezTo>
                    <a:pt x="580" y="262"/>
                    <a:pt x="582" y="266"/>
                    <a:pt x="589" y="266"/>
                  </a:cubicBezTo>
                  <a:cubicBezTo>
                    <a:pt x="595" y="266"/>
                    <a:pt x="603" y="261"/>
                    <a:pt x="607" y="256"/>
                  </a:cubicBezTo>
                  <a:cubicBezTo>
                    <a:pt x="611" y="250"/>
                    <a:pt x="609" y="246"/>
                    <a:pt x="603" y="246"/>
                  </a:cubicBezTo>
                  <a:cubicBezTo>
                    <a:pt x="603" y="246"/>
                    <a:pt x="603" y="246"/>
                    <a:pt x="603" y="246"/>
                  </a:cubicBezTo>
                  <a:moveTo>
                    <a:pt x="4127" y="246"/>
                  </a:moveTo>
                  <a:cubicBezTo>
                    <a:pt x="4121" y="246"/>
                    <a:pt x="4118" y="250"/>
                    <a:pt x="4122" y="256"/>
                  </a:cubicBezTo>
                  <a:cubicBezTo>
                    <a:pt x="4125" y="262"/>
                    <a:pt x="4133" y="266"/>
                    <a:pt x="4139" y="266"/>
                  </a:cubicBezTo>
                  <a:cubicBezTo>
                    <a:pt x="4146" y="266"/>
                    <a:pt x="4148" y="262"/>
                    <a:pt x="4145" y="256"/>
                  </a:cubicBezTo>
                  <a:cubicBezTo>
                    <a:pt x="4141" y="250"/>
                    <a:pt x="4133" y="246"/>
                    <a:pt x="4127" y="246"/>
                  </a:cubicBezTo>
                  <a:cubicBezTo>
                    <a:pt x="4127" y="246"/>
                    <a:pt x="4127" y="246"/>
                    <a:pt x="4127" y="246"/>
                  </a:cubicBezTo>
                  <a:moveTo>
                    <a:pt x="637" y="245"/>
                  </a:moveTo>
                  <a:cubicBezTo>
                    <a:pt x="630" y="245"/>
                    <a:pt x="622" y="250"/>
                    <a:pt x="618" y="256"/>
                  </a:cubicBezTo>
                  <a:cubicBezTo>
                    <a:pt x="614" y="261"/>
                    <a:pt x="616" y="266"/>
                    <a:pt x="622" y="266"/>
                  </a:cubicBezTo>
                  <a:cubicBezTo>
                    <a:pt x="628" y="266"/>
                    <a:pt x="637" y="261"/>
                    <a:pt x="641" y="255"/>
                  </a:cubicBezTo>
                  <a:cubicBezTo>
                    <a:pt x="645" y="250"/>
                    <a:pt x="643" y="245"/>
                    <a:pt x="637" y="245"/>
                  </a:cubicBezTo>
                  <a:cubicBezTo>
                    <a:pt x="637" y="245"/>
                    <a:pt x="637" y="245"/>
                    <a:pt x="637" y="245"/>
                  </a:cubicBezTo>
                  <a:moveTo>
                    <a:pt x="669" y="245"/>
                  </a:moveTo>
                  <a:cubicBezTo>
                    <a:pt x="662" y="245"/>
                    <a:pt x="654" y="250"/>
                    <a:pt x="650" y="255"/>
                  </a:cubicBezTo>
                  <a:cubicBezTo>
                    <a:pt x="646" y="261"/>
                    <a:pt x="648" y="265"/>
                    <a:pt x="655" y="265"/>
                  </a:cubicBezTo>
                  <a:cubicBezTo>
                    <a:pt x="661" y="265"/>
                    <a:pt x="669" y="261"/>
                    <a:pt x="673" y="255"/>
                  </a:cubicBezTo>
                  <a:cubicBezTo>
                    <a:pt x="677" y="250"/>
                    <a:pt x="675" y="245"/>
                    <a:pt x="669" y="245"/>
                  </a:cubicBezTo>
                  <a:cubicBezTo>
                    <a:pt x="669" y="245"/>
                    <a:pt x="669" y="245"/>
                    <a:pt x="669" y="245"/>
                  </a:cubicBezTo>
                  <a:moveTo>
                    <a:pt x="701" y="245"/>
                  </a:moveTo>
                  <a:cubicBezTo>
                    <a:pt x="695" y="245"/>
                    <a:pt x="687" y="250"/>
                    <a:pt x="683" y="255"/>
                  </a:cubicBezTo>
                  <a:cubicBezTo>
                    <a:pt x="679" y="261"/>
                    <a:pt x="681" y="265"/>
                    <a:pt x="687" y="265"/>
                  </a:cubicBezTo>
                  <a:cubicBezTo>
                    <a:pt x="694" y="265"/>
                    <a:pt x="702" y="261"/>
                    <a:pt x="706" y="255"/>
                  </a:cubicBezTo>
                  <a:cubicBezTo>
                    <a:pt x="709" y="249"/>
                    <a:pt x="707" y="245"/>
                    <a:pt x="701" y="245"/>
                  </a:cubicBezTo>
                  <a:cubicBezTo>
                    <a:pt x="701" y="245"/>
                    <a:pt x="701" y="245"/>
                    <a:pt x="701" y="245"/>
                  </a:cubicBezTo>
                  <a:moveTo>
                    <a:pt x="734" y="245"/>
                  </a:moveTo>
                  <a:cubicBezTo>
                    <a:pt x="728" y="245"/>
                    <a:pt x="719" y="249"/>
                    <a:pt x="716" y="255"/>
                  </a:cubicBezTo>
                  <a:cubicBezTo>
                    <a:pt x="712" y="260"/>
                    <a:pt x="714" y="265"/>
                    <a:pt x="720" y="265"/>
                  </a:cubicBezTo>
                  <a:cubicBezTo>
                    <a:pt x="726" y="265"/>
                    <a:pt x="735" y="260"/>
                    <a:pt x="738" y="255"/>
                  </a:cubicBezTo>
                  <a:cubicBezTo>
                    <a:pt x="742" y="249"/>
                    <a:pt x="740" y="245"/>
                    <a:pt x="734" y="245"/>
                  </a:cubicBezTo>
                  <a:cubicBezTo>
                    <a:pt x="734" y="245"/>
                    <a:pt x="734" y="245"/>
                    <a:pt x="734" y="245"/>
                  </a:cubicBezTo>
                  <a:moveTo>
                    <a:pt x="766" y="244"/>
                  </a:moveTo>
                  <a:cubicBezTo>
                    <a:pt x="760" y="244"/>
                    <a:pt x="752" y="249"/>
                    <a:pt x="748" y="255"/>
                  </a:cubicBezTo>
                  <a:cubicBezTo>
                    <a:pt x="744" y="260"/>
                    <a:pt x="746" y="265"/>
                    <a:pt x="753" y="265"/>
                  </a:cubicBezTo>
                  <a:cubicBezTo>
                    <a:pt x="759" y="265"/>
                    <a:pt x="767" y="260"/>
                    <a:pt x="771" y="254"/>
                  </a:cubicBezTo>
                  <a:cubicBezTo>
                    <a:pt x="774" y="249"/>
                    <a:pt x="772" y="244"/>
                    <a:pt x="766" y="244"/>
                  </a:cubicBezTo>
                  <a:cubicBezTo>
                    <a:pt x="766" y="244"/>
                    <a:pt x="766" y="244"/>
                    <a:pt x="766" y="244"/>
                  </a:cubicBezTo>
                  <a:moveTo>
                    <a:pt x="798" y="244"/>
                  </a:moveTo>
                  <a:cubicBezTo>
                    <a:pt x="792" y="244"/>
                    <a:pt x="784" y="249"/>
                    <a:pt x="780" y="254"/>
                  </a:cubicBezTo>
                  <a:cubicBezTo>
                    <a:pt x="777" y="260"/>
                    <a:pt x="779" y="264"/>
                    <a:pt x="785" y="264"/>
                  </a:cubicBezTo>
                  <a:cubicBezTo>
                    <a:pt x="791" y="264"/>
                    <a:pt x="799" y="260"/>
                    <a:pt x="803" y="254"/>
                  </a:cubicBezTo>
                  <a:cubicBezTo>
                    <a:pt x="807" y="249"/>
                    <a:pt x="805" y="244"/>
                    <a:pt x="798" y="244"/>
                  </a:cubicBezTo>
                  <a:cubicBezTo>
                    <a:pt x="798" y="244"/>
                    <a:pt x="798" y="244"/>
                    <a:pt x="798" y="244"/>
                  </a:cubicBezTo>
                  <a:moveTo>
                    <a:pt x="830" y="244"/>
                  </a:moveTo>
                  <a:cubicBezTo>
                    <a:pt x="824" y="244"/>
                    <a:pt x="816" y="248"/>
                    <a:pt x="813" y="254"/>
                  </a:cubicBezTo>
                  <a:cubicBezTo>
                    <a:pt x="809" y="260"/>
                    <a:pt x="811" y="264"/>
                    <a:pt x="817" y="264"/>
                  </a:cubicBezTo>
                  <a:cubicBezTo>
                    <a:pt x="824" y="264"/>
                    <a:pt x="832" y="259"/>
                    <a:pt x="835" y="254"/>
                  </a:cubicBezTo>
                  <a:cubicBezTo>
                    <a:pt x="839" y="248"/>
                    <a:pt x="837" y="244"/>
                    <a:pt x="831" y="244"/>
                  </a:cubicBezTo>
                  <a:cubicBezTo>
                    <a:pt x="830" y="244"/>
                    <a:pt x="830" y="244"/>
                    <a:pt x="830" y="244"/>
                  </a:cubicBezTo>
                  <a:moveTo>
                    <a:pt x="863" y="243"/>
                  </a:moveTo>
                  <a:cubicBezTo>
                    <a:pt x="857" y="244"/>
                    <a:pt x="849" y="248"/>
                    <a:pt x="845" y="254"/>
                  </a:cubicBezTo>
                  <a:cubicBezTo>
                    <a:pt x="842" y="259"/>
                    <a:pt x="844" y="264"/>
                    <a:pt x="850" y="264"/>
                  </a:cubicBezTo>
                  <a:cubicBezTo>
                    <a:pt x="856" y="264"/>
                    <a:pt x="864" y="259"/>
                    <a:pt x="868" y="254"/>
                  </a:cubicBezTo>
                  <a:cubicBezTo>
                    <a:pt x="871" y="248"/>
                    <a:pt x="869" y="243"/>
                    <a:pt x="863" y="243"/>
                  </a:cubicBezTo>
                  <a:cubicBezTo>
                    <a:pt x="863" y="243"/>
                    <a:pt x="863" y="243"/>
                    <a:pt x="863" y="243"/>
                  </a:cubicBezTo>
                  <a:moveTo>
                    <a:pt x="895" y="243"/>
                  </a:moveTo>
                  <a:cubicBezTo>
                    <a:pt x="889" y="243"/>
                    <a:pt x="881" y="248"/>
                    <a:pt x="878" y="253"/>
                  </a:cubicBezTo>
                  <a:cubicBezTo>
                    <a:pt x="874" y="259"/>
                    <a:pt x="877" y="264"/>
                    <a:pt x="883" y="263"/>
                  </a:cubicBezTo>
                  <a:cubicBezTo>
                    <a:pt x="889" y="263"/>
                    <a:pt x="897" y="259"/>
                    <a:pt x="901" y="253"/>
                  </a:cubicBezTo>
                  <a:cubicBezTo>
                    <a:pt x="904" y="248"/>
                    <a:pt x="902" y="243"/>
                    <a:pt x="896" y="243"/>
                  </a:cubicBezTo>
                  <a:cubicBezTo>
                    <a:pt x="896" y="243"/>
                    <a:pt x="895" y="243"/>
                    <a:pt x="895" y="243"/>
                  </a:cubicBezTo>
                  <a:moveTo>
                    <a:pt x="928" y="243"/>
                  </a:moveTo>
                  <a:cubicBezTo>
                    <a:pt x="921" y="243"/>
                    <a:pt x="914" y="248"/>
                    <a:pt x="910" y="253"/>
                  </a:cubicBezTo>
                  <a:cubicBezTo>
                    <a:pt x="907" y="259"/>
                    <a:pt x="909" y="263"/>
                    <a:pt x="915" y="263"/>
                  </a:cubicBezTo>
                  <a:cubicBezTo>
                    <a:pt x="922" y="263"/>
                    <a:pt x="929" y="259"/>
                    <a:pt x="933" y="253"/>
                  </a:cubicBezTo>
                  <a:cubicBezTo>
                    <a:pt x="936" y="247"/>
                    <a:pt x="934" y="243"/>
                    <a:pt x="928" y="243"/>
                  </a:cubicBezTo>
                  <a:cubicBezTo>
                    <a:pt x="928" y="243"/>
                    <a:pt x="928" y="243"/>
                    <a:pt x="928" y="243"/>
                  </a:cubicBezTo>
                  <a:moveTo>
                    <a:pt x="958" y="243"/>
                  </a:moveTo>
                  <a:cubicBezTo>
                    <a:pt x="952" y="243"/>
                    <a:pt x="944" y="247"/>
                    <a:pt x="941" y="253"/>
                  </a:cubicBezTo>
                  <a:cubicBezTo>
                    <a:pt x="938" y="259"/>
                    <a:pt x="940" y="263"/>
                    <a:pt x="946" y="263"/>
                  </a:cubicBezTo>
                  <a:cubicBezTo>
                    <a:pt x="953" y="263"/>
                    <a:pt x="960" y="258"/>
                    <a:pt x="964" y="253"/>
                  </a:cubicBezTo>
                  <a:cubicBezTo>
                    <a:pt x="967" y="247"/>
                    <a:pt x="964" y="243"/>
                    <a:pt x="958" y="243"/>
                  </a:cubicBezTo>
                  <a:cubicBezTo>
                    <a:pt x="958" y="243"/>
                    <a:pt x="958" y="243"/>
                    <a:pt x="958" y="243"/>
                  </a:cubicBezTo>
                  <a:moveTo>
                    <a:pt x="991" y="242"/>
                  </a:moveTo>
                  <a:cubicBezTo>
                    <a:pt x="985" y="242"/>
                    <a:pt x="977" y="247"/>
                    <a:pt x="974" y="253"/>
                  </a:cubicBezTo>
                  <a:cubicBezTo>
                    <a:pt x="970" y="258"/>
                    <a:pt x="973" y="263"/>
                    <a:pt x="979" y="263"/>
                  </a:cubicBezTo>
                  <a:cubicBezTo>
                    <a:pt x="985" y="263"/>
                    <a:pt x="993" y="258"/>
                    <a:pt x="996" y="252"/>
                  </a:cubicBezTo>
                  <a:cubicBezTo>
                    <a:pt x="999" y="247"/>
                    <a:pt x="997" y="242"/>
                    <a:pt x="991" y="242"/>
                  </a:cubicBezTo>
                  <a:cubicBezTo>
                    <a:pt x="991" y="242"/>
                    <a:pt x="991" y="242"/>
                    <a:pt x="991" y="242"/>
                  </a:cubicBezTo>
                  <a:moveTo>
                    <a:pt x="1313" y="240"/>
                  </a:moveTo>
                  <a:cubicBezTo>
                    <a:pt x="1307" y="240"/>
                    <a:pt x="1300" y="244"/>
                    <a:pt x="1298" y="250"/>
                  </a:cubicBezTo>
                  <a:cubicBezTo>
                    <a:pt x="1295" y="256"/>
                    <a:pt x="1298" y="260"/>
                    <a:pt x="1304" y="260"/>
                  </a:cubicBezTo>
                  <a:cubicBezTo>
                    <a:pt x="1311" y="260"/>
                    <a:pt x="1318" y="255"/>
                    <a:pt x="1320" y="250"/>
                  </a:cubicBezTo>
                  <a:cubicBezTo>
                    <a:pt x="1323" y="244"/>
                    <a:pt x="1320" y="240"/>
                    <a:pt x="1314" y="240"/>
                  </a:cubicBezTo>
                  <a:cubicBezTo>
                    <a:pt x="1314" y="240"/>
                    <a:pt x="1314" y="240"/>
                    <a:pt x="1313" y="240"/>
                  </a:cubicBezTo>
                  <a:moveTo>
                    <a:pt x="1541" y="236"/>
                  </a:moveTo>
                  <a:cubicBezTo>
                    <a:pt x="1535" y="237"/>
                    <a:pt x="1528" y="241"/>
                    <a:pt x="1526" y="247"/>
                  </a:cubicBezTo>
                  <a:cubicBezTo>
                    <a:pt x="1524" y="252"/>
                    <a:pt x="1527" y="257"/>
                    <a:pt x="1533" y="257"/>
                  </a:cubicBezTo>
                  <a:cubicBezTo>
                    <a:pt x="1540" y="257"/>
                    <a:pt x="1546" y="252"/>
                    <a:pt x="1548" y="247"/>
                  </a:cubicBezTo>
                  <a:cubicBezTo>
                    <a:pt x="1550" y="241"/>
                    <a:pt x="1547" y="236"/>
                    <a:pt x="1541" y="236"/>
                  </a:cubicBezTo>
                  <a:cubicBezTo>
                    <a:pt x="1541" y="236"/>
                    <a:pt x="1541" y="236"/>
                    <a:pt x="1541" y="236"/>
                  </a:cubicBezTo>
                  <a:moveTo>
                    <a:pt x="1573" y="236"/>
                  </a:moveTo>
                  <a:cubicBezTo>
                    <a:pt x="1567" y="236"/>
                    <a:pt x="1560" y="241"/>
                    <a:pt x="1558" y="246"/>
                  </a:cubicBezTo>
                  <a:cubicBezTo>
                    <a:pt x="1556" y="252"/>
                    <a:pt x="1559" y="257"/>
                    <a:pt x="1566" y="257"/>
                  </a:cubicBezTo>
                  <a:cubicBezTo>
                    <a:pt x="1572" y="257"/>
                    <a:pt x="1579" y="252"/>
                    <a:pt x="1581" y="246"/>
                  </a:cubicBezTo>
                  <a:cubicBezTo>
                    <a:pt x="1583" y="241"/>
                    <a:pt x="1579" y="236"/>
                    <a:pt x="1573" y="236"/>
                  </a:cubicBezTo>
                  <a:cubicBezTo>
                    <a:pt x="1573" y="236"/>
                    <a:pt x="1573" y="236"/>
                    <a:pt x="1573" y="236"/>
                  </a:cubicBezTo>
                  <a:moveTo>
                    <a:pt x="1605" y="236"/>
                  </a:moveTo>
                  <a:cubicBezTo>
                    <a:pt x="1599" y="236"/>
                    <a:pt x="1592" y="241"/>
                    <a:pt x="1590" y="246"/>
                  </a:cubicBezTo>
                  <a:cubicBezTo>
                    <a:pt x="1588" y="252"/>
                    <a:pt x="1592" y="256"/>
                    <a:pt x="1598" y="256"/>
                  </a:cubicBezTo>
                  <a:cubicBezTo>
                    <a:pt x="1604" y="256"/>
                    <a:pt x="1611" y="252"/>
                    <a:pt x="1613" y="246"/>
                  </a:cubicBezTo>
                  <a:cubicBezTo>
                    <a:pt x="1615" y="240"/>
                    <a:pt x="1611" y="236"/>
                    <a:pt x="1605" y="236"/>
                  </a:cubicBezTo>
                  <a:cubicBezTo>
                    <a:pt x="1605" y="236"/>
                    <a:pt x="1605" y="236"/>
                    <a:pt x="1605" y="236"/>
                  </a:cubicBezTo>
                  <a:moveTo>
                    <a:pt x="2184" y="233"/>
                  </a:moveTo>
                  <a:cubicBezTo>
                    <a:pt x="2177" y="233"/>
                    <a:pt x="2172" y="237"/>
                    <a:pt x="2171" y="243"/>
                  </a:cubicBezTo>
                  <a:cubicBezTo>
                    <a:pt x="2170" y="249"/>
                    <a:pt x="2175" y="253"/>
                    <a:pt x="2181" y="253"/>
                  </a:cubicBezTo>
                  <a:cubicBezTo>
                    <a:pt x="2187" y="253"/>
                    <a:pt x="2193" y="248"/>
                    <a:pt x="2194" y="243"/>
                  </a:cubicBezTo>
                  <a:cubicBezTo>
                    <a:pt x="2194" y="237"/>
                    <a:pt x="2190" y="233"/>
                    <a:pt x="2184" y="233"/>
                  </a:cubicBezTo>
                  <a:cubicBezTo>
                    <a:pt x="2184" y="233"/>
                    <a:pt x="2184" y="233"/>
                    <a:pt x="2184" y="233"/>
                  </a:cubicBezTo>
                  <a:moveTo>
                    <a:pt x="2216" y="232"/>
                  </a:moveTo>
                  <a:cubicBezTo>
                    <a:pt x="2210" y="232"/>
                    <a:pt x="2204" y="237"/>
                    <a:pt x="2204" y="243"/>
                  </a:cubicBezTo>
                  <a:cubicBezTo>
                    <a:pt x="2203" y="248"/>
                    <a:pt x="2208" y="253"/>
                    <a:pt x="2214" y="253"/>
                  </a:cubicBezTo>
                  <a:cubicBezTo>
                    <a:pt x="2220" y="253"/>
                    <a:pt x="2226" y="248"/>
                    <a:pt x="2226" y="243"/>
                  </a:cubicBezTo>
                  <a:cubicBezTo>
                    <a:pt x="2227" y="237"/>
                    <a:pt x="2223" y="232"/>
                    <a:pt x="2216" y="232"/>
                  </a:cubicBezTo>
                  <a:cubicBezTo>
                    <a:pt x="2216" y="232"/>
                    <a:pt x="2216" y="232"/>
                    <a:pt x="2216" y="232"/>
                  </a:cubicBezTo>
                  <a:moveTo>
                    <a:pt x="2313" y="231"/>
                  </a:moveTo>
                  <a:cubicBezTo>
                    <a:pt x="2306" y="231"/>
                    <a:pt x="2301" y="235"/>
                    <a:pt x="2301" y="241"/>
                  </a:cubicBezTo>
                  <a:cubicBezTo>
                    <a:pt x="2300" y="247"/>
                    <a:pt x="2305" y="251"/>
                    <a:pt x="2311" y="251"/>
                  </a:cubicBezTo>
                  <a:cubicBezTo>
                    <a:pt x="2317" y="251"/>
                    <a:pt x="2323" y="246"/>
                    <a:pt x="2323" y="241"/>
                  </a:cubicBezTo>
                  <a:cubicBezTo>
                    <a:pt x="2323" y="235"/>
                    <a:pt x="2319" y="231"/>
                    <a:pt x="2313" y="231"/>
                  </a:cubicBezTo>
                  <a:cubicBezTo>
                    <a:pt x="2313" y="231"/>
                    <a:pt x="2313" y="231"/>
                    <a:pt x="2313" y="231"/>
                  </a:cubicBezTo>
                  <a:moveTo>
                    <a:pt x="2249" y="230"/>
                  </a:moveTo>
                  <a:cubicBezTo>
                    <a:pt x="2243" y="230"/>
                    <a:pt x="2237" y="235"/>
                    <a:pt x="2237" y="241"/>
                  </a:cubicBezTo>
                  <a:cubicBezTo>
                    <a:pt x="2236" y="246"/>
                    <a:pt x="2241" y="251"/>
                    <a:pt x="2247" y="251"/>
                  </a:cubicBezTo>
                  <a:cubicBezTo>
                    <a:pt x="2253" y="251"/>
                    <a:pt x="2259" y="246"/>
                    <a:pt x="2259" y="241"/>
                  </a:cubicBezTo>
                  <a:cubicBezTo>
                    <a:pt x="2260" y="235"/>
                    <a:pt x="2255" y="230"/>
                    <a:pt x="2249" y="230"/>
                  </a:cubicBezTo>
                  <a:cubicBezTo>
                    <a:pt x="2249" y="230"/>
                    <a:pt x="2249" y="230"/>
                    <a:pt x="2249" y="230"/>
                  </a:cubicBezTo>
                  <a:moveTo>
                    <a:pt x="2281" y="230"/>
                  </a:moveTo>
                  <a:cubicBezTo>
                    <a:pt x="2275" y="230"/>
                    <a:pt x="2269" y="235"/>
                    <a:pt x="2269" y="240"/>
                  </a:cubicBezTo>
                  <a:cubicBezTo>
                    <a:pt x="2268" y="246"/>
                    <a:pt x="2273" y="251"/>
                    <a:pt x="2279" y="251"/>
                  </a:cubicBezTo>
                  <a:cubicBezTo>
                    <a:pt x="2285" y="251"/>
                    <a:pt x="2291" y="246"/>
                    <a:pt x="2291" y="240"/>
                  </a:cubicBezTo>
                  <a:cubicBezTo>
                    <a:pt x="2292" y="235"/>
                    <a:pt x="2287" y="230"/>
                    <a:pt x="2281" y="230"/>
                  </a:cubicBezTo>
                  <a:cubicBezTo>
                    <a:pt x="2281" y="230"/>
                    <a:pt x="2281" y="230"/>
                    <a:pt x="2281" y="230"/>
                  </a:cubicBezTo>
                  <a:moveTo>
                    <a:pt x="2378" y="229"/>
                  </a:moveTo>
                  <a:cubicBezTo>
                    <a:pt x="2371" y="229"/>
                    <a:pt x="2366" y="234"/>
                    <a:pt x="2366" y="240"/>
                  </a:cubicBezTo>
                  <a:cubicBezTo>
                    <a:pt x="2365" y="245"/>
                    <a:pt x="2370" y="250"/>
                    <a:pt x="2377" y="250"/>
                  </a:cubicBezTo>
                  <a:cubicBezTo>
                    <a:pt x="2383" y="250"/>
                    <a:pt x="2388" y="245"/>
                    <a:pt x="2388" y="239"/>
                  </a:cubicBezTo>
                  <a:cubicBezTo>
                    <a:pt x="2389" y="234"/>
                    <a:pt x="2384" y="229"/>
                    <a:pt x="2378" y="229"/>
                  </a:cubicBezTo>
                  <a:cubicBezTo>
                    <a:pt x="2378" y="229"/>
                    <a:pt x="2378" y="229"/>
                    <a:pt x="2378" y="229"/>
                  </a:cubicBezTo>
                  <a:moveTo>
                    <a:pt x="2410" y="229"/>
                  </a:moveTo>
                  <a:cubicBezTo>
                    <a:pt x="2403" y="229"/>
                    <a:pt x="2398" y="234"/>
                    <a:pt x="2398" y="239"/>
                  </a:cubicBezTo>
                  <a:cubicBezTo>
                    <a:pt x="2398" y="245"/>
                    <a:pt x="2403" y="249"/>
                    <a:pt x="2409" y="249"/>
                  </a:cubicBezTo>
                  <a:cubicBezTo>
                    <a:pt x="2415" y="249"/>
                    <a:pt x="2420" y="245"/>
                    <a:pt x="2420" y="239"/>
                  </a:cubicBezTo>
                  <a:cubicBezTo>
                    <a:pt x="2421" y="233"/>
                    <a:pt x="2416" y="229"/>
                    <a:pt x="2410" y="229"/>
                  </a:cubicBezTo>
                  <a:cubicBezTo>
                    <a:pt x="2410" y="229"/>
                    <a:pt x="2410" y="229"/>
                    <a:pt x="2410" y="229"/>
                  </a:cubicBezTo>
                  <a:moveTo>
                    <a:pt x="2441" y="229"/>
                  </a:moveTo>
                  <a:cubicBezTo>
                    <a:pt x="2435" y="229"/>
                    <a:pt x="2430" y="233"/>
                    <a:pt x="2430" y="239"/>
                  </a:cubicBezTo>
                  <a:cubicBezTo>
                    <a:pt x="2430" y="245"/>
                    <a:pt x="2435" y="249"/>
                    <a:pt x="2441" y="249"/>
                  </a:cubicBezTo>
                  <a:cubicBezTo>
                    <a:pt x="2447" y="249"/>
                    <a:pt x="2452" y="244"/>
                    <a:pt x="2453" y="239"/>
                  </a:cubicBezTo>
                  <a:cubicBezTo>
                    <a:pt x="2453" y="233"/>
                    <a:pt x="2448" y="229"/>
                    <a:pt x="2442" y="229"/>
                  </a:cubicBezTo>
                  <a:cubicBezTo>
                    <a:pt x="2442" y="229"/>
                    <a:pt x="2442" y="229"/>
                    <a:pt x="2441" y="229"/>
                  </a:cubicBezTo>
                  <a:moveTo>
                    <a:pt x="2473" y="228"/>
                  </a:moveTo>
                  <a:cubicBezTo>
                    <a:pt x="2467" y="228"/>
                    <a:pt x="2462" y="233"/>
                    <a:pt x="2462" y="239"/>
                  </a:cubicBezTo>
                  <a:cubicBezTo>
                    <a:pt x="2462" y="244"/>
                    <a:pt x="2467" y="249"/>
                    <a:pt x="2473" y="249"/>
                  </a:cubicBezTo>
                  <a:cubicBezTo>
                    <a:pt x="2479" y="249"/>
                    <a:pt x="2484" y="244"/>
                    <a:pt x="2484" y="239"/>
                  </a:cubicBezTo>
                  <a:cubicBezTo>
                    <a:pt x="2484" y="233"/>
                    <a:pt x="2479" y="228"/>
                    <a:pt x="2473" y="228"/>
                  </a:cubicBezTo>
                  <a:cubicBezTo>
                    <a:pt x="2473" y="228"/>
                    <a:pt x="2473" y="228"/>
                    <a:pt x="2473" y="228"/>
                  </a:cubicBezTo>
                  <a:moveTo>
                    <a:pt x="2505" y="228"/>
                  </a:moveTo>
                  <a:cubicBezTo>
                    <a:pt x="2499" y="228"/>
                    <a:pt x="2494" y="233"/>
                    <a:pt x="2494" y="238"/>
                  </a:cubicBezTo>
                  <a:cubicBezTo>
                    <a:pt x="2494" y="244"/>
                    <a:pt x="2499" y="249"/>
                    <a:pt x="2505" y="249"/>
                  </a:cubicBezTo>
                  <a:cubicBezTo>
                    <a:pt x="2511" y="249"/>
                    <a:pt x="2516" y="244"/>
                    <a:pt x="2516" y="238"/>
                  </a:cubicBezTo>
                  <a:cubicBezTo>
                    <a:pt x="2516" y="233"/>
                    <a:pt x="2511" y="228"/>
                    <a:pt x="2505" y="228"/>
                  </a:cubicBezTo>
                  <a:cubicBezTo>
                    <a:pt x="2505" y="228"/>
                    <a:pt x="2505" y="228"/>
                    <a:pt x="2505" y="228"/>
                  </a:cubicBezTo>
                  <a:moveTo>
                    <a:pt x="2537" y="228"/>
                  </a:moveTo>
                  <a:cubicBezTo>
                    <a:pt x="2530" y="228"/>
                    <a:pt x="2525" y="233"/>
                    <a:pt x="2526" y="238"/>
                  </a:cubicBezTo>
                  <a:cubicBezTo>
                    <a:pt x="2526" y="244"/>
                    <a:pt x="2531" y="248"/>
                    <a:pt x="2537" y="248"/>
                  </a:cubicBezTo>
                  <a:cubicBezTo>
                    <a:pt x="2543" y="248"/>
                    <a:pt x="2548" y="244"/>
                    <a:pt x="2548" y="238"/>
                  </a:cubicBezTo>
                  <a:cubicBezTo>
                    <a:pt x="2548" y="232"/>
                    <a:pt x="2543" y="228"/>
                    <a:pt x="2537" y="228"/>
                  </a:cubicBezTo>
                  <a:cubicBezTo>
                    <a:pt x="2537" y="228"/>
                    <a:pt x="2537" y="228"/>
                    <a:pt x="2537" y="228"/>
                  </a:cubicBezTo>
                  <a:moveTo>
                    <a:pt x="2571" y="228"/>
                  </a:moveTo>
                  <a:cubicBezTo>
                    <a:pt x="2565" y="228"/>
                    <a:pt x="2560" y="232"/>
                    <a:pt x="2560" y="238"/>
                  </a:cubicBezTo>
                  <a:cubicBezTo>
                    <a:pt x="2560" y="244"/>
                    <a:pt x="2565" y="248"/>
                    <a:pt x="2571" y="248"/>
                  </a:cubicBezTo>
                  <a:cubicBezTo>
                    <a:pt x="2578" y="248"/>
                    <a:pt x="2583" y="243"/>
                    <a:pt x="2582" y="238"/>
                  </a:cubicBezTo>
                  <a:cubicBezTo>
                    <a:pt x="2582" y="232"/>
                    <a:pt x="2577" y="228"/>
                    <a:pt x="2571" y="228"/>
                  </a:cubicBezTo>
                  <a:cubicBezTo>
                    <a:pt x="2571" y="228"/>
                    <a:pt x="2571" y="228"/>
                    <a:pt x="2571" y="228"/>
                  </a:cubicBezTo>
                  <a:moveTo>
                    <a:pt x="2603" y="227"/>
                  </a:moveTo>
                  <a:cubicBezTo>
                    <a:pt x="2597" y="227"/>
                    <a:pt x="2592" y="232"/>
                    <a:pt x="2592" y="238"/>
                  </a:cubicBezTo>
                  <a:cubicBezTo>
                    <a:pt x="2592" y="243"/>
                    <a:pt x="2597" y="248"/>
                    <a:pt x="2604" y="248"/>
                  </a:cubicBezTo>
                  <a:cubicBezTo>
                    <a:pt x="2610" y="248"/>
                    <a:pt x="2615" y="243"/>
                    <a:pt x="2615" y="237"/>
                  </a:cubicBezTo>
                  <a:cubicBezTo>
                    <a:pt x="2614" y="232"/>
                    <a:pt x="2609" y="227"/>
                    <a:pt x="2603" y="227"/>
                  </a:cubicBezTo>
                  <a:cubicBezTo>
                    <a:pt x="2603" y="227"/>
                    <a:pt x="2603" y="227"/>
                    <a:pt x="2603" y="227"/>
                  </a:cubicBezTo>
                  <a:moveTo>
                    <a:pt x="2635" y="227"/>
                  </a:moveTo>
                  <a:cubicBezTo>
                    <a:pt x="2629" y="227"/>
                    <a:pt x="2624" y="232"/>
                    <a:pt x="2624" y="237"/>
                  </a:cubicBezTo>
                  <a:cubicBezTo>
                    <a:pt x="2624" y="243"/>
                    <a:pt x="2630" y="248"/>
                    <a:pt x="2636" y="247"/>
                  </a:cubicBezTo>
                  <a:cubicBezTo>
                    <a:pt x="2642" y="247"/>
                    <a:pt x="2647" y="243"/>
                    <a:pt x="2647" y="237"/>
                  </a:cubicBezTo>
                  <a:cubicBezTo>
                    <a:pt x="2646" y="232"/>
                    <a:pt x="2641" y="227"/>
                    <a:pt x="2635" y="227"/>
                  </a:cubicBezTo>
                  <a:cubicBezTo>
                    <a:pt x="2635" y="227"/>
                    <a:pt x="2635" y="227"/>
                    <a:pt x="2635" y="227"/>
                  </a:cubicBezTo>
                  <a:moveTo>
                    <a:pt x="2666" y="227"/>
                  </a:moveTo>
                  <a:cubicBezTo>
                    <a:pt x="2660" y="227"/>
                    <a:pt x="2655" y="231"/>
                    <a:pt x="2656" y="237"/>
                  </a:cubicBezTo>
                  <a:cubicBezTo>
                    <a:pt x="2656" y="243"/>
                    <a:pt x="2661" y="247"/>
                    <a:pt x="2668" y="247"/>
                  </a:cubicBezTo>
                  <a:cubicBezTo>
                    <a:pt x="2674" y="247"/>
                    <a:pt x="2679" y="243"/>
                    <a:pt x="2678" y="237"/>
                  </a:cubicBezTo>
                  <a:cubicBezTo>
                    <a:pt x="2678" y="231"/>
                    <a:pt x="2673" y="227"/>
                    <a:pt x="2667" y="227"/>
                  </a:cubicBezTo>
                  <a:cubicBezTo>
                    <a:pt x="2667" y="227"/>
                    <a:pt x="2666" y="227"/>
                    <a:pt x="2666" y="227"/>
                  </a:cubicBezTo>
                  <a:moveTo>
                    <a:pt x="2698" y="226"/>
                  </a:moveTo>
                  <a:cubicBezTo>
                    <a:pt x="2692" y="227"/>
                    <a:pt x="2687" y="231"/>
                    <a:pt x="2688" y="237"/>
                  </a:cubicBezTo>
                  <a:cubicBezTo>
                    <a:pt x="2688" y="242"/>
                    <a:pt x="2694" y="247"/>
                    <a:pt x="2700" y="247"/>
                  </a:cubicBezTo>
                  <a:cubicBezTo>
                    <a:pt x="2706" y="247"/>
                    <a:pt x="2711" y="242"/>
                    <a:pt x="2710" y="237"/>
                  </a:cubicBezTo>
                  <a:cubicBezTo>
                    <a:pt x="2710" y="231"/>
                    <a:pt x="2705" y="226"/>
                    <a:pt x="2698" y="226"/>
                  </a:cubicBezTo>
                  <a:cubicBezTo>
                    <a:pt x="2698" y="226"/>
                    <a:pt x="2698" y="226"/>
                    <a:pt x="2698" y="226"/>
                  </a:cubicBezTo>
                  <a:moveTo>
                    <a:pt x="2731" y="226"/>
                  </a:moveTo>
                  <a:cubicBezTo>
                    <a:pt x="2724" y="226"/>
                    <a:pt x="2720" y="231"/>
                    <a:pt x="2720" y="237"/>
                  </a:cubicBezTo>
                  <a:cubicBezTo>
                    <a:pt x="2721" y="242"/>
                    <a:pt x="2726" y="247"/>
                    <a:pt x="2732" y="247"/>
                  </a:cubicBezTo>
                  <a:cubicBezTo>
                    <a:pt x="2739" y="247"/>
                    <a:pt x="2743" y="242"/>
                    <a:pt x="2743" y="236"/>
                  </a:cubicBezTo>
                  <a:cubicBezTo>
                    <a:pt x="2742" y="231"/>
                    <a:pt x="2737" y="226"/>
                    <a:pt x="2731" y="226"/>
                  </a:cubicBezTo>
                  <a:cubicBezTo>
                    <a:pt x="2731" y="226"/>
                    <a:pt x="2731" y="226"/>
                    <a:pt x="2731" y="226"/>
                  </a:cubicBezTo>
                  <a:moveTo>
                    <a:pt x="2923" y="226"/>
                  </a:moveTo>
                  <a:cubicBezTo>
                    <a:pt x="2917" y="226"/>
                    <a:pt x="2913" y="231"/>
                    <a:pt x="2913" y="236"/>
                  </a:cubicBezTo>
                  <a:cubicBezTo>
                    <a:pt x="2914" y="242"/>
                    <a:pt x="2920" y="247"/>
                    <a:pt x="2926" y="247"/>
                  </a:cubicBezTo>
                  <a:cubicBezTo>
                    <a:pt x="2933" y="246"/>
                    <a:pt x="2937" y="242"/>
                    <a:pt x="2936" y="236"/>
                  </a:cubicBezTo>
                  <a:cubicBezTo>
                    <a:pt x="2935" y="231"/>
                    <a:pt x="2929" y="226"/>
                    <a:pt x="2923" y="226"/>
                  </a:cubicBezTo>
                  <a:cubicBezTo>
                    <a:pt x="2923" y="226"/>
                    <a:pt x="2923" y="226"/>
                    <a:pt x="2923" y="226"/>
                  </a:cubicBezTo>
                  <a:moveTo>
                    <a:pt x="2763" y="226"/>
                  </a:moveTo>
                  <a:cubicBezTo>
                    <a:pt x="2757" y="226"/>
                    <a:pt x="2752" y="231"/>
                    <a:pt x="2753" y="236"/>
                  </a:cubicBezTo>
                  <a:cubicBezTo>
                    <a:pt x="2753" y="242"/>
                    <a:pt x="2759" y="246"/>
                    <a:pt x="2765" y="246"/>
                  </a:cubicBezTo>
                  <a:cubicBezTo>
                    <a:pt x="2771" y="246"/>
                    <a:pt x="2776" y="242"/>
                    <a:pt x="2775" y="236"/>
                  </a:cubicBezTo>
                  <a:cubicBezTo>
                    <a:pt x="2775" y="230"/>
                    <a:pt x="2769" y="226"/>
                    <a:pt x="2763" y="226"/>
                  </a:cubicBezTo>
                  <a:cubicBezTo>
                    <a:pt x="2763" y="226"/>
                    <a:pt x="2763" y="226"/>
                    <a:pt x="2763" y="226"/>
                  </a:cubicBezTo>
                  <a:moveTo>
                    <a:pt x="2954" y="226"/>
                  </a:moveTo>
                  <a:cubicBezTo>
                    <a:pt x="2947" y="226"/>
                    <a:pt x="2943" y="230"/>
                    <a:pt x="2944" y="236"/>
                  </a:cubicBezTo>
                  <a:cubicBezTo>
                    <a:pt x="2945" y="242"/>
                    <a:pt x="2951" y="246"/>
                    <a:pt x="2957" y="246"/>
                  </a:cubicBezTo>
                  <a:cubicBezTo>
                    <a:pt x="2963" y="246"/>
                    <a:pt x="2968" y="242"/>
                    <a:pt x="2967" y="236"/>
                  </a:cubicBezTo>
                  <a:cubicBezTo>
                    <a:pt x="2966" y="230"/>
                    <a:pt x="2960" y="226"/>
                    <a:pt x="2954" y="226"/>
                  </a:cubicBezTo>
                  <a:cubicBezTo>
                    <a:pt x="2954" y="226"/>
                    <a:pt x="2954" y="226"/>
                    <a:pt x="2954" y="226"/>
                  </a:cubicBezTo>
                  <a:moveTo>
                    <a:pt x="2795" y="226"/>
                  </a:moveTo>
                  <a:cubicBezTo>
                    <a:pt x="2789" y="226"/>
                    <a:pt x="2784" y="230"/>
                    <a:pt x="2785" y="236"/>
                  </a:cubicBezTo>
                  <a:cubicBezTo>
                    <a:pt x="2785" y="242"/>
                    <a:pt x="2791" y="246"/>
                    <a:pt x="2797" y="246"/>
                  </a:cubicBezTo>
                  <a:cubicBezTo>
                    <a:pt x="2803" y="246"/>
                    <a:pt x="2808" y="241"/>
                    <a:pt x="2807" y="236"/>
                  </a:cubicBezTo>
                  <a:cubicBezTo>
                    <a:pt x="2807" y="230"/>
                    <a:pt x="2801" y="226"/>
                    <a:pt x="2795" y="226"/>
                  </a:cubicBezTo>
                  <a:cubicBezTo>
                    <a:pt x="2795" y="226"/>
                    <a:pt x="2795" y="226"/>
                    <a:pt x="2795" y="226"/>
                  </a:cubicBezTo>
                  <a:moveTo>
                    <a:pt x="2986" y="226"/>
                  </a:moveTo>
                  <a:cubicBezTo>
                    <a:pt x="2979" y="226"/>
                    <a:pt x="2975" y="230"/>
                    <a:pt x="2976" y="236"/>
                  </a:cubicBezTo>
                  <a:cubicBezTo>
                    <a:pt x="2977" y="242"/>
                    <a:pt x="2983" y="246"/>
                    <a:pt x="2989" y="246"/>
                  </a:cubicBezTo>
                  <a:cubicBezTo>
                    <a:pt x="2996" y="246"/>
                    <a:pt x="3000" y="241"/>
                    <a:pt x="2999" y="236"/>
                  </a:cubicBezTo>
                  <a:cubicBezTo>
                    <a:pt x="2998" y="230"/>
                    <a:pt x="2992" y="226"/>
                    <a:pt x="2986" y="226"/>
                  </a:cubicBezTo>
                  <a:cubicBezTo>
                    <a:pt x="2986" y="226"/>
                    <a:pt x="2986" y="226"/>
                    <a:pt x="2986" y="226"/>
                  </a:cubicBezTo>
                  <a:moveTo>
                    <a:pt x="2827" y="225"/>
                  </a:moveTo>
                  <a:cubicBezTo>
                    <a:pt x="2821" y="225"/>
                    <a:pt x="2816" y="230"/>
                    <a:pt x="2817" y="236"/>
                  </a:cubicBezTo>
                  <a:cubicBezTo>
                    <a:pt x="2818" y="241"/>
                    <a:pt x="2823" y="246"/>
                    <a:pt x="2830" y="246"/>
                  </a:cubicBezTo>
                  <a:cubicBezTo>
                    <a:pt x="2836" y="246"/>
                    <a:pt x="2840" y="241"/>
                    <a:pt x="2840" y="236"/>
                  </a:cubicBezTo>
                  <a:cubicBezTo>
                    <a:pt x="2839" y="230"/>
                    <a:pt x="2833" y="225"/>
                    <a:pt x="2827" y="225"/>
                  </a:cubicBezTo>
                  <a:cubicBezTo>
                    <a:pt x="2827" y="225"/>
                    <a:pt x="2827" y="225"/>
                    <a:pt x="2827" y="225"/>
                  </a:cubicBezTo>
                  <a:moveTo>
                    <a:pt x="3018" y="225"/>
                  </a:moveTo>
                  <a:cubicBezTo>
                    <a:pt x="3011" y="225"/>
                    <a:pt x="3007" y="230"/>
                    <a:pt x="3008" y="236"/>
                  </a:cubicBezTo>
                  <a:cubicBezTo>
                    <a:pt x="3009" y="241"/>
                    <a:pt x="3015" y="246"/>
                    <a:pt x="3022" y="246"/>
                  </a:cubicBezTo>
                  <a:cubicBezTo>
                    <a:pt x="3028" y="246"/>
                    <a:pt x="3032" y="241"/>
                    <a:pt x="3031" y="235"/>
                  </a:cubicBezTo>
                  <a:cubicBezTo>
                    <a:pt x="3030" y="230"/>
                    <a:pt x="3024" y="225"/>
                    <a:pt x="3018" y="225"/>
                  </a:cubicBezTo>
                  <a:cubicBezTo>
                    <a:pt x="3018" y="225"/>
                    <a:pt x="3018" y="225"/>
                    <a:pt x="3018" y="225"/>
                  </a:cubicBezTo>
                  <a:moveTo>
                    <a:pt x="2859" y="225"/>
                  </a:moveTo>
                  <a:cubicBezTo>
                    <a:pt x="2853" y="225"/>
                    <a:pt x="2848" y="230"/>
                    <a:pt x="2849" y="235"/>
                  </a:cubicBezTo>
                  <a:cubicBezTo>
                    <a:pt x="2850" y="241"/>
                    <a:pt x="2855" y="246"/>
                    <a:pt x="2862" y="246"/>
                  </a:cubicBezTo>
                  <a:cubicBezTo>
                    <a:pt x="2868" y="246"/>
                    <a:pt x="2872" y="241"/>
                    <a:pt x="2872" y="235"/>
                  </a:cubicBezTo>
                  <a:cubicBezTo>
                    <a:pt x="2871" y="230"/>
                    <a:pt x="2865" y="225"/>
                    <a:pt x="2859" y="225"/>
                  </a:cubicBezTo>
                  <a:cubicBezTo>
                    <a:pt x="2859" y="225"/>
                    <a:pt x="2859" y="225"/>
                    <a:pt x="2859" y="225"/>
                  </a:cubicBezTo>
                  <a:moveTo>
                    <a:pt x="3051" y="225"/>
                  </a:moveTo>
                  <a:cubicBezTo>
                    <a:pt x="3045" y="225"/>
                    <a:pt x="3040" y="230"/>
                    <a:pt x="3042" y="235"/>
                  </a:cubicBezTo>
                  <a:cubicBezTo>
                    <a:pt x="3043" y="241"/>
                    <a:pt x="3049" y="246"/>
                    <a:pt x="3055" y="245"/>
                  </a:cubicBezTo>
                  <a:cubicBezTo>
                    <a:pt x="3061" y="245"/>
                    <a:pt x="3065" y="241"/>
                    <a:pt x="3064" y="235"/>
                  </a:cubicBezTo>
                  <a:cubicBezTo>
                    <a:pt x="3063" y="229"/>
                    <a:pt x="3057" y="225"/>
                    <a:pt x="3051" y="225"/>
                  </a:cubicBezTo>
                  <a:cubicBezTo>
                    <a:pt x="3051" y="225"/>
                    <a:pt x="3051" y="225"/>
                    <a:pt x="3051" y="225"/>
                  </a:cubicBezTo>
                  <a:moveTo>
                    <a:pt x="2891" y="225"/>
                  </a:moveTo>
                  <a:cubicBezTo>
                    <a:pt x="2885" y="225"/>
                    <a:pt x="2880" y="229"/>
                    <a:pt x="2881" y="235"/>
                  </a:cubicBezTo>
                  <a:cubicBezTo>
                    <a:pt x="2882" y="241"/>
                    <a:pt x="2888" y="245"/>
                    <a:pt x="2894" y="245"/>
                  </a:cubicBezTo>
                  <a:cubicBezTo>
                    <a:pt x="2900" y="245"/>
                    <a:pt x="2905" y="241"/>
                    <a:pt x="2904" y="235"/>
                  </a:cubicBezTo>
                  <a:cubicBezTo>
                    <a:pt x="2903" y="229"/>
                    <a:pt x="2897" y="225"/>
                    <a:pt x="2891" y="225"/>
                  </a:cubicBezTo>
                  <a:cubicBezTo>
                    <a:pt x="2891" y="225"/>
                    <a:pt x="2891" y="225"/>
                    <a:pt x="2891" y="225"/>
                  </a:cubicBezTo>
                  <a:moveTo>
                    <a:pt x="3083" y="225"/>
                  </a:moveTo>
                  <a:cubicBezTo>
                    <a:pt x="3077" y="225"/>
                    <a:pt x="3072" y="229"/>
                    <a:pt x="3074" y="235"/>
                  </a:cubicBezTo>
                  <a:cubicBezTo>
                    <a:pt x="3075" y="241"/>
                    <a:pt x="3081" y="245"/>
                    <a:pt x="3087" y="245"/>
                  </a:cubicBezTo>
                  <a:cubicBezTo>
                    <a:pt x="3093" y="245"/>
                    <a:pt x="3097" y="241"/>
                    <a:pt x="3096" y="235"/>
                  </a:cubicBezTo>
                  <a:cubicBezTo>
                    <a:pt x="3095" y="229"/>
                    <a:pt x="3089" y="225"/>
                    <a:pt x="3083" y="225"/>
                  </a:cubicBezTo>
                  <a:cubicBezTo>
                    <a:pt x="3083" y="225"/>
                    <a:pt x="3083" y="225"/>
                    <a:pt x="3083" y="225"/>
                  </a:cubicBezTo>
                  <a:moveTo>
                    <a:pt x="3115" y="224"/>
                  </a:moveTo>
                  <a:cubicBezTo>
                    <a:pt x="3109" y="224"/>
                    <a:pt x="3105" y="229"/>
                    <a:pt x="3106" y="235"/>
                  </a:cubicBezTo>
                  <a:cubicBezTo>
                    <a:pt x="3107" y="240"/>
                    <a:pt x="3113" y="245"/>
                    <a:pt x="3120" y="245"/>
                  </a:cubicBezTo>
                  <a:cubicBezTo>
                    <a:pt x="3126" y="245"/>
                    <a:pt x="3130" y="240"/>
                    <a:pt x="3129" y="235"/>
                  </a:cubicBezTo>
                  <a:cubicBezTo>
                    <a:pt x="3127" y="229"/>
                    <a:pt x="3121" y="224"/>
                    <a:pt x="3115" y="224"/>
                  </a:cubicBezTo>
                  <a:cubicBezTo>
                    <a:pt x="3115" y="224"/>
                    <a:pt x="3115" y="224"/>
                    <a:pt x="3115" y="224"/>
                  </a:cubicBezTo>
                  <a:moveTo>
                    <a:pt x="3147" y="224"/>
                  </a:moveTo>
                  <a:cubicBezTo>
                    <a:pt x="3141" y="224"/>
                    <a:pt x="3137" y="229"/>
                    <a:pt x="3139" y="234"/>
                  </a:cubicBezTo>
                  <a:cubicBezTo>
                    <a:pt x="3140" y="240"/>
                    <a:pt x="3146" y="245"/>
                    <a:pt x="3152" y="245"/>
                  </a:cubicBezTo>
                  <a:cubicBezTo>
                    <a:pt x="3159" y="245"/>
                    <a:pt x="3162" y="240"/>
                    <a:pt x="3161" y="234"/>
                  </a:cubicBezTo>
                  <a:cubicBezTo>
                    <a:pt x="3160" y="229"/>
                    <a:pt x="3154" y="224"/>
                    <a:pt x="3147" y="224"/>
                  </a:cubicBezTo>
                  <a:cubicBezTo>
                    <a:pt x="3147" y="224"/>
                    <a:pt x="3147" y="224"/>
                    <a:pt x="3147" y="224"/>
                  </a:cubicBezTo>
                  <a:moveTo>
                    <a:pt x="3179" y="224"/>
                  </a:moveTo>
                  <a:cubicBezTo>
                    <a:pt x="3173" y="224"/>
                    <a:pt x="3169" y="229"/>
                    <a:pt x="3171" y="234"/>
                  </a:cubicBezTo>
                  <a:cubicBezTo>
                    <a:pt x="3172" y="240"/>
                    <a:pt x="3178" y="244"/>
                    <a:pt x="3184" y="244"/>
                  </a:cubicBezTo>
                  <a:cubicBezTo>
                    <a:pt x="3191" y="244"/>
                    <a:pt x="3195" y="240"/>
                    <a:pt x="3193" y="234"/>
                  </a:cubicBezTo>
                  <a:cubicBezTo>
                    <a:pt x="3192" y="228"/>
                    <a:pt x="3185" y="224"/>
                    <a:pt x="3179" y="224"/>
                  </a:cubicBezTo>
                  <a:cubicBezTo>
                    <a:pt x="3179" y="224"/>
                    <a:pt x="3179" y="224"/>
                    <a:pt x="3179" y="224"/>
                  </a:cubicBezTo>
                  <a:moveTo>
                    <a:pt x="3211" y="224"/>
                  </a:moveTo>
                  <a:cubicBezTo>
                    <a:pt x="3205" y="224"/>
                    <a:pt x="3201" y="228"/>
                    <a:pt x="3203" y="234"/>
                  </a:cubicBezTo>
                  <a:cubicBezTo>
                    <a:pt x="3204" y="240"/>
                    <a:pt x="3211" y="244"/>
                    <a:pt x="3217" y="244"/>
                  </a:cubicBezTo>
                  <a:cubicBezTo>
                    <a:pt x="3223" y="244"/>
                    <a:pt x="3227" y="239"/>
                    <a:pt x="3225" y="234"/>
                  </a:cubicBezTo>
                  <a:cubicBezTo>
                    <a:pt x="3224" y="228"/>
                    <a:pt x="3218" y="224"/>
                    <a:pt x="3211" y="224"/>
                  </a:cubicBezTo>
                  <a:cubicBezTo>
                    <a:pt x="3211" y="224"/>
                    <a:pt x="3211" y="224"/>
                    <a:pt x="3211" y="224"/>
                  </a:cubicBezTo>
                  <a:moveTo>
                    <a:pt x="3243" y="223"/>
                  </a:moveTo>
                  <a:cubicBezTo>
                    <a:pt x="3237" y="223"/>
                    <a:pt x="3233" y="228"/>
                    <a:pt x="3235" y="234"/>
                  </a:cubicBezTo>
                  <a:cubicBezTo>
                    <a:pt x="3236" y="239"/>
                    <a:pt x="3243" y="244"/>
                    <a:pt x="3249" y="244"/>
                  </a:cubicBezTo>
                  <a:cubicBezTo>
                    <a:pt x="3255" y="244"/>
                    <a:pt x="3259" y="239"/>
                    <a:pt x="3257" y="233"/>
                  </a:cubicBezTo>
                  <a:cubicBezTo>
                    <a:pt x="3256" y="228"/>
                    <a:pt x="3249" y="223"/>
                    <a:pt x="3243" y="223"/>
                  </a:cubicBezTo>
                  <a:cubicBezTo>
                    <a:pt x="3243" y="223"/>
                    <a:pt x="3243" y="223"/>
                    <a:pt x="3243" y="223"/>
                  </a:cubicBezTo>
                  <a:moveTo>
                    <a:pt x="3275" y="223"/>
                  </a:moveTo>
                  <a:cubicBezTo>
                    <a:pt x="3269" y="223"/>
                    <a:pt x="3265" y="228"/>
                    <a:pt x="3267" y="233"/>
                  </a:cubicBezTo>
                  <a:cubicBezTo>
                    <a:pt x="3268" y="239"/>
                    <a:pt x="3275" y="244"/>
                    <a:pt x="3281" y="244"/>
                  </a:cubicBezTo>
                  <a:cubicBezTo>
                    <a:pt x="3287" y="244"/>
                    <a:pt x="3291" y="239"/>
                    <a:pt x="3289" y="233"/>
                  </a:cubicBezTo>
                  <a:cubicBezTo>
                    <a:pt x="3288" y="228"/>
                    <a:pt x="3281" y="223"/>
                    <a:pt x="3275" y="223"/>
                  </a:cubicBezTo>
                  <a:cubicBezTo>
                    <a:pt x="3275" y="223"/>
                    <a:pt x="3275" y="223"/>
                    <a:pt x="3275" y="223"/>
                  </a:cubicBezTo>
                  <a:moveTo>
                    <a:pt x="3307" y="223"/>
                  </a:moveTo>
                  <a:cubicBezTo>
                    <a:pt x="3301" y="223"/>
                    <a:pt x="3297" y="227"/>
                    <a:pt x="3299" y="233"/>
                  </a:cubicBezTo>
                  <a:cubicBezTo>
                    <a:pt x="3300" y="239"/>
                    <a:pt x="3307" y="243"/>
                    <a:pt x="3313" y="243"/>
                  </a:cubicBezTo>
                  <a:cubicBezTo>
                    <a:pt x="3319" y="243"/>
                    <a:pt x="3323" y="239"/>
                    <a:pt x="3321" y="233"/>
                  </a:cubicBezTo>
                  <a:cubicBezTo>
                    <a:pt x="3320" y="227"/>
                    <a:pt x="3313" y="223"/>
                    <a:pt x="3307" y="223"/>
                  </a:cubicBezTo>
                  <a:cubicBezTo>
                    <a:pt x="3307" y="223"/>
                    <a:pt x="3307" y="223"/>
                    <a:pt x="3307" y="223"/>
                  </a:cubicBezTo>
                  <a:moveTo>
                    <a:pt x="3339" y="222"/>
                  </a:moveTo>
                  <a:cubicBezTo>
                    <a:pt x="3333" y="223"/>
                    <a:pt x="3329" y="227"/>
                    <a:pt x="3331" y="233"/>
                  </a:cubicBezTo>
                  <a:cubicBezTo>
                    <a:pt x="3333" y="239"/>
                    <a:pt x="3339" y="243"/>
                    <a:pt x="3346" y="243"/>
                  </a:cubicBezTo>
                  <a:cubicBezTo>
                    <a:pt x="3352" y="243"/>
                    <a:pt x="3355" y="238"/>
                    <a:pt x="3354" y="233"/>
                  </a:cubicBezTo>
                  <a:cubicBezTo>
                    <a:pt x="3352" y="227"/>
                    <a:pt x="3345" y="222"/>
                    <a:pt x="3339" y="222"/>
                  </a:cubicBezTo>
                  <a:cubicBezTo>
                    <a:pt x="3339" y="222"/>
                    <a:pt x="3339" y="222"/>
                    <a:pt x="3339" y="222"/>
                  </a:cubicBezTo>
                  <a:moveTo>
                    <a:pt x="3372" y="222"/>
                  </a:moveTo>
                  <a:cubicBezTo>
                    <a:pt x="3366" y="222"/>
                    <a:pt x="3362" y="227"/>
                    <a:pt x="3364" y="233"/>
                  </a:cubicBezTo>
                  <a:cubicBezTo>
                    <a:pt x="3366" y="238"/>
                    <a:pt x="3373" y="243"/>
                    <a:pt x="3379" y="243"/>
                  </a:cubicBezTo>
                  <a:cubicBezTo>
                    <a:pt x="3385" y="243"/>
                    <a:pt x="3389" y="238"/>
                    <a:pt x="3387" y="232"/>
                  </a:cubicBezTo>
                  <a:cubicBezTo>
                    <a:pt x="3385" y="227"/>
                    <a:pt x="3378" y="222"/>
                    <a:pt x="3372" y="222"/>
                  </a:cubicBezTo>
                  <a:cubicBezTo>
                    <a:pt x="3372" y="222"/>
                    <a:pt x="3372" y="222"/>
                    <a:pt x="3372" y="222"/>
                  </a:cubicBezTo>
                  <a:moveTo>
                    <a:pt x="3404" y="222"/>
                  </a:moveTo>
                  <a:cubicBezTo>
                    <a:pt x="3398" y="222"/>
                    <a:pt x="3394" y="227"/>
                    <a:pt x="3396" y="232"/>
                  </a:cubicBezTo>
                  <a:cubicBezTo>
                    <a:pt x="3398" y="238"/>
                    <a:pt x="3405" y="243"/>
                    <a:pt x="3411" y="242"/>
                  </a:cubicBezTo>
                  <a:cubicBezTo>
                    <a:pt x="3417" y="242"/>
                    <a:pt x="3421" y="238"/>
                    <a:pt x="3419" y="232"/>
                  </a:cubicBezTo>
                  <a:cubicBezTo>
                    <a:pt x="3417" y="226"/>
                    <a:pt x="3410" y="222"/>
                    <a:pt x="3404" y="222"/>
                  </a:cubicBezTo>
                  <a:cubicBezTo>
                    <a:pt x="3404" y="222"/>
                    <a:pt x="3404" y="222"/>
                    <a:pt x="3404" y="222"/>
                  </a:cubicBezTo>
                  <a:moveTo>
                    <a:pt x="3436" y="222"/>
                  </a:moveTo>
                  <a:cubicBezTo>
                    <a:pt x="3430" y="222"/>
                    <a:pt x="3427" y="226"/>
                    <a:pt x="3429" y="232"/>
                  </a:cubicBezTo>
                  <a:cubicBezTo>
                    <a:pt x="3430" y="238"/>
                    <a:pt x="3437" y="242"/>
                    <a:pt x="3443" y="242"/>
                  </a:cubicBezTo>
                  <a:cubicBezTo>
                    <a:pt x="3450" y="242"/>
                    <a:pt x="3453" y="237"/>
                    <a:pt x="3451" y="232"/>
                  </a:cubicBezTo>
                  <a:cubicBezTo>
                    <a:pt x="3449" y="226"/>
                    <a:pt x="3442" y="222"/>
                    <a:pt x="3436" y="222"/>
                  </a:cubicBezTo>
                  <a:cubicBezTo>
                    <a:pt x="3436" y="222"/>
                    <a:pt x="3436" y="222"/>
                    <a:pt x="3436" y="222"/>
                  </a:cubicBezTo>
                  <a:moveTo>
                    <a:pt x="3469" y="221"/>
                  </a:moveTo>
                  <a:cubicBezTo>
                    <a:pt x="3462" y="221"/>
                    <a:pt x="3459" y="226"/>
                    <a:pt x="3461" y="232"/>
                  </a:cubicBezTo>
                  <a:cubicBezTo>
                    <a:pt x="3463" y="237"/>
                    <a:pt x="3470" y="242"/>
                    <a:pt x="3476" y="242"/>
                  </a:cubicBezTo>
                  <a:cubicBezTo>
                    <a:pt x="3482" y="242"/>
                    <a:pt x="3486" y="237"/>
                    <a:pt x="3484" y="232"/>
                  </a:cubicBezTo>
                  <a:cubicBezTo>
                    <a:pt x="3481" y="226"/>
                    <a:pt x="3475" y="221"/>
                    <a:pt x="3469" y="221"/>
                  </a:cubicBezTo>
                  <a:cubicBezTo>
                    <a:pt x="3469" y="221"/>
                    <a:pt x="3469" y="221"/>
                    <a:pt x="3469" y="221"/>
                  </a:cubicBezTo>
                  <a:moveTo>
                    <a:pt x="3500" y="221"/>
                  </a:moveTo>
                  <a:cubicBezTo>
                    <a:pt x="3494" y="221"/>
                    <a:pt x="3491" y="226"/>
                    <a:pt x="3493" y="231"/>
                  </a:cubicBezTo>
                  <a:cubicBezTo>
                    <a:pt x="3495" y="237"/>
                    <a:pt x="3502" y="242"/>
                    <a:pt x="3508" y="242"/>
                  </a:cubicBezTo>
                  <a:cubicBezTo>
                    <a:pt x="3514" y="242"/>
                    <a:pt x="3518" y="237"/>
                    <a:pt x="3516" y="231"/>
                  </a:cubicBezTo>
                  <a:cubicBezTo>
                    <a:pt x="3513" y="226"/>
                    <a:pt x="3507" y="221"/>
                    <a:pt x="3501" y="221"/>
                  </a:cubicBezTo>
                  <a:cubicBezTo>
                    <a:pt x="3501" y="221"/>
                    <a:pt x="3500" y="221"/>
                    <a:pt x="3500" y="221"/>
                  </a:cubicBezTo>
                  <a:moveTo>
                    <a:pt x="3532" y="221"/>
                  </a:moveTo>
                  <a:cubicBezTo>
                    <a:pt x="3526" y="221"/>
                    <a:pt x="3523" y="226"/>
                    <a:pt x="3525" y="231"/>
                  </a:cubicBezTo>
                  <a:cubicBezTo>
                    <a:pt x="3527" y="237"/>
                    <a:pt x="3534" y="241"/>
                    <a:pt x="3540" y="241"/>
                  </a:cubicBezTo>
                  <a:cubicBezTo>
                    <a:pt x="3547" y="241"/>
                    <a:pt x="3550" y="237"/>
                    <a:pt x="3548" y="231"/>
                  </a:cubicBezTo>
                  <a:cubicBezTo>
                    <a:pt x="3545" y="225"/>
                    <a:pt x="3539" y="221"/>
                    <a:pt x="3533" y="221"/>
                  </a:cubicBezTo>
                  <a:cubicBezTo>
                    <a:pt x="3533" y="221"/>
                    <a:pt x="3532" y="221"/>
                    <a:pt x="3532" y="221"/>
                  </a:cubicBezTo>
                  <a:moveTo>
                    <a:pt x="3564" y="221"/>
                  </a:moveTo>
                  <a:cubicBezTo>
                    <a:pt x="3558" y="221"/>
                    <a:pt x="3555" y="225"/>
                    <a:pt x="3557" y="231"/>
                  </a:cubicBezTo>
                  <a:cubicBezTo>
                    <a:pt x="3559" y="237"/>
                    <a:pt x="3566" y="241"/>
                    <a:pt x="3573" y="241"/>
                  </a:cubicBezTo>
                  <a:cubicBezTo>
                    <a:pt x="3579" y="241"/>
                    <a:pt x="3582" y="236"/>
                    <a:pt x="3580" y="231"/>
                  </a:cubicBezTo>
                  <a:cubicBezTo>
                    <a:pt x="3577" y="225"/>
                    <a:pt x="3571" y="221"/>
                    <a:pt x="3564" y="221"/>
                  </a:cubicBezTo>
                  <a:cubicBezTo>
                    <a:pt x="3564" y="221"/>
                    <a:pt x="3564" y="221"/>
                    <a:pt x="3564" y="221"/>
                  </a:cubicBezTo>
                  <a:moveTo>
                    <a:pt x="3597" y="220"/>
                  </a:moveTo>
                  <a:cubicBezTo>
                    <a:pt x="3591" y="220"/>
                    <a:pt x="3588" y="225"/>
                    <a:pt x="3590" y="231"/>
                  </a:cubicBezTo>
                  <a:cubicBezTo>
                    <a:pt x="3592" y="236"/>
                    <a:pt x="3599" y="241"/>
                    <a:pt x="3605" y="241"/>
                  </a:cubicBezTo>
                  <a:cubicBezTo>
                    <a:pt x="3612" y="241"/>
                    <a:pt x="3615" y="236"/>
                    <a:pt x="3612" y="230"/>
                  </a:cubicBezTo>
                  <a:cubicBezTo>
                    <a:pt x="3610" y="225"/>
                    <a:pt x="3603" y="220"/>
                    <a:pt x="3597" y="220"/>
                  </a:cubicBezTo>
                  <a:cubicBezTo>
                    <a:pt x="3597" y="220"/>
                    <a:pt x="3597" y="220"/>
                    <a:pt x="3597" y="220"/>
                  </a:cubicBezTo>
                  <a:moveTo>
                    <a:pt x="3629" y="220"/>
                  </a:moveTo>
                  <a:cubicBezTo>
                    <a:pt x="3623" y="220"/>
                    <a:pt x="3620" y="225"/>
                    <a:pt x="3622" y="230"/>
                  </a:cubicBezTo>
                  <a:cubicBezTo>
                    <a:pt x="3625" y="236"/>
                    <a:pt x="3632" y="241"/>
                    <a:pt x="3638" y="241"/>
                  </a:cubicBezTo>
                  <a:cubicBezTo>
                    <a:pt x="3644" y="240"/>
                    <a:pt x="3647" y="236"/>
                    <a:pt x="3645" y="230"/>
                  </a:cubicBezTo>
                  <a:cubicBezTo>
                    <a:pt x="3642" y="225"/>
                    <a:pt x="3635" y="220"/>
                    <a:pt x="3629" y="220"/>
                  </a:cubicBezTo>
                  <a:cubicBezTo>
                    <a:pt x="3629" y="220"/>
                    <a:pt x="3629" y="220"/>
                    <a:pt x="3629" y="220"/>
                  </a:cubicBezTo>
                  <a:moveTo>
                    <a:pt x="3662" y="220"/>
                  </a:moveTo>
                  <a:cubicBezTo>
                    <a:pt x="3656" y="220"/>
                    <a:pt x="3653" y="224"/>
                    <a:pt x="3655" y="230"/>
                  </a:cubicBezTo>
                  <a:cubicBezTo>
                    <a:pt x="3658" y="236"/>
                    <a:pt x="3665" y="240"/>
                    <a:pt x="3671" y="240"/>
                  </a:cubicBezTo>
                  <a:cubicBezTo>
                    <a:pt x="3677" y="240"/>
                    <a:pt x="3680" y="236"/>
                    <a:pt x="3678" y="230"/>
                  </a:cubicBezTo>
                  <a:cubicBezTo>
                    <a:pt x="3675" y="224"/>
                    <a:pt x="3668" y="220"/>
                    <a:pt x="3662" y="220"/>
                  </a:cubicBezTo>
                  <a:cubicBezTo>
                    <a:pt x="3662" y="220"/>
                    <a:pt x="3662" y="220"/>
                    <a:pt x="3662" y="220"/>
                  </a:cubicBezTo>
                  <a:moveTo>
                    <a:pt x="3694" y="219"/>
                  </a:moveTo>
                  <a:cubicBezTo>
                    <a:pt x="3688" y="219"/>
                    <a:pt x="3685" y="224"/>
                    <a:pt x="3687" y="230"/>
                  </a:cubicBezTo>
                  <a:cubicBezTo>
                    <a:pt x="3690" y="235"/>
                    <a:pt x="3697" y="240"/>
                    <a:pt x="3703" y="240"/>
                  </a:cubicBezTo>
                  <a:cubicBezTo>
                    <a:pt x="3709" y="240"/>
                    <a:pt x="3712" y="235"/>
                    <a:pt x="3710" y="230"/>
                  </a:cubicBezTo>
                  <a:cubicBezTo>
                    <a:pt x="3707" y="224"/>
                    <a:pt x="3700" y="219"/>
                    <a:pt x="3694" y="219"/>
                  </a:cubicBezTo>
                  <a:cubicBezTo>
                    <a:pt x="3694" y="219"/>
                    <a:pt x="3694" y="219"/>
                    <a:pt x="3694" y="219"/>
                  </a:cubicBezTo>
                  <a:moveTo>
                    <a:pt x="3726" y="219"/>
                  </a:moveTo>
                  <a:cubicBezTo>
                    <a:pt x="3720" y="219"/>
                    <a:pt x="3717" y="224"/>
                    <a:pt x="3719" y="230"/>
                  </a:cubicBezTo>
                  <a:cubicBezTo>
                    <a:pt x="3722" y="235"/>
                    <a:pt x="3729" y="240"/>
                    <a:pt x="3735" y="240"/>
                  </a:cubicBezTo>
                  <a:cubicBezTo>
                    <a:pt x="3742" y="240"/>
                    <a:pt x="3745" y="235"/>
                    <a:pt x="3742" y="229"/>
                  </a:cubicBezTo>
                  <a:cubicBezTo>
                    <a:pt x="3739" y="224"/>
                    <a:pt x="3732" y="219"/>
                    <a:pt x="3726" y="219"/>
                  </a:cubicBezTo>
                  <a:cubicBezTo>
                    <a:pt x="3726" y="219"/>
                    <a:pt x="3726" y="219"/>
                    <a:pt x="3726" y="219"/>
                  </a:cubicBezTo>
                  <a:moveTo>
                    <a:pt x="3758" y="219"/>
                  </a:moveTo>
                  <a:cubicBezTo>
                    <a:pt x="3752" y="219"/>
                    <a:pt x="3749" y="224"/>
                    <a:pt x="3752" y="229"/>
                  </a:cubicBezTo>
                  <a:cubicBezTo>
                    <a:pt x="3755" y="235"/>
                    <a:pt x="3762" y="239"/>
                    <a:pt x="3768" y="239"/>
                  </a:cubicBezTo>
                  <a:cubicBezTo>
                    <a:pt x="3774" y="239"/>
                    <a:pt x="3777" y="235"/>
                    <a:pt x="3775" y="229"/>
                  </a:cubicBezTo>
                  <a:cubicBezTo>
                    <a:pt x="3772" y="223"/>
                    <a:pt x="3765" y="219"/>
                    <a:pt x="3758" y="219"/>
                  </a:cubicBezTo>
                  <a:cubicBezTo>
                    <a:pt x="3758" y="219"/>
                    <a:pt x="3758" y="219"/>
                    <a:pt x="3758" y="219"/>
                  </a:cubicBezTo>
                  <a:moveTo>
                    <a:pt x="3790" y="219"/>
                  </a:moveTo>
                  <a:cubicBezTo>
                    <a:pt x="3784" y="219"/>
                    <a:pt x="3781" y="223"/>
                    <a:pt x="3784" y="229"/>
                  </a:cubicBezTo>
                  <a:cubicBezTo>
                    <a:pt x="3787" y="235"/>
                    <a:pt x="3794" y="239"/>
                    <a:pt x="3800" y="239"/>
                  </a:cubicBezTo>
                  <a:cubicBezTo>
                    <a:pt x="3806" y="239"/>
                    <a:pt x="3809" y="234"/>
                    <a:pt x="3806" y="229"/>
                  </a:cubicBezTo>
                  <a:cubicBezTo>
                    <a:pt x="3804" y="223"/>
                    <a:pt x="3796" y="219"/>
                    <a:pt x="3790" y="219"/>
                  </a:cubicBezTo>
                  <a:cubicBezTo>
                    <a:pt x="3790" y="219"/>
                    <a:pt x="3790" y="219"/>
                    <a:pt x="3790" y="219"/>
                  </a:cubicBezTo>
                  <a:moveTo>
                    <a:pt x="272" y="218"/>
                  </a:moveTo>
                  <a:cubicBezTo>
                    <a:pt x="266" y="218"/>
                    <a:pt x="257" y="223"/>
                    <a:pt x="252" y="229"/>
                  </a:cubicBezTo>
                  <a:cubicBezTo>
                    <a:pt x="247" y="234"/>
                    <a:pt x="248" y="239"/>
                    <a:pt x="255" y="239"/>
                  </a:cubicBezTo>
                  <a:cubicBezTo>
                    <a:pt x="261" y="239"/>
                    <a:pt x="270" y="234"/>
                    <a:pt x="274" y="228"/>
                  </a:cubicBezTo>
                  <a:cubicBezTo>
                    <a:pt x="279" y="223"/>
                    <a:pt x="278" y="218"/>
                    <a:pt x="272" y="218"/>
                  </a:cubicBezTo>
                  <a:cubicBezTo>
                    <a:pt x="272" y="218"/>
                    <a:pt x="272" y="218"/>
                    <a:pt x="272" y="218"/>
                  </a:cubicBezTo>
                  <a:moveTo>
                    <a:pt x="3822" y="218"/>
                  </a:moveTo>
                  <a:cubicBezTo>
                    <a:pt x="3816" y="218"/>
                    <a:pt x="3813" y="223"/>
                    <a:pt x="3816" y="229"/>
                  </a:cubicBezTo>
                  <a:cubicBezTo>
                    <a:pt x="3819" y="234"/>
                    <a:pt x="3826" y="239"/>
                    <a:pt x="3832" y="239"/>
                  </a:cubicBezTo>
                  <a:cubicBezTo>
                    <a:pt x="3839" y="239"/>
                    <a:pt x="3841" y="234"/>
                    <a:pt x="3839" y="229"/>
                  </a:cubicBezTo>
                  <a:cubicBezTo>
                    <a:pt x="3836" y="223"/>
                    <a:pt x="3828" y="218"/>
                    <a:pt x="3822" y="218"/>
                  </a:cubicBezTo>
                  <a:cubicBezTo>
                    <a:pt x="3822" y="218"/>
                    <a:pt x="3822" y="218"/>
                    <a:pt x="3822" y="218"/>
                  </a:cubicBezTo>
                  <a:moveTo>
                    <a:pt x="304" y="218"/>
                  </a:moveTo>
                  <a:cubicBezTo>
                    <a:pt x="297" y="218"/>
                    <a:pt x="289" y="223"/>
                    <a:pt x="284" y="228"/>
                  </a:cubicBezTo>
                  <a:cubicBezTo>
                    <a:pt x="279" y="234"/>
                    <a:pt x="280" y="238"/>
                    <a:pt x="287" y="238"/>
                  </a:cubicBezTo>
                  <a:cubicBezTo>
                    <a:pt x="293" y="238"/>
                    <a:pt x="302" y="234"/>
                    <a:pt x="306" y="228"/>
                  </a:cubicBezTo>
                  <a:cubicBezTo>
                    <a:pt x="311" y="223"/>
                    <a:pt x="310" y="218"/>
                    <a:pt x="304" y="218"/>
                  </a:cubicBezTo>
                  <a:cubicBezTo>
                    <a:pt x="304" y="218"/>
                    <a:pt x="304" y="218"/>
                    <a:pt x="304" y="218"/>
                  </a:cubicBezTo>
                  <a:moveTo>
                    <a:pt x="3854" y="218"/>
                  </a:moveTo>
                  <a:cubicBezTo>
                    <a:pt x="3848" y="218"/>
                    <a:pt x="3845" y="223"/>
                    <a:pt x="3848" y="228"/>
                  </a:cubicBezTo>
                  <a:cubicBezTo>
                    <a:pt x="3851" y="234"/>
                    <a:pt x="3858" y="239"/>
                    <a:pt x="3865" y="239"/>
                  </a:cubicBezTo>
                  <a:cubicBezTo>
                    <a:pt x="3871" y="239"/>
                    <a:pt x="3873" y="234"/>
                    <a:pt x="3871" y="228"/>
                  </a:cubicBezTo>
                  <a:cubicBezTo>
                    <a:pt x="3868" y="223"/>
                    <a:pt x="3860" y="218"/>
                    <a:pt x="3854" y="218"/>
                  </a:cubicBezTo>
                  <a:cubicBezTo>
                    <a:pt x="3854" y="218"/>
                    <a:pt x="3854" y="218"/>
                    <a:pt x="3854" y="218"/>
                  </a:cubicBezTo>
                  <a:moveTo>
                    <a:pt x="335" y="218"/>
                  </a:moveTo>
                  <a:cubicBezTo>
                    <a:pt x="329" y="218"/>
                    <a:pt x="320" y="222"/>
                    <a:pt x="316" y="228"/>
                  </a:cubicBezTo>
                  <a:cubicBezTo>
                    <a:pt x="311" y="234"/>
                    <a:pt x="312" y="238"/>
                    <a:pt x="319" y="238"/>
                  </a:cubicBezTo>
                  <a:cubicBezTo>
                    <a:pt x="325" y="238"/>
                    <a:pt x="334" y="233"/>
                    <a:pt x="338" y="228"/>
                  </a:cubicBezTo>
                  <a:cubicBezTo>
                    <a:pt x="343" y="222"/>
                    <a:pt x="342" y="218"/>
                    <a:pt x="335" y="218"/>
                  </a:cubicBezTo>
                  <a:cubicBezTo>
                    <a:pt x="335" y="218"/>
                    <a:pt x="335" y="218"/>
                    <a:pt x="335" y="218"/>
                  </a:cubicBezTo>
                  <a:moveTo>
                    <a:pt x="3886" y="218"/>
                  </a:moveTo>
                  <a:cubicBezTo>
                    <a:pt x="3880" y="218"/>
                    <a:pt x="3877" y="222"/>
                    <a:pt x="3880" y="228"/>
                  </a:cubicBezTo>
                  <a:cubicBezTo>
                    <a:pt x="3883" y="234"/>
                    <a:pt x="3890" y="238"/>
                    <a:pt x="3897" y="238"/>
                  </a:cubicBezTo>
                  <a:cubicBezTo>
                    <a:pt x="3903" y="238"/>
                    <a:pt x="3906" y="234"/>
                    <a:pt x="3903" y="228"/>
                  </a:cubicBezTo>
                  <a:cubicBezTo>
                    <a:pt x="3900" y="222"/>
                    <a:pt x="3892" y="218"/>
                    <a:pt x="3886" y="218"/>
                  </a:cubicBezTo>
                  <a:cubicBezTo>
                    <a:pt x="3886" y="218"/>
                    <a:pt x="3886" y="218"/>
                    <a:pt x="3886" y="218"/>
                  </a:cubicBezTo>
                  <a:moveTo>
                    <a:pt x="367" y="217"/>
                  </a:moveTo>
                  <a:cubicBezTo>
                    <a:pt x="361" y="218"/>
                    <a:pt x="352" y="222"/>
                    <a:pt x="348" y="228"/>
                  </a:cubicBezTo>
                  <a:cubicBezTo>
                    <a:pt x="343" y="233"/>
                    <a:pt x="345" y="238"/>
                    <a:pt x="351" y="238"/>
                  </a:cubicBezTo>
                  <a:cubicBezTo>
                    <a:pt x="357" y="238"/>
                    <a:pt x="366" y="233"/>
                    <a:pt x="370" y="228"/>
                  </a:cubicBezTo>
                  <a:cubicBezTo>
                    <a:pt x="375" y="222"/>
                    <a:pt x="374" y="217"/>
                    <a:pt x="367" y="217"/>
                  </a:cubicBezTo>
                  <a:cubicBezTo>
                    <a:pt x="367" y="217"/>
                    <a:pt x="367" y="217"/>
                    <a:pt x="367" y="217"/>
                  </a:cubicBezTo>
                  <a:moveTo>
                    <a:pt x="3918" y="217"/>
                  </a:moveTo>
                  <a:cubicBezTo>
                    <a:pt x="3912" y="218"/>
                    <a:pt x="3909" y="222"/>
                    <a:pt x="3912" y="228"/>
                  </a:cubicBezTo>
                  <a:cubicBezTo>
                    <a:pt x="3915" y="234"/>
                    <a:pt x="3922" y="238"/>
                    <a:pt x="3929" y="238"/>
                  </a:cubicBezTo>
                  <a:cubicBezTo>
                    <a:pt x="3935" y="238"/>
                    <a:pt x="3938" y="233"/>
                    <a:pt x="3934" y="228"/>
                  </a:cubicBezTo>
                  <a:cubicBezTo>
                    <a:pt x="3931" y="222"/>
                    <a:pt x="3924" y="217"/>
                    <a:pt x="3918" y="217"/>
                  </a:cubicBezTo>
                  <a:cubicBezTo>
                    <a:pt x="3918" y="217"/>
                    <a:pt x="3918" y="217"/>
                    <a:pt x="3918" y="217"/>
                  </a:cubicBezTo>
                  <a:moveTo>
                    <a:pt x="3950" y="217"/>
                  </a:moveTo>
                  <a:cubicBezTo>
                    <a:pt x="3944" y="217"/>
                    <a:pt x="3941" y="222"/>
                    <a:pt x="3944" y="228"/>
                  </a:cubicBezTo>
                  <a:cubicBezTo>
                    <a:pt x="3947" y="233"/>
                    <a:pt x="3955" y="238"/>
                    <a:pt x="3961" y="238"/>
                  </a:cubicBezTo>
                  <a:cubicBezTo>
                    <a:pt x="3967" y="238"/>
                    <a:pt x="3970" y="233"/>
                    <a:pt x="3967" y="227"/>
                  </a:cubicBezTo>
                  <a:cubicBezTo>
                    <a:pt x="3964" y="222"/>
                    <a:pt x="3956" y="217"/>
                    <a:pt x="3950" y="217"/>
                  </a:cubicBezTo>
                  <a:cubicBezTo>
                    <a:pt x="3950" y="217"/>
                    <a:pt x="3950" y="217"/>
                    <a:pt x="3950" y="217"/>
                  </a:cubicBezTo>
                  <a:moveTo>
                    <a:pt x="401" y="217"/>
                  </a:moveTo>
                  <a:cubicBezTo>
                    <a:pt x="395" y="217"/>
                    <a:pt x="386" y="222"/>
                    <a:pt x="381" y="227"/>
                  </a:cubicBezTo>
                  <a:cubicBezTo>
                    <a:pt x="377" y="233"/>
                    <a:pt x="378" y="237"/>
                    <a:pt x="384" y="237"/>
                  </a:cubicBezTo>
                  <a:cubicBezTo>
                    <a:pt x="391" y="237"/>
                    <a:pt x="399" y="233"/>
                    <a:pt x="404" y="227"/>
                  </a:cubicBezTo>
                  <a:cubicBezTo>
                    <a:pt x="408" y="222"/>
                    <a:pt x="407" y="217"/>
                    <a:pt x="401" y="217"/>
                  </a:cubicBezTo>
                  <a:cubicBezTo>
                    <a:pt x="401" y="217"/>
                    <a:pt x="401" y="217"/>
                    <a:pt x="401" y="217"/>
                  </a:cubicBezTo>
                  <a:moveTo>
                    <a:pt x="3982" y="217"/>
                  </a:moveTo>
                  <a:cubicBezTo>
                    <a:pt x="3976" y="217"/>
                    <a:pt x="3973" y="222"/>
                    <a:pt x="3977" y="227"/>
                  </a:cubicBezTo>
                  <a:cubicBezTo>
                    <a:pt x="3980" y="233"/>
                    <a:pt x="3987" y="238"/>
                    <a:pt x="3994" y="238"/>
                  </a:cubicBezTo>
                  <a:cubicBezTo>
                    <a:pt x="4000" y="237"/>
                    <a:pt x="4002" y="233"/>
                    <a:pt x="3999" y="227"/>
                  </a:cubicBezTo>
                  <a:cubicBezTo>
                    <a:pt x="3996" y="221"/>
                    <a:pt x="3988" y="217"/>
                    <a:pt x="3982" y="217"/>
                  </a:cubicBezTo>
                  <a:cubicBezTo>
                    <a:pt x="3982" y="217"/>
                    <a:pt x="3982" y="217"/>
                    <a:pt x="3982" y="217"/>
                  </a:cubicBezTo>
                  <a:moveTo>
                    <a:pt x="432" y="217"/>
                  </a:moveTo>
                  <a:cubicBezTo>
                    <a:pt x="426" y="217"/>
                    <a:pt x="418" y="222"/>
                    <a:pt x="413" y="227"/>
                  </a:cubicBezTo>
                  <a:cubicBezTo>
                    <a:pt x="409" y="233"/>
                    <a:pt x="410" y="237"/>
                    <a:pt x="416" y="237"/>
                  </a:cubicBezTo>
                  <a:cubicBezTo>
                    <a:pt x="423" y="237"/>
                    <a:pt x="431" y="233"/>
                    <a:pt x="436" y="227"/>
                  </a:cubicBezTo>
                  <a:cubicBezTo>
                    <a:pt x="440" y="221"/>
                    <a:pt x="439" y="217"/>
                    <a:pt x="433" y="217"/>
                  </a:cubicBezTo>
                  <a:cubicBezTo>
                    <a:pt x="433" y="217"/>
                    <a:pt x="433" y="217"/>
                    <a:pt x="432" y="217"/>
                  </a:cubicBezTo>
                  <a:moveTo>
                    <a:pt x="4014" y="217"/>
                  </a:moveTo>
                  <a:cubicBezTo>
                    <a:pt x="4008" y="217"/>
                    <a:pt x="4005" y="221"/>
                    <a:pt x="4009" y="227"/>
                  </a:cubicBezTo>
                  <a:cubicBezTo>
                    <a:pt x="4012" y="233"/>
                    <a:pt x="4019" y="237"/>
                    <a:pt x="4026" y="237"/>
                  </a:cubicBezTo>
                  <a:cubicBezTo>
                    <a:pt x="4032" y="237"/>
                    <a:pt x="4034" y="233"/>
                    <a:pt x="4031" y="227"/>
                  </a:cubicBezTo>
                  <a:cubicBezTo>
                    <a:pt x="4028" y="221"/>
                    <a:pt x="4020" y="217"/>
                    <a:pt x="4014" y="217"/>
                  </a:cubicBezTo>
                  <a:cubicBezTo>
                    <a:pt x="4014" y="217"/>
                    <a:pt x="4014" y="217"/>
                    <a:pt x="4014" y="217"/>
                  </a:cubicBezTo>
                  <a:moveTo>
                    <a:pt x="464" y="217"/>
                  </a:moveTo>
                  <a:cubicBezTo>
                    <a:pt x="458" y="217"/>
                    <a:pt x="450" y="221"/>
                    <a:pt x="445" y="227"/>
                  </a:cubicBezTo>
                  <a:cubicBezTo>
                    <a:pt x="441" y="232"/>
                    <a:pt x="442" y="237"/>
                    <a:pt x="449" y="237"/>
                  </a:cubicBezTo>
                  <a:cubicBezTo>
                    <a:pt x="455" y="237"/>
                    <a:pt x="463" y="232"/>
                    <a:pt x="468" y="227"/>
                  </a:cubicBezTo>
                  <a:cubicBezTo>
                    <a:pt x="472" y="221"/>
                    <a:pt x="471" y="217"/>
                    <a:pt x="465" y="217"/>
                  </a:cubicBezTo>
                  <a:cubicBezTo>
                    <a:pt x="465" y="217"/>
                    <a:pt x="464" y="217"/>
                    <a:pt x="464" y="217"/>
                  </a:cubicBezTo>
                  <a:moveTo>
                    <a:pt x="4046" y="216"/>
                  </a:moveTo>
                  <a:cubicBezTo>
                    <a:pt x="4040" y="216"/>
                    <a:pt x="4037" y="221"/>
                    <a:pt x="4041" y="227"/>
                  </a:cubicBezTo>
                  <a:cubicBezTo>
                    <a:pt x="4044" y="232"/>
                    <a:pt x="4052" y="237"/>
                    <a:pt x="4058" y="237"/>
                  </a:cubicBezTo>
                  <a:cubicBezTo>
                    <a:pt x="4064" y="237"/>
                    <a:pt x="4066" y="232"/>
                    <a:pt x="4063" y="227"/>
                  </a:cubicBezTo>
                  <a:cubicBezTo>
                    <a:pt x="4060" y="221"/>
                    <a:pt x="4052" y="216"/>
                    <a:pt x="4046" y="216"/>
                  </a:cubicBezTo>
                  <a:cubicBezTo>
                    <a:pt x="4046" y="216"/>
                    <a:pt x="4046" y="216"/>
                    <a:pt x="4046" y="216"/>
                  </a:cubicBezTo>
                  <a:moveTo>
                    <a:pt x="498" y="216"/>
                  </a:moveTo>
                  <a:cubicBezTo>
                    <a:pt x="491" y="216"/>
                    <a:pt x="483" y="221"/>
                    <a:pt x="479" y="227"/>
                  </a:cubicBezTo>
                  <a:cubicBezTo>
                    <a:pt x="474" y="232"/>
                    <a:pt x="476" y="237"/>
                    <a:pt x="482" y="237"/>
                  </a:cubicBezTo>
                  <a:cubicBezTo>
                    <a:pt x="488" y="237"/>
                    <a:pt x="497" y="232"/>
                    <a:pt x="501" y="226"/>
                  </a:cubicBezTo>
                  <a:cubicBezTo>
                    <a:pt x="505" y="221"/>
                    <a:pt x="504" y="216"/>
                    <a:pt x="498" y="216"/>
                  </a:cubicBezTo>
                  <a:cubicBezTo>
                    <a:pt x="498" y="216"/>
                    <a:pt x="498" y="216"/>
                    <a:pt x="498" y="216"/>
                  </a:cubicBezTo>
                  <a:moveTo>
                    <a:pt x="4078" y="216"/>
                  </a:moveTo>
                  <a:cubicBezTo>
                    <a:pt x="4072" y="216"/>
                    <a:pt x="4069" y="221"/>
                    <a:pt x="4073" y="226"/>
                  </a:cubicBezTo>
                  <a:cubicBezTo>
                    <a:pt x="4076" y="232"/>
                    <a:pt x="4084" y="237"/>
                    <a:pt x="4090" y="237"/>
                  </a:cubicBezTo>
                  <a:cubicBezTo>
                    <a:pt x="4096" y="237"/>
                    <a:pt x="4098" y="232"/>
                    <a:pt x="4095" y="226"/>
                  </a:cubicBezTo>
                  <a:cubicBezTo>
                    <a:pt x="4092" y="221"/>
                    <a:pt x="4084" y="216"/>
                    <a:pt x="4078" y="216"/>
                  </a:cubicBezTo>
                  <a:cubicBezTo>
                    <a:pt x="4078" y="216"/>
                    <a:pt x="4078" y="216"/>
                    <a:pt x="4078" y="216"/>
                  </a:cubicBezTo>
                  <a:moveTo>
                    <a:pt x="529" y="216"/>
                  </a:moveTo>
                  <a:cubicBezTo>
                    <a:pt x="523" y="216"/>
                    <a:pt x="515" y="221"/>
                    <a:pt x="511" y="226"/>
                  </a:cubicBezTo>
                  <a:cubicBezTo>
                    <a:pt x="506" y="232"/>
                    <a:pt x="508" y="236"/>
                    <a:pt x="514" y="236"/>
                  </a:cubicBezTo>
                  <a:cubicBezTo>
                    <a:pt x="520" y="236"/>
                    <a:pt x="529" y="232"/>
                    <a:pt x="533" y="226"/>
                  </a:cubicBezTo>
                  <a:cubicBezTo>
                    <a:pt x="537" y="221"/>
                    <a:pt x="536" y="216"/>
                    <a:pt x="530" y="216"/>
                  </a:cubicBezTo>
                  <a:cubicBezTo>
                    <a:pt x="529" y="216"/>
                    <a:pt x="529" y="216"/>
                    <a:pt x="529" y="216"/>
                  </a:cubicBezTo>
                  <a:moveTo>
                    <a:pt x="4109" y="216"/>
                  </a:moveTo>
                  <a:cubicBezTo>
                    <a:pt x="4103" y="216"/>
                    <a:pt x="4100" y="221"/>
                    <a:pt x="4104" y="226"/>
                  </a:cubicBezTo>
                  <a:cubicBezTo>
                    <a:pt x="4107" y="232"/>
                    <a:pt x="4115" y="236"/>
                    <a:pt x="4121" y="236"/>
                  </a:cubicBezTo>
                  <a:cubicBezTo>
                    <a:pt x="4128" y="236"/>
                    <a:pt x="4130" y="232"/>
                    <a:pt x="4126" y="226"/>
                  </a:cubicBezTo>
                  <a:cubicBezTo>
                    <a:pt x="4123" y="220"/>
                    <a:pt x="4115" y="216"/>
                    <a:pt x="4109" y="216"/>
                  </a:cubicBezTo>
                  <a:cubicBezTo>
                    <a:pt x="4109" y="216"/>
                    <a:pt x="4109" y="216"/>
                    <a:pt x="4109" y="216"/>
                  </a:cubicBezTo>
                  <a:moveTo>
                    <a:pt x="561" y="216"/>
                  </a:moveTo>
                  <a:cubicBezTo>
                    <a:pt x="555" y="216"/>
                    <a:pt x="547" y="220"/>
                    <a:pt x="543" y="226"/>
                  </a:cubicBezTo>
                  <a:cubicBezTo>
                    <a:pt x="538" y="232"/>
                    <a:pt x="540" y="236"/>
                    <a:pt x="546" y="236"/>
                  </a:cubicBezTo>
                  <a:cubicBezTo>
                    <a:pt x="553" y="236"/>
                    <a:pt x="561" y="231"/>
                    <a:pt x="565" y="226"/>
                  </a:cubicBezTo>
                  <a:cubicBezTo>
                    <a:pt x="569" y="220"/>
                    <a:pt x="568" y="216"/>
                    <a:pt x="561" y="216"/>
                  </a:cubicBezTo>
                  <a:cubicBezTo>
                    <a:pt x="561" y="216"/>
                    <a:pt x="561" y="216"/>
                    <a:pt x="561" y="216"/>
                  </a:cubicBezTo>
                  <a:moveTo>
                    <a:pt x="4141" y="216"/>
                  </a:moveTo>
                  <a:cubicBezTo>
                    <a:pt x="4135" y="216"/>
                    <a:pt x="4133" y="220"/>
                    <a:pt x="4136" y="226"/>
                  </a:cubicBezTo>
                  <a:cubicBezTo>
                    <a:pt x="4140" y="232"/>
                    <a:pt x="4148" y="236"/>
                    <a:pt x="4154" y="236"/>
                  </a:cubicBezTo>
                  <a:cubicBezTo>
                    <a:pt x="4160" y="236"/>
                    <a:pt x="4162" y="231"/>
                    <a:pt x="4159" y="226"/>
                  </a:cubicBezTo>
                  <a:cubicBezTo>
                    <a:pt x="4155" y="220"/>
                    <a:pt x="4147" y="216"/>
                    <a:pt x="4141" y="216"/>
                  </a:cubicBezTo>
                  <a:cubicBezTo>
                    <a:pt x="4141" y="216"/>
                    <a:pt x="4141" y="216"/>
                    <a:pt x="4141" y="216"/>
                  </a:cubicBezTo>
                  <a:moveTo>
                    <a:pt x="593" y="216"/>
                  </a:moveTo>
                  <a:cubicBezTo>
                    <a:pt x="587" y="216"/>
                    <a:pt x="579" y="220"/>
                    <a:pt x="575" y="226"/>
                  </a:cubicBezTo>
                  <a:cubicBezTo>
                    <a:pt x="570" y="231"/>
                    <a:pt x="572" y="236"/>
                    <a:pt x="578" y="236"/>
                  </a:cubicBezTo>
                  <a:cubicBezTo>
                    <a:pt x="585" y="236"/>
                    <a:pt x="593" y="231"/>
                    <a:pt x="597" y="226"/>
                  </a:cubicBezTo>
                  <a:cubicBezTo>
                    <a:pt x="601" y="220"/>
                    <a:pt x="599" y="216"/>
                    <a:pt x="593" y="216"/>
                  </a:cubicBezTo>
                  <a:cubicBezTo>
                    <a:pt x="593" y="216"/>
                    <a:pt x="593" y="216"/>
                    <a:pt x="593" y="216"/>
                  </a:cubicBezTo>
                  <a:moveTo>
                    <a:pt x="4171" y="215"/>
                  </a:moveTo>
                  <a:cubicBezTo>
                    <a:pt x="4165" y="215"/>
                    <a:pt x="4163" y="220"/>
                    <a:pt x="4166" y="226"/>
                  </a:cubicBezTo>
                  <a:cubicBezTo>
                    <a:pt x="4170" y="231"/>
                    <a:pt x="4178" y="236"/>
                    <a:pt x="4184" y="236"/>
                  </a:cubicBezTo>
                  <a:cubicBezTo>
                    <a:pt x="4190" y="236"/>
                    <a:pt x="4192" y="231"/>
                    <a:pt x="4189" y="226"/>
                  </a:cubicBezTo>
                  <a:cubicBezTo>
                    <a:pt x="4185" y="220"/>
                    <a:pt x="4177" y="215"/>
                    <a:pt x="4171" y="215"/>
                  </a:cubicBezTo>
                  <a:cubicBezTo>
                    <a:pt x="4171" y="215"/>
                    <a:pt x="4171" y="215"/>
                    <a:pt x="4171" y="215"/>
                  </a:cubicBezTo>
                  <a:moveTo>
                    <a:pt x="625" y="215"/>
                  </a:moveTo>
                  <a:cubicBezTo>
                    <a:pt x="619" y="215"/>
                    <a:pt x="611" y="220"/>
                    <a:pt x="607" y="225"/>
                  </a:cubicBezTo>
                  <a:cubicBezTo>
                    <a:pt x="603" y="231"/>
                    <a:pt x="604" y="236"/>
                    <a:pt x="611" y="235"/>
                  </a:cubicBezTo>
                  <a:cubicBezTo>
                    <a:pt x="617" y="235"/>
                    <a:pt x="625" y="231"/>
                    <a:pt x="629" y="225"/>
                  </a:cubicBezTo>
                  <a:cubicBezTo>
                    <a:pt x="633" y="220"/>
                    <a:pt x="631" y="215"/>
                    <a:pt x="625" y="215"/>
                  </a:cubicBezTo>
                  <a:cubicBezTo>
                    <a:pt x="625" y="215"/>
                    <a:pt x="625" y="215"/>
                    <a:pt x="625" y="215"/>
                  </a:cubicBezTo>
                  <a:moveTo>
                    <a:pt x="658" y="215"/>
                  </a:moveTo>
                  <a:cubicBezTo>
                    <a:pt x="652" y="215"/>
                    <a:pt x="644" y="220"/>
                    <a:pt x="640" y="225"/>
                  </a:cubicBezTo>
                  <a:cubicBezTo>
                    <a:pt x="636" y="231"/>
                    <a:pt x="638" y="235"/>
                    <a:pt x="644" y="235"/>
                  </a:cubicBezTo>
                  <a:cubicBezTo>
                    <a:pt x="650" y="235"/>
                    <a:pt x="658" y="231"/>
                    <a:pt x="662" y="225"/>
                  </a:cubicBezTo>
                  <a:cubicBezTo>
                    <a:pt x="666" y="219"/>
                    <a:pt x="664" y="215"/>
                    <a:pt x="658" y="215"/>
                  </a:cubicBezTo>
                  <a:cubicBezTo>
                    <a:pt x="658" y="215"/>
                    <a:pt x="658" y="215"/>
                    <a:pt x="658" y="215"/>
                  </a:cubicBezTo>
                  <a:moveTo>
                    <a:pt x="690" y="215"/>
                  </a:moveTo>
                  <a:cubicBezTo>
                    <a:pt x="684" y="215"/>
                    <a:pt x="676" y="219"/>
                    <a:pt x="672" y="225"/>
                  </a:cubicBezTo>
                  <a:cubicBezTo>
                    <a:pt x="668" y="230"/>
                    <a:pt x="670" y="235"/>
                    <a:pt x="676" y="235"/>
                  </a:cubicBezTo>
                  <a:cubicBezTo>
                    <a:pt x="682" y="235"/>
                    <a:pt x="690" y="230"/>
                    <a:pt x="694" y="225"/>
                  </a:cubicBezTo>
                  <a:cubicBezTo>
                    <a:pt x="698" y="219"/>
                    <a:pt x="696" y="215"/>
                    <a:pt x="690" y="215"/>
                  </a:cubicBezTo>
                  <a:cubicBezTo>
                    <a:pt x="690" y="215"/>
                    <a:pt x="690" y="215"/>
                    <a:pt x="690" y="215"/>
                  </a:cubicBezTo>
                  <a:moveTo>
                    <a:pt x="722" y="214"/>
                  </a:moveTo>
                  <a:cubicBezTo>
                    <a:pt x="716" y="214"/>
                    <a:pt x="708" y="219"/>
                    <a:pt x="704" y="225"/>
                  </a:cubicBezTo>
                  <a:cubicBezTo>
                    <a:pt x="700" y="230"/>
                    <a:pt x="702" y="235"/>
                    <a:pt x="708" y="235"/>
                  </a:cubicBezTo>
                  <a:cubicBezTo>
                    <a:pt x="714" y="235"/>
                    <a:pt x="722" y="230"/>
                    <a:pt x="726" y="224"/>
                  </a:cubicBezTo>
                  <a:cubicBezTo>
                    <a:pt x="730" y="219"/>
                    <a:pt x="728" y="214"/>
                    <a:pt x="722" y="214"/>
                  </a:cubicBezTo>
                  <a:cubicBezTo>
                    <a:pt x="722" y="214"/>
                    <a:pt x="722" y="214"/>
                    <a:pt x="722" y="214"/>
                  </a:cubicBezTo>
                  <a:moveTo>
                    <a:pt x="754" y="214"/>
                  </a:moveTo>
                  <a:cubicBezTo>
                    <a:pt x="748" y="214"/>
                    <a:pt x="740" y="219"/>
                    <a:pt x="736" y="224"/>
                  </a:cubicBezTo>
                  <a:cubicBezTo>
                    <a:pt x="732" y="230"/>
                    <a:pt x="734" y="234"/>
                    <a:pt x="741" y="234"/>
                  </a:cubicBezTo>
                  <a:cubicBezTo>
                    <a:pt x="747" y="234"/>
                    <a:pt x="755" y="230"/>
                    <a:pt x="759" y="224"/>
                  </a:cubicBezTo>
                  <a:cubicBezTo>
                    <a:pt x="762" y="219"/>
                    <a:pt x="760" y="214"/>
                    <a:pt x="754" y="214"/>
                  </a:cubicBezTo>
                  <a:cubicBezTo>
                    <a:pt x="754" y="214"/>
                    <a:pt x="754" y="214"/>
                    <a:pt x="754" y="214"/>
                  </a:cubicBezTo>
                  <a:moveTo>
                    <a:pt x="786" y="214"/>
                  </a:moveTo>
                  <a:cubicBezTo>
                    <a:pt x="780" y="214"/>
                    <a:pt x="772" y="218"/>
                    <a:pt x="768" y="224"/>
                  </a:cubicBezTo>
                  <a:cubicBezTo>
                    <a:pt x="764" y="230"/>
                    <a:pt x="766" y="234"/>
                    <a:pt x="773" y="234"/>
                  </a:cubicBezTo>
                  <a:cubicBezTo>
                    <a:pt x="779" y="234"/>
                    <a:pt x="787" y="229"/>
                    <a:pt x="791" y="224"/>
                  </a:cubicBezTo>
                  <a:cubicBezTo>
                    <a:pt x="794" y="218"/>
                    <a:pt x="792" y="214"/>
                    <a:pt x="786" y="214"/>
                  </a:cubicBezTo>
                  <a:cubicBezTo>
                    <a:pt x="786" y="214"/>
                    <a:pt x="786" y="214"/>
                    <a:pt x="786" y="214"/>
                  </a:cubicBezTo>
                  <a:moveTo>
                    <a:pt x="818" y="214"/>
                  </a:moveTo>
                  <a:cubicBezTo>
                    <a:pt x="812" y="214"/>
                    <a:pt x="804" y="218"/>
                    <a:pt x="800" y="224"/>
                  </a:cubicBezTo>
                  <a:cubicBezTo>
                    <a:pt x="797" y="229"/>
                    <a:pt x="799" y="234"/>
                    <a:pt x="805" y="234"/>
                  </a:cubicBezTo>
                  <a:cubicBezTo>
                    <a:pt x="811" y="234"/>
                    <a:pt x="819" y="229"/>
                    <a:pt x="823" y="224"/>
                  </a:cubicBezTo>
                  <a:cubicBezTo>
                    <a:pt x="826" y="218"/>
                    <a:pt x="824" y="214"/>
                    <a:pt x="818" y="214"/>
                  </a:cubicBezTo>
                  <a:cubicBezTo>
                    <a:pt x="818" y="214"/>
                    <a:pt x="818" y="214"/>
                    <a:pt x="818" y="214"/>
                  </a:cubicBezTo>
                  <a:moveTo>
                    <a:pt x="850" y="213"/>
                  </a:moveTo>
                  <a:cubicBezTo>
                    <a:pt x="844" y="213"/>
                    <a:pt x="836" y="218"/>
                    <a:pt x="832" y="223"/>
                  </a:cubicBezTo>
                  <a:cubicBezTo>
                    <a:pt x="829" y="229"/>
                    <a:pt x="831" y="234"/>
                    <a:pt x="837" y="234"/>
                  </a:cubicBezTo>
                  <a:cubicBezTo>
                    <a:pt x="843" y="233"/>
                    <a:pt x="851" y="229"/>
                    <a:pt x="855" y="223"/>
                  </a:cubicBezTo>
                  <a:cubicBezTo>
                    <a:pt x="858" y="218"/>
                    <a:pt x="856" y="213"/>
                    <a:pt x="850" y="213"/>
                  </a:cubicBezTo>
                  <a:cubicBezTo>
                    <a:pt x="850" y="213"/>
                    <a:pt x="850" y="213"/>
                    <a:pt x="850" y="213"/>
                  </a:cubicBezTo>
                  <a:moveTo>
                    <a:pt x="882" y="213"/>
                  </a:moveTo>
                  <a:cubicBezTo>
                    <a:pt x="876" y="213"/>
                    <a:pt x="868" y="218"/>
                    <a:pt x="864" y="223"/>
                  </a:cubicBezTo>
                  <a:cubicBezTo>
                    <a:pt x="861" y="229"/>
                    <a:pt x="863" y="233"/>
                    <a:pt x="869" y="233"/>
                  </a:cubicBezTo>
                  <a:cubicBezTo>
                    <a:pt x="875" y="233"/>
                    <a:pt x="883" y="229"/>
                    <a:pt x="887" y="223"/>
                  </a:cubicBezTo>
                  <a:cubicBezTo>
                    <a:pt x="890" y="217"/>
                    <a:pt x="888" y="213"/>
                    <a:pt x="882" y="213"/>
                  </a:cubicBezTo>
                  <a:cubicBezTo>
                    <a:pt x="882" y="213"/>
                    <a:pt x="882" y="213"/>
                    <a:pt x="882" y="213"/>
                  </a:cubicBezTo>
                  <a:moveTo>
                    <a:pt x="914" y="213"/>
                  </a:moveTo>
                  <a:cubicBezTo>
                    <a:pt x="908" y="213"/>
                    <a:pt x="900" y="217"/>
                    <a:pt x="897" y="223"/>
                  </a:cubicBezTo>
                  <a:cubicBezTo>
                    <a:pt x="893" y="229"/>
                    <a:pt x="895" y="233"/>
                    <a:pt x="902" y="233"/>
                  </a:cubicBezTo>
                  <a:cubicBezTo>
                    <a:pt x="908" y="233"/>
                    <a:pt x="916" y="228"/>
                    <a:pt x="919" y="223"/>
                  </a:cubicBezTo>
                  <a:cubicBezTo>
                    <a:pt x="922" y="217"/>
                    <a:pt x="920" y="213"/>
                    <a:pt x="914" y="213"/>
                  </a:cubicBezTo>
                  <a:cubicBezTo>
                    <a:pt x="914" y="213"/>
                    <a:pt x="914" y="213"/>
                    <a:pt x="914" y="213"/>
                  </a:cubicBezTo>
                  <a:moveTo>
                    <a:pt x="946" y="212"/>
                  </a:moveTo>
                  <a:cubicBezTo>
                    <a:pt x="940" y="212"/>
                    <a:pt x="932" y="217"/>
                    <a:pt x="929" y="223"/>
                  </a:cubicBezTo>
                  <a:cubicBezTo>
                    <a:pt x="925" y="228"/>
                    <a:pt x="927" y="233"/>
                    <a:pt x="934" y="233"/>
                  </a:cubicBezTo>
                  <a:cubicBezTo>
                    <a:pt x="940" y="233"/>
                    <a:pt x="948" y="228"/>
                    <a:pt x="951" y="222"/>
                  </a:cubicBezTo>
                  <a:cubicBezTo>
                    <a:pt x="954" y="217"/>
                    <a:pt x="952" y="212"/>
                    <a:pt x="946" y="212"/>
                  </a:cubicBezTo>
                  <a:cubicBezTo>
                    <a:pt x="946" y="212"/>
                    <a:pt x="946" y="212"/>
                    <a:pt x="946" y="212"/>
                  </a:cubicBezTo>
                  <a:moveTo>
                    <a:pt x="1294" y="212"/>
                  </a:moveTo>
                  <a:cubicBezTo>
                    <a:pt x="1288" y="212"/>
                    <a:pt x="1280" y="217"/>
                    <a:pt x="1278" y="223"/>
                  </a:cubicBezTo>
                  <a:cubicBezTo>
                    <a:pt x="1275" y="228"/>
                    <a:pt x="1278" y="233"/>
                    <a:pt x="1284" y="233"/>
                  </a:cubicBezTo>
                  <a:cubicBezTo>
                    <a:pt x="1291" y="233"/>
                    <a:pt x="1298" y="228"/>
                    <a:pt x="1300" y="222"/>
                  </a:cubicBezTo>
                  <a:cubicBezTo>
                    <a:pt x="1303" y="217"/>
                    <a:pt x="1300" y="212"/>
                    <a:pt x="1294" y="212"/>
                  </a:cubicBezTo>
                  <a:cubicBezTo>
                    <a:pt x="1294" y="212"/>
                    <a:pt x="1294" y="212"/>
                    <a:pt x="1294" y="212"/>
                  </a:cubicBezTo>
                  <a:moveTo>
                    <a:pt x="976" y="212"/>
                  </a:moveTo>
                  <a:cubicBezTo>
                    <a:pt x="970" y="212"/>
                    <a:pt x="962" y="217"/>
                    <a:pt x="959" y="222"/>
                  </a:cubicBezTo>
                  <a:cubicBezTo>
                    <a:pt x="956" y="228"/>
                    <a:pt x="958" y="232"/>
                    <a:pt x="964" y="232"/>
                  </a:cubicBezTo>
                  <a:cubicBezTo>
                    <a:pt x="970" y="232"/>
                    <a:pt x="978" y="228"/>
                    <a:pt x="981" y="222"/>
                  </a:cubicBezTo>
                  <a:cubicBezTo>
                    <a:pt x="985" y="217"/>
                    <a:pt x="982" y="212"/>
                    <a:pt x="976" y="212"/>
                  </a:cubicBezTo>
                  <a:cubicBezTo>
                    <a:pt x="976" y="212"/>
                    <a:pt x="976" y="212"/>
                    <a:pt x="976" y="212"/>
                  </a:cubicBezTo>
                  <a:moveTo>
                    <a:pt x="1326" y="212"/>
                  </a:moveTo>
                  <a:cubicBezTo>
                    <a:pt x="1320" y="212"/>
                    <a:pt x="1313" y="217"/>
                    <a:pt x="1310" y="222"/>
                  </a:cubicBezTo>
                  <a:cubicBezTo>
                    <a:pt x="1308" y="228"/>
                    <a:pt x="1311" y="232"/>
                    <a:pt x="1317" y="232"/>
                  </a:cubicBezTo>
                  <a:cubicBezTo>
                    <a:pt x="1323" y="232"/>
                    <a:pt x="1330" y="228"/>
                    <a:pt x="1333" y="222"/>
                  </a:cubicBezTo>
                  <a:cubicBezTo>
                    <a:pt x="1335" y="216"/>
                    <a:pt x="1332" y="212"/>
                    <a:pt x="1326" y="212"/>
                  </a:cubicBezTo>
                  <a:cubicBezTo>
                    <a:pt x="1326" y="212"/>
                    <a:pt x="1326" y="212"/>
                    <a:pt x="1326" y="212"/>
                  </a:cubicBezTo>
                  <a:moveTo>
                    <a:pt x="1008" y="212"/>
                  </a:moveTo>
                  <a:cubicBezTo>
                    <a:pt x="1002" y="212"/>
                    <a:pt x="995" y="216"/>
                    <a:pt x="991" y="222"/>
                  </a:cubicBezTo>
                  <a:cubicBezTo>
                    <a:pt x="988" y="228"/>
                    <a:pt x="990" y="232"/>
                    <a:pt x="997" y="232"/>
                  </a:cubicBezTo>
                  <a:cubicBezTo>
                    <a:pt x="1003" y="232"/>
                    <a:pt x="1011" y="228"/>
                    <a:pt x="1014" y="222"/>
                  </a:cubicBezTo>
                  <a:cubicBezTo>
                    <a:pt x="1017" y="216"/>
                    <a:pt x="1015" y="212"/>
                    <a:pt x="1008" y="212"/>
                  </a:cubicBezTo>
                  <a:cubicBezTo>
                    <a:pt x="1008" y="212"/>
                    <a:pt x="1008" y="212"/>
                    <a:pt x="1008" y="212"/>
                  </a:cubicBezTo>
                  <a:moveTo>
                    <a:pt x="1358" y="212"/>
                  </a:moveTo>
                  <a:cubicBezTo>
                    <a:pt x="1352" y="212"/>
                    <a:pt x="1345" y="216"/>
                    <a:pt x="1342" y="222"/>
                  </a:cubicBezTo>
                  <a:cubicBezTo>
                    <a:pt x="1340" y="228"/>
                    <a:pt x="1343" y="232"/>
                    <a:pt x="1349" y="232"/>
                  </a:cubicBezTo>
                  <a:cubicBezTo>
                    <a:pt x="1355" y="232"/>
                    <a:pt x="1362" y="227"/>
                    <a:pt x="1364" y="222"/>
                  </a:cubicBezTo>
                  <a:cubicBezTo>
                    <a:pt x="1367" y="216"/>
                    <a:pt x="1364" y="212"/>
                    <a:pt x="1358" y="212"/>
                  </a:cubicBezTo>
                  <a:cubicBezTo>
                    <a:pt x="1358" y="212"/>
                    <a:pt x="1358" y="212"/>
                    <a:pt x="1358" y="212"/>
                  </a:cubicBezTo>
                  <a:moveTo>
                    <a:pt x="1040" y="212"/>
                  </a:moveTo>
                  <a:cubicBezTo>
                    <a:pt x="1034" y="212"/>
                    <a:pt x="1026" y="216"/>
                    <a:pt x="1023" y="222"/>
                  </a:cubicBezTo>
                  <a:cubicBezTo>
                    <a:pt x="1020" y="227"/>
                    <a:pt x="1022" y="232"/>
                    <a:pt x="1029" y="232"/>
                  </a:cubicBezTo>
                  <a:cubicBezTo>
                    <a:pt x="1035" y="232"/>
                    <a:pt x="1042" y="227"/>
                    <a:pt x="1046" y="222"/>
                  </a:cubicBezTo>
                  <a:cubicBezTo>
                    <a:pt x="1049" y="216"/>
                    <a:pt x="1046" y="212"/>
                    <a:pt x="1040" y="212"/>
                  </a:cubicBezTo>
                  <a:cubicBezTo>
                    <a:pt x="1040" y="212"/>
                    <a:pt x="1040" y="212"/>
                    <a:pt x="1040" y="212"/>
                  </a:cubicBezTo>
                  <a:moveTo>
                    <a:pt x="1072" y="211"/>
                  </a:moveTo>
                  <a:cubicBezTo>
                    <a:pt x="1066" y="211"/>
                    <a:pt x="1058" y="216"/>
                    <a:pt x="1055" y="222"/>
                  </a:cubicBezTo>
                  <a:cubicBezTo>
                    <a:pt x="1052" y="227"/>
                    <a:pt x="1055" y="232"/>
                    <a:pt x="1061" y="232"/>
                  </a:cubicBezTo>
                  <a:cubicBezTo>
                    <a:pt x="1067" y="232"/>
                    <a:pt x="1075" y="227"/>
                    <a:pt x="1078" y="221"/>
                  </a:cubicBezTo>
                  <a:cubicBezTo>
                    <a:pt x="1081" y="216"/>
                    <a:pt x="1078" y="211"/>
                    <a:pt x="1072" y="211"/>
                  </a:cubicBezTo>
                  <a:cubicBezTo>
                    <a:pt x="1072" y="211"/>
                    <a:pt x="1072" y="211"/>
                    <a:pt x="1072" y="211"/>
                  </a:cubicBezTo>
                  <a:moveTo>
                    <a:pt x="1104" y="211"/>
                  </a:moveTo>
                  <a:cubicBezTo>
                    <a:pt x="1098" y="211"/>
                    <a:pt x="1090" y="216"/>
                    <a:pt x="1087" y="221"/>
                  </a:cubicBezTo>
                  <a:cubicBezTo>
                    <a:pt x="1084" y="227"/>
                    <a:pt x="1087" y="231"/>
                    <a:pt x="1093" y="231"/>
                  </a:cubicBezTo>
                  <a:cubicBezTo>
                    <a:pt x="1099" y="231"/>
                    <a:pt x="1106" y="227"/>
                    <a:pt x="1109" y="221"/>
                  </a:cubicBezTo>
                  <a:cubicBezTo>
                    <a:pt x="1112" y="215"/>
                    <a:pt x="1110" y="211"/>
                    <a:pt x="1104" y="211"/>
                  </a:cubicBezTo>
                  <a:cubicBezTo>
                    <a:pt x="1104" y="211"/>
                    <a:pt x="1104" y="211"/>
                    <a:pt x="1104" y="211"/>
                  </a:cubicBezTo>
                  <a:moveTo>
                    <a:pt x="1551" y="209"/>
                  </a:moveTo>
                  <a:cubicBezTo>
                    <a:pt x="1545" y="209"/>
                    <a:pt x="1538" y="214"/>
                    <a:pt x="1536" y="219"/>
                  </a:cubicBezTo>
                  <a:cubicBezTo>
                    <a:pt x="1534" y="225"/>
                    <a:pt x="1537" y="229"/>
                    <a:pt x="1543" y="229"/>
                  </a:cubicBezTo>
                  <a:cubicBezTo>
                    <a:pt x="1550" y="229"/>
                    <a:pt x="1556" y="225"/>
                    <a:pt x="1558" y="219"/>
                  </a:cubicBezTo>
                  <a:cubicBezTo>
                    <a:pt x="1560" y="213"/>
                    <a:pt x="1557" y="209"/>
                    <a:pt x="1551" y="209"/>
                  </a:cubicBezTo>
                  <a:cubicBezTo>
                    <a:pt x="1551" y="209"/>
                    <a:pt x="1551" y="209"/>
                    <a:pt x="1551" y="209"/>
                  </a:cubicBezTo>
                  <a:moveTo>
                    <a:pt x="1583" y="209"/>
                  </a:moveTo>
                  <a:cubicBezTo>
                    <a:pt x="1576" y="209"/>
                    <a:pt x="1570" y="213"/>
                    <a:pt x="1568" y="219"/>
                  </a:cubicBezTo>
                  <a:cubicBezTo>
                    <a:pt x="1566" y="224"/>
                    <a:pt x="1569" y="229"/>
                    <a:pt x="1575" y="229"/>
                  </a:cubicBezTo>
                  <a:cubicBezTo>
                    <a:pt x="1582" y="229"/>
                    <a:pt x="1588" y="224"/>
                    <a:pt x="1590" y="219"/>
                  </a:cubicBezTo>
                  <a:cubicBezTo>
                    <a:pt x="1592" y="213"/>
                    <a:pt x="1589" y="209"/>
                    <a:pt x="1583" y="209"/>
                  </a:cubicBezTo>
                  <a:cubicBezTo>
                    <a:pt x="1583" y="209"/>
                    <a:pt x="1583" y="209"/>
                    <a:pt x="1583" y="209"/>
                  </a:cubicBezTo>
                  <a:moveTo>
                    <a:pt x="1614" y="208"/>
                  </a:moveTo>
                  <a:cubicBezTo>
                    <a:pt x="1608" y="208"/>
                    <a:pt x="1602" y="213"/>
                    <a:pt x="1600" y="219"/>
                  </a:cubicBezTo>
                  <a:cubicBezTo>
                    <a:pt x="1598" y="224"/>
                    <a:pt x="1601" y="229"/>
                    <a:pt x="1608" y="229"/>
                  </a:cubicBezTo>
                  <a:cubicBezTo>
                    <a:pt x="1614" y="229"/>
                    <a:pt x="1620" y="224"/>
                    <a:pt x="1622" y="218"/>
                  </a:cubicBezTo>
                  <a:cubicBezTo>
                    <a:pt x="1624" y="213"/>
                    <a:pt x="1621" y="208"/>
                    <a:pt x="1615" y="208"/>
                  </a:cubicBezTo>
                  <a:cubicBezTo>
                    <a:pt x="1615" y="208"/>
                    <a:pt x="1615" y="208"/>
                    <a:pt x="1614" y="208"/>
                  </a:cubicBezTo>
                  <a:moveTo>
                    <a:pt x="1646" y="208"/>
                  </a:moveTo>
                  <a:cubicBezTo>
                    <a:pt x="1640" y="208"/>
                    <a:pt x="1634" y="213"/>
                    <a:pt x="1632" y="218"/>
                  </a:cubicBezTo>
                  <a:cubicBezTo>
                    <a:pt x="1630" y="224"/>
                    <a:pt x="1633" y="228"/>
                    <a:pt x="1639" y="228"/>
                  </a:cubicBezTo>
                  <a:cubicBezTo>
                    <a:pt x="1646" y="228"/>
                    <a:pt x="1652" y="224"/>
                    <a:pt x="1654" y="218"/>
                  </a:cubicBezTo>
                  <a:cubicBezTo>
                    <a:pt x="1656" y="213"/>
                    <a:pt x="1652" y="208"/>
                    <a:pt x="1646" y="208"/>
                  </a:cubicBezTo>
                  <a:cubicBezTo>
                    <a:pt x="1646" y="208"/>
                    <a:pt x="1646" y="208"/>
                    <a:pt x="1646" y="208"/>
                  </a:cubicBezTo>
                  <a:moveTo>
                    <a:pt x="1872" y="205"/>
                  </a:moveTo>
                  <a:cubicBezTo>
                    <a:pt x="1865" y="205"/>
                    <a:pt x="1859" y="210"/>
                    <a:pt x="1858" y="215"/>
                  </a:cubicBezTo>
                  <a:cubicBezTo>
                    <a:pt x="1857" y="221"/>
                    <a:pt x="1860" y="225"/>
                    <a:pt x="1867" y="225"/>
                  </a:cubicBezTo>
                  <a:cubicBezTo>
                    <a:pt x="1873" y="225"/>
                    <a:pt x="1879" y="221"/>
                    <a:pt x="1880" y="215"/>
                  </a:cubicBezTo>
                  <a:cubicBezTo>
                    <a:pt x="1882" y="210"/>
                    <a:pt x="1878" y="205"/>
                    <a:pt x="1872" y="205"/>
                  </a:cubicBezTo>
                  <a:cubicBezTo>
                    <a:pt x="1872" y="205"/>
                    <a:pt x="1872" y="205"/>
                    <a:pt x="1872" y="205"/>
                  </a:cubicBezTo>
                  <a:moveTo>
                    <a:pt x="1901" y="205"/>
                  </a:moveTo>
                  <a:cubicBezTo>
                    <a:pt x="1895" y="205"/>
                    <a:pt x="1889" y="209"/>
                    <a:pt x="1887" y="215"/>
                  </a:cubicBezTo>
                  <a:cubicBezTo>
                    <a:pt x="1886" y="221"/>
                    <a:pt x="1890" y="225"/>
                    <a:pt x="1896" y="225"/>
                  </a:cubicBezTo>
                  <a:cubicBezTo>
                    <a:pt x="1902" y="225"/>
                    <a:pt x="1908" y="220"/>
                    <a:pt x="1910" y="215"/>
                  </a:cubicBezTo>
                  <a:cubicBezTo>
                    <a:pt x="1911" y="209"/>
                    <a:pt x="1907" y="205"/>
                    <a:pt x="1901" y="205"/>
                  </a:cubicBezTo>
                  <a:cubicBezTo>
                    <a:pt x="1901" y="205"/>
                    <a:pt x="1901" y="205"/>
                    <a:pt x="1901" y="205"/>
                  </a:cubicBezTo>
                  <a:moveTo>
                    <a:pt x="1933" y="204"/>
                  </a:moveTo>
                  <a:cubicBezTo>
                    <a:pt x="1927" y="205"/>
                    <a:pt x="1921" y="209"/>
                    <a:pt x="1919" y="215"/>
                  </a:cubicBezTo>
                  <a:cubicBezTo>
                    <a:pt x="1918" y="220"/>
                    <a:pt x="1922" y="225"/>
                    <a:pt x="1928" y="225"/>
                  </a:cubicBezTo>
                  <a:cubicBezTo>
                    <a:pt x="1935" y="225"/>
                    <a:pt x="1941" y="220"/>
                    <a:pt x="1942" y="215"/>
                  </a:cubicBezTo>
                  <a:cubicBezTo>
                    <a:pt x="1943" y="209"/>
                    <a:pt x="1939" y="204"/>
                    <a:pt x="1933" y="204"/>
                  </a:cubicBezTo>
                  <a:cubicBezTo>
                    <a:pt x="1933" y="204"/>
                    <a:pt x="1933" y="204"/>
                    <a:pt x="1933" y="204"/>
                  </a:cubicBezTo>
                  <a:moveTo>
                    <a:pt x="2252" y="201"/>
                  </a:moveTo>
                  <a:cubicBezTo>
                    <a:pt x="2246" y="201"/>
                    <a:pt x="2240" y="206"/>
                    <a:pt x="2240" y="211"/>
                  </a:cubicBezTo>
                  <a:cubicBezTo>
                    <a:pt x="2239" y="217"/>
                    <a:pt x="2244" y="221"/>
                    <a:pt x="2250" y="221"/>
                  </a:cubicBezTo>
                  <a:cubicBezTo>
                    <a:pt x="2256" y="221"/>
                    <a:pt x="2261" y="217"/>
                    <a:pt x="2262" y="211"/>
                  </a:cubicBezTo>
                  <a:cubicBezTo>
                    <a:pt x="2262" y="205"/>
                    <a:pt x="2258" y="201"/>
                    <a:pt x="2252" y="201"/>
                  </a:cubicBezTo>
                  <a:cubicBezTo>
                    <a:pt x="2252" y="201"/>
                    <a:pt x="2252" y="201"/>
                    <a:pt x="2252" y="201"/>
                  </a:cubicBezTo>
                  <a:moveTo>
                    <a:pt x="2283" y="201"/>
                  </a:moveTo>
                  <a:cubicBezTo>
                    <a:pt x="2277" y="201"/>
                    <a:pt x="2272" y="205"/>
                    <a:pt x="2271" y="211"/>
                  </a:cubicBezTo>
                  <a:cubicBezTo>
                    <a:pt x="2271" y="217"/>
                    <a:pt x="2275" y="221"/>
                    <a:pt x="2282" y="221"/>
                  </a:cubicBezTo>
                  <a:cubicBezTo>
                    <a:pt x="2288" y="221"/>
                    <a:pt x="2293" y="216"/>
                    <a:pt x="2294" y="211"/>
                  </a:cubicBezTo>
                  <a:cubicBezTo>
                    <a:pt x="2294" y="205"/>
                    <a:pt x="2290" y="201"/>
                    <a:pt x="2284" y="201"/>
                  </a:cubicBezTo>
                  <a:cubicBezTo>
                    <a:pt x="2283" y="201"/>
                    <a:pt x="2283" y="201"/>
                    <a:pt x="2283" y="201"/>
                  </a:cubicBezTo>
                  <a:moveTo>
                    <a:pt x="2315" y="200"/>
                  </a:moveTo>
                  <a:cubicBezTo>
                    <a:pt x="2309" y="200"/>
                    <a:pt x="2303" y="205"/>
                    <a:pt x="2303" y="211"/>
                  </a:cubicBezTo>
                  <a:cubicBezTo>
                    <a:pt x="2303" y="216"/>
                    <a:pt x="2307" y="221"/>
                    <a:pt x="2313" y="221"/>
                  </a:cubicBezTo>
                  <a:cubicBezTo>
                    <a:pt x="2320" y="221"/>
                    <a:pt x="2325" y="216"/>
                    <a:pt x="2325" y="210"/>
                  </a:cubicBezTo>
                  <a:cubicBezTo>
                    <a:pt x="2326" y="205"/>
                    <a:pt x="2321" y="200"/>
                    <a:pt x="2315" y="200"/>
                  </a:cubicBezTo>
                  <a:cubicBezTo>
                    <a:pt x="2315" y="200"/>
                    <a:pt x="2315" y="200"/>
                    <a:pt x="2315" y="200"/>
                  </a:cubicBezTo>
                  <a:moveTo>
                    <a:pt x="2347" y="200"/>
                  </a:moveTo>
                  <a:cubicBezTo>
                    <a:pt x="2340" y="200"/>
                    <a:pt x="2335" y="205"/>
                    <a:pt x="2335" y="210"/>
                  </a:cubicBezTo>
                  <a:cubicBezTo>
                    <a:pt x="2334" y="216"/>
                    <a:pt x="2339" y="221"/>
                    <a:pt x="2345" y="220"/>
                  </a:cubicBezTo>
                  <a:cubicBezTo>
                    <a:pt x="2352" y="220"/>
                    <a:pt x="2357" y="216"/>
                    <a:pt x="2357" y="210"/>
                  </a:cubicBezTo>
                  <a:cubicBezTo>
                    <a:pt x="2357" y="205"/>
                    <a:pt x="2353" y="200"/>
                    <a:pt x="2347" y="200"/>
                  </a:cubicBezTo>
                  <a:cubicBezTo>
                    <a:pt x="2347" y="200"/>
                    <a:pt x="2347" y="200"/>
                    <a:pt x="2347" y="200"/>
                  </a:cubicBezTo>
                  <a:moveTo>
                    <a:pt x="2379" y="200"/>
                  </a:moveTo>
                  <a:cubicBezTo>
                    <a:pt x="2373" y="200"/>
                    <a:pt x="2368" y="204"/>
                    <a:pt x="2367" y="210"/>
                  </a:cubicBezTo>
                  <a:cubicBezTo>
                    <a:pt x="2367" y="216"/>
                    <a:pt x="2372" y="220"/>
                    <a:pt x="2378" y="220"/>
                  </a:cubicBezTo>
                  <a:cubicBezTo>
                    <a:pt x="2384" y="220"/>
                    <a:pt x="2389" y="216"/>
                    <a:pt x="2390" y="210"/>
                  </a:cubicBezTo>
                  <a:cubicBezTo>
                    <a:pt x="2390" y="204"/>
                    <a:pt x="2385" y="200"/>
                    <a:pt x="2379" y="200"/>
                  </a:cubicBezTo>
                  <a:cubicBezTo>
                    <a:pt x="2379" y="200"/>
                    <a:pt x="2379" y="200"/>
                    <a:pt x="2379" y="200"/>
                  </a:cubicBezTo>
                  <a:moveTo>
                    <a:pt x="2411" y="199"/>
                  </a:moveTo>
                  <a:cubicBezTo>
                    <a:pt x="2404" y="200"/>
                    <a:pt x="2399" y="204"/>
                    <a:pt x="2399" y="210"/>
                  </a:cubicBezTo>
                  <a:cubicBezTo>
                    <a:pt x="2399" y="215"/>
                    <a:pt x="2404" y="220"/>
                    <a:pt x="2410" y="220"/>
                  </a:cubicBezTo>
                  <a:cubicBezTo>
                    <a:pt x="2416" y="220"/>
                    <a:pt x="2421" y="215"/>
                    <a:pt x="2421" y="210"/>
                  </a:cubicBezTo>
                  <a:cubicBezTo>
                    <a:pt x="2422" y="204"/>
                    <a:pt x="2417" y="199"/>
                    <a:pt x="2411" y="199"/>
                  </a:cubicBezTo>
                  <a:cubicBezTo>
                    <a:pt x="2411" y="199"/>
                    <a:pt x="2411" y="199"/>
                    <a:pt x="2411" y="199"/>
                  </a:cubicBezTo>
                  <a:moveTo>
                    <a:pt x="2442" y="199"/>
                  </a:moveTo>
                  <a:cubicBezTo>
                    <a:pt x="2436" y="199"/>
                    <a:pt x="2431" y="204"/>
                    <a:pt x="2431" y="210"/>
                  </a:cubicBezTo>
                  <a:cubicBezTo>
                    <a:pt x="2431" y="215"/>
                    <a:pt x="2435" y="220"/>
                    <a:pt x="2442" y="220"/>
                  </a:cubicBezTo>
                  <a:cubicBezTo>
                    <a:pt x="2448" y="220"/>
                    <a:pt x="2453" y="215"/>
                    <a:pt x="2453" y="209"/>
                  </a:cubicBezTo>
                  <a:cubicBezTo>
                    <a:pt x="2453" y="204"/>
                    <a:pt x="2448" y="199"/>
                    <a:pt x="2442" y="199"/>
                  </a:cubicBezTo>
                  <a:cubicBezTo>
                    <a:pt x="2442" y="199"/>
                    <a:pt x="2442" y="199"/>
                    <a:pt x="2442" y="199"/>
                  </a:cubicBezTo>
                  <a:moveTo>
                    <a:pt x="2474" y="199"/>
                  </a:moveTo>
                  <a:cubicBezTo>
                    <a:pt x="2467" y="199"/>
                    <a:pt x="2462" y="204"/>
                    <a:pt x="2462" y="209"/>
                  </a:cubicBezTo>
                  <a:cubicBezTo>
                    <a:pt x="2462" y="215"/>
                    <a:pt x="2467" y="219"/>
                    <a:pt x="2473" y="219"/>
                  </a:cubicBezTo>
                  <a:cubicBezTo>
                    <a:pt x="2479" y="219"/>
                    <a:pt x="2485" y="215"/>
                    <a:pt x="2485" y="209"/>
                  </a:cubicBezTo>
                  <a:cubicBezTo>
                    <a:pt x="2485" y="203"/>
                    <a:pt x="2480" y="199"/>
                    <a:pt x="2474" y="199"/>
                  </a:cubicBezTo>
                  <a:cubicBezTo>
                    <a:pt x="2474" y="199"/>
                    <a:pt x="2474" y="199"/>
                    <a:pt x="2474" y="199"/>
                  </a:cubicBezTo>
                  <a:moveTo>
                    <a:pt x="2505" y="199"/>
                  </a:moveTo>
                  <a:cubicBezTo>
                    <a:pt x="2499" y="199"/>
                    <a:pt x="2494" y="203"/>
                    <a:pt x="2494" y="209"/>
                  </a:cubicBezTo>
                  <a:cubicBezTo>
                    <a:pt x="2494" y="215"/>
                    <a:pt x="2499" y="219"/>
                    <a:pt x="2505" y="219"/>
                  </a:cubicBezTo>
                  <a:cubicBezTo>
                    <a:pt x="2511" y="219"/>
                    <a:pt x="2516" y="214"/>
                    <a:pt x="2516" y="209"/>
                  </a:cubicBezTo>
                  <a:cubicBezTo>
                    <a:pt x="2516" y="203"/>
                    <a:pt x="2511" y="199"/>
                    <a:pt x="2505" y="199"/>
                  </a:cubicBezTo>
                  <a:cubicBezTo>
                    <a:pt x="2505" y="199"/>
                    <a:pt x="2505" y="199"/>
                    <a:pt x="2505" y="199"/>
                  </a:cubicBezTo>
                  <a:moveTo>
                    <a:pt x="2570" y="198"/>
                  </a:moveTo>
                  <a:cubicBezTo>
                    <a:pt x="2564" y="198"/>
                    <a:pt x="2559" y="203"/>
                    <a:pt x="2559" y="208"/>
                  </a:cubicBezTo>
                  <a:cubicBezTo>
                    <a:pt x="2559" y="214"/>
                    <a:pt x="2564" y="219"/>
                    <a:pt x="2571" y="219"/>
                  </a:cubicBezTo>
                  <a:cubicBezTo>
                    <a:pt x="2577" y="218"/>
                    <a:pt x="2582" y="214"/>
                    <a:pt x="2582" y="208"/>
                  </a:cubicBezTo>
                  <a:cubicBezTo>
                    <a:pt x="2581" y="203"/>
                    <a:pt x="2576" y="198"/>
                    <a:pt x="2570" y="198"/>
                  </a:cubicBezTo>
                  <a:cubicBezTo>
                    <a:pt x="2570" y="198"/>
                    <a:pt x="2570" y="198"/>
                    <a:pt x="2570" y="198"/>
                  </a:cubicBezTo>
                  <a:moveTo>
                    <a:pt x="2602" y="198"/>
                  </a:moveTo>
                  <a:cubicBezTo>
                    <a:pt x="2596" y="198"/>
                    <a:pt x="2591" y="202"/>
                    <a:pt x="2591" y="208"/>
                  </a:cubicBezTo>
                  <a:cubicBezTo>
                    <a:pt x="2591" y="214"/>
                    <a:pt x="2596" y="218"/>
                    <a:pt x="2603" y="218"/>
                  </a:cubicBezTo>
                  <a:cubicBezTo>
                    <a:pt x="2609" y="218"/>
                    <a:pt x="2614" y="214"/>
                    <a:pt x="2613" y="208"/>
                  </a:cubicBezTo>
                  <a:cubicBezTo>
                    <a:pt x="2613" y="202"/>
                    <a:pt x="2608" y="198"/>
                    <a:pt x="2602" y="198"/>
                  </a:cubicBezTo>
                  <a:cubicBezTo>
                    <a:pt x="2602" y="198"/>
                    <a:pt x="2602" y="198"/>
                    <a:pt x="2602" y="198"/>
                  </a:cubicBezTo>
                  <a:moveTo>
                    <a:pt x="2633" y="198"/>
                  </a:moveTo>
                  <a:cubicBezTo>
                    <a:pt x="2627" y="198"/>
                    <a:pt x="2622" y="202"/>
                    <a:pt x="2623" y="208"/>
                  </a:cubicBezTo>
                  <a:cubicBezTo>
                    <a:pt x="2623" y="213"/>
                    <a:pt x="2628" y="218"/>
                    <a:pt x="2634" y="218"/>
                  </a:cubicBezTo>
                  <a:cubicBezTo>
                    <a:pt x="2641" y="218"/>
                    <a:pt x="2645" y="213"/>
                    <a:pt x="2645" y="208"/>
                  </a:cubicBezTo>
                  <a:cubicBezTo>
                    <a:pt x="2645" y="202"/>
                    <a:pt x="2640" y="198"/>
                    <a:pt x="2633" y="198"/>
                  </a:cubicBezTo>
                  <a:cubicBezTo>
                    <a:pt x="2633" y="198"/>
                    <a:pt x="2633" y="198"/>
                    <a:pt x="2633" y="198"/>
                  </a:cubicBezTo>
                  <a:moveTo>
                    <a:pt x="2665" y="197"/>
                  </a:moveTo>
                  <a:cubicBezTo>
                    <a:pt x="2659" y="197"/>
                    <a:pt x="2654" y="202"/>
                    <a:pt x="2654" y="208"/>
                  </a:cubicBezTo>
                  <a:cubicBezTo>
                    <a:pt x="2654" y="213"/>
                    <a:pt x="2660" y="218"/>
                    <a:pt x="2666" y="218"/>
                  </a:cubicBezTo>
                  <a:cubicBezTo>
                    <a:pt x="2672" y="218"/>
                    <a:pt x="2677" y="213"/>
                    <a:pt x="2676" y="207"/>
                  </a:cubicBezTo>
                  <a:cubicBezTo>
                    <a:pt x="2676" y="202"/>
                    <a:pt x="2671" y="197"/>
                    <a:pt x="2665" y="197"/>
                  </a:cubicBezTo>
                  <a:cubicBezTo>
                    <a:pt x="2665" y="197"/>
                    <a:pt x="2665" y="197"/>
                    <a:pt x="2665" y="197"/>
                  </a:cubicBezTo>
                  <a:moveTo>
                    <a:pt x="2696" y="197"/>
                  </a:moveTo>
                  <a:cubicBezTo>
                    <a:pt x="2690" y="197"/>
                    <a:pt x="2685" y="202"/>
                    <a:pt x="2686" y="207"/>
                  </a:cubicBezTo>
                  <a:cubicBezTo>
                    <a:pt x="2686" y="213"/>
                    <a:pt x="2692" y="217"/>
                    <a:pt x="2698" y="217"/>
                  </a:cubicBezTo>
                  <a:cubicBezTo>
                    <a:pt x="2704" y="217"/>
                    <a:pt x="2709" y="213"/>
                    <a:pt x="2708" y="207"/>
                  </a:cubicBezTo>
                  <a:cubicBezTo>
                    <a:pt x="2708" y="201"/>
                    <a:pt x="2702" y="197"/>
                    <a:pt x="2696" y="197"/>
                  </a:cubicBezTo>
                  <a:cubicBezTo>
                    <a:pt x="2696" y="197"/>
                    <a:pt x="2696" y="197"/>
                    <a:pt x="2696" y="197"/>
                  </a:cubicBezTo>
                  <a:moveTo>
                    <a:pt x="2728" y="197"/>
                  </a:moveTo>
                  <a:cubicBezTo>
                    <a:pt x="2722" y="197"/>
                    <a:pt x="2717" y="201"/>
                    <a:pt x="2718" y="207"/>
                  </a:cubicBezTo>
                  <a:cubicBezTo>
                    <a:pt x="2718" y="213"/>
                    <a:pt x="2724" y="217"/>
                    <a:pt x="2730" y="217"/>
                  </a:cubicBezTo>
                  <a:cubicBezTo>
                    <a:pt x="2736" y="217"/>
                    <a:pt x="2741" y="212"/>
                    <a:pt x="2740" y="207"/>
                  </a:cubicBezTo>
                  <a:cubicBezTo>
                    <a:pt x="2740" y="201"/>
                    <a:pt x="2734" y="197"/>
                    <a:pt x="2728" y="197"/>
                  </a:cubicBezTo>
                  <a:cubicBezTo>
                    <a:pt x="2728" y="197"/>
                    <a:pt x="2728" y="197"/>
                    <a:pt x="2728" y="197"/>
                  </a:cubicBezTo>
                  <a:moveTo>
                    <a:pt x="2760" y="196"/>
                  </a:moveTo>
                  <a:cubicBezTo>
                    <a:pt x="2754" y="196"/>
                    <a:pt x="2749" y="201"/>
                    <a:pt x="2750" y="207"/>
                  </a:cubicBezTo>
                  <a:cubicBezTo>
                    <a:pt x="2751" y="212"/>
                    <a:pt x="2756" y="217"/>
                    <a:pt x="2762" y="217"/>
                  </a:cubicBezTo>
                  <a:cubicBezTo>
                    <a:pt x="2768" y="217"/>
                    <a:pt x="2773" y="212"/>
                    <a:pt x="2772" y="207"/>
                  </a:cubicBezTo>
                  <a:cubicBezTo>
                    <a:pt x="2772" y="201"/>
                    <a:pt x="2766" y="196"/>
                    <a:pt x="2760" y="196"/>
                  </a:cubicBezTo>
                  <a:cubicBezTo>
                    <a:pt x="2760" y="196"/>
                    <a:pt x="2760" y="196"/>
                    <a:pt x="2760" y="196"/>
                  </a:cubicBezTo>
                  <a:moveTo>
                    <a:pt x="2792" y="196"/>
                  </a:moveTo>
                  <a:cubicBezTo>
                    <a:pt x="2786" y="196"/>
                    <a:pt x="2781" y="201"/>
                    <a:pt x="2782" y="206"/>
                  </a:cubicBezTo>
                  <a:cubicBezTo>
                    <a:pt x="2782" y="212"/>
                    <a:pt x="2788" y="217"/>
                    <a:pt x="2794" y="217"/>
                  </a:cubicBezTo>
                  <a:cubicBezTo>
                    <a:pt x="2800" y="217"/>
                    <a:pt x="2805" y="212"/>
                    <a:pt x="2804" y="206"/>
                  </a:cubicBezTo>
                  <a:cubicBezTo>
                    <a:pt x="2803" y="201"/>
                    <a:pt x="2798" y="196"/>
                    <a:pt x="2792" y="196"/>
                  </a:cubicBezTo>
                  <a:cubicBezTo>
                    <a:pt x="2792" y="196"/>
                    <a:pt x="2792" y="196"/>
                    <a:pt x="2792" y="196"/>
                  </a:cubicBezTo>
                  <a:moveTo>
                    <a:pt x="2823" y="196"/>
                  </a:moveTo>
                  <a:cubicBezTo>
                    <a:pt x="2817" y="196"/>
                    <a:pt x="2813" y="201"/>
                    <a:pt x="2814" y="206"/>
                  </a:cubicBezTo>
                  <a:cubicBezTo>
                    <a:pt x="2814" y="212"/>
                    <a:pt x="2820" y="216"/>
                    <a:pt x="2826" y="216"/>
                  </a:cubicBezTo>
                  <a:cubicBezTo>
                    <a:pt x="2832" y="216"/>
                    <a:pt x="2837" y="212"/>
                    <a:pt x="2836" y="206"/>
                  </a:cubicBezTo>
                  <a:cubicBezTo>
                    <a:pt x="2835" y="200"/>
                    <a:pt x="2830" y="196"/>
                    <a:pt x="2824" y="196"/>
                  </a:cubicBezTo>
                  <a:cubicBezTo>
                    <a:pt x="2824" y="196"/>
                    <a:pt x="2823" y="196"/>
                    <a:pt x="2823" y="196"/>
                  </a:cubicBezTo>
                  <a:moveTo>
                    <a:pt x="2855" y="196"/>
                  </a:moveTo>
                  <a:cubicBezTo>
                    <a:pt x="2849" y="196"/>
                    <a:pt x="2844" y="200"/>
                    <a:pt x="2845" y="206"/>
                  </a:cubicBezTo>
                  <a:cubicBezTo>
                    <a:pt x="2846" y="212"/>
                    <a:pt x="2852" y="216"/>
                    <a:pt x="2858" y="216"/>
                  </a:cubicBezTo>
                  <a:cubicBezTo>
                    <a:pt x="2864" y="216"/>
                    <a:pt x="2868" y="211"/>
                    <a:pt x="2867" y="206"/>
                  </a:cubicBezTo>
                  <a:cubicBezTo>
                    <a:pt x="2867" y="200"/>
                    <a:pt x="2861" y="196"/>
                    <a:pt x="2855" y="196"/>
                  </a:cubicBezTo>
                  <a:cubicBezTo>
                    <a:pt x="2855" y="196"/>
                    <a:pt x="2855" y="196"/>
                    <a:pt x="2855" y="196"/>
                  </a:cubicBezTo>
                  <a:moveTo>
                    <a:pt x="2887" y="195"/>
                  </a:moveTo>
                  <a:cubicBezTo>
                    <a:pt x="2881" y="195"/>
                    <a:pt x="2876" y="200"/>
                    <a:pt x="2877" y="206"/>
                  </a:cubicBezTo>
                  <a:cubicBezTo>
                    <a:pt x="2878" y="211"/>
                    <a:pt x="2884" y="216"/>
                    <a:pt x="2890" y="216"/>
                  </a:cubicBezTo>
                  <a:cubicBezTo>
                    <a:pt x="2896" y="216"/>
                    <a:pt x="2900" y="211"/>
                    <a:pt x="2899" y="205"/>
                  </a:cubicBezTo>
                  <a:cubicBezTo>
                    <a:pt x="2899" y="200"/>
                    <a:pt x="2893" y="195"/>
                    <a:pt x="2887" y="195"/>
                  </a:cubicBezTo>
                  <a:cubicBezTo>
                    <a:pt x="2887" y="195"/>
                    <a:pt x="2887" y="195"/>
                    <a:pt x="2887" y="195"/>
                  </a:cubicBezTo>
                  <a:moveTo>
                    <a:pt x="2918" y="195"/>
                  </a:moveTo>
                  <a:cubicBezTo>
                    <a:pt x="2912" y="195"/>
                    <a:pt x="2908" y="200"/>
                    <a:pt x="2909" y="206"/>
                  </a:cubicBezTo>
                  <a:cubicBezTo>
                    <a:pt x="2910" y="211"/>
                    <a:pt x="2915" y="216"/>
                    <a:pt x="2921" y="216"/>
                  </a:cubicBezTo>
                  <a:cubicBezTo>
                    <a:pt x="2928" y="216"/>
                    <a:pt x="2932" y="211"/>
                    <a:pt x="2931" y="205"/>
                  </a:cubicBezTo>
                  <a:cubicBezTo>
                    <a:pt x="2930" y="200"/>
                    <a:pt x="2924" y="195"/>
                    <a:pt x="2918" y="195"/>
                  </a:cubicBezTo>
                  <a:cubicBezTo>
                    <a:pt x="2918" y="195"/>
                    <a:pt x="2918" y="195"/>
                    <a:pt x="2918" y="195"/>
                  </a:cubicBezTo>
                  <a:moveTo>
                    <a:pt x="2948" y="195"/>
                  </a:moveTo>
                  <a:cubicBezTo>
                    <a:pt x="2942" y="195"/>
                    <a:pt x="2938" y="200"/>
                    <a:pt x="2939" y="205"/>
                  </a:cubicBezTo>
                  <a:cubicBezTo>
                    <a:pt x="2940" y="211"/>
                    <a:pt x="2946" y="215"/>
                    <a:pt x="2952" y="215"/>
                  </a:cubicBezTo>
                  <a:cubicBezTo>
                    <a:pt x="2958" y="215"/>
                    <a:pt x="2962" y="211"/>
                    <a:pt x="2961" y="205"/>
                  </a:cubicBezTo>
                  <a:cubicBezTo>
                    <a:pt x="2960" y="199"/>
                    <a:pt x="2955" y="195"/>
                    <a:pt x="2948" y="195"/>
                  </a:cubicBezTo>
                  <a:cubicBezTo>
                    <a:pt x="2948" y="195"/>
                    <a:pt x="2948" y="195"/>
                    <a:pt x="2948" y="195"/>
                  </a:cubicBezTo>
                  <a:moveTo>
                    <a:pt x="2980" y="195"/>
                  </a:moveTo>
                  <a:cubicBezTo>
                    <a:pt x="2974" y="195"/>
                    <a:pt x="2970" y="199"/>
                    <a:pt x="2971" y="205"/>
                  </a:cubicBezTo>
                  <a:cubicBezTo>
                    <a:pt x="2972" y="211"/>
                    <a:pt x="2977" y="215"/>
                    <a:pt x="2984" y="215"/>
                  </a:cubicBezTo>
                  <a:cubicBezTo>
                    <a:pt x="2990" y="215"/>
                    <a:pt x="2994" y="210"/>
                    <a:pt x="2993" y="205"/>
                  </a:cubicBezTo>
                  <a:cubicBezTo>
                    <a:pt x="2992" y="199"/>
                    <a:pt x="2986" y="195"/>
                    <a:pt x="2980" y="195"/>
                  </a:cubicBezTo>
                  <a:cubicBezTo>
                    <a:pt x="2980" y="195"/>
                    <a:pt x="2980" y="195"/>
                    <a:pt x="2980" y="195"/>
                  </a:cubicBezTo>
                  <a:moveTo>
                    <a:pt x="3012" y="194"/>
                  </a:moveTo>
                  <a:cubicBezTo>
                    <a:pt x="3006" y="194"/>
                    <a:pt x="3001" y="199"/>
                    <a:pt x="3003" y="205"/>
                  </a:cubicBezTo>
                  <a:cubicBezTo>
                    <a:pt x="3004" y="210"/>
                    <a:pt x="3010" y="215"/>
                    <a:pt x="3016" y="215"/>
                  </a:cubicBezTo>
                  <a:cubicBezTo>
                    <a:pt x="3022" y="215"/>
                    <a:pt x="3026" y="210"/>
                    <a:pt x="3025" y="205"/>
                  </a:cubicBezTo>
                  <a:cubicBezTo>
                    <a:pt x="3024" y="199"/>
                    <a:pt x="3018" y="194"/>
                    <a:pt x="3012" y="194"/>
                  </a:cubicBezTo>
                  <a:cubicBezTo>
                    <a:pt x="3012" y="194"/>
                    <a:pt x="3012" y="194"/>
                    <a:pt x="3012" y="194"/>
                  </a:cubicBezTo>
                  <a:moveTo>
                    <a:pt x="3044" y="194"/>
                  </a:moveTo>
                  <a:cubicBezTo>
                    <a:pt x="3038" y="194"/>
                    <a:pt x="3034" y="199"/>
                    <a:pt x="3035" y="204"/>
                  </a:cubicBezTo>
                  <a:cubicBezTo>
                    <a:pt x="3037" y="210"/>
                    <a:pt x="3043" y="215"/>
                    <a:pt x="3049" y="215"/>
                  </a:cubicBezTo>
                  <a:cubicBezTo>
                    <a:pt x="3055" y="215"/>
                    <a:pt x="3059" y="210"/>
                    <a:pt x="3058" y="204"/>
                  </a:cubicBezTo>
                  <a:cubicBezTo>
                    <a:pt x="3057" y="199"/>
                    <a:pt x="3051" y="194"/>
                    <a:pt x="3045" y="194"/>
                  </a:cubicBezTo>
                  <a:cubicBezTo>
                    <a:pt x="3045" y="194"/>
                    <a:pt x="3045" y="194"/>
                    <a:pt x="3044" y="194"/>
                  </a:cubicBezTo>
                  <a:moveTo>
                    <a:pt x="3076" y="194"/>
                  </a:moveTo>
                  <a:cubicBezTo>
                    <a:pt x="3070" y="194"/>
                    <a:pt x="3066" y="199"/>
                    <a:pt x="3067" y="204"/>
                  </a:cubicBezTo>
                  <a:cubicBezTo>
                    <a:pt x="3068" y="210"/>
                    <a:pt x="3074" y="214"/>
                    <a:pt x="3080" y="214"/>
                  </a:cubicBezTo>
                  <a:cubicBezTo>
                    <a:pt x="3087" y="214"/>
                    <a:pt x="3091" y="210"/>
                    <a:pt x="3089" y="204"/>
                  </a:cubicBezTo>
                  <a:cubicBezTo>
                    <a:pt x="3088" y="198"/>
                    <a:pt x="3082" y="194"/>
                    <a:pt x="3076" y="194"/>
                  </a:cubicBezTo>
                  <a:cubicBezTo>
                    <a:pt x="3076" y="194"/>
                    <a:pt x="3076" y="194"/>
                    <a:pt x="3076" y="194"/>
                  </a:cubicBezTo>
                  <a:moveTo>
                    <a:pt x="3108" y="194"/>
                  </a:moveTo>
                  <a:cubicBezTo>
                    <a:pt x="3102" y="194"/>
                    <a:pt x="3098" y="198"/>
                    <a:pt x="3099" y="204"/>
                  </a:cubicBezTo>
                  <a:cubicBezTo>
                    <a:pt x="3100" y="210"/>
                    <a:pt x="3106" y="214"/>
                    <a:pt x="3112" y="214"/>
                  </a:cubicBezTo>
                  <a:cubicBezTo>
                    <a:pt x="3119" y="214"/>
                    <a:pt x="3123" y="209"/>
                    <a:pt x="3121" y="204"/>
                  </a:cubicBezTo>
                  <a:cubicBezTo>
                    <a:pt x="3120" y="198"/>
                    <a:pt x="3114" y="194"/>
                    <a:pt x="3108" y="194"/>
                  </a:cubicBezTo>
                  <a:cubicBezTo>
                    <a:pt x="3108" y="194"/>
                    <a:pt x="3108" y="194"/>
                    <a:pt x="3108" y="194"/>
                  </a:cubicBezTo>
                  <a:moveTo>
                    <a:pt x="3140" y="193"/>
                  </a:moveTo>
                  <a:cubicBezTo>
                    <a:pt x="3134" y="193"/>
                    <a:pt x="3130" y="198"/>
                    <a:pt x="3131" y="204"/>
                  </a:cubicBezTo>
                  <a:cubicBezTo>
                    <a:pt x="3133" y="209"/>
                    <a:pt x="3139" y="214"/>
                    <a:pt x="3145" y="214"/>
                  </a:cubicBezTo>
                  <a:cubicBezTo>
                    <a:pt x="3151" y="214"/>
                    <a:pt x="3155" y="209"/>
                    <a:pt x="3153" y="203"/>
                  </a:cubicBezTo>
                  <a:cubicBezTo>
                    <a:pt x="3152" y="198"/>
                    <a:pt x="3146" y="193"/>
                    <a:pt x="3140" y="193"/>
                  </a:cubicBezTo>
                  <a:cubicBezTo>
                    <a:pt x="3140" y="193"/>
                    <a:pt x="3140" y="193"/>
                    <a:pt x="3140" y="193"/>
                  </a:cubicBezTo>
                  <a:moveTo>
                    <a:pt x="3171" y="193"/>
                  </a:moveTo>
                  <a:cubicBezTo>
                    <a:pt x="3165" y="193"/>
                    <a:pt x="3161" y="198"/>
                    <a:pt x="3163" y="203"/>
                  </a:cubicBezTo>
                  <a:cubicBezTo>
                    <a:pt x="3164" y="209"/>
                    <a:pt x="3170" y="214"/>
                    <a:pt x="3177" y="213"/>
                  </a:cubicBezTo>
                  <a:cubicBezTo>
                    <a:pt x="3183" y="213"/>
                    <a:pt x="3187" y="209"/>
                    <a:pt x="3185" y="203"/>
                  </a:cubicBezTo>
                  <a:cubicBezTo>
                    <a:pt x="3184" y="198"/>
                    <a:pt x="3178" y="193"/>
                    <a:pt x="3171" y="193"/>
                  </a:cubicBezTo>
                  <a:cubicBezTo>
                    <a:pt x="3171" y="193"/>
                    <a:pt x="3171" y="193"/>
                    <a:pt x="3171" y="193"/>
                  </a:cubicBezTo>
                  <a:moveTo>
                    <a:pt x="3203" y="193"/>
                  </a:moveTo>
                  <a:cubicBezTo>
                    <a:pt x="3197" y="193"/>
                    <a:pt x="3193" y="197"/>
                    <a:pt x="3195" y="203"/>
                  </a:cubicBezTo>
                  <a:cubicBezTo>
                    <a:pt x="3196" y="209"/>
                    <a:pt x="3202" y="213"/>
                    <a:pt x="3209" y="213"/>
                  </a:cubicBezTo>
                  <a:cubicBezTo>
                    <a:pt x="3215" y="213"/>
                    <a:pt x="3218" y="209"/>
                    <a:pt x="3217" y="203"/>
                  </a:cubicBezTo>
                  <a:cubicBezTo>
                    <a:pt x="3215" y="197"/>
                    <a:pt x="3209" y="193"/>
                    <a:pt x="3203" y="193"/>
                  </a:cubicBezTo>
                  <a:cubicBezTo>
                    <a:pt x="3203" y="193"/>
                    <a:pt x="3203" y="193"/>
                    <a:pt x="3203" y="193"/>
                  </a:cubicBezTo>
                  <a:moveTo>
                    <a:pt x="3235" y="192"/>
                  </a:moveTo>
                  <a:cubicBezTo>
                    <a:pt x="3228" y="192"/>
                    <a:pt x="3225" y="197"/>
                    <a:pt x="3226" y="203"/>
                  </a:cubicBezTo>
                  <a:cubicBezTo>
                    <a:pt x="3228" y="208"/>
                    <a:pt x="3234" y="213"/>
                    <a:pt x="3240" y="213"/>
                  </a:cubicBezTo>
                  <a:cubicBezTo>
                    <a:pt x="3246" y="213"/>
                    <a:pt x="3250" y="208"/>
                    <a:pt x="3249" y="203"/>
                  </a:cubicBezTo>
                  <a:cubicBezTo>
                    <a:pt x="3247" y="197"/>
                    <a:pt x="3241" y="192"/>
                    <a:pt x="3235" y="192"/>
                  </a:cubicBezTo>
                  <a:cubicBezTo>
                    <a:pt x="3235" y="192"/>
                    <a:pt x="3235" y="192"/>
                    <a:pt x="3235" y="192"/>
                  </a:cubicBezTo>
                  <a:moveTo>
                    <a:pt x="3266" y="192"/>
                  </a:moveTo>
                  <a:cubicBezTo>
                    <a:pt x="3260" y="192"/>
                    <a:pt x="3256" y="197"/>
                    <a:pt x="3258" y="202"/>
                  </a:cubicBezTo>
                  <a:cubicBezTo>
                    <a:pt x="3260" y="208"/>
                    <a:pt x="3266" y="213"/>
                    <a:pt x="3272" y="213"/>
                  </a:cubicBezTo>
                  <a:cubicBezTo>
                    <a:pt x="3278" y="213"/>
                    <a:pt x="3282" y="208"/>
                    <a:pt x="3280" y="202"/>
                  </a:cubicBezTo>
                  <a:cubicBezTo>
                    <a:pt x="3279" y="197"/>
                    <a:pt x="3272" y="192"/>
                    <a:pt x="3266" y="192"/>
                  </a:cubicBezTo>
                  <a:cubicBezTo>
                    <a:pt x="3266" y="192"/>
                    <a:pt x="3266" y="192"/>
                    <a:pt x="3266" y="192"/>
                  </a:cubicBezTo>
                  <a:moveTo>
                    <a:pt x="3298" y="192"/>
                  </a:moveTo>
                  <a:cubicBezTo>
                    <a:pt x="3291" y="192"/>
                    <a:pt x="3288" y="197"/>
                    <a:pt x="3290" y="202"/>
                  </a:cubicBezTo>
                  <a:cubicBezTo>
                    <a:pt x="3291" y="208"/>
                    <a:pt x="3298" y="212"/>
                    <a:pt x="3304" y="212"/>
                  </a:cubicBezTo>
                  <a:cubicBezTo>
                    <a:pt x="3310" y="212"/>
                    <a:pt x="3314" y="208"/>
                    <a:pt x="3312" y="202"/>
                  </a:cubicBezTo>
                  <a:cubicBezTo>
                    <a:pt x="3310" y="196"/>
                    <a:pt x="3304" y="192"/>
                    <a:pt x="3298" y="192"/>
                  </a:cubicBezTo>
                  <a:cubicBezTo>
                    <a:pt x="3298" y="192"/>
                    <a:pt x="3298" y="192"/>
                    <a:pt x="3298" y="192"/>
                  </a:cubicBezTo>
                  <a:moveTo>
                    <a:pt x="3329" y="192"/>
                  </a:moveTo>
                  <a:cubicBezTo>
                    <a:pt x="3323" y="192"/>
                    <a:pt x="3320" y="196"/>
                    <a:pt x="3321" y="202"/>
                  </a:cubicBezTo>
                  <a:cubicBezTo>
                    <a:pt x="3323" y="208"/>
                    <a:pt x="3330" y="212"/>
                    <a:pt x="3336" y="212"/>
                  </a:cubicBezTo>
                  <a:cubicBezTo>
                    <a:pt x="3342" y="212"/>
                    <a:pt x="3346" y="207"/>
                    <a:pt x="3344" y="202"/>
                  </a:cubicBezTo>
                  <a:cubicBezTo>
                    <a:pt x="3342" y="196"/>
                    <a:pt x="3336" y="192"/>
                    <a:pt x="3329" y="192"/>
                  </a:cubicBezTo>
                  <a:cubicBezTo>
                    <a:pt x="3329" y="192"/>
                    <a:pt x="3329" y="192"/>
                    <a:pt x="3329" y="192"/>
                  </a:cubicBezTo>
                  <a:moveTo>
                    <a:pt x="3362" y="191"/>
                  </a:moveTo>
                  <a:cubicBezTo>
                    <a:pt x="3356" y="191"/>
                    <a:pt x="3352" y="196"/>
                    <a:pt x="3354" y="202"/>
                  </a:cubicBezTo>
                  <a:cubicBezTo>
                    <a:pt x="3356" y="207"/>
                    <a:pt x="3363" y="212"/>
                    <a:pt x="3369" y="212"/>
                  </a:cubicBezTo>
                  <a:cubicBezTo>
                    <a:pt x="3375" y="212"/>
                    <a:pt x="3378" y="207"/>
                    <a:pt x="3377" y="201"/>
                  </a:cubicBezTo>
                  <a:cubicBezTo>
                    <a:pt x="3375" y="196"/>
                    <a:pt x="3368" y="191"/>
                    <a:pt x="3362" y="191"/>
                  </a:cubicBezTo>
                  <a:cubicBezTo>
                    <a:pt x="3362" y="191"/>
                    <a:pt x="3362" y="191"/>
                    <a:pt x="3362" y="191"/>
                  </a:cubicBezTo>
                  <a:moveTo>
                    <a:pt x="3394" y="191"/>
                  </a:moveTo>
                  <a:cubicBezTo>
                    <a:pt x="3387" y="191"/>
                    <a:pt x="3384" y="196"/>
                    <a:pt x="3386" y="201"/>
                  </a:cubicBezTo>
                  <a:cubicBezTo>
                    <a:pt x="3388" y="207"/>
                    <a:pt x="3394" y="212"/>
                    <a:pt x="3400" y="212"/>
                  </a:cubicBezTo>
                  <a:cubicBezTo>
                    <a:pt x="3407" y="211"/>
                    <a:pt x="3410" y="207"/>
                    <a:pt x="3408" y="201"/>
                  </a:cubicBezTo>
                  <a:cubicBezTo>
                    <a:pt x="3406" y="196"/>
                    <a:pt x="3400" y="191"/>
                    <a:pt x="3394" y="191"/>
                  </a:cubicBezTo>
                  <a:cubicBezTo>
                    <a:pt x="3394" y="191"/>
                    <a:pt x="3394" y="191"/>
                    <a:pt x="3394" y="191"/>
                  </a:cubicBezTo>
                  <a:moveTo>
                    <a:pt x="3425" y="191"/>
                  </a:moveTo>
                  <a:cubicBezTo>
                    <a:pt x="3419" y="191"/>
                    <a:pt x="3416" y="195"/>
                    <a:pt x="3418" y="201"/>
                  </a:cubicBezTo>
                  <a:cubicBezTo>
                    <a:pt x="3420" y="207"/>
                    <a:pt x="3426" y="211"/>
                    <a:pt x="3433" y="211"/>
                  </a:cubicBezTo>
                  <a:cubicBezTo>
                    <a:pt x="3439" y="211"/>
                    <a:pt x="3442" y="207"/>
                    <a:pt x="3440" y="201"/>
                  </a:cubicBezTo>
                  <a:cubicBezTo>
                    <a:pt x="3438" y="195"/>
                    <a:pt x="3432" y="191"/>
                    <a:pt x="3425" y="191"/>
                  </a:cubicBezTo>
                  <a:cubicBezTo>
                    <a:pt x="3425" y="191"/>
                    <a:pt x="3425" y="191"/>
                    <a:pt x="3425" y="191"/>
                  </a:cubicBezTo>
                  <a:moveTo>
                    <a:pt x="3457" y="190"/>
                  </a:moveTo>
                  <a:cubicBezTo>
                    <a:pt x="3451" y="190"/>
                    <a:pt x="3448" y="195"/>
                    <a:pt x="3450" y="201"/>
                  </a:cubicBezTo>
                  <a:cubicBezTo>
                    <a:pt x="3452" y="206"/>
                    <a:pt x="3459" y="211"/>
                    <a:pt x="3465" y="211"/>
                  </a:cubicBezTo>
                  <a:cubicBezTo>
                    <a:pt x="3471" y="211"/>
                    <a:pt x="3474" y="206"/>
                    <a:pt x="3472" y="201"/>
                  </a:cubicBezTo>
                  <a:cubicBezTo>
                    <a:pt x="3470" y="195"/>
                    <a:pt x="3464" y="190"/>
                    <a:pt x="3457" y="190"/>
                  </a:cubicBezTo>
                  <a:cubicBezTo>
                    <a:pt x="3457" y="190"/>
                    <a:pt x="3457" y="190"/>
                    <a:pt x="3457" y="190"/>
                  </a:cubicBezTo>
                  <a:moveTo>
                    <a:pt x="3489" y="190"/>
                  </a:moveTo>
                  <a:cubicBezTo>
                    <a:pt x="3483" y="190"/>
                    <a:pt x="3479" y="195"/>
                    <a:pt x="3482" y="201"/>
                  </a:cubicBezTo>
                  <a:cubicBezTo>
                    <a:pt x="3484" y="206"/>
                    <a:pt x="3490" y="211"/>
                    <a:pt x="3497" y="211"/>
                  </a:cubicBezTo>
                  <a:cubicBezTo>
                    <a:pt x="3503" y="211"/>
                    <a:pt x="3506" y="206"/>
                    <a:pt x="3504" y="200"/>
                  </a:cubicBezTo>
                  <a:cubicBezTo>
                    <a:pt x="3502" y="195"/>
                    <a:pt x="3495" y="190"/>
                    <a:pt x="3489" y="190"/>
                  </a:cubicBezTo>
                  <a:cubicBezTo>
                    <a:pt x="3489" y="190"/>
                    <a:pt x="3489" y="190"/>
                    <a:pt x="3489" y="190"/>
                  </a:cubicBezTo>
                  <a:moveTo>
                    <a:pt x="3520" y="190"/>
                  </a:moveTo>
                  <a:cubicBezTo>
                    <a:pt x="3514" y="190"/>
                    <a:pt x="3511" y="195"/>
                    <a:pt x="3513" y="200"/>
                  </a:cubicBezTo>
                  <a:cubicBezTo>
                    <a:pt x="3516" y="206"/>
                    <a:pt x="3522" y="210"/>
                    <a:pt x="3528" y="210"/>
                  </a:cubicBezTo>
                  <a:cubicBezTo>
                    <a:pt x="3535" y="210"/>
                    <a:pt x="3538" y="206"/>
                    <a:pt x="3536" y="200"/>
                  </a:cubicBezTo>
                  <a:cubicBezTo>
                    <a:pt x="3533" y="194"/>
                    <a:pt x="3527" y="190"/>
                    <a:pt x="3521" y="190"/>
                  </a:cubicBezTo>
                  <a:cubicBezTo>
                    <a:pt x="3521" y="190"/>
                    <a:pt x="3521" y="190"/>
                    <a:pt x="3520" y="190"/>
                  </a:cubicBezTo>
                  <a:moveTo>
                    <a:pt x="3552" y="190"/>
                  </a:moveTo>
                  <a:cubicBezTo>
                    <a:pt x="3546" y="190"/>
                    <a:pt x="3543" y="194"/>
                    <a:pt x="3545" y="200"/>
                  </a:cubicBezTo>
                  <a:cubicBezTo>
                    <a:pt x="3547" y="206"/>
                    <a:pt x="3554" y="210"/>
                    <a:pt x="3560" y="210"/>
                  </a:cubicBezTo>
                  <a:cubicBezTo>
                    <a:pt x="3566" y="210"/>
                    <a:pt x="3569" y="205"/>
                    <a:pt x="3567" y="200"/>
                  </a:cubicBezTo>
                  <a:cubicBezTo>
                    <a:pt x="3565" y="194"/>
                    <a:pt x="3558" y="190"/>
                    <a:pt x="3552" y="190"/>
                  </a:cubicBezTo>
                  <a:cubicBezTo>
                    <a:pt x="3552" y="190"/>
                    <a:pt x="3552" y="190"/>
                    <a:pt x="3552" y="190"/>
                  </a:cubicBezTo>
                  <a:moveTo>
                    <a:pt x="3584" y="189"/>
                  </a:moveTo>
                  <a:cubicBezTo>
                    <a:pt x="3578" y="189"/>
                    <a:pt x="3575" y="194"/>
                    <a:pt x="3577" y="200"/>
                  </a:cubicBezTo>
                  <a:cubicBezTo>
                    <a:pt x="3580" y="205"/>
                    <a:pt x="3586" y="210"/>
                    <a:pt x="3593" y="210"/>
                  </a:cubicBezTo>
                  <a:cubicBezTo>
                    <a:pt x="3599" y="210"/>
                    <a:pt x="3602" y="205"/>
                    <a:pt x="3600" y="199"/>
                  </a:cubicBezTo>
                  <a:cubicBezTo>
                    <a:pt x="3597" y="194"/>
                    <a:pt x="3590" y="189"/>
                    <a:pt x="3584" y="189"/>
                  </a:cubicBezTo>
                  <a:cubicBezTo>
                    <a:pt x="3584" y="189"/>
                    <a:pt x="3584" y="189"/>
                    <a:pt x="3584" y="189"/>
                  </a:cubicBezTo>
                  <a:moveTo>
                    <a:pt x="3616" y="189"/>
                  </a:moveTo>
                  <a:cubicBezTo>
                    <a:pt x="3610" y="189"/>
                    <a:pt x="3607" y="194"/>
                    <a:pt x="3609" y="199"/>
                  </a:cubicBezTo>
                  <a:cubicBezTo>
                    <a:pt x="3612" y="205"/>
                    <a:pt x="3618" y="210"/>
                    <a:pt x="3625" y="210"/>
                  </a:cubicBezTo>
                  <a:cubicBezTo>
                    <a:pt x="3631" y="210"/>
                    <a:pt x="3634" y="205"/>
                    <a:pt x="3631" y="199"/>
                  </a:cubicBezTo>
                  <a:cubicBezTo>
                    <a:pt x="3629" y="194"/>
                    <a:pt x="3622" y="189"/>
                    <a:pt x="3616" y="189"/>
                  </a:cubicBezTo>
                  <a:cubicBezTo>
                    <a:pt x="3616" y="189"/>
                    <a:pt x="3616" y="189"/>
                    <a:pt x="3616" y="189"/>
                  </a:cubicBezTo>
                  <a:moveTo>
                    <a:pt x="3649" y="189"/>
                  </a:moveTo>
                  <a:cubicBezTo>
                    <a:pt x="3642" y="189"/>
                    <a:pt x="3639" y="193"/>
                    <a:pt x="3642" y="199"/>
                  </a:cubicBezTo>
                  <a:cubicBezTo>
                    <a:pt x="3644" y="205"/>
                    <a:pt x="3651" y="209"/>
                    <a:pt x="3658" y="209"/>
                  </a:cubicBezTo>
                  <a:cubicBezTo>
                    <a:pt x="3664" y="209"/>
                    <a:pt x="3667" y="205"/>
                    <a:pt x="3664" y="199"/>
                  </a:cubicBezTo>
                  <a:cubicBezTo>
                    <a:pt x="3662" y="193"/>
                    <a:pt x="3655" y="189"/>
                    <a:pt x="3649" y="189"/>
                  </a:cubicBezTo>
                  <a:cubicBezTo>
                    <a:pt x="3649" y="189"/>
                    <a:pt x="3649" y="189"/>
                    <a:pt x="3649" y="189"/>
                  </a:cubicBezTo>
                  <a:moveTo>
                    <a:pt x="360" y="189"/>
                  </a:moveTo>
                  <a:cubicBezTo>
                    <a:pt x="353" y="189"/>
                    <a:pt x="345" y="193"/>
                    <a:pt x="340" y="199"/>
                  </a:cubicBezTo>
                  <a:cubicBezTo>
                    <a:pt x="335" y="204"/>
                    <a:pt x="337" y="209"/>
                    <a:pt x="343" y="209"/>
                  </a:cubicBezTo>
                  <a:cubicBezTo>
                    <a:pt x="349" y="209"/>
                    <a:pt x="358" y="204"/>
                    <a:pt x="362" y="199"/>
                  </a:cubicBezTo>
                  <a:cubicBezTo>
                    <a:pt x="367" y="193"/>
                    <a:pt x="366" y="189"/>
                    <a:pt x="360" y="189"/>
                  </a:cubicBezTo>
                  <a:cubicBezTo>
                    <a:pt x="360" y="189"/>
                    <a:pt x="360" y="189"/>
                    <a:pt x="360" y="189"/>
                  </a:cubicBezTo>
                  <a:moveTo>
                    <a:pt x="3680" y="188"/>
                  </a:moveTo>
                  <a:cubicBezTo>
                    <a:pt x="3674" y="189"/>
                    <a:pt x="3671" y="193"/>
                    <a:pt x="3673" y="199"/>
                  </a:cubicBezTo>
                  <a:cubicBezTo>
                    <a:pt x="3676" y="205"/>
                    <a:pt x="3683" y="209"/>
                    <a:pt x="3689" y="209"/>
                  </a:cubicBezTo>
                  <a:cubicBezTo>
                    <a:pt x="3695" y="209"/>
                    <a:pt x="3698" y="204"/>
                    <a:pt x="3696" y="199"/>
                  </a:cubicBezTo>
                  <a:cubicBezTo>
                    <a:pt x="3693" y="193"/>
                    <a:pt x="3686" y="188"/>
                    <a:pt x="3680" y="188"/>
                  </a:cubicBezTo>
                  <a:cubicBezTo>
                    <a:pt x="3680" y="188"/>
                    <a:pt x="3680" y="188"/>
                    <a:pt x="3680" y="188"/>
                  </a:cubicBezTo>
                  <a:moveTo>
                    <a:pt x="391" y="188"/>
                  </a:moveTo>
                  <a:cubicBezTo>
                    <a:pt x="385" y="188"/>
                    <a:pt x="376" y="193"/>
                    <a:pt x="372" y="198"/>
                  </a:cubicBezTo>
                  <a:cubicBezTo>
                    <a:pt x="367" y="204"/>
                    <a:pt x="369" y="209"/>
                    <a:pt x="375" y="209"/>
                  </a:cubicBezTo>
                  <a:cubicBezTo>
                    <a:pt x="381" y="208"/>
                    <a:pt x="390" y="204"/>
                    <a:pt x="394" y="198"/>
                  </a:cubicBezTo>
                  <a:cubicBezTo>
                    <a:pt x="399" y="193"/>
                    <a:pt x="397" y="188"/>
                    <a:pt x="391" y="188"/>
                  </a:cubicBezTo>
                  <a:cubicBezTo>
                    <a:pt x="391" y="188"/>
                    <a:pt x="391" y="188"/>
                    <a:pt x="391" y="188"/>
                  </a:cubicBezTo>
                  <a:moveTo>
                    <a:pt x="3712" y="188"/>
                  </a:moveTo>
                  <a:cubicBezTo>
                    <a:pt x="3706" y="188"/>
                    <a:pt x="3703" y="193"/>
                    <a:pt x="3705" y="199"/>
                  </a:cubicBezTo>
                  <a:cubicBezTo>
                    <a:pt x="3708" y="204"/>
                    <a:pt x="3715" y="209"/>
                    <a:pt x="3721" y="209"/>
                  </a:cubicBezTo>
                  <a:cubicBezTo>
                    <a:pt x="3727" y="209"/>
                    <a:pt x="3730" y="204"/>
                    <a:pt x="3728" y="198"/>
                  </a:cubicBezTo>
                  <a:cubicBezTo>
                    <a:pt x="3725" y="193"/>
                    <a:pt x="3718" y="188"/>
                    <a:pt x="3712" y="188"/>
                  </a:cubicBezTo>
                  <a:cubicBezTo>
                    <a:pt x="3712" y="188"/>
                    <a:pt x="3712" y="188"/>
                    <a:pt x="3712" y="188"/>
                  </a:cubicBezTo>
                  <a:moveTo>
                    <a:pt x="424" y="188"/>
                  </a:moveTo>
                  <a:cubicBezTo>
                    <a:pt x="418" y="188"/>
                    <a:pt x="409" y="193"/>
                    <a:pt x="405" y="198"/>
                  </a:cubicBezTo>
                  <a:cubicBezTo>
                    <a:pt x="400" y="204"/>
                    <a:pt x="402" y="208"/>
                    <a:pt x="408" y="208"/>
                  </a:cubicBezTo>
                  <a:cubicBezTo>
                    <a:pt x="414" y="208"/>
                    <a:pt x="423" y="204"/>
                    <a:pt x="427" y="198"/>
                  </a:cubicBezTo>
                  <a:cubicBezTo>
                    <a:pt x="432" y="192"/>
                    <a:pt x="430" y="188"/>
                    <a:pt x="424" y="188"/>
                  </a:cubicBezTo>
                  <a:cubicBezTo>
                    <a:pt x="424" y="188"/>
                    <a:pt x="424" y="188"/>
                    <a:pt x="424" y="188"/>
                  </a:cubicBezTo>
                  <a:moveTo>
                    <a:pt x="3744" y="188"/>
                  </a:moveTo>
                  <a:cubicBezTo>
                    <a:pt x="3738" y="188"/>
                    <a:pt x="3735" y="193"/>
                    <a:pt x="3737" y="198"/>
                  </a:cubicBezTo>
                  <a:cubicBezTo>
                    <a:pt x="3740" y="204"/>
                    <a:pt x="3747" y="209"/>
                    <a:pt x="3753" y="208"/>
                  </a:cubicBezTo>
                  <a:cubicBezTo>
                    <a:pt x="3760" y="208"/>
                    <a:pt x="3762" y="204"/>
                    <a:pt x="3760" y="198"/>
                  </a:cubicBezTo>
                  <a:cubicBezTo>
                    <a:pt x="3757" y="192"/>
                    <a:pt x="3750" y="188"/>
                    <a:pt x="3744" y="188"/>
                  </a:cubicBezTo>
                  <a:cubicBezTo>
                    <a:pt x="3744" y="188"/>
                    <a:pt x="3744" y="188"/>
                    <a:pt x="3744" y="188"/>
                  </a:cubicBezTo>
                  <a:moveTo>
                    <a:pt x="456" y="188"/>
                  </a:moveTo>
                  <a:cubicBezTo>
                    <a:pt x="449" y="188"/>
                    <a:pt x="441" y="192"/>
                    <a:pt x="436" y="198"/>
                  </a:cubicBezTo>
                  <a:cubicBezTo>
                    <a:pt x="432" y="204"/>
                    <a:pt x="433" y="208"/>
                    <a:pt x="440" y="208"/>
                  </a:cubicBezTo>
                  <a:cubicBezTo>
                    <a:pt x="446" y="208"/>
                    <a:pt x="454" y="203"/>
                    <a:pt x="459" y="198"/>
                  </a:cubicBezTo>
                  <a:cubicBezTo>
                    <a:pt x="463" y="192"/>
                    <a:pt x="462" y="188"/>
                    <a:pt x="456" y="188"/>
                  </a:cubicBezTo>
                  <a:cubicBezTo>
                    <a:pt x="456" y="188"/>
                    <a:pt x="456" y="188"/>
                    <a:pt x="456" y="188"/>
                  </a:cubicBezTo>
                  <a:moveTo>
                    <a:pt x="3775" y="188"/>
                  </a:moveTo>
                  <a:cubicBezTo>
                    <a:pt x="3769" y="188"/>
                    <a:pt x="3766" y="192"/>
                    <a:pt x="3769" y="198"/>
                  </a:cubicBezTo>
                  <a:cubicBezTo>
                    <a:pt x="3772" y="204"/>
                    <a:pt x="3779" y="208"/>
                    <a:pt x="3785" y="208"/>
                  </a:cubicBezTo>
                  <a:cubicBezTo>
                    <a:pt x="3791" y="208"/>
                    <a:pt x="3794" y="203"/>
                    <a:pt x="3791" y="198"/>
                  </a:cubicBezTo>
                  <a:cubicBezTo>
                    <a:pt x="3789" y="192"/>
                    <a:pt x="3781" y="188"/>
                    <a:pt x="3775" y="188"/>
                  </a:cubicBezTo>
                  <a:cubicBezTo>
                    <a:pt x="3775" y="188"/>
                    <a:pt x="3775" y="188"/>
                    <a:pt x="3775" y="188"/>
                  </a:cubicBezTo>
                  <a:moveTo>
                    <a:pt x="487" y="187"/>
                  </a:moveTo>
                  <a:cubicBezTo>
                    <a:pt x="481" y="187"/>
                    <a:pt x="473" y="192"/>
                    <a:pt x="468" y="198"/>
                  </a:cubicBezTo>
                  <a:cubicBezTo>
                    <a:pt x="464" y="203"/>
                    <a:pt x="465" y="208"/>
                    <a:pt x="471" y="208"/>
                  </a:cubicBezTo>
                  <a:cubicBezTo>
                    <a:pt x="478" y="208"/>
                    <a:pt x="486" y="203"/>
                    <a:pt x="490" y="197"/>
                  </a:cubicBezTo>
                  <a:cubicBezTo>
                    <a:pt x="495" y="192"/>
                    <a:pt x="493" y="187"/>
                    <a:pt x="487" y="187"/>
                  </a:cubicBezTo>
                  <a:cubicBezTo>
                    <a:pt x="487" y="187"/>
                    <a:pt x="487" y="187"/>
                    <a:pt x="487" y="187"/>
                  </a:cubicBezTo>
                  <a:moveTo>
                    <a:pt x="3807" y="187"/>
                  </a:moveTo>
                  <a:cubicBezTo>
                    <a:pt x="3801" y="187"/>
                    <a:pt x="3798" y="192"/>
                    <a:pt x="3801" y="198"/>
                  </a:cubicBezTo>
                  <a:cubicBezTo>
                    <a:pt x="3804" y="203"/>
                    <a:pt x="3811" y="208"/>
                    <a:pt x="3817" y="208"/>
                  </a:cubicBezTo>
                  <a:cubicBezTo>
                    <a:pt x="3823" y="208"/>
                    <a:pt x="3826" y="203"/>
                    <a:pt x="3823" y="198"/>
                  </a:cubicBezTo>
                  <a:cubicBezTo>
                    <a:pt x="3820" y="192"/>
                    <a:pt x="3813" y="187"/>
                    <a:pt x="3807" y="187"/>
                  </a:cubicBezTo>
                  <a:cubicBezTo>
                    <a:pt x="3807" y="187"/>
                    <a:pt x="3807" y="187"/>
                    <a:pt x="3807" y="187"/>
                  </a:cubicBezTo>
                  <a:moveTo>
                    <a:pt x="520" y="187"/>
                  </a:moveTo>
                  <a:cubicBezTo>
                    <a:pt x="514" y="187"/>
                    <a:pt x="505" y="192"/>
                    <a:pt x="501" y="197"/>
                  </a:cubicBezTo>
                  <a:cubicBezTo>
                    <a:pt x="497" y="203"/>
                    <a:pt x="498" y="207"/>
                    <a:pt x="505" y="207"/>
                  </a:cubicBezTo>
                  <a:cubicBezTo>
                    <a:pt x="511" y="207"/>
                    <a:pt x="519" y="203"/>
                    <a:pt x="523" y="197"/>
                  </a:cubicBezTo>
                  <a:cubicBezTo>
                    <a:pt x="528" y="192"/>
                    <a:pt x="526" y="187"/>
                    <a:pt x="520" y="187"/>
                  </a:cubicBezTo>
                  <a:cubicBezTo>
                    <a:pt x="520" y="187"/>
                    <a:pt x="520" y="187"/>
                    <a:pt x="520" y="187"/>
                  </a:cubicBezTo>
                  <a:moveTo>
                    <a:pt x="3838" y="187"/>
                  </a:moveTo>
                  <a:cubicBezTo>
                    <a:pt x="3832" y="187"/>
                    <a:pt x="3830" y="192"/>
                    <a:pt x="3832" y="197"/>
                  </a:cubicBezTo>
                  <a:cubicBezTo>
                    <a:pt x="3835" y="203"/>
                    <a:pt x="3843" y="208"/>
                    <a:pt x="3849" y="208"/>
                  </a:cubicBezTo>
                  <a:cubicBezTo>
                    <a:pt x="3855" y="208"/>
                    <a:pt x="3858" y="203"/>
                    <a:pt x="3855" y="197"/>
                  </a:cubicBezTo>
                  <a:cubicBezTo>
                    <a:pt x="3852" y="192"/>
                    <a:pt x="3844" y="187"/>
                    <a:pt x="3838" y="187"/>
                  </a:cubicBezTo>
                  <a:cubicBezTo>
                    <a:pt x="3838" y="187"/>
                    <a:pt x="3838" y="187"/>
                    <a:pt x="3838" y="187"/>
                  </a:cubicBezTo>
                  <a:moveTo>
                    <a:pt x="551" y="187"/>
                  </a:moveTo>
                  <a:cubicBezTo>
                    <a:pt x="545" y="187"/>
                    <a:pt x="537" y="191"/>
                    <a:pt x="533" y="197"/>
                  </a:cubicBezTo>
                  <a:cubicBezTo>
                    <a:pt x="528" y="203"/>
                    <a:pt x="530" y="207"/>
                    <a:pt x="536" y="207"/>
                  </a:cubicBezTo>
                  <a:cubicBezTo>
                    <a:pt x="542" y="207"/>
                    <a:pt x="551" y="202"/>
                    <a:pt x="555" y="197"/>
                  </a:cubicBezTo>
                  <a:cubicBezTo>
                    <a:pt x="559" y="191"/>
                    <a:pt x="558" y="187"/>
                    <a:pt x="552" y="187"/>
                  </a:cubicBezTo>
                  <a:cubicBezTo>
                    <a:pt x="552" y="187"/>
                    <a:pt x="551" y="187"/>
                    <a:pt x="551" y="187"/>
                  </a:cubicBezTo>
                  <a:moveTo>
                    <a:pt x="3870" y="187"/>
                  </a:moveTo>
                  <a:cubicBezTo>
                    <a:pt x="3864" y="187"/>
                    <a:pt x="3861" y="191"/>
                    <a:pt x="3864" y="197"/>
                  </a:cubicBezTo>
                  <a:cubicBezTo>
                    <a:pt x="3867" y="203"/>
                    <a:pt x="3874" y="207"/>
                    <a:pt x="3880" y="207"/>
                  </a:cubicBezTo>
                  <a:cubicBezTo>
                    <a:pt x="3887" y="207"/>
                    <a:pt x="3889" y="203"/>
                    <a:pt x="3886" y="197"/>
                  </a:cubicBezTo>
                  <a:cubicBezTo>
                    <a:pt x="3883" y="191"/>
                    <a:pt x="3876" y="187"/>
                    <a:pt x="3870" y="187"/>
                  </a:cubicBezTo>
                  <a:cubicBezTo>
                    <a:pt x="3870" y="187"/>
                    <a:pt x="3870" y="187"/>
                    <a:pt x="3870" y="187"/>
                  </a:cubicBezTo>
                  <a:moveTo>
                    <a:pt x="583" y="187"/>
                  </a:moveTo>
                  <a:cubicBezTo>
                    <a:pt x="577" y="187"/>
                    <a:pt x="569" y="191"/>
                    <a:pt x="564" y="197"/>
                  </a:cubicBezTo>
                  <a:cubicBezTo>
                    <a:pt x="560" y="202"/>
                    <a:pt x="562" y="207"/>
                    <a:pt x="568" y="207"/>
                  </a:cubicBezTo>
                  <a:cubicBezTo>
                    <a:pt x="574" y="207"/>
                    <a:pt x="583" y="202"/>
                    <a:pt x="587" y="197"/>
                  </a:cubicBezTo>
                  <a:cubicBezTo>
                    <a:pt x="591" y="191"/>
                    <a:pt x="589" y="187"/>
                    <a:pt x="583" y="187"/>
                  </a:cubicBezTo>
                  <a:cubicBezTo>
                    <a:pt x="583" y="187"/>
                    <a:pt x="583" y="187"/>
                    <a:pt x="583" y="187"/>
                  </a:cubicBezTo>
                  <a:moveTo>
                    <a:pt x="3901" y="186"/>
                  </a:moveTo>
                  <a:cubicBezTo>
                    <a:pt x="3895" y="187"/>
                    <a:pt x="3893" y="191"/>
                    <a:pt x="3896" y="197"/>
                  </a:cubicBezTo>
                  <a:cubicBezTo>
                    <a:pt x="3899" y="203"/>
                    <a:pt x="3906" y="207"/>
                    <a:pt x="3912" y="207"/>
                  </a:cubicBezTo>
                  <a:cubicBezTo>
                    <a:pt x="3918" y="207"/>
                    <a:pt x="3921" y="202"/>
                    <a:pt x="3918" y="197"/>
                  </a:cubicBezTo>
                  <a:cubicBezTo>
                    <a:pt x="3915" y="191"/>
                    <a:pt x="3907" y="186"/>
                    <a:pt x="3901" y="186"/>
                  </a:cubicBezTo>
                  <a:cubicBezTo>
                    <a:pt x="3901" y="186"/>
                    <a:pt x="3901" y="186"/>
                    <a:pt x="3901" y="186"/>
                  </a:cubicBezTo>
                  <a:moveTo>
                    <a:pt x="614" y="186"/>
                  </a:moveTo>
                  <a:cubicBezTo>
                    <a:pt x="608" y="186"/>
                    <a:pt x="600" y="191"/>
                    <a:pt x="596" y="196"/>
                  </a:cubicBezTo>
                  <a:cubicBezTo>
                    <a:pt x="592" y="202"/>
                    <a:pt x="594" y="207"/>
                    <a:pt x="600" y="207"/>
                  </a:cubicBezTo>
                  <a:cubicBezTo>
                    <a:pt x="606" y="206"/>
                    <a:pt x="614" y="202"/>
                    <a:pt x="618" y="196"/>
                  </a:cubicBezTo>
                  <a:cubicBezTo>
                    <a:pt x="622" y="191"/>
                    <a:pt x="621" y="186"/>
                    <a:pt x="615" y="186"/>
                  </a:cubicBezTo>
                  <a:cubicBezTo>
                    <a:pt x="615" y="186"/>
                    <a:pt x="615" y="186"/>
                    <a:pt x="614" y="186"/>
                  </a:cubicBezTo>
                  <a:moveTo>
                    <a:pt x="3933" y="186"/>
                  </a:moveTo>
                  <a:cubicBezTo>
                    <a:pt x="3927" y="186"/>
                    <a:pt x="3924" y="191"/>
                    <a:pt x="3927" y="197"/>
                  </a:cubicBezTo>
                  <a:cubicBezTo>
                    <a:pt x="3930" y="202"/>
                    <a:pt x="3938" y="207"/>
                    <a:pt x="3944" y="207"/>
                  </a:cubicBezTo>
                  <a:cubicBezTo>
                    <a:pt x="3950" y="207"/>
                    <a:pt x="3953" y="202"/>
                    <a:pt x="3950" y="196"/>
                  </a:cubicBezTo>
                  <a:cubicBezTo>
                    <a:pt x="3947" y="191"/>
                    <a:pt x="3939" y="186"/>
                    <a:pt x="3933" y="186"/>
                  </a:cubicBezTo>
                  <a:cubicBezTo>
                    <a:pt x="3933" y="186"/>
                    <a:pt x="3933" y="186"/>
                    <a:pt x="3933" y="186"/>
                  </a:cubicBezTo>
                  <a:moveTo>
                    <a:pt x="646" y="186"/>
                  </a:moveTo>
                  <a:cubicBezTo>
                    <a:pt x="640" y="186"/>
                    <a:pt x="632" y="191"/>
                    <a:pt x="628" y="196"/>
                  </a:cubicBezTo>
                  <a:cubicBezTo>
                    <a:pt x="624" y="202"/>
                    <a:pt x="626" y="206"/>
                    <a:pt x="632" y="206"/>
                  </a:cubicBezTo>
                  <a:cubicBezTo>
                    <a:pt x="638" y="206"/>
                    <a:pt x="646" y="202"/>
                    <a:pt x="650" y="196"/>
                  </a:cubicBezTo>
                  <a:cubicBezTo>
                    <a:pt x="654" y="190"/>
                    <a:pt x="652" y="186"/>
                    <a:pt x="646" y="186"/>
                  </a:cubicBezTo>
                  <a:cubicBezTo>
                    <a:pt x="646" y="186"/>
                    <a:pt x="646" y="186"/>
                    <a:pt x="646" y="186"/>
                  </a:cubicBezTo>
                  <a:moveTo>
                    <a:pt x="3965" y="186"/>
                  </a:moveTo>
                  <a:cubicBezTo>
                    <a:pt x="3959" y="186"/>
                    <a:pt x="3956" y="191"/>
                    <a:pt x="3960" y="196"/>
                  </a:cubicBezTo>
                  <a:cubicBezTo>
                    <a:pt x="3963" y="202"/>
                    <a:pt x="3970" y="207"/>
                    <a:pt x="3976" y="207"/>
                  </a:cubicBezTo>
                  <a:cubicBezTo>
                    <a:pt x="3982" y="206"/>
                    <a:pt x="3985" y="202"/>
                    <a:pt x="3982" y="196"/>
                  </a:cubicBezTo>
                  <a:cubicBezTo>
                    <a:pt x="3979" y="190"/>
                    <a:pt x="3971" y="186"/>
                    <a:pt x="3965" y="186"/>
                  </a:cubicBezTo>
                  <a:cubicBezTo>
                    <a:pt x="3965" y="186"/>
                    <a:pt x="3965" y="186"/>
                    <a:pt x="3965" y="186"/>
                  </a:cubicBezTo>
                  <a:moveTo>
                    <a:pt x="679" y="186"/>
                  </a:moveTo>
                  <a:cubicBezTo>
                    <a:pt x="673" y="186"/>
                    <a:pt x="665" y="190"/>
                    <a:pt x="661" y="196"/>
                  </a:cubicBezTo>
                  <a:cubicBezTo>
                    <a:pt x="657" y="202"/>
                    <a:pt x="658" y="206"/>
                    <a:pt x="665" y="206"/>
                  </a:cubicBezTo>
                  <a:cubicBezTo>
                    <a:pt x="671" y="206"/>
                    <a:pt x="679" y="201"/>
                    <a:pt x="683" y="196"/>
                  </a:cubicBezTo>
                  <a:cubicBezTo>
                    <a:pt x="687" y="190"/>
                    <a:pt x="685" y="186"/>
                    <a:pt x="679" y="186"/>
                  </a:cubicBezTo>
                  <a:cubicBezTo>
                    <a:pt x="679" y="186"/>
                    <a:pt x="679" y="186"/>
                    <a:pt x="679" y="186"/>
                  </a:cubicBezTo>
                  <a:moveTo>
                    <a:pt x="3996" y="186"/>
                  </a:moveTo>
                  <a:cubicBezTo>
                    <a:pt x="3990" y="186"/>
                    <a:pt x="3988" y="190"/>
                    <a:pt x="3991" y="196"/>
                  </a:cubicBezTo>
                  <a:cubicBezTo>
                    <a:pt x="3994" y="202"/>
                    <a:pt x="4002" y="206"/>
                    <a:pt x="4008" y="206"/>
                  </a:cubicBezTo>
                  <a:cubicBezTo>
                    <a:pt x="4014" y="206"/>
                    <a:pt x="4017" y="202"/>
                    <a:pt x="4013" y="196"/>
                  </a:cubicBezTo>
                  <a:cubicBezTo>
                    <a:pt x="4010" y="190"/>
                    <a:pt x="4003" y="186"/>
                    <a:pt x="3996" y="186"/>
                  </a:cubicBezTo>
                  <a:cubicBezTo>
                    <a:pt x="3996" y="186"/>
                    <a:pt x="3996" y="186"/>
                    <a:pt x="3996" y="186"/>
                  </a:cubicBezTo>
                  <a:moveTo>
                    <a:pt x="710" y="185"/>
                  </a:moveTo>
                  <a:cubicBezTo>
                    <a:pt x="704" y="185"/>
                    <a:pt x="696" y="190"/>
                    <a:pt x="692" y="196"/>
                  </a:cubicBezTo>
                  <a:cubicBezTo>
                    <a:pt x="688" y="201"/>
                    <a:pt x="690" y="206"/>
                    <a:pt x="696" y="206"/>
                  </a:cubicBezTo>
                  <a:cubicBezTo>
                    <a:pt x="702" y="206"/>
                    <a:pt x="710" y="201"/>
                    <a:pt x="714" y="195"/>
                  </a:cubicBezTo>
                  <a:cubicBezTo>
                    <a:pt x="718" y="190"/>
                    <a:pt x="716" y="185"/>
                    <a:pt x="710" y="185"/>
                  </a:cubicBezTo>
                  <a:cubicBezTo>
                    <a:pt x="710" y="185"/>
                    <a:pt x="710" y="185"/>
                    <a:pt x="710" y="185"/>
                  </a:cubicBezTo>
                  <a:moveTo>
                    <a:pt x="4028" y="185"/>
                  </a:moveTo>
                  <a:cubicBezTo>
                    <a:pt x="4022" y="185"/>
                    <a:pt x="4020" y="190"/>
                    <a:pt x="4023" y="196"/>
                  </a:cubicBezTo>
                  <a:cubicBezTo>
                    <a:pt x="4026" y="201"/>
                    <a:pt x="4034" y="206"/>
                    <a:pt x="4040" y="206"/>
                  </a:cubicBezTo>
                  <a:cubicBezTo>
                    <a:pt x="4046" y="206"/>
                    <a:pt x="4048" y="201"/>
                    <a:pt x="4045" y="196"/>
                  </a:cubicBezTo>
                  <a:cubicBezTo>
                    <a:pt x="4042" y="190"/>
                    <a:pt x="4034" y="185"/>
                    <a:pt x="4028" y="185"/>
                  </a:cubicBezTo>
                  <a:cubicBezTo>
                    <a:pt x="4028" y="185"/>
                    <a:pt x="4028" y="185"/>
                    <a:pt x="4028" y="185"/>
                  </a:cubicBezTo>
                  <a:moveTo>
                    <a:pt x="742" y="185"/>
                  </a:moveTo>
                  <a:cubicBezTo>
                    <a:pt x="736" y="185"/>
                    <a:pt x="728" y="190"/>
                    <a:pt x="724" y="195"/>
                  </a:cubicBezTo>
                  <a:cubicBezTo>
                    <a:pt x="720" y="201"/>
                    <a:pt x="722" y="205"/>
                    <a:pt x="728" y="205"/>
                  </a:cubicBezTo>
                  <a:cubicBezTo>
                    <a:pt x="734" y="205"/>
                    <a:pt x="742" y="201"/>
                    <a:pt x="746" y="195"/>
                  </a:cubicBezTo>
                  <a:cubicBezTo>
                    <a:pt x="750" y="190"/>
                    <a:pt x="748" y="185"/>
                    <a:pt x="742" y="185"/>
                  </a:cubicBezTo>
                  <a:cubicBezTo>
                    <a:pt x="742" y="185"/>
                    <a:pt x="742" y="185"/>
                    <a:pt x="742" y="185"/>
                  </a:cubicBezTo>
                  <a:moveTo>
                    <a:pt x="4059" y="185"/>
                  </a:moveTo>
                  <a:cubicBezTo>
                    <a:pt x="4053" y="185"/>
                    <a:pt x="4051" y="190"/>
                    <a:pt x="4054" y="195"/>
                  </a:cubicBezTo>
                  <a:cubicBezTo>
                    <a:pt x="4058" y="201"/>
                    <a:pt x="4065" y="206"/>
                    <a:pt x="4072" y="206"/>
                  </a:cubicBezTo>
                  <a:cubicBezTo>
                    <a:pt x="4078" y="206"/>
                    <a:pt x="4080" y="201"/>
                    <a:pt x="4077" y="195"/>
                  </a:cubicBezTo>
                  <a:cubicBezTo>
                    <a:pt x="4073" y="190"/>
                    <a:pt x="4066" y="185"/>
                    <a:pt x="4059" y="185"/>
                  </a:cubicBezTo>
                  <a:cubicBezTo>
                    <a:pt x="4059" y="185"/>
                    <a:pt x="4059" y="185"/>
                    <a:pt x="4059" y="185"/>
                  </a:cubicBezTo>
                  <a:moveTo>
                    <a:pt x="774" y="185"/>
                  </a:moveTo>
                  <a:cubicBezTo>
                    <a:pt x="768" y="185"/>
                    <a:pt x="760" y="189"/>
                    <a:pt x="756" y="195"/>
                  </a:cubicBezTo>
                  <a:cubicBezTo>
                    <a:pt x="752" y="201"/>
                    <a:pt x="754" y="205"/>
                    <a:pt x="760" y="205"/>
                  </a:cubicBezTo>
                  <a:cubicBezTo>
                    <a:pt x="766" y="205"/>
                    <a:pt x="774" y="200"/>
                    <a:pt x="778" y="195"/>
                  </a:cubicBezTo>
                  <a:cubicBezTo>
                    <a:pt x="782" y="189"/>
                    <a:pt x="780" y="185"/>
                    <a:pt x="774" y="185"/>
                  </a:cubicBezTo>
                  <a:cubicBezTo>
                    <a:pt x="774" y="185"/>
                    <a:pt x="774" y="185"/>
                    <a:pt x="774" y="185"/>
                  </a:cubicBezTo>
                  <a:moveTo>
                    <a:pt x="4090" y="185"/>
                  </a:moveTo>
                  <a:cubicBezTo>
                    <a:pt x="4084" y="185"/>
                    <a:pt x="4082" y="190"/>
                    <a:pt x="4085" y="195"/>
                  </a:cubicBezTo>
                  <a:cubicBezTo>
                    <a:pt x="4089" y="201"/>
                    <a:pt x="4096" y="205"/>
                    <a:pt x="4103" y="205"/>
                  </a:cubicBezTo>
                  <a:cubicBezTo>
                    <a:pt x="4109" y="205"/>
                    <a:pt x="4111" y="201"/>
                    <a:pt x="4107" y="195"/>
                  </a:cubicBezTo>
                  <a:cubicBezTo>
                    <a:pt x="4104" y="189"/>
                    <a:pt x="4096" y="185"/>
                    <a:pt x="4090" y="185"/>
                  </a:cubicBezTo>
                  <a:cubicBezTo>
                    <a:pt x="4090" y="185"/>
                    <a:pt x="4090" y="185"/>
                    <a:pt x="4090" y="185"/>
                  </a:cubicBezTo>
                  <a:moveTo>
                    <a:pt x="805" y="185"/>
                  </a:moveTo>
                  <a:cubicBezTo>
                    <a:pt x="799" y="185"/>
                    <a:pt x="791" y="189"/>
                    <a:pt x="788" y="195"/>
                  </a:cubicBezTo>
                  <a:cubicBezTo>
                    <a:pt x="784" y="200"/>
                    <a:pt x="786" y="205"/>
                    <a:pt x="792" y="205"/>
                  </a:cubicBezTo>
                  <a:cubicBezTo>
                    <a:pt x="798" y="205"/>
                    <a:pt x="806" y="200"/>
                    <a:pt x="810" y="195"/>
                  </a:cubicBezTo>
                  <a:cubicBezTo>
                    <a:pt x="813" y="189"/>
                    <a:pt x="811" y="185"/>
                    <a:pt x="805" y="185"/>
                  </a:cubicBezTo>
                  <a:cubicBezTo>
                    <a:pt x="805" y="185"/>
                    <a:pt x="805" y="185"/>
                    <a:pt x="805" y="185"/>
                  </a:cubicBezTo>
                  <a:moveTo>
                    <a:pt x="837" y="184"/>
                  </a:moveTo>
                  <a:cubicBezTo>
                    <a:pt x="831" y="184"/>
                    <a:pt x="823" y="189"/>
                    <a:pt x="819" y="194"/>
                  </a:cubicBezTo>
                  <a:cubicBezTo>
                    <a:pt x="816" y="200"/>
                    <a:pt x="818" y="205"/>
                    <a:pt x="824" y="205"/>
                  </a:cubicBezTo>
                  <a:cubicBezTo>
                    <a:pt x="830" y="204"/>
                    <a:pt x="838" y="200"/>
                    <a:pt x="841" y="194"/>
                  </a:cubicBezTo>
                  <a:cubicBezTo>
                    <a:pt x="845" y="189"/>
                    <a:pt x="843" y="184"/>
                    <a:pt x="837" y="184"/>
                  </a:cubicBezTo>
                  <a:cubicBezTo>
                    <a:pt x="837" y="184"/>
                    <a:pt x="837" y="184"/>
                    <a:pt x="837" y="184"/>
                  </a:cubicBezTo>
                  <a:moveTo>
                    <a:pt x="868" y="184"/>
                  </a:moveTo>
                  <a:cubicBezTo>
                    <a:pt x="862" y="184"/>
                    <a:pt x="854" y="189"/>
                    <a:pt x="851" y="194"/>
                  </a:cubicBezTo>
                  <a:cubicBezTo>
                    <a:pt x="847" y="200"/>
                    <a:pt x="849" y="204"/>
                    <a:pt x="855" y="204"/>
                  </a:cubicBezTo>
                  <a:cubicBezTo>
                    <a:pt x="862" y="204"/>
                    <a:pt x="869" y="200"/>
                    <a:pt x="873" y="194"/>
                  </a:cubicBezTo>
                  <a:cubicBezTo>
                    <a:pt x="876" y="188"/>
                    <a:pt x="874" y="184"/>
                    <a:pt x="868" y="184"/>
                  </a:cubicBezTo>
                  <a:cubicBezTo>
                    <a:pt x="868" y="184"/>
                    <a:pt x="868" y="184"/>
                    <a:pt x="868" y="184"/>
                  </a:cubicBezTo>
                  <a:moveTo>
                    <a:pt x="900" y="184"/>
                  </a:moveTo>
                  <a:cubicBezTo>
                    <a:pt x="894" y="184"/>
                    <a:pt x="886" y="188"/>
                    <a:pt x="883" y="194"/>
                  </a:cubicBezTo>
                  <a:cubicBezTo>
                    <a:pt x="879" y="200"/>
                    <a:pt x="881" y="204"/>
                    <a:pt x="887" y="204"/>
                  </a:cubicBezTo>
                  <a:cubicBezTo>
                    <a:pt x="893" y="204"/>
                    <a:pt x="901" y="199"/>
                    <a:pt x="905" y="194"/>
                  </a:cubicBezTo>
                  <a:cubicBezTo>
                    <a:pt x="908" y="188"/>
                    <a:pt x="906" y="184"/>
                    <a:pt x="900" y="184"/>
                  </a:cubicBezTo>
                  <a:cubicBezTo>
                    <a:pt x="900" y="184"/>
                    <a:pt x="900" y="184"/>
                    <a:pt x="900" y="184"/>
                  </a:cubicBezTo>
                  <a:moveTo>
                    <a:pt x="4185" y="184"/>
                  </a:moveTo>
                  <a:cubicBezTo>
                    <a:pt x="4179" y="184"/>
                    <a:pt x="4177" y="188"/>
                    <a:pt x="4180" y="194"/>
                  </a:cubicBezTo>
                  <a:cubicBezTo>
                    <a:pt x="4184" y="200"/>
                    <a:pt x="4192" y="204"/>
                    <a:pt x="4198" y="204"/>
                  </a:cubicBezTo>
                  <a:cubicBezTo>
                    <a:pt x="4204" y="204"/>
                    <a:pt x="4206" y="200"/>
                    <a:pt x="4203" y="194"/>
                  </a:cubicBezTo>
                  <a:cubicBezTo>
                    <a:pt x="4199" y="188"/>
                    <a:pt x="4191" y="184"/>
                    <a:pt x="4185" y="184"/>
                  </a:cubicBezTo>
                  <a:cubicBezTo>
                    <a:pt x="4185" y="184"/>
                    <a:pt x="4185" y="184"/>
                    <a:pt x="4185" y="184"/>
                  </a:cubicBezTo>
                  <a:moveTo>
                    <a:pt x="932" y="183"/>
                  </a:moveTo>
                  <a:cubicBezTo>
                    <a:pt x="926" y="183"/>
                    <a:pt x="918" y="188"/>
                    <a:pt x="915" y="194"/>
                  </a:cubicBezTo>
                  <a:cubicBezTo>
                    <a:pt x="911" y="199"/>
                    <a:pt x="913" y="204"/>
                    <a:pt x="920" y="204"/>
                  </a:cubicBezTo>
                  <a:cubicBezTo>
                    <a:pt x="926" y="204"/>
                    <a:pt x="933" y="199"/>
                    <a:pt x="937" y="193"/>
                  </a:cubicBezTo>
                  <a:cubicBezTo>
                    <a:pt x="940" y="188"/>
                    <a:pt x="938" y="183"/>
                    <a:pt x="932" y="183"/>
                  </a:cubicBezTo>
                  <a:cubicBezTo>
                    <a:pt x="932" y="183"/>
                    <a:pt x="932" y="183"/>
                    <a:pt x="932" y="183"/>
                  </a:cubicBezTo>
                  <a:moveTo>
                    <a:pt x="963" y="183"/>
                  </a:moveTo>
                  <a:cubicBezTo>
                    <a:pt x="957" y="183"/>
                    <a:pt x="949" y="188"/>
                    <a:pt x="946" y="193"/>
                  </a:cubicBezTo>
                  <a:cubicBezTo>
                    <a:pt x="943" y="199"/>
                    <a:pt x="945" y="203"/>
                    <a:pt x="951" y="203"/>
                  </a:cubicBezTo>
                  <a:cubicBezTo>
                    <a:pt x="957" y="203"/>
                    <a:pt x="965" y="199"/>
                    <a:pt x="968" y="193"/>
                  </a:cubicBezTo>
                  <a:cubicBezTo>
                    <a:pt x="972" y="188"/>
                    <a:pt x="969" y="183"/>
                    <a:pt x="963" y="183"/>
                  </a:cubicBezTo>
                  <a:cubicBezTo>
                    <a:pt x="963" y="183"/>
                    <a:pt x="963" y="183"/>
                    <a:pt x="963" y="183"/>
                  </a:cubicBezTo>
                  <a:moveTo>
                    <a:pt x="993" y="183"/>
                  </a:moveTo>
                  <a:cubicBezTo>
                    <a:pt x="987" y="183"/>
                    <a:pt x="979" y="187"/>
                    <a:pt x="976" y="193"/>
                  </a:cubicBezTo>
                  <a:cubicBezTo>
                    <a:pt x="973" y="199"/>
                    <a:pt x="975" y="203"/>
                    <a:pt x="981" y="203"/>
                  </a:cubicBezTo>
                  <a:cubicBezTo>
                    <a:pt x="987" y="203"/>
                    <a:pt x="995" y="198"/>
                    <a:pt x="998" y="193"/>
                  </a:cubicBezTo>
                  <a:cubicBezTo>
                    <a:pt x="1002" y="187"/>
                    <a:pt x="999" y="183"/>
                    <a:pt x="993" y="183"/>
                  </a:cubicBezTo>
                  <a:cubicBezTo>
                    <a:pt x="993" y="183"/>
                    <a:pt x="993" y="183"/>
                    <a:pt x="993" y="183"/>
                  </a:cubicBezTo>
                  <a:moveTo>
                    <a:pt x="1025" y="183"/>
                  </a:moveTo>
                  <a:cubicBezTo>
                    <a:pt x="1019" y="183"/>
                    <a:pt x="1011" y="187"/>
                    <a:pt x="1008" y="193"/>
                  </a:cubicBezTo>
                  <a:cubicBezTo>
                    <a:pt x="1005" y="198"/>
                    <a:pt x="1007" y="203"/>
                    <a:pt x="1013" y="203"/>
                  </a:cubicBezTo>
                  <a:cubicBezTo>
                    <a:pt x="1020" y="203"/>
                    <a:pt x="1027" y="198"/>
                    <a:pt x="1030" y="193"/>
                  </a:cubicBezTo>
                  <a:cubicBezTo>
                    <a:pt x="1034" y="187"/>
                    <a:pt x="1031" y="183"/>
                    <a:pt x="1025" y="183"/>
                  </a:cubicBezTo>
                  <a:cubicBezTo>
                    <a:pt x="1025" y="183"/>
                    <a:pt x="1025" y="183"/>
                    <a:pt x="1025" y="183"/>
                  </a:cubicBezTo>
                  <a:moveTo>
                    <a:pt x="1371" y="182"/>
                  </a:moveTo>
                  <a:cubicBezTo>
                    <a:pt x="1364" y="182"/>
                    <a:pt x="1357" y="187"/>
                    <a:pt x="1355" y="193"/>
                  </a:cubicBezTo>
                  <a:cubicBezTo>
                    <a:pt x="1353" y="198"/>
                    <a:pt x="1356" y="203"/>
                    <a:pt x="1362" y="203"/>
                  </a:cubicBezTo>
                  <a:cubicBezTo>
                    <a:pt x="1368" y="203"/>
                    <a:pt x="1375" y="198"/>
                    <a:pt x="1377" y="192"/>
                  </a:cubicBezTo>
                  <a:cubicBezTo>
                    <a:pt x="1380" y="187"/>
                    <a:pt x="1377" y="182"/>
                    <a:pt x="1371" y="182"/>
                  </a:cubicBezTo>
                  <a:cubicBezTo>
                    <a:pt x="1371" y="182"/>
                    <a:pt x="1371" y="182"/>
                    <a:pt x="1371" y="182"/>
                  </a:cubicBezTo>
                  <a:moveTo>
                    <a:pt x="1056" y="182"/>
                  </a:moveTo>
                  <a:cubicBezTo>
                    <a:pt x="1050" y="182"/>
                    <a:pt x="1043" y="187"/>
                    <a:pt x="1040" y="192"/>
                  </a:cubicBezTo>
                  <a:cubicBezTo>
                    <a:pt x="1037" y="198"/>
                    <a:pt x="1039" y="203"/>
                    <a:pt x="1045" y="203"/>
                  </a:cubicBezTo>
                  <a:cubicBezTo>
                    <a:pt x="1051" y="202"/>
                    <a:pt x="1059" y="198"/>
                    <a:pt x="1062" y="192"/>
                  </a:cubicBezTo>
                  <a:cubicBezTo>
                    <a:pt x="1065" y="187"/>
                    <a:pt x="1063" y="182"/>
                    <a:pt x="1057" y="182"/>
                  </a:cubicBezTo>
                  <a:cubicBezTo>
                    <a:pt x="1056" y="182"/>
                    <a:pt x="1056" y="182"/>
                    <a:pt x="1056" y="182"/>
                  </a:cubicBezTo>
                  <a:moveTo>
                    <a:pt x="1403" y="182"/>
                  </a:moveTo>
                  <a:cubicBezTo>
                    <a:pt x="1397" y="182"/>
                    <a:pt x="1390" y="187"/>
                    <a:pt x="1388" y="192"/>
                  </a:cubicBezTo>
                  <a:cubicBezTo>
                    <a:pt x="1385" y="198"/>
                    <a:pt x="1388" y="202"/>
                    <a:pt x="1394" y="202"/>
                  </a:cubicBezTo>
                  <a:cubicBezTo>
                    <a:pt x="1400" y="202"/>
                    <a:pt x="1407" y="198"/>
                    <a:pt x="1410" y="192"/>
                  </a:cubicBezTo>
                  <a:cubicBezTo>
                    <a:pt x="1412" y="187"/>
                    <a:pt x="1409" y="182"/>
                    <a:pt x="1403" y="182"/>
                  </a:cubicBezTo>
                  <a:cubicBezTo>
                    <a:pt x="1403" y="182"/>
                    <a:pt x="1403" y="182"/>
                    <a:pt x="1403" y="182"/>
                  </a:cubicBezTo>
                  <a:moveTo>
                    <a:pt x="1088" y="182"/>
                  </a:moveTo>
                  <a:cubicBezTo>
                    <a:pt x="1082" y="182"/>
                    <a:pt x="1074" y="187"/>
                    <a:pt x="1071" y="192"/>
                  </a:cubicBezTo>
                  <a:cubicBezTo>
                    <a:pt x="1068" y="198"/>
                    <a:pt x="1071" y="202"/>
                    <a:pt x="1077" y="202"/>
                  </a:cubicBezTo>
                  <a:cubicBezTo>
                    <a:pt x="1083" y="202"/>
                    <a:pt x="1090" y="198"/>
                    <a:pt x="1094" y="192"/>
                  </a:cubicBezTo>
                  <a:cubicBezTo>
                    <a:pt x="1097" y="186"/>
                    <a:pt x="1094" y="182"/>
                    <a:pt x="1088" y="182"/>
                  </a:cubicBezTo>
                  <a:cubicBezTo>
                    <a:pt x="1088" y="182"/>
                    <a:pt x="1088" y="182"/>
                    <a:pt x="1088" y="182"/>
                  </a:cubicBezTo>
                  <a:moveTo>
                    <a:pt x="1119" y="182"/>
                  </a:moveTo>
                  <a:cubicBezTo>
                    <a:pt x="1113" y="182"/>
                    <a:pt x="1106" y="186"/>
                    <a:pt x="1103" y="192"/>
                  </a:cubicBezTo>
                  <a:cubicBezTo>
                    <a:pt x="1100" y="198"/>
                    <a:pt x="1102" y="202"/>
                    <a:pt x="1109" y="202"/>
                  </a:cubicBezTo>
                  <a:cubicBezTo>
                    <a:pt x="1115" y="202"/>
                    <a:pt x="1122" y="197"/>
                    <a:pt x="1125" y="192"/>
                  </a:cubicBezTo>
                  <a:cubicBezTo>
                    <a:pt x="1128" y="186"/>
                    <a:pt x="1125" y="182"/>
                    <a:pt x="1119" y="182"/>
                  </a:cubicBezTo>
                  <a:cubicBezTo>
                    <a:pt x="1119" y="182"/>
                    <a:pt x="1119" y="182"/>
                    <a:pt x="1119" y="182"/>
                  </a:cubicBezTo>
                  <a:moveTo>
                    <a:pt x="1151" y="181"/>
                  </a:moveTo>
                  <a:cubicBezTo>
                    <a:pt x="1145" y="181"/>
                    <a:pt x="1138" y="186"/>
                    <a:pt x="1135" y="192"/>
                  </a:cubicBezTo>
                  <a:cubicBezTo>
                    <a:pt x="1132" y="197"/>
                    <a:pt x="1134" y="202"/>
                    <a:pt x="1140" y="202"/>
                  </a:cubicBezTo>
                  <a:cubicBezTo>
                    <a:pt x="1147" y="202"/>
                    <a:pt x="1154" y="197"/>
                    <a:pt x="1157" y="191"/>
                  </a:cubicBezTo>
                  <a:cubicBezTo>
                    <a:pt x="1160" y="186"/>
                    <a:pt x="1157" y="181"/>
                    <a:pt x="1151" y="181"/>
                  </a:cubicBezTo>
                  <a:cubicBezTo>
                    <a:pt x="1151" y="181"/>
                    <a:pt x="1151" y="181"/>
                    <a:pt x="1151" y="181"/>
                  </a:cubicBezTo>
                  <a:moveTo>
                    <a:pt x="1214" y="181"/>
                  </a:moveTo>
                  <a:cubicBezTo>
                    <a:pt x="1208" y="181"/>
                    <a:pt x="1201" y="185"/>
                    <a:pt x="1198" y="191"/>
                  </a:cubicBezTo>
                  <a:cubicBezTo>
                    <a:pt x="1195" y="197"/>
                    <a:pt x="1198" y="201"/>
                    <a:pt x="1204" y="201"/>
                  </a:cubicBezTo>
                  <a:cubicBezTo>
                    <a:pt x="1210" y="201"/>
                    <a:pt x="1218" y="196"/>
                    <a:pt x="1220" y="191"/>
                  </a:cubicBezTo>
                  <a:cubicBezTo>
                    <a:pt x="1223" y="185"/>
                    <a:pt x="1220" y="181"/>
                    <a:pt x="1214" y="181"/>
                  </a:cubicBezTo>
                  <a:cubicBezTo>
                    <a:pt x="1214" y="181"/>
                    <a:pt x="1214" y="181"/>
                    <a:pt x="1214" y="181"/>
                  </a:cubicBezTo>
                  <a:moveTo>
                    <a:pt x="1562" y="179"/>
                  </a:moveTo>
                  <a:cubicBezTo>
                    <a:pt x="1556" y="179"/>
                    <a:pt x="1549" y="183"/>
                    <a:pt x="1547" y="189"/>
                  </a:cubicBezTo>
                  <a:cubicBezTo>
                    <a:pt x="1545" y="195"/>
                    <a:pt x="1548" y="199"/>
                    <a:pt x="1555" y="199"/>
                  </a:cubicBezTo>
                  <a:cubicBezTo>
                    <a:pt x="1561" y="199"/>
                    <a:pt x="1567" y="194"/>
                    <a:pt x="1569" y="189"/>
                  </a:cubicBezTo>
                  <a:cubicBezTo>
                    <a:pt x="1571" y="183"/>
                    <a:pt x="1568" y="179"/>
                    <a:pt x="1562" y="179"/>
                  </a:cubicBezTo>
                  <a:cubicBezTo>
                    <a:pt x="1562" y="179"/>
                    <a:pt x="1562" y="179"/>
                    <a:pt x="1562" y="179"/>
                  </a:cubicBezTo>
                  <a:moveTo>
                    <a:pt x="1593" y="178"/>
                  </a:moveTo>
                  <a:cubicBezTo>
                    <a:pt x="1587" y="178"/>
                    <a:pt x="1581" y="183"/>
                    <a:pt x="1579" y="189"/>
                  </a:cubicBezTo>
                  <a:cubicBezTo>
                    <a:pt x="1577" y="194"/>
                    <a:pt x="1580" y="199"/>
                    <a:pt x="1586" y="199"/>
                  </a:cubicBezTo>
                  <a:cubicBezTo>
                    <a:pt x="1592" y="199"/>
                    <a:pt x="1599" y="194"/>
                    <a:pt x="1601" y="188"/>
                  </a:cubicBezTo>
                  <a:cubicBezTo>
                    <a:pt x="1603" y="183"/>
                    <a:pt x="1599" y="178"/>
                    <a:pt x="1593" y="178"/>
                  </a:cubicBezTo>
                  <a:cubicBezTo>
                    <a:pt x="1593" y="178"/>
                    <a:pt x="1593" y="178"/>
                    <a:pt x="1593" y="178"/>
                  </a:cubicBezTo>
                  <a:moveTo>
                    <a:pt x="1625" y="178"/>
                  </a:moveTo>
                  <a:cubicBezTo>
                    <a:pt x="1619" y="178"/>
                    <a:pt x="1612" y="183"/>
                    <a:pt x="1610" y="188"/>
                  </a:cubicBezTo>
                  <a:cubicBezTo>
                    <a:pt x="1608" y="194"/>
                    <a:pt x="1612" y="198"/>
                    <a:pt x="1618" y="198"/>
                  </a:cubicBezTo>
                  <a:cubicBezTo>
                    <a:pt x="1624" y="198"/>
                    <a:pt x="1630" y="194"/>
                    <a:pt x="1632" y="188"/>
                  </a:cubicBezTo>
                  <a:cubicBezTo>
                    <a:pt x="1634" y="183"/>
                    <a:pt x="1631" y="178"/>
                    <a:pt x="1625" y="178"/>
                  </a:cubicBezTo>
                  <a:cubicBezTo>
                    <a:pt x="1625" y="178"/>
                    <a:pt x="1625" y="178"/>
                    <a:pt x="1625" y="178"/>
                  </a:cubicBezTo>
                  <a:moveTo>
                    <a:pt x="1656" y="178"/>
                  </a:moveTo>
                  <a:cubicBezTo>
                    <a:pt x="1650" y="178"/>
                    <a:pt x="1644" y="182"/>
                    <a:pt x="1642" y="188"/>
                  </a:cubicBezTo>
                  <a:cubicBezTo>
                    <a:pt x="1640" y="194"/>
                    <a:pt x="1643" y="198"/>
                    <a:pt x="1649" y="198"/>
                  </a:cubicBezTo>
                  <a:cubicBezTo>
                    <a:pt x="1656" y="198"/>
                    <a:pt x="1662" y="193"/>
                    <a:pt x="1664" y="188"/>
                  </a:cubicBezTo>
                  <a:cubicBezTo>
                    <a:pt x="1666" y="182"/>
                    <a:pt x="1662" y="178"/>
                    <a:pt x="1656" y="178"/>
                  </a:cubicBezTo>
                  <a:cubicBezTo>
                    <a:pt x="1656" y="178"/>
                    <a:pt x="1656" y="178"/>
                    <a:pt x="1656" y="178"/>
                  </a:cubicBezTo>
                  <a:moveTo>
                    <a:pt x="1688" y="177"/>
                  </a:moveTo>
                  <a:cubicBezTo>
                    <a:pt x="1682" y="178"/>
                    <a:pt x="1675" y="182"/>
                    <a:pt x="1673" y="188"/>
                  </a:cubicBezTo>
                  <a:cubicBezTo>
                    <a:pt x="1672" y="193"/>
                    <a:pt x="1675" y="198"/>
                    <a:pt x="1681" y="198"/>
                  </a:cubicBezTo>
                  <a:cubicBezTo>
                    <a:pt x="1687" y="198"/>
                    <a:pt x="1694" y="193"/>
                    <a:pt x="1696" y="188"/>
                  </a:cubicBezTo>
                  <a:cubicBezTo>
                    <a:pt x="1697" y="182"/>
                    <a:pt x="1694" y="177"/>
                    <a:pt x="1688" y="177"/>
                  </a:cubicBezTo>
                  <a:cubicBezTo>
                    <a:pt x="1688" y="177"/>
                    <a:pt x="1688" y="177"/>
                    <a:pt x="1688" y="177"/>
                  </a:cubicBezTo>
                  <a:moveTo>
                    <a:pt x="1720" y="177"/>
                  </a:moveTo>
                  <a:cubicBezTo>
                    <a:pt x="1714" y="177"/>
                    <a:pt x="1708" y="182"/>
                    <a:pt x="1706" y="187"/>
                  </a:cubicBezTo>
                  <a:cubicBezTo>
                    <a:pt x="1704" y="193"/>
                    <a:pt x="1708" y="198"/>
                    <a:pt x="1714" y="198"/>
                  </a:cubicBezTo>
                  <a:cubicBezTo>
                    <a:pt x="1720" y="198"/>
                    <a:pt x="1727" y="193"/>
                    <a:pt x="1728" y="187"/>
                  </a:cubicBezTo>
                  <a:cubicBezTo>
                    <a:pt x="1730" y="182"/>
                    <a:pt x="1726" y="177"/>
                    <a:pt x="1720" y="177"/>
                  </a:cubicBezTo>
                  <a:cubicBezTo>
                    <a:pt x="1720" y="177"/>
                    <a:pt x="1720" y="177"/>
                    <a:pt x="1720" y="177"/>
                  </a:cubicBezTo>
                  <a:moveTo>
                    <a:pt x="1752" y="177"/>
                  </a:moveTo>
                  <a:cubicBezTo>
                    <a:pt x="1745" y="177"/>
                    <a:pt x="1739" y="182"/>
                    <a:pt x="1737" y="187"/>
                  </a:cubicBezTo>
                  <a:cubicBezTo>
                    <a:pt x="1736" y="193"/>
                    <a:pt x="1739" y="197"/>
                    <a:pt x="1746" y="197"/>
                  </a:cubicBezTo>
                  <a:cubicBezTo>
                    <a:pt x="1752" y="197"/>
                    <a:pt x="1758" y="193"/>
                    <a:pt x="1760" y="187"/>
                  </a:cubicBezTo>
                  <a:cubicBezTo>
                    <a:pt x="1761" y="181"/>
                    <a:pt x="1758" y="177"/>
                    <a:pt x="1752" y="177"/>
                  </a:cubicBezTo>
                  <a:cubicBezTo>
                    <a:pt x="1752" y="177"/>
                    <a:pt x="1752" y="177"/>
                    <a:pt x="1752" y="177"/>
                  </a:cubicBezTo>
                  <a:moveTo>
                    <a:pt x="2286" y="172"/>
                  </a:moveTo>
                  <a:cubicBezTo>
                    <a:pt x="2280" y="172"/>
                    <a:pt x="2274" y="176"/>
                    <a:pt x="2274" y="182"/>
                  </a:cubicBezTo>
                  <a:cubicBezTo>
                    <a:pt x="2273" y="188"/>
                    <a:pt x="2278" y="192"/>
                    <a:pt x="2284" y="192"/>
                  </a:cubicBezTo>
                  <a:cubicBezTo>
                    <a:pt x="2290" y="192"/>
                    <a:pt x="2296" y="187"/>
                    <a:pt x="2296" y="182"/>
                  </a:cubicBezTo>
                  <a:cubicBezTo>
                    <a:pt x="2297" y="176"/>
                    <a:pt x="2292" y="172"/>
                    <a:pt x="2286" y="172"/>
                  </a:cubicBezTo>
                  <a:cubicBezTo>
                    <a:pt x="2286" y="172"/>
                    <a:pt x="2286" y="172"/>
                    <a:pt x="2286" y="172"/>
                  </a:cubicBezTo>
                  <a:moveTo>
                    <a:pt x="2317" y="171"/>
                  </a:moveTo>
                  <a:cubicBezTo>
                    <a:pt x="2311" y="171"/>
                    <a:pt x="2306" y="176"/>
                    <a:pt x="2305" y="182"/>
                  </a:cubicBezTo>
                  <a:cubicBezTo>
                    <a:pt x="2305" y="187"/>
                    <a:pt x="2309" y="192"/>
                    <a:pt x="2316" y="192"/>
                  </a:cubicBezTo>
                  <a:cubicBezTo>
                    <a:pt x="2322" y="192"/>
                    <a:pt x="2327" y="187"/>
                    <a:pt x="2327" y="181"/>
                  </a:cubicBezTo>
                  <a:cubicBezTo>
                    <a:pt x="2328" y="176"/>
                    <a:pt x="2323" y="171"/>
                    <a:pt x="2317" y="171"/>
                  </a:cubicBezTo>
                  <a:cubicBezTo>
                    <a:pt x="2317" y="171"/>
                    <a:pt x="2317" y="171"/>
                    <a:pt x="2317" y="171"/>
                  </a:cubicBezTo>
                  <a:moveTo>
                    <a:pt x="2348" y="171"/>
                  </a:moveTo>
                  <a:cubicBezTo>
                    <a:pt x="2342" y="171"/>
                    <a:pt x="2337" y="176"/>
                    <a:pt x="2337" y="181"/>
                  </a:cubicBezTo>
                  <a:cubicBezTo>
                    <a:pt x="2336" y="187"/>
                    <a:pt x="2341" y="191"/>
                    <a:pt x="2347" y="191"/>
                  </a:cubicBezTo>
                  <a:cubicBezTo>
                    <a:pt x="2353" y="191"/>
                    <a:pt x="2358" y="187"/>
                    <a:pt x="2359" y="181"/>
                  </a:cubicBezTo>
                  <a:cubicBezTo>
                    <a:pt x="2359" y="176"/>
                    <a:pt x="2354" y="171"/>
                    <a:pt x="2348" y="171"/>
                  </a:cubicBezTo>
                  <a:cubicBezTo>
                    <a:pt x="2348" y="171"/>
                    <a:pt x="2348" y="171"/>
                    <a:pt x="2348" y="171"/>
                  </a:cubicBezTo>
                  <a:moveTo>
                    <a:pt x="2380" y="171"/>
                  </a:moveTo>
                  <a:cubicBezTo>
                    <a:pt x="2374" y="171"/>
                    <a:pt x="2369" y="175"/>
                    <a:pt x="2369" y="181"/>
                  </a:cubicBezTo>
                  <a:cubicBezTo>
                    <a:pt x="2369" y="187"/>
                    <a:pt x="2373" y="191"/>
                    <a:pt x="2379" y="191"/>
                  </a:cubicBezTo>
                  <a:cubicBezTo>
                    <a:pt x="2386" y="191"/>
                    <a:pt x="2391" y="186"/>
                    <a:pt x="2391" y="181"/>
                  </a:cubicBezTo>
                  <a:cubicBezTo>
                    <a:pt x="2391" y="175"/>
                    <a:pt x="2387" y="171"/>
                    <a:pt x="2381" y="171"/>
                  </a:cubicBezTo>
                  <a:cubicBezTo>
                    <a:pt x="2380" y="171"/>
                    <a:pt x="2380" y="171"/>
                    <a:pt x="2380" y="171"/>
                  </a:cubicBezTo>
                  <a:moveTo>
                    <a:pt x="2412" y="170"/>
                  </a:moveTo>
                  <a:cubicBezTo>
                    <a:pt x="2406" y="170"/>
                    <a:pt x="2400" y="175"/>
                    <a:pt x="2400" y="181"/>
                  </a:cubicBezTo>
                  <a:cubicBezTo>
                    <a:pt x="2400" y="186"/>
                    <a:pt x="2405" y="191"/>
                    <a:pt x="2411" y="191"/>
                  </a:cubicBezTo>
                  <a:cubicBezTo>
                    <a:pt x="2417" y="191"/>
                    <a:pt x="2422" y="186"/>
                    <a:pt x="2422" y="181"/>
                  </a:cubicBezTo>
                  <a:cubicBezTo>
                    <a:pt x="2423" y="175"/>
                    <a:pt x="2418" y="170"/>
                    <a:pt x="2412" y="170"/>
                  </a:cubicBezTo>
                  <a:cubicBezTo>
                    <a:pt x="2412" y="170"/>
                    <a:pt x="2412" y="170"/>
                    <a:pt x="2412" y="170"/>
                  </a:cubicBezTo>
                  <a:moveTo>
                    <a:pt x="2443" y="170"/>
                  </a:moveTo>
                  <a:cubicBezTo>
                    <a:pt x="2437" y="170"/>
                    <a:pt x="2432" y="175"/>
                    <a:pt x="2432" y="180"/>
                  </a:cubicBezTo>
                  <a:cubicBezTo>
                    <a:pt x="2431" y="186"/>
                    <a:pt x="2436" y="191"/>
                    <a:pt x="2442" y="191"/>
                  </a:cubicBezTo>
                  <a:cubicBezTo>
                    <a:pt x="2449" y="191"/>
                    <a:pt x="2454" y="186"/>
                    <a:pt x="2454" y="180"/>
                  </a:cubicBezTo>
                  <a:cubicBezTo>
                    <a:pt x="2454" y="175"/>
                    <a:pt x="2449" y="170"/>
                    <a:pt x="2443" y="170"/>
                  </a:cubicBezTo>
                  <a:cubicBezTo>
                    <a:pt x="2443" y="170"/>
                    <a:pt x="2443" y="170"/>
                    <a:pt x="2443" y="170"/>
                  </a:cubicBezTo>
                  <a:moveTo>
                    <a:pt x="2474" y="170"/>
                  </a:moveTo>
                  <a:cubicBezTo>
                    <a:pt x="2468" y="170"/>
                    <a:pt x="2463" y="175"/>
                    <a:pt x="2463" y="180"/>
                  </a:cubicBezTo>
                  <a:cubicBezTo>
                    <a:pt x="2463" y="186"/>
                    <a:pt x="2468" y="190"/>
                    <a:pt x="2474" y="190"/>
                  </a:cubicBezTo>
                  <a:cubicBezTo>
                    <a:pt x="2480" y="190"/>
                    <a:pt x="2485" y="186"/>
                    <a:pt x="2485" y="180"/>
                  </a:cubicBezTo>
                  <a:cubicBezTo>
                    <a:pt x="2485" y="174"/>
                    <a:pt x="2480" y="170"/>
                    <a:pt x="2474" y="170"/>
                  </a:cubicBezTo>
                  <a:cubicBezTo>
                    <a:pt x="2474" y="170"/>
                    <a:pt x="2474" y="170"/>
                    <a:pt x="2474" y="170"/>
                  </a:cubicBezTo>
                  <a:moveTo>
                    <a:pt x="2505" y="170"/>
                  </a:moveTo>
                  <a:cubicBezTo>
                    <a:pt x="2499" y="170"/>
                    <a:pt x="2494" y="174"/>
                    <a:pt x="2494" y="180"/>
                  </a:cubicBezTo>
                  <a:cubicBezTo>
                    <a:pt x="2494" y="186"/>
                    <a:pt x="2499" y="190"/>
                    <a:pt x="2505" y="190"/>
                  </a:cubicBezTo>
                  <a:cubicBezTo>
                    <a:pt x="2511" y="190"/>
                    <a:pt x="2516" y="185"/>
                    <a:pt x="2516" y="180"/>
                  </a:cubicBezTo>
                  <a:cubicBezTo>
                    <a:pt x="2516" y="174"/>
                    <a:pt x="2511" y="170"/>
                    <a:pt x="2505" y="170"/>
                  </a:cubicBezTo>
                  <a:cubicBezTo>
                    <a:pt x="2505" y="170"/>
                    <a:pt x="2505" y="170"/>
                    <a:pt x="2505" y="170"/>
                  </a:cubicBezTo>
                  <a:moveTo>
                    <a:pt x="2536" y="169"/>
                  </a:moveTo>
                  <a:cubicBezTo>
                    <a:pt x="2530" y="169"/>
                    <a:pt x="2525" y="174"/>
                    <a:pt x="2525" y="180"/>
                  </a:cubicBezTo>
                  <a:cubicBezTo>
                    <a:pt x="2525" y="185"/>
                    <a:pt x="2530" y="190"/>
                    <a:pt x="2536" y="190"/>
                  </a:cubicBezTo>
                  <a:cubicBezTo>
                    <a:pt x="2542" y="190"/>
                    <a:pt x="2547" y="185"/>
                    <a:pt x="2547" y="179"/>
                  </a:cubicBezTo>
                  <a:cubicBezTo>
                    <a:pt x="2547" y="174"/>
                    <a:pt x="2542" y="169"/>
                    <a:pt x="2536" y="169"/>
                  </a:cubicBezTo>
                  <a:cubicBezTo>
                    <a:pt x="2536" y="169"/>
                    <a:pt x="2536" y="169"/>
                    <a:pt x="2536" y="169"/>
                  </a:cubicBezTo>
                  <a:moveTo>
                    <a:pt x="2601" y="169"/>
                  </a:moveTo>
                  <a:cubicBezTo>
                    <a:pt x="2595" y="169"/>
                    <a:pt x="2590" y="173"/>
                    <a:pt x="2590" y="179"/>
                  </a:cubicBezTo>
                  <a:cubicBezTo>
                    <a:pt x="2590" y="185"/>
                    <a:pt x="2595" y="189"/>
                    <a:pt x="2601" y="189"/>
                  </a:cubicBezTo>
                  <a:cubicBezTo>
                    <a:pt x="2608" y="189"/>
                    <a:pt x="2612" y="184"/>
                    <a:pt x="2612" y="179"/>
                  </a:cubicBezTo>
                  <a:cubicBezTo>
                    <a:pt x="2612" y="173"/>
                    <a:pt x="2607" y="169"/>
                    <a:pt x="2601" y="169"/>
                  </a:cubicBezTo>
                  <a:cubicBezTo>
                    <a:pt x="2601" y="169"/>
                    <a:pt x="2601" y="169"/>
                    <a:pt x="2601" y="169"/>
                  </a:cubicBezTo>
                  <a:moveTo>
                    <a:pt x="2632" y="168"/>
                  </a:moveTo>
                  <a:cubicBezTo>
                    <a:pt x="2626" y="168"/>
                    <a:pt x="2621" y="173"/>
                    <a:pt x="2621" y="179"/>
                  </a:cubicBezTo>
                  <a:cubicBezTo>
                    <a:pt x="2622" y="184"/>
                    <a:pt x="2627" y="189"/>
                    <a:pt x="2633" y="189"/>
                  </a:cubicBezTo>
                  <a:cubicBezTo>
                    <a:pt x="2639" y="189"/>
                    <a:pt x="2644" y="184"/>
                    <a:pt x="2643" y="179"/>
                  </a:cubicBezTo>
                  <a:cubicBezTo>
                    <a:pt x="2643" y="173"/>
                    <a:pt x="2638" y="168"/>
                    <a:pt x="2632" y="168"/>
                  </a:cubicBezTo>
                  <a:cubicBezTo>
                    <a:pt x="2632" y="168"/>
                    <a:pt x="2632" y="168"/>
                    <a:pt x="2632" y="168"/>
                  </a:cubicBezTo>
                  <a:moveTo>
                    <a:pt x="2663" y="168"/>
                  </a:moveTo>
                  <a:cubicBezTo>
                    <a:pt x="2657" y="168"/>
                    <a:pt x="2652" y="173"/>
                    <a:pt x="2652" y="178"/>
                  </a:cubicBezTo>
                  <a:cubicBezTo>
                    <a:pt x="2653" y="184"/>
                    <a:pt x="2658" y="189"/>
                    <a:pt x="2664" y="189"/>
                  </a:cubicBezTo>
                  <a:cubicBezTo>
                    <a:pt x="2670" y="189"/>
                    <a:pt x="2675" y="184"/>
                    <a:pt x="2675" y="178"/>
                  </a:cubicBezTo>
                  <a:cubicBezTo>
                    <a:pt x="2674" y="173"/>
                    <a:pt x="2669" y="168"/>
                    <a:pt x="2663" y="168"/>
                  </a:cubicBezTo>
                  <a:cubicBezTo>
                    <a:pt x="2663" y="168"/>
                    <a:pt x="2663" y="168"/>
                    <a:pt x="2663" y="168"/>
                  </a:cubicBezTo>
                  <a:moveTo>
                    <a:pt x="2694" y="168"/>
                  </a:moveTo>
                  <a:cubicBezTo>
                    <a:pt x="2688" y="168"/>
                    <a:pt x="2683" y="173"/>
                    <a:pt x="2684" y="178"/>
                  </a:cubicBezTo>
                  <a:cubicBezTo>
                    <a:pt x="2684" y="184"/>
                    <a:pt x="2689" y="188"/>
                    <a:pt x="2696" y="188"/>
                  </a:cubicBezTo>
                  <a:cubicBezTo>
                    <a:pt x="2702" y="188"/>
                    <a:pt x="2706" y="184"/>
                    <a:pt x="2706" y="178"/>
                  </a:cubicBezTo>
                  <a:cubicBezTo>
                    <a:pt x="2705" y="172"/>
                    <a:pt x="2700" y="168"/>
                    <a:pt x="2694" y="168"/>
                  </a:cubicBezTo>
                  <a:cubicBezTo>
                    <a:pt x="2694" y="168"/>
                    <a:pt x="2694" y="168"/>
                    <a:pt x="2694" y="168"/>
                  </a:cubicBezTo>
                  <a:moveTo>
                    <a:pt x="2726" y="168"/>
                  </a:moveTo>
                  <a:cubicBezTo>
                    <a:pt x="2720" y="168"/>
                    <a:pt x="2715" y="172"/>
                    <a:pt x="2715" y="178"/>
                  </a:cubicBezTo>
                  <a:cubicBezTo>
                    <a:pt x="2716" y="184"/>
                    <a:pt x="2721" y="188"/>
                    <a:pt x="2727" y="188"/>
                  </a:cubicBezTo>
                  <a:cubicBezTo>
                    <a:pt x="2733" y="188"/>
                    <a:pt x="2738" y="183"/>
                    <a:pt x="2737" y="178"/>
                  </a:cubicBezTo>
                  <a:cubicBezTo>
                    <a:pt x="2737" y="172"/>
                    <a:pt x="2732" y="168"/>
                    <a:pt x="2726" y="168"/>
                  </a:cubicBezTo>
                  <a:cubicBezTo>
                    <a:pt x="2726" y="168"/>
                    <a:pt x="2726" y="168"/>
                    <a:pt x="2726" y="168"/>
                  </a:cubicBezTo>
                  <a:moveTo>
                    <a:pt x="2757" y="167"/>
                  </a:moveTo>
                  <a:cubicBezTo>
                    <a:pt x="2751" y="167"/>
                    <a:pt x="2747" y="172"/>
                    <a:pt x="2747" y="178"/>
                  </a:cubicBezTo>
                  <a:cubicBezTo>
                    <a:pt x="2748" y="183"/>
                    <a:pt x="2753" y="188"/>
                    <a:pt x="2759" y="188"/>
                  </a:cubicBezTo>
                  <a:cubicBezTo>
                    <a:pt x="2765" y="188"/>
                    <a:pt x="2770" y="183"/>
                    <a:pt x="2769" y="177"/>
                  </a:cubicBezTo>
                  <a:cubicBezTo>
                    <a:pt x="2769" y="172"/>
                    <a:pt x="2763" y="167"/>
                    <a:pt x="2757" y="167"/>
                  </a:cubicBezTo>
                  <a:cubicBezTo>
                    <a:pt x="2757" y="167"/>
                    <a:pt x="2757" y="167"/>
                    <a:pt x="2757" y="167"/>
                  </a:cubicBezTo>
                  <a:moveTo>
                    <a:pt x="2789" y="167"/>
                  </a:moveTo>
                  <a:cubicBezTo>
                    <a:pt x="2782" y="167"/>
                    <a:pt x="2778" y="172"/>
                    <a:pt x="2779" y="177"/>
                  </a:cubicBezTo>
                  <a:cubicBezTo>
                    <a:pt x="2779" y="183"/>
                    <a:pt x="2785" y="188"/>
                    <a:pt x="2791" y="187"/>
                  </a:cubicBezTo>
                  <a:cubicBezTo>
                    <a:pt x="2797" y="187"/>
                    <a:pt x="2801" y="183"/>
                    <a:pt x="2801" y="177"/>
                  </a:cubicBezTo>
                  <a:cubicBezTo>
                    <a:pt x="2800" y="172"/>
                    <a:pt x="2795" y="167"/>
                    <a:pt x="2789" y="167"/>
                  </a:cubicBezTo>
                  <a:cubicBezTo>
                    <a:pt x="2789" y="167"/>
                    <a:pt x="2789" y="167"/>
                    <a:pt x="2789" y="167"/>
                  </a:cubicBezTo>
                  <a:moveTo>
                    <a:pt x="2820" y="167"/>
                  </a:moveTo>
                  <a:cubicBezTo>
                    <a:pt x="2814" y="167"/>
                    <a:pt x="2809" y="171"/>
                    <a:pt x="2810" y="177"/>
                  </a:cubicBezTo>
                  <a:cubicBezTo>
                    <a:pt x="2811" y="183"/>
                    <a:pt x="2816" y="187"/>
                    <a:pt x="2822" y="187"/>
                  </a:cubicBezTo>
                  <a:cubicBezTo>
                    <a:pt x="2829" y="187"/>
                    <a:pt x="2833" y="182"/>
                    <a:pt x="2832" y="177"/>
                  </a:cubicBezTo>
                  <a:cubicBezTo>
                    <a:pt x="2831" y="171"/>
                    <a:pt x="2826" y="167"/>
                    <a:pt x="2820" y="167"/>
                  </a:cubicBezTo>
                  <a:cubicBezTo>
                    <a:pt x="2820" y="167"/>
                    <a:pt x="2820" y="167"/>
                    <a:pt x="2820" y="167"/>
                  </a:cubicBezTo>
                  <a:moveTo>
                    <a:pt x="2851" y="166"/>
                  </a:moveTo>
                  <a:cubicBezTo>
                    <a:pt x="2845" y="166"/>
                    <a:pt x="2841" y="171"/>
                    <a:pt x="2841" y="177"/>
                  </a:cubicBezTo>
                  <a:cubicBezTo>
                    <a:pt x="2842" y="182"/>
                    <a:pt x="2848" y="187"/>
                    <a:pt x="2854" y="187"/>
                  </a:cubicBezTo>
                  <a:cubicBezTo>
                    <a:pt x="2860" y="187"/>
                    <a:pt x="2864" y="182"/>
                    <a:pt x="2864" y="177"/>
                  </a:cubicBezTo>
                  <a:cubicBezTo>
                    <a:pt x="2863" y="171"/>
                    <a:pt x="2857" y="166"/>
                    <a:pt x="2851" y="166"/>
                  </a:cubicBezTo>
                  <a:cubicBezTo>
                    <a:pt x="2851" y="166"/>
                    <a:pt x="2851" y="166"/>
                    <a:pt x="2851" y="166"/>
                  </a:cubicBezTo>
                  <a:moveTo>
                    <a:pt x="2883" y="166"/>
                  </a:moveTo>
                  <a:cubicBezTo>
                    <a:pt x="2877" y="166"/>
                    <a:pt x="2872" y="171"/>
                    <a:pt x="2873" y="176"/>
                  </a:cubicBezTo>
                  <a:cubicBezTo>
                    <a:pt x="2874" y="182"/>
                    <a:pt x="2879" y="187"/>
                    <a:pt x="2886" y="187"/>
                  </a:cubicBezTo>
                  <a:cubicBezTo>
                    <a:pt x="2892" y="187"/>
                    <a:pt x="2896" y="182"/>
                    <a:pt x="2895" y="176"/>
                  </a:cubicBezTo>
                  <a:cubicBezTo>
                    <a:pt x="2894" y="171"/>
                    <a:pt x="2889" y="166"/>
                    <a:pt x="2883" y="166"/>
                  </a:cubicBezTo>
                  <a:cubicBezTo>
                    <a:pt x="2883" y="166"/>
                    <a:pt x="2883" y="166"/>
                    <a:pt x="2883" y="166"/>
                  </a:cubicBezTo>
                  <a:moveTo>
                    <a:pt x="2914" y="166"/>
                  </a:moveTo>
                  <a:cubicBezTo>
                    <a:pt x="2908" y="166"/>
                    <a:pt x="2903" y="170"/>
                    <a:pt x="2904" y="176"/>
                  </a:cubicBezTo>
                  <a:cubicBezTo>
                    <a:pt x="2905" y="182"/>
                    <a:pt x="2911" y="186"/>
                    <a:pt x="2917" y="186"/>
                  </a:cubicBezTo>
                  <a:cubicBezTo>
                    <a:pt x="2923" y="186"/>
                    <a:pt x="2927" y="181"/>
                    <a:pt x="2926" y="176"/>
                  </a:cubicBezTo>
                  <a:cubicBezTo>
                    <a:pt x="2925" y="170"/>
                    <a:pt x="2920" y="166"/>
                    <a:pt x="2914" y="166"/>
                  </a:cubicBezTo>
                  <a:cubicBezTo>
                    <a:pt x="2914" y="166"/>
                    <a:pt x="2914" y="166"/>
                    <a:pt x="2914" y="166"/>
                  </a:cubicBezTo>
                  <a:moveTo>
                    <a:pt x="2943" y="165"/>
                  </a:moveTo>
                  <a:cubicBezTo>
                    <a:pt x="2937" y="165"/>
                    <a:pt x="2933" y="170"/>
                    <a:pt x="2934" y="176"/>
                  </a:cubicBezTo>
                  <a:cubicBezTo>
                    <a:pt x="2935" y="181"/>
                    <a:pt x="2941" y="186"/>
                    <a:pt x="2947" y="186"/>
                  </a:cubicBezTo>
                  <a:cubicBezTo>
                    <a:pt x="2953" y="186"/>
                    <a:pt x="2957" y="181"/>
                    <a:pt x="2956" y="175"/>
                  </a:cubicBezTo>
                  <a:cubicBezTo>
                    <a:pt x="2955" y="170"/>
                    <a:pt x="2950" y="165"/>
                    <a:pt x="2944" y="165"/>
                  </a:cubicBezTo>
                  <a:cubicBezTo>
                    <a:pt x="2944" y="165"/>
                    <a:pt x="2943" y="165"/>
                    <a:pt x="2943" y="165"/>
                  </a:cubicBezTo>
                  <a:moveTo>
                    <a:pt x="2975" y="165"/>
                  </a:moveTo>
                  <a:cubicBezTo>
                    <a:pt x="2969" y="165"/>
                    <a:pt x="2964" y="170"/>
                    <a:pt x="2965" y="175"/>
                  </a:cubicBezTo>
                  <a:cubicBezTo>
                    <a:pt x="2966" y="181"/>
                    <a:pt x="2972" y="186"/>
                    <a:pt x="2978" y="186"/>
                  </a:cubicBezTo>
                  <a:cubicBezTo>
                    <a:pt x="2984" y="186"/>
                    <a:pt x="2989" y="181"/>
                    <a:pt x="2987" y="175"/>
                  </a:cubicBezTo>
                  <a:cubicBezTo>
                    <a:pt x="2986" y="170"/>
                    <a:pt x="2981" y="165"/>
                    <a:pt x="2975" y="165"/>
                  </a:cubicBezTo>
                  <a:cubicBezTo>
                    <a:pt x="2975" y="165"/>
                    <a:pt x="2975" y="165"/>
                    <a:pt x="2975" y="165"/>
                  </a:cubicBezTo>
                  <a:moveTo>
                    <a:pt x="3006" y="165"/>
                  </a:moveTo>
                  <a:cubicBezTo>
                    <a:pt x="3000" y="165"/>
                    <a:pt x="2996" y="169"/>
                    <a:pt x="2997" y="175"/>
                  </a:cubicBezTo>
                  <a:cubicBezTo>
                    <a:pt x="2998" y="181"/>
                    <a:pt x="3004" y="185"/>
                    <a:pt x="3010" y="185"/>
                  </a:cubicBezTo>
                  <a:cubicBezTo>
                    <a:pt x="3016" y="185"/>
                    <a:pt x="3020" y="181"/>
                    <a:pt x="3019" y="175"/>
                  </a:cubicBezTo>
                  <a:cubicBezTo>
                    <a:pt x="3018" y="169"/>
                    <a:pt x="3012" y="165"/>
                    <a:pt x="3006" y="165"/>
                  </a:cubicBezTo>
                  <a:cubicBezTo>
                    <a:pt x="3006" y="165"/>
                    <a:pt x="3006" y="165"/>
                    <a:pt x="3006" y="165"/>
                  </a:cubicBezTo>
                  <a:moveTo>
                    <a:pt x="3038" y="164"/>
                  </a:moveTo>
                  <a:cubicBezTo>
                    <a:pt x="3032" y="165"/>
                    <a:pt x="3028" y="169"/>
                    <a:pt x="3029" y="175"/>
                  </a:cubicBezTo>
                  <a:cubicBezTo>
                    <a:pt x="3031" y="180"/>
                    <a:pt x="3037" y="185"/>
                    <a:pt x="3043" y="185"/>
                  </a:cubicBezTo>
                  <a:cubicBezTo>
                    <a:pt x="3049" y="185"/>
                    <a:pt x="3053" y="180"/>
                    <a:pt x="3052" y="175"/>
                  </a:cubicBezTo>
                  <a:cubicBezTo>
                    <a:pt x="3050" y="169"/>
                    <a:pt x="3045" y="164"/>
                    <a:pt x="3039" y="164"/>
                  </a:cubicBezTo>
                  <a:cubicBezTo>
                    <a:pt x="3038" y="164"/>
                    <a:pt x="3038" y="164"/>
                    <a:pt x="3038" y="164"/>
                  </a:cubicBezTo>
                  <a:moveTo>
                    <a:pt x="3070" y="164"/>
                  </a:moveTo>
                  <a:cubicBezTo>
                    <a:pt x="3064" y="164"/>
                    <a:pt x="3060" y="169"/>
                    <a:pt x="3061" y="175"/>
                  </a:cubicBezTo>
                  <a:cubicBezTo>
                    <a:pt x="3062" y="180"/>
                    <a:pt x="3068" y="185"/>
                    <a:pt x="3074" y="185"/>
                  </a:cubicBezTo>
                  <a:cubicBezTo>
                    <a:pt x="3080" y="185"/>
                    <a:pt x="3084" y="180"/>
                    <a:pt x="3083" y="174"/>
                  </a:cubicBezTo>
                  <a:cubicBezTo>
                    <a:pt x="3082" y="169"/>
                    <a:pt x="3076" y="164"/>
                    <a:pt x="3070" y="164"/>
                  </a:cubicBezTo>
                  <a:cubicBezTo>
                    <a:pt x="3070" y="164"/>
                    <a:pt x="3070" y="164"/>
                    <a:pt x="3070" y="164"/>
                  </a:cubicBezTo>
                  <a:moveTo>
                    <a:pt x="3101" y="164"/>
                  </a:moveTo>
                  <a:cubicBezTo>
                    <a:pt x="3095" y="164"/>
                    <a:pt x="3091" y="169"/>
                    <a:pt x="3092" y="174"/>
                  </a:cubicBezTo>
                  <a:cubicBezTo>
                    <a:pt x="3094" y="180"/>
                    <a:pt x="3100" y="184"/>
                    <a:pt x="3106" y="184"/>
                  </a:cubicBezTo>
                  <a:cubicBezTo>
                    <a:pt x="3112" y="184"/>
                    <a:pt x="3116" y="180"/>
                    <a:pt x="3114" y="174"/>
                  </a:cubicBezTo>
                  <a:cubicBezTo>
                    <a:pt x="3113" y="168"/>
                    <a:pt x="3107" y="164"/>
                    <a:pt x="3101" y="164"/>
                  </a:cubicBezTo>
                  <a:cubicBezTo>
                    <a:pt x="3101" y="164"/>
                    <a:pt x="3101" y="164"/>
                    <a:pt x="3101" y="164"/>
                  </a:cubicBezTo>
                  <a:moveTo>
                    <a:pt x="3133" y="164"/>
                  </a:moveTo>
                  <a:cubicBezTo>
                    <a:pt x="3127" y="164"/>
                    <a:pt x="3123" y="168"/>
                    <a:pt x="3124" y="174"/>
                  </a:cubicBezTo>
                  <a:cubicBezTo>
                    <a:pt x="3125" y="180"/>
                    <a:pt x="3132" y="184"/>
                    <a:pt x="3138" y="184"/>
                  </a:cubicBezTo>
                  <a:cubicBezTo>
                    <a:pt x="3144" y="184"/>
                    <a:pt x="3148" y="179"/>
                    <a:pt x="3146" y="174"/>
                  </a:cubicBezTo>
                  <a:cubicBezTo>
                    <a:pt x="3145" y="168"/>
                    <a:pt x="3139" y="164"/>
                    <a:pt x="3133" y="164"/>
                  </a:cubicBezTo>
                  <a:cubicBezTo>
                    <a:pt x="3133" y="164"/>
                    <a:pt x="3133" y="164"/>
                    <a:pt x="3133" y="164"/>
                  </a:cubicBezTo>
                  <a:moveTo>
                    <a:pt x="3164" y="163"/>
                  </a:moveTo>
                  <a:cubicBezTo>
                    <a:pt x="3158" y="163"/>
                    <a:pt x="3154" y="168"/>
                    <a:pt x="3155" y="174"/>
                  </a:cubicBezTo>
                  <a:cubicBezTo>
                    <a:pt x="3157" y="179"/>
                    <a:pt x="3163" y="184"/>
                    <a:pt x="3169" y="184"/>
                  </a:cubicBezTo>
                  <a:cubicBezTo>
                    <a:pt x="3175" y="184"/>
                    <a:pt x="3179" y="179"/>
                    <a:pt x="3177" y="173"/>
                  </a:cubicBezTo>
                  <a:cubicBezTo>
                    <a:pt x="3176" y="168"/>
                    <a:pt x="3170" y="163"/>
                    <a:pt x="3164" y="163"/>
                  </a:cubicBezTo>
                  <a:cubicBezTo>
                    <a:pt x="3164" y="163"/>
                    <a:pt x="3164" y="163"/>
                    <a:pt x="3164" y="163"/>
                  </a:cubicBezTo>
                  <a:moveTo>
                    <a:pt x="3195" y="163"/>
                  </a:moveTo>
                  <a:cubicBezTo>
                    <a:pt x="3189" y="163"/>
                    <a:pt x="3185" y="168"/>
                    <a:pt x="3187" y="173"/>
                  </a:cubicBezTo>
                  <a:cubicBezTo>
                    <a:pt x="3188" y="179"/>
                    <a:pt x="3195" y="184"/>
                    <a:pt x="3201" y="184"/>
                  </a:cubicBezTo>
                  <a:cubicBezTo>
                    <a:pt x="3207" y="184"/>
                    <a:pt x="3210" y="179"/>
                    <a:pt x="3209" y="173"/>
                  </a:cubicBezTo>
                  <a:cubicBezTo>
                    <a:pt x="3207" y="168"/>
                    <a:pt x="3201" y="163"/>
                    <a:pt x="3195" y="163"/>
                  </a:cubicBezTo>
                  <a:cubicBezTo>
                    <a:pt x="3195" y="163"/>
                    <a:pt x="3195" y="163"/>
                    <a:pt x="3195" y="163"/>
                  </a:cubicBezTo>
                  <a:moveTo>
                    <a:pt x="3226" y="163"/>
                  </a:moveTo>
                  <a:cubicBezTo>
                    <a:pt x="3220" y="163"/>
                    <a:pt x="3217" y="167"/>
                    <a:pt x="3218" y="173"/>
                  </a:cubicBezTo>
                  <a:cubicBezTo>
                    <a:pt x="3220" y="179"/>
                    <a:pt x="3226" y="183"/>
                    <a:pt x="3232" y="183"/>
                  </a:cubicBezTo>
                  <a:cubicBezTo>
                    <a:pt x="3238" y="183"/>
                    <a:pt x="3242" y="179"/>
                    <a:pt x="3240" y="173"/>
                  </a:cubicBezTo>
                  <a:cubicBezTo>
                    <a:pt x="3239" y="167"/>
                    <a:pt x="3233" y="163"/>
                    <a:pt x="3227" y="163"/>
                  </a:cubicBezTo>
                  <a:cubicBezTo>
                    <a:pt x="3226" y="163"/>
                    <a:pt x="3226" y="163"/>
                    <a:pt x="3226" y="163"/>
                  </a:cubicBezTo>
                  <a:moveTo>
                    <a:pt x="3258" y="162"/>
                  </a:moveTo>
                  <a:cubicBezTo>
                    <a:pt x="3252" y="163"/>
                    <a:pt x="3248" y="167"/>
                    <a:pt x="3250" y="173"/>
                  </a:cubicBezTo>
                  <a:cubicBezTo>
                    <a:pt x="3251" y="179"/>
                    <a:pt x="3257" y="183"/>
                    <a:pt x="3263" y="183"/>
                  </a:cubicBezTo>
                  <a:cubicBezTo>
                    <a:pt x="3270" y="183"/>
                    <a:pt x="3273" y="178"/>
                    <a:pt x="3272" y="173"/>
                  </a:cubicBezTo>
                  <a:cubicBezTo>
                    <a:pt x="3270" y="167"/>
                    <a:pt x="3264" y="162"/>
                    <a:pt x="3258" y="162"/>
                  </a:cubicBezTo>
                  <a:cubicBezTo>
                    <a:pt x="3258" y="162"/>
                    <a:pt x="3258" y="162"/>
                    <a:pt x="3258" y="162"/>
                  </a:cubicBezTo>
                  <a:moveTo>
                    <a:pt x="3289" y="162"/>
                  </a:moveTo>
                  <a:cubicBezTo>
                    <a:pt x="3283" y="162"/>
                    <a:pt x="3279" y="167"/>
                    <a:pt x="3281" y="173"/>
                  </a:cubicBezTo>
                  <a:cubicBezTo>
                    <a:pt x="3282" y="178"/>
                    <a:pt x="3289" y="183"/>
                    <a:pt x="3295" y="183"/>
                  </a:cubicBezTo>
                  <a:cubicBezTo>
                    <a:pt x="3301" y="183"/>
                    <a:pt x="3305" y="178"/>
                    <a:pt x="3303" y="172"/>
                  </a:cubicBezTo>
                  <a:cubicBezTo>
                    <a:pt x="3301" y="167"/>
                    <a:pt x="3295" y="162"/>
                    <a:pt x="3289" y="162"/>
                  </a:cubicBezTo>
                  <a:cubicBezTo>
                    <a:pt x="3289" y="162"/>
                    <a:pt x="3289" y="162"/>
                    <a:pt x="3289" y="162"/>
                  </a:cubicBezTo>
                  <a:moveTo>
                    <a:pt x="3320" y="162"/>
                  </a:moveTo>
                  <a:cubicBezTo>
                    <a:pt x="3314" y="162"/>
                    <a:pt x="3311" y="167"/>
                    <a:pt x="3312" y="172"/>
                  </a:cubicBezTo>
                  <a:cubicBezTo>
                    <a:pt x="3314" y="178"/>
                    <a:pt x="3320" y="183"/>
                    <a:pt x="3327" y="182"/>
                  </a:cubicBezTo>
                  <a:cubicBezTo>
                    <a:pt x="3333" y="182"/>
                    <a:pt x="3336" y="178"/>
                    <a:pt x="3334" y="172"/>
                  </a:cubicBezTo>
                  <a:cubicBezTo>
                    <a:pt x="3333" y="166"/>
                    <a:pt x="3326" y="162"/>
                    <a:pt x="3320" y="162"/>
                  </a:cubicBezTo>
                  <a:cubicBezTo>
                    <a:pt x="3320" y="162"/>
                    <a:pt x="3320" y="162"/>
                    <a:pt x="3320" y="162"/>
                  </a:cubicBezTo>
                  <a:moveTo>
                    <a:pt x="3352" y="162"/>
                  </a:moveTo>
                  <a:cubicBezTo>
                    <a:pt x="3346" y="162"/>
                    <a:pt x="3343" y="166"/>
                    <a:pt x="3345" y="172"/>
                  </a:cubicBezTo>
                  <a:cubicBezTo>
                    <a:pt x="3347" y="178"/>
                    <a:pt x="3353" y="182"/>
                    <a:pt x="3359" y="182"/>
                  </a:cubicBezTo>
                  <a:cubicBezTo>
                    <a:pt x="3365" y="182"/>
                    <a:pt x="3369" y="177"/>
                    <a:pt x="3367" y="172"/>
                  </a:cubicBezTo>
                  <a:cubicBezTo>
                    <a:pt x="3365" y="166"/>
                    <a:pt x="3359" y="162"/>
                    <a:pt x="3353" y="162"/>
                  </a:cubicBezTo>
                  <a:cubicBezTo>
                    <a:pt x="3353" y="162"/>
                    <a:pt x="3352" y="162"/>
                    <a:pt x="3352" y="162"/>
                  </a:cubicBezTo>
                  <a:moveTo>
                    <a:pt x="3384" y="161"/>
                  </a:moveTo>
                  <a:cubicBezTo>
                    <a:pt x="3378" y="161"/>
                    <a:pt x="3374" y="166"/>
                    <a:pt x="3376" y="172"/>
                  </a:cubicBezTo>
                  <a:cubicBezTo>
                    <a:pt x="3378" y="177"/>
                    <a:pt x="3384" y="182"/>
                    <a:pt x="3390" y="182"/>
                  </a:cubicBezTo>
                  <a:cubicBezTo>
                    <a:pt x="3397" y="182"/>
                    <a:pt x="3400" y="177"/>
                    <a:pt x="3398" y="171"/>
                  </a:cubicBezTo>
                  <a:cubicBezTo>
                    <a:pt x="3396" y="166"/>
                    <a:pt x="3390" y="161"/>
                    <a:pt x="3384" y="161"/>
                  </a:cubicBezTo>
                  <a:cubicBezTo>
                    <a:pt x="3384" y="161"/>
                    <a:pt x="3384" y="161"/>
                    <a:pt x="3384" y="161"/>
                  </a:cubicBezTo>
                  <a:moveTo>
                    <a:pt x="3415" y="161"/>
                  </a:moveTo>
                  <a:cubicBezTo>
                    <a:pt x="3409" y="161"/>
                    <a:pt x="3406" y="166"/>
                    <a:pt x="3408" y="171"/>
                  </a:cubicBezTo>
                  <a:cubicBezTo>
                    <a:pt x="3409" y="177"/>
                    <a:pt x="3416" y="182"/>
                    <a:pt x="3422" y="182"/>
                  </a:cubicBezTo>
                  <a:cubicBezTo>
                    <a:pt x="3428" y="182"/>
                    <a:pt x="3432" y="177"/>
                    <a:pt x="3430" y="171"/>
                  </a:cubicBezTo>
                  <a:cubicBezTo>
                    <a:pt x="3428" y="166"/>
                    <a:pt x="3421" y="161"/>
                    <a:pt x="3415" y="161"/>
                  </a:cubicBezTo>
                  <a:cubicBezTo>
                    <a:pt x="3415" y="161"/>
                    <a:pt x="3415" y="161"/>
                    <a:pt x="3415" y="161"/>
                  </a:cubicBezTo>
                  <a:moveTo>
                    <a:pt x="3447" y="161"/>
                  </a:moveTo>
                  <a:cubicBezTo>
                    <a:pt x="3441" y="161"/>
                    <a:pt x="3437" y="165"/>
                    <a:pt x="3439" y="171"/>
                  </a:cubicBezTo>
                  <a:cubicBezTo>
                    <a:pt x="3441" y="177"/>
                    <a:pt x="3448" y="181"/>
                    <a:pt x="3454" y="181"/>
                  </a:cubicBezTo>
                  <a:cubicBezTo>
                    <a:pt x="3460" y="181"/>
                    <a:pt x="3463" y="177"/>
                    <a:pt x="3461" y="171"/>
                  </a:cubicBezTo>
                  <a:cubicBezTo>
                    <a:pt x="3459" y="165"/>
                    <a:pt x="3453" y="161"/>
                    <a:pt x="3447" y="161"/>
                  </a:cubicBezTo>
                  <a:cubicBezTo>
                    <a:pt x="3447" y="161"/>
                    <a:pt x="3447" y="161"/>
                    <a:pt x="3447" y="161"/>
                  </a:cubicBezTo>
                  <a:moveTo>
                    <a:pt x="3478" y="160"/>
                  </a:moveTo>
                  <a:cubicBezTo>
                    <a:pt x="3472" y="161"/>
                    <a:pt x="3469" y="165"/>
                    <a:pt x="3471" y="171"/>
                  </a:cubicBezTo>
                  <a:cubicBezTo>
                    <a:pt x="3473" y="177"/>
                    <a:pt x="3479" y="181"/>
                    <a:pt x="3485" y="181"/>
                  </a:cubicBezTo>
                  <a:cubicBezTo>
                    <a:pt x="3492" y="181"/>
                    <a:pt x="3495" y="176"/>
                    <a:pt x="3493" y="171"/>
                  </a:cubicBezTo>
                  <a:cubicBezTo>
                    <a:pt x="3490" y="165"/>
                    <a:pt x="3484" y="160"/>
                    <a:pt x="3478" y="160"/>
                  </a:cubicBezTo>
                  <a:cubicBezTo>
                    <a:pt x="3478" y="160"/>
                    <a:pt x="3478" y="160"/>
                    <a:pt x="3478" y="160"/>
                  </a:cubicBezTo>
                  <a:moveTo>
                    <a:pt x="3509" y="160"/>
                  </a:moveTo>
                  <a:cubicBezTo>
                    <a:pt x="3503" y="160"/>
                    <a:pt x="3500" y="165"/>
                    <a:pt x="3502" y="171"/>
                  </a:cubicBezTo>
                  <a:cubicBezTo>
                    <a:pt x="3504" y="176"/>
                    <a:pt x="3511" y="181"/>
                    <a:pt x="3517" y="181"/>
                  </a:cubicBezTo>
                  <a:cubicBezTo>
                    <a:pt x="3523" y="181"/>
                    <a:pt x="3526" y="176"/>
                    <a:pt x="3524" y="170"/>
                  </a:cubicBezTo>
                  <a:cubicBezTo>
                    <a:pt x="3522" y="165"/>
                    <a:pt x="3515" y="160"/>
                    <a:pt x="3509" y="160"/>
                  </a:cubicBezTo>
                  <a:cubicBezTo>
                    <a:pt x="3509" y="160"/>
                    <a:pt x="3509" y="160"/>
                    <a:pt x="3509" y="160"/>
                  </a:cubicBezTo>
                  <a:moveTo>
                    <a:pt x="3540" y="160"/>
                  </a:moveTo>
                  <a:cubicBezTo>
                    <a:pt x="3534" y="160"/>
                    <a:pt x="3531" y="165"/>
                    <a:pt x="3533" y="170"/>
                  </a:cubicBezTo>
                  <a:cubicBezTo>
                    <a:pt x="3535" y="176"/>
                    <a:pt x="3542" y="181"/>
                    <a:pt x="3548" y="180"/>
                  </a:cubicBezTo>
                  <a:cubicBezTo>
                    <a:pt x="3554" y="180"/>
                    <a:pt x="3558" y="176"/>
                    <a:pt x="3555" y="170"/>
                  </a:cubicBezTo>
                  <a:cubicBezTo>
                    <a:pt x="3553" y="164"/>
                    <a:pt x="3546" y="160"/>
                    <a:pt x="3540" y="160"/>
                  </a:cubicBezTo>
                  <a:cubicBezTo>
                    <a:pt x="3540" y="160"/>
                    <a:pt x="3540" y="160"/>
                    <a:pt x="3540" y="160"/>
                  </a:cubicBezTo>
                  <a:moveTo>
                    <a:pt x="3572" y="160"/>
                  </a:moveTo>
                  <a:cubicBezTo>
                    <a:pt x="3566" y="160"/>
                    <a:pt x="3563" y="164"/>
                    <a:pt x="3565" y="170"/>
                  </a:cubicBezTo>
                  <a:cubicBezTo>
                    <a:pt x="3568" y="176"/>
                    <a:pt x="3574" y="180"/>
                    <a:pt x="3580" y="180"/>
                  </a:cubicBezTo>
                  <a:cubicBezTo>
                    <a:pt x="3587" y="180"/>
                    <a:pt x="3590" y="175"/>
                    <a:pt x="3587" y="170"/>
                  </a:cubicBezTo>
                  <a:cubicBezTo>
                    <a:pt x="3585" y="164"/>
                    <a:pt x="3578" y="160"/>
                    <a:pt x="3572" y="160"/>
                  </a:cubicBezTo>
                  <a:cubicBezTo>
                    <a:pt x="3572" y="160"/>
                    <a:pt x="3572" y="160"/>
                    <a:pt x="3572" y="160"/>
                  </a:cubicBezTo>
                  <a:moveTo>
                    <a:pt x="3603" y="159"/>
                  </a:moveTo>
                  <a:cubicBezTo>
                    <a:pt x="3597" y="159"/>
                    <a:pt x="3594" y="164"/>
                    <a:pt x="3597" y="170"/>
                  </a:cubicBezTo>
                  <a:cubicBezTo>
                    <a:pt x="3599" y="175"/>
                    <a:pt x="3606" y="180"/>
                    <a:pt x="3612" y="180"/>
                  </a:cubicBezTo>
                  <a:cubicBezTo>
                    <a:pt x="3618" y="180"/>
                    <a:pt x="3621" y="175"/>
                    <a:pt x="3619" y="169"/>
                  </a:cubicBezTo>
                  <a:cubicBezTo>
                    <a:pt x="3616" y="164"/>
                    <a:pt x="3610" y="159"/>
                    <a:pt x="3604" y="159"/>
                  </a:cubicBezTo>
                  <a:cubicBezTo>
                    <a:pt x="3603" y="159"/>
                    <a:pt x="3603" y="159"/>
                    <a:pt x="3603" y="159"/>
                  </a:cubicBezTo>
                  <a:moveTo>
                    <a:pt x="415" y="159"/>
                  </a:moveTo>
                  <a:cubicBezTo>
                    <a:pt x="409" y="159"/>
                    <a:pt x="400" y="164"/>
                    <a:pt x="396" y="169"/>
                  </a:cubicBezTo>
                  <a:cubicBezTo>
                    <a:pt x="391" y="175"/>
                    <a:pt x="392" y="179"/>
                    <a:pt x="398" y="179"/>
                  </a:cubicBezTo>
                  <a:cubicBezTo>
                    <a:pt x="404" y="179"/>
                    <a:pt x="413" y="175"/>
                    <a:pt x="418" y="169"/>
                  </a:cubicBezTo>
                  <a:cubicBezTo>
                    <a:pt x="422" y="164"/>
                    <a:pt x="421" y="159"/>
                    <a:pt x="415" y="159"/>
                  </a:cubicBezTo>
                  <a:cubicBezTo>
                    <a:pt x="415" y="159"/>
                    <a:pt x="415" y="159"/>
                    <a:pt x="415" y="159"/>
                  </a:cubicBezTo>
                  <a:moveTo>
                    <a:pt x="3636" y="159"/>
                  </a:moveTo>
                  <a:cubicBezTo>
                    <a:pt x="3630" y="159"/>
                    <a:pt x="3627" y="164"/>
                    <a:pt x="3629" y="169"/>
                  </a:cubicBezTo>
                  <a:cubicBezTo>
                    <a:pt x="3632" y="175"/>
                    <a:pt x="3639" y="180"/>
                    <a:pt x="3645" y="180"/>
                  </a:cubicBezTo>
                  <a:cubicBezTo>
                    <a:pt x="3651" y="180"/>
                    <a:pt x="3654" y="175"/>
                    <a:pt x="3651" y="169"/>
                  </a:cubicBezTo>
                  <a:cubicBezTo>
                    <a:pt x="3649" y="164"/>
                    <a:pt x="3642" y="159"/>
                    <a:pt x="3636" y="159"/>
                  </a:cubicBezTo>
                  <a:cubicBezTo>
                    <a:pt x="3636" y="159"/>
                    <a:pt x="3636" y="159"/>
                    <a:pt x="3636" y="159"/>
                  </a:cubicBezTo>
                  <a:moveTo>
                    <a:pt x="447" y="159"/>
                  </a:moveTo>
                  <a:cubicBezTo>
                    <a:pt x="441" y="159"/>
                    <a:pt x="433" y="164"/>
                    <a:pt x="428" y="169"/>
                  </a:cubicBezTo>
                  <a:cubicBezTo>
                    <a:pt x="424" y="175"/>
                    <a:pt x="425" y="179"/>
                    <a:pt x="431" y="179"/>
                  </a:cubicBezTo>
                  <a:cubicBezTo>
                    <a:pt x="437" y="179"/>
                    <a:pt x="446" y="174"/>
                    <a:pt x="450" y="169"/>
                  </a:cubicBezTo>
                  <a:cubicBezTo>
                    <a:pt x="455" y="163"/>
                    <a:pt x="453" y="159"/>
                    <a:pt x="447" y="159"/>
                  </a:cubicBezTo>
                  <a:cubicBezTo>
                    <a:pt x="447" y="159"/>
                    <a:pt x="447" y="159"/>
                    <a:pt x="447" y="159"/>
                  </a:cubicBezTo>
                  <a:moveTo>
                    <a:pt x="3667" y="159"/>
                  </a:moveTo>
                  <a:cubicBezTo>
                    <a:pt x="3661" y="159"/>
                    <a:pt x="3658" y="163"/>
                    <a:pt x="3660" y="169"/>
                  </a:cubicBezTo>
                  <a:cubicBezTo>
                    <a:pt x="3663" y="175"/>
                    <a:pt x="3670" y="179"/>
                    <a:pt x="3676" y="179"/>
                  </a:cubicBezTo>
                  <a:cubicBezTo>
                    <a:pt x="3682" y="179"/>
                    <a:pt x="3685" y="175"/>
                    <a:pt x="3682" y="169"/>
                  </a:cubicBezTo>
                  <a:cubicBezTo>
                    <a:pt x="3680" y="163"/>
                    <a:pt x="3673" y="159"/>
                    <a:pt x="3667" y="159"/>
                  </a:cubicBezTo>
                  <a:cubicBezTo>
                    <a:pt x="3667" y="159"/>
                    <a:pt x="3667" y="159"/>
                    <a:pt x="3667" y="159"/>
                  </a:cubicBezTo>
                  <a:moveTo>
                    <a:pt x="478" y="159"/>
                  </a:moveTo>
                  <a:cubicBezTo>
                    <a:pt x="472" y="159"/>
                    <a:pt x="464" y="163"/>
                    <a:pt x="460" y="169"/>
                  </a:cubicBezTo>
                  <a:cubicBezTo>
                    <a:pt x="455" y="174"/>
                    <a:pt x="456" y="179"/>
                    <a:pt x="463" y="179"/>
                  </a:cubicBezTo>
                  <a:cubicBezTo>
                    <a:pt x="469" y="179"/>
                    <a:pt x="477" y="174"/>
                    <a:pt x="482" y="169"/>
                  </a:cubicBezTo>
                  <a:cubicBezTo>
                    <a:pt x="486" y="163"/>
                    <a:pt x="485" y="159"/>
                    <a:pt x="479" y="159"/>
                  </a:cubicBezTo>
                  <a:cubicBezTo>
                    <a:pt x="479" y="159"/>
                    <a:pt x="479" y="159"/>
                    <a:pt x="478" y="159"/>
                  </a:cubicBezTo>
                  <a:moveTo>
                    <a:pt x="3698" y="158"/>
                  </a:moveTo>
                  <a:cubicBezTo>
                    <a:pt x="3692" y="159"/>
                    <a:pt x="3689" y="163"/>
                    <a:pt x="3692" y="169"/>
                  </a:cubicBezTo>
                  <a:cubicBezTo>
                    <a:pt x="3694" y="175"/>
                    <a:pt x="3701" y="179"/>
                    <a:pt x="3708" y="179"/>
                  </a:cubicBezTo>
                  <a:cubicBezTo>
                    <a:pt x="3714" y="179"/>
                    <a:pt x="3716" y="174"/>
                    <a:pt x="3714" y="169"/>
                  </a:cubicBezTo>
                  <a:cubicBezTo>
                    <a:pt x="3711" y="163"/>
                    <a:pt x="3704" y="158"/>
                    <a:pt x="3698" y="158"/>
                  </a:cubicBezTo>
                  <a:cubicBezTo>
                    <a:pt x="3698" y="158"/>
                    <a:pt x="3698" y="158"/>
                    <a:pt x="3698" y="158"/>
                  </a:cubicBezTo>
                  <a:moveTo>
                    <a:pt x="510" y="158"/>
                  </a:moveTo>
                  <a:cubicBezTo>
                    <a:pt x="504" y="158"/>
                    <a:pt x="495" y="163"/>
                    <a:pt x="491" y="169"/>
                  </a:cubicBezTo>
                  <a:cubicBezTo>
                    <a:pt x="487" y="174"/>
                    <a:pt x="488" y="179"/>
                    <a:pt x="494" y="179"/>
                  </a:cubicBezTo>
                  <a:cubicBezTo>
                    <a:pt x="500" y="178"/>
                    <a:pt x="509" y="174"/>
                    <a:pt x="513" y="168"/>
                  </a:cubicBezTo>
                  <a:cubicBezTo>
                    <a:pt x="517" y="163"/>
                    <a:pt x="516" y="158"/>
                    <a:pt x="510" y="158"/>
                  </a:cubicBezTo>
                  <a:cubicBezTo>
                    <a:pt x="510" y="158"/>
                    <a:pt x="510" y="158"/>
                    <a:pt x="510" y="158"/>
                  </a:cubicBezTo>
                  <a:moveTo>
                    <a:pt x="3730" y="158"/>
                  </a:moveTo>
                  <a:cubicBezTo>
                    <a:pt x="3724" y="158"/>
                    <a:pt x="3721" y="163"/>
                    <a:pt x="3724" y="169"/>
                  </a:cubicBezTo>
                  <a:cubicBezTo>
                    <a:pt x="3726" y="174"/>
                    <a:pt x="3733" y="179"/>
                    <a:pt x="3739" y="179"/>
                  </a:cubicBezTo>
                  <a:cubicBezTo>
                    <a:pt x="3746" y="179"/>
                    <a:pt x="3748" y="174"/>
                    <a:pt x="3746" y="168"/>
                  </a:cubicBezTo>
                  <a:cubicBezTo>
                    <a:pt x="3743" y="163"/>
                    <a:pt x="3736" y="158"/>
                    <a:pt x="3730" y="158"/>
                  </a:cubicBezTo>
                  <a:cubicBezTo>
                    <a:pt x="3730" y="158"/>
                    <a:pt x="3730" y="158"/>
                    <a:pt x="3730" y="158"/>
                  </a:cubicBezTo>
                  <a:moveTo>
                    <a:pt x="542" y="158"/>
                  </a:moveTo>
                  <a:cubicBezTo>
                    <a:pt x="536" y="158"/>
                    <a:pt x="528" y="163"/>
                    <a:pt x="523" y="168"/>
                  </a:cubicBezTo>
                  <a:cubicBezTo>
                    <a:pt x="519" y="174"/>
                    <a:pt x="521" y="178"/>
                    <a:pt x="527" y="178"/>
                  </a:cubicBezTo>
                  <a:cubicBezTo>
                    <a:pt x="533" y="178"/>
                    <a:pt x="541" y="174"/>
                    <a:pt x="545" y="168"/>
                  </a:cubicBezTo>
                  <a:cubicBezTo>
                    <a:pt x="550" y="162"/>
                    <a:pt x="548" y="158"/>
                    <a:pt x="542" y="158"/>
                  </a:cubicBezTo>
                  <a:cubicBezTo>
                    <a:pt x="542" y="158"/>
                    <a:pt x="542" y="158"/>
                    <a:pt x="542" y="158"/>
                  </a:cubicBezTo>
                  <a:moveTo>
                    <a:pt x="3761" y="158"/>
                  </a:moveTo>
                  <a:cubicBezTo>
                    <a:pt x="3755" y="158"/>
                    <a:pt x="3752" y="163"/>
                    <a:pt x="3755" y="168"/>
                  </a:cubicBezTo>
                  <a:cubicBezTo>
                    <a:pt x="3758" y="174"/>
                    <a:pt x="3765" y="179"/>
                    <a:pt x="3771" y="178"/>
                  </a:cubicBezTo>
                  <a:cubicBezTo>
                    <a:pt x="3777" y="178"/>
                    <a:pt x="3780" y="174"/>
                    <a:pt x="3777" y="168"/>
                  </a:cubicBezTo>
                  <a:cubicBezTo>
                    <a:pt x="3774" y="162"/>
                    <a:pt x="3767" y="158"/>
                    <a:pt x="3761" y="158"/>
                  </a:cubicBezTo>
                  <a:cubicBezTo>
                    <a:pt x="3761" y="158"/>
                    <a:pt x="3761" y="158"/>
                    <a:pt x="3761" y="158"/>
                  </a:cubicBezTo>
                  <a:moveTo>
                    <a:pt x="573" y="158"/>
                  </a:moveTo>
                  <a:cubicBezTo>
                    <a:pt x="567" y="158"/>
                    <a:pt x="559" y="162"/>
                    <a:pt x="555" y="168"/>
                  </a:cubicBezTo>
                  <a:cubicBezTo>
                    <a:pt x="550" y="174"/>
                    <a:pt x="552" y="178"/>
                    <a:pt x="558" y="178"/>
                  </a:cubicBezTo>
                  <a:cubicBezTo>
                    <a:pt x="564" y="178"/>
                    <a:pt x="573" y="173"/>
                    <a:pt x="577" y="168"/>
                  </a:cubicBezTo>
                  <a:cubicBezTo>
                    <a:pt x="581" y="162"/>
                    <a:pt x="579" y="158"/>
                    <a:pt x="573" y="158"/>
                  </a:cubicBezTo>
                  <a:cubicBezTo>
                    <a:pt x="573" y="158"/>
                    <a:pt x="573" y="158"/>
                    <a:pt x="573" y="158"/>
                  </a:cubicBezTo>
                  <a:moveTo>
                    <a:pt x="3792" y="158"/>
                  </a:moveTo>
                  <a:cubicBezTo>
                    <a:pt x="3786" y="158"/>
                    <a:pt x="3784" y="162"/>
                    <a:pt x="3786" y="168"/>
                  </a:cubicBezTo>
                  <a:cubicBezTo>
                    <a:pt x="3789" y="174"/>
                    <a:pt x="3796" y="178"/>
                    <a:pt x="3802" y="178"/>
                  </a:cubicBezTo>
                  <a:cubicBezTo>
                    <a:pt x="3808" y="178"/>
                    <a:pt x="3811" y="173"/>
                    <a:pt x="3808" y="168"/>
                  </a:cubicBezTo>
                  <a:cubicBezTo>
                    <a:pt x="3805" y="162"/>
                    <a:pt x="3798" y="158"/>
                    <a:pt x="3792" y="158"/>
                  </a:cubicBezTo>
                  <a:cubicBezTo>
                    <a:pt x="3792" y="158"/>
                    <a:pt x="3792" y="158"/>
                    <a:pt x="3792" y="158"/>
                  </a:cubicBezTo>
                  <a:moveTo>
                    <a:pt x="729" y="158"/>
                  </a:moveTo>
                  <a:cubicBezTo>
                    <a:pt x="723" y="158"/>
                    <a:pt x="715" y="162"/>
                    <a:pt x="711" y="168"/>
                  </a:cubicBezTo>
                  <a:cubicBezTo>
                    <a:pt x="708" y="173"/>
                    <a:pt x="709" y="178"/>
                    <a:pt x="715" y="178"/>
                  </a:cubicBezTo>
                  <a:cubicBezTo>
                    <a:pt x="722" y="178"/>
                    <a:pt x="730" y="173"/>
                    <a:pt x="733" y="168"/>
                  </a:cubicBezTo>
                  <a:cubicBezTo>
                    <a:pt x="737" y="162"/>
                    <a:pt x="735" y="158"/>
                    <a:pt x="729" y="158"/>
                  </a:cubicBezTo>
                  <a:cubicBezTo>
                    <a:pt x="729" y="158"/>
                    <a:pt x="729" y="158"/>
                    <a:pt x="729" y="158"/>
                  </a:cubicBezTo>
                  <a:moveTo>
                    <a:pt x="605" y="157"/>
                  </a:moveTo>
                  <a:cubicBezTo>
                    <a:pt x="598" y="157"/>
                    <a:pt x="590" y="162"/>
                    <a:pt x="586" y="168"/>
                  </a:cubicBezTo>
                  <a:cubicBezTo>
                    <a:pt x="582" y="173"/>
                    <a:pt x="584" y="178"/>
                    <a:pt x="590" y="178"/>
                  </a:cubicBezTo>
                  <a:cubicBezTo>
                    <a:pt x="596" y="178"/>
                    <a:pt x="604" y="173"/>
                    <a:pt x="608" y="167"/>
                  </a:cubicBezTo>
                  <a:cubicBezTo>
                    <a:pt x="612" y="162"/>
                    <a:pt x="611" y="157"/>
                    <a:pt x="605" y="157"/>
                  </a:cubicBezTo>
                  <a:cubicBezTo>
                    <a:pt x="605" y="157"/>
                    <a:pt x="605" y="157"/>
                    <a:pt x="605" y="157"/>
                  </a:cubicBezTo>
                  <a:moveTo>
                    <a:pt x="3823" y="157"/>
                  </a:moveTo>
                  <a:cubicBezTo>
                    <a:pt x="3817" y="157"/>
                    <a:pt x="3815" y="162"/>
                    <a:pt x="3817" y="168"/>
                  </a:cubicBezTo>
                  <a:cubicBezTo>
                    <a:pt x="3820" y="173"/>
                    <a:pt x="3828" y="178"/>
                    <a:pt x="3834" y="178"/>
                  </a:cubicBezTo>
                  <a:cubicBezTo>
                    <a:pt x="3840" y="178"/>
                    <a:pt x="3842" y="173"/>
                    <a:pt x="3839" y="167"/>
                  </a:cubicBezTo>
                  <a:cubicBezTo>
                    <a:pt x="3837" y="162"/>
                    <a:pt x="3829" y="157"/>
                    <a:pt x="3823" y="157"/>
                  </a:cubicBezTo>
                  <a:cubicBezTo>
                    <a:pt x="3823" y="157"/>
                    <a:pt x="3823" y="157"/>
                    <a:pt x="3823" y="157"/>
                  </a:cubicBezTo>
                  <a:moveTo>
                    <a:pt x="761" y="157"/>
                  </a:moveTo>
                  <a:cubicBezTo>
                    <a:pt x="755" y="157"/>
                    <a:pt x="747" y="162"/>
                    <a:pt x="743" y="167"/>
                  </a:cubicBezTo>
                  <a:cubicBezTo>
                    <a:pt x="739" y="173"/>
                    <a:pt x="741" y="178"/>
                    <a:pt x="747" y="178"/>
                  </a:cubicBezTo>
                  <a:cubicBezTo>
                    <a:pt x="753" y="177"/>
                    <a:pt x="761" y="173"/>
                    <a:pt x="765" y="167"/>
                  </a:cubicBezTo>
                  <a:cubicBezTo>
                    <a:pt x="769" y="162"/>
                    <a:pt x="767" y="157"/>
                    <a:pt x="761" y="157"/>
                  </a:cubicBezTo>
                  <a:cubicBezTo>
                    <a:pt x="761" y="157"/>
                    <a:pt x="761" y="157"/>
                    <a:pt x="761" y="157"/>
                  </a:cubicBezTo>
                  <a:moveTo>
                    <a:pt x="636" y="157"/>
                  </a:moveTo>
                  <a:cubicBezTo>
                    <a:pt x="630" y="157"/>
                    <a:pt x="621" y="162"/>
                    <a:pt x="617" y="167"/>
                  </a:cubicBezTo>
                  <a:cubicBezTo>
                    <a:pt x="613" y="173"/>
                    <a:pt x="615" y="177"/>
                    <a:pt x="621" y="177"/>
                  </a:cubicBezTo>
                  <a:cubicBezTo>
                    <a:pt x="627" y="177"/>
                    <a:pt x="635" y="173"/>
                    <a:pt x="639" y="167"/>
                  </a:cubicBezTo>
                  <a:cubicBezTo>
                    <a:pt x="643" y="162"/>
                    <a:pt x="642" y="157"/>
                    <a:pt x="636" y="157"/>
                  </a:cubicBezTo>
                  <a:cubicBezTo>
                    <a:pt x="636" y="157"/>
                    <a:pt x="636" y="157"/>
                    <a:pt x="636" y="157"/>
                  </a:cubicBezTo>
                  <a:moveTo>
                    <a:pt x="3854" y="157"/>
                  </a:moveTo>
                  <a:cubicBezTo>
                    <a:pt x="3848" y="157"/>
                    <a:pt x="3846" y="162"/>
                    <a:pt x="3849" y="167"/>
                  </a:cubicBezTo>
                  <a:cubicBezTo>
                    <a:pt x="3852" y="173"/>
                    <a:pt x="3859" y="178"/>
                    <a:pt x="3865" y="178"/>
                  </a:cubicBezTo>
                  <a:cubicBezTo>
                    <a:pt x="3871" y="178"/>
                    <a:pt x="3874" y="173"/>
                    <a:pt x="3871" y="167"/>
                  </a:cubicBezTo>
                  <a:cubicBezTo>
                    <a:pt x="3868" y="162"/>
                    <a:pt x="3861" y="157"/>
                    <a:pt x="3855" y="157"/>
                  </a:cubicBezTo>
                  <a:cubicBezTo>
                    <a:pt x="3855" y="157"/>
                    <a:pt x="3854" y="157"/>
                    <a:pt x="3854" y="157"/>
                  </a:cubicBezTo>
                  <a:moveTo>
                    <a:pt x="792" y="157"/>
                  </a:moveTo>
                  <a:cubicBezTo>
                    <a:pt x="786" y="157"/>
                    <a:pt x="778" y="162"/>
                    <a:pt x="775" y="167"/>
                  </a:cubicBezTo>
                  <a:cubicBezTo>
                    <a:pt x="771" y="173"/>
                    <a:pt x="773" y="177"/>
                    <a:pt x="779" y="177"/>
                  </a:cubicBezTo>
                  <a:cubicBezTo>
                    <a:pt x="785" y="177"/>
                    <a:pt x="793" y="173"/>
                    <a:pt x="797" y="167"/>
                  </a:cubicBezTo>
                  <a:cubicBezTo>
                    <a:pt x="800" y="161"/>
                    <a:pt x="798" y="157"/>
                    <a:pt x="792" y="157"/>
                  </a:cubicBezTo>
                  <a:cubicBezTo>
                    <a:pt x="792" y="157"/>
                    <a:pt x="792" y="157"/>
                    <a:pt x="792" y="157"/>
                  </a:cubicBezTo>
                  <a:moveTo>
                    <a:pt x="667" y="157"/>
                  </a:moveTo>
                  <a:cubicBezTo>
                    <a:pt x="661" y="157"/>
                    <a:pt x="653" y="161"/>
                    <a:pt x="649" y="167"/>
                  </a:cubicBezTo>
                  <a:cubicBezTo>
                    <a:pt x="645" y="173"/>
                    <a:pt x="646" y="177"/>
                    <a:pt x="653" y="177"/>
                  </a:cubicBezTo>
                  <a:cubicBezTo>
                    <a:pt x="659" y="177"/>
                    <a:pt x="667" y="172"/>
                    <a:pt x="671" y="167"/>
                  </a:cubicBezTo>
                  <a:cubicBezTo>
                    <a:pt x="675" y="161"/>
                    <a:pt x="673" y="157"/>
                    <a:pt x="667" y="157"/>
                  </a:cubicBezTo>
                  <a:cubicBezTo>
                    <a:pt x="667" y="157"/>
                    <a:pt x="667" y="157"/>
                    <a:pt x="667" y="157"/>
                  </a:cubicBezTo>
                  <a:moveTo>
                    <a:pt x="3886" y="157"/>
                  </a:moveTo>
                  <a:cubicBezTo>
                    <a:pt x="3879" y="157"/>
                    <a:pt x="3877" y="161"/>
                    <a:pt x="3880" y="167"/>
                  </a:cubicBezTo>
                  <a:cubicBezTo>
                    <a:pt x="3883" y="173"/>
                    <a:pt x="3890" y="177"/>
                    <a:pt x="3896" y="177"/>
                  </a:cubicBezTo>
                  <a:cubicBezTo>
                    <a:pt x="3902" y="177"/>
                    <a:pt x="3905" y="173"/>
                    <a:pt x="3902" y="167"/>
                  </a:cubicBezTo>
                  <a:cubicBezTo>
                    <a:pt x="3899" y="161"/>
                    <a:pt x="3892" y="157"/>
                    <a:pt x="3886" y="157"/>
                  </a:cubicBezTo>
                  <a:cubicBezTo>
                    <a:pt x="3886" y="157"/>
                    <a:pt x="3886" y="157"/>
                    <a:pt x="3886" y="157"/>
                  </a:cubicBezTo>
                  <a:moveTo>
                    <a:pt x="823" y="157"/>
                  </a:moveTo>
                  <a:cubicBezTo>
                    <a:pt x="817" y="157"/>
                    <a:pt x="809" y="161"/>
                    <a:pt x="806" y="167"/>
                  </a:cubicBezTo>
                  <a:cubicBezTo>
                    <a:pt x="802" y="173"/>
                    <a:pt x="804" y="177"/>
                    <a:pt x="810" y="177"/>
                  </a:cubicBezTo>
                  <a:cubicBezTo>
                    <a:pt x="816" y="177"/>
                    <a:pt x="824" y="172"/>
                    <a:pt x="828" y="167"/>
                  </a:cubicBezTo>
                  <a:cubicBezTo>
                    <a:pt x="831" y="161"/>
                    <a:pt x="829" y="157"/>
                    <a:pt x="824" y="157"/>
                  </a:cubicBezTo>
                  <a:cubicBezTo>
                    <a:pt x="823" y="157"/>
                    <a:pt x="823" y="157"/>
                    <a:pt x="823" y="157"/>
                  </a:cubicBezTo>
                  <a:moveTo>
                    <a:pt x="3917" y="156"/>
                  </a:moveTo>
                  <a:cubicBezTo>
                    <a:pt x="3911" y="157"/>
                    <a:pt x="3908" y="161"/>
                    <a:pt x="3911" y="167"/>
                  </a:cubicBezTo>
                  <a:cubicBezTo>
                    <a:pt x="3914" y="173"/>
                    <a:pt x="3922" y="177"/>
                    <a:pt x="3928" y="177"/>
                  </a:cubicBezTo>
                  <a:cubicBezTo>
                    <a:pt x="3934" y="177"/>
                    <a:pt x="3936" y="172"/>
                    <a:pt x="3933" y="167"/>
                  </a:cubicBezTo>
                  <a:cubicBezTo>
                    <a:pt x="3930" y="161"/>
                    <a:pt x="3923" y="156"/>
                    <a:pt x="3917" y="156"/>
                  </a:cubicBezTo>
                  <a:cubicBezTo>
                    <a:pt x="3917" y="156"/>
                    <a:pt x="3917" y="156"/>
                    <a:pt x="3917" y="156"/>
                  </a:cubicBezTo>
                  <a:moveTo>
                    <a:pt x="855" y="156"/>
                  </a:moveTo>
                  <a:cubicBezTo>
                    <a:pt x="849" y="156"/>
                    <a:pt x="841" y="161"/>
                    <a:pt x="837" y="167"/>
                  </a:cubicBezTo>
                  <a:cubicBezTo>
                    <a:pt x="834" y="172"/>
                    <a:pt x="836" y="177"/>
                    <a:pt x="842" y="177"/>
                  </a:cubicBezTo>
                  <a:cubicBezTo>
                    <a:pt x="848" y="177"/>
                    <a:pt x="856" y="172"/>
                    <a:pt x="859" y="166"/>
                  </a:cubicBezTo>
                  <a:cubicBezTo>
                    <a:pt x="863" y="161"/>
                    <a:pt x="861" y="156"/>
                    <a:pt x="855" y="156"/>
                  </a:cubicBezTo>
                  <a:cubicBezTo>
                    <a:pt x="855" y="156"/>
                    <a:pt x="855" y="156"/>
                    <a:pt x="855" y="156"/>
                  </a:cubicBezTo>
                  <a:moveTo>
                    <a:pt x="3948" y="156"/>
                  </a:moveTo>
                  <a:cubicBezTo>
                    <a:pt x="3942" y="156"/>
                    <a:pt x="3940" y="161"/>
                    <a:pt x="3943" y="167"/>
                  </a:cubicBezTo>
                  <a:cubicBezTo>
                    <a:pt x="3946" y="172"/>
                    <a:pt x="3954" y="177"/>
                    <a:pt x="3960" y="177"/>
                  </a:cubicBezTo>
                  <a:cubicBezTo>
                    <a:pt x="3966" y="177"/>
                    <a:pt x="3968" y="172"/>
                    <a:pt x="3965" y="166"/>
                  </a:cubicBezTo>
                  <a:cubicBezTo>
                    <a:pt x="3962" y="161"/>
                    <a:pt x="3955" y="156"/>
                    <a:pt x="3949" y="156"/>
                  </a:cubicBezTo>
                  <a:cubicBezTo>
                    <a:pt x="3949" y="156"/>
                    <a:pt x="3949" y="156"/>
                    <a:pt x="3948" y="156"/>
                  </a:cubicBezTo>
                  <a:moveTo>
                    <a:pt x="3980" y="156"/>
                  </a:moveTo>
                  <a:cubicBezTo>
                    <a:pt x="3974" y="156"/>
                    <a:pt x="3971" y="161"/>
                    <a:pt x="3974" y="166"/>
                  </a:cubicBezTo>
                  <a:cubicBezTo>
                    <a:pt x="3978" y="172"/>
                    <a:pt x="3985" y="177"/>
                    <a:pt x="3991" y="176"/>
                  </a:cubicBezTo>
                  <a:cubicBezTo>
                    <a:pt x="3997" y="176"/>
                    <a:pt x="4000" y="172"/>
                    <a:pt x="3996" y="166"/>
                  </a:cubicBezTo>
                  <a:cubicBezTo>
                    <a:pt x="3993" y="160"/>
                    <a:pt x="3986" y="156"/>
                    <a:pt x="3980" y="156"/>
                  </a:cubicBezTo>
                  <a:cubicBezTo>
                    <a:pt x="3980" y="156"/>
                    <a:pt x="3980" y="156"/>
                    <a:pt x="3980" y="156"/>
                  </a:cubicBezTo>
                  <a:moveTo>
                    <a:pt x="4011" y="156"/>
                  </a:moveTo>
                  <a:cubicBezTo>
                    <a:pt x="4005" y="156"/>
                    <a:pt x="4002" y="160"/>
                    <a:pt x="4006" y="166"/>
                  </a:cubicBezTo>
                  <a:cubicBezTo>
                    <a:pt x="4009" y="172"/>
                    <a:pt x="4017" y="176"/>
                    <a:pt x="4023" y="176"/>
                  </a:cubicBezTo>
                  <a:cubicBezTo>
                    <a:pt x="4029" y="176"/>
                    <a:pt x="4031" y="171"/>
                    <a:pt x="4028" y="166"/>
                  </a:cubicBezTo>
                  <a:cubicBezTo>
                    <a:pt x="4024" y="160"/>
                    <a:pt x="4017" y="156"/>
                    <a:pt x="4011" y="156"/>
                  </a:cubicBezTo>
                  <a:cubicBezTo>
                    <a:pt x="4011" y="156"/>
                    <a:pt x="4011" y="156"/>
                    <a:pt x="4011" y="156"/>
                  </a:cubicBezTo>
                  <a:moveTo>
                    <a:pt x="949" y="156"/>
                  </a:moveTo>
                  <a:cubicBezTo>
                    <a:pt x="943" y="156"/>
                    <a:pt x="935" y="160"/>
                    <a:pt x="932" y="166"/>
                  </a:cubicBezTo>
                  <a:cubicBezTo>
                    <a:pt x="928" y="171"/>
                    <a:pt x="930" y="176"/>
                    <a:pt x="936" y="176"/>
                  </a:cubicBezTo>
                  <a:cubicBezTo>
                    <a:pt x="942" y="176"/>
                    <a:pt x="950" y="171"/>
                    <a:pt x="954" y="166"/>
                  </a:cubicBezTo>
                  <a:cubicBezTo>
                    <a:pt x="957" y="160"/>
                    <a:pt x="955" y="156"/>
                    <a:pt x="949" y="156"/>
                  </a:cubicBezTo>
                  <a:cubicBezTo>
                    <a:pt x="949" y="156"/>
                    <a:pt x="949" y="156"/>
                    <a:pt x="949" y="156"/>
                  </a:cubicBezTo>
                  <a:moveTo>
                    <a:pt x="4042" y="155"/>
                  </a:moveTo>
                  <a:cubicBezTo>
                    <a:pt x="4036" y="155"/>
                    <a:pt x="4034" y="160"/>
                    <a:pt x="4037" y="166"/>
                  </a:cubicBezTo>
                  <a:cubicBezTo>
                    <a:pt x="4040" y="171"/>
                    <a:pt x="4048" y="176"/>
                    <a:pt x="4054" y="176"/>
                  </a:cubicBezTo>
                  <a:cubicBezTo>
                    <a:pt x="4060" y="176"/>
                    <a:pt x="4062" y="171"/>
                    <a:pt x="4059" y="166"/>
                  </a:cubicBezTo>
                  <a:cubicBezTo>
                    <a:pt x="4056" y="160"/>
                    <a:pt x="4048" y="155"/>
                    <a:pt x="4042" y="155"/>
                  </a:cubicBezTo>
                  <a:cubicBezTo>
                    <a:pt x="4042" y="155"/>
                    <a:pt x="4042" y="155"/>
                    <a:pt x="4042" y="155"/>
                  </a:cubicBezTo>
                  <a:moveTo>
                    <a:pt x="980" y="155"/>
                  </a:moveTo>
                  <a:cubicBezTo>
                    <a:pt x="974" y="155"/>
                    <a:pt x="966" y="160"/>
                    <a:pt x="963" y="165"/>
                  </a:cubicBezTo>
                  <a:cubicBezTo>
                    <a:pt x="959" y="171"/>
                    <a:pt x="962" y="176"/>
                    <a:pt x="968" y="176"/>
                  </a:cubicBezTo>
                  <a:cubicBezTo>
                    <a:pt x="974" y="175"/>
                    <a:pt x="981" y="171"/>
                    <a:pt x="985" y="165"/>
                  </a:cubicBezTo>
                  <a:cubicBezTo>
                    <a:pt x="988" y="160"/>
                    <a:pt x="986" y="155"/>
                    <a:pt x="980" y="155"/>
                  </a:cubicBezTo>
                  <a:cubicBezTo>
                    <a:pt x="980" y="155"/>
                    <a:pt x="980" y="155"/>
                    <a:pt x="980" y="155"/>
                  </a:cubicBezTo>
                  <a:moveTo>
                    <a:pt x="4072" y="155"/>
                  </a:moveTo>
                  <a:cubicBezTo>
                    <a:pt x="4066" y="155"/>
                    <a:pt x="4064" y="160"/>
                    <a:pt x="4067" y="165"/>
                  </a:cubicBezTo>
                  <a:cubicBezTo>
                    <a:pt x="4071" y="171"/>
                    <a:pt x="4078" y="176"/>
                    <a:pt x="4085" y="176"/>
                  </a:cubicBezTo>
                  <a:cubicBezTo>
                    <a:pt x="4091" y="176"/>
                    <a:pt x="4093" y="171"/>
                    <a:pt x="4089" y="165"/>
                  </a:cubicBezTo>
                  <a:cubicBezTo>
                    <a:pt x="4086" y="160"/>
                    <a:pt x="4078" y="155"/>
                    <a:pt x="4072" y="155"/>
                  </a:cubicBezTo>
                  <a:cubicBezTo>
                    <a:pt x="4072" y="155"/>
                    <a:pt x="4072" y="155"/>
                    <a:pt x="4072" y="155"/>
                  </a:cubicBezTo>
                  <a:moveTo>
                    <a:pt x="4103" y="155"/>
                  </a:moveTo>
                  <a:cubicBezTo>
                    <a:pt x="4097" y="155"/>
                    <a:pt x="4095" y="159"/>
                    <a:pt x="4099" y="165"/>
                  </a:cubicBezTo>
                  <a:cubicBezTo>
                    <a:pt x="4102" y="171"/>
                    <a:pt x="4110" y="175"/>
                    <a:pt x="4116" y="175"/>
                  </a:cubicBezTo>
                  <a:cubicBezTo>
                    <a:pt x="4122" y="175"/>
                    <a:pt x="4124" y="171"/>
                    <a:pt x="4121" y="165"/>
                  </a:cubicBezTo>
                  <a:cubicBezTo>
                    <a:pt x="4117" y="159"/>
                    <a:pt x="4110" y="155"/>
                    <a:pt x="4104" y="155"/>
                  </a:cubicBezTo>
                  <a:cubicBezTo>
                    <a:pt x="4103" y="155"/>
                    <a:pt x="4103" y="155"/>
                    <a:pt x="4103" y="155"/>
                  </a:cubicBezTo>
                  <a:moveTo>
                    <a:pt x="1041" y="155"/>
                  </a:moveTo>
                  <a:cubicBezTo>
                    <a:pt x="1035" y="155"/>
                    <a:pt x="1027" y="159"/>
                    <a:pt x="1024" y="165"/>
                  </a:cubicBezTo>
                  <a:cubicBezTo>
                    <a:pt x="1021" y="171"/>
                    <a:pt x="1023" y="175"/>
                    <a:pt x="1029" y="175"/>
                  </a:cubicBezTo>
                  <a:cubicBezTo>
                    <a:pt x="1035" y="175"/>
                    <a:pt x="1043" y="170"/>
                    <a:pt x="1046" y="165"/>
                  </a:cubicBezTo>
                  <a:cubicBezTo>
                    <a:pt x="1049" y="159"/>
                    <a:pt x="1047" y="155"/>
                    <a:pt x="1041" y="155"/>
                  </a:cubicBezTo>
                  <a:cubicBezTo>
                    <a:pt x="1041" y="155"/>
                    <a:pt x="1041" y="155"/>
                    <a:pt x="1041" y="155"/>
                  </a:cubicBezTo>
                  <a:moveTo>
                    <a:pt x="1352" y="154"/>
                  </a:moveTo>
                  <a:cubicBezTo>
                    <a:pt x="1346" y="154"/>
                    <a:pt x="1339" y="159"/>
                    <a:pt x="1336" y="165"/>
                  </a:cubicBezTo>
                  <a:cubicBezTo>
                    <a:pt x="1334" y="170"/>
                    <a:pt x="1337" y="175"/>
                    <a:pt x="1343" y="175"/>
                  </a:cubicBezTo>
                  <a:cubicBezTo>
                    <a:pt x="1349" y="175"/>
                    <a:pt x="1356" y="170"/>
                    <a:pt x="1358" y="164"/>
                  </a:cubicBezTo>
                  <a:cubicBezTo>
                    <a:pt x="1361" y="159"/>
                    <a:pt x="1358" y="154"/>
                    <a:pt x="1352" y="154"/>
                  </a:cubicBezTo>
                  <a:cubicBezTo>
                    <a:pt x="1352" y="154"/>
                    <a:pt x="1352" y="154"/>
                    <a:pt x="1352" y="154"/>
                  </a:cubicBezTo>
                  <a:moveTo>
                    <a:pt x="1383" y="154"/>
                  </a:moveTo>
                  <a:cubicBezTo>
                    <a:pt x="1377" y="154"/>
                    <a:pt x="1370" y="159"/>
                    <a:pt x="1367" y="164"/>
                  </a:cubicBezTo>
                  <a:cubicBezTo>
                    <a:pt x="1365" y="170"/>
                    <a:pt x="1368" y="174"/>
                    <a:pt x="1374" y="174"/>
                  </a:cubicBezTo>
                  <a:cubicBezTo>
                    <a:pt x="1380" y="174"/>
                    <a:pt x="1387" y="170"/>
                    <a:pt x="1389" y="164"/>
                  </a:cubicBezTo>
                  <a:cubicBezTo>
                    <a:pt x="1392" y="159"/>
                    <a:pt x="1389" y="154"/>
                    <a:pt x="1383" y="154"/>
                  </a:cubicBezTo>
                  <a:cubicBezTo>
                    <a:pt x="1383" y="154"/>
                    <a:pt x="1383" y="154"/>
                    <a:pt x="1383" y="154"/>
                  </a:cubicBezTo>
                  <a:moveTo>
                    <a:pt x="1415" y="154"/>
                  </a:moveTo>
                  <a:cubicBezTo>
                    <a:pt x="1409" y="154"/>
                    <a:pt x="1402" y="158"/>
                    <a:pt x="1400" y="164"/>
                  </a:cubicBezTo>
                  <a:cubicBezTo>
                    <a:pt x="1397" y="170"/>
                    <a:pt x="1400" y="174"/>
                    <a:pt x="1406" y="174"/>
                  </a:cubicBezTo>
                  <a:cubicBezTo>
                    <a:pt x="1412" y="174"/>
                    <a:pt x="1419" y="169"/>
                    <a:pt x="1422" y="164"/>
                  </a:cubicBezTo>
                  <a:cubicBezTo>
                    <a:pt x="1424" y="158"/>
                    <a:pt x="1421" y="154"/>
                    <a:pt x="1415" y="154"/>
                  </a:cubicBezTo>
                  <a:cubicBezTo>
                    <a:pt x="1415" y="154"/>
                    <a:pt x="1415" y="154"/>
                    <a:pt x="1415" y="154"/>
                  </a:cubicBezTo>
                  <a:moveTo>
                    <a:pt x="1165" y="153"/>
                  </a:moveTo>
                  <a:cubicBezTo>
                    <a:pt x="1159" y="154"/>
                    <a:pt x="1152" y="158"/>
                    <a:pt x="1149" y="164"/>
                  </a:cubicBezTo>
                  <a:cubicBezTo>
                    <a:pt x="1146" y="169"/>
                    <a:pt x="1149" y="174"/>
                    <a:pt x="1155" y="174"/>
                  </a:cubicBezTo>
                  <a:cubicBezTo>
                    <a:pt x="1161" y="174"/>
                    <a:pt x="1168" y="169"/>
                    <a:pt x="1171" y="164"/>
                  </a:cubicBezTo>
                  <a:cubicBezTo>
                    <a:pt x="1174" y="158"/>
                    <a:pt x="1172" y="153"/>
                    <a:pt x="1166" y="153"/>
                  </a:cubicBezTo>
                  <a:cubicBezTo>
                    <a:pt x="1166" y="153"/>
                    <a:pt x="1166" y="153"/>
                    <a:pt x="1165" y="153"/>
                  </a:cubicBezTo>
                  <a:moveTo>
                    <a:pt x="1601" y="148"/>
                  </a:moveTo>
                  <a:cubicBezTo>
                    <a:pt x="1595" y="148"/>
                    <a:pt x="1589" y="153"/>
                    <a:pt x="1587" y="159"/>
                  </a:cubicBezTo>
                  <a:cubicBezTo>
                    <a:pt x="1585" y="164"/>
                    <a:pt x="1588" y="169"/>
                    <a:pt x="1594" y="169"/>
                  </a:cubicBezTo>
                  <a:cubicBezTo>
                    <a:pt x="1600" y="169"/>
                    <a:pt x="1607" y="164"/>
                    <a:pt x="1609" y="158"/>
                  </a:cubicBezTo>
                  <a:cubicBezTo>
                    <a:pt x="1610" y="153"/>
                    <a:pt x="1607" y="148"/>
                    <a:pt x="1601" y="148"/>
                  </a:cubicBezTo>
                  <a:cubicBezTo>
                    <a:pt x="1601" y="148"/>
                    <a:pt x="1601" y="148"/>
                    <a:pt x="1601" y="148"/>
                  </a:cubicBezTo>
                  <a:moveTo>
                    <a:pt x="1633" y="148"/>
                  </a:moveTo>
                  <a:cubicBezTo>
                    <a:pt x="1627" y="148"/>
                    <a:pt x="1620" y="153"/>
                    <a:pt x="1618" y="158"/>
                  </a:cubicBezTo>
                  <a:cubicBezTo>
                    <a:pt x="1616" y="164"/>
                    <a:pt x="1620" y="168"/>
                    <a:pt x="1626" y="168"/>
                  </a:cubicBezTo>
                  <a:cubicBezTo>
                    <a:pt x="1632" y="168"/>
                    <a:pt x="1638" y="164"/>
                    <a:pt x="1640" y="158"/>
                  </a:cubicBezTo>
                  <a:cubicBezTo>
                    <a:pt x="1642" y="153"/>
                    <a:pt x="1639" y="148"/>
                    <a:pt x="1633" y="148"/>
                  </a:cubicBezTo>
                  <a:cubicBezTo>
                    <a:pt x="1633" y="148"/>
                    <a:pt x="1633" y="148"/>
                    <a:pt x="1633" y="148"/>
                  </a:cubicBezTo>
                  <a:moveTo>
                    <a:pt x="1664" y="148"/>
                  </a:moveTo>
                  <a:cubicBezTo>
                    <a:pt x="1658" y="148"/>
                    <a:pt x="1651" y="152"/>
                    <a:pt x="1649" y="158"/>
                  </a:cubicBezTo>
                  <a:cubicBezTo>
                    <a:pt x="1647" y="164"/>
                    <a:pt x="1651" y="168"/>
                    <a:pt x="1657" y="168"/>
                  </a:cubicBezTo>
                  <a:cubicBezTo>
                    <a:pt x="1663" y="168"/>
                    <a:pt x="1669" y="163"/>
                    <a:pt x="1671" y="158"/>
                  </a:cubicBezTo>
                  <a:cubicBezTo>
                    <a:pt x="1673" y="152"/>
                    <a:pt x="1670" y="148"/>
                    <a:pt x="1664" y="148"/>
                  </a:cubicBezTo>
                  <a:cubicBezTo>
                    <a:pt x="1664" y="148"/>
                    <a:pt x="1664" y="148"/>
                    <a:pt x="1664" y="148"/>
                  </a:cubicBezTo>
                  <a:moveTo>
                    <a:pt x="1695" y="147"/>
                  </a:moveTo>
                  <a:cubicBezTo>
                    <a:pt x="1689" y="147"/>
                    <a:pt x="1682" y="152"/>
                    <a:pt x="1681" y="158"/>
                  </a:cubicBezTo>
                  <a:cubicBezTo>
                    <a:pt x="1679" y="163"/>
                    <a:pt x="1682" y="168"/>
                    <a:pt x="1688" y="168"/>
                  </a:cubicBezTo>
                  <a:cubicBezTo>
                    <a:pt x="1694" y="168"/>
                    <a:pt x="1701" y="163"/>
                    <a:pt x="1702" y="158"/>
                  </a:cubicBezTo>
                  <a:cubicBezTo>
                    <a:pt x="1704" y="152"/>
                    <a:pt x="1701" y="147"/>
                    <a:pt x="1695" y="147"/>
                  </a:cubicBezTo>
                  <a:cubicBezTo>
                    <a:pt x="1695" y="147"/>
                    <a:pt x="1695" y="147"/>
                    <a:pt x="1695" y="147"/>
                  </a:cubicBezTo>
                  <a:moveTo>
                    <a:pt x="1726" y="147"/>
                  </a:moveTo>
                  <a:cubicBezTo>
                    <a:pt x="1720" y="147"/>
                    <a:pt x="1713" y="152"/>
                    <a:pt x="1712" y="157"/>
                  </a:cubicBezTo>
                  <a:cubicBezTo>
                    <a:pt x="1710" y="163"/>
                    <a:pt x="1713" y="168"/>
                    <a:pt x="1720" y="168"/>
                  </a:cubicBezTo>
                  <a:cubicBezTo>
                    <a:pt x="1726" y="167"/>
                    <a:pt x="1732" y="163"/>
                    <a:pt x="1734" y="157"/>
                  </a:cubicBezTo>
                  <a:cubicBezTo>
                    <a:pt x="1735" y="152"/>
                    <a:pt x="1732" y="147"/>
                    <a:pt x="1726" y="147"/>
                  </a:cubicBezTo>
                  <a:cubicBezTo>
                    <a:pt x="1726" y="147"/>
                    <a:pt x="1726" y="147"/>
                    <a:pt x="1726" y="147"/>
                  </a:cubicBezTo>
                  <a:moveTo>
                    <a:pt x="1757" y="147"/>
                  </a:moveTo>
                  <a:cubicBezTo>
                    <a:pt x="1751" y="147"/>
                    <a:pt x="1745" y="152"/>
                    <a:pt x="1743" y="157"/>
                  </a:cubicBezTo>
                  <a:cubicBezTo>
                    <a:pt x="1741" y="163"/>
                    <a:pt x="1745" y="167"/>
                    <a:pt x="1751" y="167"/>
                  </a:cubicBezTo>
                  <a:cubicBezTo>
                    <a:pt x="1757" y="167"/>
                    <a:pt x="1763" y="163"/>
                    <a:pt x="1765" y="157"/>
                  </a:cubicBezTo>
                  <a:cubicBezTo>
                    <a:pt x="1767" y="151"/>
                    <a:pt x="1763" y="147"/>
                    <a:pt x="1757" y="147"/>
                  </a:cubicBezTo>
                  <a:cubicBezTo>
                    <a:pt x="1757" y="147"/>
                    <a:pt x="1757" y="147"/>
                    <a:pt x="1757" y="147"/>
                  </a:cubicBezTo>
                  <a:moveTo>
                    <a:pt x="1789" y="147"/>
                  </a:moveTo>
                  <a:cubicBezTo>
                    <a:pt x="1783" y="147"/>
                    <a:pt x="1777" y="151"/>
                    <a:pt x="1775" y="157"/>
                  </a:cubicBezTo>
                  <a:cubicBezTo>
                    <a:pt x="1774" y="162"/>
                    <a:pt x="1777" y="167"/>
                    <a:pt x="1783" y="167"/>
                  </a:cubicBezTo>
                  <a:cubicBezTo>
                    <a:pt x="1789" y="167"/>
                    <a:pt x="1796" y="162"/>
                    <a:pt x="1797" y="157"/>
                  </a:cubicBezTo>
                  <a:cubicBezTo>
                    <a:pt x="1799" y="151"/>
                    <a:pt x="1795" y="147"/>
                    <a:pt x="1789" y="147"/>
                  </a:cubicBezTo>
                  <a:cubicBezTo>
                    <a:pt x="1789" y="147"/>
                    <a:pt x="1789" y="147"/>
                    <a:pt x="1789" y="147"/>
                  </a:cubicBezTo>
                  <a:moveTo>
                    <a:pt x="1820" y="146"/>
                  </a:moveTo>
                  <a:cubicBezTo>
                    <a:pt x="1814" y="146"/>
                    <a:pt x="1808" y="151"/>
                    <a:pt x="1806" y="157"/>
                  </a:cubicBezTo>
                  <a:cubicBezTo>
                    <a:pt x="1805" y="162"/>
                    <a:pt x="1809" y="167"/>
                    <a:pt x="1815" y="167"/>
                  </a:cubicBezTo>
                  <a:cubicBezTo>
                    <a:pt x="1821" y="167"/>
                    <a:pt x="1827" y="162"/>
                    <a:pt x="1828" y="156"/>
                  </a:cubicBezTo>
                  <a:cubicBezTo>
                    <a:pt x="1830" y="151"/>
                    <a:pt x="1826" y="146"/>
                    <a:pt x="1820" y="146"/>
                  </a:cubicBezTo>
                  <a:cubicBezTo>
                    <a:pt x="1820" y="146"/>
                    <a:pt x="1820" y="146"/>
                    <a:pt x="1820" y="146"/>
                  </a:cubicBezTo>
                  <a:moveTo>
                    <a:pt x="1851" y="146"/>
                  </a:moveTo>
                  <a:cubicBezTo>
                    <a:pt x="1845" y="146"/>
                    <a:pt x="1839" y="151"/>
                    <a:pt x="1838" y="156"/>
                  </a:cubicBezTo>
                  <a:cubicBezTo>
                    <a:pt x="1836" y="162"/>
                    <a:pt x="1840" y="166"/>
                    <a:pt x="1846" y="166"/>
                  </a:cubicBezTo>
                  <a:cubicBezTo>
                    <a:pt x="1852" y="166"/>
                    <a:pt x="1858" y="162"/>
                    <a:pt x="1860" y="156"/>
                  </a:cubicBezTo>
                  <a:cubicBezTo>
                    <a:pt x="1861" y="150"/>
                    <a:pt x="1857" y="146"/>
                    <a:pt x="1851" y="146"/>
                  </a:cubicBezTo>
                  <a:cubicBezTo>
                    <a:pt x="1851" y="146"/>
                    <a:pt x="1851" y="146"/>
                    <a:pt x="1851" y="146"/>
                  </a:cubicBezTo>
                  <a:moveTo>
                    <a:pt x="2319" y="143"/>
                  </a:moveTo>
                  <a:cubicBezTo>
                    <a:pt x="2313" y="143"/>
                    <a:pt x="2308" y="147"/>
                    <a:pt x="2307" y="153"/>
                  </a:cubicBezTo>
                  <a:cubicBezTo>
                    <a:pt x="2307" y="159"/>
                    <a:pt x="2312" y="163"/>
                    <a:pt x="2318" y="163"/>
                  </a:cubicBezTo>
                  <a:cubicBezTo>
                    <a:pt x="2324" y="163"/>
                    <a:pt x="2329" y="158"/>
                    <a:pt x="2329" y="153"/>
                  </a:cubicBezTo>
                  <a:cubicBezTo>
                    <a:pt x="2330" y="147"/>
                    <a:pt x="2325" y="143"/>
                    <a:pt x="2319" y="143"/>
                  </a:cubicBezTo>
                  <a:cubicBezTo>
                    <a:pt x="2319" y="143"/>
                    <a:pt x="2319" y="143"/>
                    <a:pt x="2319" y="143"/>
                  </a:cubicBezTo>
                  <a:moveTo>
                    <a:pt x="2350" y="142"/>
                  </a:moveTo>
                  <a:cubicBezTo>
                    <a:pt x="2344" y="142"/>
                    <a:pt x="2339" y="147"/>
                    <a:pt x="2339" y="153"/>
                  </a:cubicBezTo>
                  <a:cubicBezTo>
                    <a:pt x="2338" y="158"/>
                    <a:pt x="2343" y="163"/>
                    <a:pt x="2349" y="163"/>
                  </a:cubicBezTo>
                  <a:cubicBezTo>
                    <a:pt x="2355" y="163"/>
                    <a:pt x="2360" y="158"/>
                    <a:pt x="2360" y="153"/>
                  </a:cubicBezTo>
                  <a:cubicBezTo>
                    <a:pt x="2361" y="147"/>
                    <a:pt x="2356" y="142"/>
                    <a:pt x="2350" y="142"/>
                  </a:cubicBezTo>
                  <a:cubicBezTo>
                    <a:pt x="2350" y="142"/>
                    <a:pt x="2350" y="142"/>
                    <a:pt x="2350" y="142"/>
                  </a:cubicBezTo>
                  <a:moveTo>
                    <a:pt x="2382" y="142"/>
                  </a:moveTo>
                  <a:cubicBezTo>
                    <a:pt x="2376" y="142"/>
                    <a:pt x="2371" y="147"/>
                    <a:pt x="2370" y="152"/>
                  </a:cubicBezTo>
                  <a:cubicBezTo>
                    <a:pt x="2370" y="158"/>
                    <a:pt x="2375" y="163"/>
                    <a:pt x="2381" y="163"/>
                  </a:cubicBezTo>
                  <a:cubicBezTo>
                    <a:pt x="2387" y="163"/>
                    <a:pt x="2392" y="158"/>
                    <a:pt x="2392" y="152"/>
                  </a:cubicBezTo>
                  <a:cubicBezTo>
                    <a:pt x="2392" y="147"/>
                    <a:pt x="2388" y="142"/>
                    <a:pt x="2382" y="142"/>
                  </a:cubicBezTo>
                  <a:cubicBezTo>
                    <a:pt x="2382" y="142"/>
                    <a:pt x="2382" y="142"/>
                    <a:pt x="2382" y="142"/>
                  </a:cubicBezTo>
                  <a:moveTo>
                    <a:pt x="2413" y="142"/>
                  </a:moveTo>
                  <a:cubicBezTo>
                    <a:pt x="2407" y="142"/>
                    <a:pt x="2402" y="147"/>
                    <a:pt x="2401" y="152"/>
                  </a:cubicBezTo>
                  <a:cubicBezTo>
                    <a:pt x="2401" y="158"/>
                    <a:pt x="2406" y="162"/>
                    <a:pt x="2412" y="162"/>
                  </a:cubicBezTo>
                  <a:cubicBezTo>
                    <a:pt x="2418" y="162"/>
                    <a:pt x="2423" y="158"/>
                    <a:pt x="2423" y="152"/>
                  </a:cubicBezTo>
                  <a:cubicBezTo>
                    <a:pt x="2423" y="146"/>
                    <a:pt x="2419" y="142"/>
                    <a:pt x="2413" y="142"/>
                  </a:cubicBezTo>
                  <a:cubicBezTo>
                    <a:pt x="2413" y="142"/>
                    <a:pt x="2413" y="142"/>
                    <a:pt x="2413" y="142"/>
                  </a:cubicBezTo>
                  <a:moveTo>
                    <a:pt x="2444" y="142"/>
                  </a:moveTo>
                  <a:cubicBezTo>
                    <a:pt x="2438" y="142"/>
                    <a:pt x="2433" y="146"/>
                    <a:pt x="2432" y="152"/>
                  </a:cubicBezTo>
                  <a:cubicBezTo>
                    <a:pt x="2432" y="158"/>
                    <a:pt x="2437" y="162"/>
                    <a:pt x="2443" y="162"/>
                  </a:cubicBezTo>
                  <a:cubicBezTo>
                    <a:pt x="2449" y="162"/>
                    <a:pt x="2454" y="157"/>
                    <a:pt x="2454" y="152"/>
                  </a:cubicBezTo>
                  <a:cubicBezTo>
                    <a:pt x="2454" y="146"/>
                    <a:pt x="2450" y="142"/>
                    <a:pt x="2444" y="142"/>
                  </a:cubicBezTo>
                  <a:cubicBezTo>
                    <a:pt x="2444" y="142"/>
                    <a:pt x="2444" y="142"/>
                    <a:pt x="2444" y="142"/>
                  </a:cubicBezTo>
                  <a:moveTo>
                    <a:pt x="2474" y="141"/>
                  </a:moveTo>
                  <a:cubicBezTo>
                    <a:pt x="2468" y="141"/>
                    <a:pt x="2463" y="146"/>
                    <a:pt x="2463" y="152"/>
                  </a:cubicBezTo>
                  <a:cubicBezTo>
                    <a:pt x="2463" y="157"/>
                    <a:pt x="2468" y="162"/>
                    <a:pt x="2474" y="162"/>
                  </a:cubicBezTo>
                  <a:cubicBezTo>
                    <a:pt x="2480" y="162"/>
                    <a:pt x="2485" y="157"/>
                    <a:pt x="2485" y="151"/>
                  </a:cubicBezTo>
                  <a:cubicBezTo>
                    <a:pt x="2485" y="146"/>
                    <a:pt x="2480" y="141"/>
                    <a:pt x="2474" y="141"/>
                  </a:cubicBezTo>
                  <a:cubicBezTo>
                    <a:pt x="2474" y="141"/>
                    <a:pt x="2474" y="141"/>
                    <a:pt x="2474" y="141"/>
                  </a:cubicBezTo>
                  <a:moveTo>
                    <a:pt x="2505" y="141"/>
                  </a:moveTo>
                  <a:cubicBezTo>
                    <a:pt x="2499" y="141"/>
                    <a:pt x="2494" y="146"/>
                    <a:pt x="2494" y="151"/>
                  </a:cubicBezTo>
                  <a:cubicBezTo>
                    <a:pt x="2494" y="157"/>
                    <a:pt x="2499" y="161"/>
                    <a:pt x="2505" y="161"/>
                  </a:cubicBezTo>
                  <a:cubicBezTo>
                    <a:pt x="2511" y="161"/>
                    <a:pt x="2516" y="157"/>
                    <a:pt x="2516" y="151"/>
                  </a:cubicBezTo>
                  <a:cubicBezTo>
                    <a:pt x="2516" y="145"/>
                    <a:pt x="2511" y="141"/>
                    <a:pt x="2505" y="141"/>
                  </a:cubicBezTo>
                  <a:cubicBezTo>
                    <a:pt x="2505" y="141"/>
                    <a:pt x="2505" y="141"/>
                    <a:pt x="2505" y="141"/>
                  </a:cubicBezTo>
                  <a:moveTo>
                    <a:pt x="2755" y="138"/>
                  </a:moveTo>
                  <a:cubicBezTo>
                    <a:pt x="2749" y="138"/>
                    <a:pt x="2744" y="143"/>
                    <a:pt x="2745" y="149"/>
                  </a:cubicBezTo>
                  <a:cubicBezTo>
                    <a:pt x="2745" y="154"/>
                    <a:pt x="2750" y="159"/>
                    <a:pt x="2757" y="159"/>
                  </a:cubicBezTo>
                  <a:cubicBezTo>
                    <a:pt x="2763" y="159"/>
                    <a:pt x="2767" y="154"/>
                    <a:pt x="2766" y="148"/>
                  </a:cubicBezTo>
                  <a:cubicBezTo>
                    <a:pt x="2766" y="143"/>
                    <a:pt x="2761" y="138"/>
                    <a:pt x="2755" y="138"/>
                  </a:cubicBezTo>
                  <a:cubicBezTo>
                    <a:pt x="2755" y="138"/>
                    <a:pt x="2755" y="138"/>
                    <a:pt x="2755" y="138"/>
                  </a:cubicBezTo>
                  <a:moveTo>
                    <a:pt x="2785" y="138"/>
                  </a:moveTo>
                  <a:cubicBezTo>
                    <a:pt x="2779" y="138"/>
                    <a:pt x="2775" y="143"/>
                    <a:pt x="2776" y="148"/>
                  </a:cubicBezTo>
                  <a:cubicBezTo>
                    <a:pt x="2776" y="154"/>
                    <a:pt x="2782" y="158"/>
                    <a:pt x="2788" y="158"/>
                  </a:cubicBezTo>
                  <a:cubicBezTo>
                    <a:pt x="2794" y="158"/>
                    <a:pt x="2798" y="154"/>
                    <a:pt x="2797" y="148"/>
                  </a:cubicBezTo>
                  <a:cubicBezTo>
                    <a:pt x="2797" y="142"/>
                    <a:pt x="2791" y="138"/>
                    <a:pt x="2786" y="138"/>
                  </a:cubicBezTo>
                  <a:cubicBezTo>
                    <a:pt x="2786" y="138"/>
                    <a:pt x="2785" y="138"/>
                    <a:pt x="2785" y="138"/>
                  </a:cubicBezTo>
                  <a:moveTo>
                    <a:pt x="2847" y="137"/>
                  </a:moveTo>
                  <a:cubicBezTo>
                    <a:pt x="2841" y="137"/>
                    <a:pt x="2837" y="142"/>
                    <a:pt x="2838" y="148"/>
                  </a:cubicBezTo>
                  <a:cubicBezTo>
                    <a:pt x="2838" y="153"/>
                    <a:pt x="2844" y="158"/>
                    <a:pt x="2850" y="158"/>
                  </a:cubicBezTo>
                  <a:cubicBezTo>
                    <a:pt x="2856" y="158"/>
                    <a:pt x="2860" y="153"/>
                    <a:pt x="2860" y="147"/>
                  </a:cubicBezTo>
                  <a:cubicBezTo>
                    <a:pt x="2859" y="142"/>
                    <a:pt x="2853" y="137"/>
                    <a:pt x="2847" y="137"/>
                  </a:cubicBezTo>
                  <a:cubicBezTo>
                    <a:pt x="2847" y="137"/>
                    <a:pt x="2847" y="137"/>
                    <a:pt x="2847" y="137"/>
                  </a:cubicBezTo>
                  <a:moveTo>
                    <a:pt x="2878" y="137"/>
                  </a:moveTo>
                  <a:cubicBezTo>
                    <a:pt x="2872" y="137"/>
                    <a:pt x="2868" y="142"/>
                    <a:pt x="2869" y="147"/>
                  </a:cubicBezTo>
                  <a:cubicBezTo>
                    <a:pt x="2870" y="153"/>
                    <a:pt x="2875" y="158"/>
                    <a:pt x="2881" y="157"/>
                  </a:cubicBezTo>
                  <a:cubicBezTo>
                    <a:pt x="2887" y="157"/>
                    <a:pt x="2892" y="153"/>
                    <a:pt x="2891" y="147"/>
                  </a:cubicBezTo>
                  <a:cubicBezTo>
                    <a:pt x="2890" y="142"/>
                    <a:pt x="2884" y="137"/>
                    <a:pt x="2879" y="137"/>
                  </a:cubicBezTo>
                  <a:cubicBezTo>
                    <a:pt x="2878" y="137"/>
                    <a:pt x="2878" y="137"/>
                    <a:pt x="2878" y="137"/>
                  </a:cubicBezTo>
                  <a:moveTo>
                    <a:pt x="2909" y="136"/>
                  </a:moveTo>
                  <a:cubicBezTo>
                    <a:pt x="2903" y="136"/>
                    <a:pt x="2899" y="141"/>
                    <a:pt x="2900" y="147"/>
                  </a:cubicBezTo>
                  <a:cubicBezTo>
                    <a:pt x="2900" y="152"/>
                    <a:pt x="2906" y="157"/>
                    <a:pt x="2912" y="157"/>
                  </a:cubicBezTo>
                  <a:cubicBezTo>
                    <a:pt x="2918" y="157"/>
                    <a:pt x="2922" y="152"/>
                    <a:pt x="2921" y="147"/>
                  </a:cubicBezTo>
                  <a:cubicBezTo>
                    <a:pt x="2920" y="141"/>
                    <a:pt x="2915" y="136"/>
                    <a:pt x="2909" y="136"/>
                  </a:cubicBezTo>
                  <a:cubicBezTo>
                    <a:pt x="2909" y="136"/>
                    <a:pt x="2909" y="136"/>
                    <a:pt x="2909" y="136"/>
                  </a:cubicBezTo>
                  <a:moveTo>
                    <a:pt x="2940" y="136"/>
                  </a:moveTo>
                  <a:cubicBezTo>
                    <a:pt x="2934" y="136"/>
                    <a:pt x="2930" y="141"/>
                    <a:pt x="2931" y="146"/>
                  </a:cubicBezTo>
                  <a:cubicBezTo>
                    <a:pt x="2931" y="152"/>
                    <a:pt x="2937" y="157"/>
                    <a:pt x="2943" y="157"/>
                  </a:cubicBezTo>
                  <a:cubicBezTo>
                    <a:pt x="2949" y="157"/>
                    <a:pt x="2953" y="152"/>
                    <a:pt x="2952" y="146"/>
                  </a:cubicBezTo>
                  <a:cubicBezTo>
                    <a:pt x="2951" y="141"/>
                    <a:pt x="2946" y="136"/>
                    <a:pt x="2940" y="136"/>
                  </a:cubicBezTo>
                  <a:cubicBezTo>
                    <a:pt x="2940" y="136"/>
                    <a:pt x="2940" y="136"/>
                    <a:pt x="2940" y="136"/>
                  </a:cubicBezTo>
                  <a:moveTo>
                    <a:pt x="2971" y="136"/>
                  </a:moveTo>
                  <a:cubicBezTo>
                    <a:pt x="2965" y="136"/>
                    <a:pt x="2961" y="141"/>
                    <a:pt x="2961" y="146"/>
                  </a:cubicBezTo>
                  <a:cubicBezTo>
                    <a:pt x="2962" y="152"/>
                    <a:pt x="2968" y="156"/>
                    <a:pt x="2974" y="156"/>
                  </a:cubicBezTo>
                  <a:cubicBezTo>
                    <a:pt x="2980" y="156"/>
                    <a:pt x="2984" y="152"/>
                    <a:pt x="2983" y="146"/>
                  </a:cubicBezTo>
                  <a:cubicBezTo>
                    <a:pt x="2982" y="140"/>
                    <a:pt x="2977" y="136"/>
                    <a:pt x="2971" y="136"/>
                  </a:cubicBezTo>
                  <a:cubicBezTo>
                    <a:pt x="2971" y="136"/>
                    <a:pt x="2971" y="136"/>
                    <a:pt x="2971" y="136"/>
                  </a:cubicBezTo>
                  <a:moveTo>
                    <a:pt x="3001" y="136"/>
                  </a:moveTo>
                  <a:cubicBezTo>
                    <a:pt x="2995" y="136"/>
                    <a:pt x="2991" y="140"/>
                    <a:pt x="2992" y="146"/>
                  </a:cubicBezTo>
                  <a:cubicBezTo>
                    <a:pt x="2993" y="152"/>
                    <a:pt x="2999" y="156"/>
                    <a:pt x="3005" y="156"/>
                  </a:cubicBezTo>
                  <a:cubicBezTo>
                    <a:pt x="3011" y="156"/>
                    <a:pt x="3015" y="151"/>
                    <a:pt x="3014" y="146"/>
                  </a:cubicBezTo>
                  <a:cubicBezTo>
                    <a:pt x="3013" y="140"/>
                    <a:pt x="3007" y="136"/>
                    <a:pt x="3001" y="136"/>
                  </a:cubicBezTo>
                  <a:cubicBezTo>
                    <a:pt x="3001" y="136"/>
                    <a:pt x="3001" y="136"/>
                    <a:pt x="3001" y="136"/>
                  </a:cubicBezTo>
                  <a:moveTo>
                    <a:pt x="3032" y="135"/>
                  </a:moveTo>
                  <a:cubicBezTo>
                    <a:pt x="3026" y="135"/>
                    <a:pt x="3022" y="140"/>
                    <a:pt x="3023" y="146"/>
                  </a:cubicBezTo>
                  <a:cubicBezTo>
                    <a:pt x="3024" y="151"/>
                    <a:pt x="3030" y="156"/>
                    <a:pt x="3036" y="156"/>
                  </a:cubicBezTo>
                  <a:cubicBezTo>
                    <a:pt x="3042" y="156"/>
                    <a:pt x="3046" y="151"/>
                    <a:pt x="3045" y="145"/>
                  </a:cubicBezTo>
                  <a:cubicBezTo>
                    <a:pt x="3044" y="140"/>
                    <a:pt x="3038" y="135"/>
                    <a:pt x="3032" y="135"/>
                  </a:cubicBezTo>
                  <a:cubicBezTo>
                    <a:pt x="3032" y="135"/>
                    <a:pt x="3032" y="135"/>
                    <a:pt x="3032" y="135"/>
                  </a:cubicBezTo>
                  <a:moveTo>
                    <a:pt x="3063" y="135"/>
                  </a:moveTo>
                  <a:cubicBezTo>
                    <a:pt x="3057" y="135"/>
                    <a:pt x="3053" y="140"/>
                    <a:pt x="3054" y="145"/>
                  </a:cubicBezTo>
                  <a:cubicBezTo>
                    <a:pt x="3056" y="151"/>
                    <a:pt x="3061" y="156"/>
                    <a:pt x="3067" y="155"/>
                  </a:cubicBezTo>
                  <a:cubicBezTo>
                    <a:pt x="3074" y="155"/>
                    <a:pt x="3077" y="151"/>
                    <a:pt x="3076" y="145"/>
                  </a:cubicBezTo>
                  <a:cubicBezTo>
                    <a:pt x="3075" y="139"/>
                    <a:pt x="3069" y="135"/>
                    <a:pt x="3063" y="135"/>
                  </a:cubicBezTo>
                  <a:cubicBezTo>
                    <a:pt x="3063" y="135"/>
                    <a:pt x="3063" y="135"/>
                    <a:pt x="3063" y="135"/>
                  </a:cubicBezTo>
                  <a:moveTo>
                    <a:pt x="3094" y="135"/>
                  </a:moveTo>
                  <a:cubicBezTo>
                    <a:pt x="3088" y="135"/>
                    <a:pt x="3085" y="139"/>
                    <a:pt x="3086" y="145"/>
                  </a:cubicBezTo>
                  <a:cubicBezTo>
                    <a:pt x="3087" y="151"/>
                    <a:pt x="3093" y="155"/>
                    <a:pt x="3099" y="155"/>
                  </a:cubicBezTo>
                  <a:cubicBezTo>
                    <a:pt x="3105" y="155"/>
                    <a:pt x="3109" y="150"/>
                    <a:pt x="3108" y="145"/>
                  </a:cubicBezTo>
                  <a:cubicBezTo>
                    <a:pt x="3106" y="139"/>
                    <a:pt x="3100" y="135"/>
                    <a:pt x="3095" y="135"/>
                  </a:cubicBezTo>
                  <a:cubicBezTo>
                    <a:pt x="3094" y="135"/>
                    <a:pt x="3094" y="135"/>
                    <a:pt x="3094" y="135"/>
                  </a:cubicBezTo>
                  <a:moveTo>
                    <a:pt x="3125" y="134"/>
                  </a:moveTo>
                  <a:cubicBezTo>
                    <a:pt x="3119" y="134"/>
                    <a:pt x="3115" y="139"/>
                    <a:pt x="3117" y="145"/>
                  </a:cubicBezTo>
                  <a:cubicBezTo>
                    <a:pt x="3118" y="150"/>
                    <a:pt x="3124" y="155"/>
                    <a:pt x="3130" y="155"/>
                  </a:cubicBezTo>
                  <a:cubicBezTo>
                    <a:pt x="3136" y="155"/>
                    <a:pt x="3140" y="150"/>
                    <a:pt x="3139" y="145"/>
                  </a:cubicBezTo>
                  <a:cubicBezTo>
                    <a:pt x="3137" y="139"/>
                    <a:pt x="3131" y="134"/>
                    <a:pt x="3125" y="134"/>
                  </a:cubicBezTo>
                  <a:cubicBezTo>
                    <a:pt x="3125" y="134"/>
                    <a:pt x="3125" y="134"/>
                    <a:pt x="3125" y="134"/>
                  </a:cubicBezTo>
                  <a:moveTo>
                    <a:pt x="3156" y="134"/>
                  </a:moveTo>
                  <a:cubicBezTo>
                    <a:pt x="3150" y="134"/>
                    <a:pt x="3147" y="139"/>
                    <a:pt x="3148" y="144"/>
                  </a:cubicBezTo>
                  <a:cubicBezTo>
                    <a:pt x="3149" y="150"/>
                    <a:pt x="3155" y="155"/>
                    <a:pt x="3161" y="155"/>
                  </a:cubicBezTo>
                  <a:cubicBezTo>
                    <a:pt x="3167" y="155"/>
                    <a:pt x="3171" y="150"/>
                    <a:pt x="3170" y="144"/>
                  </a:cubicBezTo>
                  <a:cubicBezTo>
                    <a:pt x="3168" y="139"/>
                    <a:pt x="3162" y="134"/>
                    <a:pt x="3156" y="134"/>
                  </a:cubicBezTo>
                  <a:cubicBezTo>
                    <a:pt x="3156" y="134"/>
                    <a:pt x="3156" y="134"/>
                    <a:pt x="3156" y="134"/>
                  </a:cubicBezTo>
                  <a:moveTo>
                    <a:pt x="3187" y="134"/>
                  </a:moveTo>
                  <a:cubicBezTo>
                    <a:pt x="3181" y="134"/>
                    <a:pt x="3177" y="138"/>
                    <a:pt x="3179" y="144"/>
                  </a:cubicBezTo>
                  <a:cubicBezTo>
                    <a:pt x="3180" y="150"/>
                    <a:pt x="3186" y="154"/>
                    <a:pt x="3192" y="154"/>
                  </a:cubicBezTo>
                  <a:cubicBezTo>
                    <a:pt x="3198" y="154"/>
                    <a:pt x="3202" y="150"/>
                    <a:pt x="3201" y="144"/>
                  </a:cubicBezTo>
                  <a:cubicBezTo>
                    <a:pt x="3199" y="138"/>
                    <a:pt x="3193" y="134"/>
                    <a:pt x="3187" y="134"/>
                  </a:cubicBezTo>
                  <a:cubicBezTo>
                    <a:pt x="3187" y="134"/>
                    <a:pt x="3187" y="134"/>
                    <a:pt x="3187" y="134"/>
                  </a:cubicBezTo>
                  <a:moveTo>
                    <a:pt x="3218" y="133"/>
                  </a:moveTo>
                  <a:cubicBezTo>
                    <a:pt x="3212" y="134"/>
                    <a:pt x="3209" y="138"/>
                    <a:pt x="3210" y="144"/>
                  </a:cubicBezTo>
                  <a:cubicBezTo>
                    <a:pt x="3212" y="150"/>
                    <a:pt x="3218" y="154"/>
                    <a:pt x="3224" y="154"/>
                  </a:cubicBezTo>
                  <a:cubicBezTo>
                    <a:pt x="3230" y="154"/>
                    <a:pt x="3233" y="149"/>
                    <a:pt x="3232" y="144"/>
                  </a:cubicBezTo>
                  <a:cubicBezTo>
                    <a:pt x="3230" y="138"/>
                    <a:pt x="3224" y="133"/>
                    <a:pt x="3218" y="133"/>
                  </a:cubicBezTo>
                  <a:cubicBezTo>
                    <a:pt x="3218" y="133"/>
                    <a:pt x="3218" y="133"/>
                    <a:pt x="3218" y="133"/>
                  </a:cubicBezTo>
                  <a:moveTo>
                    <a:pt x="3250" y="133"/>
                  </a:moveTo>
                  <a:cubicBezTo>
                    <a:pt x="3244" y="133"/>
                    <a:pt x="3241" y="138"/>
                    <a:pt x="3242" y="144"/>
                  </a:cubicBezTo>
                  <a:cubicBezTo>
                    <a:pt x="3244" y="149"/>
                    <a:pt x="3250" y="154"/>
                    <a:pt x="3256" y="154"/>
                  </a:cubicBezTo>
                  <a:cubicBezTo>
                    <a:pt x="3262" y="154"/>
                    <a:pt x="3266" y="149"/>
                    <a:pt x="3264" y="143"/>
                  </a:cubicBezTo>
                  <a:cubicBezTo>
                    <a:pt x="3263" y="138"/>
                    <a:pt x="3256" y="133"/>
                    <a:pt x="3250" y="133"/>
                  </a:cubicBezTo>
                  <a:cubicBezTo>
                    <a:pt x="3250" y="133"/>
                    <a:pt x="3250" y="133"/>
                    <a:pt x="3250" y="133"/>
                  </a:cubicBezTo>
                  <a:moveTo>
                    <a:pt x="3281" y="133"/>
                  </a:moveTo>
                  <a:cubicBezTo>
                    <a:pt x="3275" y="133"/>
                    <a:pt x="3272" y="138"/>
                    <a:pt x="3273" y="143"/>
                  </a:cubicBezTo>
                  <a:cubicBezTo>
                    <a:pt x="3275" y="149"/>
                    <a:pt x="3281" y="153"/>
                    <a:pt x="3287" y="153"/>
                  </a:cubicBezTo>
                  <a:cubicBezTo>
                    <a:pt x="3293" y="153"/>
                    <a:pt x="3297" y="149"/>
                    <a:pt x="3295" y="143"/>
                  </a:cubicBezTo>
                  <a:cubicBezTo>
                    <a:pt x="3293" y="137"/>
                    <a:pt x="3287" y="133"/>
                    <a:pt x="3281" y="133"/>
                  </a:cubicBezTo>
                  <a:cubicBezTo>
                    <a:pt x="3281" y="133"/>
                    <a:pt x="3281" y="133"/>
                    <a:pt x="3281" y="133"/>
                  </a:cubicBezTo>
                  <a:moveTo>
                    <a:pt x="3312" y="133"/>
                  </a:moveTo>
                  <a:cubicBezTo>
                    <a:pt x="3306" y="133"/>
                    <a:pt x="3302" y="137"/>
                    <a:pt x="3304" y="143"/>
                  </a:cubicBezTo>
                  <a:cubicBezTo>
                    <a:pt x="3306" y="149"/>
                    <a:pt x="3312" y="153"/>
                    <a:pt x="3318" y="153"/>
                  </a:cubicBezTo>
                  <a:cubicBezTo>
                    <a:pt x="3324" y="153"/>
                    <a:pt x="3328" y="148"/>
                    <a:pt x="3326" y="143"/>
                  </a:cubicBezTo>
                  <a:cubicBezTo>
                    <a:pt x="3324" y="137"/>
                    <a:pt x="3318" y="133"/>
                    <a:pt x="3312" y="133"/>
                  </a:cubicBezTo>
                  <a:cubicBezTo>
                    <a:pt x="3312" y="133"/>
                    <a:pt x="3312" y="133"/>
                    <a:pt x="3312" y="133"/>
                  </a:cubicBezTo>
                  <a:moveTo>
                    <a:pt x="3343" y="132"/>
                  </a:moveTo>
                  <a:cubicBezTo>
                    <a:pt x="3337" y="132"/>
                    <a:pt x="3333" y="137"/>
                    <a:pt x="3335" y="143"/>
                  </a:cubicBezTo>
                  <a:cubicBezTo>
                    <a:pt x="3337" y="148"/>
                    <a:pt x="3343" y="153"/>
                    <a:pt x="3349" y="153"/>
                  </a:cubicBezTo>
                  <a:cubicBezTo>
                    <a:pt x="3355" y="153"/>
                    <a:pt x="3359" y="148"/>
                    <a:pt x="3357" y="142"/>
                  </a:cubicBezTo>
                  <a:cubicBezTo>
                    <a:pt x="3355" y="137"/>
                    <a:pt x="3349" y="132"/>
                    <a:pt x="3343" y="132"/>
                  </a:cubicBezTo>
                  <a:cubicBezTo>
                    <a:pt x="3343" y="132"/>
                    <a:pt x="3343" y="132"/>
                    <a:pt x="3343" y="132"/>
                  </a:cubicBezTo>
                  <a:moveTo>
                    <a:pt x="3374" y="132"/>
                  </a:moveTo>
                  <a:cubicBezTo>
                    <a:pt x="3368" y="132"/>
                    <a:pt x="3364" y="137"/>
                    <a:pt x="3366" y="142"/>
                  </a:cubicBezTo>
                  <a:cubicBezTo>
                    <a:pt x="3368" y="148"/>
                    <a:pt x="3374" y="153"/>
                    <a:pt x="3380" y="153"/>
                  </a:cubicBezTo>
                  <a:cubicBezTo>
                    <a:pt x="3386" y="153"/>
                    <a:pt x="3390" y="148"/>
                    <a:pt x="3388" y="142"/>
                  </a:cubicBezTo>
                  <a:cubicBezTo>
                    <a:pt x="3386" y="137"/>
                    <a:pt x="3380" y="132"/>
                    <a:pt x="3374" y="132"/>
                  </a:cubicBezTo>
                  <a:cubicBezTo>
                    <a:pt x="3374" y="132"/>
                    <a:pt x="3374" y="132"/>
                    <a:pt x="3374" y="132"/>
                  </a:cubicBezTo>
                  <a:moveTo>
                    <a:pt x="3405" y="132"/>
                  </a:moveTo>
                  <a:cubicBezTo>
                    <a:pt x="3399" y="132"/>
                    <a:pt x="3396" y="136"/>
                    <a:pt x="3398" y="142"/>
                  </a:cubicBezTo>
                  <a:cubicBezTo>
                    <a:pt x="3399" y="148"/>
                    <a:pt x="3406" y="152"/>
                    <a:pt x="3412" y="152"/>
                  </a:cubicBezTo>
                  <a:cubicBezTo>
                    <a:pt x="3418" y="152"/>
                    <a:pt x="3421" y="148"/>
                    <a:pt x="3419" y="142"/>
                  </a:cubicBezTo>
                  <a:cubicBezTo>
                    <a:pt x="3417" y="136"/>
                    <a:pt x="3411" y="132"/>
                    <a:pt x="3405" y="132"/>
                  </a:cubicBezTo>
                  <a:cubicBezTo>
                    <a:pt x="3405" y="132"/>
                    <a:pt x="3405" y="132"/>
                    <a:pt x="3405" y="132"/>
                  </a:cubicBezTo>
                  <a:moveTo>
                    <a:pt x="3436" y="131"/>
                  </a:moveTo>
                  <a:cubicBezTo>
                    <a:pt x="3430" y="132"/>
                    <a:pt x="3426" y="136"/>
                    <a:pt x="3428" y="142"/>
                  </a:cubicBezTo>
                  <a:cubicBezTo>
                    <a:pt x="3430" y="147"/>
                    <a:pt x="3437" y="152"/>
                    <a:pt x="3443" y="152"/>
                  </a:cubicBezTo>
                  <a:cubicBezTo>
                    <a:pt x="3449" y="152"/>
                    <a:pt x="3452" y="147"/>
                    <a:pt x="3450" y="142"/>
                  </a:cubicBezTo>
                  <a:cubicBezTo>
                    <a:pt x="3448" y="136"/>
                    <a:pt x="3442" y="131"/>
                    <a:pt x="3436" y="131"/>
                  </a:cubicBezTo>
                  <a:cubicBezTo>
                    <a:pt x="3436" y="131"/>
                    <a:pt x="3436" y="131"/>
                    <a:pt x="3436" y="131"/>
                  </a:cubicBezTo>
                  <a:moveTo>
                    <a:pt x="3467" y="131"/>
                  </a:moveTo>
                  <a:cubicBezTo>
                    <a:pt x="3461" y="131"/>
                    <a:pt x="3457" y="136"/>
                    <a:pt x="3460" y="142"/>
                  </a:cubicBezTo>
                  <a:cubicBezTo>
                    <a:pt x="3462" y="147"/>
                    <a:pt x="3468" y="152"/>
                    <a:pt x="3474" y="152"/>
                  </a:cubicBezTo>
                  <a:cubicBezTo>
                    <a:pt x="3480" y="152"/>
                    <a:pt x="3483" y="147"/>
                    <a:pt x="3481" y="141"/>
                  </a:cubicBezTo>
                  <a:cubicBezTo>
                    <a:pt x="3479" y="136"/>
                    <a:pt x="3473" y="131"/>
                    <a:pt x="3467" y="131"/>
                  </a:cubicBezTo>
                  <a:cubicBezTo>
                    <a:pt x="3467" y="131"/>
                    <a:pt x="3467" y="131"/>
                    <a:pt x="3467" y="131"/>
                  </a:cubicBezTo>
                  <a:moveTo>
                    <a:pt x="3497" y="131"/>
                  </a:moveTo>
                  <a:cubicBezTo>
                    <a:pt x="3491" y="131"/>
                    <a:pt x="3488" y="136"/>
                    <a:pt x="3490" y="141"/>
                  </a:cubicBezTo>
                  <a:cubicBezTo>
                    <a:pt x="3493" y="147"/>
                    <a:pt x="3499" y="151"/>
                    <a:pt x="3505" y="151"/>
                  </a:cubicBezTo>
                  <a:cubicBezTo>
                    <a:pt x="3511" y="151"/>
                    <a:pt x="3514" y="147"/>
                    <a:pt x="3512" y="141"/>
                  </a:cubicBezTo>
                  <a:cubicBezTo>
                    <a:pt x="3510" y="135"/>
                    <a:pt x="3503" y="131"/>
                    <a:pt x="3497" y="131"/>
                  </a:cubicBezTo>
                  <a:cubicBezTo>
                    <a:pt x="3497" y="131"/>
                    <a:pt x="3497" y="131"/>
                    <a:pt x="3497" y="131"/>
                  </a:cubicBezTo>
                  <a:moveTo>
                    <a:pt x="3528" y="131"/>
                  </a:moveTo>
                  <a:cubicBezTo>
                    <a:pt x="3522" y="131"/>
                    <a:pt x="3519" y="135"/>
                    <a:pt x="3522" y="141"/>
                  </a:cubicBezTo>
                  <a:cubicBezTo>
                    <a:pt x="3524" y="147"/>
                    <a:pt x="3530" y="151"/>
                    <a:pt x="3537" y="151"/>
                  </a:cubicBezTo>
                  <a:cubicBezTo>
                    <a:pt x="3543" y="151"/>
                    <a:pt x="3546" y="146"/>
                    <a:pt x="3543" y="141"/>
                  </a:cubicBezTo>
                  <a:cubicBezTo>
                    <a:pt x="3541" y="135"/>
                    <a:pt x="3535" y="131"/>
                    <a:pt x="3529" y="131"/>
                  </a:cubicBezTo>
                  <a:cubicBezTo>
                    <a:pt x="3529" y="131"/>
                    <a:pt x="3528" y="131"/>
                    <a:pt x="3528" y="131"/>
                  </a:cubicBezTo>
                  <a:moveTo>
                    <a:pt x="3561" y="130"/>
                  </a:moveTo>
                  <a:cubicBezTo>
                    <a:pt x="3555" y="130"/>
                    <a:pt x="3552" y="135"/>
                    <a:pt x="3555" y="141"/>
                  </a:cubicBezTo>
                  <a:cubicBezTo>
                    <a:pt x="3557" y="146"/>
                    <a:pt x="3564" y="151"/>
                    <a:pt x="3570" y="151"/>
                  </a:cubicBezTo>
                  <a:cubicBezTo>
                    <a:pt x="3576" y="151"/>
                    <a:pt x="3579" y="146"/>
                    <a:pt x="3576" y="140"/>
                  </a:cubicBezTo>
                  <a:cubicBezTo>
                    <a:pt x="3574" y="135"/>
                    <a:pt x="3567" y="130"/>
                    <a:pt x="3561" y="130"/>
                  </a:cubicBezTo>
                  <a:cubicBezTo>
                    <a:pt x="3561" y="130"/>
                    <a:pt x="3561" y="130"/>
                    <a:pt x="3561" y="130"/>
                  </a:cubicBezTo>
                  <a:moveTo>
                    <a:pt x="3592" y="130"/>
                  </a:moveTo>
                  <a:cubicBezTo>
                    <a:pt x="3586" y="130"/>
                    <a:pt x="3583" y="135"/>
                    <a:pt x="3585" y="140"/>
                  </a:cubicBezTo>
                  <a:cubicBezTo>
                    <a:pt x="3588" y="146"/>
                    <a:pt x="3594" y="151"/>
                    <a:pt x="3600" y="151"/>
                  </a:cubicBezTo>
                  <a:cubicBezTo>
                    <a:pt x="3606" y="150"/>
                    <a:pt x="3609" y="146"/>
                    <a:pt x="3607" y="140"/>
                  </a:cubicBezTo>
                  <a:cubicBezTo>
                    <a:pt x="3605" y="135"/>
                    <a:pt x="3598" y="130"/>
                    <a:pt x="3592" y="130"/>
                  </a:cubicBezTo>
                  <a:cubicBezTo>
                    <a:pt x="3592" y="130"/>
                    <a:pt x="3592" y="130"/>
                    <a:pt x="3592" y="130"/>
                  </a:cubicBezTo>
                  <a:moveTo>
                    <a:pt x="3623" y="130"/>
                  </a:moveTo>
                  <a:cubicBezTo>
                    <a:pt x="3617" y="130"/>
                    <a:pt x="3614" y="134"/>
                    <a:pt x="3616" y="140"/>
                  </a:cubicBezTo>
                  <a:cubicBezTo>
                    <a:pt x="3619" y="146"/>
                    <a:pt x="3625" y="150"/>
                    <a:pt x="3631" y="150"/>
                  </a:cubicBezTo>
                  <a:cubicBezTo>
                    <a:pt x="3637" y="150"/>
                    <a:pt x="3640" y="146"/>
                    <a:pt x="3638" y="140"/>
                  </a:cubicBezTo>
                  <a:cubicBezTo>
                    <a:pt x="3635" y="134"/>
                    <a:pt x="3629" y="130"/>
                    <a:pt x="3623" y="130"/>
                  </a:cubicBezTo>
                  <a:cubicBezTo>
                    <a:pt x="3623" y="130"/>
                    <a:pt x="3623" y="130"/>
                    <a:pt x="3623" y="130"/>
                  </a:cubicBezTo>
                  <a:moveTo>
                    <a:pt x="3654" y="129"/>
                  </a:moveTo>
                  <a:cubicBezTo>
                    <a:pt x="3648" y="129"/>
                    <a:pt x="3645" y="134"/>
                    <a:pt x="3647" y="140"/>
                  </a:cubicBezTo>
                  <a:cubicBezTo>
                    <a:pt x="3650" y="145"/>
                    <a:pt x="3657" y="150"/>
                    <a:pt x="3663" y="150"/>
                  </a:cubicBezTo>
                  <a:cubicBezTo>
                    <a:pt x="3669" y="150"/>
                    <a:pt x="3672" y="145"/>
                    <a:pt x="3669" y="140"/>
                  </a:cubicBezTo>
                  <a:cubicBezTo>
                    <a:pt x="3667" y="134"/>
                    <a:pt x="3660" y="129"/>
                    <a:pt x="3654" y="129"/>
                  </a:cubicBezTo>
                  <a:cubicBezTo>
                    <a:pt x="3654" y="129"/>
                    <a:pt x="3654" y="129"/>
                    <a:pt x="3654" y="129"/>
                  </a:cubicBezTo>
                  <a:moveTo>
                    <a:pt x="3685" y="129"/>
                  </a:moveTo>
                  <a:cubicBezTo>
                    <a:pt x="3679" y="129"/>
                    <a:pt x="3676" y="134"/>
                    <a:pt x="3679" y="139"/>
                  </a:cubicBezTo>
                  <a:cubicBezTo>
                    <a:pt x="3681" y="145"/>
                    <a:pt x="3688" y="150"/>
                    <a:pt x="3694" y="150"/>
                  </a:cubicBezTo>
                  <a:cubicBezTo>
                    <a:pt x="3700" y="150"/>
                    <a:pt x="3703" y="145"/>
                    <a:pt x="3700" y="139"/>
                  </a:cubicBezTo>
                  <a:cubicBezTo>
                    <a:pt x="3698" y="134"/>
                    <a:pt x="3691" y="129"/>
                    <a:pt x="3685" y="129"/>
                  </a:cubicBezTo>
                  <a:cubicBezTo>
                    <a:pt x="3685" y="129"/>
                    <a:pt x="3685" y="129"/>
                    <a:pt x="3685" y="129"/>
                  </a:cubicBezTo>
                  <a:moveTo>
                    <a:pt x="3716" y="129"/>
                  </a:moveTo>
                  <a:cubicBezTo>
                    <a:pt x="3710" y="129"/>
                    <a:pt x="3707" y="134"/>
                    <a:pt x="3710" y="139"/>
                  </a:cubicBezTo>
                  <a:cubicBezTo>
                    <a:pt x="3712" y="145"/>
                    <a:pt x="3719" y="149"/>
                    <a:pt x="3725" y="149"/>
                  </a:cubicBezTo>
                  <a:cubicBezTo>
                    <a:pt x="3731" y="149"/>
                    <a:pt x="3734" y="145"/>
                    <a:pt x="3731" y="139"/>
                  </a:cubicBezTo>
                  <a:cubicBezTo>
                    <a:pt x="3729" y="133"/>
                    <a:pt x="3722" y="129"/>
                    <a:pt x="3716" y="129"/>
                  </a:cubicBezTo>
                  <a:cubicBezTo>
                    <a:pt x="3716" y="129"/>
                    <a:pt x="3716" y="129"/>
                    <a:pt x="3716" y="129"/>
                  </a:cubicBezTo>
                  <a:moveTo>
                    <a:pt x="3747" y="129"/>
                  </a:moveTo>
                  <a:cubicBezTo>
                    <a:pt x="3741" y="129"/>
                    <a:pt x="3738" y="133"/>
                    <a:pt x="3741" y="139"/>
                  </a:cubicBezTo>
                  <a:cubicBezTo>
                    <a:pt x="3743" y="145"/>
                    <a:pt x="3750" y="149"/>
                    <a:pt x="3756" y="149"/>
                  </a:cubicBezTo>
                  <a:cubicBezTo>
                    <a:pt x="3762" y="149"/>
                    <a:pt x="3765" y="144"/>
                    <a:pt x="3762" y="139"/>
                  </a:cubicBezTo>
                  <a:cubicBezTo>
                    <a:pt x="3760" y="133"/>
                    <a:pt x="3753" y="129"/>
                    <a:pt x="3747" y="129"/>
                  </a:cubicBezTo>
                  <a:cubicBezTo>
                    <a:pt x="3747" y="129"/>
                    <a:pt x="3747" y="129"/>
                    <a:pt x="3747" y="129"/>
                  </a:cubicBezTo>
                  <a:moveTo>
                    <a:pt x="3777" y="128"/>
                  </a:moveTo>
                  <a:cubicBezTo>
                    <a:pt x="3771" y="128"/>
                    <a:pt x="3769" y="133"/>
                    <a:pt x="3772" y="139"/>
                  </a:cubicBezTo>
                  <a:cubicBezTo>
                    <a:pt x="3774" y="144"/>
                    <a:pt x="3781" y="149"/>
                    <a:pt x="3787" y="149"/>
                  </a:cubicBezTo>
                  <a:cubicBezTo>
                    <a:pt x="3793" y="149"/>
                    <a:pt x="3796" y="144"/>
                    <a:pt x="3793" y="138"/>
                  </a:cubicBezTo>
                  <a:cubicBezTo>
                    <a:pt x="3790" y="133"/>
                    <a:pt x="3783" y="128"/>
                    <a:pt x="3777" y="128"/>
                  </a:cubicBezTo>
                  <a:cubicBezTo>
                    <a:pt x="3777" y="128"/>
                    <a:pt x="3777" y="128"/>
                    <a:pt x="3777" y="128"/>
                  </a:cubicBezTo>
                  <a:moveTo>
                    <a:pt x="3808" y="128"/>
                  </a:moveTo>
                  <a:cubicBezTo>
                    <a:pt x="3802" y="128"/>
                    <a:pt x="3800" y="133"/>
                    <a:pt x="3803" y="138"/>
                  </a:cubicBezTo>
                  <a:cubicBezTo>
                    <a:pt x="3805" y="144"/>
                    <a:pt x="3813" y="149"/>
                    <a:pt x="3819" y="149"/>
                  </a:cubicBezTo>
                  <a:cubicBezTo>
                    <a:pt x="3825" y="148"/>
                    <a:pt x="3827" y="144"/>
                    <a:pt x="3824" y="138"/>
                  </a:cubicBezTo>
                  <a:cubicBezTo>
                    <a:pt x="3822" y="132"/>
                    <a:pt x="3814" y="128"/>
                    <a:pt x="3808" y="128"/>
                  </a:cubicBezTo>
                  <a:cubicBezTo>
                    <a:pt x="3808" y="128"/>
                    <a:pt x="3808" y="128"/>
                    <a:pt x="3808" y="128"/>
                  </a:cubicBezTo>
                  <a:moveTo>
                    <a:pt x="3839" y="128"/>
                  </a:moveTo>
                  <a:cubicBezTo>
                    <a:pt x="3833" y="128"/>
                    <a:pt x="3830" y="132"/>
                    <a:pt x="3833" y="138"/>
                  </a:cubicBezTo>
                  <a:cubicBezTo>
                    <a:pt x="3836" y="144"/>
                    <a:pt x="3843" y="148"/>
                    <a:pt x="3849" y="148"/>
                  </a:cubicBezTo>
                  <a:cubicBezTo>
                    <a:pt x="3855" y="148"/>
                    <a:pt x="3858" y="144"/>
                    <a:pt x="3855" y="138"/>
                  </a:cubicBezTo>
                  <a:cubicBezTo>
                    <a:pt x="3852" y="132"/>
                    <a:pt x="3845" y="128"/>
                    <a:pt x="3839" y="128"/>
                  </a:cubicBezTo>
                  <a:cubicBezTo>
                    <a:pt x="3839" y="128"/>
                    <a:pt x="3839" y="128"/>
                    <a:pt x="3839" y="128"/>
                  </a:cubicBezTo>
                  <a:moveTo>
                    <a:pt x="3870" y="127"/>
                  </a:moveTo>
                  <a:cubicBezTo>
                    <a:pt x="3864" y="127"/>
                    <a:pt x="3861" y="132"/>
                    <a:pt x="3864" y="138"/>
                  </a:cubicBezTo>
                  <a:cubicBezTo>
                    <a:pt x="3867" y="143"/>
                    <a:pt x="3875" y="148"/>
                    <a:pt x="3881" y="148"/>
                  </a:cubicBezTo>
                  <a:cubicBezTo>
                    <a:pt x="3887" y="148"/>
                    <a:pt x="3889" y="143"/>
                    <a:pt x="3886" y="138"/>
                  </a:cubicBezTo>
                  <a:cubicBezTo>
                    <a:pt x="3883" y="132"/>
                    <a:pt x="3876" y="127"/>
                    <a:pt x="3870" y="127"/>
                  </a:cubicBezTo>
                  <a:cubicBezTo>
                    <a:pt x="3870" y="127"/>
                    <a:pt x="3870" y="127"/>
                    <a:pt x="3870" y="127"/>
                  </a:cubicBezTo>
                  <a:moveTo>
                    <a:pt x="3901" y="127"/>
                  </a:moveTo>
                  <a:cubicBezTo>
                    <a:pt x="3895" y="127"/>
                    <a:pt x="3893" y="132"/>
                    <a:pt x="3896" y="137"/>
                  </a:cubicBezTo>
                  <a:cubicBezTo>
                    <a:pt x="3899" y="143"/>
                    <a:pt x="3906" y="148"/>
                    <a:pt x="3912" y="148"/>
                  </a:cubicBezTo>
                  <a:cubicBezTo>
                    <a:pt x="3918" y="148"/>
                    <a:pt x="3921" y="143"/>
                    <a:pt x="3918" y="137"/>
                  </a:cubicBezTo>
                  <a:cubicBezTo>
                    <a:pt x="3914" y="132"/>
                    <a:pt x="3907" y="127"/>
                    <a:pt x="3901" y="127"/>
                  </a:cubicBezTo>
                  <a:cubicBezTo>
                    <a:pt x="3901" y="127"/>
                    <a:pt x="3901" y="127"/>
                    <a:pt x="3901" y="127"/>
                  </a:cubicBezTo>
                  <a:moveTo>
                    <a:pt x="3932" y="127"/>
                  </a:moveTo>
                  <a:cubicBezTo>
                    <a:pt x="3926" y="127"/>
                    <a:pt x="3924" y="131"/>
                    <a:pt x="3927" y="137"/>
                  </a:cubicBezTo>
                  <a:cubicBezTo>
                    <a:pt x="3930" y="143"/>
                    <a:pt x="3937" y="147"/>
                    <a:pt x="3943" y="147"/>
                  </a:cubicBezTo>
                  <a:cubicBezTo>
                    <a:pt x="3949" y="147"/>
                    <a:pt x="3951" y="143"/>
                    <a:pt x="3948" y="137"/>
                  </a:cubicBezTo>
                  <a:cubicBezTo>
                    <a:pt x="3945" y="131"/>
                    <a:pt x="3938" y="127"/>
                    <a:pt x="3932" y="127"/>
                  </a:cubicBezTo>
                  <a:cubicBezTo>
                    <a:pt x="3932" y="127"/>
                    <a:pt x="3932" y="127"/>
                    <a:pt x="3932" y="127"/>
                  </a:cubicBezTo>
                  <a:moveTo>
                    <a:pt x="3963" y="126"/>
                  </a:moveTo>
                  <a:cubicBezTo>
                    <a:pt x="3957" y="127"/>
                    <a:pt x="3955" y="131"/>
                    <a:pt x="3958" y="137"/>
                  </a:cubicBezTo>
                  <a:cubicBezTo>
                    <a:pt x="3961" y="143"/>
                    <a:pt x="3968" y="147"/>
                    <a:pt x="3974" y="147"/>
                  </a:cubicBezTo>
                  <a:cubicBezTo>
                    <a:pt x="3980" y="147"/>
                    <a:pt x="3983" y="142"/>
                    <a:pt x="3979" y="137"/>
                  </a:cubicBezTo>
                  <a:cubicBezTo>
                    <a:pt x="3976" y="131"/>
                    <a:pt x="3969" y="126"/>
                    <a:pt x="3963" y="126"/>
                  </a:cubicBezTo>
                  <a:cubicBezTo>
                    <a:pt x="3963" y="126"/>
                    <a:pt x="3963" y="126"/>
                    <a:pt x="3963" y="126"/>
                  </a:cubicBezTo>
                  <a:moveTo>
                    <a:pt x="3993" y="126"/>
                  </a:moveTo>
                  <a:cubicBezTo>
                    <a:pt x="3988" y="126"/>
                    <a:pt x="3985" y="131"/>
                    <a:pt x="3988" y="137"/>
                  </a:cubicBezTo>
                  <a:cubicBezTo>
                    <a:pt x="3992" y="142"/>
                    <a:pt x="3999" y="147"/>
                    <a:pt x="4005" y="147"/>
                  </a:cubicBezTo>
                  <a:cubicBezTo>
                    <a:pt x="4011" y="147"/>
                    <a:pt x="4014" y="142"/>
                    <a:pt x="4010" y="136"/>
                  </a:cubicBezTo>
                  <a:cubicBezTo>
                    <a:pt x="4007" y="131"/>
                    <a:pt x="4000" y="126"/>
                    <a:pt x="3994" y="126"/>
                  </a:cubicBezTo>
                  <a:cubicBezTo>
                    <a:pt x="3994" y="126"/>
                    <a:pt x="3994" y="126"/>
                    <a:pt x="3993" y="126"/>
                  </a:cubicBezTo>
                  <a:moveTo>
                    <a:pt x="997" y="125"/>
                  </a:moveTo>
                  <a:cubicBezTo>
                    <a:pt x="991" y="125"/>
                    <a:pt x="984" y="130"/>
                    <a:pt x="981" y="135"/>
                  </a:cubicBezTo>
                  <a:cubicBezTo>
                    <a:pt x="977" y="141"/>
                    <a:pt x="979" y="145"/>
                    <a:pt x="986" y="145"/>
                  </a:cubicBezTo>
                  <a:cubicBezTo>
                    <a:pt x="992" y="145"/>
                    <a:pt x="999" y="141"/>
                    <a:pt x="1002" y="135"/>
                  </a:cubicBezTo>
                  <a:cubicBezTo>
                    <a:pt x="1006" y="130"/>
                    <a:pt x="1003" y="125"/>
                    <a:pt x="998" y="125"/>
                  </a:cubicBezTo>
                  <a:cubicBezTo>
                    <a:pt x="998" y="125"/>
                    <a:pt x="997" y="125"/>
                    <a:pt x="997" y="125"/>
                  </a:cubicBezTo>
                  <a:moveTo>
                    <a:pt x="1027" y="125"/>
                  </a:moveTo>
                  <a:cubicBezTo>
                    <a:pt x="1021" y="125"/>
                    <a:pt x="1013" y="129"/>
                    <a:pt x="1010" y="135"/>
                  </a:cubicBezTo>
                  <a:cubicBezTo>
                    <a:pt x="1007" y="141"/>
                    <a:pt x="1009" y="145"/>
                    <a:pt x="1015" y="145"/>
                  </a:cubicBezTo>
                  <a:cubicBezTo>
                    <a:pt x="1021" y="145"/>
                    <a:pt x="1028" y="140"/>
                    <a:pt x="1032" y="135"/>
                  </a:cubicBezTo>
                  <a:cubicBezTo>
                    <a:pt x="1035" y="129"/>
                    <a:pt x="1033" y="125"/>
                    <a:pt x="1027" y="125"/>
                  </a:cubicBezTo>
                  <a:cubicBezTo>
                    <a:pt x="1027" y="125"/>
                    <a:pt x="1027" y="125"/>
                    <a:pt x="1027" y="125"/>
                  </a:cubicBezTo>
                  <a:moveTo>
                    <a:pt x="1305" y="125"/>
                  </a:moveTo>
                  <a:cubicBezTo>
                    <a:pt x="1299" y="125"/>
                    <a:pt x="1292" y="129"/>
                    <a:pt x="1289" y="135"/>
                  </a:cubicBezTo>
                  <a:cubicBezTo>
                    <a:pt x="1286" y="141"/>
                    <a:pt x="1289" y="145"/>
                    <a:pt x="1295" y="145"/>
                  </a:cubicBezTo>
                  <a:cubicBezTo>
                    <a:pt x="1301" y="145"/>
                    <a:pt x="1308" y="140"/>
                    <a:pt x="1311" y="135"/>
                  </a:cubicBezTo>
                  <a:cubicBezTo>
                    <a:pt x="1313" y="129"/>
                    <a:pt x="1311" y="125"/>
                    <a:pt x="1305" y="125"/>
                  </a:cubicBezTo>
                  <a:cubicBezTo>
                    <a:pt x="1305" y="125"/>
                    <a:pt x="1305" y="125"/>
                    <a:pt x="1305" y="125"/>
                  </a:cubicBezTo>
                  <a:moveTo>
                    <a:pt x="1336" y="124"/>
                  </a:moveTo>
                  <a:cubicBezTo>
                    <a:pt x="1330" y="125"/>
                    <a:pt x="1323" y="129"/>
                    <a:pt x="1320" y="135"/>
                  </a:cubicBezTo>
                  <a:cubicBezTo>
                    <a:pt x="1318" y="140"/>
                    <a:pt x="1321" y="145"/>
                    <a:pt x="1327" y="145"/>
                  </a:cubicBezTo>
                  <a:cubicBezTo>
                    <a:pt x="1333" y="145"/>
                    <a:pt x="1340" y="140"/>
                    <a:pt x="1342" y="135"/>
                  </a:cubicBezTo>
                  <a:cubicBezTo>
                    <a:pt x="1345" y="129"/>
                    <a:pt x="1342" y="124"/>
                    <a:pt x="1336" y="124"/>
                  </a:cubicBezTo>
                  <a:cubicBezTo>
                    <a:pt x="1336" y="124"/>
                    <a:pt x="1336" y="124"/>
                    <a:pt x="1336" y="124"/>
                  </a:cubicBezTo>
                  <a:moveTo>
                    <a:pt x="1367" y="124"/>
                  </a:moveTo>
                  <a:cubicBezTo>
                    <a:pt x="1361" y="124"/>
                    <a:pt x="1354" y="129"/>
                    <a:pt x="1351" y="134"/>
                  </a:cubicBezTo>
                  <a:cubicBezTo>
                    <a:pt x="1349" y="140"/>
                    <a:pt x="1352" y="145"/>
                    <a:pt x="1358" y="145"/>
                  </a:cubicBezTo>
                  <a:cubicBezTo>
                    <a:pt x="1364" y="144"/>
                    <a:pt x="1370" y="140"/>
                    <a:pt x="1373" y="134"/>
                  </a:cubicBezTo>
                  <a:cubicBezTo>
                    <a:pt x="1375" y="129"/>
                    <a:pt x="1373" y="124"/>
                    <a:pt x="1367" y="124"/>
                  </a:cubicBezTo>
                  <a:cubicBezTo>
                    <a:pt x="1367" y="124"/>
                    <a:pt x="1367" y="124"/>
                    <a:pt x="1367" y="124"/>
                  </a:cubicBezTo>
                  <a:moveTo>
                    <a:pt x="1611" y="120"/>
                  </a:moveTo>
                  <a:cubicBezTo>
                    <a:pt x="1605" y="120"/>
                    <a:pt x="1598" y="125"/>
                    <a:pt x="1597" y="131"/>
                  </a:cubicBezTo>
                  <a:cubicBezTo>
                    <a:pt x="1595" y="136"/>
                    <a:pt x="1598" y="141"/>
                    <a:pt x="1604" y="141"/>
                  </a:cubicBezTo>
                  <a:cubicBezTo>
                    <a:pt x="1610" y="141"/>
                    <a:pt x="1616" y="136"/>
                    <a:pt x="1618" y="130"/>
                  </a:cubicBezTo>
                  <a:cubicBezTo>
                    <a:pt x="1620" y="125"/>
                    <a:pt x="1617" y="120"/>
                    <a:pt x="1611" y="120"/>
                  </a:cubicBezTo>
                  <a:cubicBezTo>
                    <a:pt x="1611" y="120"/>
                    <a:pt x="1611" y="120"/>
                    <a:pt x="1611" y="120"/>
                  </a:cubicBezTo>
                  <a:moveTo>
                    <a:pt x="1642" y="120"/>
                  </a:moveTo>
                  <a:cubicBezTo>
                    <a:pt x="1636" y="120"/>
                    <a:pt x="1630" y="125"/>
                    <a:pt x="1628" y="130"/>
                  </a:cubicBezTo>
                  <a:cubicBezTo>
                    <a:pt x="1626" y="136"/>
                    <a:pt x="1629" y="140"/>
                    <a:pt x="1635" y="140"/>
                  </a:cubicBezTo>
                  <a:cubicBezTo>
                    <a:pt x="1641" y="140"/>
                    <a:pt x="1648" y="136"/>
                    <a:pt x="1649" y="130"/>
                  </a:cubicBezTo>
                  <a:cubicBezTo>
                    <a:pt x="1651" y="125"/>
                    <a:pt x="1648" y="120"/>
                    <a:pt x="1642" y="120"/>
                  </a:cubicBezTo>
                  <a:cubicBezTo>
                    <a:pt x="1642" y="120"/>
                    <a:pt x="1642" y="120"/>
                    <a:pt x="1642" y="120"/>
                  </a:cubicBezTo>
                  <a:moveTo>
                    <a:pt x="1673" y="120"/>
                  </a:moveTo>
                  <a:cubicBezTo>
                    <a:pt x="1667" y="120"/>
                    <a:pt x="1660" y="124"/>
                    <a:pt x="1659" y="130"/>
                  </a:cubicBezTo>
                  <a:cubicBezTo>
                    <a:pt x="1657" y="136"/>
                    <a:pt x="1660" y="140"/>
                    <a:pt x="1666" y="140"/>
                  </a:cubicBezTo>
                  <a:cubicBezTo>
                    <a:pt x="1672" y="140"/>
                    <a:pt x="1678" y="135"/>
                    <a:pt x="1680" y="130"/>
                  </a:cubicBezTo>
                  <a:cubicBezTo>
                    <a:pt x="1682" y="124"/>
                    <a:pt x="1679" y="120"/>
                    <a:pt x="1673" y="120"/>
                  </a:cubicBezTo>
                  <a:cubicBezTo>
                    <a:pt x="1673" y="120"/>
                    <a:pt x="1673" y="120"/>
                    <a:pt x="1673" y="120"/>
                  </a:cubicBezTo>
                  <a:moveTo>
                    <a:pt x="1704" y="119"/>
                  </a:moveTo>
                  <a:cubicBezTo>
                    <a:pt x="1698" y="120"/>
                    <a:pt x="1691" y="124"/>
                    <a:pt x="1689" y="130"/>
                  </a:cubicBezTo>
                  <a:cubicBezTo>
                    <a:pt x="1688" y="135"/>
                    <a:pt x="1691" y="140"/>
                    <a:pt x="1697" y="140"/>
                  </a:cubicBezTo>
                  <a:cubicBezTo>
                    <a:pt x="1703" y="140"/>
                    <a:pt x="1709" y="135"/>
                    <a:pt x="1711" y="130"/>
                  </a:cubicBezTo>
                  <a:cubicBezTo>
                    <a:pt x="1713" y="124"/>
                    <a:pt x="1710" y="119"/>
                    <a:pt x="1704" y="119"/>
                  </a:cubicBezTo>
                  <a:cubicBezTo>
                    <a:pt x="1704" y="119"/>
                    <a:pt x="1704" y="119"/>
                    <a:pt x="1704" y="119"/>
                  </a:cubicBezTo>
                  <a:moveTo>
                    <a:pt x="1734" y="119"/>
                  </a:moveTo>
                  <a:cubicBezTo>
                    <a:pt x="1728" y="119"/>
                    <a:pt x="1722" y="124"/>
                    <a:pt x="1720" y="129"/>
                  </a:cubicBezTo>
                  <a:cubicBezTo>
                    <a:pt x="1719" y="135"/>
                    <a:pt x="1722" y="140"/>
                    <a:pt x="1728" y="140"/>
                  </a:cubicBezTo>
                  <a:cubicBezTo>
                    <a:pt x="1734" y="139"/>
                    <a:pt x="1740" y="135"/>
                    <a:pt x="1742" y="129"/>
                  </a:cubicBezTo>
                  <a:cubicBezTo>
                    <a:pt x="1744" y="124"/>
                    <a:pt x="1740" y="119"/>
                    <a:pt x="1734" y="119"/>
                  </a:cubicBezTo>
                  <a:cubicBezTo>
                    <a:pt x="1734" y="119"/>
                    <a:pt x="1734" y="119"/>
                    <a:pt x="1734" y="119"/>
                  </a:cubicBezTo>
                  <a:moveTo>
                    <a:pt x="1765" y="119"/>
                  </a:moveTo>
                  <a:cubicBezTo>
                    <a:pt x="1759" y="119"/>
                    <a:pt x="1753" y="124"/>
                    <a:pt x="1751" y="129"/>
                  </a:cubicBezTo>
                  <a:cubicBezTo>
                    <a:pt x="1750" y="135"/>
                    <a:pt x="1753" y="139"/>
                    <a:pt x="1759" y="139"/>
                  </a:cubicBezTo>
                  <a:cubicBezTo>
                    <a:pt x="1765" y="139"/>
                    <a:pt x="1771" y="135"/>
                    <a:pt x="1773" y="129"/>
                  </a:cubicBezTo>
                  <a:cubicBezTo>
                    <a:pt x="1774" y="123"/>
                    <a:pt x="1771" y="119"/>
                    <a:pt x="1765" y="119"/>
                  </a:cubicBezTo>
                  <a:cubicBezTo>
                    <a:pt x="1765" y="119"/>
                    <a:pt x="1765" y="119"/>
                    <a:pt x="1765" y="119"/>
                  </a:cubicBezTo>
                  <a:moveTo>
                    <a:pt x="1797" y="119"/>
                  </a:moveTo>
                  <a:cubicBezTo>
                    <a:pt x="1791" y="119"/>
                    <a:pt x="1785" y="123"/>
                    <a:pt x="1783" y="129"/>
                  </a:cubicBezTo>
                  <a:cubicBezTo>
                    <a:pt x="1782" y="134"/>
                    <a:pt x="1785" y="139"/>
                    <a:pt x="1791" y="139"/>
                  </a:cubicBezTo>
                  <a:cubicBezTo>
                    <a:pt x="1797" y="139"/>
                    <a:pt x="1803" y="134"/>
                    <a:pt x="1805" y="129"/>
                  </a:cubicBezTo>
                  <a:cubicBezTo>
                    <a:pt x="1806" y="123"/>
                    <a:pt x="1803" y="119"/>
                    <a:pt x="1797" y="119"/>
                  </a:cubicBezTo>
                  <a:cubicBezTo>
                    <a:pt x="1797" y="119"/>
                    <a:pt x="1797" y="119"/>
                    <a:pt x="1797" y="119"/>
                  </a:cubicBezTo>
                  <a:moveTo>
                    <a:pt x="1827" y="118"/>
                  </a:moveTo>
                  <a:cubicBezTo>
                    <a:pt x="1821" y="118"/>
                    <a:pt x="1815" y="123"/>
                    <a:pt x="1814" y="129"/>
                  </a:cubicBezTo>
                  <a:cubicBezTo>
                    <a:pt x="1812" y="134"/>
                    <a:pt x="1816" y="139"/>
                    <a:pt x="1822" y="139"/>
                  </a:cubicBezTo>
                  <a:cubicBezTo>
                    <a:pt x="1828" y="139"/>
                    <a:pt x="1834" y="134"/>
                    <a:pt x="1836" y="128"/>
                  </a:cubicBezTo>
                  <a:cubicBezTo>
                    <a:pt x="1837" y="123"/>
                    <a:pt x="1833" y="118"/>
                    <a:pt x="1828" y="118"/>
                  </a:cubicBezTo>
                  <a:cubicBezTo>
                    <a:pt x="1828" y="118"/>
                    <a:pt x="1827" y="118"/>
                    <a:pt x="1827" y="118"/>
                  </a:cubicBezTo>
                  <a:moveTo>
                    <a:pt x="1858" y="118"/>
                  </a:moveTo>
                  <a:cubicBezTo>
                    <a:pt x="1852" y="118"/>
                    <a:pt x="1846" y="123"/>
                    <a:pt x="1845" y="128"/>
                  </a:cubicBezTo>
                  <a:cubicBezTo>
                    <a:pt x="1843" y="134"/>
                    <a:pt x="1847" y="138"/>
                    <a:pt x="1853" y="138"/>
                  </a:cubicBezTo>
                  <a:cubicBezTo>
                    <a:pt x="1859" y="138"/>
                    <a:pt x="1865" y="134"/>
                    <a:pt x="1867" y="128"/>
                  </a:cubicBezTo>
                  <a:cubicBezTo>
                    <a:pt x="1868" y="122"/>
                    <a:pt x="1864" y="118"/>
                    <a:pt x="1858" y="118"/>
                  </a:cubicBezTo>
                  <a:cubicBezTo>
                    <a:pt x="1858" y="118"/>
                    <a:pt x="1858" y="118"/>
                    <a:pt x="1858" y="118"/>
                  </a:cubicBezTo>
                  <a:moveTo>
                    <a:pt x="1889" y="118"/>
                  </a:moveTo>
                  <a:cubicBezTo>
                    <a:pt x="1883" y="118"/>
                    <a:pt x="1878" y="122"/>
                    <a:pt x="1876" y="128"/>
                  </a:cubicBezTo>
                  <a:cubicBezTo>
                    <a:pt x="1875" y="134"/>
                    <a:pt x="1879" y="138"/>
                    <a:pt x="1885" y="138"/>
                  </a:cubicBezTo>
                  <a:cubicBezTo>
                    <a:pt x="1891" y="138"/>
                    <a:pt x="1896" y="133"/>
                    <a:pt x="1898" y="128"/>
                  </a:cubicBezTo>
                  <a:cubicBezTo>
                    <a:pt x="1899" y="122"/>
                    <a:pt x="1895" y="118"/>
                    <a:pt x="1890" y="118"/>
                  </a:cubicBezTo>
                  <a:cubicBezTo>
                    <a:pt x="1890" y="118"/>
                    <a:pt x="1889" y="118"/>
                    <a:pt x="1889" y="118"/>
                  </a:cubicBezTo>
                  <a:moveTo>
                    <a:pt x="2813" y="109"/>
                  </a:moveTo>
                  <a:cubicBezTo>
                    <a:pt x="2807" y="109"/>
                    <a:pt x="2803" y="114"/>
                    <a:pt x="2804" y="120"/>
                  </a:cubicBezTo>
                  <a:cubicBezTo>
                    <a:pt x="2804" y="125"/>
                    <a:pt x="2810" y="130"/>
                    <a:pt x="2816" y="130"/>
                  </a:cubicBezTo>
                  <a:cubicBezTo>
                    <a:pt x="2822" y="130"/>
                    <a:pt x="2826" y="125"/>
                    <a:pt x="2825" y="120"/>
                  </a:cubicBezTo>
                  <a:cubicBezTo>
                    <a:pt x="2825" y="114"/>
                    <a:pt x="2819" y="109"/>
                    <a:pt x="2813" y="109"/>
                  </a:cubicBezTo>
                  <a:cubicBezTo>
                    <a:pt x="2813" y="109"/>
                    <a:pt x="2813" y="109"/>
                    <a:pt x="2813" y="109"/>
                  </a:cubicBezTo>
                  <a:moveTo>
                    <a:pt x="2844" y="109"/>
                  </a:moveTo>
                  <a:cubicBezTo>
                    <a:pt x="2838" y="109"/>
                    <a:pt x="2834" y="114"/>
                    <a:pt x="2834" y="119"/>
                  </a:cubicBezTo>
                  <a:cubicBezTo>
                    <a:pt x="2835" y="125"/>
                    <a:pt x="2841" y="130"/>
                    <a:pt x="2847" y="130"/>
                  </a:cubicBezTo>
                  <a:cubicBezTo>
                    <a:pt x="2853" y="130"/>
                    <a:pt x="2857" y="125"/>
                    <a:pt x="2856" y="119"/>
                  </a:cubicBezTo>
                  <a:cubicBezTo>
                    <a:pt x="2855" y="114"/>
                    <a:pt x="2850" y="109"/>
                    <a:pt x="2844" y="109"/>
                  </a:cubicBezTo>
                  <a:cubicBezTo>
                    <a:pt x="2844" y="109"/>
                    <a:pt x="2844" y="109"/>
                    <a:pt x="2844" y="109"/>
                  </a:cubicBezTo>
                  <a:moveTo>
                    <a:pt x="2905" y="109"/>
                  </a:moveTo>
                  <a:cubicBezTo>
                    <a:pt x="2899" y="109"/>
                    <a:pt x="2895" y="113"/>
                    <a:pt x="2895" y="119"/>
                  </a:cubicBezTo>
                  <a:cubicBezTo>
                    <a:pt x="2896" y="125"/>
                    <a:pt x="2902" y="129"/>
                    <a:pt x="2908" y="129"/>
                  </a:cubicBezTo>
                  <a:cubicBezTo>
                    <a:pt x="2914" y="129"/>
                    <a:pt x="2918" y="124"/>
                    <a:pt x="2917" y="119"/>
                  </a:cubicBezTo>
                  <a:cubicBezTo>
                    <a:pt x="2916" y="113"/>
                    <a:pt x="2911" y="109"/>
                    <a:pt x="2905" y="109"/>
                  </a:cubicBezTo>
                  <a:cubicBezTo>
                    <a:pt x="2905" y="109"/>
                    <a:pt x="2905" y="109"/>
                    <a:pt x="2905" y="109"/>
                  </a:cubicBezTo>
                  <a:moveTo>
                    <a:pt x="2690" y="108"/>
                  </a:moveTo>
                  <a:cubicBezTo>
                    <a:pt x="2684" y="108"/>
                    <a:pt x="2679" y="113"/>
                    <a:pt x="2680" y="119"/>
                  </a:cubicBezTo>
                  <a:cubicBezTo>
                    <a:pt x="2680" y="124"/>
                    <a:pt x="2685" y="129"/>
                    <a:pt x="2691" y="129"/>
                  </a:cubicBezTo>
                  <a:cubicBezTo>
                    <a:pt x="2697" y="129"/>
                    <a:pt x="2702" y="124"/>
                    <a:pt x="2701" y="118"/>
                  </a:cubicBezTo>
                  <a:cubicBezTo>
                    <a:pt x="2701" y="113"/>
                    <a:pt x="2696" y="108"/>
                    <a:pt x="2690" y="108"/>
                  </a:cubicBezTo>
                  <a:cubicBezTo>
                    <a:pt x="2690" y="108"/>
                    <a:pt x="2690" y="108"/>
                    <a:pt x="2690" y="108"/>
                  </a:cubicBezTo>
                  <a:moveTo>
                    <a:pt x="2935" y="108"/>
                  </a:moveTo>
                  <a:cubicBezTo>
                    <a:pt x="2929" y="108"/>
                    <a:pt x="2925" y="113"/>
                    <a:pt x="2926" y="119"/>
                  </a:cubicBezTo>
                  <a:cubicBezTo>
                    <a:pt x="2927" y="124"/>
                    <a:pt x="2933" y="129"/>
                    <a:pt x="2939" y="129"/>
                  </a:cubicBezTo>
                  <a:cubicBezTo>
                    <a:pt x="2944" y="129"/>
                    <a:pt x="2949" y="124"/>
                    <a:pt x="2948" y="118"/>
                  </a:cubicBezTo>
                  <a:cubicBezTo>
                    <a:pt x="2947" y="113"/>
                    <a:pt x="2941" y="108"/>
                    <a:pt x="2935" y="108"/>
                  </a:cubicBezTo>
                  <a:cubicBezTo>
                    <a:pt x="2935" y="108"/>
                    <a:pt x="2935" y="108"/>
                    <a:pt x="2935" y="108"/>
                  </a:cubicBezTo>
                  <a:moveTo>
                    <a:pt x="2966" y="108"/>
                  </a:moveTo>
                  <a:cubicBezTo>
                    <a:pt x="2960" y="108"/>
                    <a:pt x="2956" y="113"/>
                    <a:pt x="2957" y="118"/>
                  </a:cubicBezTo>
                  <a:cubicBezTo>
                    <a:pt x="2958" y="124"/>
                    <a:pt x="2963" y="128"/>
                    <a:pt x="2969" y="128"/>
                  </a:cubicBezTo>
                  <a:cubicBezTo>
                    <a:pt x="2975" y="128"/>
                    <a:pt x="2979" y="124"/>
                    <a:pt x="2978" y="118"/>
                  </a:cubicBezTo>
                  <a:cubicBezTo>
                    <a:pt x="2977" y="112"/>
                    <a:pt x="2972" y="108"/>
                    <a:pt x="2966" y="108"/>
                  </a:cubicBezTo>
                  <a:cubicBezTo>
                    <a:pt x="2966" y="108"/>
                    <a:pt x="2966" y="108"/>
                    <a:pt x="2966" y="108"/>
                  </a:cubicBezTo>
                  <a:moveTo>
                    <a:pt x="2996" y="108"/>
                  </a:moveTo>
                  <a:cubicBezTo>
                    <a:pt x="2990" y="108"/>
                    <a:pt x="2986" y="112"/>
                    <a:pt x="2987" y="118"/>
                  </a:cubicBezTo>
                  <a:cubicBezTo>
                    <a:pt x="2988" y="124"/>
                    <a:pt x="2994" y="128"/>
                    <a:pt x="3000" y="128"/>
                  </a:cubicBezTo>
                  <a:cubicBezTo>
                    <a:pt x="3006" y="128"/>
                    <a:pt x="3010" y="123"/>
                    <a:pt x="3009" y="118"/>
                  </a:cubicBezTo>
                  <a:cubicBezTo>
                    <a:pt x="3008" y="112"/>
                    <a:pt x="3002" y="108"/>
                    <a:pt x="2996" y="108"/>
                  </a:cubicBezTo>
                  <a:cubicBezTo>
                    <a:pt x="2996" y="108"/>
                    <a:pt x="2996" y="108"/>
                    <a:pt x="2996" y="108"/>
                  </a:cubicBezTo>
                  <a:moveTo>
                    <a:pt x="3026" y="107"/>
                  </a:moveTo>
                  <a:cubicBezTo>
                    <a:pt x="3020" y="107"/>
                    <a:pt x="3017" y="112"/>
                    <a:pt x="3018" y="118"/>
                  </a:cubicBezTo>
                  <a:cubicBezTo>
                    <a:pt x="3019" y="123"/>
                    <a:pt x="3025" y="128"/>
                    <a:pt x="3031" y="128"/>
                  </a:cubicBezTo>
                  <a:cubicBezTo>
                    <a:pt x="3036" y="128"/>
                    <a:pt x="3040" y="123"/>
                    <a:pt x="3039" y="117"/>
                  </a:cubicBezTo>
                  <a:cubicBezTo>
                    <a:pt x="3038" y="112"/>
                    <a:pt x="3032" y="107"/>
                    <a:pt x="3027" y="107"/>
                  </a:cubicBezTo>
                  <a:cubicBezTo>
                    <a:pt x="3026" y="107"/>
                    <a:pt x="3026" y="107"/>
                    <a:pt x="3026" y="107"/>
                  </a:cubicBezTo>
                  <a:moveTo>
                    <a:pt x="3057" y="107"/>
                  </a:moveTo>
                  <a:cubicBezTo>
                    <a:pt x="3051" y="107"/>
                    <a:pt x="3047" y="112"/>
                    <a:pt x="3049" y="117"/>
                  </a:cubicBezTo>
                  <a:cubicBezTo>
                    <a:pt x="3050" y="123"/>
                    <a:pt x="3056" y="128"/>
                    <a:pt x="3062" y="128"/>
                  </a:cubicBezTo>
                  <a:cubicBezTo>
                    <a:pt x="3067" y="128"/>
                    <a:pt x="3071" y="123"/>
                    <a:pt x="3070" y="117"/>
                  </a:cubicBezTo>
                  <a:cubicBezTo>
                    <a:pt x="3069" y="112"/>
                    <a:pt x="3063" y="107"/>
                    <a:pt x="3057" y="107"/>
                  </a:cubicBezTo>
                  <a:cubicBezTo>
                    <a:pt x="3057" y="107"/>
                    <a:pt x="3057" y="107"/>
                    <a:pt x="3057" y="107"/>
                  </a:cubicBezTo>
                  <a:moveTo>
                    <a:pt x="3088" y="107"/>
                  </a:moveTo>
                  <a:cubicBezTo>
                    <a:pt x="3082" y="107"/>
                    <a:pt x="3078" y="111"/>
                    <a:pt x="3080" y="117"/>
                  </a:cubicBezTo>
                  <a:cubicBezTo>
                    <a:pt x="3081" y="123"/>
                    <a:pt x="3087" y="127"/>
                    <a:pt x="3093" y="127"/>
                  </a:cubicBezTo>
                  <a:cubicBezTo>
                    <a:pt x="3099" y="127"/>
                    <a:pt x="3103" y="123"/>
                    <a:pt x="3101" y="117"/>
                  </a:cubicBezTo>
                  <a:cubicBezTo>
                    <a:pt x="3100" y="111"/>
                    <a:pt x="3094" y="107"/>
                    <a:pt x="3088" y="107"/>
                  </a:cubicBezTo>
                  <a:cubicBezTo>
                    <a:pt x="3088" y="107"/>
                    <a:pt x="3088" y="107"/>
                    <a:pt x="3088" y="107"/>
                  </a:cubicBezTo>
                  <a:moveTo>
                    <a:pt x="3119" y="106"/>
                  </a:moveTo>
                  <a:cubicBezTo>
                    <a:pt x="3113" y="107"/>
                    <a:pt x="3109" y="111"/>
                    <a:pt x="3110" y="117"/>
                  </a:cubicBezTo>
                  <a:cubicBezTo>
                    <a:pt x="3112" y="122"/>
                    <a:pt x="3118" y="127"/>
                    <a:pt x="3123" y="127"/>
                  </a:cubicBezTo>
                  <a:cubicBezTo>
                    <a:pt x="3129" y="127"/>
                    <a:pt x="3133" y="122"/>
                    <a:pt x="3132" y="117"/>
                  </a:cubicBezTo>
                  <a:cubicBezTo>
                    <a:pt x="3130" y="111"/>
                    <a:pt x="3125" y="106"/>
                    <a:pt x="3119" y="106"/>
                  </a:cubicBezTo>
                  <a:cubicBezTo>
                    <a:pt x="3119" y="106"/>
                    <a:pt x="3119" y="106"/>
                    <a:pt x="3119" y="106"/>
                  </a:cubicBezTo>
                  <a:moveTo>
                    <a:pt x="3149" y="106"/>
                  </a:moveTo>
                  <a:cubicBezTo>
                    <a:pt x="3143" y="106"/>
                    <a:pt x="3140" y="111"/>
                    <a:pt x="3141" y="117"/>
                  </a:cubicBezTo>
                  <a:cubicBezTo>
                    <a:pt x="3142" y="122"/>
                    <a:pt x="3148" y="127"/>
                    <a:pt x="3154" y="127"/>
                  </a:cubicBezTo>
                  <a:cubicBezTo>
                    <a:pt x="3160" y="127"/>
                    <a:pt x="3164" y="122"/>
                    <a:pt x="3163" y="116"/>
                  </a:cubicBezTo>
                  <a:cubicBezTo>
                    <a:pt x="3161" y="111"/>
                    <a:pt x="3155" y="106"/>
                    <a:pt x="3149" y="106"/>
                  </a:cubicBezTo>
                  <a:cubicBezTo>
                    <a:pt x="3149" y="106"/>
                    <a:pt x="3149" y="106"/>
                    <a:pt x="3149" y="106"/>
                  </a:cubicBezTo>
                  <a:moveTo>
                    <a:pt x="3180" y="106"/>
                  </a:moveTo>
                  <a:cubicBezTo>
                    <a:pt x="3174" y="106"/>
                    <a:pt x="3170" y="111"/>
                    <a:pt x="3172" y="116"/>
                  </a:cubicBezTo>
                  <a:cubicBezTo>
                    <a:pt x="3173" y="122"/>
                    <a:pt x="3179" y="126"/>
                    <a:pt x="3185" y="126"/>
                  </a:cubicBezTo>
                  <a:cubicBezTo>
                    <a:pt x="3191" y="126"/>
                    <a:pt x="3195" y="122"/>
                    <a:pt x="3193" y="116"/>
                  </a:cubicBezTo>
                  <a:cubicBezTo>
                    <a:pt x="3192" y="110"/>
                    <a:pt x="3186" y="106"/>
                    <a:pt x="3180" y="106"/>
                  </a:cubicBezTo>
                  <a:cubicBezTo>
                    <a:pt x="3180" y="106"/>
                    <a:pt x="3180" y="106"/>
                    <a:pt x="3180" y="106"/>
                  </a:cubicBezTo>
                  <a:moveTo>
                    <a:pt x="3211" y="106"/>
                  </a:moveTo>
                  <a:cubicBezTo>
                    <a:pt x="3205" y="106"/>
                    <a:pt x="3201" y="110"/>
                    <a:pt x="3203" y="116"/>
                  </a:cubicBezTo>
                  <a:cubicBezTo>
                    <a:pt x="3204" y="122"/>
                    <a:pt x="3210" y="126"/>
                    <a:pt x="3216" y="126"/>
                  </a:cubicBezTo>
                  <a:cubicBezTo>
                    <a:pt x="3222" y="126"/>
                    <a:pt x="3226" y="121"/>
                    <a:pt x="3224" y="116"/>
                  </a:cubicBezTo>
                  <a:cubicBezTo>
                    <a:pt x="3223" y="110"/>
                    <a:pt x="3217" y="106"/>
                    <a:pt x="3211" y="106"/>
                  </a:cubicBezTo>
                  <a:cubicBezTo>
                    <a:pt x="3211" y="106"/>
                    <a:pt x="3211" y="106"/>
                    <a:pt x="3211" y="106"/>
                  </a:cubicBezTo>
                  <a:moveTo>
                    <a:pt x="3242" y="105"/>
                  </a:moveTo>
                  <a:cubicBezTo>
                    <a:pt x="3236" y="105"/>
                    <a:pt x="3233" y="110"/>
                    <a:pt x="3235" y="116"/>
                  </a:cubicBezTo>
                  <a:cubicBezTo>
                    <a:pt x="3236" y="121"/>
                    <a:pt x="3242" y="126"/>
                    <a:pt x="3248" y="126"/>
                  </a:cubicBezTo>
                  <a:cubicBezTo>
                    <a:pt x="3254" y="126"/>
                    <a:pt x="3258" y="121"/>
                    <a:pt x="3256" y="115"/>
                  </a:cubicBezTo>
                  <a:cubicBezTo>
                    <a:pt x="3254" y="110"/>
                    <a:pt x="3248" y="105"/>
                    <a:pt x="3243" y="105"/>
                  </a:cubicBezTo>
                  <a:cubicBezTo>
                    <a:pt x="3242" y="105"/>
                    <a:pt x="3242" y="105"/>
                    <a:pt x="3242" y="105"/>
                  </a:cubicBezTo>
                  <a:moveTo>
                    <a:pt x="3273" y="105"/>
                  </a:moveTo>
                  <a:cubicBezTo>
                    <a:pt x="3267" y="105"/>
                    <a:pt x="3263" y="110"/>
                    <a:pt x="3265" y="115"/>
                  </a:cubicBezTo>
                  <a:cubicBezTo>
                    <a:pt x="3267" y="121"/>
                    <a:pt x="3273" y="126"/>
                    <a:pt x="3279" y="126"/>
                  </a:cubicBezTo>
                  <a:cubicBezTo>
                    <a:pt x="3285" y="125"/>
                    <a:pt x="3288" y="121"/>
                    <a:pt x="3287" y="115"/>
                  </a:cubicBezTo>
                  <a:cubicBezTo>
                    <a:pt x="3285" y="110"/>
                    <a:pt x="3279" y="105"/>
                    <a:pt x="3273" y="105"/>
                  </a:cubicBezTo>
                  <a:cubicBezTo>
                    <a:pt x="3273" y="105"/>
                    <a:pt x="3273" y="105"/>
                    <a:pt x="3273" y="105"/>
                  </a:cubicBezTo>
                  <a:moveTo>
                    <a:pt x="3303" y="105"/>
                  </a:moveTo>
                  <a:cubicBezTo>
                    <a:pt x="3297" y="105"/>
                    <a:pt x="3294" y="109"/>
                    <a:pt x="3296" y="115"/>
                  </a:cubicBezTo>
                  <a:cubicBezTo>
                    <a:pt x="3297" y="121"/>
                    <a:pt x="3303" y="125"/>
                    <a:pt x="3309" y="125"/>
                  </a:cubicBezTo>
                  <a:cubicBezTo>
                    <a:pt x="3315" y="125"/>
                    <a:pt x="3319" y="121"/>
                    <a:pt x="3317" y="115"/>
                  </a:cubicBezTo>
                  <a:cubicBezTo>
                    <a:pt x="3315" y="109"/>
                    <a:pt x="3309" y="105"/>
                    <a:pt x="3303" y="105"/>
                  </a:cubicBezTo>
                  <a:cubicBezTo>
                    <a:pt x="3303" y="105"/>
                    <a:pt x="3303" y="105"/>
                    <a:pt x="3303" y="105"/>
                  </a:cubicBezTo>
                  <a:moveTo>
                    <a:pt x="3334" y="104"/>
                  </a:moveTo>
                  <a:cubicBezTo>
                    <a:pt x="3328" y="104"/>
                    <a:pt x="3324" y="109"/>
                    <a:pt x="3326" y="115"/>
                  </a:cubicBezTo>
                  <a:cubicBezTo>
                    <a:pt x="3328" y="120"/>
                    <a:pt x="3334" y="125"/>
                    <a:pt x="3340" y="125"/>
                  </a:cubicBezTo>
                  <a:cubicBezTo>
                    <a:pt x="3346" y="125"/>
                    <a:pt x="3349" y="120"/>
                    <a:pt x="3348" y="115"/>
                  </a:cubicBezTo>
                  <a:cubicBezTo>
                    <a:pt x="3346" y="109"/>
                    <a:pt x="3340" y="104"/>
                    <a:pt x="3334" y="104"/>
                  </a:cubicBezTo>
                  <a:cubicBezTo>
                    <a:pt x="3334" y="104"/>
                    <a:pt x="3334" y="104"/>
                    <a:pt x="3334" y="104"/>
                  </a:cubicBezTo>
                  <a:moveTo>
                    <a:pt x="3364" y="104"/>
                  </a:moveTo>
                  <a:cubicBezTo>
                    <a:pt x="3358" y="104"/>
                    <a:pt x="3355" y="109"/>
                    <a:pt x="3357" y="114"/>
                  </a:cubicBezTo>
                  <a:cubicBezTo>
                    <a:pt x="3359" y="120"/>
                    <a:pt x="3365" y="125"/>
                    <a:pt x="3371" y="125"/>
                  </a:cubicBezTo>
                  <a:cubicBezTo>
                    <a:pt x="3377" y="125"/>
                    <a:pt x="3380" y="120"/>
                    <a:pt x="3378" y="114"/>
                  </a:cubicBezTo>
                  <a:cubicBezTo>
                    <a:pt x="3377" y="109"/>
                    <a:pt x="3370" y="104"/>
                    <a:pt x="3364" y="104"/>
                  </a:cubicBezTo>
                  <a:cubicBezTo>
                    <a:pt x="3364" y="104"/>
                    <a:pt x="3364" y="104"/>
                    <a:pt x="3364" y="104"/>
                  </a:cubicBezTo>
                  <a:moveTo>
                    <a:pt x="3395" y="104"/>
                  </a:moveTo>
                  <a:cubicBezTo>
                    <a:pt x="3389" y="104"/>
                    <a:pt x="3386" y="108"/>
                    <a:pt x="3388" y="114"/>
                  </a:cubicBezTo>
                  <a:cubicBezTo>
                    <a:pt x="3390" y="120"/>
                    <a:pt x="3396" y="124"/>
                    <a:pt x="3402" y="124"/>
                  </a:cubicBezTo>
                  <a:cubicBezTo>
                    <a:pt x="3408" y="124"/>
                    <a:pt x="3412" y="120"/>
                    <a:pt x="3410" y="114"/>
                  </a:cubicBezTo>
                  <a:cubicBezTo>
                    <a:pt x="3408" y="108"/>
                    <a:pt x="3401" y="104"/>
                    <a:pt x="3395" y="104"/>
                  </a:cubicBezTo>
                  <a:cubicBezTo>
                    <a:pt x="3395" y="104"/>
                    <a:pt x="3395" y="104"/>
                    <a:pt x="3395" y="104"/>
                  </a:cubicBezTo>
                  <a:moveTo>
                    <a:pt x="3426" y="103"/>
                  </a:moveTo>
                  <a:cubicBezTo>
                    <a:pt x="3420" y="104"/>
                    <a:pt x="3417" y="108"/>
                    <a:pt x="3419" y="114"/>
                  </a:cubicBezTo>
                  <a:cubicBezTo>
                    <a:pt x="3421" y="120"/>
                    <a:pt x="3427" y="124"/>
                    <a:pt x="3433" y="124"/>
                  </a:cubicBezTo>
                  <a:cubicBezTo>
                    <a:pt x="3439" y="124"/>
                    <a:pt x="3442" y="119"/>
                    <a:pt x="3440" y="114"/>
                  </a:cubicBezTo>
                  <a:cubicBezTo>
                    <a:pt x="3438" y="108"/>
                    <a:pt x="3432" y="103"/>
                    <a:pt x="3426" y="103"/>
                  </a:cubicBezTo>
                  <a:cubicBezTo>
                    <a:pt x="3426" y="103"/>
                    <a:pt x="3426" y="103"/>
                    <a:pt x="3426" y="103"/>
                  </a:cubicBezTo>
                  <a:moveTo>
                    <a:pt x="3550" y="102"/>
                  </a:moveTo>
                  <a:cubicBezTo>
                    <a:pt x="3544" y="102"/>
                    <a:pt x="3541" y="106"/>
                    <a:pt x="3543" y="112"/>
                  </a:cubicBezTo>
                  <a:cubicBezTo>
                    <a:pt x="3545" y="118"/>
                    <a:pt x="3552" y="122"/>
                    <a:pt x="3558" y="122"/>
                  </a:cubicBezTo>
                  <a:cubicBezTo>
                    <a:pt x="3564" y="122"/>
                    <a:pt x="3567" y="117"/>
                    <a:pt x="3565" y="112"/>
                  </a:cubicBezTo>
                  <a:cubicBezTo>
                    <a:pt x="3562" y="106"/>
                    <a:pt x="3556" y="102"/>
                    <a:pt x="3550" y="102"/>
                  </a:cubicBezTo>
                  <a:cubicBezTo>
                    <a:pt x="3550" y="102"/>
                    <a:pt x="3550" y="102"/>
                    <a:pt x="3550" y="102"/>
                  </a:cubicBezTo>
                  <a:moveTo>
                    <a:pt x="3580" y="101"/>
                  </a:moveTo>
                  <a:cubicBezTo>
                    <a:pt x="3574" y="101"/>
                    <a:pt x="3571" y="106"/>
                    <a:pt x="3573" y="112"/>
                  </a:cubicBezTo>
                  <a:cubicBezTo>
                    <a:pt x="3576" y="117"/>
                    <a:pt x="3582" y="122"/>
                    <a:pt x="3588" y="122"/>
                  </a:cubicBezTo>
                  <a:cubicBezTo>
                    <a:pt x="3594" y="122"/>
                    <a:pt x="3597" y="117"/>
                    <a:pt x="3595" y="111"/>
                  </a:cubicBezTo>
                  <a:cubicBezTo>
                    <a:pt x="3593" y="106"/>
                    <a:pt x="3586" y="101"/>
                    <a:pt x="3580" y="101"/>
                  </a:cubicBezTo>
                  <a:cubicBezTo>
                    <a:pt x="3580" y="101"/>
                    <a:pt x="3580" y="101"/>
                    <a:pt x="3580" y="101"/>
                  </a:cubicBezTo>
                  <a:moveTo>
                    <a:pt x="3610" y="101"/>
                  </a:moveTo>
                  <a:cubicBezTo>
                    <a:pt x="3604" y="101"/>
                    <a:pt x="3602" y="106"/>
                    <a:pt x="3604" y="111"/>
                  </a:cubicBezTo>
                  <a:cubicBezTo>
                    <a:pt x="3606" y="117"/>
                    <a:pt x="3613" y="122"/>
                    <a:pt x="3619" y="122"/>
                  </a:cubicBezTo>
                  <a:cubicBezTo>
                    <a:pt x="3625" y="121"/>
                    <a:pt x="3628" y="117"/>
                    <a:pt x="3625" y="111"/>
                  </a:cubicBezTo>
                  <a:cubicBezTo>
                    <a:pt x="3623" y="105"/>
                    <a:pt x="3616" y="101"/>
                    <a:pt x="3610" y="101"/>
                  </a:cubicBezTo>
                  <a:cubicBezTo>
                    <a:pt x="3610" y="101"/>
                    <a:pt x="3610" y="101"/>
                    <a:pt x="3610" y="101"/>
                  </a:cubicBezTo>
                  <a:moveTo>
                    <a:pt x="1621" y="91"/>
                  </a:moveTo>
                  <a:cubicBezTo>
                    <a:pt x="1615" y="91"/>
                    <a:pt x="1609" y="96"/>
                    <a:pt x="1607" y="101"/>
                  </a:cubicBezTo>
                  <a:cubicBezTo>
                    <a:pt x="1605" y="107"/>
                    <a:pt x="1608" y="111"/>
                    <a:pt x="1614" y="111"/>
                  </a:cubicBezTo>
                  <a:cubicBezTo>
                    <a:pt x="1620" y="111"/>
                    <a:pt x="1626" y="107"/>
                    <a:pt x="1628" y="101"/>
                  </a:cubicBezTo>
                  <a:cubicBezTo>
                    <a:pt x="1630" y="95"/>
                    <a:pt x="1627" y="91"/>
                    <a:pt x="1621" y="91"/>
                  </a:cubicBezTo>
                  <a:cubicBezTo>
                    <a:pt x="1621" y="91"/>
                    <a:pt x="1621" y="91"/>
                    <a:pt x="1621" y="91"/>
                  </a:cubicBezTo>
                  <a:moveTo>
                    <a:pt x="1652" y="91"/>
                  </a:moveTo>
                  <a:cubicBezTo>
                    <a:pt x="1646" y="91"/>
                    <a:pt x="1640" y="95"/>
                    <a:pt x="1638" y="101"/>
                  </a:cubicBezTo>
                  <a:cubicBezTo>
                    <a:pt x="1636" y="107"/>
                    <a:pt x="1639" y="111"/>
                    <a:pt x="1645" y="111"/>
                  </a:cubicBezTo>
                  <a:cubicBezTo>
                    <a:pt x="1651" y="111"/>
                    <a:pt x="1657" y="106"/>
                    <a:pt x="1659" y="101"/>
                  </a:cubicBezTo>
                  <a:cubicBezTo>
                    <a:pt x="1661" y="95"/>
                    <a:pt x="1658" y="91"/>
                    <a:pt x="1652" y="91"/>
                  </a:cubicBezTo>
                  <a:cubicBezTo>
                    <a:pt x="1652" y="91"/>
                    <a:pt x="1652" y="91"/>
                    <a:pt x="1652" y="91"/>
                  </a:cubicBezTo>
                  <a:moveTo>
                    <a:pt x="1682" y="90"/>
                  </a:moveTo>
                  <a:cubicBezTo>
                    <a:pt x="1676" y="90"/>
                    <a:pt x="1670" y="95"/>
                    <a:pt x="1668" y="101"/>
                  </a:cubicBezTo>
                  <a:cubicBezTo>
                    <a:pt x="1666" y="106"/>
                    <a:pt x="1670" y="111"/>
                    <a:pt x="1676" y="111"/>
                  </a:cubicBezTo>
                  <a:cubicBezTo>
                    <a:pt x="1682" y="111"/>
                    <a:pt x="1688" y="106"/>
                    <a:pt x="1690" y="100"/>
                  </a:cubicBezTo>
                  <a:cubicBezTo>
                    <a:pt x="1691" y="95"/>
                    <a:pt x="1688" y="90"/>
                    <a:pt x="1682" y="90"/>
                  </a:cubicBezTo>
                  <a:cubicBezTo>
                    <a:pt x="1682" y="90"/>
                    <a:pt x="1682" y="90"/>
                    <a:pt x="1682" y="90"/>
                  </a:cubicBezTo>
                  <a:moveTo>
                    <a:pt x="1713" y="90"/>
                  </a:moveTo>
                  <a:cubicBezTo>
                    <a:pt x="1707" y="90"/>
                    <a:pt x="1701" y="95"/>
                    <a:pt x="1699" y="100"/>
                  </a:cubicBezTo>
                  <a:cubicBezTo>
                    <a:pt x="1697" y="106"/>
                    <a:pt x="1700" y="110"/>
                    <a:pt x="1706" y="110"/>
                  </a:cubicBezTo>
                  <a:cubicBezTo>
                    <a:pt x="1712" y="110"/>
                    <a:pt x="1718" y="106"/>
                    <a:pt x="1720" y="100"/>
                  </a:cubicBezTo>
                  <a:cubicBezTo>
                    <a:pt x="1722" y="95"/>
                    <a:pt x="1719" y="90"/>
                    <a:pt x="1713" y="90"/>
                  </a:cubicBezTo>
                  <a:cubicBezTo>
                    <a:pt x="1713" y="90"/>
                    <a:pt x="1713" y="90"/>
                    <a:pt x="1713" y="90"/>
                  </a:cubicBezTo>
                  <a:moveTo>
                    <a:pt x="1743" y="90"/>
                  </a:moveTo>
                  <a:cubicBezTo>
                    <a:pt x="1737" y="90"/>
                    <a:pt x="1731" y="94"/>
                    <a:pt x="1729" y="100"/>
                  </a:cubicBezTo>
                  <a:cubicBezTo>
                    <a:pt x="1727" y="106"/>
                    <a:pt x="1731" y="110"/>
                    <a:pt x="1737" y="110"/>
                  </a:cubicBezTo>
                  <a:cubicBezTo>
                    <a:pt x="1743" y="110"/>
                    <a:pt x="1749" y="105"/>
                    <a:pt x="1751" y="100"/>
                  </a:cubicBezTo>
                  <a:cubicBezTo>
                    <a:pt x="1752" y="94"/>
                    <a:pt x="1749" y="90"/>
                    <a:pt x="1743" y="90"/>
                  </a:cubicBezTo>
                  <a:cubicBezTo>
                    <a:pt x="1743" y="90"/>
                    <a:pt x="1743" y="90"/>
                    <a:pt x="1743" y="90"/>
                  </a:cubicBezTo>
                  <a:moveTo>
                    <a:pt x="1773" y="89"/>
                  </a:moveTo>
                  <a:cubicBezTo>
                    <a:pt x="1768" y="90"/>
                    <a:pt x="1761" y="94"/>
                    <a:pt x="1760" y="100"/>
                  </a:cubicBezTo>
                  <a:cubicBezTo>
                    <a:pt x="1758" y="105"/>
                    <a:pt x="1762" y="110"/>
                    <a:pt x="1768" y="110"/>
                  </a:cubicBezTo>
                  <a:cubicBezTo>
                    <a:pt x="1774" y="110"/>
                    <a:pt x="1780" y="105"/>
                    <a:pt x="1781" y="100"/>
                  </a:cubicBezTo>
                  <a:cubicBezTo>
                    <a:pt x="1783" y="94"/>
                    <a:pt x="1779" y="89"/>
                    <a:pt x="1774" y="89"/>
                  </a:cubicBezTo>
                  <a:cubicBezTo>
                    <a:pt x="1774" y="89"/>
                    <a:pt x="1774" y="89"/>
                    <a:pt x="1773" y="89"/>
                  </a:cubicBezTo>
                  <a:moveTo>
                    <a:pt x="1805" y="89"/>
                  </a:moveTo>
                  <a:cubicBezTo>
                    <a:pt x="1799" y="89"/>
                    <a:pt x="1793" y="94"/>
                    <a:pt x="1791" y="99"/>
                  </a:cubicBezTo>
                  <a:cubicBezTo>
                    <a:pt x="1790" y="105"/>
                    <a:pt x="1793" y="110"/>
                    <a:pt x="1799" y="109"/>
                  </a:cubicBezTo>
                  <a:cubicBezTo>
                    <a:pt x="1805" y="109"/>
                    <a:pt x="1811" y="105"/>
                    <a:pt x="1813" y="99"/>
                  </a:cubicBezTo>
                  <a:cubicBezTo>
                    <a:pt x="1814" y="94"/>
                    <a:pt x="1811" y="89"/>
                    <a:pt x="1805" y="89"/>
                  </a:cubicBezTo>
                  <a:cubicBezTo>
                    <a:pt x="1805" y="89"/>
                    <a:pt x="1805" y="89"/>
                    <a:pt x="1805" y="89"/>
                  </a:cubicBezTo>
                  <a:moveTo>
                    <a:pt x="1835" y="89"/>
                  </a:moveTo>
                  <a:cubicBezTo>
                    <a:pt x="1829" y="89"/>
                    <a:pt x="1823" y="93"/>
                    <a:pt x="1822" y="99"/>
                  </a:cubicBezTo>
                  <a:cubicBezTo>
                    <a:pt x="1820" y="105"/>
                    <a:pt x="1824" y="109"/>
                    <a:pt x="1830" y="109"/>
                  </a:cubicBezTo>
                  <a:cubicBezTo>
                    <a:pt x="1836" y="109"/>
                    <a:pt x="1842" y="105"/>
                    <a:pt x="1843" y="99"/>
                  </a:cubicBezTo>
                  <a:cubicBezTo>
                    <a:pt x="1845" y="93"/>
                    <a:pt x="1841" y="89"/>
                    <a:pt x="1835" y="89"/>
                  </a:cubicBezTo>
                  <a:cubicBezTo>
                    <a:pt x="1835" y="89"/>
                    <a:pt x="1835" y="89"/>
                    <a:pt x="1835" y="89"/>
                  </a:cubicBezTo>
                  <a:moveTo>
                    <a:pt x="1866" y="89"/>
                  </a:moveTo>
                  <a:cubicBezTo>
                    <a:pt x="1860" y="89"/>
                    <a:pt x="1854" y="93"/>
                    <a:pt x="1852" y="99"/>
                  </a:cubicBezTo>
                  <a:cubicBezTo>
                    <a:pt x="1851" y="104"/>
                    <a:pt x="1855" y="109"/>
                    <a:pt x="1861" y="109"/>
                  </a:cubicBezTo>
                  <a:cubicBezTo>
                    <a:pt x="1867" y="109"/>
                    <a:pt x="1872" y="104"/>
                    <a:pt x="1874" y="99"/>
                  </a:cubicBezTo>
                  <a:cubicBezTo>
                    <a:pt x="1875" y="93"/>
                    <a:pt x="1872" y="89"/>
                    <a:pt x="1866" y="89"/>
                  </a:cubicBezTo>
                  <a:cubicBezTo>
                    <a:pt x="1866" y="89"/>
                    <a:pt x="1866" y="89"/>
                    <a:pt x="1866" y="89"/>
                  </a:cubicBezTo>
                  <a:moveTo>
                    <a:pt x="1897" y="88"/>
                  </a:moveTo>
                  <a:cubicBezTo>
                    <a:pt x="1891" y="88"/>
                    <a:pt x="1885" y="93"/>
                    <a:pt x="1883" y="99"/>
                  </a:cubicBezTo>
                  <a:cubicBezTo>
                    <a:pt x="1882" y="104"/>
                    <a:pt x="1886" y="109"/>
                    <a:pt x="1892" y="109"/>
                  </a:cubicBezTo>
                  <a:cubicBezTo>
                    <a:pt x="1898" y="109"/>
                    <a:pt x="1903" y="104"/>
                    <a:pt x="1905" y="98"/>
                  </a:cubicBezTo>
                  <a:cubicBezTo>
                    <a:pt x="1906" y="93"/>
                    <a:pt x="1902" y="88"/>
                    <a:pt x="1897" y="88"/>
                  </a:cubicBezTo>
                  <a:cubicBezTo>
                    <a:pt x="1897" y="88"/>
                    <a:pt x="1897" y="88"/>
                    <a:pt x="1897" y="88"/>
                  </a:cubicBezTo>
                  <a:moveTo>
                    <a:pt x="1927" y="88"/>
                  </a:moveTo>
                  <a:cubicBezTo>
                    <a:pt x="1921" y="88"/>
                    <a:pt x="1915" y="93"/>
                    <a:pt x="1914" y="98"/>
                  </a:cubicBezTo>
                  <a:cubicBezTo>
                    <a:pt x="1912" y="104"/>
                    <a:pt x="1916" y="108"/>
                    <a:pt x="1922" y="108"/>
                  </a:cubicBezTo>
                  <a:cubicBezTo>
                    <a:pt x="1928" y="108"/>
                    <a:pt x="1934" y="104"/>
                    <a:pt x="1935" y="98"/>
                  </a:cubicBezTo>
                  <a:cubicBezTo>
                    <a:pt x="1936" y="92"/>
                    <a:pt x="1933" y="88"/>
                    <a:pt x="1927" y="88"/>
                  </a:cubicBezTo>
                  <a:cubicBezTo>
                    <a:pt x="1927" y="88"/>
                    <a:pt x="1927" y="88"/>
                    <a:pt x="1927" y="88"/>
                  </a:cubicBezTo>
                  <a:moveTo>
                    <a:pt x="2688" y="79"/>
                  </a:moveTo>
                  <a:cubicBezTo>
                    <a:pt x="2682" y="79"/>
                    <a:pt x="2678" y="84"/>
                    <a:pt x="2678" y="90"/>
                  </a:cubicBezTo>
                  <a:cubicBezTo>
                    <a:pt x="2678" y="95"/>
                    <a:pt x="2683" y="100"/>
                    <a:pt x="2689" y="100"/>
                  </a:cubicBezTo>
                  <a:cubicBezTo>
                    <a:pt x="2695" y="100"/>
                    <a:pt x="2700" y="95"/>
                    <a:pt x="2699" y="89"/>
                  </a:cubicBezTo>
                  <a:cubicBezTo>
                    <a:pt x="2699" y="84"/>
                    <a:pt x="2694" y="79"/>
                    <a:pt x="2688" y="79"/>
                  </a:cubicBezTo>
                  <a:cubicBezTo>
                    <a:pt x="2688" y="79"/>
                    <a:pt x="2688" y="79"/>
                    <a:pt x="2688" y="79"/>
                  </a:cubicBezTo>
                  <a:moveTo>
                    <a:pt x="2718" y="79"/>
                  </a:moveTo>
                  <a:cubicBezTo>
                    <a:pt x="2712" y="79"/>
                    <a:pt x="2708" y="84"/>
                    <a:pt x="2708" y="89"/>
                  </a:cubicBezTo>
                  <a:cubicBezTo>
                    <a:pt x="2709" y="95"/>
                    <a:pt x="2714" y="99"/>
                    <a:pt x="2720" y="99"/>
                  </a:cubicBezTo>
                  <a:cubicBezTo>
                    <a:pt x="2726" y="99"/>
                    <a:pt x="2730" y="95"/>
                    <a:pt x="2730" y="89"/>
                  </a:cubicBezTo>
                  <a:cubicBezTo>
                    <a:pt x="2729" y="83"/>
                    <a:pt x="2724" y="79"/>
                    <a:pt x="2718" y="79"/>
                  </a:cubicBezTo>
                  <a:cubicBezTo>
                    <a:pt x="2718" y="79"/>
                    <a:pt x="2718" y="79"/>
                    <a:pt x="2718" y="79"/>
                  </a:cubicBezTo>
                  <a:moveTo>
                    <a:pt x="2990" y="78"/>
                  </a:moveTo>
                  <a:cubicBezTo>
                    <a:pt x="2985" y="78"/>
                    <a:pt x="2981" y="83"/>
                    <a:pt x="2982" y="88"/>
                  </a:cubicBezTo>
                  <a:cubicBezTo>
                    <a:pt x="2983" y="94"/>
                    <a:pt x="2988" y="99"/>
                    <a:pt x="2994" y="99"/>
                  </a:cubicBezTo>
                  <a:cubicBezTo>
                    <a:pt x="3000" y="99"/>
                    <a:pt x="3004" y="94"/>
                    <a:pt x="3003" y="88"/>
                  </a:cubicBezTo>
                  <a:cubicBezTo>
                    <a:pt x="3002" y="83"/>
                    <a:pt x="2996" y="78"/>
                    <a:pt x="2990" y="78"/>
                  </a:cubicBezTo>
                  <a:cubicBezTo>
                    <a:pt x="2990" y="78"/>
                    <a:pt x="2990" y="78"/>
                    <a:pt x="2990" y="78"/>
                  </a:cubicBezTo>
                  <a:moveTo>
                    <a:pt x="3021" y="78"/>
                  </a:moveTo>
                  <a:cubicBezTo>
                    <a:pt x="3015" y="78"/>
                    <a:pt x="3011" y="82"/>
                    <a:pt x="3012" y="88"/>
                  </a:cubicBezTo>
                  <a:cubicBezTo>
                    <a:pt x="3013" y="94"/>
                    <a:pt x="3019" y="98"/>
                    <a:pt x="3025" y="98"/>
                  </a:cubicBezTo>
                  <a:cubicBezTo>
                    <a:pt x="3030" y="98"/>
                    <a:pt x="3034" y="94"/>
                    <a:pt x="3033" y="88"/>
                  </a:cubicBezTo>
                  <a:cubicBezTo>
                    <a:pt x="3032" y="82"/>
                    <a:pt x="3026" y="78"/>
                    <a:pt x="3021" y="78"/>
                  </a:cubicBezTo>
                  <a:cubicBezTo>
                    <a:pt x="3021" y="78"/>
                    <a:pt x="3021" y="78"/>
                    <a:pt x="3021" y="78"/>
                  </a:cubicBezTo>
                  <a:moveTo>
                    <a:pt x="3051" y="77"/>
                  </a:moveTo>
                  <a:cubicBezTo>
                    <a:pt x="3045" y="78"/>
                    <a:pt x="3041" y="82"/>
                    <a:pt x="3042" y="88"/>
                  </a:cubicBezTo>
                  <a:cubicBezTo>
                    <a:pt x="3044" y="94"/>
                    <a:pt x="3049" y="98"/>
                    <a:pt x="3055" y="98"/>
                  </a:cubicBezTo>
                  <a:cubicBezTo>
                    <a:pt x="3061" y="98"/>
                    <a:pt x="3065" y="93"/>
                    <a:pt x="3064" y="88"/>
                  </a:cubicBezTo>
                  <a:cubicBezTo>
                    <a:pt x="3063" y="82"/>
                    <a:pt x="3057" y="77"/>
                    <a:pt x="3051" y="77"/>
                  </a:cubicBezTo>
                  <a:cubicBezTo>
                    <a:pt x="3051" y="77"/>
                    <a:pt x="3051" y="77"/>
                    <a:pt x="3051" y="77"/>
                  </a:cubicBezTo>
                  <a:moveTo>
                    <a:pt x="3082" y="77"/>
                  </a:moveTo>
                  <a:cubicBezTo>
                    <a:pt x="3076" y="77"/>
                    <a:pt x="3072" y="82"/>
                    <a:pt x="3073" y="88"/>
                  </a:cubicBezTo>
                  <a:cubicBezTo>
                    <a:pt x="3074" y="93"/>
                    <a:pt x="3080" y="98"/>
                    <a:pt x="3086" y="98"/>
                  </a:cubicBezTo>
                  <a:cubicBezTo>
                    <a:pt x="3092" y="98"/>
                    <a:pt x="3096" y="93"/>
                    <a:pt x="3095" y="87"/>
                  </a:cubicBezTo>
                  <a:cubicBezTo>
                    <a:pt x="3093" y="82"/>
                    <a:pt x="3088" y="77"/>
                    <a:pt x="3082" y="77"/>
                  </a:cubicBezTo>
                  <a:cubicBezTo>
                    <a:pt x="3082" y="77"/>
                    <a:pt x="3082" y="77"/>
                    <a:pt x="3082" y="77"/>
                  </a:cubicBezTo>
                  <a:moveTo>
                    <a:pt x="3112" y="77"/>
                  </a:moveTo>
                  <a:cubicBezTo>
                    <a:pt x="3106" y="77"/>
                    <a:pt x="3102" y="82"/>
                    <a:pt x="3103" y="87"/>
                  </a:cubicBezTo>
                  <a:cubicBezTo>
                    <a:pt x="3105" y="93"/>
                    <a:pt x="3111" y="97"/>
                    <a:pt x="3117" y="97"/>
                  </a:cubicBezTo>
                  <a:cubicBezTo>
                    <a:pt x="3122" y="97"/>
                    <a:pt x="3126" y="93"/>
                    <a:pt x="3125" y="87"/>
                  </a:cubicBezTo>
                  <a:cubicBezTo>
                    <a:pt x="3123" y="81"/>
                    <a:pt x="3118" y="77"/>
                    <a:pt x="3112" y="77"/>
                  </a:cubicBezTo>
                  <a:cubicBezTo>
                    <a:pt x="3112" y="77"/>
                    <a:pt x="3112" y="77"/>
                    <a:pt x="3112" y="77"/>
                  </a:cubicBezTo>
                  <a:moveTo>
                    <a:pt x="3142" y="77"/>
                  </a:moveTo>
                  <a:cubicBezTo>
                    <a:pt x="3136" y="77"/>
                    <a:pt x="3133" y="81"/>
                    <a:pt x="3134" y="87"/>
                  </a:cubicBezTo>
                  <a:cubicBezTo>
                    <a:pt x="3135" y="93"/>
                    <a:pt x="3141" y="97"/>
                    <a:pt x="3147" y="97"/>
                  </a:cubicBezTo>
                  <a:cubicBezTo>
                    <a:pt x="3153" y="97"/>
                    <a:pt x="3157" y="92"/>
                    <a:pt x="3155" y="87"/>
                  </a:cubicBezTo>
                  <a:cubicBezTo>
                    <a:pt x="3154" y="81"/>
                    <a:pt x="3148" y="77"/>
                    <a:pt x="3142" y="77"/>
                  </a:cubicBezTo>
                  <a:cubicBezTo>
                    <a:pt x="3142" y="77"/>
                    <a:pt x="3142" y="77"/>
                    <a:pt x="3142" y="77"/>
                  </a:cubicBezTo>
                  <a:moveTo>
                    <a:pt x="3172" y="76"/>
                  </a:moveTo>
                  <a:cubicBezTo>
                    <a:pt x="3166" y="76"/>
                    <a:pt x="3163" y="81"/>
                    <a:pt x="3164" y="87"/>
                  </a:cubicBezTo>
                  <a:cubicBezTo>
                    <a:pt x="3166" y="92"/>
                    <a:pt x="3172" y="97"/>
                    <a:pt x="3177" y="97"/>
                  </a:cubicBezTo>
                  <a:cubicBezTo>
                    <a:pt x="3183" y="97"/>
                    <a:pt x="3187" y="92"/>
                    <a:pt x="3185" y="86"/>
                  </a:cubicBezTo>
                  <a:cubicBezTo>
                    <a:pt x="3184" y="81"/>
                    <a:pt x="3178" y="76"/>
                    <a:pt x="3172" y="76"/>
                  </a:cubicBezTo>
                  <a:cubicBezTo>
                    <a:pt x="3172" y="76"/>
                    <a:pt x="3172" y="76"/>
                    <a:pt x="3172" y="76"/>
                  </a:cubicBezTo>
                  <a:moveTo>
                    <a:pt x="3536" y="66"/>
                  </a:moveTo>
                  <a:cubicBezTo>
                    <a:pt x="3530" y="66"/>
                    <a:pt x="3527" y="71"/>
                    <a:pt x="3529" y="77"/>
                  </a:cubicBezTo>
                  <a:cubicBezTo>
                    <a:pt x="3531" y="82"/>
                    <a:pt x="3538" y="87"/>
                    <a:pt x="3544" y="87"/>
                  </a:cubicBezTo>
                  <a:cubicBezTo>
                    <a:pt x="3550" y="87"/>
                    <a:pt x="3553" y="82"/>
                    <a:pt x="3550" y="77"/>
                  </a:cubicBezTo>
                  <a:cubicBezTo>
                    <a:pt x="3548" y="71"/>
                    <a:pt x="3542" y="66"/>
                    <a:pt x="3536" y="66"/>
                  </a:cubicBezTo>
                  <a:cubicBezTo>
                    <a:pt x="3536" y="66"/>
                    <a:pt x="3536" y="66"/>
                    <a:pt x="3536" y="66"/>
                  </a:cubicBezTo>
                  <a:moveTo>
                    <a:pt x="1421" y="62"/>
                  </a:moveTo>
                  <a:cubicBezTo>
                    <a:pt x="1415" y="63"/>
                    <a:pt x="1408" y="67"/>
                    <a:pt x="1406" y="73"/>
                  </a:cubicBezTo>
                  <a:cubicBezTo>
                    <a:pt x="1403" y="78"/>
                    <a:pt x="1406" y="83"/>
                    <a:pt x="1412" y="83"/>
                  </a:cubicBezTo>
                  <a:cubicBezTo>
                    <a:pt x="1418" y="83"/>
                    <a:pt x="1424" y="78"/>
                    <a:pt x="1427" y="73"/>
                  </a:cubicBezTo>
                  <a:cubicBezTo>
                    <a:pt x="1429" y="67"/>
                    <a:pt x="1426" y="62"/>
                    <a:pt x="1421" y="62"/>
                  </a:cubicBezTo>
                  <a:cubicBezTo>
                    <a:pt x="1421" y="62"/>
                    <a:pt x="1421" y="62"/>
                    <a:pt x="1421" y="62"/>
                  </a:cubicBezTo>
                  <a:moveTo>
                    <a:pt x="1512" y="62"/>
                  </a:moveTo>
                  <a:cubicBezTo>
                    <a:pt x="1506" y="62"/>
                    <a:pt x="1499" y="66"/>
                    <a:pt x="1497" y="72"/>
                  </a:cubicBezTo>
                  <a:cubicBezTo>
                    <a:pt x="1495" y="77"/>
                    <a:pt x="1498" y="82"/>
                    <a:pt x="1504" y="82"/>
                  </a:cubicBezTo>
                  <a:cubicBezTo>
                    <a:pt x="1509" y="82"/>
                    <a:pt x="1516" y="77"/>
                    <a:pt x="1518" y="72"/>
                  </a:cubicBezTo>
                  <a:cubicBezTo>
                    <a:pt x="1520" y="66"/>
                    <a:pt x="1517" y="62"/>
                    <a:pt x="1512" y="62"/>
                  </a:cubicBezTo>
                  <a:cubicBezTo>
                    <a:pt x="1512" y="62"/>
                    <a:pt x="1512" y="62"/>
                    <a:pt x="1512" y="62"/>
                  </a:cubicBezTo>
                  <a:moveTo>
                    <a:pt x="1543" y="61"/>
                  </a:moveTo>
                  <a:cubicBezTo>
                    <a:pt x="1537" y="61"/>
                    <a:pt x="1531" y="66"/>
                    <a:pt x="1529" y="71"/>
                  </a:cubicBezTo>
                  <a:cubicBezTo>
                    <a:pt x="1527" y="77"/>
                    <a:pt x="1530" y="82"/>
                    <a:pt x="1535" y="82"/>
                  </a:cubicBezTo>
                  <a:cubicBezTo>
                    <a:pt x="1541" y="81"/>
                    <a:pt x="1548" y="77"/>
                    <a:pt x="1550" y="71"/>
                  </a:cubicBezTo>
                  <a:cubicBezTo>
                    <a:pt x="1552" y="66"/>
                    <a:pt x="1549" y="61"/>
                    <a:pt x="1543" y="61"/>
                  </a:cubicBezTo>
                  <a:cubicBezTo>
                    <a:pt x="1543" y="61"/>
                    <a:pt x="1543" y="61"/>
                    <a:pt x="1543" y="61"/>
                  </a:cubicBezTo>
                  <a:moveTo>
                    <a:pt x="1572" y="61"/>
                  </a:moveTo>
                  <a:cubicBezTo>
                    <a:pt x="1566" y="61"/>
                    <a:pt x="1559" y="66"/>
                    <a:pt x="1557" y="71"/>
                  </a:cubicBezTo>
                  <a:cubicBezTo>
                    <a:pt x="1555" y="77"/>
                    <a:pt x="1558" y="81"/>
                    <a:pt x="1564" y="81"/>
                  </a:cubicBezTo>
                  <a:cubicBezTo>
                    <a:pt x="1570" y="81"/>
                    <a:pt x="1576" y="77"/>
                    <a:pt x="1578" y="71"/>
                  </a:cubicBezTo>
                  <a:cubicBezTo>
                    <a:pt x="1580" y="65"/>
                    <a:pt x="1577" y="61"/>
                    <a:pt x="1572" y="61"/>
                  </a:cubicBezTo>
                  <a:cubicBezTo>
                    <a:pt x="1572" y="61"/>
                    <a:pt x="1572" y="61"/>
                    <a:pt x="1572" y="61"/>
                  </a:cubicBezTo>
                  <a:moveTo>
                    <a:pt x="1602" y="61"/>
                  </a:moveTo>
                  <a:cubicBezTo>
                    <a:pt x="1596" y="61"/>
                    <a:pt x="1589" y="65"/>
                    <a:pt x="1587" y="71"/>
                  </a:cubicBezTo>
                  <a:cubicBezTo>
                    <a:pt x="1585" y="77"/>
                    <a:pt x="1588" y="81"/>
                    <a:pt x="1594" y="81"/>
                  </a:cubicBezTo>
                  <a:cubicBezTo>
                    <a:pt x="1600" y="81"/>
                    <a:pt x="1606" y="76"/>
                    <a:pt x="1608" y="71"/>
                  </a:cubicBezTo>
                  <a:cubicBezTo>
                    <a:pt x="1610" y="65"/>
                    <a:pt x="1607" y="61"/>
                    <a:pt x="1602" y="61"/>
                  </a:cubicBezTo>
                  <a:cubicBezTo>
                    <a:pt x="1602" y="61"/>
                    <a:pt x="1602" y="61"/>
                    <a:pt x="1602" y="61"/>
                  </a:cubicBezTo>
                  <a:moveTo>
                    <a:pt x="1632" y="60"/>
                  </a:moveTo>
                  <a:cubicBezTo>
                    <a:pt x="1626" y="60"/>
                    <a:pt x="1620" y="65"/>
                    <a:pt x="1618" y="71"/>
                  </a:cubicBezTo>
                  <a:cubicBezTo>
                    <a:pt x="1616" y="76"/>
                    <a:pt x="1619" y="81"/>
                    <a:pt x="1625" y="81"/>
                  </a:cubicBezTo>
                  <a:cubicBezTo>
                    <a:pt x="1631" y="81"/>
                    <a:pt x="1637" y="76"/>
                    <a:pt x="1639" y="70"/>
                  </a:cubicBezTo>
                  <a:cubicBezTo>
                    <a:pt x="1641" y="65"/>
                    <a:pt x="1638" y="60"/>
                    <a:pt x="1632" y="60"/>
                  </a:cubicBezTo>
                  <a:cubicBezTo>
                    <a:pt x="1632" y="60"/>
                    <a:pt x="1632" y="60"/>
                    <a:pt x="1632" y="60"/>
                  </a:cubicBezTo>
                  <a:moveTo>
                    <a:pt x="1662" y="60"/>
                  </a:moveTo>
                  <a:cubicBezTo>
                    <a:pt x="1656" y="60"/>
                    <a:pt x="1650" y="65"/>
                    <a:pt x="1648" y="70"/>
                  </a:cubicBezTo>
                  <a:cubicBezTo>
                    <a:pt x="1646" y="76"/>
                    <a:pt x="1649" y="80"/>
                    <a:pt x="1655" y="80"/>
                  </a:cubicBezTo>
                  <a:cubicBezTo>
                    <a:pt x="1661" y="80"/>
                    <a:pt x="1667" y="76"/>
                    <a:pt x="1669" y="70"/>
                  </a:cubicBezTo>
                  <a:cubicBezTo>
                    <a:pt x="1671" y="64"/>
                    <a:pt x="1668" y="60"/>
                    <a:pt x="1662" y="60"/>
                  </a:cubicBezTo>
                  <a:cubicBezTo>
                    <a:pt x="1662" y="60"/>
                    <a:pt x="1662" y="60"/>
                    <a:pt x="1662" y="60"/>
                  </a:cubicBezTo>
                  <a:moveTo>
                    <a:pt x="1692" y="60"/>
                  </a:moveTo>
                  <a:cubicBezTo>
                    <a:pt x="1686" y="60"/>
                    <a:pt x="1680" y="64"/>
                    <a:pt x="1678" y="70"/>
                  </a:cubicBezTo>
                  <a:cubicBezTo>
                    <a:pt x="1676" y="76"/>
                    <a:pt x="1680" y="80"/>
                    <a:pt x="1686" y="80"/>
                  </a:cubicBezTo>
                  <a:cubicBezTo>
                    <a:pt x="1691" y="80"/>
                    <a:pt x="1698" y="75"/>
                    <a:pt x="1699" y="70"/>
                  </a:cubicBezTo>
                  <a:cubicBezTo>
                    <a:pt x="1701" y="64"/>
                    <a:pt x="1698" y="60"/>
                    <a:pt x="1692" y="60"/>
                  </a:cubicBezTo>
                  <a:cubicBezTo>
                    <a:pt x="1692" y="60"/>
                    <a:pt x="1692" y="60"/>
                    <a:pt x="1692" y="60"/>
                  </a:cubicBezTo>
                  <a:moveTo>
                    <a:pt x="1722" y="59"/>
                  </a:moveTo>
                  <a:cubicBezTo>
                    <a:pt x="1716" y="59"/>
                    <a:pt x="1710" y="64"/>
                    <a:pt x="1708" y="70"/>
                  </a:cubicBezTo>
                  <a:cubicBezTo>
                    <a:pt x="1707" y="75"/>
                    <a:pt x="1710" y="80"/>
                    <a:pt x="1716" y="80"/>
                  </a:cubicBezTo>
                  <a:cubicBezTo>
                    <a:pt x="1722" y="80"/>
                    <a:pt x="1728" y="75"/>
                    <a:pt x="1730" y="69"/>
                  </a:cubicBezTo>
                  <a:cubicBezTo>
                    <a:pt x="1731" y="64"/>
                    <a:pt x="1728" y="59"/>
                    <a:pt x="1722" y="59"/>
                  </a:cubicBezTo>
                  <a:cubicBezTo>
                    <a:pt x="1722" y="59"/>
                    <a:pt x="1722" y="59"/>
                    <a:pt x="1722" y="59"/>
                  </a:cubicBezTo>
                  <a:moveTo>
                    <a:pt x="1752" y="59"/>
                  </a:moveTo>
                  <a:cubicBezTo>
                    <a:pt x="1746" y="59"/>
                    <a:pt x="1740" y="64"/>
                    <a:pt x="1738" y="69"/>
                  </a:cubicBezTo>
                  <a:cubicBezTo>
                    <a:pt x="1737" y="75"/>
                    <a:pt x="1740" y="80"/>
                    <a:pt x="1746" y="79"/>
                  </a:cubicBezTo>
                  <a:cubicBezTo>
                    <a:pt x="1752" y="79"/>
                    <a:pt x="1758" y="75"/>
                    <a:pt x="1760" y="69"/>
                  </a:cubicBezTo>
                  <a:cubicBezTo>
                    <a:pt x="1761" y="64"/>
                    <a:pt x="1758" y="59"/>
                    <a:pt x="1752" y="59"/>
                  </a:cubicBezTo>
                  <a:cubicBezTo>
                    <a:pt x="1752" y="59"/>
                    <a:pt x="1752" y="59"/>
                    <a:pt x="1752" y="59"/>
                  </a:cubicBezTo>
                  <a:moveTo>
                    <a:pt x="1782" y="59"/>
                  </a:moveTo>
                  <a:cubicBezTo>
                    <a:pt x="1776" y="59"/>
                    <a:pt x="1770" y="63"/>
                    <a:pt x="1769" y="69"/>
                  </a:cubicBezTo>
                  <a:cubicBezTo>
                    <a:pt x="1767" y="75"/>
                    <a:pt x="1771" y="79"/>
                    <a:pt x="1776" y="79"/>
                  </a:cubicBezTo>
                  <a:cubicBezTo>
                    <a:pt x="1782" y="79"/>
                    <a:pt x="1788" y="74"/>
                    <a:pt x="1790" y="69"/>
                  </a:cubicBezTo>
                  <a:cubicBezTo>
                    <a:pt x="1792" y="63"/>
                    <a:pt x="1788" y="59"/>
                    <a:pt x="1782" y="59"/>
                  </a:cubicBezTo>
                  <a:cubicBezTo>
                    <a:pt x="1782" y="59"/>
                    <a:pt x="1782" y="59"/>
                    <a:pt x="1782" y="59"/>
                  </a:cubicBezTo>
                  <a:moveTo>
                    <a:pt x="1813" y="58"/>
                  </a:moveTo>
                  <a:cubicBezTo>
                    <a:pt x="1808" y="59"/>
                    <a:pt x="1802" y="63"/>
                    <a:pt x="1800" y="69"/>
                  </a:cubicBezTo>
                  <a:cubicBezTo>
                    <a:pt x="1798" y="74"/>
                    <a:pt x="1802" y="79"/>
                    <a:pt x="1808" y="79"/>
                  </a:cubicBezTo>
                  <a:cubicBezTo>
                    <a:pt x="1814" y="79"/>
                    <a:pt x="1820" y="74"/>
                    <a:pt x="1821" y="69"/>
                  </a:cubicBezTo>
                  <a:cubicBezTo>
                    <a:pt x="1823" y="63"/>
                    <a:pt x="1819" y="58"/>
                    <a:pt x="1813" y="58"/>
                  </a:cubicBezTo>
                  <a:cubicBezTo>
                    <a:pt x="1813" y="58"/>
                    <a:pt x="1813" y="58"/>
                    <a:pt x="1813" y="58"/>
                  </a:cubicBezTo>
                  <a:moveTo>
                    <a:pt x="1843" y="58"/>
                  </a:moveTo>
                  <a:cubicBezTo>
                    <a:pt x="1837" y="58"/>
                    <a:pt x="1832" y="63"/>
                    <a:pt x="1830" y="68"/>
                  </a:cubicBezTo>
                  <a:cubicBezTo>
                    <a:pt x="1829" y="74"/>
                    <a:pt x="1832" y="79"/>
                    <a:pt x="1838" y="79"/>
                  </a:cubicBezTo>
                  <a:cubicBezTo>
                    <a:pt x="1844" y="78"/>
                    <a:pt x="1850" y="74"/>
                    <a:pt x="1851" y="68"/>
                  </a:cubicBezTo>
                  <a:cubicBezTo>
                    <a:pt x="1853" y="63"/>
                    <a:pt x="1849" y="58"/>
                    <a:pt x="1843" y="58"/>
                  </a:cubicBezTo>
                  <a:cubicBezTo>
                    <a:pt x="1843" y="58"/>
                    <a:pt x="1843" y="58"/>
                    <a:pt x="1843" y="58"/>
                  </a:cubicBezTo>
                  <a:moveTo>
                    <a:pt x="1873" y="58"/>
                  </a:moveTo>
                  <a:cubicBezTo>
                    <a:pt x="1868" y="58"/>
                    <a:pt x="1862" y="63"/>
                    <a:pt x="1860" y="68"/>
                  </a:cubicBezTo>
                  <a:cubicBezTo>
                    <a:pt x="1859" y="74"/>
                    <a:pt x="1862" y="78"/>
                    <a:pt x="1868" y="78"/>
                  </a:cubicBezTo>
                  <a:cubicBezTo>
                    <a:pt x="1874" y="78"/>
                    <a:pt x="1880" y="74"/>
                    <a:pt x="1881" y="68"/>
                  </a:cubicBezTo>
                  <a:cubicBezTo>
                    <a:pt x="1883" y="62"/>
                    <a:pt x="1879" y="58"/>
                    <a:pt x="1874" y="58"/>
                  </a:cubicBezTo>
                  <a:cubicBezTo>
                    <a:pt x="1873" y="58"/>
                    <a:pt x="1873" y="58"/>
                    <a:pt x="1873" y="58"/>
                  </a:cubicBezTo>
                  <a:moveTo>
                    <a:pt x="1904" y="58"/>
                  </a:moveTo>
                  <a:cubicBezTo>
                    <a:pt x="1898" y="58"/>
                    <a:pt x="1892" y="62"/>
                    <a:pt x="1891" y="68"/>
                  </a:cubicBezTo>
                  <a:cubicBezTo>
                    <a:pt x="1889" y="73"/>
                    <a:pt x="1893" y="78"/>
                    <a:pt x="1899" y="78"/>
                  </a:cubicBezTo>
                  <a:cubicBezTo>
                    <a:pt x="1905" y="78"/>
                    <a:pt x="1911" y="73"/>
                    <a:pt x="1912" y="68"/>
                  </a:cubicBezTo>
                  <a:cubicBezTo>
                    <a:pt x="1913" y="62"/>
                    <a:pt x="1910" y="58"/>
                    <a:pt x="1904" y="58"/>
                  </a:cubicBezTo>
                  <a:cubicBezTo>
                    <a:pt x="1904" y="58"/>
                    <a:pt x="1904" y="58"/>
                    <a:pt x="1904" y="58"/>
                  </a:cubicBezTo>
                  <a:moveTo>
                    <a:pt x="1934" y="57"/>
                  </a:moveTo>
                  <a:cubicBezTo>
                    <a:pt x="1928" y="57"/>
                    <a:pt x="1922" y="62"/>
                    <a:pt x="1921" y="68"/>
                  </a:cubicBezTo>
                  <a:cubicBezTo>
                    <a:pt x="1920" y="73"/>
                    <a:pt x="1923" y="78"/>
                    <a:pt x="1929" y="78"/>
                  </a:cubicBezTo>
                  <a:cubicBezTo>
                    <a:pt x="1935" y="78"/>
                    <a:pt x="1941" y="73"/>
                    <a:pt x="1942" y="67"/>
                  </a:cubicBezTo>
                  <a:cubicBezTo>
                    <a:pt x="1943" y="62"/>
                    <a:pt x="1940" y="57"/>
                    <a:pt x="1934" y="57"/>
                  </a:cubicBezTo>
                  <a:cubicBezTo>
                    <a:pt x="1934" y="57"/>
                    <a:pt x="1934" y="57"/>
                    <a:pt x="1934" y="57"/>
                  </a:cubicBezTo>
                  <a:moveTo>
                    <a:pt x="1964" y="57"/>
                  </a:moveTo>
                  <a:cubicBezTo>
                    <a:pt x="1958" y="57"/>
                    <a:pt x="1952" y="62"/>
                    <a:pt x="1951" y="67"/>
                  </a:cubicBezTo>
                  <a:cubicBezTo>
                    <a:pt x="1950" y="73"/>
                    <a:pt x="1954" y="77"/>
                    <a:pt x="1959" y="77"/>
                  </a:cubicBezTo>
                  <a:cubicBezTo>
                    <a:pt x="1965" y="77"/>
                    <a:pt x="1971" y="73"/>
                    <a:pt x="1972" y="67"/>
                  </a:cubicBezTo>
                  <a:cubicBezTo>
                    <a:pt x="1973" y="61"/>
                    <a:pt x="1970" y="57"/>
                    <a:pt x="1964" y="57"/>
                  </a:cubicBezTo>
                  <a:cubicBezTo>
                    <a:pt x="1964" y="57"/>
                    <a:pt x="1964" y="57"/>
                    <a:pt x="1964" y="57"/>
                  </a:cubicBezTo>
                  <a:moveTo>
                    <a:pt x="2293" y="56"/>
                  </a:moveTo>
                  <a:cubicBezTo>
                    <a:pt x="2287" y="56"/>
                    <a:pt x="2282" y="61"/>
                    <a:pt x="2281" y="66"/>
                  </a:cubicBezTo>
                  <a:cubicBezTo>
                    <a:pt x="2281" y="72"/>
                    <a:pt x="2285" y="76"/>
                    <a:pt x="2291" y="76"/>
                  </a:cubicBezTo>
                  <a:cubicBezTo>
                    <a:pt x="2297" y="76"/>
                    <a:pt x="2302" y="72"/>
                    <a:pt x="2303" y="66"/>
                  </a:cubicBezTo>
                  <a:cubicBezTo>
                    <a:pt x="2303" y="60"/>
                    <a:pt x="2299" y="56"/>
                    <a:pt x="2293" y="56"/>
                  </a:cubicBezTo>
                  <a:cubicBezTo>
                    <a:pt x="2293" y="56"/>
                    <a:pt x="2293" y="56"/>
                    <a:pt x="2293" y="56"/>
                  </a:cubicBezTo>
                  <a:moveTo>
                    <a:pt x="2325" y="56"/>
                  </a:moveTo>
                  <a:cubicBezTo>
                    <a:pt x="2320" y="56"/>
                    <a:pt x="2315" y="60"/>
                    <a:pt x="2314" y="66"/>
                  </a:cubicBezTo>
                  <a:cubicBezTo>
                    <a:pt x="2314" y="72"/>
                    <a:pt x="2318" y="76"/>
                    <a:pt x="2324" y="76"/>
                  </a:cubicBezTo>
                  <a:cubicBezTo>
                    <a:pt x="2330" y="76"/>
                    <a:pt x="2335" y="71"/>
                    <a:pt x="2335" y="66"/>
                  </a:cubicBezTo>
                  <a:cubicBezTo>
                    <a:pt x="2336" y="60"/>
                    <a:pt x="2331" y="56"/>
                    <a:pt x="2326" y="56"/>
                  </a:cubicBezTo>
                  <a:cubicBezTo>
                    <a:pt x="2326" y="56"/>
                    <a:pt x="2326" y="56"/>
                    <a:pt x="2325" y="56"/>
                  </a:cubicBezTo>
                  <a:moveTo>
                    <a:pt x="2355" y="55"/>
                  </a:moveTo>
                  <a:cubicBezTo>
                    <a:pt x="2350" y="55"/>
                    <a:pt x="2345" y="60"/>
                    <a:pt x="2344" y="66"/>
                  </a:cubicBezTo>
                  <a:cubicBezTo>
                    <a:pt x="2344" y="71"/>
                    <a:pt x="2348" y="76"/>
                    <a:pt x="2354" y="76"/>
                  </a:cubicBezTo>
                  <a:cubicBezTo>
                    <a:pt x="2360" y="76"/>
                    <a:pt x="2365" y="71"/>
                    <a:pt x="2365" y="65"/>
                  </a:cubicBezTo>
                  <a:cubicBezTo>
                    <a:pt x="2366" y="60"/>
                    <a:pt x="2361" y="55"/>
                    <a:pt x="2356" y="55"/>
                  </a:cubicBezTo>
                  <a:cubicBezTo>
                    <a:pt x="2355" y="55"/>
                    <a:pt x="2355" y="55"/>
                    <a:pt x="2355" y="55"/>
                  </a:cubicBezTo>
                  <a:moveTo>
                    <a:pt x="2386" y="55"/>
                  </a:moveTo>
                  <a:cubicBezTo>
                    <a:pt x="2380" y="55"/>
                    <a:pt x="2375" y="60"/>
                    <a:pt x="2375" y="65"/>
                  </a:cubicBezTo>
                  <a:cubicBezTo>
                    <a:pt x="2375" y="71"/>
                    <a:pt x="2379" y="75"/>
                    <a:pt x="2385" y="75"/>
                  </a:cubicBezTo>
                  <a:cubicBezTo>
                    <a:pt x="2391" y="75"/>
                    <a:pt x="2396" y="71"/>
                    <a:pt x="2396" y="65"/>
                  </a:cubicBezTo>
                  <a:cubicBezTo>
                    <a:pt x="2396" y="59"/>
                    <a:pt x="2392" y="55"/>
                    <a:pt x="2386" y="55"/>
                  </a:cubicBezTo>
                  <a:cubicBezTo>
                    <a:pt x="2386" y="55"/>
                    <a:pt x="2386" y="55"/>
                    <a:pt x="2386" y="55"/>
                  </a:cubicBezTo>
                  <a:moveTo>
                    <a:pt x="3075" y="46"/>
                  </a:moveTo>
                  <a:cubicBezTo>
                    <a:pt x="3069" y="47"/>
                    <a:pt x="3065" y="51"/>
                    <a:pt x="3067" y="57"/>
                  </a:cubicBezTo>
                  <a:cubicBezTo>
                    <a:pt x="3068" y="63"/>
                    <a:pt x="3073" y="67"/>
                    <a:pt x="3079" y="67"/>
                  </a:cubicBezTo>
                  <a:cubicBezTo>
                    <a:pt x="3085" y="67"/>
                    <a:pt x="3089" y="62"/>
                    <a:pt x="3088" y="57"/>
                  </a:cubicBezTo>
                  <a:cubicBezTo>
                    <a:pt x="3086" y="51"/>
                    <a:pt x="3081" y="46"/>
                    <a:pt x="3075" y="46"/>
                  </a:cubicBezTo>
                  <a:cubicBezTo>
                    <a:pt x="3075" y="46"/>
                    <a:pt x="3075" y="46"/>
                    <a:pt x="3075" y="46"/>
                  </a:cubicBezTo>
                  <a:moveTo>
                    <a:pt x="3105" y="46"/>
                  </a:moveTo>
                  <a:cubicBezTo>
                    <a:pt x="3099" y="46"/>
                    <a:pt x="3095" y="51"/>
                    <a:pt x="3096" y="57"/>
                  </a:cubicBezTo>
                  <a:cubicBezTo>
                    <a:pt x="3098" y="62"/>
                    <a:pt x="3104" y="67"/>
                    <a:pt x="3109" y="67"/>
                  </a:cubicBezTo>
                  <a:cubicBezTo>
                    <a:pt x="3115" y="67"/>
                    <a:pt x="3119" y="62"/>
                    <a:pt x="3117" y="56"/>
                  </a:cubicBezTo>
                  <a:cubicBezTo>
                    <a:pt x="3116" y="51"/>
                    <a:pt x="3110" y="46"/>
                    <a:pt x="3105" y="46"/>
                  </a:cubicBezTo>
                  <a:cubicBezTo>
                    <a:pt x="3105" y="46"/>
                    <a:pt x="3105" y="46"/>
                    <a:pt x="3105" y="46"/>
                  </a:cubicBezTo>
                  <a:moveTo>
                    <a:pt x="3135" y="46"/>
                  </a:moveTo>
                  <a:cubicBezTo>
                    <a:pt x="3129" y="46"/>
                    <a:pt x="3125" y="51"/>
                    <a:pt x="3127" y="56"/>
                  </a:cubicBezTo>
                  <a:cubicBezTo>
                    <a:pt x="3128" y="62"/>
                    <a:pt x="3134" y="66"/>
                    <a:pt x="3140" y="66"/>
                  </a:cubicBezTo>
                  <a:cubicBezTo>
                    <a:pt x="3145" y="66"/>
                    <a:pt x="3149" y="62"/>
                    <a:pt x="3148" y="56"/>
                  </a:cubicBezTo>
                  <a:cubicBezTo>
                    <a:pt x="3146" y="50"/>
                    <a:pt x="3140" y="46"/>
                    <a:pt x="3135" y="46"/>
                  </a:cubicBezTo>
                  <a:cubicBezTo>
                    <a:pt x="3135" y="46"/>
                    <a:pt x="3135" y="46"/>
                    <a:pt x="3135" y="46"/>
                  </a:cubicBezTo>
                  <a:moveTo>
                    <a:pt x="3164" y="46"/>
                  </a:moveTo>
                  <a:cubicBezTo>
                    <a:pt x="3158" y="46"/>
                    <a:pt x="3155" y="50"/>
                    <a:pt x="3156" y="56"/>
                  </a:cubicBezTo>
                  <a:cubicBezTo>
                    <a:pt x="3158" y="62"/>
                    <a:pt x="3164" y="66"/>
                    <a:pt x="3170" y="66"/>
                  </a:cubicBezTo>
                  <a:cubicBezTo>
                    <a:pt x="3175" y="66"/>
                    <a:pt x="3179" y="61"/>
                    <a:pt x="3177" y="56"/>
                  </a:cubicBezTo>
                  <a:cubicBezTo>
                    <a:pt x="3176" y="50"/>
                    <a:pt x="3170" y="46"/>
                    <a:pt x="3164" y="46"/>
                  </a:cubicBezTo>
                  <a:cubicBezTo>
                    <a:pt x="3164" y="46"/>
                    <a:pt x="3164" y="46"/>
                    <a:pt x="3164" y="46"/>
                  </a:cubicBezTo>
                  <a:moveTo>
                    <a:pt x="1436" y="33"/>
                  </a:moveTo>
                  <a:cubicBezTo>
                    <a:pt x="1430" y="33"/>
                    <a:pt x="1423" y="38"/>
                    <a:pt x="1421" y="43"/>
                  </a:cubicBezTo>
                  <a:cubicBezTo>
                    <a:pt x="1418" y="49"/>
                    <a:pt x="1421" y="53"/>
                    <a:pt x="1427" y="53"/>
                  </a:cubicBezTo>
                  <a:cubicBezTo>
                    <a:pt x="1433" y="53"/>
                    <a:pt x="1439" y="49"/>
                    <a:pt x="1442" y="43"/>
                  </a:cubicBezTo>
                  <a:cubicBezTo>
                    <a:pt x="1444" y="38"/>
                    <a:pt x="1441" y="33"/>
                    <a:pt x="1436" y="33"/>
                  </a:cubicBezTo>
                  <a:cubicBezTo>
                    <a:pt x="1436" y="33"/>
                    <a:pt x="1436" y="33"/>
                    <a:pt x="1436" y="33"/>
                  </a:cubicBezTo>
                  <a:moveTo>
                    <a:pt x="1465" y="33"/>
                  </a:moveTo>
                  <a:cubicBezTo>
                    <a:pt x="1459" y="33"/>
                    <a:pt x="1453" y="37"/>
                    <a:pt x="1450" y="43"/>
                  </a:cubicBezTo>
                  <a:cubicBezTo>
                    <a:pt x="1448" y="49"/>
                    <a:pt x="1451" y="53"/>
                    <a:pt x="1457" y="53"/>
                  </a:cubicBezTo>
                  <a:cubicBezTo>
                    <a:pt x="1463" y="53"/>
                    <a:pt x="1469" y="48"/>
                    <a:pt x="1471" y="43"/>
                  </a:cubicBezTo>
                  <a:cubicBezTo>
                    <a:pt x="1474" y="37"/>
                    <a:pt x="1471" y="33"/>
                    <a:pt x="1465" y="33"/>
                  </a:cubicBezTo>
                  <a:cubicBezTo>
                    <a:pt x="1465" y="33"/>
                    <a:pt x="1465" y="33"/>
                    <a:pt x="1465" y="33"/>
                  </a:cubicBezTo>
                  <a:moveTo>
                    <a:pt x="1493" y="32"/>
                  </a:moveTo>
                  <a:cubicBezTo>
                    <a:pt x="1488" y="33"/>
                    <a:pt x="1481" y="37"/>
                    <a:pt x="1479" y="43"/>
                  </a:cubicBezTo>
                  <a:cubicBezTo>
                    <a:pt x="1477" y="48"/>
                    <a:pt x="1479" y="53"/>
                    <a:pt x="1485" y="53"/>
                  </a:cubicBezTo>
                  <a:cubicBezTo>
                    <a:pt x="1491" y="53"/>
                    <a:pt x="1498" y="48"/>
                    <a:pt x="1500" y="43"/>
                  </a:cubicBezTo>
                  <a:cubicBezTo>
                    <a:pt x="1502" y="37"/>
                    <a:pt x="1499" y="32"/>
                    <a:pt x="1494" y="32"/>
                  </a:cubicBezTo>
                  <a:cubicBezTo>
                    <a:pt x="1494" y="32"/>
                    <a:pt x="1493" y="32"/>
                    <a:pt x="1493" y="32"/>
                  </a:cubicBezTo>
                  <a:moveTo>
                    <a:pt x="1525" y="32"/>
                  </a:moveTo>
                  <a:cubicBezTo>
                    <a:pt x="1519" y="32"/>
                    <a:pt x="1512" y="37"/>
                    <a:pt x="1510" y="42"/>
                  </a:cubicBezTo>
                  <a:cubicBezTo>
                    <a:pt x="1508" y="48"/>
                    <a:pt x="1511" y="53"/>
                    <a:pt x="1517" y="52"/>
                  </a:cubicBezTo>
                  <a:cubicBezTo>
                    <a:pt x="1523" y="52"/>
                    <a:pt x="1529" y="48"/>
                    <a:pt x="1531" y="42"/>
                  </a:cubicBezTo>
                  <a:cubicBezTo>
                    <a:pt x="1533" y="37"/>
                    <a:pt x="1530" y="32"/>
                    <a:pt x="1525" y="32"/>
                  </a:cubicBezTo>
                  <a:cubicBezTo>
                    <a:pt x="1525" y="32"/>
                    <a:pt x="1525" y="32"/>
                    <a:pt x="1525" y="32"/>
                  </a:cubicBezTo>
                  <a:moveTo>
                    <a:pt x="1582" y="32"/>
                  </a:moveTo>
                  <a:cubicBezTo>
                    <a:pt x="1577" y="32"/>
                    <a:pt x="1570" y="36"/>
                    <a:pt x="1568" y="42"/>
                  </a:cubicBezTo>
                  <a:cubicBezTo>
                    <a:pt x="1566" y="47"/>
                    <a:pt x="1569" y="52"/>
                    <a:pt x="1575" y="52"/>
                  </a:cubicBezTo>
                  <a:cubicBezTo>
                    <a:pt x="1581" y="52"/>
                    <a:pt x="1587" y="47"/>
                    <a:pt x="1589" y="42"/>
                  </a:cubicBezTo>
                  <a:cubicBezTo>
                    <a:pt x="1591" y="36"/>
                    <a:pt x="1588" y="32"/>
                    <a:pt x="1583" y="32"/>
                  </a:cubicBezTo>
                  <a:cubicBezTo>
                    <a:pt x="1582" y="32"/>
                    <a:pt x="1582" y="32"/>
                    <a:pt x="1582" y="32"/>
                  </a:cubicBezTo>
                  <a:moveTo>
                    <a:pt x="1612" y="31"/>
                  </a:moveTo>
                  <a:cubicBezTo>
                    <a:pt x="1606" y="31"/>
                    <a:pt x="1600" y="36"/>
                    <a:pt x="1598" y="42"/>
                  </a:cubicBezTo>
                  <a:cubicBezTo>
                    <a:pt x="1596" y="47"/>
                    <a:pt x="1599" y="52"/>
                    <a:pt x="1605" y="52"/>
                  </a:cubicBezTo>
                  <a:cubicBezTo>
                    <a:pt x="1611" y="52"/>
                    <a:pt x="1617" y="47"/>
                    <a:pt x="1619" y="41"/>
                  </a:cubicBezTo>
                  <a:cubicBezTo>
                    <a:pt x="1621" y="36"/>
                    <a:pt x="1618" y="31"/>
                    <a:pt x="1612" y="31"/>
                  </a:cubicBezTo>
                  <a:cubicBezTo>
                    <a:pt x="1612" y="31"/>
                    <a:pt x="1612" y="31"/>
                    <a:pt x="1612" y="31"/>
                  </a:cubicBezTo>
                  <a:moveTo>
                    <a:pt x="1642" y="31"/>
                  </a:moveTo>
                  <a:cubicBezTo>
                    <a:pt x="1636" y="31"/>
                    <a:pt x="1630" y="36"/>
                    <a:pt x="1628" y="41"/>
                  </a:cubicBezTo>
                  <a:cubicBezTo>
                    <a:pt x="1626" y="47"/>
                    <a:pt x="1629" y="51"/>
                    <a:pt x="1635" y="51"/>
                  </a:cubicBezTo>
                  <a:cubicBezTo>
                    <a:pt x="1641" y="51"/>
                    <a:pt x="1647" y="47"/>
                    <a:pt x="1649" y="41"/>
                  </a:cubicBezTo>
                  <a:cubicBezTo>
                    <a:pt x="1651" y="35"/>
                    <a:pt x="1648" y="31"/>
                    <a:pt x="1642" y="31"/>
                  </a:cubicBezTo>
                  <a:cubicBezTo>
                    <a:pt x="1642" y="31"/>
                    <a:pt x="1642" y="31"/>
                    <a:pt x="1642" y="31"/>
                  </a:cubicBezTo>
                  <a:moveTo>
                    <a:pt x="1672" y="31"/>
                  </a:moveTo>
                  <a:cubicBezTo>
                    <a:pt x="1666" y="31"/>
                    <a:pt x="1660" y="35"/>
                    <a:pt x="1658" y="41"/>
                  </a:cubicBezTo>
                  <a:cubicBezTo>
                    <a:pt x="1656" y="46"/>
                    <a:pt x="1659" y="51"/>
                    <a:pt x="1665" y="51"/>
                  </a:cubicBezTo>
                  <a:cubicBezTo>
                    <a:pt x="1671" y="51"/>
                    <a:pt x="1677" y="46"/>
                    <a:pt x="1679" y="41"/>
                  </a:cubicBezTo>
                  <a:cubicBezTo>
                    <a:pt x="1681" y="35"/>
                    <a:pt x="1678" y="31"/>
                    <a:pt x="1672" y="31"/>
                  </a:cubicBezTo>
                  <a:cubicBezTo>
                    <a:pt x="1672" y="31"/>
                    <a:pt x="1672" y="31"/>
                    <a:pt x="1672" y="31"/>
                  </a:cubicBezTo>
                  <a:moveTo>
                    <a:pt x="1702" y="30"/>
                  </a:moveTo>
                  <a:cubicBezTo>
                    <a:pt x="1696" y="30"/>
                    <a:pt x="1690" y="35"/>
                    <a:pt x="1688" y="41"/>
                  </a:cubicBezTo>
                  <a:cubicBezTo>
                    <a:pt x="1686" y="46"/>
                    <a:pt x="1689" y="51"/>
                    <a:pt x="1695" y="51"/>
                  </a:cubicBezTo>
                  <a:cubicBezTo>
                    <a:pt x="1701" y="51"/>
                    <a:pt x="1707" y="46"/>
                    <a:pt x="1709" y="40"/>
                  </a:cubicBezTo>
                  <a:cubicBezTo>
                    <a:pt x="1710" y="35"/>
                    <a:pt x="1707" y="30"/>
                    <a:pt x="1702" y="30"/>
                  </a:cubicBezTo>
                  <a:cubicBezTo>
                    <a:pt x="1702" y="30"/>
                    <a:pt x="1702" y="30"/>
                    <a:pt x="1702" y="30"/>
                  </a:cubicBezTo>
                  <a:moveTo>
                    <a:pt x="1731" y="30"/>
                  </a:moveTo>
                  <a:cubicBezTo>
                    <a:pt x="1726" y="30"/>
                    <a:pt x="1719" y="35"/>
                    <a:pt x="1718" y="40"/>
                  </a:cubicBezTo>
                  <a:cubicBezTo>
                    <a:pt x="1716" y="46"/>
                    <a:pt x="1719" y="50"/>
                    <a:pt x="1725" y="50"/>
                  </a:cubicBezTo>
                  <a:cubicBezTo>
                    <a:pt x="1731" y="50"/>
                    <a:pt x="1737" y="46"/>
                    <a:pt x="1739" y="40"/>
                  </a:cubicBezTo>
                  <a:cubicBezTo>
                    <a:pt x="1740" y="34"/>
                    <a:pt x="1737" y="30"/>
                    <a:pt x="1731" y="30"/>
                  </a:cubicBezTo>
                  <a:cubicBezTo>
                    <a:pt x="1731" y="30"/>
                    <a:pt x="1731" y="30"/>
                    <a:pt x="1731" y="30"/>
                  </a:cubicBezTo>
                  <a:moveTo>
                    <a:pt x="1761" y="30"/>
                  </a:moveTo>
                  <a:cubicBezTo>
                    <a:pt x="1755" y="30"/>
                    <a:pt x="1749" y="34"/>
                    <a:pt x="1747" y="40"/>
                  </a:cubicBezTo>
                  <a:cubicBezTo>
                    <a:pt x="1746" y="46"/>
                    <a:pt x="1749" y="50"/>
                    <a:pt x="1755" y="50"/>
                  </a:cubicBezTo>
                  <a:cubicBezTo>
                    <a:pt x="1761" y="50"/>
                    <a:pt x="1767" y="45"/>
                    <a:pt x="1768" y="40"/>
                  </a:cubicBezTo>
                  <a:cubicBezTo>
                    <a:pt x="1770" y="34"/>
                    <a:pt x="1767" y="30"/>
                    <a:pt x="1761" y="30"/>
                  </a:cubicBezTo>
                  <a:cubicBezTo>
                    <a:pt x="1761" y="30"/>
                    <a:pt x="1761" y="30"/>
                    <a:pt x="1761" y="30"/>
                  </a:cubicBezTo>
                  <a:moveTo>
                    <a:pt x="1791" y="29"/>
                  </a:moveTo>
                  <a:cubicBezTo>
                    <a:pt x="1785" y="29"/>
                    <a:pt x="1779" y="34"/>
                    <a:pt x="1777" y="40"/>
                  </a:cubicBezTo>
                  <a:cubicBezTo>
                    <a:pt x="1776" y="45"/>
                    <a:pt x="1779" y="50"/>
                    <a:pt x="1785" y="50"/>
                  </a:cubicBezTo>
                  <a:cubicBezTo>
                    <a:pt x="1791" y="50"/>
                    <a:pt x="1797" y="45"/>
                    <a:pt x="1798" y="39"/>
                  </a:cubicBezTo>
                  <a:cubicBezTo>
                    <a:pt x="1800" y="34"/>
                    <a:pt x="1796" y="29"/>
                    <a:pt x="1791" y="29"/>
                  </a:cubicBezTo>
                  <a:cubicBezTo>
                    <a:pt x="1791" y="29"/>
                    <a:pt x="1791" y="29"/>
                    <a:pt x="1791" y="29"/>
                  </a:cubicBezTo>
                  <a:moveTo>
                    <a:pt x="1821" y="29"/>
                  </a:moveTo>
                  <a:cubicBezTo>
                    <a:pt x="1816" y="29"/>
                    <a:pt x="1810" y="34"/>
                    <a:pt x="1808" y="39"/>
                  </a:cubicBezTo>
                  <a:cubicBezTo>
                    <a:pt x="1807" y="45"/>
                    <a:pt x="1810" y="49"/>
                    <a:pt x="1816" y="49"/>
                  </a:cubicBezTo>
                  <a:cubicBezTo>
                    <a:pt x="1822" y="49"/>
                    <a:pt x="1828" y="45"/>
                    <a:pt x="1829" y="39"/>
                  </a:cubicBezTo>
                  <a:cubicBezTo>
                    <a:pt x="1831" y="34"/>
                    <a:pt x="1827" y="29"/>
                    <a:pt x="1821" y="29"/>
                  </a:cubicBezTo>
                  <a:cubicBezTo>
                    <a:pt x="1821" y="29"/>
                    <a:pt x="1821" y="29"/>
                    <a:pt x="1821" y="29"/>
                  </a:cubicBezTo>
                  <a:moveTo>
                    <a:pt x="1851" y="29"/>
                  </a:moveTo>
                  <a:cubicBezTo>
                    <a:pt x="1845" y="29"/>
                    <a:pt x="1839" y="33"/>
                    <a:pt x="1838" y="39"/>
                  </a:cubicBezTo>
                  <a:cubicBezTo>
                    <a:pt x="1836" y="45"/>
                    <a:pt x="1840" y="49"/>
                    <a:pt x="1846" y="49"/>
                  </a:cubicBezTo>
                  <a:cubicBezTo>
                    <a:pt x="1851" y="49"/>
                    <a:pt x="1857" y="44"/>
                    <a:pt x="1859" y="39"/>
                  </a:cubicBezTo>
                  <a:cubicBezTo>
                    <a:pt x="1860" y="33"/>
                    <a:pt x="1857" y="29"/>
                    <a:pt x="1851" y="29"/>
                  </a:cubicBezTo>
                  <a:cubicBezTo>
                    <a:pt x="1851" y="29"/>
                    <a:pt x="1851" y="29"/>
                    <a:pt x="1851" y="29"/>
                  </a:cubicBezTo>
                  <a:moveTo>
                    <a:pt x="1881" y="28"/>
                  </a:moveTo>
                  <a:cubicBezTo>
                    <a:pt x="1875" y="28"/>
                    <a:pt x="1869" y="33"/>
                    <a:pt x="1868" y="39"/>
                  </a:cubicBezTo>
                  <a:cubicBezTo>
                    <a:pt x="1866" y="44"/>
                    <a:pt x="1870" y="49"/>
                    <a:pt x="1876" y="49"/>
                  </a:cubicBezTo>
                  <a:cubicBezTo>
                    <a:pt x="1881" y="49"/>
                    <a:pt x="1887" y="44"/>
                    <a:pt x="1889" y="39"/>
                  </a:cubicBezTo>
                  <a:cubicBezTo>
                    <a:pt x="1890" y="33"/>
                    <a:pt x="1887" y="28"/>
                    <a:pt x="1881" y="28"/>
                  </a:cubicBezTo>
                  <a:cubicBezTo>
                    <a:pt x="1881" y="28"/>
                    <a:pt x="1881" y="28"/>
                    <a:pt x="1881" y="28"/>
                  </a:cubicBezTo>
                  <a:moveTo>
                    <a:pt x="1911" y="28"/>
                  </a:moveTo>
                  <a:cubicBezTo>
                    <a:pt x="1905" y="28"/>
                    <a:pt x="1899" y="33"/>
                    <a:pt x="1898" y="38"/>
                  </a:cubicBezTo>
                  <a:cubicBezTo>
                    <a:pt x="1897" y="44"/>
                    <a:pt x="1900" y="49"/>
                    <a:pt x="1906" y="48"/>
                  </a:cubicBezTo>
                  <a:cubicBezTo>
                    <a:pt x="1912" y="48"/>
                    <a:pt x="1918" y="44"/>
                    <a:pt x="1919" y="38"/>
                  </a:cubicBezTo>
                  <a:cubicBezTo>
                    <a:pt x="1920" y="33"/>
                    <a:pt x="1917" y="28"/>
                    <a:pt x="1911" y="28"/>
                  </a:cubicBezTo>
                  <a:cubicBezTo>
                    <a:pt x="1911" y="28"/>
                    <a:pt x="1911" y="28"/>
                    <a:pt x="1911" y="28"/>
                  </a:cubicBezTo>
                  <a:moveTo>
                    <a:pt x="1940" y="28"/>
                  </a:moveTo>
                  <a:cubicBezTo>
                    <a:pt x="1935" y="28"/>
                    <a:pt x="1929" y="32"/>
                    <a:pt x="1928" y="38"/>
                  </a:cubicBezTo>
                  <a:cubicBezTo>
                    <a:pt x="1926" y="44"/>
                    <a:pt x="1930" y="48"/>
                    <a:pt x="1936" y="48"/>
                  </a:cubicBezTo>
                  <a:cubicBezTo>
                    <a:pt x="1942" y="48"/>
                    <a:pt x="1947" y="44"/>
                    <a:pt x="1949" y="38"/>
                  </a:cubicBezTo>
                  <a:cubicBezTo>
                    <a:pt x="1950" y="32"/>
                    <a:pt x="1946" y="28"/>
                    <a:pt x="1941" y="28"/>
                  </a:cubicBezTo>
                  <a:cubicBezTo>
                    <a:pt x="1940" y="28"/>
                    <a:pt x="1940" y="28"/>
                    <a:pt x="1940" y="28"/>
                  </a:cubicBezTo>
                  <a:moveTo>
                    <a:pt x="1970" y="27"/>
                  </a:moveTo>
                  <a:cubicBezTo>
                    <a:pt x="1964" y="28"/>
                    <a:pt x="1959" y="32"/>
                    <a:pt x="1958" y="38"/>
                  </a:cubicBezTo>
                  <a:cubicBezTo>
                    <a:pt x="1956" y="43"/>
                    <a:pt x="1960" y="48"/>
                    <a:pt x="1966" y="48"/>
                  </a:cubicBezTo>
                  <a:cubicBezTo>
                    <a:pt x="1972" y="48"/>
                    <a:pt x="1977" y="43"/>
                    <a:pt x="1978" y="38"/>
                  </a:cubicBezTo>
                  <a:cubicBezTo>
                    <a:pt x="1980" y="32"/>
                    <a:pt x="1976" y="27"/>
                    <a:pt x="1970" y="27"/>
                  </a:cubicBezTo>
                  <a:cubicBezTo>
                    <a:pt x="1970" y="27"/>
                    <a:pt x="1970" y="27"/>
                    <a:pt x="1970" y="27"/>
                  </a:cubicBezTo>
                  <a:moveTo>
                    <a:pt x="2357" y="24"/>
                  </a:moveTo>
                  <a:cubicBezTo>
                    <a:pt x="2352" y="24"/>
                    <a:pt x="2347" y="28"/>
                    <a:pt x="2346" y="34"/>
                  </a:cubicBezTo>
                  <a:cubicBezTo>
                    <a:pt x="2346" y="40"/>
                    <a:pt x="2350" y="44"/>
                    <a:pt x="2356" y="44"/>
                  </a:cubicBezTo>
                  <a:cubicBezTo>
                    <a:pt x="2362" y="44"/>
                    <a:pt x="2367" y="39"/>
                    <a:pt x="2367" y="34"/>
                  </a:cubicBezTo>
                  <a:cubicBezTo>
                    <a:pt x="2367" y="28"/>
                    <a:pt x="2363" y="24"/>
                    <a:pt x="2357" y="24"/>
                  </a:cubicBezTo>
                  <a:cubicBezTo>
                    <a:pt x="2357" y="24"/>
                    <a:pt x="2357" y="24"/>
                    <a:pt x="2357" y="24"/>
                  </a:cubicBezTo>
                  <a:moveTo>
                    <a:pt x="2388" y="23"/>
                  </a:moveTo>
                  <a:cubicBezTo>
                    <a:pt x="2382" y="23"/>
                    <a:pt x="2377" y="28"/>
                    <a:pt x="2377" y="34"/>
                  </a:cubicBezTo>
                  <a:cubicBezTo>
                    <a:pt x="2376" y="39"/>
                    <a:pt x="2381" y="44"/>
                    <a:pt x="2387" y="44"/>
                  </a:cubicBezTo>
                  <a:cubicBezTo>
                    <a:pt x="2392" y="44"/>
                    <a:pt x="2397" y="39"/>
                    <a:pt x="2398" y="33"/>
                  </a:cubicBezTo>
                  <a:cubicBezTo>
                    <a:pt x="2398" y="28"/>
                    <a:pt x="2393" y="23"/>
                    <a:pt x="2388" y="23"/>
                  </a:cubicBezTo>
                  <a:cubicBezTo>
                    <a:pt x="2388" y="23"/>
                    <a:pt x="2388" y="23"/>
                    <a:pt x="2388" y="23"/>
                  </a:cubicBezTo>
                  <a:moveTo>
                    <a:pt x="2952" y="19"/>
                  </a:moveTo>
                  <a:cubicBezTo>
                    <a:pt x="2946" y="19"/>
                    <a:pt x="2942" y="24"/>
                    <a:pt x="2943" y="30"/>
                  </a:cubicBezTo>
                  <a:cubicBezTo>
                    <a:pt x="2944" y="35"/>
                    <a:pt x="2949" y="40"/>
                    <a:pt x="2955" y="40"/>
                  </a:cubicBezTo>
                  <a:cubicBezTo>
                    <a:pt x="2961" y="40"/>
                    <a:pt x="2965" y="35"/>
                    <a:pt x="2964" y="29"/>
                  </a:cubicBezTo>
                  <a:cubicBezTo>
                    <a:pt x="2963" y="24"/>
                    <a:pt x="2957" y="19"/>
                    <a:pt x="2952" y="19"/>
                  </a:cubicBezTo>
                  <a:cubicBezTo>
                    <a:pt x="2952" y="19"/>
                    <a:pt x="2952" y="19"/>
                    <a:pt x="2952" y="19"/>
                  </a:cubicBezTo>
                  <a:moveTo>
                    <a:pt x="2979" y="19"/>
                  </a:moveTo>
                  <a:cubicBezTo>
                    <a:pt x="2974" y="19"/>
                    <a:pt x="2970" y="24"/>
                    <a:pt x="2971" y="29"/>
                  </a:cubicBezTo>
                  <a:cubicBezTo>
                    <a:pt x="2972" y="35"/>
                    <a:pt x="2977" y="40"/>
                    <a:pt x="2983" y="39"/>
                  </a:cubicBezTo>
                  <a:cubicBezTo>
                    <a:pt x="2989" y="39"/>
                    <a:pt x="2993" y="35"/>
                    <a:pt x="2992" y="29"/>
                  </a:cubicBezTo>
                  <a:cubicBezTo>
                    <a:pt x="2991" y="23"/>
                    <a:pt x="2985" y="19"/>
                    <a:pt x="2980" y="19"/>
                  </a:cubicBezTo>
                  <a:cubicBezTo>
                    <a:pt x="2979" y="19"/>
                    <a:pt x="2979" y="19"/>
                    <a:pt x="2979" y="19"/>
                  </a:cubicBezTo>
                  <a:moveTo>
                    <a:pt x="3009" y="19"/>
                  </a:moveTo>
                  <a:cubicBezTo>
                    <a:pt x="3003" y="19"/>
                    <a:pt x="2999" y="23"/>
                    <a:pt x="3000" y="29"/>
                  </a:cubicBezTo>
                  <a:cubicBezTo>
                    <a:pt x="3002" y="35"/>
                    <a:pt x="3007" y="39"/>
                    <a:pt x="3013" y="39"/>
                  </a:cubicBezTo>
                  <a:cubicBezTo>
                    <a:pt x="3019" y="39"/>
                    <a:pt x="3022" y="34"/>
                    <a:pt x="3021" y="29"/>
                  </a:cubicBezTo>
                  <a:cubicBezTo>
                    <a:pt x="3020" y="23"/>
                    <a:pt x="3015" y="19"/>
                    <a:pt x="3009" y="19"/>
                  </a:cubicBezTo>
                  <a:cubicBezTo>
                    <a:pt x="3009" y="19"/>
                    <a:pt x="3009" y="19"/>
                    <a:pt x="3009" y="19"/>
                  </a:cubicBezTo>
                  <a:moveTo>
                    <a:pt x="1505" y="5"/>
                  </a:moveTo>
                  <a:cubicBezTo>
                    <a:pt x="1499" y="5"/>
                    <a:pt x="1492" y="9"/>
                    <a:pt x="1490" y="15"/>
                  </a:cubicBezTo>
                  <a:cubicBezTo>
                    <a:pt x="1488" y="21"/>
                    <a:pt x="1491" y="25"/>
                    <a:pt x="1496" y="25"/>
                  </a:cubicBezTo>
                  <a:cubicBezTo>
                    <a:pt x="1502" y="25"/>
                    <a:pt x="1509" y="20"/>
                    <a:pt x="1511" y="15"/>
                  </a:cubicBezTo>
                  <a:cubicBezTo>
                    <a:pt x="1513" y="9"/>
                    <a:pt x="1510" y="5"/>
                    <a:pt x="1505" y="5"/>
                  </a:cubicBezTo>
                  <a:cubicBezTo>
                    <a:pt x="1505" y="5"/>
                    <a:pt x="1505" y="5"/>
                    <a:pt x="1505" y="5"/>
                  </a:cubicBezTo>
                  <a:moveTo>
                    <a:pt x="1534" y="4"/>
                  </a:moveTo>
                  <a:cubicBezTo>
                    <a:pt x="1528" y="5"/>
                    <a:pt x="1522" y="9"/>
                    <a:pt x="1520" y="15"/>
                  </a:cubicBezTo>
                  <a:cubicBezTo>
                    <a:pt x="1517" y="20"/>
                    <a:pt x="1520" y="25"/>
                    <a:pt x="1526" y="25"/>
                  </a:cubicBezTo>
                  <a:cubicBezTo>
                    <a:pt x="1532" y="25"/>
                    <a:pt x="1538" y="20"/>
                    <a:pt x="1540" y="15"/>
                  </a:cubicBezTo>
                  <a:cubicBezTo>
                    <a:pt x="1542" y="9"/>
                    <a:pt x="1540" y="4"/>
                    <a:pt x="1534" y="4"/>
                  </a:cubicBezTo>
                  <a:cubicBezTo>
                    <a:pt x="1534" y="4"/>
                    <a:pt x="1534" y="4"/>
                    <a:pt x="1534" y="4"/>
                  </a:cubicBezTo>
                  <a:moveTo>
                    <a:pt x="1563" y="4"/>
                  </a:moveTo>
                  <a:cubicBezTo>
                    <a:pt x="1558" y="4"/>
                    <a:pt x="1551" y="9"/>
                    <a:pt x="1549" y="14"/>
                  </a:cubicBezTo>
                  <a:cubicBezTo>
                    <a:pt x="1547" y="20"/>
                    <a:pt x="1550" y="25"/>
                    <a:pt x="1556" y="25"/>
                  </a:cubicBezTo>
                  <a:cubicBezTo>
                    <a:pt x="1561" y="24"/>
                    <a:pt x="1568" y="20"/>
                    <a:pt x="1570" y="14"/>
                  </a:cubicBezTo>
                  <a:cubicBezTo>
                    <a:pt x="1572" y="9"/>
                    <a:pt x="1569" y="4"/>
                    <a:pt x="1563" y="4"/>
                  </a:cubicBezTo>
                  <a:cubicBezTo>
                    <a:pt x="1563" y="4"/>
                    <a:pt x="1563" y="4"/>
                    <a:pt x="1563" y="4"/>
                  </a:cubicBezTo>
                  <a:moveTo>
                    <a:pt x="1593" y="4"/>
                  </a:moveTo>
                  <a:cubicBezTo>
                    <a:pt x="1587" y="4"/>
                    <a:pt x="1581" y="9"/>
                    <a:pt x="1578" y="14"/>
                  </a:cubicBezTo>
                  <a:cubicBezTo>
                    <a:pt x="1576" y="20"/>
                    <a:pt x="1579" y="24"/>
                    <a:pt x="1585" y="24"/>
                  </a:cubicBezTo>
                  <a:cubicBezTo>
                    <a:pt x="1591" y="24"/>
                    <a:pt x="1597" y="20"/>
                    <a:pt x="1599" y="14"/>
                  </a:cubicBezTo>
                  <a:cubicBezTo>
                    <a:pt x="1601" y="8"/>
                    <a:pt x="1598" y="4"/>
                    <a:pt x="1593" y="4"/>
                  </a:cubicBezTo>
                  <a:cubicBezTo>
                    <a:pt x="1593" y="4"/>
                    <a:pt x="1593" y="4"/>
                    <a:pt x="1593" y="4"/>
                  </a:cubicBezTo>
                  <a:moveTo>
                    <a:pt x="1622" y="4"/>
                  </a:moveTo>
                  <a:cubicBezTo>
                    <a:pt x="1616" y="4"/>
                    <a:pt x="1610" y="8"/>
                    <a:pt x="1608" y="14"/>
                  </a:cubicBezTo>
                  <a:cubicBezTo>
                    <a:pt x="1606" y="19"/>
                    <a:pt x="1609" y="24"/>
                    <a:pt x="1615" y="24"/>
                  </a:cubicBezTo>
                  <a:cubicBezTo>
                    <a:pt x="1620" y="24"/>
                    <a:pt x="1627" y="19"/>
                    <a:pt x="1629" y="14"/>
                  </a:cubicBezTo>
                  <a:cubicBezTo>
                    <a:pt x="1630" y="8"/>
                    <a:pt x="1628" y="4"/>
                    <a:pt x="1622" y="4"/>
                  </a:cubicBezTo>
                  <a:cubicBezTo>
                    <a:pt x="1622" y="4"/>
                    <a:pt x="1622" y="4"/>
                    <a:pt x="1622" y="4"/>
                  </a:cubicBezTo>
                  <a:moveTo>
                    <a:pt x="1829" y="1"/>
                  </a:moveTo>
                  <a:cubicBezTo>
                    <a:pt x="1823" y="1"/>
                    <a:pt x="1817" y="6"/>
                    <a:pt x="1816" y="12"/>
                  </a:cubicBezTo>
                  <a:cubicBezTo>
                    <a:pt x="1814" y="17"/>
                    <a:pt x="1818" y="22"/>
                    <a:pt x="1823" y="22"/>
                  </a:cubicBezTo>
                  <a:cubicBezTo>
                    <a:pt x="1829" y="22"/>
                    <a:pt x="1835" y="17"/>
                    <a:pt x="1836" y="11"/>
                  </a:cubicBezTo>
                  <a:cubicBezTo>
                    <a:pt x="1838" y="6"/>
                    <a:pt x="1835" y="1"/>
                    <a:pt x="1829" y="1"/>
                  </a:cubicBezTo>
                  <a:cubicBezTo>
                    <a:pt x="1829" y="1"/>
                    <a:pt x="1829" y="1"/>
                    <a:pt x="1829" y="1"/>
                  </a:cubicBezTo>
                  <a:moveTo>
                    <a:pt x="1858" y="1"/>
                  </a:moveTo>
                  <a:cubicBezTo>
                    <a:pt x="1852" y="1"/>
                    <a:pt x="1847" y="6"/>
                    <a:pt x="1845" y="11"/>
                  </a:cubicBezTo>
                  <a:cubicBezTo>
                    <a:pt x="1844" y="17"/>
                    <a:pt x="1847" y="21"/>
                    <a:pt x="1853" y="21"/>
                  </a:cubicBezTo>
                  <a:cubicBezTo>
                    <a:pt x="1859" y="21"/>
                    <a:pt x="1864" y="17"/>
                    <a:pt x="1866" y="11"/>
                  </a:cubicBezTo>
                  <a:cubicBezTo>
                    <a:pt x="1867" y="6"/>
                    <a:pt x="1864" y="1"/>
                    <a:pt x="1858" y="1"/>
                  </a:cubicBezTo>
                  <a:cubicBezTo>
                    <a:pt x="1858" y="1"/>
                    <a:pt x="1858" y="1"/>
                    <a:pt x="1858" y="1"/>
                  </a:cubicBezTo>
                  <a:moveTo>
                    <a:pt x="1888" y="1"/>
                  </a:moveTo>
                  <a:cubicBezTo>
                    <a:pt x="1882" y="1"/>
                    <a:pt x="1876" y="5"/>
                    <a:pt x="1875" y="11"/>
                  </a:cubicBezTo>
                  <a:cubicBezTo>
                    <a:pt x="1873" y="17"/>
                    <a:pt x="1877" y="21"/>
                    <a:pt x="1883" y="21"/>
                  </a:cubicBezTo>
                  <a:cubicBezTo>
                    <a:pt x="1888" y="21"/>
                    <a:pt x="1894" y="16"/>
                    <a:pt x="1895" y="11"/>
                  </a:cubicBezTo>
                  <a:cubicBezTo>
                    <a:pt x="1897" y="5"/>
                    <a:pt x="1893" y="1"/>
                    <a:pt x="1888" y="1"/>
                  </a:cubicBezTo>
                  <a:cubicBezTo>
                    <a:pt x="1888" y="1"/>
                    <a:pt x="1888" y="1"/>
                    <a:pt x="1888" y="1"/>
                  </a:cubicBezTo>
                  <a:moveTo>
                    <a:pt x="1917" y="0"/>
                  </a:moveTo>
                  <a:cubicBezTo>
                    <a:pt x="1912" y="0"/>
                    <a:pt x="1906" y="5"/>
                    <a:pt x="1905" y="11"/>
                  </a:cubicBezTo>
                  <a:cubicBezTo>
                    <a:pt x="1903" y="16"/>
                    <a:pt x="1907" y="21"/>
                    <a:pt x="1913" y="21"/>
                  </a:cubicBezTo>
                  <a:cubicBezTo>
                    <a:pt x="1918" y="21"/>
                    <a:pt x="1924" y="16"/>
                    <a:pt x="1925" y="10"/>
                  </a:cubicBezTo>
                  <a:cubicBezTo>
                    <a:pt x="1927" y="5"/>
                    <a:pt x="1923" y="0"/>
                    <a:pt x="1918" y="0"/>
                  </a:cubicBezTo>
                  <a:cubicBezTo>
                    <a:pt x="1917" y="0"/>
                    <a:pt x="1917" y="0"/>
                    <a:pt x="1917" y="0"/>
                  </a:cubicBezTo>
                  <a:moveTo>
                    <a:pt x="1947" y="0"/>
                  </a:moveTo>
                  <a:cubicBezTo>
                    <a:pt x="1941" y="0"/>
                    <a:pt x="1935" y="5"/>
                    <a:pt x="1934" y="10"/>
                  </a:cubicBezTo>
                  <a:cubicBezTo>
                    <a:pt x="1933" y="16"/>
                    <a:pt x="1936" y="21"/>
                    <a:pt x="1942" y="20"/>
                  </a:cubicBezTo>
                  <a:cubicBezTo>
                    <a:pt x="1948" y="20"/>
                    <a:pt x="1953" y="16"/>
                    <a:pt x="1955" y="10"/>
                  </a:cubicBezTo>
                  <a:cubicBezTo>
                    <a:pt x="1956" y="5"/>
                    <a:pt x="1952" y="0"/>
                    <a:pt x="1947" y="0"/>
                  </a:cubicBezTo>
                  <a:cubicBezTo>
                    <a:pt x="1947" y="0"/>
                    <a:pt x="1947" y="0"/>
                    <a:pt x="1947" y="0"/>
                  </a:cubicBezTo>
                  <a:moveTo>
                    <a:pt x="1976" y="0"/>
                  </a:moveTo>
                  <a:cubicBezTo>
                    <a:pt x="1970" y="0"/>
                    <a:pt x="1965" y="4"/>
                    <a:pt x="1964" y="10"/>
                  </a:cubicBezTo>
                  <a:cubicBezTo>
                    <a:pt x="1962" y="16"/>
                    <a:pt x="1966" y="20"/>
                    <a:pt x="1972" y="20"/>
                  </a:cubicBezTo>
                  <a:cubicBezTo>
                    <a:pt x="1977" y="20"/>
                    <a:pt x="1983" y="15"/>
                    <a:pt x="1984" y="10"/>
                  </a:cubicBezTo>
                  <a:cubicBezTo>
                    <a:pt x="1985" y="4"/>
                    <a:pt x="1982" y="0"/>
                    <a:pt x="1976" y="0"/>
                  </a:cubicBezTo>
                  <a:cubicBezTo>
                    <a:pt x="1976" y="0"/>
                    <a:pt x="1976" y="0"/>
                    <a:pt x="1976" y="0"/>
                  </a:cubicBezTo>
                </a:path>
              </a:pathLst>
            </a:custGeom>
            <a:gradFill>
              <a:gsLst>
                <a:gs pos="0">
                  <a:srgbClr val="E8EBF1">
                    <a:alpha val="64000"/>
                  </a:srgbClr>
                </a:gs>
                <a:gs pos="100000">
                  <a:srgbClr val="FFFFFF">
                    <a:alpha val="85000"/>
                  </a:srgbClr>
                </a:gs>
              </a:gsLst>
              <a:lin ang="5400000" scaled="1"/>
            </a:gra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p:txBody>
          <a:bodyPr/>
          <a:lstStyle/>
          <a:p>
            <a:r>
              <a:rPr lang="en-US" smtClean="0"/>
              <a:t>Digital Disruption Impact to Businesses</a:t>
            </a:r>
            <a:endParaRPr lang="en-US" dirty="0"/>
          </a:p>
        </p:txBody>
      </p:sp>
      <p:sp>
        <p:nvSpPr>
          <p:cNvPr id="9" name="Rectangle 8"/>
          <p:cNvSpPr/>
          <p:nvPr/>
        </p:nvSpPr>
        <p:spPr>
          <a:xfrm>
            <a:off x="1042514" y="3079699"/>
            <a:ext cx="1922186" cy="833478"/>
          </a:xfrm>
          <a:prstGeom prst="rect">
            <a:avLst/>
          </a:prstGeom>
          <a:solidFill>
            <a:srgbClr val="004BAF"/>
          </a:solidFill>
          <a:ln w="12700"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r>
              <a:rPr lang="en-US" sz="1300" dirty="0">
                <a:solidFill>
                  <a:srgbClr val="FFFFFF"/>
                </a:solidFill>
              </a:rPr>
              <a:t>Incumbents at risk</a:t>
            </a:r>
          </a:p>
          <a:p>
            <a:pPr algn="ctr"/>
            <a:r>
              <a:rPr lang="en-US" sz="1300" dirty="0">
                <a:solidFill>
                  <a:srgbClr val="FFFFFF"/>
                </a:solidFill>
              </a:rPr>
              <a:t>of being displaced in</a:t>
            </a:r>
          </a:p>
          <a:p>
            <a:pPr algn="ctr"/>
            <a:r>
              <a:rPr lang="en-US" sz="1300" dirty="0">
                <a:solidFill>
                  <a:srgbClr val="FFFFFF"/>
                </a:solidFill>
              </a:rPr>
              <a:t>next 5 years</a:t>
            </a:r>
            <a:r>
              <a:rPr lang="en-US" sz="1300" dirty="0" smtClean="0">
                <a:solidFill>
                  <a:srgbClr val="FFFFFF"/>
                </a:solidFill>
              </a:rPr>
              <a:t>.</a:t>
            </a:r>
            <a:endParaRPr lang="en-US" sz="1300" dirty="0">
              <a:solidFill>
                <a:srgbClr val="FFFFFF"/>
              </a:solidFill>
            </a:endParaRPr>
          </a:p>
        </p:txBody>
      </p:sp>
      <p:sp>
        <p:nvSpPr>
          <p:cNvPr id="4" name="Oval 3"/>
          <p:cNvSpPr/>
          <p:nvPr/>
        </p:nvSpPr>
        <p:spPr>
          <a:xfrm>
            <a:off x="1204056" y="1323010"/>
            <a:ext cx="1561866" cy="1561866"/>
          </a:xfrm>
          <a:prstGeom prst="ellipse">
            <a:avLst/>
          </a:prstGeom>
          <a:solidFill>
            <a:srgbClr val="097DBC">
              <a:alpha val="60000"/>
            </a:srgbClr>
          </a:solid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3200" dirty="0" smtClean="0"/>
              <a:t>40%</a:t>
            </a:r>
            <a:endParaRPr lang="en-US" sz="3200" dirty="0"/>
          </a:p>
        </p:txBody>
      </p:sp>
      <p:sp>
        <p:nvSpPr>
          <p:cNvPr id="14" name="Rectangle 13"/>
          <p:cNvSpPr/>
          <p:nvPr/>
        </p:nvSpPr>
        <p:spPr>
          <a:xfrm>
            <a:off x="6114310" y="3079699"/>
            <a:ext cx="2098250" cy="833478"/>
          </a:xfrm>
          <a:prstGeom prst="rect">
            <a:avLst/>
          </a:prstGeom>
          <a:solidFill>
            <a:srgbClr val="004BAF"/>
          </a:solidFill>
          <a:ln w="12700"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r>
              <a:rPr lang="en-US" sz="1300" dirty="0" smtClean="0">
                <a:solidFill>
                  <a:srgbClr val="FFFFFF"/>
                </a:solidFill>
              </a:rPr>
              <a:t>Profitability </a:t>
            </a:r>
            <a:r>
              <a:rPr lang="en-US" sz="1300" dirty="0">
                <a:solidFill>
                  <a:srgbClr val="FFFFFF"/>
                </a:solidFill>
              </a:rPr>
              <a:t>increase for</a:t>
            </a:r>
          </a:p>
          <a:p>
            <a:pPr algn="ctr"/>
            <a:r>
              <a:rPr lang="en-US" sz="1300" dirty="0">
                <a:solidFill>
                  <a:srgbClr val="FFFFFF"/>
                </a:solidFill>
              </a:rPr>
              <a:t>organizations that</a:t>
            </a:r>
          </a:p>
          <a:p>
            <a:pPr algn="ctr"/>
            <a:r>
              <a:rPr lang="en-US" sz="1300" dirty="0">
                <a:solidFill>
                  <a:srgbClr val="FFFFFF"/>
                </a:solidFill>
              </a:rPr>
              <a:t>master digital</a:t>
            </a:r>
          </a:p>
        </p:txBody>
      </p:sp>
      <p:sp>
        <p:nvSpPr>
          <p:cNvPr id="16" name="Oval 15"/>
          <p:cNvSpPr/>
          <p:nvPr/>
        </p:nvSpPr>
        <p:spPr>
          <a:xfrm>
            <a:off x="6372404" y="1323010"/>
            <a:ext cx="1561866" cy="1561866"/>
          </a:xfrm>
          <a:prstGeom prst="ellipse">
            <a:avLst/>
          </a:prstGeom>
          <a:solidFill>
            <a:srgbClr val="097DBC">
              <a:alpha val="60000"/>
            </a:srgbClr>
          </a:solid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3200" dirty="0" smtClean="0"/>
              <a:t>26%</a:t>
            </a:r>
            <a:endParaRPr lang="en-US" sz="3200" dirty="0"/>
          </a:p>
        </p:txBody>
      </p:sp>
      <p:sp>
        <p:nvSpPr>
          <p:cNvPr id="10" name="Rectangle 9"/>
          <p:cNvSpPr/>
          <p:nvPr/>
        </p:nvSpPr>
        <p:spPr>
          <a:xfrm>
            <a:off x="3571151" y="3079699"/>
            <a:ext cx="2001698" cy="833478"/>
          </a:xfrm>
          <a:prstGeom prst="rect">
            <a:avLst/>
          </a:prstGeom>
          <a:solidFill>
            <a:srgbClr val="004BAF"/>
          </a:solidFill>
          <a:ln w="12700"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r>
              <a:rPr lang="en-US" sz="1300" dirty="0">
                <a:solidFill>
                  <a:srgbClr val="FFFFFF"/>
                </a:solidFill>
              </a:rPr>
              <a:t>Value at stake across</a:t>
            </a:r>
          </a:p>
          <a:p>
            <a:pPr algn="ctr"/>
            <a:r>
              <a:rPr lang="en-US" sz="1300" dirty="0">
                <a:solidFill>
                  <a:srgbClr val="FFFFFF"/>
                </a:solidFill>
              </a:rPr>
              <a:t>industries 2013-2022</a:t>
            </a:r>
          </a:p>
        </p:txBody>
      </p:sp>
      <p:sp>
        <p:nvSpPr>
          <p:cNvPr id="15" name="Oval 14"/>
          <p:cNvSpPr/>
          <p:nvPr/>
        </p:nvSpPr>
        <p:spPr>
          <a:xfrm>
            <a:off x="3806526" y="1323010"/>
            <a:ext cx="1561866" cy="1561866"/>
          </a:xfrm>
          <a:prstGeom prst="ellipse">
            <a:avLst/>
          </a:prstGeom>
          <a:solidFill>
            <a:srgbClr val="004BAF"/>
          </a:solid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3200" dirty="0" smtClean="0"/>
              <a:t>$14T</a:t>
            </a:r>
            <a:endParaRPr lang="en-US" sz="3200" dirty="0"/>
          </a:p>
        </p:txBody>
      </p:sp>
      <p:sp>
        <p:nvSpPr>
          <p:cNvPr id="19" name="Freeform 9"/>
          <p:cNvSpPr>
            <a:spLocks noEditPoints="1"/>
          </p:cNvSpPr>
          <p:nvPr/>
        </p:nvSpPr>
        <p:spPr bwMode="auto">
          <a:xfrm>
            <a:off x="3765455" y="1288254"/>
            <a:ext cx="1635557" cy="1636061"/>
          </a:xfrm>
          <a:custGeom>
            <a:avLst/>
            <a:gdLst>
              <a:gd name="T0" fmla="*/ 687 w 1374"/>
              <a:gd name="T1" fmla="*/ 1374 h 1374"/>
              <a:gd name="T2" fmla="*/ 0 w 1374"/>
              <a:gd name="T3" fmla="*/ 687 h 1374"/>
              <a:gd name="T4" fmla="*/ 687 w 1374"/>
              <a:gd name="T5" fmla="*/ 0 h 1374"/>
              <a:gd name="T6" fmla="*/ 1374 w 1374"/>
              <a:gd name="T7" fmla="*/ 687 h 1374"/>
              <a:gd name="T8" fmla="*/ 687 w 1374"/>
              <a:gd name="T9" fmla="*/ 1374 h 1374"/>
              <a:gd name="T10" fmla="*/ 687 w 1374"/>
              <a:gd name="T11" fmla="*/ 60 h 1374"/>
              <a:gd name="T12" fmla="*/ 60 w 1374"/>
              <a:gd name="T13" fmla="*/ 687 h 1374"/>
              <a:gd name="T14" fmla="*/ 687 w 1374"/>
              <a:gd name="T15" fmla="*/ 1314 h 1374"/>
              <a:gd name="T16" fmla="*/ 1314 w 1374"/>
              <a:gd name="T17" fmla="*/ 687 h 1374"/>
              <a:gd name="T18" fmla="*/ 687 w 1374"/>
              <a:gd name="T19" fmla="*/ 6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4" h="1374">
                <a:moveTo>
                  <a:pt x="687" y="1374"/>
                </a:moveTo>
                <a:cubicBezTo>
                  <a:pt x="308" y="1374"/>
                  <a:pt x="0" y="1066"/>
                  <a:pt x="0" y="687"/>
                </a:cubicBezTo>
                <a:cubicBezTo>
                  <a:pt x="0" y="308"/>
                  <a:pt x="308" y="0"/>
                  <a:pt x="687" y="0"/>
                </a:cubicBezTo>
                <a:cubicBezTo>
                  <a:pt x="1065" y="0"/>
                  <a:pt x="1374" y="308"/>
                  <a:pt x="1374" y="687"/>
                </a:cubicBezTo>
                <a:cubicBezTo>
                  <a:pt x="1374" y="1066"/>
                  <a:pt x="1065" y="1374"/>
                  <a:pt x="687" y="1374"/>
                </a:cubicBezTo>
                <a:close/>
                <a:moveTo>
                  <a:pt x="687" y="60"/>
                </a:moveTo>
                <a:cubicBezTo>
                  <a:pt x="341" y="60"/>
                  <a:pt x="60" y="341"/>
                  <a:pt x="60" y="687"/>
                </a:cubicBezTo>
                <a:cubicBezTo>
                  <a:pt x="60" y="1033"/>
                  <a:pt x="341" y="1314"/>
                  <a:pt x="687" y="1314"/>
                </a:cubicBezTo>
                <a:cubicBezTo>
                  <a:pt x="1032" y="1314"/>
                  <a:pt x="1314" y="1033"/>
                  <a:pt x="1314" y="687"/>
                </a:cubicBezTo>
                <a:cubicBezTo>
                  <a:pt x="1314" y="341"/>
                  <a:pt x="1032" y="60"/>
                  <a:pt x="687" y="60"/>
                </a:cubicBezTo>
                <a:close/>
              </a:path>
            </a:pathLst>
          </a:custGeom>
          <a:solidFill>
            <a:srgbClr val="049F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 name="Group 4"/>
          <p:cNvGrpSpPr/>
          <p:nvPr/>
        </p:nvGrpSpPr>
        <p:grpSpPr>
          <a:xfrm rot="190052">
            <a:off x="1166458" y="1288254"/>
            <a:ext cx="1635557" cy="1636061"/>
            <a:chOff x="1166458" y="1288254"/>
            <a:chExt cx="1635557" cy="1636061"/>
          </a:xfrm>
        </p:grpSpPr>
        <p:sp>
          <p:nvSpPr>
            <p:cNvPr id="25" name="Freeform 9"/>
            <p:cNvSpPr>
              <a:spLocks noEditPoints="1"/>
            </p:cNvSpPr>
            <p:nvPr/>
          </p:nvSpPr>
          <p:spPr bwMode="auto">
            <a:xfrm>
              <a:off x="1166458" y="1288254"/>
              <a:ext cx="1635557" cy="1636061"/>
            </a:xfrm>
            <a:custGeom>
              <a:avLst/>
              <a:gdLst>
                <a:gd name="T0" fmla="*/ 687 w 1374"/>
                <a:gd name="T1" fmla="*/ 1374 h 1374"/>
                <a:gd name="T2" fmla="*/ 0 w 1374"/>
                <a:gd name="T3" fmla="*/ 687 h 1374"/>
                <a:gd name="T4" fmla="*/ 687 w 1374"/>
                <a:gd name="T5" fmla="*/ 0 h 1374"/>
                <a:gd name="T6" fmla="*/ 1374 w 1374"/>
                <a:gd name="T7" fmla="*/ 687 h 1374"/>
                <a:gd name="T8" fmla="*/ 687 w 1374"/>
                <a:gd name="T9" fmla="*/ 1374 h 1374"/>
                <a:gd name="T10" fmla="*/ 687 w 1374"/>
                <a:gd name="T11" fmla="*/ 60 h 1374"/>
                <a:gd name="T12" fmla="*/ 60 w 1374"/>
                <a:gd name="T13" fmla="*/ 687 h 1374"/>
                <a:gd name="T14" fmla="*/ 687 w 1374"/>
                <a:gd name="T15" fmla="*/ 1314 h 1374"/>
                <a:gd name="T16" fmla="*/ 1314 w 1374"/>
                <a:gd name="T17" fmla="*/ 687 h 1374"/>
                <a:gd name="T18" fmla="*/ 687 w 1374"/>
                <a:gd name="T19" fmla="*/ 6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4" h="1374">
                  <a:moveTo>
                    <a:pt x="687" y="1374"/>
                  </a:moveTo>
                  <a:cubicBezTo>
                    <a:pt x="308" y="1374"/>
                    <a:pt x="0" y="1066"/>
                    <a:pt x="0" y="687"/>
                  </a:cubicBezTo>
                  <a:cubicBezTo>
                    <a:pt x="0" y="308"/>
                    <a:pt x="308" y="0"/>
                    <a:pt x="687" y="0"/>
                  </a:cubicBezTo>
                  <a:cubicBezTo>
                    <a:pt x="1065" y="0"/>
                    <a:pt x="1374" y="308"/>
                    <a:pt x="1374" y="687"/>
                  </a:cubicBezTo>
                  <a:cubicBezTo>
                    <a:pt x="1374" y="1066"/>
                    <a:pt x="1065" y="1374"/>
                    <a:pt x="687" y="1374"/>
                  </a:cubicBezTo>
                  <a:close/>
                  <a:moveTo>
                    <a:pt x="687" y="60"/>
                  </a:moveTo>
                  <a:cubicBezTo>
                    <a:pt x="341" y="60"/>
                    <a:pt x="60" y="341"/>
                    <a:pt x="60" y="687"/>
                  </a:cubicBezTo>
                  <a:cubicBezTo>
                    <a:pt x="60" y="1033"/>
                    <a:pt x="341" y="1314"/>
                    <a:pt x="687" y="1314"/>
                  </a:cubicBezTo>
                  <a:cubicBezTo>
                    <a:pt x="1032" y="1314"/>
                    <a:pt x="1314" y="1033"/>
                    <a:pt x="1314" y="687"/>
                  </a:cubicBezTo>
                  <a:cubicBezTo>
                    <a:pt x="1314" y="341"/>
                    <a:pt x="1032" y="60"/>
                    <a:pt x="687" y="60"/>
                  </a:cubicBezTo>
                  <a:close/>
                </a:path>
              </a:pathLst>
            </a:custGeom>
            <a:noFill/>
            <a:ln>
              <a:noFill/>
            </a:ln>
            <a:extLst/>
          </p:spPr>
          <p:txBody>
            <a:bodyPr vert="horz" wrap="square" lIns="91440" tIns="45720" rIns="91440" bIns="45720" numCol="1" anchor="t" anchorCtr="0" compatLnSpc="1">
              <a:prstTxWarp prst="textNoShape">
                <a:avLst/>
              </a:prstTxWarp>
            </a:bodyPr>
            <a:lstStyle/>
            <a:p>
              <a:endParaRPr lang="en-US"/>
            </a:p>
          </p:txBody>
        </p:sp>
        <p:sp>
          <p:nvSpPr>
            <p:cNvPr id="17" name="Freeform 7"/>
            <p:cNvSpPr>
              <a:spLocks/>
            </p:cNvSpPr>
            <p:nvPr/>
          </p:nvSpPr>
          <p:spPr bwMode="auto">
            <a:xfrm>
              <a:off x="1948199" y="1288254"/>
              <a:ext cx="853816" cy="1439492"/>
            </a:xfrm>
            <a:custGeom>
              <a:avLst/>
              <a:gdLst>
                <a:gd name="T0" fmla="*/ 466 w 717"/>
                <a:gd name="T1" fmla="*/ 1209 h 1209"/>
                <a:gd name="T2" fmla="*/ 443 w 717"/>
                <a:gd name="T3" fmla="*/ 1199 h 1209"/>
                <a:gd name="T4" fmla="*/ 446 w 717"/>
                <a:gd name="T5" fmla="*/ 1156 h 1209"/>
                <a:gd name="T6" fmla="*/ 657 w 717"/>
                <a:gd name="T7" fmla="*/ 687 h 1209"/>
                <a:gd name="T8" fmla="*/ 30 w 717"/>
                <a:gd name="T9" fmla="*/ 60 h 1209"/>
                <a:gd name="T10" fmla="*/ 0 w 717"/>
                <a:gd name="T11" fmla="*/ 30 h 1209"/>
                <a:gd name="T12" fmla="*/ 30 w 717"/>
                <a:gd name="T13" fmla="*/ 0 h 1209"/>
                <a:gd name="T14" fmla="*/ 717 w 717"/>
                <a:gd name="T15" fmla="*/ 687 h 1209"/>
                <a:gd name="T16" fmla="*/ 485 w 717"/>
                <a:gd name="T17" fmla="*/ 1201 h 1209"/>
                <a:gd name="T18" fmla="*/ 466 w 717"/>
                <a:gd name="T19" fmla="*/ 1209 h 1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7" h="1209">
                  <a:moveTo>
                    <a:pt x="466" y="1209"/>
                  </a:moveTo>
                  <a:cubicBezTo>
                    <a:pt x="457" y="1209"/>
                    <a:pt x="449" y="1205"/>
                    <a:pt x="443" y="1199"/>
                  </a:cubicBezTo>
                  <a:cubicBezTo>
                    <a:pt x="432" y="1186"/>
                    <a:pt x="433" y="1167"/>
                    <a:pt x="446" y="1156"/>
                  </a:cubicBezTo>
                  <a:cubicBezTo>
                    <a:pt x="580" y="1037"/>
                    <a:pt x="657" y="866"/>
                    <a:pt x="657" y="687"/>
                  </a:cubicBezTo>
                  <a:cubicBezTo>
                    <a:pt x="657" y="342"/>
                    <a:pt x="375" y="60"/>
                    <a:pt x="30" y="60"/>
                  </a:cubicBezTo>
                  <a:cubicBezTo>
                    <a:pt x="13" y="60"/>
                    <a:pt x="0" y="47"/>
                    <a:pt x="0" y="30"/>
                  </a:cubicBezTo>
                  <a:cubicBezTo>
                    <a:pt x="0" y="14"/>
                    <a:pt x="13" y="0"/>
                    <a:pt x="30" y="0"/>
                  </a:cubicBezTo>
                  <a:cubicBezTo>
                    <a:pt x="409" y="0"/>
                    <a:pt x="717" y="308"/>
                    <a:pt x="717" y="687"/>
                  </a:cubicBezTo>
                  <a:cubicBezTo>
                    <a:pt x="717" y="884"/>
                    <a:pt x="632" y="1071"/>
                    <a:pt x="485" y="1201"/>
                  </a:cubicBezTo>
                  <a:cubicBezTo>
                    <a:pt x="480" y="1206"/>
                    <a:pt x="473" y="1209"/>
                    <a:pt x="466" y="1209"/>
                  </a:cubicBezTo>
                  <a:close/>
                </a:path>
              </a:pathLst>
            </a:custGeom>
            <a:solidFill>
              <a:srgbClr val="64BB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Group 5"/>
          <p:cNvGrpSpPr/>
          <p:nvPr/>
        </p:nvGrpSpPr>
        <p:grpSpPr>
          <a:xfrm rot="187893">
            <a:off x="6324133" y="1288254"/>
            <a:ext cx="1635557" cy="1636061"/>
            <a:chOff x="6324133" y="1288254"/>
            <a:chExt cx="1635557" cy="1636061"/>
          </a:xfrm>
        </p:grpSpPr>
        <p:sp>
          <p:nvSpPr>
            <p:cNvPr id="26" name="Freeform 9"/>
            <p:cNvSpPr>
              <a:spLocks noEditPoints="1"/>
            </p:cNvSpPr>
            <p:nvPr/>
          </p:nvSpPr>
          <p:spPr bwMode="auto">
            <a:xfrm>
              <a:off x="6324133" y="1288254"/>
              <a:ext cx="1635557" cy="1636061"/>
            </a:xfrm>
            <a:custGeom>
              <a:avLst/>
              <a:gdLst>
                <a:gd name="T0" fmla="*/ 687 w 1374"/>
                <a:gd name="T1" fmla="*/ 1374 h 1374"/>
                <a:gd name="T2" fmla="*/ 0 w 1374"/>
                <a:gd name="T3" fmla="*/ 687 h 1374"/>
                <a:gd name="T4" fmla="*/ 687 w 1374"/>
                <a:gd name="T5" fmla="*/ 0 h 1374"/>
                <a:gd name="T6" fmla="*/ 1374 w 1374"/>
                <a:gd name="T7" fmla="*/ 687 h 1374"/>
                <a:gd name="T8" fmla="*/ 687 w 1374"/>
                <a:gd name="T9" fmla="*/ 1374 h 1374"/>
                <a:gd name="T10" fmla="*/ 687 w 1374"/>
                <a:gd name="T11" fmla="*/ 60 h 1374"/>
                <a:gd name="T12" fmla="*/ 60 w 1374"/>
                <a:gd name="T13" fmla="*/ 687 h 1374"/>
                <a:gd name="T14" fmla="*/ 687 w 1374"/>
                <a:gd name="T15" fmla="*/ 1314 h 1374"/>
                <a:gd name="T16" fmla="*/ 1314 w 1374"/>
                <a:gd name="T17" fmla="*/ 687 h 1374"/>
                <a:gd name="T18" fmla="*/ 687 w 1374"/>
                <a:gd name="T19" fmla="*/ 6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4" h="1374">
                  <a:moveTo>
                    <a:pt x="687" y="1374"/>
                  </a:moveTo>
                  <a:cubicBezTo>
                    <a:pt x="308" y="1374"/>
                    <a:pt x="0" y="1066"/>
                    <a:pt x="0" y="687"/>
                  </a:cubicBezTo>
                  <a:cubicBezTo>
                    <a:pt x="0" y="308"/>
                    <a:pt x="308" y="0"/>
                    <a:pt x="687" y="0"/>
                  </a:cubicBezTo>
                  <a:cubicBezTo>
                    <a:pt x="1065" y="0"/>
                    <a:pt x="1374" y="308"/>
                    <a:pt x="1374" y="687"/>
                  </a:cubicBezTo>
                  <a:cubicBezTo>
                    <a:pt x="1374" y="1066"/>
                    <a:pt x="1065" y="1374"/>
                    <a:pt x="687" y="1374"/>
                  </a:cubicBezTo>
                  <a:close/>
                  <a:moveTo>
                    <a:pt x="687" y="60"/>
                  </a:moveTo>
                  <a:cubicBezTo>
                    <a:pt x="341" y="60"/>
                    <a:pt x="60" y="341"/>
                    <a:pt x="60" y="687"/>
                  </a:cubicBezTo>
                  <a:cubicBezTo>
                    <a:pt x="60" y="1033"/>
                    <a:pt x="341" y="1314"/>
                    <a:pt x="687" y="1314"/>
                  </a:cubicBezTo>
                  <a:cubicBezTo>
                    <a:pt x="1032" y="1314"/>
                    <a:pt x="1314" y="1033"/>
                    <a:pt x="1314" y="687"/>
                  </a:cubicBezTo>
                  <a:cubicBezTo>
                    <a:pt x="1314" y="341"/>
                    <a:pt x="1032" y="60"/>
                    <a:pt x="687" y="60"/>
                  </a:cubicBezTo>
                  <a:close/>
                </a:path>
              </a:pathLst>
            </a:custGeom>
            <a:no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Freeform 8"/>
            <p:cNvSpPr>
              <a:spLocks/>
            </p:cNvSpPr>
            <p:nvPr/>
          </p:nvSpPr>
          <p:spPr bwMode="auto">
            <a:xfrm>
              <a:off x="7105874" y="1288254"/>
              <a:ext cx="853816" cy="1064498"/>
            </a:xfrm>
            <a:custGeom>
              <a:avLst/>
              <a:gdLst>
                <a:gd name="T0" fmla="*/ 663 w 717"/>
                <a:gd name="T1" fmla="*/ 894 h 894"/>
                <a:gd name="T2" fmla="*/ 655 w 717"/>
                <a:gd name="T3" fmla="*/ 892 h 894"/>
                <a:gd name="T4" fmla="*/ 634 w 717"/>
                <a:gd name="T5" fmla="*/ 855 h 894"/>
                <a:gd name="T6" fmla="*/ 657 w 717"/>
                <a:gd name="T7" fmla="*/ 687 h 894"/>
                <a:gd name="T8" fmla="*/ 30 w 717"/>
                <a:gd name="T9" fmla="*/ 60 h 894"/>
                <a:gd name="T10" fmla="*/ 0 w 717"/>
                <a:gd name="T11" fmla="*/ 30 h 894"/>
                <a:gd name="T12" fmla="*/ 30 w 717"/>
                <a:gd name="T13" fmla="*/ 0 h 894"/>
                <a:gd name="T14" fmla="*/ 717 w 717"/>
                <a:gd name="T15" fmla="*/ 687 h 894"/>
                <a:gd name="T16" fmla="*/ 692 w 717"/>
                <a:gd name="T17" fmla="*/ 872 h 894"/>
                <a:gd name="T18" fmla="*/ 663 w 717"/>
                <a:gd name="T19" fmla="*/ 89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7" h="894">
                  <a:moveTo>
                    <a:pt x="663" y="894"/>
                  </a:moveTo>
                  <a:cubicBezTo>
                    <a:pt x="660" y="894"/>
                    <a:pt x="657" y="893"/>
                    <a:pt x="655" y="892"/>
                  </a:cubicBezTo>
                  <a:cubicBezTo>
                    <a:pt x="639" y="888"/>
                    <a:pt x="629" y="871"/>
                    <a:pt x="634" y="855"/>
                  </a:cubicBezTo>
                  <a:cubicBezTo>
                    <a:pt x="649" y="801"/>
                    <a:pt x="657" y="744"/>
                    <a:pt x="657" y="687"/>
                  </a:cubicBezTo>
                  <a:cubicBezTo>
                    <a:pt x="657" y="342"/>
                    <a:pt x="375" y="60"/>
                    <a:pt x="30" y="60"/>
                  </a:cubicBezTo>
                  <a:cubicBezTo>
                    <a:pt x="13" y="60"/>
                    <a:pt x="0" y="47"/>
                    <a:pt x="0" y="30"/>
                  </a:cubicBezTo>
                  <a:cubicBezTo>
                    <a:pt x="0" y="14"/>
                    <a:pt x="13" y="0"/>
                    <a:pt x="30" y="0"/>
                  </a:cubicBezTo>
                  <a:cubicBezTo>
                    <a:pt x="408" y="0"/>
                    <a:pt x="717" y="308"/>
                    <a:pt x="717" y="687"/>
                  </a:cubicBezTo>
                  <a:cubicBezTo>
                    <a:pt x="717" y="750"/>
                    <a:pt x="708" y="812"/>
                    <a:pt x="692" y="872"/>
                  </a:cubicBezTo>
                  <a:cubicBezTo>
                    <a:pt x="688" y="885"/>
                    <a:pt x="676" y="894"/>
                    <a:pt x="663" y="894"/>
                  </a:cubicBezTo>
                  <a:close/>
                </a:path>
              </a:pathLst>
            </a:custGeom>
            <a:solidFill>
              <a:srgbClr val="64BB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TextBox 6"/>
          <p:cNvSpPr txBox="1"/>
          <p:nvPr/>
        </p:nvSpPr>
        <p:spPr>
          <a:xfrm>
            <a:off x="189999" y="4755482"/>
            <a:ext cx="1063112" cy="261610"/>
          </a:xfrm>
          <a:prstGeom prst="rect">
            <a:avLst/>
          </a:prstGeom>
          <a:noFill/>
        </p:spPr>
        <p:txBody>
          <a:bodyPr wrap="none" rtlCol="0">
            <a:spAutoFit/>
          </a:bodyPr>
          <a:lstStyle/>
          <a:p>
            <a:r>
              <a:rPr lang="en-US" sz="1100" smtClean="0"/>
              <a:t>Source: Cisco</a:t>
            </a:r>
            <a:endParaRPr lang="en-US" sz="1100"/>
          </a:p>
        </p:txBody>
      </p:sp>
    </p:spTree>
    <p:extLst>
      <p:ext uri="{BB962C8B-B14F-4D97-AF65-F5344CB8AC3E}">
        <p14:creationId xmlns:p14="http://schemas.microsoft.com/office/powerpoint/2010/main" val="1538666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 name="Rectangle 7"/>
          <p:cNvSpPr>
            <a:spLocks noChangeArrowheads="1"/>
          </p:cNvSpPr>
          <p:nvPr/>
        </p:nvSpPr>
        <p:spPr bwMode="auto">
          <a:xfrm>
            <a:off x="4106280" y="1230488"/>
            <a:ext cx="4839123" cy="3514987"/>
          </a:xfrm>
          <a:prstGeom prst="rect">
            <a:avLst/>
          </a:prstGeom>
          <a:solidFill>
            <a:srgbClr val="FFFFFF"/>
          </a:solidFill>
          <a:ln w="952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nvGrpSpPr>
          <p:cNvPr id="1057" name="Group 1056"/>
          <p:cNvGrpSpPr/>
          <p:nvPr/>
        </p:nvGrpSpPr>
        <p:grpSpPr>
          <a:xfrm>
            <a:off x="5217160" y="1691640"/>
            <a:ext cx="3566160" cy="2966720"/>
            <a:chOff x="5217160" y="1691640"/>
            <a:chExt cx="3566160" cy="2966720"/>
          </a:xfrm>
        </p:grpSpPr>
        <p:cxnSp>
          <p:nvCxnSpPr>
            <p:cNvPr id="10" name="Straight Connector 9"/>
            <p:cNvCxnSpPr/>
            <p:nvPr/>
          </p:nvCxnSpPr>
          <p:spPr>
            <a:xfrm>
              <a:off x="5217160" y="4658360"/>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217160" y="4529376"/>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5217160" y="4400388"/>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217160" y="4271400"/>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217160" y="4142412"/>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217160" y="4013424"/>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217160" y="3884436"/>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5217160" y="3755448"/>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217160" y="3626460"/>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217160" y="3497472"/>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5217160" y="3368484"/>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217160" y="3239496"/>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217160" y="3110508"/>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217160" y="2981520"/>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217160" y="2852532"/>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217160" y="2723544"/>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217160" y="2594556"/>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217160" y="2465568"/>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217160" y="2336580"/>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5217160" y="2207592"/>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5217160" y="2078604"/>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217160" y="1949616"/>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5217160" y="1820628"/>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5217160" y="1691640"/>
              <a:ext cx="3566160" cy="0"/>
            </a:xfrm>
            <a:prstGeom prst="line">
              <a:avLst/>
            </a:prstGeom>
            <a:ln w="9525" cap="rnd">
              <a:solidFill>
                <a:schemeClr val="bg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grpSp>
      <p:sp>
        <p:nvSpPr>
          <p:cNvPr id="1027" name="Rectangle 8"/>
          <p:cNvSpPr>
            <a:spLocks noChangeArrowheads="1"/>
          </p:cNvSpPr>
          <p:nvPr/>
        </p:nvSpPr>
        <p:spPr bwMode="auto">
          <a:xfrm>
            <a:off x="5220674" y="1357304"/>
            <a:ext cx="534768" cy="207154"/>
          </a:xfrm>
          <a:prstGeom prst="rect">
            <a:avLst/>
          </a:prstGeom>
          <a:solidFill>
            <a:srgbClr val="004B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bodyPr>
          <a:lstStyle/>
          <a:p>
            <a:pPr algn="ctr"/>
            <a:r>
              <a:rPr lang="en-US" sz="1100" dirty="0" smtClean="0">
                <a:solidFill>
                  <a:schemeClr val="bg1"/>
                </a:solidFill>
              </a:rPr>
              <a:t>NA</a:t>
            </a:r>
            <a:endParaRPr lang="en-US" sz="1100" dirty="0">
              <a:solidFill>
                <a:schemeClr val="bg1"/>
              </a:solidFill>
            </a:endParaRPr>
          </a:p>
        </p:txBody>
      </p:sp>
      <p:sp>
        <p:nvSpPr>
          <p:cNvPr id="1028" name="Rectangle 9"/>
          <p:cNvSpPr>
            <a:spLocks noChangeArrowheads="1"/>
          </p:cNvSpPr>
          <p:nvPr/>
        </p:nvSpPr>
        <p:spPr bwMode="auto">
          <a:xfrm>
            <a:off x="7616295" y="1357304"/>
            <a:ext cx="561985" cy="207154"/>
          </a:xfrm>
          <a:prstGeom prst="rect">
            <a:avLst/>
          </a:prstGeom>
          <a:solidFill>
            <a:srgbClr val="8586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bodyPr>
          <a:lstStyle/>
          <a:p>
            <a:pPr algn="ctr"/>
            <a:r>
              <a:rPr lang="en-US" sz="1100" dirty="0" smtClean="0">
                <a:solidFill>
                  <a:schemeClr val="bg1"/>
                </a:solidFill>
              </a:rPr>
              <a:t>WE</a:t>
            </a:r>
            <a:endParaRPr lang="en-US" sz="1100" dirty="0">
              <a:solidFill>
                <a:schemeClr val="bg1"/>
              </a:solidFill>
            </a:endParaRPr>
          </a:p>
        </p:txBody>
      </p:sp>
      <p:sp>
        <p:nvSpPr>
          <p:cNvPr id="1029" name="Rectangle 10"/>
          <p:cNvSpPr>
            <a:spLocks noChangeArrowheads="1"/>
          </p:cNvSpPr>
          <p:nvPr/>
        </p:nvSpPr>
        <p:spPr bwMode="auto">
          <a:xfrm>
            <a:off x="5799797" y="1357304"/>
            <a:ext cx="561481" cy="207154"/>
          </a:xfrm>
          <a:prstGeom prst="rect">
            <a:avLst/>
          </a:prstGeom>
          <a:solidFill>
            <a:srgbClr val="049F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bodyPr>
          <a:lstStyle/>
          <a:p>
            <a:pPr algn="ctr"/>
            <a:r>
              <a:rPr lang="en-US" sz="1100" dirty="0" err="1" smtClean="0">
                <a:solidFill>
                  <a:schemeClr val="bg1"/>
                </a:solidFill>
              </a:rPr>
              <a:t>LATAM</a:t>
            </a:r>
            <a:endParaRPr lang="en-US" sz="1100" dirty="0">
              <a:solidFill>
                <a:schemeClr val="bg1"/>
              </a:solidFill>
            </a:endParaRPr>
          </a:p>
        </p:txBody>
      </p:sp>
      <p:sp>
        <p:nvSpPr>
          <p:cNvPr id="1030" name="Rectangle 11"/>
          <p:cNvSpPr>
            <a:spLocks noChangeArrowheads="1"/>
          </p:cNvSpPr>
          <p:nvPr/>
        </p:nvSpPr>
        <p:spPr bwMode="auto">
          <a:xfrm>
            <a:off x="6404624" y="1357304"/>
            <a:ext cx="561481" cy="207154"/>
          </a:xfrm>
          <a:prstGeom prst="rect">
            <a:avLst/>
          </a:prstGeom>
          <a:solidFill>
            <a:srgbClr val="ABC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bodyPr>
          <a:lstStyle/>
          <a:p>
            <a:pPr algn="ctr"/>
            <a:r>
              <a:rPr lang="en-US" sz="1100" dirty="0" smtClean="0">
                <a:solidFill>
                  <a:schemeClr val="bg1"/>
                </a:solidFill>
              </a:rPr>
              <a:t>MEA</a:t>
            </a:r>
            <a:endParaRPr lang="en-US" sz="1100" dirty="0">
              <a:solidFill>
                <a:schemeClr val="bg1"/>
              </a:solidFill>
            </a:endParaRPr>
          </a:p>
        </p:txBody>
      </p:sp>
      <p:sp>
        <p:nvSpPr>
          <p:cNvPr id="1031" name="Rectangle 12"/>
          <p:cNvSpPr>
            <a:spLocks noChangeArrowheads="1"/>
          </p:cNvSpPr>
          <p:nvPr/>
        </p:nvSpPr>
        <p:spPr bwMode="auto">
          <a:xfrm>
            <a:off x="7010459" y="1357304"/>
            <a:ext cx="561985" cy="207154"/>
          </a:xfrm>
          <a:prstGeom prst="rect">
            <a:avLst/>
          </a:prstGeom>
          <a:solidFill>
            <a:srgbClr val="6CC0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bodyPr>
          <a:lstStyle/>
          <a:p>
            <a:pPr algn="ctr"/>
            <a:r>
              <a:rPr lang="en-US" sz="1100" dirty="0" err="1" smtClean="0">
                <a:solidFill>
                  <a:schemeClr val="bg1"/>
                </a:solidFill>
              </a:rPr>
              <a:t>APJC</a:t>
            </a:r>
            <a:endParaRPr lang="en-US" sz="1100" dirty="0">
              <a:solidFill>
                <a:schemeClr val="bg1"/>
              </a:solidFill>
            </a:endParaRPr>
          </a:p>
        </p:txBody>
      </p:sp>
      <p:sp>
        <p:nvSpPr>
          <p:cNvPr id="1032" name="Rectangle 13"/>
          <p:cNvSpPr>
            <a:spLocks noChangeArrowheads="1"/>
          </p:cNvSpPr>
          <p:nvPr/>
        </p:nvSpPr>
        <p:spPr bwMode="auto">
          <a:xfrm>
            <a:off x="8222634" y="1357304"/>
            <a:ext cx="561985" cy="207154"/>
          </a:xfrm>
          <a:prstGeom prst="rect">
            <a:avLst/>
          </a:prstGeom>
          <a:solidFill>
            <a:srgbClr val="8DA8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bodyPr>
          <a:lstStyle/>
          <a:p>
            <a:pPr algn="ctr"/>
            <a:r>
              <a:rPr lang="en-US" sz="1100" dirty="0" err="1" smtClean="0">
                <a:solidFill>
                  <a:schemeClr val="bg1"/>
                </a:solidFill>
              </a:rPr>
              <a:t>CEE</a:t>
            </a:r>
            <a:endParaRPr lang="en-US" sz="1100" dirty="0">
              <a:solidFill>
                <a:schemeClr val="bg1"/>
              </a:solidFill>
            </a:endParaRPr>
          </a:p>
        </p:txBody>
      </p:sp>
      <p:sp>
        <p:nvSpPr>
          <p:cNvPr id="1033" name="Rectangle 14"/>
          <p:cNvSpPr>
            <a:spLocks noChangeArrowheads="1"/>
          </p:cNvSpPr>
          <p:nvPr/>
        </p:nvSpPr>
        <p:spPr bwMode="auto">
          <a:xfrm>
            <a:off x="5220674" y="2007495"/>
            <a:ext cx="537288" cy="286790"/>
          </a:xfrm>
          <a:prstGeom prst="rect">
            <a:avLst/>
          </a:prstGeom>
          <a:solidFill>
            <a:srgbClr val="004B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4" name="Rectangle 15"/>
          <p:cNvSpPr>
            <a:spLocks noChangeArrowheads="1"/>
          </p:cNvSpPr>
          <p:nvPr/>
        </p:nvSpPr>
        <p:spPr bwMode="auto">
          <a:xfrm>
            <a:off x="5220674" y="2687424"/>
            <a:ext cx="534768" cy="376002"/>
          </a:xfrm>
          <a:prstGeom prst="rect">
            <a:avLst/>
          </a:prstGeom>
          <a:solidFill>
            <a:srgbClr val="004B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5" name="Rectangle 16"/>
          <p:cNvSpPr>
            <a:spLocks noChangeArrowheads="1"/>
          </p:cNvSpPr>
          <p:nvPr/>
        </p:nvSpPr>
        <p:spPr bwMode="auto">
          <a:xfrm>
            <a:off x="5222187" y="3322999"/>
            <a:ext cx="534264" cy="626502"/>
          </a:xfrm>
          <a:prstGeom prst="rect">
            <a:avLst/>
          </a:prstGeom>
          <a:solidFill>
            <a:srgbClr val="004B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6" name="Rectangle 17"/>
          <p:cNvSpPr>
            <a:spLocks noChangeArrowheads="1"/>
          </p:cNvSpPr>
          <p:nvPr/>
        </p:nvSpPr>
        <p:spPr bwMode="auto">
          <a:xfrm>
            <a:off x="5220674" y="4329032"/>
            <a:ext cx="534768" cy="327616"/>
          </a:xfrm>
          <a:prstGeom prst="rect">
            <a:avLst/>
          </a:prstGeom>
          <a:solidFill>
            <a:srgbClr val="004B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7" name="Rectangle 18"/>
          <p:cNvSpPr>
            <a:spLocks noChangeArrowheads="1"/>
          </p:cNvSpPr>
          <p:nvPr/>
        </p:nvSpPr>
        <p:spPr bwMode="auto">
          <a:xfrm>
            <a:off x="5811389" y="1966669"/>
            <a:ext cx="538296" cy="327616"/>
          </a:xfrm>
          <a:prstGeom prst="rect">
            <a:avLst/>
          </a:prstGeom>
          <a:solidFill>
            <a:srgbClr val="049F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8" name="Rectangle 19"/>
          <p:cNvSpPr>
            <a:spLocks noChangeArrowheads="1"/>
          </p:cNvSpPr>
          <p:nvPr/>
        </p:nvSpPr>
        <p:spPr bwMode="auto">
          <a:xfrm>
            <a:off x="5825502" y="2490855"/>
            <a:ext cx="524184" cy="570052"/>
          </a:xfrm>
          <a:prstGeom prst="rect">
            <a:avLst/>
          </a:prstGeom>
          <a:solidFill>
            <a:srgbClr val="049F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9" name="Rectangle 20"/>
          <p:cNvSpPr>
            <a:spLocks noChangeArrowheads="1"/>
          </p:cNvSpPr>
          <p:nvPr/>
        </p:nvSpPr>
        <p:spPr bwMode="auto">
          <a:xfrm>
            <a:off x="5818445" y="3262516"/>
            <a:ext cx="524184" cy="683457"/>
          </a:xfrm>
          <a:prstGeom prst="rect">
            <a:avLst/>
          </a:prstGeom>
          <a:solidFill>
            <a:srgbClr val="049F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0" name="Rectangle 21"/>
          <p:cNvSpPr>
            <a:spLocks noChangeArrowheads="1"/>
          </p:cNvSpPr>
          <p:nvPr/>
        </p:nvSpPr>
        <p:spPr bwMode="auto">
          <a:xfrm>
            <a:off x="5825502" y="4329032"/>
            <a:ext cx="524184" cy="337192"/>
          </a:xfrm>
          <a:prstGeom prst="rect">
            <a:avLst/>
          </a:prstGeom>
          <a:solidFill>
            <a:srgbClr val="049F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1" name="Rectangle 22"/>
          <p:cNvSpPr>
            <a:spLocks noChangeArrowheads="1"/>
          </p:cNvSpPr>
          <p:nvPr/>
        </p:nvSpPr>
        <p:spPr bwMode="auto">
          <a:xfrm>
            <a:off x="6404624" y="2075035"/>
            <a:ext cx="561481" cy="219251"/>
          </a:xfrm>
          <a:prstGeom prst="rect">
            <a:avLst/>
          </a:prstGeom>
          <a:solidFill>
            <a:srgbClr val="ABC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Rectangle 23"/>
          <p:cNvSpPr>
            <a:spLocks noChangeArrowheads="1"/>
          </p:cNvSpPr>
          <p:nvPr/>
        </p:nvSpPr>
        <p:spPr bwMode="auto">
          <a:xfrm>
            <a:off x="6404624" y="2662223"/>
            <a:ext cx="561481" cy="398683"/>
          </a:xfrm>
          <a:prstGeom prst="rect">
            <a:avLst/>
          </a:prstGeom>
          <a:solidFill>
            <a:srgbClr val="ABC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3" name="Rectangle 24"/>
          <p:cNvSpPr>
            <a:spLocks noChangeArrowheads="1"/>
          </p:cNvSpPr>
          <p:nvPr/>
        </p:nvSpPr>
        <p:spPr bwMode="auto">
          <a:xfrm>
            <a:off x="6399584" y="3432372"/>
            <a:ext cx="553921" cy="502512"/>
          </a:xfrm>
          <a:prstGeom prst="rect">
            <a:avLst/>
          </a:prstGeom>
          <a:solidFill>
            <a:srgbClr val="ABC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Rectangle 25"/>
          <p:cNvSpPr>
            <a:spLocks noChangeArrowheads="1"/>
          </p:cNvSpPr>
          <p:nvPr/>
        </p:nvSpPr>
        <p:spPr bwMode="auto">
          <a:xfrm>
            <a:off x="6412688" y="4453022"/>
            <a:ext cx="553417" cy="213202"/>
          </a:xfrm>
          <a:prstGeom prst="rect">
            <a:avLst/>
          </a:prstGeom>
          <a:solidFill>
            <a:srgbClr val="ABC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5" name="Rectangle 26"/>
          <p:cNvSpPr>
            <a:spLocks noChangeArrowheads="1"/>
          </p:cNvSpPr>
          <p:nvPr/>
        </p:nvSpPr>
        <p:spPr bwMode="auto">
          <a:xfrm>
            <a:off x="7010459" y="1928867"/>
            <a:ext cx="561985" cy="365418"/>
          </a:xfrm>
          <a:prstGeom prst="rect">
            <a:avLst/>
          </a:prstGeom>
          <a:solidFill>
            <a:srgbClr val="6CC0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Rectangle 27"/>
          <p:cNvSpPr>
            <a:spLocks noChangeArrowheads="1"/>
          </p:cNvSpPr>
          <p:nvPr/>
        </p:nvSpPr>
        <p:spPr bwMode="auto">
          <a:xfrm>
            <a:off x="7010459" y="2513536"/>
            <a:ext cx="561985" cy="547370"/>
          </a:xfrm>
          <a:prstGeom prst="rect">
            <a:avLst/>
          </a:prstGeom>
          <a:solidFill>
            <a:srgbClr val="6CC0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7" name="Rectangle 28"/>
          <p:cNvSpPr>
            <a:spLocks noChangeArrowheads="1"/>
          </p:cNvSpPr>
          <p:nvPr/>
        </p:nvSpPr>
        <p:spPr bwMode="auto">
          <a:xfrm>
            <a:off x="7010459" y="3513520"/>
            <a:ext cx="561985" cy="403724"/>
          </a:xfrm>
          <a:prstGeom prst="rect">
            <a:avLst/>
          </a:prstGeom>
          <a:solidFill>
            <a:srgbClr val="6CC0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Rectangle 29"/>
          <p:cNvSpPr>
            <a:spLocks noChangeArrowheads="1"/>
          </p:cNvSpPr>
          <p:nvPr/>
        </p:nvSpPr>
        <p:spPr bwMode="auto">
          <a:xfrm>
            <a:off x="7010459" y="4104237"/>
            <a:ext cx="561985" cy="561987"/>
          </a:xfrm>
          <a:prstGeom prst="rect">
            <a:avLst/>
          </a:prstGeom>
          <a:solidFill>
            <a:srgbClr val="6CC0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Rectangle 30"/>
          <p:cNvSpPr>
            <a:spLocks noChangeArrowheads="1"/>
          </p:cNvSpPr>
          <p:nvPr/>
        </p:nvSpPr>
        <p:spPr bwMode="auto">
          <a:xfrm>
            <a:off x="7616295" y="2112332"/>
            <a:ext cx="561985" cy="181953"/>
          </a:xfrm>
          <a:prstGeom prst="rect">
            <a:avLst/>
          </a:prstGeom>
          <a:solidFill>
            <a:srgbClr val="8586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Rectangle 31"/>
          <p:cNvSpPr>
            <a:spLocks noChangeArrowheads="1"/>
          </p:cNvSpPr>
          <p:nvPr/>
        </p:nvSpPr>
        <p:spPr bwMode="auto">
          <a:xfrm>
            <a:off x="7635448" y="2541761"/>
            <a:ext cx="542833" cy="519145"/>
          </a:xfrm>
          <a:prstGeom prst="rect">
            <a:avLst/>
          </a:prstGeom>
          <a:solidFill>
            <a:srgbClr val="8586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1" name="Rectangle 32"/>
          <p:cNvSpPr>
            <a:spLocks noChangeArrowheads="1"/>
          </p:cNvSpPr>
          <p:nvPr/>
        </p:nvSpPr>
        <p:spPr bwMode="auto">
          <a:xfrm>
            <a:off x="7625871" y="3479246"/>
            <a:ext cx="542833" cy="437997"/>
          </a:xfrm>
          <a:prstGeom prst="rect">
            <a:avLst/>
          </a:prstGeom>
          <a:solidFill>
            <a:srgbClr val="8586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Rectangle 33"/>
          <p:cNvSpPr>
            <a:spLocks noChangeArrowheads="1"/>
          </p:cNvSpPr>
          <p:nvPr/>
        </p:nvSpPr>
        <p:spPr bwMode="auto">
          <a:xfrm>
            <a:off x="7635448" y="4493344"/>
            <a:ext cx="542833" cy="172880"/>
          </a:xfrm>
          <a:prstGeom prst="rect">
            <a:avLst/>
          </a:prstGeom>
          <a:solidFill>
            <a:srgbClr val="8586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3" name="Rectangle 34"/>
          <p:cNvSpPr>
            <a:spLocks noChangeArrowheads="1"/>
          </p:cNvSpPr>
          <p:nvPr/>
        </p:nvSpPr>
        <p:spPr bwMode="auto">
          <a:xfrm>
            <a:off x="8222634" y="2090659"/>
            <a:ext cx="561985" cy="203626"/>
          </a:xfrm>
          <a:prstGeom prst="rect">
            <a:avLst/>
          </a:prstGeom>
          <a:solidFill>
            <a:srgbClr val="8DA8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Rectangle 35"/>
          <p:cNvSpPr>
            <a:spLocks noChangeArrowheads="1"/>
          </p:cNvSpPr>
          <p:nvPr/>
        </p:nvSpPr>
        <p:spPr bwMode="auto">
          <a:xfrm>
            <a:off x="8222634" y="2574019"/>
            <a:ext cx="561985" cy="486888"/>
          </a:xfrm>
          <a:prstGeom prst="rect">
            <a:avLst/>
          </a:prstGeom>
          <a:solidFill>
            <a:srgbClr val="8DA8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5" name="Rectangle 36"/>
          <p:cNvSpPr>
            <a:spLocks noChangeArrowheads="1"/>
          </p:cNvSpPr>
          <p:nvPr/>
        </p:nvSpPr>
        <p:spPr bwMode="auto">
          <a:xfrm>
            <a:off x="8227170" y="3383986"/>
            <a:ext cx="557449" cy="535778"/>
          </a:xfrm>
          <a:prstGeom prst="rect">
            <a:avLst/>
          </a:prstGeom>
          <a:solidFill>
            <a:srgbClr val="8DA8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6" name="Rectangle 37"/>
          <p:cNvSpPr>
            <a:spLocks noChangeArrowheads="1"/>
          </p:cNvSpPr>
          <p:nvPr/>
        </p:nvSpPr>
        <p:spPr bwMode="auto">
          <a:xfrm>
            <a:off x="8227170" y="4377922"/>
            <a:ext cx="557449" cy="288302"/>
          </a:xfrm>
          <a:prstGeom prst="rect">
            <a:avLst/>
          </a:prstGeom>
          <a:solidFill>
            <a:srgbClr val="8DA8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a:xfrm>
            <a:off x="253267" y="263041"/>
            <a:ext cx="8637466" cy="830997"/>
          </a:xfrm>
        </p:spPr>
        <p:txBody>
          <a:bodyPr/>
          <a:lstStyle/>
          <a:p>
            <a:r>
              <a:rPr lang="en-US" dirty="0"/>
              <a:t>What Your Business Customers Want</a:t>
            </a:r>
            <a:br>
              <a:rPr lang="en-US" dirty="0"/>
            </a:br>
            <a:r>
              <a:rPr lang="is-IS" dirty="0" smtClean="0"/>
              <a:t>…</a:t>
            </a:r>
            <a:r>
              <a:rPr lang="en-US" dirty="0" smtClean="0"/>
              <a:t> And </a:t>
            </a:r>
            <a:r>
              <a:rPr lang="en-US" dirty="0"/>
              <a:t>What They Will Do When They Get It</a:t>
            </a:r>
          </a:p>
        </p:txBody>
      </p:sp>
      <p:sp>
        <p:nvSpPr>
          <p:cNvPr id="7" name="TextBox 6"/>
          <p:cNvSpPr txBox="1"/>
          <p:nvPr/>
        </p:nvSpPr>
        <p:spPr>
          <a:xfrm>
            <a:off x="275845" y="1333832"/>
            <a:ext cx="3251531" cy="400110"/>
          </a:xfrm>
          <a:prstGeom prst="rect">
            <a:avLst/>
          </a:prstGeom>
          <a:noFill/>
        </p:spPr>
        <p:txBody>
          <a:bodyPr wrap="none" rtlCol="0">
            <a:spAutoFit/>
          </a:bodyPr>
          <a:lstStyle/>
          <a:p>
            <a:r>
              <a:rPr lang="en-US" sz="2000" dirty="0"/>
              <a:t>A Personalized Experience</a:t>
            </a:r>
          </a:p>
        </p:txBody>
      </p:sp>
      <p:sp>
        <p:nvSpPr>
          <p:cNvPr id="8" name="Rectangle 7"/>
          <p:cNvSpPr/>
          <p:nvPr/>
        </p:nvSpPr>
        <p:spPr>
          <a:xfrm>
            <a:off x="253267" y="1928301"/>
            <a:ext cx="3467943" cy="2146742"/>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137160" rIns="137160" bIns="137160" rtlCol="0" anchor="t" anchorCtr="0">
            <a:spAutoFit/>
          </a:bodyPr>
          <a:lstStyle/>
          <a:p>
            <a:pPr marL="285750" indent="-285750">
              <a:spcBef>
                <a:spcPts val="1500"/>
              </a:spcBef>
              <a:buFont typeface="Wingdings" panose="05000000000000000000" pitchFamily="2" charset="2"/>
              <a:buChar char="ü"/>
            </a:pPr>
            <a:r>
              <a:rPr lang="en-US" sz="1400" dirty="0">
                <a:solidFill>
                  <a:schemeClr val="accent1">
                    <a:lumMod val="50000"/>
                  </a:schemeClr>
                </a:solidFill>
              </a:rPr>
              <a:t>Turn service on or </a:t>
            </a:r>
            <a:r>
              <a:rPr lang="en-US" sz="1400" dirty="0" smtClean="0">
                <a:solidFill>
                  <a:schemeClr val="accent1">
                    <a:lumMod val="50000"/>
                  </a:schemeClr>
                </a:solidFill>
              </a:rPr>
              <a:t>off </a:t>
            </a:r>
            <a:r>
              <a:rPr lang="en-US" sz="1400" dirty="0">
                <a:solidFill>
                  <a:schemeClr val="accent1">
                    <a:lumMod val="50000"/>
                  </a:schemeClr>
                </a:solidFill>
              </a:rPr>
              <a:t>on demand</a:t>
            </a:r>
          </a:p>
          <a:p>
            <a:pPr marL="285750" indent="-285750">
              <a:spcBef>
                <a:spcPts val="1500"/>
              </a:spcBef>
              <a:buFont typeface="Wingdings" panose="05000000000000000000" pitchFamily="2" charset="2"/>
              <a:buChar char="ü"/>
            </a:pPr>
            <a:r>
              <a:rPr lang="en-US" sz="1400" dirty="0">
                <a:solidFill>
                  <a:schemeClr val="accent1">
                    <a:lumMod val="50000"/>
                  </a:schemeClr>
                </a:solidFill>
              </a:rPr>
              <a:t>Scale capacity up or down </a:t>
            </a:r>
            <a:r>
              <a:rPr lang="en-US" sz="1400" dirty="0" smtClean="0">
                <a:solidFill>
                  <a:schemeClr val="accent1">
                    <a:lumMod val="50000"/>
                  </a:schemeClr>
                </a:solidFill>
              </a:rPr>
              <a:t>as needed</a:t>
            </a:r>
            <a:endParaRPr lang="en-US" sz="1400" dirty="0">
              <a:solidFill>
                <a:schemeClr val="accent1">
                  <a:lumMod val="50000"/>
                </a:schemeClr>
              </a:solidFill>
            </a:endParaRPr>
          </a:p>
          <a:p>
            <a:pPr marL="285750" indent="-285750">
              <a:spcBef>
                <a:spcPts val="1500"/>
              </a:spcBef>
              <a:buFont typeface="Wingdings" panose="05000000000000000000" pitchFamily="2" charset="2"/>
              <a:buChar char="ü"/>
            </a:pPr>
            <a:r>
              <a:rPr lang="en-US" sz="1400" dirty="0">
                <a:solidFill>
                  <a:schemeClr val="accent1">
                    <a:lumMod val="50000"/>
                  </a:schemeClr>
                </a:solidFill>
              </a:rPr>
              <a:t>Simple, easy service ordering </a:t>
            </a:r>
            <a:r>
              <a:rPr lang="en-US" sz="1400" dirty="0" smtClean="0">
                <a:solidFill>
                  <a:schemeClr val="accent1">
                    <a:lumMod val="50000"/>
                  </a:schemeClr>
                </a:solidFill>
              </a:rPr>
              <a:t>and self-provisioning</a:t>
            </a:r>
            <a:endParaRPr lang="en-US" sz="1400" dirty="0">
              <a:solidFill>
                <a:schemeClr val="accent1">
                  <a:lumMod val="50000"/>
                </a:schemeClr>
              </a:solidFill>
            </a:endParaRPr>
          </a:p>
          <a:p>
            <a:pPr marL="285750" indent="-285750">
              <a:spcBef>
                <a:spcPts val="1500"/>
              </a:spcBef>
              <a:buFont typeface="Wingdings" panose="05000000000000000000" pitchFamily="2" charset="2"/>
              <a:buChar char="ü"/>
            </a:pPr>
            <a:r>
              <a:rPr lang="en-US" sz="1400" dirty="0">
                <a:solidFill>
                  <a:schemeClr val="accent1">
                    <a:lumMod val="50000"/>
                  </a:schemeClr>
                </a:solidFill>
              </a:rPr>
              <a:t>Consumption-based billing</a:t>
            </a:r>
          </a:p>
        </p:txBody>
      </p:sp>
      <p:sp>
        <p:nvSpPr>
          <p:cNvPr id="34" name="TextBox 33"/>
          <p:cNvSpPr txBox="1"/>
          <p:nvPr/>
        </p:nvSpPr>
        <p:spPr>
          <a:xfrm>
            <a:off x="4124395" y="1951849"/>
            <a:ext cx="1111202" cy="400110"/>
          </a:xfrm>
          <a:prstGeom prst="rect">
            <a:avLst/>
          </a:prstGeom>
          <a:noFill/>
        </p:spPr>
        <p:txBody>
          <a:bodyPr wrap="none" rtlCol="0">
            <a:spAutoFit/>
          </a:bodyPr>
          <a:lstStyle/>
          <a:p>
            <a:r>
              <a:rPr lang="en-US" sz="1000" dirty="0" smtClean="0">
                <a:solidFill>
                  <a:srgbClr val="004BAF"/>
                </a:solidFill>
              </a:rPr>
              <a:t>Add other online</a:t>
            </a:r>
            <a:br>
              <a:rPr lang="en-US" sz="1000" dirty="0" smtClean="0">
                <a:solidFill>
                  <a:srgbClr val="004BAF"/>
                </a:solidFill>
              </a:rPr>
            </a:br>
            <a:r>
              <a:rPr lang="en-US" sz="1000" dirty="0" smtClean="0">
                <a:solidFill>
                  <a:srgbClr val="004BAF"/>
                </a:solidFill>
              </a:rPr>
              <a:t>IT services</a:t>
            </a:r>
            <a:endParaRPr lang="en-US" sz="1000" dirty="0">
              <a:solidFill>
                <a:srgbClr val="004BAF"/>
              </a:solidFill>
            </a:endParaRPr>
          </a:p>
        </p:txBody>
      </p:sp>
      <p:sp>
        <p:nvSpPr>
          <p:cNvPr id="35" name="TextBox 34"/>
          <p:cNvSpPr txBox="1"/>
          <p:nvPr/>
        </p:nvSpPr>
        <p:spPr>
          <a:xfrm>
            <a:off x="4124395" y="2740944"/>
            <a:ext cx="824265" cy="400110"/>
          </a:xfrm>
          <a:prstGeom prst="rect">
            <a:avLst/>
          </a:prstGeom>
          <a:noFill/>
        </p:spPr>
        <p:txBody>
          <a:bodyPr wrap="none" rtlCol="0">
            <a:spAutoFit/>
          </a:bodyPr>
          <a:lstStyle/>
          <a:p>
            <a:r>
              <a:rPr lang="en-US" sz="1000" dirty="0" smtClean="0">
                <a:solidFill>
                  <a:srgbClr val="004BAF"/>
                </a:solidFill>
              </a:rPr>
              <a:t>Expand to </a:t>
            </a:r>
            <a:br>
              <a:rPr lang="en-US" sz="1000" dirty="0" smtClean="0">
                <a:solidFill>
                  <a:srgbClr val="004BAF"/>
                </a:solidFill>
              </a:rPr>
            </a:br>
            <a:r>
              <a:rPr lang="en-US" sz="1000" dirty="0" smtClean="0">
                <a:solidFill>
                  <a:srgbClr val="004BAF"/>
                </a:solidFill>
              </a:rPr>
              <a:t>more users</a:t>
            </a:r>
            <a:endParaRPr lang="en-US" sz="1000" dirty="0">
              <a:solidFill>
                <a:srgbClr val="004BAF"/>
              </a:solidFill>
            </a:endParaRPr>
          </a:p>
        </p:txBody>
      </p:sp>
      <p:sp>
        <p:nvSpPr>
          <p:cNvPr id="36" name="TextBox 35"/>
          <p:cNvSpPr txBox="1"/>
          <p:nvPr/>
        </p:nvSpPr>
        <p:spPr>
          <a:xfrm>
            <a:off x="4124395" y="3590434"/>
            <a:ext cx="909223" cy="400110"/>
          </a:xfrm>
          <a:prstGeom prst="rect">
            <a:avLst/>
          </a:prstGeom>
          <a:noFill/>
        </p:spPr>
        <p:txBody>
          <a:bodyPr wrap="none" rtlCol="0">
            <a:spAutoFit/>
          </a:bodyPr>
          <a:lstStyle/>
          <a:p>
            <a:r>
              <a:rPr lang="en-US" sz="1000" dirty="0" smtClean="0">
                <a:solidFill>
                  <a:srgbClr val="004BAF"/>
                </a:solidFill>
              </a:rPr>
              <a:t>Recommend</a:t>
            </a:r>
            <a:br>
              <a:rPr lang="en-US" sz="1000" dirty="0" smtClean="0">
                <a:solidFill>
                  <a:srgbClr val="004BAF"/>
                </a:solidFill>
              </a:rPr>
            </a:br>
            <a:r>
              <a:rPr lang="en-US" sz="1000" dirty="0" smtClean="0">
                <a:solidFill>
                  <a:srgbClr val="004BAF"/>
                </a:solidFill>
              </a:rPr>
              <a:t>to users</a:t>
            </a:r>
            <a:endParaRPr lang="en-US" sz="1000" dirty="0">
              <a:solidFill>
                <a:srgbClr val="004BAF"/>
              </a:solidFill>
            </a:endParaRPr>
          </a:p>
        </p:txBody>
      </p:sp>
      <p:sp>
        <p:nvSpPr>
          <p:cNvPr id="37" name="TextBox 36"/>
          <p:cNvSpPr txBox="1"/>
          <p:nvPr/>
        </p:nvSpPr>
        <p:spPr>
          <a:xfrm>
            <a:off x="4124395" y="4312358"/>
            <a:ext cx="710451" cy="400110"/>
          </a:xfrm>
          <a:prstGeom prst="rect">
            <a:avLst/>
          </a:prstGeom>
          <a:noFill/>
        </p:spPr>
        <p:txBody>
          <a:bodyPr wrap="none" rtlCol="0">
            <a:spAutoFit/>
          </a:bodyPr>
          <a:lstStyle/>
          <a:p>
            <a:r>
              <a:rPr lang="en-US" sz="1000" dirty="0" smtClean="0">
                <a:solidFill>
                  <a:srgbClr val="004BAF"/>
                </a:solidFill>
              </a:rPr>
              <a:t>Switch</a:t>
            </a:r>
            <a:br>
              <a:rPr lang="en-US" sz="1000" dirty="0" smtClean="0">
                <a:solidFill>
                  <a:srgbClr val="004BAF"/>
                </a:solidFill>
              </a:rPr>
            </a:br>
            <a:r>
              <a:rPr lang="en-US" sz="1000" dirty="0" smtClean="0">
                <a:solidFill>
                  <a:srgbClr val="004BAF"/>
                </a:solidFill>
              </a:rPr>
              <a:t>providers</a:t>
            </a:r>
            <a:endParaRPr lang="en-US" sz="1000" dirty="0">
              <a:solidFill>
                <a:srgbClr val="004BAF"/>
              </a:solidFill>
            </a:endParaRPr>
          </a:p>
        </p:txBody>
      </p:sp>
      <p:sp>
        <p:nvSpPr>
          <p:cNvPr id="38" name="TextBox 37"/>
          <p:cNvSpPr txBox="1"/>
          <p:nvPr/>
        </p:nvSpPr>
        <p:spPr>
          <a:xfrm>
            <a:off x="5370452" y="4384487"/>
            <a:ext cx="208390" cy="123111"/>
          </a:xfrm>
          <a:prstGeom prst="rect">
            <a:avLst/>
          </a:prstGeom>
          <a:noFill/>
        </p:spPr>
        <p:txBody>
          <a:bodyPr wrap="none" lIns="0" tIns="0" rIns="0" bIns="0" rtlCol="0" anchor="ctr" anchorCtr="0">
            <a:spAutoFit/>
          </a:bodyPr>
          <a:lstStyle/>
          <a:p>
            <a:pPr algn="ctr"/>
            <a:r>
              <a:rPr lang="en-US" sz="800" dirty="0" smtClean="0">
                <a:solidFill>
                  <a:srgbClr val="FFFFFF"/>
                </a:solidFill>
              </a:rPr>
              <a:t>47%</a:t>
            </a:r>
            <a:endParaRPr lang="en-US" sz="800" dirty="0">
              <a:solidFill>
                <a:srgbClr val="FFFFFF"/>
              </a:solidFill>
            </a:endParaRPr>
          </a:p>
        </p:txBody>
      </p:sp>
      <p:sp>
        <p:nvSpPr>
          <p:cNvPr id="39" name="TextBox 38"/>
          <p:cNvSpPr txBox="1"/>
          <p:nvPr/>
        </p:nvSpPr>
        <p:spPr>
          <a:xfrm>
            <a:off x="5974972" y="4384487"/>
            <a:ext cx="208390" cy="123111"/>
          </a:xfrm>
          <a:prstGeom prst="rect">
            <a:avLst/>
          </a:prstGeom>
          <a:noFill/>
        </p:spPr>
        <p:txBody>
          <a:bodyPr wrap="none" lIns="0" tIns="0" rIns="0" bIns="0" rtlCol="0" anchor="ctr" anchorCtr="0">
            <a:spAutoFit/>
          </a:bodyPr>
          <a:lstStyle/>
          <a:p>
            <a:pPr algn="ctr"/>
            <a:r>
              <a:rPr lang="en-US" sz="800" dirty="0" smtClean="0">
                <a:solidFill>
                  <a:srgbClr val="FFFFFF"/>
                </a:solidFill>
              </a:rPr>
              <a:t>47%</a:t>
            </a:r>
            <a:endParaRPr lang="en-US" sz="800" dirty="0">
              <a:solidFill>
                <a:srgbClr val="FFFFFF"/>
              </a:solidFill>
            </a:endParaRPr>
          </a:p>
        </p:txBody>
      </p:sp>
      <p:sp>
        <p:nvSpPr>
          <p:cNvPr id="40" name="TextBox 39"/>
          <p:cNvSpPr txBox="1"/>
          <p:nvPr/>
        </p:nvSpPr>
        <p:spPr>
          <a:xfrm>
            <a:off x="6569332" y="4496247"/>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34%</a:t>
            </a:r>
            <a:endParaRPr lang="en-US" sz="800" dirty="0">
              <a:solidFill>
                <a:srgbClr val="FFFFFF"/>
              </a:solidFill>
            </a:endParaRPr>
          </a:p>
        </p:txBody>
      </p:sp>
      <p:sp>
        <p:nvSpPr>
          <p:cNvPr id="41" name="TextBox 40"/>
          <p:cNvSpPr txBox="1"/>
          <p:nvPr/>
        </p:nvSpPr>
        <p:spPr>
          <a:xfrm>
            <a:off x="7178932" y="4176207"/>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68%</a:t>
            </a:r>
            <a:endParaRPr lang="en-US" sz="800" dirty="0">
              <a:solidFill>
                <a:srgbClr val="FFFFFF"/>
              </a:solidFill>
            </a:endParaRPr>
          </a:p>
        </p:txBody>
      </p:sp>
      <p:sp>
        <p:nvSpPr>
          <p:cNvPr id="42" name="TextBox 41"/>
          <p:cNvSpPr txBox="1"/>
          <p:nvPr/>
        </p:nvSpPr>
        <p:spPr>
          <a:xfrm>
            <a:off x="7794882" y="4519742"/>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31%</a:t>
            </a:r>
            <a:endParaRPr lang="en-US" sz="800" dirty="0">
              <a:solidFill>
                <a:srgbClr val="FFFFFF"/>
              </a:solidFill>
            </a:endParaRPr>
          </a:p>
        </p:txBody>
      </p:sp>
      <p:sp>
        <p:nvSpPr>
          <p:cNvPr id="43" name="TextBox 42"/>
          <p:cNvSpPr txBox="1"/>
          <p:nvPr/>
        </p:nvSpPr>
        <p:spPr>
          <a:xfrm>
            <a:off x="8414007" y="4408617"/>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44%</a:t>
            </a:r>
            <a:endParaRPr lang="en-US" sz="800" dirty="0">
              <a:solidFill>
                <a:srgbClr val="FFFFFF"/>
              </a:solidFill>
            </a:endParaRPr>
          </a:p>
        </p:txBody>
      </p:sp>
      <p:sp>
        <p:nvSpPr>
          <p:cNvPr id="44" name="TextBox 43"/>
          <p:cNvSpPr txBox="1"/>
          <p:nvPr/>
        </p:nvSpPr>
        <p:spPr>
          <a:xfrm>
            <a:off x="5370452" y="3401507"/>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78%</a:t>
            </a:r>
            <a:endParaRPr lang="en-US" sz="800" dirty="0">
              <a:solidFill>
                <a:srgbClr val="FFFFFF"/>
              </a:solidFill>
            </a:endParaRPr>
          </a:p>
        </p:txBody>
      </p:sp>
      <p:sp>
        <p:nvSpPr>
          <p:cNvPr id="45" name="TextBox 44"/>
          <p:cNvSpPr txBox="1"/>
          <p:nvPr/>
        </p:nvSpPr>
        <p:spPr>
          <a:xfrm>
            <a:off x="5974972" y="3350708"/>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82%</a:t>
            </a:r>
            <a:endParaRPr lang="en-US" sz="800" dirty="0">
              <a:solidFill>
                <a:srgbClr val="FFFFFF"/>
              </a:solidFill>
            </a:endParaRPr>
          </a:p>
        </p:txBody>
      </p:sp>
      <p:sp>
        <p:nvSpPr>
          <p:cNvPr id="46" name="TextBox 45"/>
          <p:cNvSpPr txBox="1"/>
          <p:nvPr/>
        </p:nvSpPr>
        <p:spPr>
          <a:xfrm>
            <a:off x="6569332" y="3498874"/>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64%</a:t>
            </a:r>
            <a:endParaRPr lang="en-US" sz="800" dirty="0">
              <a:solidFill>
                <a:srgbClr val="FFFFFF"/>
              </a:solidFill>
            </a:endParaRPr>
          </a:p>
        </p:txBody>
      </p:sp>
      <p:sp>
        <p:nvSpPr>
          <p:cNvPr id="47" name="TextBox 46"/>
          <p:cNvSpPr txBox="1"/>
          <p:nvPr/>
        </p:nvSpPr>
        <p:spPr>
          <a:xfrm>
            <a:off x="7178932" y="3570841"/>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57%</a:t>
            </a:r>
            <a:endParaRPr lang="en-US" sz="800" dirty="0">
              <a:solidFill>
                <a:srgbClr val="FFFFFF"/>
              </a:solidFill>
            </a:endParaRPr>
          </a:p>
        </p:txBody>
      </p:sp>
      <p:sp>
        <p:nvSpPr>
          <p:cNvPr id="48" name="TextBox 47"/>
          <p:cNvSpPr txBox="1"/>
          <p:nvPr/>
        </p:nvSpPr>
        <p:spPr>
          <a:xfrm>
            <a:off x="7794882" y="3536974"/>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60%</a:t>
            </a:r>
            <a:endParaRPr lang="en-US" sz="800" dirty="0">
              <a:solidFill>
                <a:srgbClr val="FFFFFF"/>
              </a:solidFill>
            </a:endParaRPr>
          </a:p>
        </p:txBody>
      </p:sp>
      <p:sp>
        <p:nvSpPr>
          <p:cNvPr id="49" name="TextBox 48"/>
          <p:cNvSpPr txBox="1"/>
          <p:nvPr/>
        </p:nvSpPr>
        <p:spPr>
          <a:xfrm>
            <a:off x="8414007" y="3456541"/>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71%</a:t>
            </a:r>
            <a:endParaRPr lang="en-US" sz="800" dirty="0">
              <a:solidFill>
                <a:srgbClr val="FFFFFF"/>
              </a:solidFill>
            </a:endParaRPr>
          </a:p>
        </p:txBody>
      </p:sp>
      <p:sp>
        <p:nvSpPr>
          <p:cNvPr id="50" name="TextBox 49"/>
          <p:cNvSpPr txBox="1"/>
          <p:nvPr/>
        </p:nvSpPr>
        <p:spPr>
          <a:xfrm>
            <a:off x="5370452" y="2753807"/>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56%</a:t>
            </a:r>
            <a:endParaRPr lang="en-US" sz="800" dirty="0">
              <a:solidFill>
                <a:srgbClr val="FFFFFF"/>
              </a:solidFill>
            </a:endParaRPr>
          </a:p>
        </p:txBody>
      </p:sp>
      <p:sp>
        <p:nvSpPr>
          <p:cNvPr id="51" name="TextBox 50"/>
          <p:cNvSpPr txBox="1"/>
          <p:nvPr/>
        </p:nvSpPr>
        <p:spPr>
          <a:xfrm>
            <a:off x="5974972" y="2601407"/>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71%</a:t>
            </a:r>
            <a:endParaRPr lang="en-US" sz="800" dirty="0">
              <a:solidFill>
                <a:srgbClr val="FFFFFF"/>
              </a:solidFill>
            </a:endParaRPr>
          </a:p>
        </p:txBody>
      </p:sp>
      <p:sp>
        <p:nvSpPr>
          <p:cNvPr id="52" name="TextBox 51"/>
          <p:cNvSpPr txBox="1"/>
          <p:nvPr/>
        </p:nvSpPr>
        <p:spPr>
          <a:xfrm>
            <a:off x="6569332" y="2715708"/>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59%</a:t>
            </a:r>
            <a:endParaRPr lang="en-US" sz="800" dirty="0">
              <a:solidFill>
                <a:srgbClr val="FFFFFF"/>
              </a:solidFill>
            </a:endParaRPr>
          </a:p>
        </p:txBody>
      </p:sp>
      <p:sp>
        <p:nvSpPr>
          <p:cNvPr id="53" name="TextBox 52"/>
          <p:cNvSpPr txBox="1"/>
          <p:nvPr/>
        </p:nvSpPr>
        <p:spPr>
          <a:xfrm>
            <a:off x="7178932" y="2592941"/>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70%</a:t>
            </a:r>
            <a:endParaRPr lang="en-US" sz="800" dirty="0">
              <a:solidFill>
                <a:srgbClr val="FFFFFF"/>
              </a:solidFill>
            </a:endParaRPr>
          </a:p>
        </p:txBody>
      </p:sp>
      <p:sp>
        <p:nvSpPr>
          <p:cNvPr id="54" name="TextBox 53"/>
          <p:cNvSpPr txBox="1"/>
          <p:nvPr/>
        </p:nvSpPr>
        <p:spPr>
          <a:xfrm>
            <a:off x="7794882" y="2592941"/>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69%</a:t>
            </a:r>
            <a:endParaRPr lang="en-US" sz="800" dirty="0">
              <a:solidFill>
                <a:srgbClr val="FFFFFF"/>
              </a:solidFill>
            </a:endParaRPr>
          </a:p>
        </p:txBody>
      </p:sp>
      <p:sp>
        <p:nvSpPr>
          <p:cNvPr id="55" name="TextBox 54"/>
          <p:cNvSpPr txBox="1"/>
          <p:nvPr/>
        </p:nvSpPr>
        <p:spPr>
          <a:xfrm>
            <a:off x="8414007" y="2639508"/>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63%</a:t>
            </a:r>
            <a:endParaRPr lang="en-US" sz="800" dirty="0">
              <a:solidFill>
                <a:srgbClr val="FFFFFF"/>
              </a:solidFill>
            </a:endParaRPr>
          </a:p>
        </p:txBody>
      </p:sp>
      <p:sp>
        <p:nvSpPr>
          <p:cNvPr id="56" name="TextBox 55"/>
          <p:cNvSpPr txBox="1"/>
          <p:nvPr/>
        </p:nvSpPr>
        <p:spPr>
          <a:xfrm>
            <a:off x="5370452" y="2059541"/>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49%</a:t>
            </a:r>
            <a:endParaRPr lang="en-US" sz="800" dirty="0">
              <a:solidFill>
                <a:srgbClr val="FFFFFF"/>
              </a:solidFill>
            </a:endParaRPr>
          </a:p>
        </p:txBody>
      </p:sp>
      <p:sp>
        <p:nvSpPr>
          <p:cNvPr id="57" name="TextBox 56"/>
          <p:cNvSpPr txBox="1"/>
          <p:nvPr/>
        </p:nvSpPr>
        <p:spPr>
          <a:xfrm>
            <a:off x="5974972" y="2038374"/>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51%</a:t>
            </a:r>
            <a:endParaRPr lang="en-US" sz="800" dirty="0">
              <a:solidFill>
                <a:srgbClr val="FFFFFF"/>
              </a:solidFill>
            </a:endParaRPr>
          </a:p>
        </p:txBody>
      </p:sp>
      <p:sp>
        <p:nvSpPr>
          <p:cNvPr id="58" name="TextBox 57"/>
          <p:cNvSpPr txBox="1"/>
          <p:nvPr/>
        </p:nvSpPr>
        <p:spPr>
          <a:xfrm>
            <a:off x="6569332" y="2123043"/>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44%</a:t>
            </a:r>
            <a:endParaRPr lang="en-US" sz="800" dirty="0">
              <a:solidFill>
                <a:srgbClr val="FFFFFF"/>
              </a:solidFill>
            </a:endParaRPr>
          </a:p>
        </p:txBody>
      </p:sp>
      <p:sp>
        <p:nvSpPr>
          <p:cNvPr id="59" name="TextBox 58"/>
          <p:cNvSpPr txBox="1"/>
          <p:nvPr/>
        </p:nvSpPr>
        <p:spPr>
          <a:xfrm>
            <a:off x="7178932" y="2008741"/>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54%</a:t>
            </a:r>
            <a:endParaRPr lang="en-US" sz="800" dirty="0">
              <a:solidFill>
                <a:srgbClr val="FFFFFF"/>
              </a:solidFill>
            </a:endParaRPr>
          </a:p>
        </p:txBody>
      </p:sp>
      <p:sp>
        <p:nvSpPr>
          <p:cNvPr id="60" name="TextBox 59"/>
          <p:cNvSpPr txBox="1"/>
          <p:nvPr/>
        </p:nvSpPr>
        <p:spPr>
          <a:xfrm>
            <a:off x="7794882" y="2139975"/>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42%</a:t>
            </a:r>
            <a:endParaRPr lang="en-US" sz="800" dirty="0">
              <a:solidFill>
                <a:srgbClr val="FFFFFF"/>
              </a:solidFill>
            </a:endParaRPr>
          </a:p>
        </p:txBody>
      </p:sp>
      <p:sp>
        <p:nvSpPr>
          <p:cNvPr id="61" name="TextBox 60"/>
          <p:cNvSpPr txBox="1"/>
          <p:nvPr/>
        </p:nvSpPr>
        <p:spPr>
          <a:xfrm>
            <a:off x="8414007" y="2139975"/>
            <a:ext cx="208391" cy="123111"/>
          </a:xfrm>
          <a:prstGeom prst="rect">
            <a:avLst/>
          </a:prstGeom>
          <a:noFill/>
        </p:spPr>
        <p:txBody>
          <a:bodyPr wrap="none" lIns="0" tIns="0" rIns="0" bIns="0" rtlCol="0" anchor="ctr" anchorCtr="0">
            <a:spAutoFit/>
          </a:bodyPr>
          <a:lstStyle/>
          <a:p>
            <a:pPr algn="ctr"/>
            <a:r>
              <a:rPr lang="en-US" sz="800" dirty="0" smtClean="0">
                <a:solidFill>
                  <a:srgbClr val="FFFFFF"/>
                </a:solidFill>
              </a:rPr>
              <a:t>41%</a:t>
            </a:r>
            <a:endParaRPr lang="en-US" sz="800" dirty="0">
              <a:solidFill>
                <a:srgbClr val="FFFFFF"/>
              </a:solidFill>
            </a:endParaRPr>
          </a:p>
        </p:txBody>
      </p:sp>
      <p:sp>
        <p:nvSpPr>
          <p:cNvPr id="90" name="TextBox 89"/>
          <p:cNvSpPr txBox="1"/>
          <p:nvPr/>
        </p:nvSpPr>
        <p:spPr>
          <a:xfrm>
            <a:off x="1174155" y="4770806"/>
            <a:ext cx="1021433" cy="276999"/>
          </a:xfrm>
          <a:prstGeom prst="rect">
            <a:avLst/>
          </a:prstGeom>
          <a:noFill/>
        </p:spPr>
        <p:txBody>
          <a:bodyPr wrap="none" rtlCol="0">
            <a:spAutoFit/>
          </a:bodyPr>
          <a:lstStyle/>
          <a:p>
            <a:r>
              <a:rPr lang="en-US" sz="1200" dirty="0" smtClean="0"/>
              <a:t>Source AMI</a:t>
            </a:r>
            <a:endParaRPr lang="en-US" sz="1200" dirty="0"/>
          </a:p>
        </p:txBody>
      </p:sp>
    </p:spTree>
    <p:extLst>
      <p:ext uri="{BB962C8B-B14F-4D97-AF65-F5344CB8AC3E}">
        <p14:creationId xmlns:p14="http://schemas.microsoft.com/office/powerpoint/2010/main" val="1610303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3629984" y="3082628"/>
            <a:ext cx="16403969" cy="2060871"/>
            <a:chOff x="-3629984" y="2794000"/>
            <a:chExt cx="16403969" cy="2349500"/>
          </a:xfrm>
        </p:grpSpPr>
        <p:sp>
          <p:nvSpPr>
            <p:cNvPr id="7" name="Oval 132"/>
            <p:cNvSpPr/>
            <p:nvPr/>
          </p:nvSpPr>
          <p:spPr>
            <a:xfrm>
              <a:off x="-3629984" y="2794000"/>
              <a:ext cx="16403969" cy="2349500"/>
            </a:xfrm>
            <a:custGeom>
              <a:avLst/>
              <a:gdLst/>
              <a:ahLst/>
              <a:cxnLst/>
              <a:rect l="l" t="t" r="r" b="b"/>
              <a:pathLst>
                <a:path w="16403969" h="2349500">
                  <a:moveTo>
                    <a:pt x="8201985" y="0"/>
                  </a:moveTo>
                  <a:cubicBezTo>
                    <a:pt x="11298203" y="0"/>
                    <a:pt x="14147017" y="876755"/>
                    <a:pt x="16403969" y="2349500"/>
                  </a:cubicBezTo>
                  <a:lnTo>
                    <a:pt x="0" y="2349500"/>
                  </a:lnTo>
                  <a:cubicBezTo>
                    <a:pt x="2256953" y="876755"/>
                    <a:pt x="5105767" y="0"/>
                    <a:pt x="8201985" y="0"/>
                  </a:cubicBezTo>
                  <a:close/>
                </a:path>
              </a:pathLst>
            </a:custGeom>
            <a:gradFill flip="none" rotWithShape="1">
              <a:gsLst>
                <a:gs pos="0">
                  <a:schemeClr val="accent3"/>
                </a:gs>
                <a:gs pos="75000">
                  <a:srgbClr val="4AA7D4"/>
                </a:gs>
              </a:gsLst>
              <a:lin ang="54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11"/>
            <p:cNvSpPr>
              <a:spLocks noEditPoints="1"/>
            </p:cNvSpPr>
            <p:nvPr/>
          </p:nvSpPr>
          <p:spPr bwMode="auto">
            <a:xfrm>
              <a:off x="761630" y="2860040"/>
              <a:ext cx="8382370" cy="2283460"/>
            </a:xfrm>
            <a:custGeom>
              <a:avLst/>
              <a:gdLst>
                <a:gd name="T0" fmla="*/ 251 w 5010"/>
                <a:gd name="T1" fmla="*/ 1324 h 1365"/>
                <a:gd name="T2" fmla="*/ 619 w 5010"/>
                <a:gd name="T3" fmla="*/ 1284 h 1365"/>
                <a:gd name="T4" fmla="*/ 957 w 5010"/>
                <a:gd name="T5" fmla="*/ 1254 h 1365"/>
                <a:gd name="T6" fmla="*/ 1103 w 5010"/>
                <a:gd name="T7" fmla="*/ 1225 h 1365"/>
                <a:gd name="T8" fmla="*/ 2303 w 5010"/>
                <a:gd name="T9" fmla="*/ 1205 h 1365"/>
                <a:gd name="T10" fmla="*/ 2378 w 5010"/>
                <a:gd name="T11" fmla="*/ 1185 h 1365"/>
                <a:gd name="T12" fmla="*/ 2452 w 5010"/>
                <a:gd name="T13" fmla="*/ 1145 h 1365"/>
                <a:gd name="T14" fmla="*/ 2686 w 5010"/>
                <a:gd name="T15" fmla="*/ 1105 h 1365"/>
                <a:gd name="T16" fmla="*/ 2811 w 5010"/>
                <a:gd name="T17" fmla="*/ 1075 h 1365"/>
                <a:gd name="T18" fmla="*/ 2808 w 5010"/>
                <a:gd name="T19" fmla="*/ 1045 h 1365"/>
                <a:gd name="T20" fmla="*/ 2780 w 5010"/>
                <a:gd name="T21" fmla="*/ 1026 h 1365"/>
                <a:gd name="T22" fmla="*/ 2721 w 5010"/>
                <a:gd name="T23" fmla="*/ 1007 h 1365"/>
                <a:gd name="T24" fmla="*/ 3455 w 5010"/>
                <a:gd name="T25" fmla="*/ 968 h 1365"/>
                <a:gd name="T26" fmla="*/ 3456 w 5010"/>
                <a:gd name="T27" fmla="*/ 928 h 1365"/>
                <a:gd name="T28" fmla="*/ 2955 w 5010"/>
                <a:gd name="T29" fmla="*/ 899 h 1365"/>
                <a:gd name="T30" fmla="*/ 2508 w 5010"/>
                <a:gd name="T31" fmla="*/ 871 h 1365"/>
                <a:gd name="T32" fmla="*/ 2321 w 5010"/>
                <a:gd name="T33" fmla="*/ 854 h 1365"/>
                <a:gd name="T34" fmla="*/ 1948 w 5010"/>
                <a:gd name="T35" fmla="*/ 836 h 1365"/>
                <a:gd name="T36" fmla="*/ 3925 w 5010"/>
                <a:gd name="T37" fmla="*/ 816 h 1365"/>
                <a:gd name="T38" fmla="*/ 3292 w 5010"/>
                <a:gd name="T39" fmla="*/ 780 h 1365"/>
                <a:gd name="T40" fmla="*/ 2275 w 5010"/>
                <a:gd name="T41" fmla="*/ 754 h 1365"/>
                <a:gd name="T42" fmla="*/ 232 w 5010"/>
                <a:gd name="T43" fmla="*/ 739 h 1365"/>
                <a:gd name="T44" fmla="*/ 3214 w 5010"/>
                <a:gd name="T45" fmla="*/ 732 h 1365"/>
                <a:gd name="T46" fmla="*/ 2046 w 5010"/>
                <a:gd name="T47" fmla="*/ 718 h 1365"/>
                <a:gd name="T48" fmla="*/ 3908 w 5010"/>
                <a:gd name="T49" fmla="*/ 701 h 1365"/>
                <a:gd name="T50" fmla="*/ 2808 w 5010"/>
                <a:gd name="T51" fmla="*/ 665 h 1365"/>
                <a:gd name="T52" fmla="*/ 263 w 5010"/>
                <a:gd name="T53" fmla="*/ 651 h 1365"/>
                <a:gd name="T54" fmla="*/ 3401 w 5010"/>
                <a:gd name="T55" fmla="*/ 633 h 1365"/>
                <a:gd name="T56" fmla="*/ 2851 w 5010"/>
                <a:gd name="T57" fmla="*/ 617 h 1365"/>
                <a:gd name="T58" fmla="*/ 143 w 5010"/>
                <a:gd name="T59" fmla="*/ 615 h 1365"/>
                <a:gd name="T60" fmla="*/ 3152 w 5010"/>
                <a:gd name="T61" fmla="*/ 585 h 1365"/>
                <a:gd name="T62" fmla="*/ 732 w 5010"/>
                <a:gd name="T63" fmla="*/ 561 h 1365"/>
                <a:gd name="T64" fmla="*/ 3445 w 5010"/>
                <a:gd name="T65" fmla="*/ 544 h 1365"/>
                <a:gd name="T66" fmla="*/ 2076 w 5010"/>
                <a:gd name="T67" fmla="*/ 521 h 1365"/>
                <a:gd name="T68" fmla="*/ 3955 w 5010"/>
                <a:gd name="T69" fmla="*/ 522 h 1365"/>
                <a:gd name="T70" fmla="*/ 2756 w 5010"/>
                <a:gd name="T71" fmla="*/ 511 h 1365"/>
                <a:gd name="T72" fmla="*/ 343 w 5010"/>
                <a:gd name="T73" fmla="*/ 486 h 1365"/>
                <a:gd name="T74" fmla="*/ 2786 w 5010"/>
                <a:gd name="T75" fmla="*/ 459 h 1365"/>
                <a:gd name="T76" fmla="*/ 491 w 5010"/>
                <a:gd name="T77" fmla="*/ 447 h 1365"/>
                <a:gd name="T78" fmla="*/ 2540 w 5010"/>
                <a:gd name="T79" fmla="*/ 430 h 1365"/>
                <a:gd name="T80" fmla="*/ 447 w 5010"/>
                <a:gd name="T81" fmla="*/ 429 h 1365"/>
                <a:gd name="T82" fmla="*/ 2783 w 5010"/>
                <a:gd name="T83" fmla="*/ 421 h 1365"/>
                <a:gd name="T84" fmla="*/ 515 w 5010"/>
                <a:gd name="T85" fmla="*/ 398 h 1365"/>
                <a:gd name="T86" fmla="*/ 2539 w 5010"/>
                <a:gd name="T87" fmla="*/ 373 h 1365"/>
                <a:gd name="T88" fmla="*/ 453 w 5010"/>
                <a:gd name="T89" fmla="*/ 359 h 1365"/>
                <a:gd name="T90" fmla="*/ 2707 w 5010"/>
                <a:gd name="T91" fmla="*/ 343 h 1365"/>
                <a:gd name="T92" fmla="*/ 478 w 5010"/>
                <a:gd name="T93" fmla="*/ 343 h 1365"/>
                <a:gd name="T94" fmla="*/ 2972 w 5010"/>
                <a:gd name="T95" fmla="*/ 334 h 1365"/>
                <a:gd name="T96" fmla="*/ 776 w 5010"/>
                <a:gd name="T97" fmla="*/ 311 h 1365"/>
                <a:gd name="T98" fmla="*/ 3391 w 5010"/>
                <a:gd name="T99" fmla="*/ 280 h 1365"/>
                <a:gd name="T100" fmla="*/ 1563 w 5010"/>
                <a:gd name="T101" fmla="*/ 265 h 1365"/>
                <a:gd name="T102" fmla="*/ 3544 w 5010"/>
                <a:gd name="T103" fmla="*/ 251 h 1365"/>
                <a:gd name="T104" fmla="*/ 1320 w 5010"/>
                <a:gd name="T105" fmla="*/ 250 h 1365"/>
                <a:gd name="T106" fmla="*/ 3443 w 5010"/>
                <a:gd name="T107" fmla="*/ 242 h 1365"/>
                <a:gd name="T108" fmla="*/ 832 w 5010"/>
                <a:gd name="T109" fmla="*/ 223 h 1365"/>
                <a:gd name="T110" fmla="*/ 3012 w 5010"/>
                <a:gd name="T111" fmla="*/ 194 h 1365"/>
                <a:gd name="T112" fmla="*/ 679 w 5010"/>
                <a:gd name="T113" fmla="*/ 186 h 1365"/>
                <a:gd name="T114" fmla="*/ 2663 w 5010"/>
                <a:gd name="T115" fmla="*/ 168 h 1365"/>
                <a:gd name="T116" fmla="*/ 3808 w 5010"/>
                <a:gd name="T117" fmla="*/ 168 h 1365"/>
                <a:gd name="T118" fmla="*/ 2757 w 5010"/>
                <a:gd name="T119" fmla="*/ 159 h 1365"/>
                <a:gd name="T120" fmla="*/ 1289 w 5010"/>
                <a:gd name="T121" fmla="*/ 135 h 1365"/>
                <a:gd name="T122" fmla="*/ 1773 w 5010"/>
                <a:gd name="T123" fmla="*/ 89 h 1365"/>
                <a:gd name="T124" fmla="*/ 1436 w 5010"/>
                <a:gd name="T125" fmla="*/ 33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10" h="1365">
                  <a:moveTo>
                    <a:pt x="4603" y="1364"/>
                  </a:moveTo>
                  <a:cubicBezTo>
                    <a:pt x="4601" y="1364"/>
                    <a:pt x="4599" y="1365"/>
                    <a:pt x="4597" y="1365"/>
                  </a:cubicBezTo>
                  <a:cubicBezTo>
                    <a:pt x="4609" y="1365"/>
                    <a:pt x="4609" y="1365"/>
                    <a:pt x="4609" y="1365"/>
                  </a:cubicBezTo>
                  <a:cubicBezTo>
                    <a:pt x="4607" y="1365"/>
                    <a:pt x="4605" y="1364"/>
                    <a:pt x="4603" y="1364"/>
                  </a:cubicBezTo>
                  <a:cubicBezTo>
                    <a:pt x="4603" y="1364"/>
                    <a:pt x="4603" y="1364"/>
                    <a:pt x="4603" y="1364"/>
                  </a:cubicBezTo>
                  <a:moveTo>
                    <a:pt x="4653" y="1364"/>
                  </a:moveTo>
                  <a:cubicBezTo>
                    <a:pt x="4651" y="1364"/>
                    <a:pt x="4649" y="1365"/>
                    <a:pt x="4647" y="1365"/>
                  </a:cubicBezTo>
                  <a:cubicBezTo>
                    <a:pt x="4659" y="1365"/>
                    <a:pt x="4659" y="1365"/>
                    <a:pt x="4659" y="1365"/>
                  </a:cubicBezTo>
                  <a:cubicBezTo>
                    <a:pt x="4657" y="1365"/>
                    <a:pt x="4655" y="1364"/>
                    <a:pt x="4653" y="1364"/>
                  </a:cubicBezTo>
                  <a:cubicBezTo>
                    <a:pt x="4653" y="1364"/>
                    <a:pt x="4653" y="1364"/>
                    <a:pt x="4653" y="1364"/>
                  </a:cubicBezTo>
                  <a:moveTo>
                    <a:pt x="4700" y="1364"/>
                  </a:moveTo>
                  <a:cubicBezTo>
                    <a:pt x="4698" y="1364"/>
                    <a:pt x="4696" y="1364"/>
                    <a:pt x="4694" y="1365"/>
                  </a:cubicBezTo>
                  <a:cubicBezTo>
                    <a:pt x="4707" y="1365"/>
                    <a:pt x="4707" y="1365"/>
                    <a:pt x="4707" y="1365"/>
                  </a:cubicBezTo>
                  <a:cubicBezTo>
                    <a:pt x="4704" y="1364"/>
                    <a:pt x="4702" y="1364"/>
                    <a:pt x="4700" y="1364"/>
                  </a:cubicBezTo>
                  <a:cubicBezTo>
                    <a:pt x="4700" y="1364"/>
                    <a:pt x="4700" y="1364"/>
                    <a:pt x="4700" y="1364"/>
                  </a:cubicBezTo>
                  <a:moveTo>
                    <a:pt x="4747" y="1364"/>
                  </a:moveTo>
                  <a:cubicBezTo>
                    <a:pt x="4745" y="1364"/>
                    <a:pt x="4743" y="1364"/>
                    <a:pt x="4741" y="1365"/>
                  </a:cubicBezTo>
                  <a:cubicBezTo>
                    <a:pt x="4754" y="1365"/>
                    <a:pt x="4754" y="1365"/>
                    <a:pt x="4754" y="1365"/>
                  </a:cubicBezTo>
                  <a:cubicBezTo>
                    <a:pt x="4752" y="1364"/>
                    <a:pt x="4749" y="1364"/>
                    <a:pt x="4747" y="1364"/>
                  </a:cubicBezTo>
                  <a:cubicBezTo>
                    <a:pt x="4747" y="1364"/>
                    <a:pt x="4747" y="1364"/>
                    <a:pt x="4747" y="1364"/>
                  </a:cubicBezTo>
                  <a:moveTo>
                    <a:pt x="4794" y="1364"/>
                  </a:moveTo>
                  <a:cubicBezTo>
                    <a:pt x="4792" y="1364"/>
                    <a:pt x="4790" y="1364"/>
                    <a:pt x="4788" y="1365"/>
                  </a:cubicBezTo>
                  <a:cubicBezTo>
                    <a:pt x="4802" y="1365"/>
                    <a:pt x="4802" y="1365"/>
                    <a:pt x="4802" y="1365"/>
                  </a:cubicBezTo>
                  <a:cubicBezTo>
                    <a:pt x="4800" y="1364"/>
                    <a:pt x="4797" y="1364"/>
                    <a:pt x="4795" y="1364"/>
                  </a:cubicBezTo>
                  <a:cubicBezTo>
                    <a:pt x="4795" y="1364"/>
                    <a:pt x="4794" y="1364"/>
                    <a:pt x="4794" y="1364"/>
                  </a:cubicBezTo>
                  <a:moveTo>
                    <a:pt x="4842" y="1364"/>
                  </a:moveTo>
                  <a:cubicBezTo>
                    <a:pt x="4840" y="1364"/>
                    <a:pt x="4838" y="1364"/>
                    <a:pt x="4836" y="1365"/>
                  </a:cubicBezTo>
                  <a:cubicBezTo>
                    <a:pt x="4851" y="1365"/>
                    <a:pt x="4851" y="1365"/>
                    <a:pt x="4851" y="1365"/>
                  </a:cubicBezTo>
                  <a:cubicBezTo>
                    <a:pt x="4848" y="1364"/>
                    <a:pt x="4845" y="1364"/>
                    <a:pt x="4842" y="1364"/>
                  </a:cubicBezTo>
                  <a:cubicBezTo>
                    <a:pt x="4842" y="1364"/>
                    <a:pt x="4842" y="1364"/>
                    <a:pt x="4842" y="1364"/>
                  </a:cubicBezTo>
                  <a:moveTo>
                    <a:pt x="4988" y="1364"/>
                  </a:moveTo>
                  <a:cubicBezTo>
                    <a:pt x="4985" y="1364"/>
                    <a:pt x="4983" y="1364"/>
                    <a:pt x="4981" y="1365"/>
                  </a:cubicBezTo>
                  <a:cubicBezTo>
                    <a:pt x="4997" y="1365"/>
                    <a:pt x="4997" y="1365"/>
                    <a:pt x="4997" y="1365"/>
                  </a:cubicBezTo>
                  <a:cubicBezTo>
                    <a:pt x="4994" y="1364"/>
                    <a:pt x="4991" y="1364"/>
                    <a:pt x="4988" y="1364"/>
                  </a:cubicBezTo>
                  <a:cubicBezTo>
                    <a:pt x="4988" y="1364"/>
                    <a:pt x="4988" y="1364"/>
                    <a:pt x="4988" y="1364"/>
                  </a:cubicBezTo>
                  <a:moveTo>
                    <a:pt x="254" y="1343"/>
                  </a:moveTo>
                  <a:cubicBezTo>
                    <a:pt x="245" y="1343"/>
                    <a:pt x="234" y="1348"/>
                    <a:pt x="230" y="1353"/>
                  </a:cubicBezTo>
                  <a:cubicBezTo>
                    <a:pt x="226" y="1359"/>
                    <a:pt x="230" y="1363"/>
                    <a:pt x="240" y="1363"/>
                  </a:cubicBezTo>
                  <a:cubicBezTo>
                    <a:pt x="249" y="1363"/>
                    <a:pt x="259" y="1359"/>
                    <a:pt x="263" y="1353"/>
                  </a:cubicBezTo>
                  <a:cubicBezTo>
                    <a:pt x="267" y="1348"/>
                    <a:pt x="263" y="1343"/>
                    <a:pt x="254" y="1343"/>
                  </a:cubicBezTo>
                  <a:cubicBezTo>
                    <a:pt x="254" y="1343"/>
                    <a:pt x="254" y="1343"/>
                    <a:pt x="254" y="1343"/>
                  </a:cubicBezTo>
                  <a:moveTo>
                    <a:pt x="301" y="1343"/>
                  </a:moveTo>
                  <a:cubicBezTo>
                    <a:pt x="291" y="1343"/>
                    <a:pt x="281" y="1348"/>
                    <a:pt x="277" y="1353"/>
                  </a:cubicBezTo>
                  <a:cubicBezTo>
                    <a:pt x="273" y="1359"/>
                    <a:pt x="278" y="1363"/>
                    <a:pt x="287" y="1363"/>
                  </a:cubicBezTo>
                  <a:cubicBezTo>
                    <a:pt x="296" y="1363"/>
                    <a:pt x="306" y="1359"/>
                    <a:pt x="310" y="1353"/>
                  </a:cubicBezTo>
                  <a:cubicBezTo>
                    <a:pt x="314" y="1348"/>
                    <a:pt x="310" y="1343"/>
                    <a:pt x="301" y="1343"/>
                  </a:cubicBezTo>
                  <a:cubicBezTo>
                    <a:pt x="301" y="1343"/>
                    <a:pt x="301" y="1343"/>
                    <a:pt x="301" y="1343"/>
                  </a:cubicBezTo>
                  <a:moveTo>
                    <a:pt x="348" y="1343"/>
                  </a:moveTo>
                  <a:cubicBezTo>
                    <a:pt x="339" y="1343"/>
                    <a:pt x="328" y="1348"/>
                    <a:pt x="324" y="1353"/>
                  </a:cubicBezTo>
                  <a:cubicBezTo>
                    <a:pt x="321" y="1359"/>
                    <a:pt x="325" y="1363"/>
                    <a:pt x="334" y="1363"/>
                  </a:cubicBezTo>
                  <a:cubicBezTo>
                    <a:pt x="343" y="1363"/>
                    <a:pt x="354" y="1359"/>
                    <a:pt x="358" y="1353"/>
                  </a:cubicBezTo>
                  <a:cubicBezTo>
                    <a:pt x="361" y="1348"/>
                    <a:pt x="357" y="1343"/>
                    <a:pt x="348" y="1343"/>
                  </a:cubicBezTo>
                  <a:cubicBezTo>
                    <a:pt x="348" y="1343"/>
                    <a:pt x="348" y="1343"/>
                    <a:pt x="348" y="1343"/>
                  </a:cubicBezTo>
                  <a:moveTo>
                    <a:pt x="396" y="1343"/>
                  </a:moveTo>
                  <a:cubicBezTo>
                    <a:pt x="387" y="1343"/>
                    <a:pt x="377" y="1347"/>
                    <a:pt x="373" y="1353"/>
                  </a:cubicBezTo>
                  <a:cubicBezTo>
                    <a:pt x="370" y="1359"/>
                    <a:pt x="374" y="1363"/>
                    <a:pt x="383" y="1363"/>
                  </a:cubicBezTo>
                  <a:cubicBezTo>
                    <a:pt x="392" y="1363"/>
                    <a:pt x="403" y="1359"/>
                    <a:pt x="406" y="1353"/>
                  </a:cubicBezTo>
                  <a:cubicBezTo>
                    <a:pt x="410" y="1347"/>
                    <a:pt x="405" y="1343"/>
                    <a:pt x="396" y="1343"/>
                  </a:cubicBezTo>
                  <a:cubicBezTo>
                    <a:pt x="396" y="1343"/>
                    <a:pt x="396" y="1343"/>
                    <a:pt x="396" y="1343"/>
                  </a:cubicBezTo>
                  <a:moveTo>
                    <a:pt x="443" y="1343"/>
                  </a:moveTo>
                  <a:cubicBezTo>
                    <a:pt x="434" y="1343"/>
                    <a:pt x="424" y="1347"/>
                    <a:pt x="420" y="1353"/>
                  </a:cubicBezTo>
                  <a:cubicBezTo>
                    <a:pt x="417" y="1359"/>
                    <a:pt x="421" y="1363"/>
                    <a:pt x="430" y="1363"/>
                  </a:cubicBezTo>
                  <a:cubicBezTo>
                    <a:pt x="439" y="1363"/>
                    <a:pt x="450" y="1359"/>
                    <a:pt x="453" y="1353"/>
                  </a:cubicBezTo>
                  <a:cubicBezTo>
                    <a:pt x="457" y="1347"/>
                    <a:pt x="452" y="1343"/>
                    <a:pt x="443" y="1343"/>
                  </a:cubicBezTo>
                  <a:cubicBezTo>
                    <a:pt x="443" y="1343"/>
                    <a:pt x="443" y="1343"/>
                    <a:pt x="443" y="1343"/>
                  </a:cubicBezTo>
                  <a:moveTo>
                    <a:pt x="490" y="1343"/>
                  </a:moveTo>
                  <a:cubicBezTo>
                    <a:pt x="481" y="1343"/>
                    <a:pt x="471" y="1347"/>
                    <a:pt x="468" y="1353"/>
                  </a:cubicBezTo>
                  <a:cubicBezTo>
                    <a:pt x="464" y="1358"/>
                    <a:pt x="469" y="1363"/>
                    <a:pt x="478" y="1363"/>
                  </a:cubicBezTo>
                  <a:cubicBezTo>
                    <a:pt x="487" y="1363"/>
                    <a:pt x="497" y="1358"/>
                    <a:pt x="501" y="1353"/>
                  </a:cubicBezTo>
                  <a:cubicBezTo>
                    <a:pt x="504" y="1347"/>
                    <a:pt x="500" y="1343"/>
                    <a:pt x="490" y="1343"/>
                  </a:cubicBezTo>
                  <a:cubicBezTo>
                    <a:pt x="490" y="1343"/>
                    <a:pt x="490" y="1343"/>
                    <a:pt x="490" y="1343"/>
                  </a:cubicBezTo>
                  <a:moveTo>
                    <a:pt x="538" y="1343"/>
                  </a:moveTo>
                  <a:cubicBezTo>
                    <a:pt x="529" y="1343"/>
                    <a:pt x="519" y="1347"/>
                    <a:pt x="515" y="1353"/>
                  </a:cubicBezTo>
                  <a:cubicBezTo>
                    <a:pt x="512" y="1358"/>
                    <a:pt x="517" y="1363"/>
                    <a:pt x="526" y="1363"/>
                  </a:cubicBezTo>
                  <a:cubicBezTo>
                    <a:pt x="535" y="1363"/>
                    <a:pt x="545" y="1358"/>
                    <a:pt x="548" y="1353"/>
                  </a:cubicBezTo>
                  <a:cubicBezTo>
                    <a:pt x="552" y="1347"/>
                    <a:pt x="547" y="1343"/>
                    <a:pt x="538" y="1343"/>
                  </a:cubicBezTo>
                  <a:cubicBezTo>
                    <a:pt x="538" y="1343"/>
                    <a:pt x="538" y="1343"/>
                    <a:pt x="538" y="1343"/>
                  </a:cubicBezTo>
                  <a:moveTo>
                    <a:pt x="585" y="1342"/>
                  </a:moveTo>
                  <a:cubicBezTo>
                    <a:pt x="576" y="1343"/>
                    <a:pt x="566" y="1347"/>
                    <a:pt x="562" y="1353"/>
                  </a:cubicBezTo>
                  <a:cubicBezTo>
                    <a:pt x="559" y="1358"/>
                    <a:pt x="564" y="1363"/>
                    <a:pt x="573" y="1363"/>
                  </a:cubicBezTo>
                  <a:cubicBezTo>
                    <a:pt x="582" y="1363"/>
                    <a:pt x="592" y="1358"/>
                    <a:pt x="595" y="1353"/>
                  </a:cubicBezTo>
                  <a:cubicBezTo>
                    <a:pt x="599" y="1347"/>
                    <a:pt x="594" y="1342"/>
                    <a:pt x="585" y="1342"/>
                  </a:cubicBezTo>
                  <a:cubicBezTo>
                    <a:pt x="585" y="1342"/>
                    <a:pt x="585" y="1342"/>
                    <a:pt x="585" y="1342"/>
                  </a:cubicBezTo>
                  <a:moveTo>
                    <a:pt x="632" y="1342"/>
                  </a:moveTo>
                  <a:cubicBezTo>
                    <a:pt x="623" y="1342"/>
                    <a:pt x="613" y="1347"/>
                    <a:pt x="610" y="1353"/>
                  </a:cubicBezTo>
                  <a:cubicBezTo>
                    <a:pt x="606" y="1358"/>
                    <a:pt x="611" y="1363"/>
                    <a:pt x="620" y="1363"/>
                  </a:cubicBezTo>
                  <a:cubicBezTo>
                    <a:pt x="629" y="1363"/>
                    <a:pt x="639" y="1358"/>
                    <a:pt x="643" y="1353"/>
                  </a:cubicBezTo>
                  <a:cubicBezTo>
                    <a:pt x="646" y="1347"/>
                    <a:pt x="641" y="1342"/>
                    <a:pt x="632" y="1342"/>
                  </a:cubicBezTo>
                  <a:cubicBezTo>
                    <a:pt x="632" y="1342"/>
                    <a:pt x="632" y="1342"/>
                    <a:pt x="632" y="1342"/>
                  </a:cubicBezTo>
                  <a:moveTo>
                    <a:pt x="679" y="1342"/>
                  </a:moveTo>
                  <a:cubicBezTo>
                    <a:pt x="670" y="1342"/>
                    <a:pt x="660" y="1347"/>
                    <a:pt x="657" y="1352"/>
                  </a:cubicBezTo>
                  <a:cubicBezTo>
                    <a:pt x="653" y="1358"/>
                    <a:pt x="658" y="1363"/>
                    <a:pt x="667" y="1363"/>
                  </a:cubicBezTo>
                  <a:cubicBezTo>
                    <a:pt x="677" y="1363"/>
                    <a:pt x="687" y="1358"/>
                    <a:pt x="690" y="1352"/>
                  </a:cubicBezTo>
                  <a:cubicBezTo>
                    <a:pt x="693" y="1347"/>
                    <a:pt x="688" y="1342"/>
                    <a:pt x="679" y="1342"/>
                  </a:cubicBezTo>
                  <a:cubicBezTo>
                    <a:pt x="679" y="1342"/>
                    <a:pt x="679" y="1342"/>
                    <a:pt x="679" y="1342"/>
                  </a:cubicBezTo>
                  <a:moveTo>
                    <a:pt x="726" y="1342"/>
                  </a:moveTo>
                  <a:cubicBezTo>
                    <a:pt x="717" y="1342"/>
                    <a:pt x="707" y="1347"/>
                    <a:pt x="704" y="1352"/>
                  </a:cubicBezTo>
                  <a:cubicBezTo>
                    <a:pt x="701" y="1358"/>
                    <a:pt x="706" y="1363"/>
                    <a:pt x="715" y="1363"/>
                  </a:cubicBezTo>
                  <a:cubicBezTo>
                    <a:pt x="724" y="1363"/>
                    <a:pt x="734" y="1358"/>
                    <a:pt x="737" y="1352"/>
                  </a:cubicBezTo>
                  <a:cubicBezTo>
                    <a:pt x="740" y="1347"/>
                    <a:pt x="735" y="1342"/>
                    <a:pt x="726" y="1342"/>
                  </a:cubicBezTo>
                  <a:cubicBezTo>
                    <a:pt x="726" y="1342"/>
                    <a:pt x="726" y="1342"/>
                    <a:pt x="726" y="1342"/>
                  </a:cubicBezTo>
                  <a:moveTo>
                    <a:pt x="774" y="1342"/>
                  </a:moveTo>
                  <a:cubicBezTo>
                    <a:pt x="765" y="1342"/>
                    <a:pt x="755" y="1347"/>
                    <a:pt x="752" y="1352"/>
                  </a:cubicBezTo>
                  <a:cubicBezTo>
                    <a:pt x="749" y="1358"/>
                    <a:pt x="754" y="1362"/>
                    <a:pt x="763" y="1362"/>
                  </a:cubicBezTo>
                  <a:cubicBezTo>
                    <a:pt x="772" y="1362"/>
                    <a:pt x="782" y="1358"/>
                    <a:pt x="785" y="1352"/>
                  </a:cubicBezTo>
                  <a:cubicBezTo>
                    <a:pt x="788" y="1347"/>
                    <a:pt x="783" y="1342"/>
                    <a:pt x="774" y="1342"/>
                  </a:cubicBezTo>
                  <a:cubicBezTo>
                    <a:pt x="774" y="1342"/>
                    <a:pt x="774" y="1342"/>
                    <a:pt x="774" y="1342"/>
                  </a:cubicBezTo>
                  <a:moveTo>
                    <a:pt x="820" y="1342"/>
                  </a:moveTo>
                  <a:cubicBezTo>
                    <a:pt x="811" y="1342"/>
                    <a:pt x="802" y="1347"/>
                    <a:pt x="799" y="1352"/>
                  </a:cubicBezTo>
                  <a:cubicBezTo>
                    <a:pt x="796" y="1358"/>
                    <a:pt x="801" y="1362"/>
                    <a:pt x="810" y="1362"/>
                  </a:cubicBezTo>
                  <a:cubicBezTo>
                    <a:pt x="819" y="1362"/>
                    <a:pt x="829" y="1358"/>
                    <a:pt x="832" y="1352"/>
                  </a:cubicBezTo>
                  <a:cubicBezTo>
                    <a:pt x="835" y="1347"/>
                    <a:pt x="830" y="1342"/>
                    <a:pt x="821" y="1342"/>
                  </a:cubicBezTo>
                  <a:cubicBezTo>
                    <a:pt x="821" y="1342"/>
                    <a:pt x="821" y="1342"/>
                    <a:pt x="820" y="1342"/>
                  </a:cubicBezTo>
                  <a:moveTo>
                    <a:pt x="868" y="1342"/>
                  </a:moveTo>
                  <a:cubicBezTo>
                    <a:pt x="858" y="1342"/>
                    <a:pt x="849" y="1346"/>
                    <a:pt x="846" y="1352"/>
                  </a:cubicBezTo>
                  <a:cubicBezTo>
                    <a:pt x="843" y="1358"/>
                    <a:pt x="848" y="1362"/>
                    <a:pt x="857" y="1362"/>
                  </a:cubicBezTo>
                  <a:cubicBezTo>
                    <a:pt x="867" y="1362"/>
                    <a:pt x="876" y="1358"/>
                    <a:pt x="879" y="1352"/>
                  </a:cubicBezTo>
                  <a:cubicBezTo>
                    <a:pt x="882" y="1346"/>
                    <a:pt x="877" y="1342"/>
                    <a:pt x="868" y="1342"/>
                  </a:cubicBezTo>
                  <a:cubicBezTo>
                    <a:pt x="868" y="1342"/>
                    <a:pt x="868" y="1342"/>
                    <a:pt x="868" y="1342"/>
                  </a:cubicBezTo>
                  <a:moveTo>
                    <a:pt x="914" y="1342"/>
                  </a:moveTo>
                  <a:cubicBezTo>
                    <a:pt x="905" y="1342"/>
                    <a:pt x="896" y="1346"/>
                    <a:pt x="893" y="1352"/>
                  </a:cubicBezTo>
                  <a:cubicBezTo>
                    <a:pt x="890" y="1358"/>
                    <a:pt x="895" y="1362"/>
                    <a:pt x="905" y="1362"/>
                  </a:cubicBezTo>
                  <a:cubicBezTo>
                    <a:pt x="914" y="1362"/>
                    <a:pt x="923" y="1358"/>
                    <a:pt x="926" y="1352"/>
                  </a:cubicBezTo>
                  <a:cubicBezTo>
                    <a:pt x="929" y="1346"/>
                    <a:pt x="924" y="1342"/>
                    <a:pt x="914" y="1342"/>
                  </a:cubicBezTo>
                  <a:cubicBezTo>
                    <a:pt x="914" y="1342"/>
                    <a:pt x="914" y="1342"/>
                    <a:pt x="914" y="1342"/>
                  </a:cubicBezTo>
                  <a:moveTo>
                    <a:pt x="962" y="1342"/>
                  </a:moveTo>
                  <a:cubicBezTo>
                    <a:pt x="953" y="1342"/>
                    <a:pt x="943" y="1346"/>
                    <a:pt x="940" y="1352"/>
                  </a:cubicBezTo>
                  <a:cubicBezTo>
                    <a:pt x="938" y="1358"/>
                    <a:pt x="943" y="1362"/>
                    <a:pt x="952" y="1362"/>
                  </a:cubicBezTo>
                  <a:cubicBezTo>
                    <a:pt x="961" y="1362"/>
                    <a:pt x="971" y="1357"/>
                    <a:pt x="973" y="1352"/>
                  </a:cubicBezTo>
                  <a:cubicBezTo>
                    <a:pt x="976" y="1346"/>
                    <a:pt x="971" y="1342"/>
                    <a:pt x="962" y="1342"/>
                  </a:cubicBezTo>
                  <a:cubicBezTo>
                    <a:pt x="962" y="1342"/>
                    <a:pt x="962" y="1342"/>
                    <a:pt x="962" y="1342"/>
                  </a:cubicBezTo>
                  <a:moveTo>
                    <a:pt x="1009" y="1342"/>
                  </a:moveTo>
                  <a:cubicBezTo>
                    <a:pt x="1000" y="1342"/>
                    <a:pt x="991" y="1346"/>
                    <a:pt x="988" y="1352"/>
                  </a:cubicBezTo>
                  <a:cubicBezTo>
                    <a:pt x="985" y="1357"/>
                    <a:pt x="991" y="1362"/>
                    <a:pt x="1000" y="1362"/>
                  </a:cubicBezTo>
                  <a:cubicBezTo>
                    <a:pt x="1009" y="1362"/>
                    <a:pt x="1019" y="1357"/>
                    <a:pt x="1021" y="1352"/>
                  </a:cubicBezTo>
                  <a:cubicBezTo>
                    <a:pt x="1024" y="1346"/>
                    <a:pt x="1018" y="1342"/>
                    <a:pt x="1009" y="1342"/>
                  </a:cubicBezTo>
                  <a:cubicBezTo>
                    <a:pt x="1009" y="1342"/>
                    <a:pt x="1009" y="1342"/>
                    <a:pt x="1009" y="1342"/>
                  </a:cubicBezTo>
                  <a:moveTo>
                    <a:pt x="2185" y="1340"/>
                  </a:moveTo>
                  <a:cubicBezTo>
                    <a:pt x="2176" y="1340"/>
                    <a:pt x="2168" y="1345"/>
                    <a:pt x="2167" y="1351"/>
                  </a:cubicBezTo>
                  <a:cubicBezTo>
                    <a:pt x="2167" y="1356"/>
                    <a:pt x="2174" y="1361"/>
                    <a:pt x="2183" y="1361"/>
                  </a:cubicBezTo>
                  <a:cubicBezTo>
                    <a:pt x="2192" y="1361"/>
                    <a:pt x="2200" y="1356"/>
                    <a:pt x="2200" y="1351"/>
                  </a:cubicBezTo>
                  <a:cubicBezTo>
                    <a:pt x="2201" y="1345"/>
                    <a:pt x="2194" y="1340"/>
                    <a:pt x="2185" y="1340"/>
                  </a:cubicBezTo>
                  <a:cubicBezTo>
                    <a:pt x="2185" y="1340"/>
                    <a:pt x="2185" y="1340"/>
                    <a:pt x="2185" y="1340"/>
                  </a:cubicBezTo>
                  <a:moveTo>
                    <a:pt x="2231" y="1340"/>
                  </a:moveTo>
                  <a:cubicBezTo>
                    <a:pt x="2222" y="1340"/>
                    <a:pt x="2215" y="1345"/>
                    <a:pt x="2214" y="1351"/>
                  </a:cubicBezTo>
                  <a:cubicBezTo>
                    <a:pt x="2214" y="1356"/>
                    <a:pt x="2221" y="1361"/>
                    <a:pt x="2230" y="1361"/>
                  </a:cubicBezTo>
                  <a:cubicBezTo>
                    <a:pt x="2239" y="1361"/>
                    <a:pt x="2247" y="1356"/>
                    <a:pt x="2247" y="1350"/>
                  </a:cubicBezTo>
                  <a:cubicBezTo>
                    <a:pt x="2248" y="1345"/>
                    <a:pt x="2241" y="1340"/>
                    <a:pt x="2232" y="1340"/>
                  </a:cubicBezTo>
                  <a:cubicBezTo>
                    <a:pt x="2231" y="1340"/>
                    <a:pt x="2231" y="1340"/>
                    <a:pt x="2231" y="1340"/>
                  </a:cubicBezTo>
                  <a:moveTo>
                    <a:pt x="2279" y="1340"/>
                  </a:moveTo>
                  <a:cubicBezTo>
                    <a:pt x="2270" y="1340"/>
                    <a:pt x="2262" y="1345"/>
                    <a:pt x="2262" y="1350"/>
                  </a:cubicBezTo>
                  <a:cubicBezTo>
                    <a:pt x="2261" y="1356"/>
                    <a:pt x="2268" y="1361"/>
                    <a:pt x="2277" y="1361"/>
                  </a:cubicBezTo>
                  <a:cubicBezTo>
                    <a:pt x="2287" y="1361"/>
                    <a:pt x="2294" y="1356"/>
                    <a:pt x="2295" y="1350"/>
                  </a:cubicBezTo>
                  <a:cubicBezTo>
                    <a:pt x="2295" y="1345"/>
                    <a:pt x="2288" y="1340"/>
                    <a:pt x="2279" y="1340"/>
                  </a:cubicBezTo>
                  <a:cubicBezTo>
                    <a:pt x="2279" y="1340"/>
                    <a:pt x="2279" y="1340"/>
                    <a:pt x="2279" y="1340"/>
                  </a:cubicBezTo>
                  <a:moveTo>
                    <a:pt x="2325" y="1340"/>
                  </a:moveTo>
                  <a:cubicBezTo>
                    <a:pt x="2316" y="1340"/>
                    <a:pt x="2308" y="1345"/>
                    <a:pt x="2308" y="1350"/>
                  </a:cubicBezTo>
                  <a:cubicBezTo>
                    <a:pt x="2308" y="1356"/>
                    <a:pt x="2315" y="1361"/>
                    <a:pt x="2324" y="1361"/>
                  </a:cubicBezTo>
                  <a:cubicBezTo>
                    <a:pt x="2333" y="1361"/>
                    <a:pt x="2341" y="1356"/>
                    <a:pt x="2341" y="1350"/>
                  </a:cubicBezTo>
                  <a:cubicBezTo>
                    <a:pt x="2341" y="1345"/>
                    <a:pt x="2334" y="1340"/>
                    <a:pt x="2325" y="1340"/>
                  </a:cubicBezTo>
                  <a:cubicBezTo>
                    <a:pt x="2325" y="1340"/>
                    <a:pt x="2325" y="1340"/>
                    <a:pt x="2325" y="1340"/>
                  </a:cubicBezTo>
                  <a:moveTo>
                    <a:pt x="2372" y="1340"/>
                  </a:moveTo>
                  <a:cubicBezTo>
                    <a:pt x="2363" y="1340"/>
                    <a:pt x="2355" y="1345"/>
                    <a:pt x="2355" y="1350"/>
                  </a:cubicBezTo>
                  <a:cubicBezTo>
                    <a:pt x="2355" y="1356"/>
                    <a:pt x="2362" y="1360"/>
                    <a:pt x="2371" y="1360"/>
                  </a:cubicBezTo>
                  <a:cubicBezTo>
                    <a:pt x="2380" y="1360"/>
                    <a:pt x="2388" y="1356"/>
                    <a:pt x="2388" y="1350"/>
                  </a:cubicBezTo>
                  <a:cubicBezTo>
                    <a:pt x="2388" y="1345"/>
                    <a:pt x="2381" y="1340"/>
                    <a:pt x="2372" y="1340"/>
                  </a:cubicBezTo>
                  <a:cubicBezTo>
                    <a:pt x="2372" y="1340"/>
                    <a:pt x="2372" y="1340"/>
                    <a:pt x="2372" y="1340"/>
                  </a:cubicBezTo>
                  <a:moveTo>
                    <a:pt x="2419" y="1340"/>
                  </a:moveTo>
                  <a:cubicBezTo>
                    <a:pt x="2410" y="1340"/>
                    <a:pt x="2403" y="1345"/>
                    <a:pt x="2402" y="1350"/>
                  </a:cubicBezTo>
                  <a:cubicBezTo>
                    <a:pt x="2402" y="1356"/>
                    <a:pt x="2410" y="1360"/>
                    <a:pt x="2419" y="1360"/>
                  </a:cubicBezTo>
                  <a:cubicBezTo>
                    <a:pt x="2428" y="1360"/>
                    <a:pt x="2435" y="1356"/>
                    <a:pt x="2435" y="1350"/>
                  </a:cubicBezTo>
                  <a:cubicBezTo>
                    <a:pt x="2435" y="1344"/>
                    <a:pt x="2428" y="1340"/>
                    <a:pt x="2419" y="1340"/>
                  </a:cubicBezTo>
                  <a:cubicBezTo>
                    <a:pt x="2419" y="1340"/>
                    <a:pt x="2419" y="1340"/>
                    <a:pt x="2419" y="1340"/>
                  </a:cubicBezTo>
                  <a:moveTo>
                    <a:pt x="2468" y="1340"/>
                  </a:moveTo>
                  <a:cubicBezTo>
                    <a:pt x="2459" y="1340"/>
                    <a:pt x="2451" y="1344"/>
                    <a:pt x="2451" y="1350"/>
                  </a:cubicBezTo>
                  <a:cubicBezTo>
                    <a:pt x="2451" y="1356"/>
                    <a:pt x="2459" y="1360"/>
                    <a:pt x="2468" y="1360"/>
                  </a:cubicBezTo>
                  <a:cubicBezTo>
                    <a:pt x="2477" y="1360"/>
                    <a:pt x="2484" y="1356"/>
                    <a:pt x="2484" y="1350"/>
                  </a:cubicBezTo>
                  <a:cubicBezTo>
                    <a:pt x="2484" y="1344"/>
                    <a:pt x="2477" y="1340"/>
                    <a:pt x="2468" y="1340"/>
                  </a:cubicBezTo>
                  <a:cubicBezTo>
                    <a:pt x="2468" y="1340"/>
                    <a:pt x="2468" y="1340"/>
                    <a:pt x="2468" y="1340"/>
                  </a:cubicBezTo>
                  <a:moveTo>
                    <a:pt x="2514" y="1340"/>
                  </a:moveTo>
                  <a:cubicBezTo>
                    <a:pt x="2505" y="1340"/>
                    <a:pt x="2498" y="1344"/>
                    <a:pt x="2498" y="1350"/>
                  </a:cubicBezTo>
                  <a:cubicBezTo>
                    <a:pt x="2498" y="1356"/>
                    <a:pt x="2506" y="1360"/>
                    <a:pt x="2515" y="1360"/>
                  </a:cubicBezTo>
                  <a:cubicBezTo>
                    <a:pt x="2524" y="1360"/>
                    <a:pt x="2531" y="1356"/>
                    <a:pt x="2531" y="1350"/>
                  </a:cubicBezTo>
                  <a:cubicBezTo>
                    <a:pt x="2531" y="1344"/>
                    <a:pt x="2524" y="1340"/>
                    <a:pt x="2514" y="1340"/>
                  </a:cubicBezTo>
                  <a:cubicBezTo>
                    <a:pt x="2514" y="1340"/>
                    <a:pt x="2514" y="1340"/>
                    <a:pt x="2514" y="1340"/>
                  </a:cubicBezTo>
                  <a:moveTo>
                    <a:pt x="2562" y="1340"/>
                  </a:moveTo>
                  <a:cubicBezTo>
                    <a:pt x="2553" y="1340"/>
                    <a:pt x="2545" y="1344"/>
                    <a:pt x="2545" y="1350"/>
                  </a:cubicBezTo>
                  <a:cubicBezTo>
                    <a:pt x="2546" y="1356"/>
                    <a:pt x="2553" y="1360"/>
                    <a:pt x="2562" y="1360"/>
                  </a:cubicBezTo>
                  <a:cubicBezTo>
                    <a:pt x="2571" y="1360"/>
                    <a:pt x="2579" y="1355"/>
                    <a:pt x="2578" y="1350"/>
                  </a:cubicBezTo>
                  <a:cubicBezTo>
                    <a:pt x="2578" y="1344"/>
                    <a:pt x="2571" y="1340"/>
                    <a:pt x="2562" y="1340"/>
                  </a:cubicBezTo>
                  <a:cubicBezTo>
                    <a:pt x="2562" y="1340"/>
                    <a:pt x="2562" y="1340"/>
                    <a:pt x="2562" y="1340"/>
                  </a:cubicBezTo>
                  <a:moveTo>
                    <a:pt x="2609" y="1340"/>
                  </a:moveTo>
                  <a:cubicBezTo>
                    <a:pt x="2600" y="1340"/>
                    <a:pt x="2593" y="1344"/>
                    <a:pt x="2593" y="1350"/>
                  </a:cubicBezTo>
                  <a:cubicBezTo>
                    <a:pt x="2593" y="1355"/>
                    <a:pt x="2601" y="1360"/>
                    <a:pt x="2610" y="1360"/>
                  </a:cubicBezTo>
                  <a:cubicBezTo>
                    <a:pt x="2619" y="1360"/>
                    <a:pt x="2626" y="1355"/>
                    <a:pt x="2626" y="1350"/>
                  </a:cubicBezTo>
                  <a:cubicBezTo>
                    <a:pt x="2626" y="1344"/>
                    <a:pt x="2618" y="1340"/>
                    <a:pt x="2609" y="1340"/>
                  </a:cubicBezTo>
                  <a:cubicBezTo>
                    <a:pt x="2609" y="1340"/>
                    <a:pt x="2609" y="1340"/>
                    <a:pt x="2609" y="1340"/>
                  </a:cubicBezTo>
                  <a:moveTo>
                    <a:pt x="2656" y="1339"/>
                  </a:moveTo>
                  <a:cubicBezTo>
                    <a:pt x="2647" y="1339"/>
                    <a:pt x="2640" y="1344"/>
                    <a:pt x="2640" y="1350"/>
                  </a:cubicBezTo>
                  <a:cubicBezTo>
                    <a:pt x="2640" y="1355"/>
                    <a:pt x="2648" y="1360"/>
                    <a:pt x="2657" y="1360"/>
                  </a:cubicBezTo>
                  <a:cubicBezTo>
                    <a:pt x="2666" y="1360"/>
                    <a:pt x="2674" y="1355"/>
                    <a:pt x="2673" y="1350"/>
                  </a:cubicBezTo>
                  <a:cubicBezTo>
                    <a:pt x="2673" y="1344"/>
                    <a:pt x="2665" y="1339"/>
                    <a:pt x="2656" y="1339"/>
                  </a:cubicBezTo>
                  <a:cubicBezTo>
                    <a:pt x="2656" y="1339"/>
                    <a:pt x="2656" y="1339"/>
                    <a:pt x="2656" y="1339"/>
                  </a:cubicBezTo>
                  <a:moveTo>
                    <a:pt x="2704" y="1339"/>
                  </a:moveTo>
                  <a:cubicBezTo>
                    <a:pt x="2694" y="1339"/>
                    <a:pt x="2687" y="1344"/>
                    <a:pt x="2688" y="1350"/>
                  </a:cubicBezTo>
                  <a:cubicBezTo>
                    <a:pt x="2688" y="1355"/>
                    <a:pt x="2696" y="1360"/>
                    <a:pt x="2705" y="1360"/>
                  </a:cubicBezTo>
                  <a:cubicBezTo>
                    <a:pt x="2714" y="1360"/>
                    <a:pt x="2721" y="1355"/>
                    <a:pt x="2721" y="1350"/>
                  </a:cubicBezTo>
                  <a:cubicBezTo>
                    <a:pt x="2720" y="1344"/>
                    <a:pt x="2713" y="1339"/>
                    <a:pt x="2704" y="1339"/>
                  </a:cubicBezTo>
                  <a:cubicBezTo>
                    <a:pt x="2704" y="1339"/>
                    <a:pt x="2704" y="1339"/>
                    <a:pt x="2704" y="1339"/>
                  </a:cubicBezTo>
                  <a:moveTo>
                    <a:pt x="2749" y="1339"/>
                  </a:moveTo>
                  <a:cubicBezTo>
                    <a:pt x="2740" y="1339"/>
                    <a:pt x="2733" y="1344"/>
                    <a:pt x="2733" y="1349"/>
                  </a:cubicBezTo>
                  <a:cubicBezTo>
                    <a:pt x="2734" y="1355"/>
                    <a:pt x="2742" y="1360"/>
                    <a:pt x="2751" y="1360"/>
                  </a:cubicBezTo>
                  <a:cubicBezTo>
                    <a:pt x="2760" y="1360"/>
                    <a:pt x="2767" y="1355"/>
                    <a:pt x="2766" y="1349"/>
                  </a:cubicBezTo>
                  <a:cubicBezTo>
                    <a:pt x="2766" y="1344"/>
                    <a:pt x="2758" y="1339"/>
                    <a:pt x="2749" y="1339"/>
                  </a:cubicBezTo>
                  <a:cubicBezTo>
                    <a:pt x="2749" y="1339"/>
                    <a:pt x="2749" y="1339"/>
                    <a:pt x="2749" y="1339"/>
                  </a:cubicBezTo>
                  <a:moveTo>
                    <a:pt x="2939" y="1339"/>
                  </a:moveTo>
                  <a:cubicBezTo>
                    <a:pt x="2930" y="1339"/>
                    <a:pt x="2923" y="1343"/>
                    <a:pt x="2924" y="1349"/>
                  </a:cubicBezTo>
                  <a:cubicBezTo>
                    <a:pt x="2925" y="1355"/>
                    <a:pt x="2933" y="1359"/>
                    <a:pt x="2942" y="1359"/>
                  </a:cubicBezTo>
                  <a:cubicBezTo>
                    <a:pt x="2951" y="1359"/>
                    <a:pt x="2958" y="1355"/>
                    <a:pt x="2957" y="1349"/>
                  </a:cubicBezTo>
                  <a:cubicBezTo>
                    <a:pt x="2956" y="1343"/>
                    <a:pt x="2948" y="1339"/>
                    <a:pt x="2939" y="1339"/>
                  </a:cubicBezTo>
                  <a:cubicBezTo>
                    <a:pt x="2939" y="1339"/>
                    <a:pt x="2939" y="1339"/>
                    <a:pt x="2939" y="1339"/>
                  </a:cubicBezTo>
                  <a:moveTo>
                    <a:pt x="4632" y="1333"/>
                  </a:moveTo>
                  <a:cubicBezTo>
                    <a:pt x="4623" y="1333"/>
                    <a:pt x="4619" y="1338"/>
                    <a:pt x="4622" y="1344"/>
                  </a:cubicBezTo>
                  <a:cubicBezTo>
                    <a:pt x="4626" y="1349"/>
                    <a:pt x="4637" y="1354"/>
                    <a:pt x="4646" y="1354"/>
                  </a:cubicBezTo>
                  <a:cubicBezTo>
                    <a:pt x="4655" y="1354"/>
                    <a:pt x="4659" y="1349"/>
                    <a:pt x="4655" y="1343"/>
                  </a:cubicBezTo>
                  <a:cubicBezTo>
                    <a:pt x="4651" y="1338"/>
                    <a:pt x="4641" y="1333"/>
                    <a:pt x="4632" y="1333"/>
                  </a:cubicBezTo>
                  <a:cubicBezTo>
                    <a:pt x="4632" y="1333"/>
                    <a:pt x="4632" y="1333"/>
                    <a:pt x="4632" y="1333"/>
                  </a:cubicBezTo>
                  <a:moveTo>
                    <a:pt x="4725" y="1333"/>
                  </a:moveTo>
                  <a:cubicBezTo>
                    <a:pt x="4716" y="1333"/>
                    <a:pt x="4712" y="1338"/>
                    <a:pt x="4716" y="1343"/>
                  </a:cubicBezTo>
                  <a:cubicBezTo>
                    <a:pt x="4720" y="1349"/>
                    <a:pt x="4730" y="1354"/>
                    <a:pt x="4739" y="1354"/>
                  </a:cubicBezTo>
                  <a:cubicBezTo>
                    <a:pt x="4749" y="1354"/>
                    <a:pt x="4753" y="1349"/>
                    <a:pt x="4749" y="1343"/>
                  </a:cubicBezTo>
                  <a:cubicBezTo>
                    <a:pt x="4745" y="1338"/>
                    <a:pt x="4734" y="1333"/>
                    <a:pt x="4725" y="1333"/>
                  </a:cubicBezTo>
                  <a:cubicBezTo>
                    <a:pt x="4725" y="1333"/>
                    <a:pt x="4725" y="1333"/>
                    <a:pt x="4725" y="1333"/>
                  </a:cubicBezTo>
                  <a:moveTo>
                    <a:pt x="4772" y="1333"/>
                  </a:moveTo>
                  <a:cubicBezTo>
                    <a:pt x="4763" y="1333"/>
                    <a:pt x="4759" y="1338"/>
                    <a:pt x="4763" y="1343"/>
                  </a:cubicBezTo>
                  <a:cubicBezTo>
                    <a:pt x="4767" y="1349"/>
                    <a:pt x="4778" y="1354"/>
                    <a:pt x="4787" y="1354"/>
                  </a:cubicBezTo>
                  <a:cubicBezTo>
                    <a:pt x="4796" y="1353"/>
                    <a:pt x="4800" y="1349"/>
                    <a:pt x="4796" y="1343"/>
                  </a:cubicBezTo>
                  <a:cubicBezTo>
                    <a:pt x="4792" y="1338"/>
                    <a:pt x="4781" y="1333"/>
                    <a:pt x="4772" y="1333"/>
                  </a:cubicBezTo>
                  <a:cubicBezTo>
                    <a:pt x="4772" y="1333"/>
                    <a:pt x="4772" y="1333"/>
                    <a:pt x="4772" y="1333"/>
                  </a:cubicBezTo>
                  <a:moveTo>
                    <a:pt x="4964" y="1333"/>
                  </a:moveTo>
                  <a:cubicBezTo>
                    <a:pt x="4955" y="1333"/>
                    <a:pt x="4951" y="1337"/>
                    <a:pt x="4955" y="1343"/>
                  </a:cubicBezTo>
                  <a:cubicBezTo>
                    <a:pt x="4960" y="1349"/>
                    <a:pt x="4971" y="1353"/>
                    <a:pt x="4980" y="1353"/>
                  </a:cubicBezTo>
                  <a:cubicBezTo>
                    <a:pt x="4989" y="1353"/>
                    <a:pt x="4993" y="1348"/>
                    <a:pt x="4988" y="1343"/>
                  </a:cubicBezTo>
                  <a:cubicBezTo>
                    <a:pt x="4984" y="1337"/>
                    <a:pt x="4973" y="1333"/>
                    <a:pt x="4964" y="1333"/>
                  </a:cubicBezTo>
                  <a:cubicBezTo>
                    <a:pt x="4964" y="1333"/>
                    <a:pt x="4964" y="1333"/>
                    <a:pt x="4964" y="1333"/>
                  </a:cubicBezTo>
                  <a:moveTo>
                    <a:pt x="5002" y="1343"/>
                  </a:moveTo>
                  <a:cubicBezTo>
                    <a:pt x="5004" y="1345"/>
                    <a:pt x="5007" y="1347"/>
                    <a:pt x="5010" y="1349"/>
                  </a:cubicBezTo>
                  <a:cubicBezTo>
                    <a:pt x="5010" y="1332"/>
                    <a:pt x="5010" y="1332"/>
                    <a:pt x="5010" y="1332"/>
                  </a:cubicBezTo>
                  <a:cubicBezTo>
                    <a:pt x="5001" y="1332"/>
                    <a:pt x="4997" y="1337"/>
                    <a:pt x="5002" y="1343"/>
                  </a:cubicBezTo>
                  <a:moveTo>
                    <a:pt x="274" y="1314"/>
                  </a:moveTo>
                  <a:cubicBezTo>
                    <a:pt x="265" y="1314"/>
                    <a:pt x="254" y="1318"/>
                    <a:pt x="251" y="1324"/>
                  </a:cubicBezTo>
                  <a:cubicBezTo>
                    <a:pt x="247" y="1330"/>
                    <a:pt x="251" y="1334"/>
                    <a:pt x="260" y="1334"/>
                  </a:cubicBezTo>
                  <a:cubicBezTo>
                    <a:pt x="269" y="1334"/>
                    <a:pt x="279" y="1330"/>
                    <a:pt x="283" y="1324"/>
                  </a:cubicBezTo>
                  <a:cubicBezTo>
                    <a:pt x="287" y="1318"/>
                    <a:pt x="283" y="1314"/>
                    <a:pt x="274" y="1314"/>
                  </a:cubicBezTo>
                  <a:cubicBezTo>
                    <a:pt x="274" y="1314"/>
                    <a:pt x="274" y="1314"/>
                    <a:pt x="274" y="1314"/>
                  </a:cubicBezTo>
                  <a:moveTo>
                    <a:pt x="320" y="1314"/>
                  </a:moveTo>
                  <a:cubicBezTo>
                    <a:pt x="311" y="1314"/>
                    <a:pt x="301" y="1318"/>
                    <a:pt x="297" y="1324"/>
                  </a:cubicBezTo>
                  <a:cubicBezTo>
                    <a:pt x="293" y="1330"/>
                    <a:pt x="298" y="1334"/>
                    <a:pt x="307" y="1334"/>
                  </a:cubicBezTo>
                  <a:cubicBezTo>
                    <a:pt x="316" y="1334"/>
                    <a:pt x="326" y="1330"/>
                    <a:pt x="330" y="1324"/>
                  </a:cubicBezTo>
                  <a:cubicBezTo>
                    <a:pt x="334" y="1318"/>
                    <a:pt x="329" y="1314"/>
                    <a:pt x="320" y="1314"/>
                  </a:cubicBezTo>
                  <a:cubicBezTo>
                    <a:pt x="320" y="1314"/>
                    <a:pt x="320" y="1314"/>
                    <a:pt x="320" y="1314"/>
                  </a:cubicBezTo>
                  <a:moveTo>
                    <a:pt x="367" y="1314"/>
                  </a:moveTo>
                  <a:cubicBezTo>
                    <a:pt x="358" y="1314"/>
                    <a:pt x="348" y="1318"/>
                    <a:pt x="344" y="1324"/>
                  </a:cubicBezTo>
                  <a:cubicBezTo>
                    <a:pt x="340" y="1329"/>
                    <a:pt x="345" y="1334"/>
                    <a:pt x="354" y="1334"/>
                  </a:cubicBezTo>
                  <a:cubicBezTo>
                    <a:pt x="363" y="1334"/>
                    <a:pt x="373" y="1329"/>
                    <a:pt x="377" y="1324"/>
                  </a:cubicBezTo>
                  <a:cubicBezTo>
                    <a:pt x="381" y="1318"/>
                    <a:pt x="376" y="1314"/>
                    <a:pt x="367" y="1314"/>
                  </a:cubicBezTo>
                  <a:cubicBezTo>
                    <a:pt x="367" y="1314"/>
                    <a:pt x="367" y="1314"/>
                    <a:pt x="367" y="1314"/>
                  </a:cubicBezTo>
                  <a:moveTo>
                    <a:pt x="415" y="1314"/>
                  </a:moveTo>
                  <a:cubicBezTo>
                    <a:pt x="406" y="1314"/>
                    <a:pt x="396" y="1318"/>
                    <a:pt x="392" y="1324"/>
                  </a:cubicBezTo>
                  <a:cubicBezTo>
                    <a:pt x="389" y="1329"/>
                    <a:pt x="393" y="1334"/>
                    <a:pt x="402" y="1334"/>
                  </a:cubicBezTo>
                  <a:cubicBezTo>
                    <a:pt x="411" y="1334"/>
                    <a:pt x="422" y="1329"/>
                    <a:pt x="425" y="1324"/>
                  </a:cubicBezTo>
                  <a:cubicBezTo>
                    <a:pt x="429" y="1318"/>
                    <a:pt x="424" y="1314"/>
                    <a:pt x="415" y="1314"/>
                  </a:cubicBezTo>
                  <a:cubicBezTo>
                    <a:pt x="415" y="1314"/>
                    <a:pt x="415" y="1314"/>
                    <a:pt x="415" y="1314"/>
                  </a:cubicBezTo>
                  <a:moveTo>
                    <a:pt x="462" y="1313"/>
                  </a:moveTo>
                  <a:cubicBezTo>
                    <a:pt x="453" y="1313"/>
                    <a:pt x="442" y="1318"/>
                    <a:pt x="439" y="1324"/>
                  </a:cubicBezTo>
                  <a:cubicBezTo>
                    <a:pt x="435" y="1329"/>
                    <a:pt x="440" y="1334"/>
                    <a:pt x="449" y="1334"/>
                  </a:cubicBezTo>
                  <a:cubicBezTo>
                    <a:pt x="458" y="1334"/>
                    <a:pt x="468" y="1329"/>
                    <a:pt x="472" y="1324"/>
                  </a:cubicBezTo>
                  <a:cubicBezTo>
                    <a:pt x="475" y="1318"/>
                    <a:pt x="471" y="1313"/>
                    <a:pt x="462" y="1313"/>
                  </a:cubicBezTo>
                  <a:cubicBezTo>
                    <a:pt x="462" y="1313"/>
                    <a:pt x="462" y="1313"/>
                    <a:pt x="462" y="1313"/>
                  </a:cubicBezTo>
                  <a:moveTo>
                    <a:pt x="509" y="1313"/>
                  </a:moveTo>
                  <a:cubicBezTo>
                    <a:pt x="500" y="1313"/>
                    <a:pt x="489" y="1318"/>
                    <a:pt x="486" y="1324"/>
                  </a:cubicBezTo>
                  <a:cubicBezTo>
                    <a:pt x="482" y="1329"/>
                    <a:pt x="487" y="1334"/>
                    <a:pt x="496" y="1334"/>
                  </a:cubicBezTo>
                  <a:cubicBezTo>
                    <a:pt x="505" y="1334"/>
                    <a:pt x="515" y="1329"/>
                    <a:pt x="519" y="1323"/>
                  </a:cubicBezTo>
                  <a:cubicBezTo>
                    <a:pt x="522" y="1318"/>
                    <a:pt x="518" y="1313"/>
                    <a:pt x="509" y="1313"/>
                  </a:cubicBezTo>
                  <a:cubicBezTo>
                    <a:pt x="509" y="1313"/>
                    <a:pt x="509" y="1313"/>
                    <a:pt x="509" y="1313"/>
                  </a:cubicBezTo>
                  <a:moveTo>
                    <a:pt x="556" y="1313"/>
                  </a:moveTo>
                  <a:cubicBezTo>
                    <a:pt x="547" y="1313"/>
                    <a:pt x="537" y="1318"/>
                    <a:pt x="533" y="1323"/>
                  </a:cubicBezTo>
                  <a:cubicBezTo>
                    <a:pt x="530" y="1329"/>
                    <a:pt x="534" y="1334"/>
                    <a:pt x="544" y="1334"/>
                  </a:cubicBezTo>
                  <a:cubicBezTo>
                    <a:pt x="553" y="1334"/>
                    <a:pt x="563" y="1329"/>
                    <a:pt x="566" y="1323"/>
                  </a:cubicBezTo>
                  <a:cubicBezTo>
                    <a:pt x="569" y="1318"/>
                    <a:pt x="565" y="1313"/>
                    <a:pt x="556" y="1313"/>
                  </a:cubicBezTo>
                  <a:cubicBezTo>
                    <a:pt x="556" y="1313"/>
                    <a:pt x="556" y="1313"/>
                    <a:pt x="556" y="1313"/>
                  </a:cubicBezTo>
                  <a:moveTo>
                    <a:pt x="602" y="1313"/>
                  </a:moveTo>
                  <a:cubicBezTo>
                    <a:pt x="593" y="1313"/>
                    <a:pt x="583" y="1318"/>
                    <a:pt x="580" y="1323"/>
                  </a:cubicBezTo>
                  <a:cubicBezTo>
                    <a:pt x="576" y="1329"/>
                    <a:pt x="581" y="1333"/>
                    <a:pt x="590" y="1333"/>
                  </a:cubicBezTo>
                  <a:cubicBezTo>
                    <a:pt x="599" y="1333"/>
                    <a:pt x="609" y="1329"/>
                    <a:pt x="613" y="1323"/>
                  </a:cubicBezTo>
                  <a:cubicBezTo>
                    <a:pt x="616" y="1318"/>
                    <a:pt x="611" y="1313"/>
                    <a:pt x="602" y="1313"/>
                  </a:cubicBezTo>
                  <a:cubicBezTo>
                    <a:pt x="602" y="1313"/>
                    <a:pt x="602" y="1313"/>
                    <a:pt x="602" y="1313"/>
                  </a:cubicBezTo>
                  <a:moveTo>
                    <a:pt x="649" y="1313"/>
                  </a:moveTo>
                  <a:cubicBezTo>
                    <a:pt x="640" y="1313"/>
                    <a:pt x="630" y="1318"/>
                    <a:pt x="627" y="1323"/>
                  </a:cubicBezTo>
                  <a:cubicBezTo>
                    <a:pt x="623" y="1329"/>
                    <a:pt x="628" y="1333"/>
                    <a:pt x="637" y="1333"/>
                  </a:cubicBezTo>
                  <a:cubicBezTo>
                    <a:pt x="646" y="1333"/>
                    <a:pt x="656" y="1329"/>
                    <a:pt x="659" y="1323"/>
                  </a:cubicBezTo>
                  <a:cubicBezTo>
                    <a:pt x="663" y="1318"/>
                    <a:pt x="658" y="1313"/>
                    <a:pt x="649" y="1313"/>
                  </a:cubicBezTo>
                  <a:cubicBezTo>
                    <a:pt x="649" y="1313"/>
                    <a:pt x="649" y="1313"/>
                    <a:pt x="649" y="1313"/>
                  </a:cubicBezTo>
                  <a:moveTo>
                    <a:pt x="695" y="1313"/>
                  </a:moveTo>
                  <a:cubicBezTo>
                    <a:pt x="686" y="1313"/>
                    <a:pt x="676" y="1318"/>
                    <a:pt x="673" y="1323"/>
                  </a:cubicBezTo>
                  <a:cubicBezTo>
                    <a:pt x="670" y="1329"/>
                    <a:pt x="675" y="1333"/>
                    <a:pt x="684" y="1333"/>
                  </a:cubicBezTo>
                  <a:cubicBezTo>
                    <a:pt x="693" y="1333"/>
                    <a:pt x="703" y="1329"/>
                    <a:pt x="706" y="1323"/>
                  </a:cubicBezTo>
                  <a:cubicBezTo>
                    <a:pt x="709" y="1317"/>
                    <a:pt x="704" y="1313"/>
                    <a:pt x="695" y="1313"/>
                  </a:cubicBezTo>
                  <a:cubicBezTo>
                    <a:pt x="695" y="1313"/>
                    <a:pt x="695" y="1313"/>
                    <a:pt x="695" y="1313"/>
                  </a:cubicBezTo>
                  <a:moveTo>
                    <a:pt x="742" y="1313"/>
                  </a:moveTo>
                  <a:cubicBezTo>
                    <a:pt x="733" y="1313"/>
                    <a:pt x="723" y="1317"/>
                    <a:pt x="720" y="1323"/>
                  </a:cubicBezTo>
                  <a:cubicBezTo>
                    <a:pt x="717" y="1329"/>
                    <a:pt x="722" y="1333"/>
                    <a:pt x="731" y="1333"/>
                  </a:cubicBezTo>
                  <a:cubicBezTo>
                    <a:pt x="740" y="1333"/>
                    <a:pt x="750" y="1329"/>
                    <a:pt x="753" y="1323"/>
                  </a:cubicBezTo>
                  <a:cubicBezTo>
                    <a:pt x="756" y="1317"/>
                    <a:pt x="751" y="1313"/>
                    <a:pt x="742" y="1313"/>
                  </a:cubicBezTo>
                  <a:cubicBezTo>
                    <a:pt x="742" y="1313"/>
                    <a:pt x="742" y="1313"/>
                    <a:pt x="742" y="1313"/>
                  </a:cubicBezTo>
                  <a:moveTo>
                    <a:pt x="789" y="1313"/>
                  </a:moveTo>
                  <a:cubicBezTo>
                    <a:pt x="780" y="1313"/>
                    <a:pt x="770" y="1317"/>
                    <a:pt x="767" y="1323"/>
                  </a:cubicBezTo>
                  <a:cubicBezTo>
                    <a:pt x="764" y="1329"/>
                    <a:pt x="769" y="1333"/>
                    <a:pt x="778" y="1333"/>
                  </a:cubicBezTo>
                  <a:cubicBezTo>
                    <a:pt x="788" y="1333"/>
                    <a:pt x="797" y="1328"/>
                    <a:pt x="800" y="1323"/>
                  </a:cubicBezTo>
                  <a:cubicBezTo>
                    <a:pt x="803" y="1317"/>
                    <a:pt x="798" y="1313"/>
                    <a:pt x="789" y="1313"/>
                  </a:cubicBezTo>
                  <a:cubicBezTo>
                    <a:pt x="789" y="1313"/>
                    <a:pt x="789" y="1313"/>
                    <a:pt x="789" y="1313"/>
                  </a:cubicBezTo>
                  <a:moveTo>
                    <a:pt x="836" y="1313"/>
                  </a:moveTo>
                  <a:cubicBezTo>
                    <a:pt x="827" y="1313"/>
                    <a:pt x="817" y="1317"/>
                    <a:pt x="814" y="1323"/>
                  </a:cubicBezTo>
                  <a:cubicBezTo>
                    <a:pt x="811" y="1328"/>
                    <a:pt x="816" y="1333"/>
                    <a:pt x="825" y="1333"/>
                  </a:cubicBezTo>
                  <a:cubicBezTo>
                    <a:pt x="834" y="1333"/>
                    <a:pt x="844" y="1328"/>
                    <a:pt x="847" y="1323"/>
                  </a:cubicBezTo>
                  <a:cubicBezTo>
                    <a:pt x="850" y="1317"/>
                    <a:pt x="845" y="1313"/>
                    <a:pt x="836" y="1313"/>
                  </a:cubicBezTo>
                  <a:cubicBezTo>
                    <a:pt x="836" y="1313"/>
                    <a:pt x="836" y="1313"/>
                    <a:pt x="836" y="1313"/>
                  </a:cubicBezTo>
                  <a:moveTo>
                    <a:pt x="882" y="1313"/>
                  </a:moveTo>
                  <a:cubicBezTo>
                    <a:pt x="873" y="1313"/>
                    <a:pt x="864" y="1317"/>
                    <a:pt x="861" y="1323"/>
                  </a:cubicBezTo>
                  <a:cubicBezTo>
                    <a:pt x="858" y="1328"/>
                    <a:pt x="863" y="1333"/>
                    <a:pt x="872" y="1333"/>
                  </a:cubicBezTo>
                  <a:cubicBezTo>
                    <a:pt x="881" y="1333"/>
                    <a:pt x="891" y="1328"/>
                    <a:pt x="894" y="1323"/>
                  </a:cubicBezTo>
                  <a:cubicBezTo>
                    <a:pt x="896" y="1317"/>
                    <a:pt x="891" y="1313"/>
                    <a:pt x="882" y="1313"/>
                  </a:cubicBezTo>
                  <a:cubicBezTo>
                    <a:pt x="882" y="1313"/>
                    <a:pt x="882" y="1313"/>
                    <a:pt x="882" y="1313"/>
                  </a:cubicBezTo>
                  <a:moveTo>
                    <a:pt x="929" y="1312"/>
                  </a:moveTo>
                  <a:cubicBezTo>
                    <a:pt x="920" y="1312"/>
                    <a:pt x="910" y="1317"/>
                    <a:pt x="907" y="1323"/>
                  </a:cubicBezTo>
                  <a:cubicBezTo>
                    <a:pt x="905" y="1328"/>
                    <a:pt x="910" y="1333"/>
                    <a:pt x="919" y="1333"/>
                  </a:cubicBezTo>
                  <a:cubicBezTo>
                    <a:pt x="928" y="1333"/>
                    <a:pt x="937" y="1328"/>
                    <a:pt x="940" y="1323"/>
                  </a:cubicBezTo>
                  <a:cubicBezTo>
                    <a:pt x="943" y="1317"/>
                    <a:pt x="938" y="1312"/>
                    <a:pt x="929" y="1312"/>
                  </a:cubicBezTo>
                  <a:cubicBezTo>
                    <a:pt x="929" y="1312"/>
                    <a:pt x="929" y="1312"/>
                    <a:pt x="929" y="1312"/>
                  </a:cubicBezTo>
                  <a:moveTo>
                    <a:pt x="2187" y="1312"/>
                  </a:moveTo>
                  <a:cubicBezTo>
                    <a:pt x="2178" y="1312"/>
                    <a:pt x="2170" y="1317"/>
                    <a:pt x="2170" y="1323"/>
                  </a:cubicBezTo>
                  <a:cubicBezTo>
                    <a:pt x="2169" y="1328"/>
                    <a:pt x="2176" y="1333"/>
                    <a:pt x="2185" y="1333"/>
                  </a:cubicBezTo>
                  <a:cubicBezTo>
                    <a:pt x="2194" y="1333"/>
                    <a:pt x="2202" y="1328"/>
                    <a:pt x="2203" y="1323"/>
                  </a:cubicBezTo>
                  <a:cubicBezTo>
                    <a:pt x="2203" y="1317"/>
                    <a:pt x="2196" y="1312"/>
                    <a:pt x="2187" y="1312"/>
                  </a:cubicBezTo>
                  <a:cubicBezTo>
                    <a:pt x="2187" y="1312"/>
                    <a:pt x="2187" y="1312"/>
                    <a:pt x="2187" y="1312"/>
                  </a:cubicBezTo>
                  <a:moveTo>
                    <a:pt x="975" y="1312"/>
                  </a:moveTo>
                  <a:cubicBezTo>
                    <a:pt x="966" y="1312"/>
                    <a:pt x="957" y="1317"/>
                    <a:pt x="954" y="1323"/>
                  </a:cubicBezTo>
                  <a:cubicBezTo>
                    <a:pt x="952" y="1328"/>
                    <a:pt x="957" y="1333"/>
                    <a:pt x="966" y="1333"/>
                  </a:cubicBezTo>
                  <a:cubicBezTo>
                    <a:pt x="975" y="1333"/>
                    <a:pt x="984" y="1328"/>
                    <a:pt x="987" y="1322"/>
                  </a:cubicBezTo>
                  <a:cubicBezTo>
                    <a:pt x="990" y="1317"/>
                    <a:pt x="984" y="1312"/>
                    <a:pt x="975" y="1312"/>
                  </a:cubicBezTo>
                  <a:cubicBezTo>
                    <a:pt x="975" y="1312"/>
                    <a:pt x="975" y="1312"/>
                    <a:pt x="975" y="1312"/>
                  </a:cubicBezTo>
                  <a:moveTo>
                    <a:pt x="2233" y="1312"/>
                  </a:moveTo>
                  <a:cubicBezTo>
                    <a:pt x="2224" y="1312"/>
                    <a:pt x="2217" y="1317"/>
                    <a:pt x="2216" y="1323"/>
                  </a:cubicBezTo>
                  <a:cubicBezTo>
                    <a:pt x="2216" y="1328"/>
                    <a:pt x="2223" y="1333"/>
                    <a:pt x="2232" y="1333"/>
                  </a:cubicBezTo>
                  <a:cubicBezTo>
                    <a:pt x="2241" y="1333"/>
                    <a:pt x="2249" y="1328"/>
                    <a:pt x="2249" y="1323"/>
                  </a:cubicBezTo>
                  <a:cubicBezTo>
                    <a:pt x="2250" y="1317"/>
                    <a:pt x="2243" y="1312"/>
                    <a:pt x="2234" y="1312"/>
                  </a:cubicBezTo>
                  <a:cubicBezTo>
                    <a:pt x="2234" y="1312"/>
                    <a:pt x="2233" y="1312"/>
                    <a:pt x="2233" y="1312"/>
                  </a:cubicBezTo>
                  <a:moveTo>
                    <a:pt x="1023" y="1312"/>
                  </a:moveTo>
                  <a:cubicBezTo>
                    <a:pt x="1014" y="1312"/>
                    <a:pt x="1004" y="1317"/>
                    <a:pt x="1002" y="1322"/>
                  </a:cubicBezTo>
                  <a:cubicBezTo>
                    <a:pt x="999" y="1328"/>
                    <a:pt x="1004" y="1333"/>
                    <a:pt x="1013" y="1333"/>
                  </a:cubicBezTo>
                  <a:cubicBezTo>
                    <a:pt x="1022" y="1333"/>
                    <a:pt x="1032" y="1328"/>
                    <a:pt x="1034" y="1322"/>
                  </a:cubicBezTo>
                  <a:cubicBezTo>
                    <a:pt x="1037" y="1317"/>
                    <a:pt x="1032" y="1312"/>
                    <a:pt x="1023" y="1312"/>
                  </a:cubicBezTo>
                  <a:cubicBezTo>
                    <a:pt x="1023" y="1312"/>
                    <a:pt x="1023" y="1312"/>
                    <a:pt x="1023" y="1312"/>
                  </a:cubicBezTo>
                  <a:moveTo>
                    <a:pt x="2280" y="1312"/>
                  </a:moveTo>
                  <a:cubicBezTo>
                    <a:pt x="2271" y="1312"/>
                    <a:pt x="2264" y="1317"/>
                    <a:pt x="2263" y="1322"/>
                  </a:cubicBezTo>
                  <a:cubicBezTo>
                    <a:pt x="2263" y="1328"/>
                    <a:pt x="2270" y="1333"/>
                    <a:pt x="2279" y="1333"/>
                  </a:cubicBezTo>
                  <a:cubicBezTo>
                    <a:pt x="2288" y="1333"/>
                    <a:pt x="2296" y="1328"/>
                    <a:pt x="2296" y="1322"/>
                  </a:cubicBezTo>
                  <a:cubicBezTo>
                    <a:pt x="2296" y="1317"/>
                    <a:pt x="2289" y="1312"/>
                    <a:pt x="2280" y="1312"/>
                  </a:cubicBezTo>
                  <a:cubicBezTo>
                    <a:pt x="2280" y="1312"/>
                    <a:pt x="2280" y="1312"/>
                    <a:pt x="2280" y="1312"/>
                  </a:cubicBezTo>
                  <a:moveTo>
                    <a:pt x="1065" y="1312"/>
                  </a:moveTo>
                  <a:cubicBezTo>
                    <a:pt x="1056" y="1312"/>
                    <a:pt x="1046" y="1317"/>
                    <a:pt x="1044" y="1322"/>
                  </a:cubicBezTo>
                  <a:cubicBezTo>
                    <a:pt x="1041" y="1328"/>
                    <a:pt x="1047" y="1333"/>
                    <a:pt x="1056" y="1332"/>
                  </a:cubicBezTo>
                  <a:cubicBezTo>
                    <a:pt x="1065" y="1332"/>
                    <a:pt x="1074" y="1328"/>
                    <a:pt x="1077" y="1322"/>
                  </a:cubicBezTo>
                  <a:cubicBezTo>
                    <a:pt x="1079" y="1317"/>
                    <a:pt x="1074" y="1312"/>
                    <a:pt x="1065" y="1312"/>
                  </a:cubicBezTo>
                  <a:cubicBezTo>
                    <a:pt x="1065" y="1312"/>
                    <a:pt x="1065" y="1312"/>
                    <a:pt x="1065" y="1312"/>
                  </a:cubicBezTo>
                  <a:moveTo>
                    <a:pt x="2326" y="1312"/>
                  </a:moveTo>
                  <a:cubicBezTo>
                    <a:pt x="2317" y="1312"/>
                    <a:pt x="2310" y="1317"/>
                    <a:pt x="2309" y="1322"/>
                  </a:cubicBezTo>
                  <a:cubicBezTo>
                    <a:pt x="2309" y="1328"/>
                    <a:pt x="2316" y="1333"/>
                    <a:pt x="2325" y="1333"/>
                  </a:cubicBezTo>
                  <a:cubicBezTo>
                    <a:pt x="2334" y="1333"/>
                    <a:pt x="2342" y="1328"/>
                    <a:pt x="2342" y="1322"/>
                  </a:cubicBezTo>
                  <a:cubicBezTo>
                    <a:pt x="2342" y="1317"/>
                    <a:pt x="2335" y="1312"/>
                    <a:pt x="2326" y="1312"/>
                  </a:cubicBezTo>
                  <a:cubicBezTo>
                    <a:pt x="2326" y="1312"/>
                    <a:pt x="2326" y="1312"/>
                    <a:pt x="2326" y="1312"/>
                  </a:cubicBezTo>
                  <a:moveTo>
                    <a:pt x="2373" y="1312"/>
                  </a:moveTo>
                  <a:cubicBezTo>
                    <a:pt x="2364" y="1312"/>
                    <a:pt x="2356" y="1317"/>
                    <a:pt x="2356" y="1322"/>
                  </a:cubicBezTo>
                  <a:cubicBezTo>
                    <a:pt x="2356" y="1328"/>
                    <a:pt x="2363" y="1332"/>
                    <a:pt x="2372" y="1332"/>
                  </a:cubicBezTo>
                  <a:cubicBezTo>
                    <a:pt x="2381" y="1332"/>
                    <a:pt x="2389" y="1328"/>
                    <a:pt x="2389" y="1322"/>
                  </a:cubicBezTo>
                  <a:cubicBezTo>
                    <a:pt x="2389" y="1317"/>
                    <a:pt x="2382" y="1312"/>
                    <a:pt x="2373" y="1312"/>
                  </a:cubicBezTo>
                  <a:cubicBezTo>
                    <a:pt x="2373" y="1312"/>
                    <a:pt x="2373" y="1312"/>
                    <a:pt x="2373" y="1312"/>
                  </a:cubicBezTo>
                  <a:moveTo>
                    <a:pt x="2419" y="1312"/>
                  </a:moveTo>
                  <a:cubicBezTo>
                    <a:pt x="2410" y="1312"/>
                    <a:pt x="2403" y="1317"/>
                    <a:pt x="2403" y="1322"/>
                  </a:cubicBezTo>
                  <a:cubicBezTo>
                    <a:pt x="2403" y="1328"/>
                    <a:pt x="2410" y="1332"/>
                    <a:pt x="2419" y="1332"/>
                  </a:cubicBezTo>
                  <a:cubicBezTo>
                    <a:pt x="2428" y="1332"/>
                    <a:pt x="2436" y="1328"/>
                    <a:pt x="2436" y="1322"/>
                  </a:cubicBezTo>
                  <a:cubicBezTo>
                    <a:pt x="2436" y="1316"/>
                    <a:pt x="2428" y="1312"/>
                    <a:pt x="2419" y="1312"/>
                  </a:cubicBezTo>
                  <a:cubicBezTo>
                    <a:pt x="2419" y="1312"/>
                    <a:pt x="2419" y="1312"/>
                    <a:pt x="2419" y="1312"/>
                  </a:cubicBezTo>
                  <a:moveTo>
                    <a:pt x="2468" y="1312"/>
                  </a:moveTo>
                  <a:cubicBezTo>
                    <a:pt x="2459" y="1312"/>
                    <a:pt x="2451" y="1316"/>
                    <a:pt x="2451" y="1322"/>
                  </a:cubicBezTo>
                  <a:cubicBezTo>
                    <a:pt x="2451" y="1328"/>
                    <a:pt x="2459" y="1332"/>
                    <a:pt x="2468" y="1332"/>
                  </a:cubicBezTo>
                  <a:cubicBezTo>
                    <a:pt x="2477" y="1332"/>
                    <a:pt x="2484" y="1328"/>
                    <a:pt x="2484" y="1322"/>
                  </a:cubicBezTo>
                  <a:cubicBezTo>
                    <a:pt x="2484" y="1316"/>
                    <a:pt x="2477" y="1312"/>
                    <a:pt x="2468" y="1312"/>
                  </a:cubicBezTo>
                  <a:cubicBezTo>
                    <a:pt x="2468" y="1312"/>
                    <a:pt x="2468" y="1312"/>
                    <a:pt x="2468" y="1312"/>
                  </a:cubicBezTo>
                  <a:moveTo>
                    <a:pt x="2514" y="1312"/>
                  </a:moveTo>
                  <a:cubicBezTo>
                    <a:pt x="2505" y="1312"/>
                    <a:pt x="2498" y="1316"/>
                    <a:pt x="2498" y="1322"/>
                  </a:cubicBezTo>
                  <a:cubicBezTo>
                    <a:pt x="2498" y="1328"/>
                    <a:pt x="2505" y="1332"/>
                    <a:pt x="2514" y="1332"/>
                  </a:cubicBezTo>
                  <a:cubicBezTo>
                    <a:pt x="2523" y="1332"/>
                    <a:pt x="2531" y="1328"/>
                    <a:pt x="2531" y="1322"/>
                  </a:cubicBezTo>
                  <a:cubicBezTo>
                    <a:pt x="2530" y="1316"/>
                    <a:pt x="2523" y="1312"/>
                    <a:pt x="2514" y="1312"/>
                  </a:cubicBezTo>
                  <a:cubicBezTo>
                    <a:pt x="2514" y="1312"/>
                    <a:pt x="2514" y="1312"/>
                    <a:pt x="2514" y="1312"/>
                  </a:cubicBezTo>
                  <a:moveTo>
                    <a:pt x="2561" y="1312"/>
                  </a:moveTo>
                  <a:cubicBezTo>
                    <a:pt x="2552" y="1312"/>
                    <a:pt x="2545" y="1316"/>
                    <a:pt x="2545" y="1322"/>
                  </a:cubicBezTo>
                  <a:cubicBezTo>
                    <a:pt x="2545" y="1328"/>
                    <a:pt x="2552" y="1332"/>
                    <a:pt x="2561" y="1332"/>
                  </a:cubicBezTo>
                  <a:cubicBezTo>
                    <a:pt x="2570" y="1332"/>
                    <a:pt x="2578" y="1327"/>
                    <a:pt x="2577" y="1322"/>
                  </a:cubicBezTo>
                  <a:cubicBezTo>
                    <a:pt x="2577" y="1316"/>
                    <a:pt x="2570" y="1312"/>
                    <a:pt x="2561" y="1312"/>
                  </a:cubicBezTo>
                  <a:cubicBezTo>
                    <a:pt x="2561" y="1312"/>
                    <a:pt x="2561" y="1312"/>
                    <a:pt x="2561" y="1312"/>
                  </a:cubicBezTo>
                  <a:moveTo>
                    <a:pt x="2608" y="1312"/>
                  </a:moveTo>
                  <a:cubicBezTo>
                    <a:pt x="2599" y="1312"/>
                    <a:pt x="2592" y="1316"/>
                    <a:pt x="2592" y="1322"/>
                  </a:cubicBezTo>
                  <a:cubicBezTo>
                    <a:pt x="2592" y="1327"/>
                    <a:pt x="2600" y="1332"/>
                    <a:pt x="2609" y="1332"/>
                  </a:cubicBezTo>
                  <a:cubicBezTo>
                    <a:pt x="2618" y="1332"/>
                    <a:pt x="2625" y="1327"/>
                    <a:pt x="2625" y="1322"/>
                  </a:cubicBezTo>
                  <a:cubicBezTo>
                    <a:pt x="2624" y="1316"/>
                    <a:pt x="2617" y="1312"/>
                    <a:pt x="2608" y="1312"/>
                  </a:cubicBezTo>
                  <a:cubicBezTo>
                    <a:pt x="2608" y="1312"/>
                    <a:pt x="2608" y="1312"/>
                    <a:pt x="2608" y="1312"/>
                  </a:cubicBezTo>
                  <a:moveTo>
                    <a:pt x="2654" y="1311"/>
                  </a:moveTo>
                  <a:cubicBezTo>
                    <a:pt x="2645" y="1311"/>
                    <a:pt x="2638" y="1316"/>
                    <a:pt x="2639" y="1322"/>
                  </a:cubicBezTo>
                  <a:cubicBezTo>
                    <a:pt x="2639" y="1327"/>
                    <a:pt x="2646" y="1332"/>
                    <a:pt x="2656" y="1332"/>
                  </a:cubicBezTo>
                  <a:cubicBezTo>
                    <a:pt x="2665" y="1332"/>
                    <a:pt x="2672" y="1327"/>
                    <a:pt x="2671" y="1322"/>
                  </a:cubicBezTo>
                  <a:cubicBezTo>
                    <a:pt x="2671" y="1316"/>
                    <a:pt x="2663" y="1311"/>
                    <a:pt x="2654" y="1311"/>
                  </a:cubicBezTo>
                  <a:cubicBezTo>
                    <a:pt x="2654" y="1311"/>
                    <a:pt x="2654" y="1311"/>
                    <a:pt x="2654" y="1311"/>
                  </a:cubicBezTo>
                  <a:moveTo>
                    <a:pt x="2701" y="1311"/>
                  </a:moveTo>
                  <a:cubicBezTo>
                    <a:pt x="2692" y="1311"/>
                    <a:pt x="2685" y="1316"/>
                    <a:pt x="2686" y="1322"/>
                  </a:cubicBezTo>
                  <a:cubicBezTo>
                    <a:pt x="2686" y="1327"/>
                    <a:pt x="2694" y="1332"/>
                    <a:pt x="2703" y="1332"/>
                  </a:cubicBezTo>
                  <a:cubicBezTo>
                    <a:pt x="2712" y="1332"/>
                    <a:pt x="2719" y="1327"/>
                    <a:pt x="2719" y="1322"/>
                  </a:cubicBezTo>
                  <a:cubicBezTo>
                    <a:pt x="2718" y="1316"/>
                    <a:pt x="2710" y="1311"/>
                    <a:pt x="2701" y="1311"/>
                  </a:cubicBezTo>
                  <a:cubicBezTo>
                    <a:pt x="2701" y="1311"/>
                    <a:pt x="2701" y="1311"/>
                    <a:pt x="2701" y="1311"/>
                  </a:cubicBezTo>
                  <a:moveTo>
                    <a:pt x="2746" y="1311"/>
                  </a:moveTo>
                  <a:cubicBezTo>
                    <a:pt x="2737" y="1311"/>
                    <a:pt x="2730" y="1316"/>
                    <a:pt x="2731" y="1321"/>
                  </a:cubicBezTo>
                  <a:cubicBezTo>
                    <a:pt x="2731" y="1327"/>
                    <a:pt x="2739" y="1332"/>
                    <a:pt x="2748" y="1332"/>
                  </a:cubicBezTo>
                  <a:cubicBezTo>
                    <a:pt x="2757" y="1332"/>
                    <a:pt x="2764" y="1327"/>
                    <a:pt x="2764" y="1321"/>
                  </a:cubicBezTo>
                  <a:cubicBezTo>
                    <a:pt x="2763" y="1316"/>
                    <a:pt x="2755" y="1311"/>
                    <a:pt x="2746" y="1311"/>
                  </a:cubicBezTo>
                  <a:cubicBezTo>
                    <a:pt x="2746" y="1311"/>
                    <a:pt x="2746" y="1311"/>
                    <a:pt x="2746" y="1311"/>
                  </a:cubicBezTo>
                  <a:moveTo>
                    <a:pt x="4751" y="1303"/>
                  </a:moveTo>
                  <a:cubicBezTo>
                    <a:pt x="4742" y="1303"/>
                    <a:pt x="4738" y="1308"/>
                    <a:pt x="4742" y="1314"/>
                  </a:cubicBezTo>
                  <a:cubicBezTo>
                    <a:pt x="4746" y="1319"/>
                    <a:pt x="4756" y="1324"/>
                    <a:pt x="4765" y="1324"/>
                  </a:cubicBezTo>
                  <a:cubicBezTo>
                    <a:pt x="4775" y="1324"/>
                    <a:pt x="4778" y="1319"/>
                    <a:pt x="4774" y="1313"/>
                  </a:cubicBezTo>
                  <a:cubicBezTo>
                    <a:pt x="4770" y="1308"/>
                    <a:pt x="4760" y="1303"/>
                    <a:pt x="4751" y="1303"/>
                  </a:cubicBezTo>
                  <a:cubicBezTo>
                    <a:pt x="4751" y="1303"/>
                    <a:pt x="4751" y="1303"/>
                    <a:pt x="4751" y="1303"/>
                  </a:cubicBezTo>
                  <a:moveTo>
                    <a:pt x="4798" y="1303"/>
                  </a:moveTo>
                  <a:cubicBezTo>
                    <a:pt x="4789" y="1303"/>
                    <a:pt x="4785" y="1308"/>
                    <a:pt x="4789" y="1313"/>
                  </a:cubicBezTo>
                  <a:cubicBezTo>
                    <a:pt x="4793" y="1319"/>
                    <a:pt x="4804" y="1324"/>
                    <a:pt x="4813" y="1324"/>
                  </a:cubicBezTo>
                  <a:cubicBezTo>
                    <a:pt x="4822" y="1324"/>
                    <a:pt x="4826" y="1319"/>
                    <a:pt x="4822" y="1313"/>
                  </a:cubicBezTo>
                  <a:cubicBezTo>
                    <a:pt x="4817" y="1308"/>
                    <a:pt x="4807" y="1303"/>
                    <a:pt x="4798" y="1303"/>
                  </a:cubicBezTo>
                  <a:cubicBezTo>
                    <a:pt x="4798" y="1303"/>
                    <a:pt x="4798" y="1303"/>
                    <a:pt x="4798" y="1303"/>
                  </a:cubicBezTo>
                  <a:moveTo>
                    <a:pt x="4941" y="1303"/>
                  </a:moveTo>
                  <a:cubicBezTo>
                    <a:pt x="4932" y="1303"/>
                    <a:pt x="4928" y="1307"/>
                    <a:pt x="4932" y="1313"/>
                  </a:cubicBezTo>
                  <a:cubicBezTo>
                    <a:pt x="4937" y="1319"/>
                    <a:pt x="4948" y="1323"/>
                    <a:pt x="4957" y="1323"/>
                  </a:cubicBezTo>
                  <a:cubicBezTo>
                    <a:pt x="4966" y="1323"/>
                    <a:pt x="4969" y="1319"/>
                    <a:pt x="4965" y="1313"/>
                  </a:cubicBezTo>
                  <a:cubicBezTo>
                    <a:pt x="4961" y="1307"/>
                    <a:pt x="4950" y="1303"/>
                    <a:pt x="4941" y="1303"/>
                  </a:cubicBezTo>
                  <a:cubicBezTo>
                    <a:pt x="4941" y="1303"/>
                    <a:pt x="4941" y="1303"/>
                    <a:pt x="4941" y="1303"/>
                  </a:cubicBezTo>
                  <a:moveTo>
                    <a:pt x="248" y="1285"/>
                  </a:moveTo>
                  <a:cubicBezTo>
                    <a:pt x="239" y="1285"/>
                    <a:pt x="228" y="1289"/>
                    <a:pt x="225" y="1295"/>
                  </a:cubicBezTo>
                  <a:cubicBezTo>
                    <a:pt x="221" y="1300"/>
                    <a:pt x="225" y="1305"/>
                    <a:pt x="234" y="1305"/>
                  </a:cubicBezTo>
                  <a:cubicBezTo>
                    <a:pt x="243" y="1305"/>
                    <a:pt x="253" y="1300"/>
                    <a:pt x="257" y="1295"/>
                  </a:cubicBezTo>
                  <a:cubicBezTo>
                    <a:pt x="261" y="1289"/>
                    <a:pt x="257" y="1285"/>
                    <a:pt x="248" y="1285"/>
                  </a:cubicBezTo>
                  <a:cubicBezTo>
                    <a:pt x="248" y="1285"/>
                    <a:pt x="248" y="1285"/>
                    <a:pt x="248" y="1285"/>
                  </a:cubicBezTo>
                  <a:moveTo>
                    <a:pt x="294" y="1285"/>
                  </a:moveTo>
                  <a:cubicBezTo>
                    <a:pt x="285" y="1285"/>
                    <a:pt x="275" y="1289"/>
                    <a:pt x="271" y="1295"/>
                  </a:cubicBezTo>
                  <a:cubicBezTo>
                    <a:pt x="267" y="1300"/>
                    <a:pt x="271" y="1305"/>
                    <a:pt x="280" y="1305"/>
                  </a:cubicBezTo>
                  <a:cubicBezTo>
                    <a:pt x="289" y="1305"/>
                    <a:pt x="300" y="1300"/>
                    <a:pt x="303" y="1295"/>
                  </a:cubicBezTo>
                  <a:cubicBezTo>
                    <a:pt x="307" y="1289"/>
                    <a:pt x="303" y="1285"/>
                    <a:pt x="294" y="1285"/>
                  </a:cubicBezTo>
                  <a:cubicBezTo>
                    <a:pt x="294" y="1285"/>
                    <a:pt x="294" y="1285"/>
                    <a:pt x="294" y="1285"/>
                  </a:cubicBezTo>
                  <a:moveTo>
                    <a:pt x="340" y="1284"/>
                  </a:moveTo>
                  <a:cubicBezTo>
                    <a:pt x="331" y="1284"/>
                    <a:pt x="321" y="1289"/>
                    <a:pt x="317" y="1295"/>
                  </a:cubicBezTo>
                  <a:cubicBezTo>
                    <a:pt x="313" y="1300"/>
                    <a:pt x="317" y="1305"/>
                    <a:pt x="326" y="1305"/>
                  </a:cubicBezTo>
                  <a:cubicBezTo>
                    <a:pt x="335" y="1305"/>
                    <a:pt x="346" y="1300"/>
                    <a:pt x="350" y="1295"/>
                  </a:cubicBezTo>
                  <a:cubicBezTo>
                    <a:pt x="353" y="1289"/>
                    <a:pt x="349" y="1284"/>
                    <a:pt x="340" y="1284"/>
                  </a:cubicBezTo>
                  <a:cubicBezTo>
                    <a:pt x="340" y="1284"/>
                    <a:pt x="340" y="1284"/>
                    <a:pt x="340" y="1284"/>
                  </a:cubicBezTo>
                  <a:moveTo>
                    <a:pt x="387" y="1284"/>
                  </a:moveTo>
                  <a:cubicBezTo>
                    <a:pt x="378" y="1284"/>
                    <a:pt x="367" y="1289"/>
                    <a:pt x="364" y="1295"/>
                  </a:cubicBezTo>
                  <a:cubicBezTo>
                    <a:pt x="360" y="1300"/>
                    <a:pt x="364" y="1305"/>
                    <a:pt x="373" y="1305"/>
                  </a:cubicBezTo>
                  <a:cubicBezTo>
                    <a:pt x="382" y="1305"/>
                    <a:pt x="392" y="1300"/>
                    <a:pt x="396" y="1294"/>
                  </a:cubicBezTo>
                  <a:cubicBezTo>
                    <a:pt x="400" y="1289"/>
                    <a:pt x="395" y="1284"/>
                    <a:pt x="387" y="1284"/>
                  </a:cubicBezTo>
                  <a:cubicBezTo>
                    <a:pt x="387" y="1284"/>
                    <a:pt x="387" y="1284"/>
                    <a:pt x="387" y="1284"/>
                  </a:cubicBezTo>
                  <a:moveTo>
                    <a:pt x="434" y="1284"/>
                  </a:moveTo>
                  <a:cubicBezTo>
                    <a:pt x="425" y="1284"/>
                    <a:pt x="415" y="1289"/>
                    <a:pt x="411" y="1294"/>
                  </a:cubicBezTo>
                  <a:cubicBezTo>
                    <a:pt x="408" y="1300"/>
                    <a:pt x="412" y="1305"/>
                    <a:pt x="421" y="1305"/>
                  </a:cubicBezTo>
                  <a:cubicBezTo>
                    <a:pt x="430" y="1305"/>
                    <a:pt x="440" y="1300"/>
                    <a:pt x="444" y="1294"/>
                  </a:cubicBezTo>
                  <a:cubicBezTo>
                    <a:pt x="447" y="1289"/>
                    <a:pt x="443" y="1284"/>
                    <a:pt x="434" y="1284"/>
                  </a:cubicBezTo>
                  <a:cubicBezTo>
                    <a:pt x="434" y="1284"/>
                    <a:pt x="434" y="1284"/>
                    <a:pt x="434" y="1284"/>
                  </a:cubicBezTo>
                  <a:moveTo>
                    <a:pt x="480" y="1284"/>
                  </a:moveTo>
                  <a:cubicBezTo>
                    <a:pt x="471" y="1284"/>
                    <a:pt x="461" y="1289"/>
                    <a:pt x="458" y="1294"/>
                  </a:cubicBezTo>
                  <a:cubicBezTo>
                    <a:pt x="454" y="1300"/>
                    <a:pt x="458" y="1304"/>
                    <a:pt x="467" y="1304"/>
                  </a:cubicBezTo>
                  <a:cubicBezTo>
                    <a:pt x="476" y="1304"/>
                    <a:pt x="487" y="1300"/>
                    <a:pt x="490" y="1294"/>
                  </a:cubicBezTo>
                  <a:cubicBezTo>
                    <a:pt x="494" y="1289"/>
                    <a:pt x="489" y="1284"/>
                    <a:pt x="480" y="1284"/>
                  </a:cubicBezTo>
                  <a:cubicBezTo>
                    <a:pt x="480" y="1284"/>
                    <a:pt x="480" y="1284"/>
                    <a:pt x="480" y="1284"/>
                  </a:cubicBezTo>
                  <a:moveTo>
                    <a:pt x="527" y="1284"/>
                  </a:moveTo>
                  <a:cubicBezTo>
                    <a:pt x="518" y="1284"/>
                    <a:pt x="508" y="1289"/>
                    <a:pt x="504" y="1294"/>
                  </a:cubicBezTo>
                  <a:cubicBezTo>
                    <a:pt x="501" y="1300"/>
                    <a:pt x="505" y="1304"/>
                    <a:pt x="514" y="1304"/>
                  </a:cubicBezTo>
                  <a:cubicBezTo>
                    <a:pt x="523" y="1304"/>
                    <a:pt x="533" y="1300"/>
                    <a:pt x="537" y="1294"/>
                  </a:cubicBezTo>
                  <a:cubicBezTo>
                    <a:pt x="540" y="1289"/>
                    <a:pt x="536" y="1284"/>
                    <a:pt x="527" y="1284"/>
                  </a:cubicBezTo>
                  <a:cubicBezTo>
                    <a:pt x="527" y="1284"/>
                    <a:pt x="527" y="1284"/>
                    <a:pt x="527" y="1284"/>
                  </a:cubicBezTo>
                  <a:moveTo>
                    <a:pt x="573" y="1284"/>
                  </a:moveTo>
                  <a:cubicBezTo>
                    <a:pt x="564" y="1284"/>
                    <a:pt x="554" y="1289"/>
                    <a:pt x="551" y="1294"/>
                  </a:cubicBezTo>
                  <a:cubicBezTo>
                    <a:pt x="548" y="1300"/>
                    <a:pt x="552" y="1304"/>
                    <a:pt x="561" y="1304"/>
                  </a:cubicBezTo>
                  <a:cubicBezTo>
                    <a:pt x="570" y="1304"/>
                    <a:pt x="580" y="1300"/>
                    <a:pt x="584" y="1294"/>
                  </a:cubicBezTo>
                  <a:cubicBezTo>
                    <a:pt x="587" y="1288"/>
                    <a:pt x="582" y="1284"/>
                    <a:pt x="573" y="1284"/>
                  </a:cubicBezTo>
                  <a:cubicBezTo>
                    <a:pt x="573" y="1284"/>
                    <a:pt x="573" y="1284"/>
                    <a:pt x="573" y="1284"/>
                  </a:cubicBezTo>
                  <a:moveTo>
                    <a:pt x="619" y="1284"/>
                  </a:moveTo>
                  <a:cubicBezTo>
                    <a:pt x="610" y="1284"/>
                    <a:pt x="600" y="1288"/>
                    <a:pt x="597" y="1294"/>
                  </a:cubicBezTo>
                  <a:cubicBezTo>
                    <a:pt x="594" y="1300"/>
                    <a:pt x="598" y="1304"/>
                    <a:pt x="607" y="1304"/>
                  </a:cubicBezTo>
                  <a:cubicBezTo>
                    <a:pt x="616" y="1304"/>
                    <a:pt x="626" y="1300"/>
                    <a:pt x="630" y="1294"/>
                  </a:cubicBezTo>
                  <a:cubicBezTo>
                    <a:pt x="633" y="1288"/>
                    <a:pt x="628" y="1284"/>
                    <a:pt x="619" y="1284"/>
                  </a:cubicBezTo>
                  <a:cubicBezTo>
                    <a:pt x="619" y="1284"/>
                    <a:pt x="619" y="1284"/>
                    <a:pt x="619" y="1284"/>
                  </a:cubicBezTo>
                  <a:moveTo>
                    <a:pt x="666" y="1284"/>
                  </a:moveTo>
                  <a:cubicBezTo>
                    <a:pt x="657" y="1284"/>
                    <a:pt x="647" y="1288"/>
                    <a:pt x="644" y="1294"/>
                  </a:cubicBezTo>
                  <a:cubicBezTo>
                    <a:pt x="640" y="1300"/>
                    <a:pt x="645" y="1304"/>
                    <a:pt x="654" y="1304"/>
                  </a:cubicBezTo>
                  <a:cubicBezTo>
                    <a:pt x="663" y="1304"/>
                    <a:pt x="673" y="1299"/>
                    <a:pt x="676" y="1294"/>
                  </a:cubicBezTo>
                  <a:cubicBezTo>
                    <a:pt x="679" y="1288"/>
                    <a:pt x="675" y="1284"/>
                    <a:pt x="666" y="1284"/>
                  </a:cubicBezTo>
                  <a:cubicBezTo>
                    <a:pt x="666" y="1284"/>
                    <a:pt x="666" y="1284"/>
                    <a:pt x="666" y="1284"/>
                  </a:cubicBezTo>
                  <a:moveTo>
                    <a:pt x="712" y="1284"/>
                  </a:moveTo>
                  <a:cubicBezTo>
                    <a:pt x="703" y="1284"/>
                    <a:pt x="693" y="1288"/>
                    <a:pt x="690" y="1294"/>
                  </a:cubicBezTo>
                  <a:cubicBezTo>
                    <a:pt x="686" y="1299"/>
                    <a:pt x="691" y="1304"/>
                    <a:pt x="700" y="1304"/>
                  </a:cubicBezTo>
                  <a:cubicBezTo>
                    <a:pt x="709" y="1304"/>
                    <a:pt x="719" y="1299"/>
                    <a:pt x="722" y="1294"/>
                  </a:cubicBezTo>
                  <a:cubicBezTo>
                    <a:pt x="725" y="1288"/>
                    <a:pt x="721" y="1284"/>
                    <a:pt x="712" y="1284"/>
                  </a:cubicBezTo>
                  <a:cubicBezTo>
                    <a:pt x="712" y="1284"/>
                    <a:pt x="712" y="1284"/>
                    <a:pt x="712" y="1284"/>
                  </a:cubicBezTo>
                  <a:moveTo>
                    <a:pt x="758" y="1283"/>
                  </a:moveTo>
                  <a:cubicBezTo>
                    <a:pt x="749" y="1284"/>
                    <a:pt x="739" y="1288"/>
                    <a:pt x="736" y="1294"/>
                  </a:cubicBezTo>
                  <a:cubicBezTo>
                    <a:pt x="733" y="1299"/>
                    <a:pt x="738" y="1304"/>
                    <a:pt x="747" y="1304"/>
                  </a:cubicBezTo>
                  <a:cubicBezTo>
                    <a:pt x="756" y="1304"/>
                    <a:pt x="766" y="1299"/>
                    <a:pt x="769" y="1294"/>
                  </a:cubicBezTo>
                  <a:cubicBezTo>
                    <a:pt x="772" y="1288"/>
                    <a:pt x="767" y="1283"/>
                    <a:pt x="758" y="1283"/>
                  </a:cubicBezTo>
                  <a:cubicBezTo>
                    <a:pt x="758" y="1283"/>
                    <a:pt x="758" y="1283"/>
                    <a:pt x="758" y="1283"/>
                  </a:cubicBezTo>
                  <a:moveTo>
                    <a:pt x="805" y="1283"/>
                  </a:moveTo>
                  <a:cubicBezTo>
                    <a:pt x="796" y="1283"/>
                    <a:pt x="786" y="1288"/>
                    <a:pt x="783" y="1294"/>
                  </a:cubicBezTo>
                  <a:cubicBezTo>
                    <a:pt x="780" y="1299"/>
                    <a:pt x="785" y="1304"/>
                    <a:pt x="794" y="1304"/>
                  </a:cubicBezTo>
                  <a:cubicBezTo>
                    <a:pt x="803" y="1304"/>
                    <a:pt x="813" y="1299"/>
                    <a:pt x="816" y="1294"/>
                  </a:cubicBezTo>
                  <a:cubicBezTo>
                    <a:pt x="818" y="1288"/>
                    <a:pt x="814" y="1283"/>
                    <a:pt x="805" y="1283"/>
                  </a:cubicBezTo>
                  <a:cubicBezTo>
                    <a:pt x="805" y="1283"/>
                    <a:pt x="805" y="1283"/>
                    <a:pt x="805" y="1283"/>
                  </a:cubicBezTo>
                  <a:moveTo>
                    <a:pt x="851" y="1283"/>
                  </a:moveTo>
                  <a:cubicBezTo>
                    <a:pt x="842" y="1283"/>
                    <a:pt x="832" y="1288"/>
                    <a:pt x="829" y="1293"/>
                  </a:cubicBezTo>
                  <a:cubicBezTo>
                    <a:pt x="826" y="1299"/>
                    <a:pt x="831" y="1304"/>
                    <a:pt x="840" y="1304"/>
                  </a:cubicBezTo>
                  <a:cubicBezTo>
                    <a:pt x="849" y="1304"/>
                    <a:pt x="859" y="1299"/>
                    <a:pt x="862" y="1293"/>
                  </a:cubicBezTo>
                  <a:cubicBezTo>
                    <a:pt x="865" y="1288"/>
                    <a:pt x="860" y="1283"/>
                    <a:pt x="851" y="1283"/>
                  </a:cubicBezTo>
                  <a:cubicBezTo>
                    <a:pt x="851" y="1283"/>
                    <a:pt x="851" y="1283"/>
                    <a:pt x="851" y="1283"/>
                  </a:cubicBezTo>
                  <a:moveTo>
                    <a:pt x="897" y="1283"/>
                  </a:moveTo>
                  <a:cubicBezTo>
                    <a:pt x="888" y="1283"/>
                    <a:pt x="878" y="1288"/>
                    <a:pt x="876" y="1293"/>
                  </a:cubicBezTo>
                  <a:cubicBezTo>
                    <a:pt x="873" y="1299"/>
                    <a:pt x="878" y="1304"/>
                    <a:pt x="887" y="1303"/>
                  </a:cubicBezTo>
                  <a:cubicBezTo>
                    <a:pt x="896" y="1303"/>
                    <a:pt x="905" y="1299"/>
                    <a:pt x="908" y="1293"/>
                  </a:cubicBezTo>
                  <a:cubicBezTo>
                    <a:pt x="911" y="1288"/>
                    <a:pt x="906" y="1283"/>
                    <a:pt x="897" y="1283"/>
                  </a:cubicBezTo>
                  <a:cubicBezTo>
                    <a:pt x="897" y="1283"/>
                    <a:pt x="897" y="1283"/>
                    <a:pt x="897" y="1283"/>
                  </a:cubicBezTo>
                  <a:moveTo>
                    <a:pt x="943" y="1283"/>
                  </a:moveTo>
                  <a:cubicBezTo>
                    <a:pt x="934" y="1283"/>
                    <a:pt x="924" y="1288"/>
                    <a:pt x="922" y="1293"/>
                  </a:cubicBezTo>
                  <a:cubicBezTo>
                    <a:pt x="919" y="1299"/>
                    <a:pt x="924" y="1303"/>
                    <a:pt x="933" y="1303"/>
                  </a:cubicBezTo>
                  <a:cubicBezTo>
                    <a:pt x="942" y="1303"/>
                    <a:pt x="951" y="1299"/>
                    <a:pt x="954" y="1293"/>
                  </a:cubicBezTo>
                  <a:cubicBezTo>
                    <a:pt x="957" y="1288"/>
                    <a:pt x="952" y="1283"/>
                    <a:pt x="943" y="1283"/>
                  </a:cubicBezTo>
                  <a:cubicBezTo>
                    <a:pt x="943" y="1283"/>
                    <a:pt x="943" y="1283"/>
                    <a:pt x="943" y="1283"/>
                  </a:cubicBezTo>
                  <a:moveTo>
                    <a:pt x="989" y="1283"/>
                  </a:moveTo>
                  <a:cubicBezTo>
                    <a:pt x="980" y="1283"/>
                    <a:pt x="971" y="1288"/>
                    <a:pt x="968" y="1293"/>
                  </a:cubicBezTo>
                  <a:cubicBezTo>
                    <a:pt x="966" y="1299"/>
                    <a:pt x="971" y="1303"/>
                    <a:pt x="980" y="1303"/>
                  </a:cubicBezTo>
                  <a:cubicBezTo>
                    <a:pt x="989" y="1303"/>
                    <a:pt x="998" y="1299"/>
                    <a:pt x="1001" y="1293"/>
                  </a:cubicBezTo>
                  <a:cubicBezTo>
                    <a:pt x="1003" y="1287"/>
                    <a:pt x="998" y="1283"/>
                    <a:pt x="989" y="1283"/>
                  </a:cubicBezTo>
                  <a:cubicBezTo>
                    <a:pt x="989" y="1283"/>
                    <a:pt x="989" y="1283"/>
                    <a:pt x="989" y="1283"/>
                  </a:cubicBezTo>
                  <a:moveTo>
                    <a:pt x="2190" y="1283"/>
                  </a:moveTo>
                  <a:cubicBezTo>
                    <a:pt x="2181" y="1283"/>
                    <a:pt x="2173" y="1288"/>
                    <a:pt x="2173" y="1293"/>
                  </a:cubicBezTo>
                  <a:cubicBezTo>
                    <a:pt x="2172" y="1299"/>
                    <a:pt x="2179" y="1303"/>
                    <a:pt x="2188" y="1303"/>
                  </a:cubicBezTo>
                  <a:cubicBezTo>
                    <a:pt x="2197" y="1303"/>
                    <a:pt x="2205" y="1299"/>
                    <a:pt x="2205" y="1293"/>
                  </a:cubicBezTo>
                  <a:cubicBezTo>
                    <a:pt x="2205" y="1287"/>
                    <a:pt x="2199" y="1283"/>
                    <a:pt x="2190" y="1283"/>
                  </a:cubicBezTo>
                  <a:cubicBezTo>
                    <a:pt x="2190" y="1283"/>
                    <a:pt x="2190" y="1283"/>
                    <a:pt x="2190" y="1283"/>
                  </a:cubicBezTo>
                  <a:moveTo>
                    <a:pt x="1036" y="1283"/>
                  </a:moveTo>
                  <a:cubicBezTo>
                    <a:pt x="1027" y="1283"/>
                    <a:pt x="1018" y="1287"/>
                    <a:pt x="1015" y="1293"/>
                  </a:cubicBezTo>
                  <a:cubicBezTo>
                    <a:pt x="1013" y="1299"/>
                    <a:pt x="1018" y="1303"/>
                    <a:pt x="1027" y="1303"/>
                  </a:cubicBezTo>
                  <a:cubicBezTo>
                    <a:pt x="1036" y="1303"/>
                    <a:pt x="1045" y="1299"/>
                    <a:pt x="1048" y="1293"/>
                  </a:cubicBezTo>
                  <a:cubicBezTo>
                    <a:pt x="1050" y="1287"/>
                    <a:pt x="1045" y="1283"/>
                    <a:pt x="1036" y="1283"/>
                  </a:cubicBezTo>
                  <a:cubicBezTo>
                    <a:pt x="1036" y="1283"/>
                    <a:pt x="1036" y="1283"/>
                    <a:pt x="1036" y="1283"/>
                  </a:cubicBezTo>
                  <a:moveTo>
                    <a:pt x="2236" y="1283"/>
                  </a:moveTo>
                  <a:cubicBezTo>
                    <a:pt x="2227" y="1283"/>
                    <a:pt x="2219" y="1287"/>
                    <a:pt x="2219" y="1293"/>
                  </a:cubicBezTo>
                  <a:cubicBezTo>
                    <a:pt x="2218" y="1299"/>
                    <a:pt x="2225" y="1303"/>
                    <a:pt x="2234" y="1303"/>
                  </a:cubicBezTo>
                  <a:cubicBezTo>
                    <a:pt x="2243" y="1303"/>
                    <a:pt x="2251" y="1299"/>
                    <a:pt x="2251" y="1293"/>
                  </a:cubicBezTo>
                  <a:cubicBezTo>
                    <a:pt x="2251" y="1287"/>
                    <a:pt x="2245" y="1283"/>
                    <a:pt x="2236" y="1283"/>
                  </a:cubicBezTo>
                  <a:cubicBezTo>
                    <a:pt x="2236" y="1283"/>
                    <a:pt x="2236" y="1283"/>
                    <a:pt x="2236" y="1283"/>
                  </a:cubicBezTo>
                  <a:moveTo>
                    <a:pt x="1078" y="1283"/>
                  </a:moveTo>
                  <a:cubicBezTo>
                    <a:pt x="1069" y="1283"/>
                    <a:pt x="1060" y="1287"/>
                    <a:pt x="1057" y="1293"/>
                  </a:cubicBezTo>
                  <a:cubicBezTo>
                    <a:pt x="1055" y="1299"/>
                    <a:pt x="1060" y="1303"/>
                    <a:pt x="1069" y="1303"/>
                  </a:cubicBezTo>
                  <a:cubicBezTo>
                    <a:pt x="1078" y="1303"/>
                    <a:pt x="1087" y="1299"/>
                    <a:pt x="1090" y="1293"/>
                  </a:cubicBezTo>
                  <a:cubicBezTo>
                    <a:pt x="1092" y="1287"/>
                    <a:pt x="1087" y="1283"/>
                    <a:pt x="1078" y="1283"/>
                  </a:cubicBezTo>
                  <a:cubicBezTo>
                    <a:pt x="1078" y="1283"/>
                    <a:pt x="1078" y="1283"/>
                    <a:pt x="1078" y="1283"/>
                  </a:cubicBezTo>
                  <a:moveTo>
                    <a:pt x="2282" y="1283"/>
                  </a:moveTo>
                  <a:cubicBezTo>
                    <a:pt x="2273" y="1283"/>
                    <a:pt x="2266" y="1287"/>
                    <a:pt x="2265" y="1293"/>
                  </a:cubicBezTo>
                  <a:cubicBezTo>
                    <a:pt x="2265" y="1299"/>
                    <a:pt x="2272" y="1303"/>
                    <a:pt x="2281" y="1303"/>
                  </a:cubicBezTo>
                  <a:cubicBezTo>
                    <a:pt x="2290" y="1303"/>
                    <a:pt x="2297" y="1299"/>
                    <a:pt x="2298" y="1293"/>
                  </a:cubicBezTo>
                  <a:cubicBezTo>
                    <a:pt x="2298" y="1287"/>
                    <a:pt x="2291" y="1283"/>
                    <a:pt x="2282" y="1283"/>
                  </a:cubicBezTo>
                  <a:cubicBezTo>
                    <a:pt x="2282" y="1283"/>
                    <a:pt x="2282" y="1283"/>
                    <a:pt x="2282" y="1283"/>
                  </a:cubicBezTo>
                  <a:moveTo>
                    <a:pt x="1128" y="1283"/>
                  </a:moveTo>
                  <a:cubicBezTo>
                    <a:pt x="1119" y="1283"/>
                    <a:pt x="1110" y="1287"/>
                    <a:pt x="1107" y="1293"/>
                  </a:cubicBezTo>
                  <a:cubicBezTo>
                    <a:pt x="1105" y="1298"/>
                    <a:pt x="1110" y="1303"/>
                    <a:pt x="1119" y="1303"/>
                  </a:cubicBezTo>
                  <a:cubicBezTo>
                    <a:pt x="1128" y="1303"/>
                    <a:pt x="1138" y="1298"/>
                    <a:pt x="1140" y="1293"/>
                  </a:cubicBezTo>
                  <a:cubicBezTo>
                    <a:pt x="1142" y="1287"/>
                    <a:pt x="1137" y="1283"/>
                    <a:pt x="1128" y="1283"/>
                  </a:cubicBezTo>
                  <a:cubicBezTo>
                    <a:pt x="1128" y="1283"/>
                    <a:pt x="1128" y="1283"/>
                    <a:pt x="1128" y="1283"/>
                  </a:cubicBezTo>
                  <a:moveTo>
                    <a:pt x="2328" y="1283"/>
                  </a:moveTo>
                  <a:cubicBezTo>
                    <a:pt x="2319" y="1283"/>
                    <a:pt x="2311" y="1287"/>
                    <a:pt x="2311" y="1293"/>
                  </a:cubicBezTo>
                  <a:cubicBezTo>
                    <a:pt x="2311" y="1299"/>
                    <a:pt x="2318" y="1303"/>
                    <a:pt x="2327" y="1303"/>
                  </a:cubicBezTo>
                  <a:cubicBezTo>
                    <a:pt x="2336" y="1303"/>
                    <a:pt x="2343" y="1298"/>
                    <a:pt x="2343" y="1293"/>
                  </a:cubicBezTo>
                  <a:cubicBezTo>
                    <a:pt x="2344" y="1287"/>
                    <a:pt x="2337" y="1283"/>
                    <a:pt x="2328" y="1283"/>
                  </a:cubicBezTo>
                  <a:cubicBezTo>
                    <a:pt x="2328" y="1283"/>
                    <a:pt x="2328" y="1283"/>
                    <a:pt x="2328" y="1283"/>
                  </a:cubicBezTo>
                  <a:moveTo>
                    <a:pt x="2374" y="1283"/>
                  </a:moveTo>
                  <a:cubicBezTo>
                    <a:pt x="2365" y="1283"/>
                    <a:pt x="2357" y="1287"/>
                    <a:pt x="2357" y="1293"/>
                  </a:cubicBezTo>
                  <a:cubicBezTo>
                    <a:pt x="2357" y="1298"/>
                    <a:pt x="2364" y="1303"/>
                    <a:pt x="2373" y="1303"/>
                  </a:cubicBezTo>
                  <a:cubicBezTo>
                    <a:pt x="2382" y="1303"/>
                    <a:pt x="2389" y="1298"/>
                    <a:pt x="2389" y="1293"/>
                  </a:cubicBezTo>
                  <a:cubicBezTo>
                    <a:pt x="2390" y="1287"/>
                    <a:pt x="2382" y="1283"/>
                    <a:pt x="2374" y="1283"/>
                  </a:cubicBezTo>
                  <a:cubicBezTo>
                    <a:pt x="2374" y="1283"/>
                    <a:pt x="2374" y="1283"/>
                    <a:pt x="2374" y="1283"/>
                  </a:cubicBezTo>
                  <a:moveTo>
                    <a:pt x="2420" y="1282"/>
                  </a:moveTo>
                  <a:cubicBezTo>
                    <a:pt x="2411" y="1282"/>
                    <a:pt x="2404" y="1287"/>
                    <a:pt x="2403" y="1293"/>
                  </a:cubicBezTo>
                  <a:cubicBezTo>
                    <a:pt x="2403" y="1298"/>
                    <a:pt x="2411" y="1303"/>
                    <a:pt x="2420" y="1303"/>
                  </a:cubicBezTo>
                  <a:cubicBezTo>
                    <a:pt x="2429" y="1303"/>
                    <a:pt x="2436" y="1298"/>
                    <a:pt x="2436" y="1293"/>
                  </a:cubicBezTo>
                  <a:cubicBezTo>
                    <a:pt x="2436" y="1287"/>
                    <a:pt x="2429" y="1282"/>
                    <a:pt x="2420" y="1282"/>
                  </a:cubicBezTo>
                  <a:cubicBezTo>
                    <a:pt x="2420" y="1282"/>
                    <a:pt x="2420" y="1282"/>
                    <a:pt x="2420" y="1282"/>
                  </a:cubicBezTo>
                  <a:moveTo>
                    <a:pt x="2468" y="1282"/>
                  </a:moveTo>
                  <a:cubicBezTo>
                    <a:pt x="2459" y="1282"/>
                    <a:pt x="2451" y="1287"/>
                    <a:pt x="2451" y="1293"/>
                  </a:cubicBezTo>
                  <a:cubicBezTo>
                    <a:pt x="2451" y="1298"/>
                    <a:pt x="2459" y="1303"/>
                    <a:pt x="2468" y="1303"/>
                  </a:cubicBezTo>
                  <a:cubicBezTo>
                    <a:pt x="2477" y="1303"/>
                    <a:pt x="2484" y="1298"/>
                    <a:pt x="2484" y="1292"/>
                  </a:cubicBezTo>
                  <a:cubicBezTo>
                    <a:pt x="2484" y="1287"/>
                    <a:pt x="2477" y="1282"/>
                    <a:pt x="2468" y="1282"/>
                  </a:cubicBezTo>
                  <a:cubicBezTo>
                    <a:pt x="2468" y="1282"/>
                    <a:pt x="2468" y="1282"/>
                    <a:pt x="2468" y="1282"/>
                  </a:cubicBezTo>
                  <a:moveTo>
                    <a:pt x="2514" y="1282"/>
                  </a:moveTo>
                  <a:cubicBezTo>
                    <a:pt x="2505" y="1282"/>
                    <a:pt x="2497" y="1287"/>
                    <a:pt x="2497" y="1292"/>
                  </a:cubicBezTo>
                  <a:cubicBezTo>
                    <a:pt x="2498" y="1298"/>
                    <a:pt x="2505" y="1303"/>
                    <a:pt x="2514" y="1303"/>
                  </a:cubicBezTo>
                  <a:cubicBezTo>
                    <a:pt x="2523" y="1303"/>
                    <a:pt x="2530" y="1298"/>
                    <a:pt x="2530" y="1292"/>
                  </a:cubicBezTo>
                  <a:cubicBezTo>
                    <a:pt x="2530" y="1287"/>
                    <a:pt x="2522" y="1282"/>
                    <a:pt x="2514" y="1282"/>
                  </a:cubicBezTo>
                  <a:cubicBezTo>
                    <a:pt x="2514" y="1282"/>
                    <a:pt x="2514" y="1282"/>
                    <a:pt x="2514" y="1282"/>
                  </a:cubicBezTo>
                  <a:moveTo>
                    <a:pt x="2560" y="1282"/>
                  </a:moveTo>
                  <a:cubicBezTo>
                    <a:pt x="2551" y="1282"/>
                    <a:pt x="2544" y="1287"/>
                    <a:pt x="2544" y="1292"/>
                  </a:cubicBezTo>
                  <a:cubicBezTo>
                    <a:pt x="2544" y="1298"/>
                    <a:pt x="2552" y="1303"/>
                    <a:pt x="2560" y="1303"/>
                  </a:cubicBezTo>
                  <a:cubicBezTo>
                    <a:pt x="2569" y="1303"/>
                    <a:pt x="2577" y="1298"/>
                    <a:pt x="2576" y="1292"/>
                  </a:cubicBezTo>
                  <a:cubicBezTo>
                    <a:pt x="2576" y="1287"/>
                    <a:pt x="2569" y="1282"/>
                    <a:pt x="2560" y="1282"/>
                  </a:cubicBezTo>
                  <a:cubicBezTo>
                    <a:pt x="2560" y="1282"/>
                    <a:pt x="2560" y="1282"/>
                    <a:pt x="2560" y="1282"/>
                  </a:cubicBezTo>
                  <a:moveTo>
                    <a:pt x="2607" y="1282"/>
                  </a:moveTo>
                  <a:cubicBezTo>
                    <a:pt x="2598" y="1282"/>
                    <a:pt x="2591" y="1287"/>
                    <a:pt x="2591" y="1292"/>
                  </a:cubicBezTo>
                  <a:cubicBezTo>
                    <a:pt x="2591" y="1298"/>
                    <a:pt x="2599" y="1302"/>
                    <a:pt x="2608" y="1302"/>
                  </a:cubicBezTo>
                  <a:cubicBezTo>
                    <a:pt x="2617" y="1302"/>
                    <a:pt x="2624" y="1298"/>
                    <a:pt x="2623" y="1292"/>
                  </a:cubicBezTo>
                  <a:cubicBezTo>
                    <a:pt x="2623" y="1287"/>
                    <a:pt x="2616" y="1282"/>
                    <a:pt x="2607" y="1282"/>
                  </a:cubicBezTo>
                  <a:cubicBezTo>
                    <a:pt x="2607" y="1282"/>
                    <a:pt x="2607" y="1282"/>
                    <a:pt x="2607" y="1282"/>
                  </a:cubicBezTo>
                  <a:moveTo>
                    <a:pt x="2653" y="1282"/>
                  </a:moveTo>
                  <a:cubicBezTo>
                    <a:pt x="2644" y="1282"/>
                    <a:pt x="2637" y="1286"/>
                    <a:pt x="2637" y="1292"/>
                  </a:cubicBezTo>
                  <a:cubicBezTo>
                    <a:pt x="2637" y="1298"/>
                    <a:pt x="2645" y="1302"/>
                    <a:pt x="2654" y="1302"/>
                  </a:cubicBezTo>
                  <a:cubicBezTo>
                    <a:pt x="2663" y="1302"/>
                    <a:pt x="2670" y="1298"/>
                    <a:pt x="2669" y="1292"/>
                  </a:cubicBezTo>
                  <a:cubicBezTo>
                    <a:pt x="2669" y="1286"/>
                    <a:pt x="2662" y="1282"/>
                    <a:pt x="2653" y="1282"/>
                  </a:cubicBezTo>
                  <a:cubicBezTo>
                    <a:pt x="2653" y="1282"/>
                    <a:pt x="2653" y="1282"/>
                    <a:pt x="2653" y="1282"/>
                  </a:cubicBezTo>
                  <a:moveTo>
                    <a:pt x="2699" y="1282"/>
                  </a:moveTo>
                  <a:cubicBezTo>
                    <a:pt x="2690" y="1282"/>
                    <a:pt x="2683" y="1286"/>
                    <a:pt x="2684" y="1292"/>
                  </a:cubicBezTo>
                  <a:cubicBezTo>
                    <a:pt x="2684" y="1298"/>
                    <a:pt x="2692" y="1302"/>
                    <a:pt x="2701" y="1302"/>
                  </a:cubicBezTo>
                  <a:cubicBezTo>
                    <a:pt x="2710" y="1302"/>
                    <a:pt x="2717" y="1298"/>
                    <a:pt x="2716" y="1292"/>
                  </a:cubicBezTo>
                  <a:cubicBezTo>
                    <a:pt x="2716" y="1286"/>
                    <a:pt x="2708" y="1282"/>
                    <a:pt x="2699" y="1282"/>
                  </a:cubicBezTo>
                  <a:cubicBezTo>
                    <a:pt x="2699" y="1282"/>
                    <a:pt x="2699" y="1282"/>
                    <a:pt x="2699" y="1282"/>
                  </a:cubicBezTo>
                  <a:moveTo>
                    <a:pt x="2744" y="1282"/>
                  </a:moveTo>
                  <a:cubicBezTo>
                    <a:pt x="2735" y="1282"/>
                    <a:pt x="2728" y="1286"/>
                    <a:pt x="2728" y="1292"/>
                  </a:cubicBezTo>
                  <a:cubicBezTo>
                    <a:pt x="2729" y="1298"/>
                    <a:pt x="2737" y="1302"/>
                    <a:pt x="2746" y="1302"/>
                  </a:cubicBezTo>
                  <a:cubicBezTo>
                    <a:pt x="2755" y="1302"/>
                    <a:pt x="2761" y="1298"/>
                    <a:pt x="2761" y="1292"/>
                  </a:cubicBezTo>
                  <a:cubicBezTo>
                    <a:pt x="2760" y="1286"/>
                    <a:pt x="2753" y="1282"/>
                    <a:pt x="2744" y="1282"/>
                  </a:cubicBezTo>
                  <a:cubicBezTo>
                    <a:pt x="2744" y="1282"/>
                    <a:pt x="2744" y="1282"/>
                    <a:pt x="2744" y="1282"/>
                  </a:cubicBezTo>
                  <a:moveTo>
                    <a:pt x="4544" y="1275"/>
                  </a:moveTo>
                  <a:cubicBezTo>
                    <a:pt x="4535" y="1275"/>
                    <a:pt x="4531" y="1280"/>
                    <a:pt x="4534" y="1286"/>
                  </a:cubicBezTo>
                  <a:cubicBezTo>
                    <a:pt x="4538" y="1291"/>
                    <a:pt x="4548" y="1296"/>
                    <a:pt x="4557" y="1296"/>
                  </a:cubicBezTo>
                  <a:cubicBezTo>
                    <a:pt x="4566" y="1296"/>
                    <a:pt x="4571" y="1291"/>
                    <a:pt x="4567" y="1286"/>
                  </a:cubicBezTo>
                  <a:cubicBezTo>
                    <a:pt x="4563" y="1280"/>
                    <a:pt x="4553" y="1275"/>
                    <a:pt x="4544" y="1275"/>
                  </a:cubicBezTo>
                  <a:cubicBezTo>
                    <a:pt x="4544" y="1275"/>
                    <a:pt x="4544" y="1275"/>
                    <a:pt x="4544" y="1275"/>
                  </a:cubicBezTo>
                  <a:moveTo>
                    <a:pt x="268" y="1255"/>
                  </a:moveTo>
                  <a:cubicBezTo>
                    <a:pt x="260" y="1255"/>
                    <a:pt x="249" y="1260"/>
                    <a:pt x="245" y="1266"/>
                  </a:cubicBezTo>
                  <a:cubicBezTo>
                    <a:pt x="241" y="1271"/>
                    <a:pt x="245" y="1276"/>
                    <a:pt x="254" y="1276"/>
                  </a:cubicBezTo>
                  <a:cubicBezTo>
                    <a:pt x="263" y="1276"/>
                    <a:pt x="274" y="1271"/>
                    <a:pt x="277" y="1265"/>
                  </a:cubicBezTo>
                  <a:cubicBezTo>
                    <a:pt x="281" y="1260"/>
                    <a:pt x="277" y="1255"/>
                    <a:pt x="269" y="1255"/>
                  </a:cubicBezTo>
                  <a:cubicBezTo>
                    <a:pt x="268" y="1255"/>
                    <a:pt x="268" y="1255"/>
                    <a:pt x="268" y="1255"/>
                  </a:cubicBezTo>
                  <a:moveTo>
                    <a:pt x="314" y="1255"/>
                  </a:moveTo>
                  <a:cubicBezTo>
                    <a:pt x="305" y="1255"/>
                    <a:pt x="295" y="1260"/>
                    <a:pt x="291" y="1265"/>
                  </a:cubicBezTo>
                  <a:cubicBezTo>
                    <a:pt x="287" y="1271"/>
                    <a:pt x="291" y="1276"/>
                    <a:pt x="300" y="1276"/>
                  </a:cubicBezTo>
                  <a:cubicBezTo>
                    <a:pt x="309" y="1276"/>
                    <a:pt x="320" y="1271"/>
                    <a:pt x="323" y="1265"/>
                  </a:cubicBezTo>
                  <a:cubicBezTo>
                    <a:pt x="327" y="1260"/>
                    <a:pt x="323" y="1255"/>
                    <a:pt x="314" y="1255"/>
                  </a:cubicBezTo>
                  <a:cubicBezTo>
                    <a:pt x="314" y="1255"/>
                    <a:pt x="314" y="1255"/>
                    <a:pt x="314" y="1255"/>
                  </a:cubicBezTo>
                  <a:moveTo>
                    <a:pt x="360" y="1255"/>
                  </a:moveTo>
                  <a:cubicBezTo>
                    <a:pt x="351" y="1255"/>
                    <a:pt x="341" y="1260"/>
                    <a:pt x="337" y="1265"/>
                  </a:cubicBezTo>
                  <a:cubicBezTo>
                    <a:pt x="333" y="1271"/>
                    <a:pt x="337" y="1275"/>
                    <a:pt x="346" y="1275"/>
                  </a:cubicBezTo>
                  <a:cubicBezTo>
                    <a:pt x="355" y="1275"/>
                    <a:pt x="365" y="1271"/>
                    <a:pt x="369" y="1265"/>
                  </a:cubicBezTo>
                  <a:cubicBezTo>
                    <a:pt x="373" y="1260"/>
                    <a:pt x="369" y="1255"/>
                    <a:pt x="360" y="1255"/>
                  </a:cubicBezTo>
                  <a:cubicBezTo>
                    <a:pt x="360" y="1255"/>
                    <a:pt x="360" y="1255"/>
                    <a:pt x="360" y="1255"/>
                  </a:cubicBezTo>
                  <a:moveTo>
                    <a:pt x="406" y="1255"/>
                  </a:moveTo>
                  <a:cubicBezTo>
                    <a:pt x="397" y="1255"/>
                    <a:pt x="387" y="1260"/>
                    <a:pt x="383" y="1265"/>
                  </a:cubicBezTo>
                  <a:cubicBezTo>
                    <a:pt x="379" y="1271"/>
                    <a:pt x="384" y="1275"/>
                    <a:pt x="392" y="1275"/>
                  </a:cubicBezTo>
                  <a:cubicBezTo>
                    <a:pt x="401" y="1275"/>
                    <a:pt x="412" y="1271"/>
                    <a:pt x="415" y="1265"/>
                  </a:cubicBezTo>
                  <a:cubicBezTo>
                    <a:pt x="419" y="1260"/>
                    <a:pt x="415" y="1255"/>
                    <a:pt x="406" y="1255"/>
                  </a:cubicBezTo>
                  <a:cubicBezTo>
                    <a:pt x="406" y="1255"/>
                    <a:pt x="406" y="1255"/>
                    <a:pt x="406" y="1255"/>
                  </a:cubicBezTo>
                  <a:moveTo>
                    <a:pt x="453" y="1255"/>
                  </a:moveTo>
                  <a:cubicBezTo>
                    <a:pt x="444" y="1255"/>
                    <a:pt x="434" y="1260"/>
                    <a:pt x="430" y="1265"/>
                  </a:cubicBezTo>
                  <a:cubicBezTo>
                    <a:pt x="427" y="1271"/>
                    <a:pt x="431" y="1275"/>
                    <a:pt x="440" y="1275"/>
                  </a:cubicBezTo>
                  <a:cubicBezTo>
                    <a:pt x="449" y="1275"/>
                    <a:pt x="459" y="1271"/>
                    <a:pt x="463" y="1265"/>
                  </a:cubicBezTo>
                  <a:cubicBezTo>
                    <a:pt x="466" y="1259"/>
                    <a:pt x="462" y="1255"/>
                    <a:pt x="453" y="1255"/>
                  </a:cubicBezTo>
                  <a:cubicBezTo>
                    <a:pt x="453" y="1255"/>
                    <a:pt x="453" y="1255"/>
                    <a:pt x="453" y="1255"/>
                  </a:cubicBezTo>
                  <a:moveTo>
                    <a:pt x="499" y="1255"/>
                  </a:moveTo>
                  <a:cubicBezTo>
                    <a:pt x="490" y="1255"/>
                    <a:pt x="480" y="1259"/>
                    <a:pt x="476" y="1265"/>
                  </a:cubicBezTo>
                  <a:cubicBezTo>
                    <a:pt x="473" y="1271"/>
                    <a:pt x="477" y="1275"/>
                    <a:pt x="486" y="1275"/>
                  </a:cubicBezTo>
                  <a:cubicBezTo>
                    <a:pt x="495" y="1275"/>
                    <a:pt x="505" y="1271"/>
                    <a:pt x="508" y="1265"/>
                  </a:cubicBezTo>
                  <a:cubicBezTo>
                    <a:pt x="512" y="1259"/>
                    <a:pt x="508" y="1255"/>
                    <a:pt x="499" y="1255"/>
                  </a:cubicBezTo>
                  <a:cubicBezTo>
                    <a:pt x="499" y="1255"/>
                    <a:pt x="499" y="1255"/>
                    <a:pt x="499" y="1255"/>
                  </a:cubicBezTo>
                  <a:moveTo>
                    <a:pt x="545" y="1255"/>
                  </a:moveTo>
                  <a:cubicBezTo>
                    <a:pt x="536" y="1255"/>
                    <a:pt x="526" y="1259"/>
                    <a:pt x="522" y="1265"/>
                  </a:cubicBezTo>
                  <a:cubicBezTo>
                    <a:pt x="519" y="1271"/>
                    <a:pt x="523" y="1275"/>
                    <a:pt x="532" y="1275"/>
                  </a:cubicBezTo>
                  <a:cubicBezTo>
                    <a:pt x="541" y="1275"/>
                    <a:pt x="551" y="1270"/>
                    <a:pt x="554" y="1265"/>
                  </a:cubicBezTo>
                  <a:cubicBezTo>
                    <a:pt x="558" y="1259"/>
                    <a:pt x="553" y="1255"/>
                    <a:pt x="545" y="1255"/>
                  </a:cubicBezTo>
                  <a:cubicBezTo>
                    <a:pt x="545" y="1255"/>
                    <a:pt x="545" y="1255"/>
                    <a:pt x="545" y="1255"/>
                  </a:cubicBezTo>
                  <a:moveTo>
                    <a:pt x="591" y="1255"/>
                  </a:moveTo>
                  <a:cubicBezTo>
                    <a:pt x="582" y="1255"/>
                    <a:pt x="572" y="1259"/>
                    <a:pt x="569" y="1265"/>
                  </a:cubicBezTo>
                  <a:cubicBezTo>
                    <a:pt x="565" y="1270"/>
                    <a:pt x="570" y="1275"/>
                    <a:pt x="579" y="1275"/>
                  </a:cubicBezTo>
                  <a:cubicBezTo>
                    <a:pt x="588" y="1275"/>
                    <a:pt x="598" y="1270"/>
                    <a:pt x="601" y="1265"/>
                  </a:cubicBezTo>
                  <a:cubicBezTo>
                    <a:pt x="604" y="1259"/>
                    <a:pt x="600" y="1255"/>
                    <a:pt x="591" y="1255"/>
                  </a:cubicBezTo>
                  <a:cubicBezTo>
                    <a:pt x="591" y="1255"/>
                    <a:pt x="591" y="1255"/>
                    <a:pt x="591" y="1255"/>
                  </a:cubicBezTo>
                  <a:moveTo>
                    <a:pt x="636" y="1254"/>
                  </a:moveTo>
                  <a:cubicBezTo>
                    <a:pt x="628" y="1255"/>
                    <a:pt x="618" y="1259"/>
                    <a:pt x="614" y="1265"/>
                  </a:cubicBezTo>
                  <a:cubicBezTo>
                    <a:pt x="611" y="1270"/>
                    <a:pt x="616" y="1275"/>
                    <a:pt x="625" y="1275"/>
                  </a:cubicBezTo>
                  <a:cubicBezTo>
                    <a:pt x="634" y="1275"/>
                    <a:pt x="643" y="1270"/>
                    <a:pt x="647" y="1265"/>
                  </a:cubicBezTo>
                  <a:cubicBezTo>
                    <a:pt x="650" y="1259"/>
                    <a:pt x="645" y="1254"/>
                    <a:pt x="636" y="1254"/>
                  </a:cubicBezTo>
                  <a:cubicBezTo>
                    <a:pt x="636" y="1254"/>
                    <a:pt x="636" y="1254"/>
                    <a:pt x="636" y="1254"/>
                  </a:cubicBezTo>
                  <a:moveTo>
                    <a:pt x="682" y="1254"/>
                  </a:moveTo>
                  <a:cubicBezTo>
                    <a:pt x="673" y="1254"/>
                    <a:pt x="664" y="1259"/>
                    <a:pt x="660" y="1265"/>
                  </a:cubicBezTo>
                  <a:cubicBezTo>
                    <a:pt x="657" y="1270"/>
                    <a:pt x="662" y="1275"/>
                    <a:pt x="671" y="1275"/>
                  </a:cubicBezTo>
                  <a:cubicBezTo>
                    <a:pt x="680" y="1275"/>
                    <a:pt x="689" y="1270"/>
                    <a:pt x="693" y="1264"/>
                  </a:cubicBezTo>
                  <a:cubicBezTo>
                    <a:pt x="696" y="1259"/>
                    <a:pt x="691" y="1254"/>
                    <a:pt x="682" y="1254"/>
                  </a:cubicBezTo>
                  <a:cubicBezTo>
                    <a:pt x="682" y="1254"/>
                    <a:pt x="682" y="1254"/>
                    <a:pt x="682" y="1254"/>
                  </a:cubicBezTo>
                  <a:moveTo>
                    <a:pt x="728" y="1254"/>
                  </a:moveTo>
                  <a:cubicBezTo>
                    <a:pt x="719" y="1254"/>
                    <a:pt x="709" y="1259"/>
                    <a:pt x="706" y="1264"/>
                  </a:cubicBezTo>
                  <a:cubicBezTo>
                    <a:pt x="703" y="1270"/>
                    <a:pt x="708" y="1275"/>
                    <a:pt x="717" y="1275"/>
                  </a:cubicBezTo>
                  <a:cubicBezTo>
                    <a:pt x="725" y="1275"/>
                    <a:pt x="735" y="1270"/>
                    <a:pt x="738" y="1264"/>
                  </a:cubicBezTo>
                  <a:cubicBezTo>
                    <a:pt x="741" y="1259"/>
                    <a:pt x="737" y="1254"/>
                    <a:pt x="728" y="1254"/>
                  </a:cubicBezTo>
                  <a:cubicBezTo>
                    <a:pt x="728" y="1254"/>
                    <a:pt x="728" y="1254"/>
                    <a:pt x="728" y="1254"/>
                  </a:cubicBezTo>
                  <a:moveTo>
                    <a:pt x="774" y="1254"/>
                  </a:moveTo>
                  <a:cubicBezTo>
                    <a:pt x="765" y="1254"/>
                    <a:pt x="755" y="1259"/>
                    <a:pt x="752" y="1264"/>
                  </a:cubicBezTo>
                  <a:cubicBezTo>
                    <a:pt x="749" y="1270"/>
                    <a:pt x="754" y="1274"/>
                    <a:pt x="763" y="1274"/>
                  </a:cubicBezTo>
                  <a:cubicBezTo>
                    <a:pt x="772" y="1274"/>
                    <a:pt x="781" y="1270"/>
                    <a:pt x="784" y="1264"/>
                  </a:cubicBezTo>
                  <a:cubicBezTo>
                    <a:pt x="787" y="1259"/>
                    <a:pt x="783" y="1254"/>
                    <a:pt x="774" y="1254"/>
                  </a:cubicBezTo>
                  <a:cubicBezTo>
                    <a:pt x="774" y="1254"/>
                    <a:pt x="774" y="1254"/>
                    <a:pt x="774" y="1254"/>
                  </a:cubicBezTo>
                  <a:moveTo>
                    <a:pt x="820" y="1254"/>
                  </a:moveTo>
                  <a:cubicBezTo>
                    <a:pt x="811" y="1254"/>
                    <a:pt x="802" y="1259"/>
                    <a:pt x="799" y="1264"/>
                  </a:cubicBezTo>
                  <a:cubicBezTo>
                    <a:pt x="796" y="1270"/>
                    <a:pt x="800" y="1274"/>
                    <a:pt x="809" y="1274"/>
                  </a:cubicBezTo>
                  <a:cubicBezTo>
                    <a:pt x="818" y="1274"/>
                    <a:pt x="828" y="1270"/>
                    <a:pt x="831" y="1264"/>
                  </a:cubicBezTo>
                  <a:cubicBezTo>
                    <a:pt x="834" y="1259"/>
                    <a:pt x="829" y="1254"/>
                    <a:pt x="820" y="1254"/>
                  </a:cubicBezTo>
                  <a:cubicBezTo>
                    <a:pt x="820" y="1254"/>
                    <a:pt x="820" y="1254"/>
                    <a:pt x="820" y="1254"/>
                  </a:cubicBezTo>
                  <a:moveTo>
                    <a:pt x="866" y="1254"/>
                  </a:moveTo>
                  <a:cubicBezTo>
                    <a:pt x="857" y="1254"/>
                    <a:pt x="847" y="1258"/>
                    <a:pt x="844" y="1264"/>
                  </a:cubicBezTo>
                  <a:cubicBezTo>
                    <a:pt x="841" y="1270"/>
                    <a:pt x="846" y="1274"/>
                    <a:pt x="855" y="1274"/>
                  </a:cubicBezTo>
                  <a:cubicBezTo>
                    <a:pt x="864" y="1274"/>
                    <a:pt x="874" y="1270"/>
                    <a:pt x="877" y="1264"/>
                  </a:cubicBezTo>
                  <a:cubicBezTo>
                    <a:pt x="879" y="1258"/>
                    <a:pt x="874" y="1254"/>
                    <a:pt x="866" y="1254"/>
                  </a:cubicBezTo>
                  <a:cubicBezTo>
                    <a:pt x="866" y="1254"/>
                    <a:pt x="866" y="1254"/>
                    <a:pt x="866" y="1254"/>
                  </a:cubicBezTo>
                  <a:moveTo>
                    <a:pt x="911" y="1254"/>
                  </a:moveTo>
                  <a:cubicBezTo>
                    <a:pt x="903" y="1254"/>
                    <a:pt x="893" y="1258"/>
                    <a:pt x="890" y="1264"/>
                  </a:cubicBezTo>
                  <a:cubicBezTo>
                    <a:pt x="887" y="1270"/>
                    <a:pt x="892" y="1274"/>
                    <a:pt x="901" y="1274"/>
                  </a:cubicBezTo>
                  <a:cubicBezTo>
                    <a:pt x="910" y="1274"/>
                    <a:pt x="920" y="1270"/>
                    <a:pt x="922" y="1264"/>
                  </a:cubicBezTo>
                  <a:cubicBezTo>
                    <a:pt x="925" y="1258"/>
                    <a:pt x="920" y="1254"/>
                    <a:pt x="911" y="1254"/>
                  </a:cubicBezTo>
                  <a:cubicBezTo>
                    <a:pt x="911" y="1254"/>
                    <a:pt x="911" y="1254"/>
                    <a:pt x="911" y="1254"/>
                  </a:cubicBezTo>
                  <a:moveTo>
                    <a:pt x="957" y="1254"/>
                  </a:moveTo>
                  <a:cubicBezTo>
                    <a:pt x="948" y="1254"/>
                    <a:pt x="939" y="1258"/>
                    <a:pt x="936" y="1264"/>
                  </a:cubicBezTo>
                  <a:cubicBezTo>
                    <a:pt x="933" y="1270"/>
                    <a:pt x="938" y="1274"/>
                    <a:pt x="947" y="1274"/>
                  </a:cubicBezTo>
                  <a:cubicBezTo>
                    <a:pt x="956" y="1274"/>
                    <a:pt x="965" y="1269"/>
                    <a:pt x="968" y="1264"/>
                  </a:cubicBezTo>
                  <a:cubicBezTo>
                    <a:pt x="971" y="1258"/>
                    <a:pt x="966" y="1254"/>
                    <a:pt x="957" y="1254"/>
                  </a:cubicBezTo>
                  <a:cubicBezTo>
                    <a:pt x="957" y="1254"/>
                    <a:pt x="957" y="1254"/>
                    <a:pt x="957" y="1254"/>
                  </a:cubicBezTo>
                  <a:moveTo>
                    <a:pt x="1003" y="1254"/>
                  </a:moveTo>
                  <a:cubicBezTo>
                    <a:pt x="994" y="1254"/>
                    <a:pt x="985" y="1258"/>
                    <a:pt x="982" y="1264"/>
                  </a:cubicBezTo>
                  <a:cubicBezTo>
                    <a:pt x="979" y="1269"/>
                    <a:pt x="984" y="1274"/>
                    <a:pt x="993" y="1274"/>
                  </a:cubicBezTo>
                  <a:cubicBezTo>
                    <a:pt x="1002" y="1274"/>
                    <a:pt x="1012" y="1269"/>
                    <a:pt x="1014" y="1264"/>
                  </a:cubicBezTo>
                  <a:cubicBezTo>
                    <a:pt x="1017" y="1258"/>
                    <a:pt x="1012" y="1254"/>
                    <a:pt x="1003" y="1254"/>
                  </a:cubicBezTo>
                  <a:cubicBezTo>
                    <a:pt x="1003" y="1254"/>
                    <a:pt x="1003" y="1254"/>
                    <a:pt x="1003" y="1254"/>
                  </a:cubicBezTo>
                  <a:moveTo>
                    <a:pt x="1049" y="1253"/>
                  </a:moveTo>
                  <a:cubicBezTo>
                    <a:pt x="1040" y="1253"/>
                    <a:pt x="1031" y="1258"/>
                    <a:pt x="1029" y="1264"/>
                  </a:cubicBezTo>
                  <a:cubicBezTo>
                    <a:pt x="1026" y="1269"/>
                    <a:pt x="1031" y="1274"/>
                    <a:pt x="1040" y="1274"/>
                  </a:cubicBezTo>
                  <a:cubicBezTo>
                    <a:pt x="1049" y="1274"/>
                    <a:pt x="1058" y="1269"/>
                    <a:pt x="1061" y="1264"/>
                  </a:cubicBezTo>
                  <a:cubicBezTo>
                    <a:pt x="1063" y="1258"/>
                    <a:pt x="1058" y="1253"/>
                    <a:pt x="1049" y="1253"/>
                  </a:cubicBezTo>
                  <a:cubicBezTo>
                    <a:pt x="1049" y="1253"/>
                    <a:pt x="1049" y="1253"/>
                    <a:pt x="1049" y="1253"/>
                  </a:cubicBezTo>
                  <a:moveTo>
                    <a:pt x="2192" y="1253"/>
                  </a:moveTo>
                  <a:cubicBezTo>
                    <a:pt x="2183" y="1253"/>
                    <a:pt x="2176" y="1258"/>
                    <a:pt x="2175" y="1264"/>
                  </a:cubicBezTo>
                  <a:cubicBezTo>
                    <a:pt x="2175" y="1269"/>
                    <a:pt x="2182" y="1274"/>
                    <a:pt x="2190" y="1274"/>
                  </a:cubicBezTo>
                  <a:cubicBezTo>
                    <a:pt x="2199" y="1274"/>
                    <a:pt x="2207" y="1269"/>
                    <a:pt x="2207" y="1264"/>
                  </a:cubicBezTo>
                  <a:cubicBezTo>
                    <a:pt x="2208" y="1258"/>
                    <a:pt x="2201" y="1253"/>
                    <a:pt x="2192" y="1253"/>
                  </a:cubicBezTo>
                  <a:cubicBezTo>
                    <a:pt x="2192" y="1253"/>
                    <a:pt x="2192" y="1253"/>
                    <a:pt x="2192" y="1253"/>
                  </a:cubicBezTo>
                  <a:moveTo>
                    <a:pt x="1091" y="1253"/>
                  </a:moveTo>
                  <a:cubicBezTo>
                    <a:pt x="1082" y="1253"/>
                    <a:pt x="1073" y="1258"/>
                    <a:pt x="1070" y="1264"/>
                  </a:cubicBezTo>
                  <a:cubicBezTo>
                    <a:pt x="1068" y="1269"/>
                    <a:pt x="1073" y="1274"/>
                    <a:pt x="1082" y="1274"/>
                  </a:cubicBezTo>
                  <a:cubicBezTo>
                    <a:pt x="1091" y="1274"/>
                    <a:pt x="1100" y="1269"/>
                    <a:pt x="1102" y="1264"/>
                  </a:cubicBezTo>
                  <a:cubicBezTo>
                    <a:pt x="1105" y="1258"/>
                    <a:pt x="1100" y="1253"/>
                    <a:pt x="1091" y="1253"/>
                  </a:cubicBezTo>
                  <a:cubicBezTo>
                    <a:pt x="1091" y="1253"/>
                    <a:pt x="1091" y="1253"/>
                    <a:pt x="1091" y="1253"/>
                  </a:cubicBezTo>
                  <a:moveTo>
                    <a:pt x="2238" y="1253"/>
                  </a:moveTo>
                  <a:cubicBezTo>
                    <a:pt x="2229" y="1253"/>
                    <a:pt x="2221" y="1258"/>
                    <a:pt x="2221" y="1264"/>
                  </a:cubicBezTo>
                  <a:cubicBezTo>
                    <a:pt x="2220" y="1269"/>
                    <a:pt x="2227" y="1274"/>
                    <a:pt x="2236" y="1274"/>
                  </a:cubicBezTo>
                  <a:cubicBezTo>
                    <a:pt x="2245" y="1274"/>
                    <a:pt x="2253" y="1269"/>
                    <a:pt x="2253" y="1263"/>
                  </a:cubicBezTo>
                  <a:cubicBezTo>
                    <a:pt x="2253" y="1258"/>
                    <a:pt x="2247" y="1253"/>
                    <a:pt x="2238" y="1253"/>
                  </a:cubicBezTo>
                  <a:cubicBezTo>
                    <a:pt x="2238" y="1253"/>
                    <a:pt x="2238" y="1253"/>
                    <a:pt x="2238" y="1253"/>
                  </a:cubicBezTo>
                  <a:moveTo>
                    <a:pt x="1140" y="1253"/>
                  </a:moveTo>
                  <a:cubicBezTo>
                    <a:pt x="1132" y="1253"/>
                    <a:pt x="1122" y="1258"/>
                    <a:pt x="1120" y="1263"/>
                  </a:cubicBezTo>
                  <a:cubicBezTo>
                    <a:pt x="1118" y="1269"/>
                    <a:pt x="1123" y="1274"/>
                    <a:pt x="1132" y="1274"/>
                  </a:cubicBezTo>
                  <a:cubicBezTo>
                    <a:pt x="1141" y="1274"/>
                    <a:pt x="1150" y="1269"/>
                    <a:pt x="1152" y="1263"/>
                  </a:cubicBezTo>
                  <a:cubicBezTo>
                    <a:pt x="1155" y="1258"/>
                    <a:pt x="1149" y="1253"/>
                    <a:pt x="1140" y="1253"/>
                  </a:cubicBezTo>
                  <a:cubicBezTo>
                    <a:pt x="1140" y="1253"/>
                    <a:pt x="1140" y="1253"/>
                    <a:pt x="1140" y="1253"/>
                  </a:cubicBezTo>
                  <a:moveTo>
                    <a:pt x="2284" y="1253"/>
                  </a:moveTo>
                  <a:cubicBezTo>
                    <a:pt x="2275" y="1253"/>
                    <a:pt x="2267" y="1258"/>
                    <a:pt x="2267" y="1263"/>
                  </a:cubicBezTo>
                  <a:cubicBezTo>
                    <a:pt x="2267" y="1269"/>
                    <a:pt x="2274" y="1274"/>
                    <a:pt x="2282" y="1274"/>
                  </a:cubicBezTo>
                  <a:cubicBezTo>
                    <a:pt x="2291" y="1274"/>
                    <a:pt x="2299" y="1269"/>
                    <a:pt x="2299" y="1263"/>
                  </a:cubicBezTo>
                  <a:cubicBezTo>
                    <a:pt x="2299" y="1258"/>
                    <a:pt x="2293" y="1253"/>
                    <a:pt x="2284" y="1253"/>
                  </a:cubicBezTo>
                  <a:cubicBezTo>
                    <a:pt x="2284" y="1253"/>
                    <a:pt x="2284" y="1253"/>
                    <a:pt x="2284" y="1253"/>
                  </a:cubicBezTo>
                  <a:moveTo>
                    <a:pt x="2329" y="1253"/>
                  </a:moveTo>
                  <a:cubicBezTo>
                    <a:pt x="2320" y="1253"/>
                    <a:pt x="2313" y="1258"/>
                    <a:pt x="2312" y="1263"/>
                  </a:cubicBezTo>
                  <a:cubicBezTo>
                    <a:pt x="2312" y="1269"/>
                    <a:pt x="2319" y="1274"/>
                    <a:pt x="2328" y="1274"/>
                  </a:cubicBezTo>
                  <a:cubicBezTo>
                    <a:pt x="2337" y="1273"/>
                    <a:pt x="2344" y="1269"/>
                    <a:pt x="2344" y="1263"/>
                  </a:cubicBezTo>
                  <a:cubicBezTo>
                    <a:pt x="2345" y="1258"/>
                    <a:pt x="2338" y="1253"/>
                    <a:pt x="2329" y="1253"/>
                  </a:cubicBezTo>
                  <a:cubicBezTo>
                    <a:pt x="2329" y="1253"/>
                    <a:pt x="2329" y="1253"/>
                    <a:pt x="2329" y="1253"/>
                  </a:cubicBezTo>
                  <a:moveTo>
                    <a:pt x="2374" y="1253"/>
                  </a:moveTo>
                  <a:cubicBezTo>
                    <a:pt x="2366" y="1253"/>
                    <a:pt x="2358" y="1258"/>
                    <a:pt x="2358" y="1263"/>
                  </a:cubicBezTo>
                  <a:cubicBezTo>
                    <a:pt x="2358" y="1269"/>
                    <a:pt x="2365" y="1273"/>
                    <a:pt x="2374" y="1273"/>
                  </a:cubicBezTo>
                  <a:cubicBezTo>
                    <a:pt x="2383" y="1273"/>
                    <a:pt x="2390" y="1269"/>
                    <a:pt x="2390" y="1263"/>
                  </a:cubicBezTo>
                  <a:cubicBezTo>
                    <a:pt x="2390" y="1258"/>
                    <a:pt x="2383" y="1253"/>
                    <a:pt x="2374" y="1253"/>
                  </a:cubicBezTo>
                  <a:cubicBezTo>
                    <a:pt x="2374" y="1253"/>
                    <a:pt x="2374" y="1253"/>
                    <a:pt x="2374" y="1253"/>
                  </a:cubicBezTo>
                  <a:moveTo>
                    <a:pt x="2420" y="1253"/>
                  </a:moveTo>
                  <a:cubicBezTo>
                    <a:pt x="2411" y="1253"/>
                    <a:pt x="2404" y="1257"/>
                    <a:pt x="2404" y="1263"/>
                  </a:cubicBezTo>
                  <a:cubicBezTo>
                    <a:pt x="2404" y="1269"/>
                    <a:pt x="2411" y="1273"/>
                    <a:pt x="2420" y="1273"/>
                  </a:cubicBezTo>
                  <a:cubicBezTo>
                    <a:pt x="2429" y="1273"/>
                    <a:pt x="2436" y="1269"/>
                    <a:pt x="2436" y="1263"/>
                  </a:cubicBezTo>
                  <a:cubicBezTo>
                    <a:pt x="2436" y="1257"/>
                    <a:pt x="2429" y="1253"/>
                    <a:pt x="2420" y="1253"/>
                  </a:cubicBezTo>
                  <a:cubicBezTo>
                    <a:pt x="2420" y="1253"/>
                    <a:pt x="2420" y="1253"/>
                    <a:pt x="2420" y="1253"/>
                  </a:cubicBezTo>
                  <a:moveTo>
                    <a:pt x="2468" y="1253"/>
                  </a:moveTo>
                  <a:cubicBezTo>
                    <a:pt x="2459" y="1253"/>
                    <a:pt x="2451" y="1257"/>
                    <a:pt x="2451" y="1263"/>
                  </a:cubicBezTo>
                  <a:cubicBezTo>
                    <a:pt x="2451" y="1269"/>
                    <a:pt x="2459" y="1273"/>
                    <a:pt x="2468" y="1273"/>
                  </a:cubicBezTo>
                  <a:cubicBezTo>
                    <a:pt x="2476" y="1273"/>
                    <a:pt x="2484" y="1269"/>
                    <a:pt x="2484" y="1263"/>
                  </a:cubicBezTo>
                  <a:cubicBezTo>
                    <a:pt x="2484" y="1257"/>
                    <a:pt x="2476" y="1253"/>
                    <a:pt x="2468" y="1253"/>
                  </a:cubicBezTo>
                  <a:cubicBezTo>
                    <a:pt x="2468" y="1253"/>
                    <a:pt x="2468" y="1253"/>
                    <a:pt x="2468" y="1253"/>
                  </a:cubicBezTo>
                  <a:moveTo>
                    <a:pt x="2513" y="1253"/>
                  </a:moveTo>
                  <a:cubicBezTo>
                    <a:pt x="2504" y="1253"/>
                    <a:pt x="2497" y="1257"/>
                    <a:pt x="2497" y="1263"/>
                  </a:cubicBezTo>
                  <a:cubicBezTo>
                    <a:pt x="2497" y="1269"/>
                    <a:pt x="2504" y="1273"/>
                    <a:pt x="2513" y="1273"/>
                  </a:cubicBezTo>
                  <a:cubicBezTo>
                    <a:pt x="2522" y="1273"/>
                    <a:pt x="2529" y="1268"/>
                    <a:pt x="2529" y="1263"/>
                  </a:cubicBezTo>
                  <a:cubicBezTo>
                    <a:pt x="2529" y="1257"/>
                    <a:pt x="2522" y="1253"/>
                    <a:pt x="2513" y="1253"/>
                  </a:cubicBezTo>
                  <a:cubicBezTo>
                    <a:pt x="2513" y="1253"/>
                    <a:pt x="2513" y="1253"/>
                    <a:pt x="2513" y="1253"/>
                  </a:cubicBezTo>
                  <a:moveTo>
                    <a:pt x="2559" y="1253"/>
                  </a:moveTo>
                  <a:cubicBezTo>
                    <a:pt x="2550" y="1253"/>
                    <a:pt x="2543" y="1257"/>
                    <a:pt x="2543" y="1263"/>
                  </a:cubicBezTo>
                  <a:cubicBezTo>
                    <a:pt x="2543" y="1268"/>
                    <a:pt x="2551" y="1273"/>
                    <a:pt x="2560" y="1273"/>
                  </a:cubicBezTo>
                  <a:cubicBezTo>
                    <a:pt x="2568" y="1273"/>
                    <a:pt x="2576" y="1268"/>
                    <a:pt x="2575" y="1263"/>
                  </a:cubicBezTo>
                  <a:cubicBezTo>
                    <a:pt x="2575" y="1257"/>
                    <a:pt x="2568" y="1253"/>
                    <a:pt x="2559" y="1253"/>
                  </a:cubicBezTo>
                  <a:cubicBezTo>
                    <a:pt x="2559" y="1253"/>
                    <a:pt x="2559" y="1253"/>
                    <a:pt x="2559" y="1253"/>
                  </a:cubicBezTo>
                  <a:moveTo>
                    <a:pt x="2605" y="1252"/>
                  </a:moveTo>
                  <a:cubicBezTo>
                    <a:pt x="2596" y="1252"/>
                    <a:pt x="2589" y="1257"/>
                    <a:pt x="2590" y="1263"/>
                  </a:cubicBezTo>
                  <a:cubicBezTo>
                    <a:pt x="2590" y="1268"/>
                    <a:pt x="2597" y="1273"/>
                    <a:pt x="2606" y="1273"/>
                  </a:cubicBezTo>
                  <a:cubicBezTo>
                    <a:pt x="2615" y="1273"/>
                    <a:pt x="2622" y="1268"/>
                    <a:pt x="2622" y="1263"/>
                  </a:cubicBezTo>
                  <a:cubicBezTo>
                    <a:pt x="2622" y="1257"/>
                    <a:pt x="2614" y="1252"/>
                    <a:pt x="2605" y="1252"/>
                  </a:cubicBezTo>
                  <a:cubicBezTo>
                    <a:pt x="2605" y="1252"/>
                    <a:pt x="2605" y="1252"/>
                    <a:pt x="2605" y="1252"/>
                  </a:cubicBezTo>
                  <a:moveTo>
                    <a:pt x="2651" y="1252"/>
                  </a:moveTo>
                  <a:cubicBezTo>
                    <a:pt x="2642" y="1252"/>
                    <a:pt x="2635" y="1257"/>
                    <a:pt x="2635" y="1263"/>
                  </a:cubicBezTo>
                  <a:cubicBezTo>
                    <a:pt x="2636" y="1268"/>
                    <a:pt x="2643" y="1273"/>
                    <a:pt x="2652" y="1273"/>
                  </a:cubicBezTo>
                  <a:cubicBezTo>
                    <a:pt x="2661" y="1273"/>
                    <a:pt x="2668" y="1268"/>
                    <a:pt x="2667" y="1263"/>
                  </a:cubicBezTo>
                  <a:cubicBezTo>
                    <a:pt x="2667" y="1257"/>
                    <a:pt x="2660" y="1252"/>
                    <a:pt x="2651" y="1252"/>
                  </a:cubicBezTo>
                  <a:cubicBezTo>
                    <a:pt x="2651" y="1252"/>
                    <a:pt x="2651" y="1252"/>
                    <a:pt x="2651" y="1252"/>
                  </a:cubicBezTo>
                  <a:moveTo>
                    <a:pt x="2697" y="1252"/>
                  </a:moveTo>
                  <a:cubicBezTo>
                    <a:pt x="2688" y="1252"/>
                    <a:pt x="2681" y="1257"/>
                    <a:pt x="2682" y="1262"/>
                  </a:cubicBezTo>
                  <a:cubicBezTo>
                    <a:pt x="2682" y="1268"/>
                    <a:pt x="2690" y="1273"/>
                    <a:pt x="2699" y="1273"/>
                  </a:cubicBezTo>
                  <a:cubicBezTo>
                    <a:pt x="2707" y="1273"/>
                    <a:pt x="2714" y="1268"/>
                    <a:pt x="2714" y="1262"/>
                  </a:cubicBezTo>
                  <a:cubicBezTo>
                    <a:pt x="2713" y="1257"/>
                    <a:pt x="2706" y="1252"/>
                    <a:pt x="2697" y="1252"/>
                  </a:cubicBezTo>
                  <a:cubicBezTo>
                    <a:pt x="2697" y="1252"/>
                    <a:pt x="2697" y="1252"/>
                    <a:pt x="2697" y="1252"/>
                  </a:cubicBezTo>
                  <a:moveTo>
                    <a:pt x="4250" y="1245"/>
                  </a:moveTo>
                  <a:cubicBezTo>
                    <a:pt x="4241" y="1245"/>
                    <a:pt x="4237" y="1250"/>
                    <a:pt x="4240" y="1255"/>
                  </a:cubicBezTo>
                  <a:cubicBezTo>
                    <a:pt x="4243" y="1261"/>
                    <a:pt x="4253" y="1265"/>
                    <a:pt x="4262" y="1265"/>
                  </a:cubicBezTo>
                  <a:cubicBezTo>
                    <a:pt x="4271" y="1265"/>
                    <a:pt x="4275" y="1261"/>
                    <a:pt x="4272" y="1255"/>
                  </a:cubicBezTo>
                  <a:cubicBezTo>
                    <a:pt x="4269" y="1249"/>
                    <a:pt x="4259" y="1245"/>
                    <a:pt x="4250" y="1245"/>
                  </a:cubicBezTo>
                  <a:cubicBezTo>
                    <a:pt x="4250" y="1245"/>
                    <a:pt x="4250" y="1245"/>
                    <a:pt x="4250" y="1245"/>
                  </a:cubicBezTo>
                  <a:moveTo>
                    <a:pt x="4295" y="1245"/>
                  </a:moveTo>
                  <a:cubicBezTo>
                    <a:pt x="4286" y="1245"/>
                    <a:pt x="4282" y="1249"/>
                    <a:pt x="4285" y="1255"/>
                  </a:cubicBezTo>
                  <a:cubicBezTo>
                    <a:pt x="4288" y="1261"/>
                    <a:pt x="4298" y="1265"/>
                    <a:pt x="4307" y="1265"/>
                  </a:cubicBezTo>
                  <a:cubicBezTo>
                    <a:pt x="4316" y="1265"/>
                    <a:pt x="4320" y="1261"/>
                    <a:pt x="4317" y="1255"/>
                  </a:cubicBezTo>
                  <a:cubicBezTo>
                    <a:pt x="4314" y="1249"/>
                    <a:pt x="4304" y="1245"/>
                    <a:pt x="4295" y="1245"/>
                  </a:cubicBezTo>
                  <a:cubicBezTo>
                    <a:pt x="4295" y="1245"/>
                    <a:pt x="4295" y="1245"/>
                    <a:pt x="4295" y="1245"/>
                  </a:cubicBezTo>
                  <a:moveTo>
                    <a:pt x="4845" y="1241"/>
                  </a:moveTo>
                  <a:cubicBezTo>
                    <a:pt x="4836" y="1241"/>
                    <a:pt x="4832" y="1246"/>
                    <a:pt x="4836" y="1252"/>
                  </a:cubicBezTo>
                  <a:cubicBezTo>
                    <a:pt x="4841" y="1257"/>
                    <a:pt x="4851" y="1262"/>
                    <a:pt x="4860" y="1262"/>
                  </a:cubicBezTo>
                  <a:cubicBezTo>
                    <a:pt x="4869" y="1262"/>
                    <a:pt x="4873" y="1257"/>
                    <a:pt x="4868" y="1251"/>
                  </a:cubicBezTo>
                  <a:cubicBezTo>
                    <a:pt x="4864" y="1246"/>
                    <a:pt x="4854" y="1241"/>
                    <a:pt x="4845" y="1241"/>
                  </a:cubicBezTo>
                  <a:cubicBezTo>
                    <a:pt x="4845" y="1241"/>
                    <a:pt x="4845" y="1241"/>
                    <a:pt x="4845" y="1241"/>
                  </a:cubicBezTo>
                  <a:moveTo>
                    <a:pt x="4889" y="1241"/>
                  </a:moveTo>
                  <a:cubicBezTo>
                    <a:pt x="4880" y="1241"/>
                    <a:pt x="4877" y="1246"/>
                    <a:pt x="4881" y="1251"/>
                  </a:cubicBezTo>
                  <a:cubicBezTo>
                    <a:pt x="4885" y="1257"/>
                    <a:pt x="4896" y="1262"/>
                    <a:pt x="4905" y="1262"/>
                  </a:cubicBezTo>
                  <a:cubicBezTo>
                    <a:pt x="4914" y="1262"/>
                    <a:pt x="4917" y="1257"/>
                    <a:pt x="4913" y="1251"/>
                  </a:cubicBezTo>
                  <a:cubicBezTo>
                    <a:pt x="4909" y="1246"/>
                    <a:pt x="4898" y="1241"/>
                    <a:pt x="4889" y="1241"/>
                  </a:cubicBezTo>
                  <a:cubicBezTo>
                    <a:pt x="4889" y="1241"/>
                    <a:pt x="4889" y="1241"/>
                    <a:pt x="4889" y="1241"/>
                  </a:cubicBezTo>
                  <a:moveTo>
                    <a:pt x="4935" y="1241"/>
                  </a:moveTo>
                  <a:cubicBezTo>
                    <a:pt x="4926" y="1241"/>
                    <a:pt x="4922" y="1246"/>
                    <a:pt x="4927" y="1251"/>
                  </a:cubicBezTo>
                  <a:cubicBezTo>
                    <a:pt x="4931" y="1257"/>
                    <a:pt x="4942" y="1262"/>
                    <a:pt x="4951" y="1262"/>
                  </a:cubicBezTo>
                  <a:cubicBezTo>
                    <a:pt x="4960" y="1262"/>
                    <a:pt x="4963" y="1257"/>
                    <a:pt x="4959" y="1251"/>
                  </a:cubicBezTo>
                  <a:cubicBezTo>
                    <a:pt x="4954" y="1246"/>
                    <a:pt x="4944" y="1241"/>
                    <a:pt x="4935" y="1241"/>
                  </a:cubicBezTo>
                  <a:cubicBezTo>
                    <a:pt x="4935" y="1241"/>
                    <a:pt x="4935" y="1241"/>
                    <a:pt x="4935" y="1241"/>
                  </a:cubicBezTo>
                  <a:moveTo>
                    <a:pt x="4981" y="1241"/>
                  </a:moveTo>
                  <a:cubicBezTo>
                    <a:pt x="4972" y="1241"/>
                    <a:pt x="4969" y="1246"/>
                    <a:pt x="4973" y="1251"/>
                  </a:cubicBezTo>
                  <a:cubicBezTo>
                    <a:pt x="4978" y="1257"/>
                    <a:pt x="4989" y="1262"/>
                    <a:pt x="4998" y="1262"/>
                  </a:cubicBezTo>
                  <a:cubicBezTo>
                    <a:pt x="5006" y="1261"/>
                    <a:pt x="5010" y="1257"/>
                    <a:pt x="5005" y="1251"/>
                  </a:cubicBezTo>
                  <a:cubicBezTo>
                    <a:pt x="5001" y="1245"/>
                    <a:pt x="4990" y="1241"/>
                    <a:pt x="4981" y="1241"/>
                  </a:cubicBezTo>
                  <a:cubicBezTo>
                    <a:pt x="4981" y="1241"/>
                    <a:pt x="4981" y="1241"/>
                    <a:pt x="4981" y="1241"/>
                  </a:cubicBezTo>
                  <a:moveTo>
                    <a:pt x="243" y="1228"/>
                  </a:moveTo>
                  <a:cubicBezTo>
                    <a:pt x="234" y="1228"/>
                    <a:pt x="224" y="1232"/>
                    <a:pt x="220" y="1238"/>
                  </a:cubicBezTo>
                  <a:cubicBezTo>
                    <a:pt x="216" y="1243"/>
                    <a:pt x="219" y="1248"/>
                    <a:pt x="228" y="1248"/>
                  </a:cubicBezTo>
                  <a:cubicBezTo>
                    <a:pt x="237" y="1248"/>
                    <a:pt x="248" y="1243"/>
                    <a:pt x="251" y="1238"/>
                  </a:cubicBezTo>
                  <a:cubicBezTo>
                    <a:pt x="255" y="1232"/>
                    <a:pt x="252" y="1228"/>
                    <a:pt x="243" y="1228"/>
                  </a:cubicBezTo>
                  <a:cubicBezTo>
                    <a:pt x="243" y="1228"/>
                    <a:pt x="243" y="1228"/>
                    <a:pt x="243" y="1228"/>
                  </a:cubicBezTo>
                  <a:moveTo>
                    <a:pt x="288" y="1227"/>
                  </a:moveTo>
                  <a:cubicBezTo>
                    <a:pt x="279" y="1228"/>
                    <a:pt x="269" y="1232"/>
                    <a:pt x="265" y="1238"/>
                  </a:cubicBezTo>
                  <a:cubicBezTo>
                    <a:pt x="261" y="1243"/>
                    <a:pt x="265" y="1248"/>
                    <a:pt x="274" y="1248"/>
                  </a:cubicBezTo>
                  <a:cubicBezTo>
                    <a:pt x="283" y="1248"/>
                    <a:pt x="293" y="1243"/>
                    <a:pt x="297" y="1238"/>
                  </a:cubicBezTo>
                  <a:cubicBezTo>
                    <a:pt x="301" y="1232"/>
                    <a:pt x="297" y="1227"/>
                    <a:pt x="288" y="1227"/>
                  </a:cubicBezTo>
                  <a:cubicBezTo>
                    <a:pt x="288" y="1227"/>
                    <a:pt x="288" y="1227"/>
                    <a:pt x="288" y="1227"/>
                  </a:cubicBezTo>
                  <a:moveTo>
                    <a:pt x="333" y="1227"/>
                  </a:moveTo>
                  <a:cubicBezTo>
                    <a:pt x="325" y="1227"/>
                    <a:pt x="314" y="1232"/>
                    <a:pt x="310" y="1238"/>
                  </a:cubicBezTo>
                  <a:cubicBezTo>
                    <a:pt x="307" y="1243"/>
                    <a:pt x="311" y="1248"/>
                    <a:pt x="319" y="1248"/>
                  </a:cubicBezTo>
                  <a:cubicBezTo>
                    <a:pt x="328" y="1248"/>
                    <a:pt x="339" y="1243"/>
                    <a:pt x="342" y="1237"/>
                  </a:cubicBezTo>
                  <a:cubicBezTo>
                    <a:pt x="346" y="1232"/>
                    <a:pt x="342" y="1227"/>
                    <a:pt x="333" y="1227"/>
                  </a:cubicBezTo>
                  <a:cubicBezTo>
                    <a:pt x="333" y="1227"/>
                    <a:pt x="333" y="1227"/>
                    <a:pt x="333" y="1227"/>
                  </a:cubicBezTo>
                  <a:moveTo>
                    <a:pt x="378" y="1227"/>
                  </a:moveTo>
                  <a:cubicBezTo>
                    <a:pt x="370" y="1227"/>
                    <a:pt x="360" y="1232"/>
                    <a:pt x="356" y="1237"/>
                  </a:cubicBezTo>
                  <a:cubicBezTo>
                    <a:pt x="352" y="1243"/>
                    <a:pt x="356" y="1248"/>
                    <a:pt x="365" y="1248"/>
                  </a:cubicBezTo>
                  <a:cubicBezTo>
                    <a:pt x="374" y="1248"/>
                    <a:pt x="384" y="1243"/>
                    <a:pt x="388" y="1237"/>
                  </a:cubicBezTo>
                  <a:cubicBezTo>
                    <a:pt x="391" y="1232"/>
                    <a:pt x="387" y="1227"/>
                    <a:pt x="379" y="1227"/>
                  </a:cubicBezTo>
                  <a:cubicBezTo>
                    <a:pt x="379" y="1227"/>
                    <a:pt x="379" y="1227"/>
                    <a:pt x="378" y="1227"/>
                  </a:cubicBezTo>
                  <a:moveTo>
                    <a:pt x="424" y="1227"/>
                  </a:moveTo>
                  <a:cubicBezTo>
                    <a:pt x="415" y="1227"/>
                    <a:pt x="405" y="1232"/>
                    <a:pt x="401" y="1237"/>
                  </a:cubicBezTo>
                  <a:cubicBezTo>
                    <a:pt x="398" y="1243"/>
                    <a:pt x="402" y="1247"/>
                    <a:pt x="411" y="1247"/>
                  </a:cubicBezTo>
                  <a:cubicBezTo>
                    <a:pt x="420" y="1247"/>
                    <a:pt x="430" y="1243"/>
                    <a:pt x="433" y="1237"/>
                  </a:cubicBezTo>
                  <a:cubicBezTo>
                    <a:pt x="437" y="1232"/>
                    <a:pt x="433" y="1227"/>
                    <a:pt x="424" y="1227"/>
                  </a:cubicBezTo>
                  <a:cubicBezTo>
                    <a:pt x="424" y="1227"/>
                    <a:pt x="424" y="1227"/>
                    <a:pt x="424" y="1227"/>
                  </a:cubicBezTo>
                  <a:moveTo>
                    <a:pt x="471" y="1227"/>
                  </a:moveTo>
                  <a:cubicBezTo>
                    <a:pt x="462" y="1227"/>
                    <a:pt x="452" y="1232"/>
                    <a:pt x="448" y="1237"/>
                  </a:cubicBezTo>
                  <a:cubicBezTo>
                    <a:pt x="445" y="1243"/>
                    <a:pt x="449" y="1247"/>
                    <a:pt x="458" y="1247"/>
                  </a:cubicBezTo>
                  <a:cubicBezTo>
                    <a:pt x="467" y="1247"/>
                    <a:pt x="477" y="1243"/>
                    <a:pt x="480" y="1237"/>
                  </a:cubicBezTo>
                  <a:cubicBezTo>
                    <a:pt x="484" y="1232"/>
                    <a:pt x="480" y="1227"/>
                    <a:pt x="471" y="1227"/>
                  </a:cubicBezTo>
                  <a:cubicBezTo>
                    <a:pt x="471" y="1227"/>
                    <a:pt x="471" y="1227"/>
                    <a:pt x="471" y="1227"/>
                  </a:cubicBezTo>
                  <a:moveTo>
                    <a:pt x="516" y="1227"/>
                  </a:moveTo>
                  <a:cubicBezTo>
                    <a:pt x="507" y="1227"/>
                    <a:pt x="497" y="1232"/>
                    <a:pt x="494" y="1237"/>
                  </a:cubicBezTo>
                  <a:cubicBezTo>
                    <a:pt x="490" y="1243"/>
                    <a:pt x="495" y="1247"/>
                    <a:pt x="503" y="1247"/>
                  </a:cubicBezTo>
                  <a:cubicBezTo>
                    <a:pt x="512" y="1247"/>
                    <a:pt x="522" y="1243"/>
                    <a:pt x="526" y="1237"/>
                  </a:cubicBezTo>
                  <a:cubicBezTo>
                    <a:pt x="529" y="1231"/>
                    <a:pt x="525" y="1227"/>
                    <a:pt x="516" y="1227"/>
                  </a:cubicBezTo>
                  <a:cubicBezTo>
                    <a:pt x="516" y="1227"/>
                    <a:pt x="516" y="1227"/>
                    <a:pt x="516" y="1227"/>
                  </a:cubicBezTo>
                  <a:moveTo>
                    <a:pt x="562" y="1227"/>
                  </a:moveTo>
                  <a:cubicBezTo>
                    <a:pt x="553" y="1227"/>
                    <a:pt x="543" y="1231"/>
                    <a:pt x="539" y="1237"/>
                  </a:cubicBezTo>
                  <a:cubicBezTo>
                    <a:pt x="536" y="1243"/>
                    <a:pt x="540" y="1247"/>
                    <a:pt x="549" y="1247"/>
                  </a:cubicBezTo>
                  <a:cubicBezTo>
                    <a:pt x="558" y="1247"/>
                    <a:pt x="568" y="1243"/>
                    <a:pt x="571" y="1237"/>
                  </a:cubicBezTo>
                  <a:cubicBezTo>
                    <a:pt x="575" y="1231"/>
                    <a:pt x="570" y="1227"/>
                    <a:pt x="562" y="1227"/>
                  </a:cubicBezTo>
                  <a:cubicBezTo>
                    <a:pt x="562" y="1227"/>
                    <a:pt x="562" y="1227"/>
                    <a:pt x="562" y="1227"/>
                  </a:cubicBezTo>
                  <a:moveTo>
                    <a:pt x="608" y="1227"/>
                  </a:moveTo>
                  <a:cubicBezTo>
                    <a:pt x="599" y="1227"/>
                    <a:pt x="589" y="1231"/>
                    <a:pt x="586" y="1237"/>
                  </a:cubicBezTo>
                  <a:cubicBezTo>
                    <a:pt x="582" y="1242"/>
                    <a:pt x="587" y="1247"/>
                    <a:pt x="595" y="1247"/>
                  </a:cubicBezTo>
                  <a:cubicBezTo>
                    <a:pt x="604" y="1247"/>
                    <a:pt x="614" y="1242"/>
                    <a:pt x="617" y="1237"/>
                  </a:cubicBezTo>
                  <a:cubicBezTo>
                    <a:pt x="621" y="1231"/>
                    <a:pt x="616" y="1227"/>
                    <a:pt x="608" y="1227"/>
                  </a:cubicBezTo>
                  <a:cubicBezTo>
                    <a:pt x="608" y="1227"/>
                    <a:pt x="608" y="1227"/>
                    <a:pt x="608" y="1227"/>
                  </a:cubicBezTo>
                  <a:moveTo>
                    <a:pt x="653" y="1227"/>
                  </a:moveTo>
                  <a:cubicBezTo>
                    <a:pt x="644" y="1227"/>
                    <a:pt x="634" y="1231"/>
                    <a:pt x="631" y="1237"/>
                  </a:cubicBezTo>
                  <a:cubicBezTo>
                    <a:pt x="628" y="1242"/>
                    <a:pt x="632" y="1247"/>
                    <a:pt x="641" y="1247"/>
                  </a:cubicBezTo>
                  <a:cubicBezTo>
                    <a:pt x="650" y="1247"/>
                    <a:pt x="659" y="1242"/>
                    <a:pt x="663" y="1237"/>
                  </a:cubicBezTo>
                  <a:cubicBezTo>
                    <a:pt x="666" y="1231"/>
                    <a:pt x="661" y="1227"/>
                    <a:pt x="653" y="1227"/>
                  </a:cubicBezTo>
                  <a:cubicBezTo>
                    <a:pt x="653" y="1227"/>
                    <a:pt x="653" y="1227"/>
                    <a:pt x="653" y="1227"/>
                  </a:cubicBezTo>
                  <a:moveTo>
                    <a:pt x="698" y="1226"/>
                  </a:moveTo>
                  <a:cubicBezTo>
                    <a:pt x="689" y="1226"/>
                    <a:pt x="680" y="1231"/>
                    <a:pt x="676" y="1237"/>
                  </a:cubicBezTo>
                  <a:cubicBezTo>
                    <a:pt x="673" y="1242"/>
                    <a:pt x="678" y="1247"/>
                    <a:pt x="687" y="1247"/>
                  </a:cubicBezTo>
                  <a:cubicBezTo>
                    <a:pt x="695" y="1247"/>
                    <a:pt x="705" y="1242"/>
                    <a:pt x="708" y="1237"/>
                  </a:cubicBezTo>
                  <a:cubicBezTo>
                    <a:pt x="711" y="1231"/>
                    <a:pt x="707" y="1226"/>
                    <a:pt x="698" y="1226"/>
                  </a:cubicBezTo>
                  <a:cubicBezTo>
                    <a:pt x="698" y="1226"/>
                    <a:pt x="698" y="1226"/>
                    <a:pt x="698" y="1226"/>
                  </a:cubicBezTo>
                  <a:moveTo>
                    <a:pt x="743" y="1226"/>
                  </a:moveTo>
                  <a:cubicBezTo>
                    <a:pt x="734" y="1226"/>
                    <a:pt x="725" y="1231"/>
                    <a:pt x="722" y="1237"/>
                  </a:cubicBezTo>
                  <a:cubicBezTo>
                    <a:pt x="719" y="1242"/>
                    <a:pt x="723" y="1247"/>
                    <a:pt x="732" y="1247"/>
                  </a:cubicBezTo>
                  <a:cubicBezTo>
                    <a:pt x="741" y="1247"/>
                    <a:pt x="750" y="1242"/>
                    <a:pt x="754" y="1236"/>
                  </a:cubicBezTo>
                  <a:cubicBezTo>
                    <a:pt x="757" y="1231"/>
                    <a:pt x="752" y="1226"/>
                    <a:pt x="743" y="1226"/>
                  </a:cubicBezTo>
                  <a:cubicBezTo>
                    <a:pt x="743" y="1226"/>
                    <a:pt x="743" y="1226"/>
                    <a:pt x="743" y="1226"/>
                  </a:cubicBezTo>
                  <a:moveTo>
                    <a:pt x="789" y="1226"/>
                  </a:moveTo>
                  <a:cubicBezTo>
                    <a:pt x="780" y="1226"/>
                    <a:pt x="770" y="1231"/>
                    <a:pt x="767" y="1236"/>
                  </a:cubicBezTo>
                  <a:cubicBezTo>
                    <a:pt x="764" y="1242"/>
                    <a:pt x="769" y="1247"/>
                    <a:pt x="778" y="1247"/>
                  </a:cubicBezTo>
                  <a:cubicBezTo>
                    <a:pt x="787" y="1247"/>
                    <a:pt x="796" y="1242"/>
                    <a:pt x="799" y="1236"/>
                  </a:cubicBezTo>
                  <a:cubicBezTo>
                    <a:pt x="802" y="1231"/>
                    <a:pt x="798" y="1226"/>
                    <a:pt x="789" y="1226"/>
                  </a:cubicBezTo>
                  <a:cubicBezTo>
                    <a:pt x="789" y="1226"/>
                    <a:pt x="789" y="1226"/>
                    <a:pt x="789" y="1226"/>
                  </a:cubicBezTo>
                  <a:moveTo>
                    <a:pt x="835" y="1226"/>
                  </a:moveTo>
                  <a:cubicBezTo>
                    <a:pt x="826" y="1226"/>
                    <a:pt x="816" y="1231"/>
                    <a:pt x="813" y="1236"/>
                  </a:cubicBezTo>
                  <a:cubicBezTo>
                    <a:pt x="810" y="1242"/>
                    <a:pt x="815" y="1246"/>
                    <a:pt x="824" y="1246"/>
                  </a:cubicBezTo>
                  <a:cubicBezTo>
                    <a:pt x="833" y="1246"/>
                    <a:pt x="842" y="1242"/>
                    <a:pt x="845" y="1236"/>
                  </a:cubicBezTo>
                  <a:cubicBezTo>
                    <a:pt x="848" y="1231"/>
                    <a:pt x="843" y="1226"/>
                    <a:pt x="835" y="1226"/>
                  </a:cubicBezTo>
                  <a:cubicBezTo>
                    <a:pt x="835" y="1226"/>
                    <a:pt x="835" y="1226"/>
                    <a:pt x="835" y="1226"/>
                  </a:cubicBezTo>
                  <a:moveTo>
                    <a:pt x="880" y="1226"/>
                  </a:moveTo>
                  <a:cubicBezTo>
                    <a:pt x="871" y="1226"/>
                    <a:pt x="862" y="1231"/>
                    <a:pt x="859" y="1236"/>
                  </a:cubicBezTo>
                  <a:cubicBezTo>
                    <a:pt x="856" y="1242"/>
                    <a:pt x="861" y="1246"/>
                    <a:pt x="869" y="1246"/>
                  </a:cubicBezTo>
                  <a:cubicBezTo>
                    <a:pt x="878" y="1246"/>
                    <a:pt x="888" y="1242"/>
                    <a:pt x="891" y="1236"/>
                  </a:cubicBezTo>
                  <a:cubicBezTo>
                    <a:pt x="893" y="1231"/>
                    <a:pt x="889" y="1226"/>
                    <a:pt x="880" y="1226"/>
                  </a:cubicBezTo>
                  <a:cubicBezTo>
                    <a:pt x="880" y="1226"/>
                    <a:pt x="880" y="1226"/>
                    <a:pt x="880" y="1226"/>
                  </a:cubicBezTo>
                  <a:moveTo>
                    <a:pt x="925" y="1226"/>
                  </a:moveTo>
                  <a:cubicBezTo>
                    <a:pt x="916" y="1226"/>
                    <a:pt x="907" y="1230"/>
                    <a:pt x="904" y="1236"/>
                  </a:cubicBezTo>
                  <a:cubicBezTo>
                    <a:pt x="901" y="1242"/>
                    <a:pt x="906" y="1246"/>
                    <a:pt x="915" y="1246"/>
                  </a:cubicBezTo>
                  <a:cubicBezTo>
                    <a:pt x="924" y="1246"/>
                    <a:pt x="933" y="1242"/>
                    <a:pt x="936" y="1236"/>
                  </a:cubicBezTo>
                  <a:cubicBezTo>
                    <a:pt x="939" y="1230"/>
                    <a:pt x="934" y="1226"/>
                    <a:pt x="925" y="1226"/>
                  </a:cubicBezTo>
                  <a:cubicBezTo>
                    <a:pt x="925" y="1226"/>
                    <a:pt x="925" y="1226"/>
                    <a:pt x="925" y="1226"/>
                  </a:cubicBezTo>
                  <a:moveTo>
                    <a:pt x="970" y="1226"/>
                  </a:moveTo>
                  <a:cubicBezTo>
                    <a:pt x="962" y="1226"/>
                    <a:pt x="952" y="1230"/>
                    <a:pt x="950" y="1236"/>
                  </a:cubicBezTo>
                  <a:cubicBezTo>
                    <a:pt x="947" y="1242"/>
                    <a:pt x="952" y="1246"/>
                    <a:pt x="961" y="1246"/>
                  </a:cubicBezTo>
                  <a:cubicBezTo>
                    <a:pt x="969" y="1246"/>
                    <a:pt x="979" y="1241"/>
                    <a:pt x="981" y="1236"/>
                  </a:cubicBezTo>
                  <a:cubicBezTo>
                    <a:pt x="984" y="1230"/>
                    <a:pt x="979" y="1226"/>
                    <a:pt x="970" y="1226"/>
                  </a:cubicBezTo>
                  <a:cubicBezTo>
                    <a:pt x="970" y="1226"/>
                    <a:pt x="970" y="1226"/>
                    <a:pt x="970" y="1226"/>
                  </a:cubicBezTo>
                  <a:moveTo>
                    <a:pt x="1016" y="1226"/>
                  </a:moveTo>
                  <a:cubicBezTo>
                    <a:pt x="1007" y="1226"/>
                    <a:pt x="998" y="1230"/>
                    <a:pt x="995" y="1236"/>
                  </a:cubicBezTo>
                  <a:cubicBezTo>
                    <a:pt x="993" y="1241"/>
                    <a:pt x="998" y="1246"/>
                    <a:pt x="1006" y="1246"/>
                  </a:cubicBezTo>
                  <a:cubicBezTo>
                    <a:pt x="1015" y="1246"/>
                    <a:pt x="1025" y="1241"/>
                    <a:pt x="1027" y="1236"/>
                  </a:cubicBezTo>
                  <a:cubicBezTo>
                    <a:pt x="1030" y="1230"/>
                    <a:pt x="1025" y="1226"/>
                    <a:pt x="1016" y="1226"/>
                  </a:cubicBezTo>
                  <a:cubicBezTo>
                    <a:pt x="1016" y="1226"/>
                    <a:pt x="1016" y="1226"/>
                    <a:pt x="1016" y="1226"/>
                  </a:cubicBezTo>
                  <a:moveTo>
                    <a:pt x="1062" y="1226"/>
                  </a:moveTo>
                  <a:cubicBezTo>
                    <a:pt x="1053" y="1226"/>
                    <a:pt x="1044" y="1230"/>
                    <a:pt x="1041" y="1236"/>
                  </a:cubicBezTo>
                  <a:cubicBezTo>
                    <a:pt x="1039" y="1241"/>
                    <a:pt x="1044" y="1246"/>
                    <a:pt x="1053" y="1246"/>
                  </a:cubicBezTo>
                  <a:cubicBezTo>
                    <a:pt x="1061" y="1246"/>
                    <a:pt x="1071" y="1241"/>
                    <a:pt x="1073" y="1236"/>
                  </a:cubicBezTo>
                  <a:cubicBezTo>
                    <a:pt x="1076" y="1230"/>
                    <a:pt x="1071" y="1226"/>
                    <a:pt x="1062" y="1226"/>
                  </a:cubicBezTo>
                  <a:cubicBezTo>
                    <a:pt x="1062" y="1226"/>
                    <a:pt x="1062" y="1226"/>
                    <a:pt x="1062" y="1226"/>
                  </a:cubicBezTo>
                  <a:moveTo>
                    <a:pt x="1103" y="1225"/>
                  </a:moveTo>
                  <a:cubicBezTo>
                    <a:pt x="1094" y="1225"/>
                    <a:pt x="1085" y="1230"/>
                    <a:pt x="1082" y="1236"/>
                  </a:cubicBezTo>
                  <a:cubicBezTo>
                    <a:pt x="1080" y="1241"/>
                    <a:pt x="1085" y="1246"/>
                    <a:pt x="1094" y="1246"/>
                  </a:cubicBezTo>
                  <a:cubicBezTo>
                    <a:pt x="1103" y="1246"/>
                    <a:pt x="1112" y="1241"/>
                    <a:pt x="1114" y="1236"/>
                  </a:cubicBezTo>
                  <a:cubicBezTo>
                    <a:pt x="1117" y="1230"/>
                    <a:pt x="1112" y="1225"/>
                    <a:pt x="1103" y="1225"/>
                  </a:cubicBezTo>
                  <a:cubicBezTo>
                    <a:pt x="1103" y="1225"/>
                    <a:pt x="1103" y="1225"/>
                    <a:pt x="1103" y="1225"/>
                  </a:cubicBezTo>
                  <a:moveTo>
                    <a:pt x="1152" y="1225"/>
                  </a:moveTo>
                  <a:cubicBezTo>
                    <a:pt x="1143" y="1225"/>
                    <a:pt x="1134" y="1230"/>
                    <a:pt x="1132" y="1235"/>
                  </a:cubicBezTo>
                  <a:cubicBezTo>
                    <a:pt x="1130" y="1241"/>
                    <a:pt x="1135" y="1246"/>
                    <a:pt x="1144" y="1246"/>
                  </a:cubicBezTo>
                  <a:cubicBezTo>
                    <a:pt x="1152" y="1246"/>
                    <a:pt x="1161" y="1241"/>
                    <a:pt x="1164" y="1235"/>
                  </a:cubicBezTo>
                  <a:cubicBezTo>
                    <a:pt x="1166" y="1230"/>
                    <a:pt x="1161" y="1225"/>
                    <a:pt x="1152" y="1225"/>
                  </a:cubicBezTo>
                  <a:cubicBezTo>
                    <a:pt x="1152" y="1225"/>
                    <a:pt x="1152" y="1225"/>
                    <a:pt x="1152" y="1225"/>
                  </a:cubicBezTo>
                  <a:moveTo>
                    <a:pt x="2195" y="1224"/>
                  </a:moveTo>
                  <a:cubicBezTo>
                    <a:pt x="2186" y="1224"/>
                    <a:pt x="2178" y="1229"/>
                    <a:pt x="2178" y="1234"/>
                  </a:cubicBezTo>
                  <a:cubicBezTo>
                    <a:pt x="2177" y="1240"/>
                    <a:pt x="2184" y="1244"/>
                    <a:pt x="2193" y="1244"/>
                  </a:cubicBezTo>
                  <a:cubicBezTo>
                    <a:pt x="2202" y="1244"/>
                    <a:pt x="2209" y="1240"/>
                    <a:pt x="2210" y="1234"/>
                  </a:cubicBezTo>
                  <a:cubicBezTo>
                    <a:pt x="2210" y="1228"/>
                    <a:pt x="2204" y="1224"/>
                    <a:pt x="2195" y="1224"/>
                  </a:cubicBezTo>
                  <a:cubicBezTo>
                    <a:pt x="2195" y="1224"/>
                    <a:pt x="2195" y="1224"/>
                    <a:pt x="2195" y="1224"/>
                  </a:cubicBezTo>
                  <a:moveTo>
                    <a:pt x="2240" y="1224"/>
                  </a:moveTo>
                  <a:cubicBezTo>
                    <a:pt x="2231" y="1224"/>
                    <a:pt x="2224" y="1228"/>
                    <a:pt x="2223" y="1234"/>
                  </a:cubicBezTo>
                  <a:cubicBezTo>
                    <a:pt x="2223" y="1240"/>
                    <a:pt x="2230" y="1244"/>
                    <a:pt x="2238" y="1244"/>
                  </a:cubicBezTo>
                  <a:cubicBezTo>
                    <a:pt x="2247" y="1244"/>
                    <a:pt x="2255" y="1240"/>
                    <a:pt x="2255" y="1234"/>
                  </a:cubicBezTo>
                  <a:cubicBezTo>
                    <a:pt x="2255" y="1228"/>
                    <a:pt x="2249" y="1224"/>
                    <a:pt x="2240" y="1224"/>
                  </a:cubicBezTo>
                  <a:cubicBezTo>
                    <a:pt x="2240" y="1224"/>
                    <a:pt x="2240" y="1224"/>
                    <a:pt x="2240" y="1224"/>
                  </a:cubicBezTo>
                  <a:moveTo>
                    <a:pt x="2285" y="1224"/>
                  </a:moveTo>
                  <a:cubicBezTo>
                    <a:pt x="2277" y="1224"/>
                    <a:pt x="2269" y="1228"/>
                    <a:pt x="2269" y="1234"/>
                  </a:cubicBezTo>
                  <a:cubicBezTo>
                    <a:pt x="2268" y="1240"/>
                    <a:pt x="2275" y="1244"/>
                    <a:pt x="2284" y="1244"/>
                  </a:cubicBezTo>
                  <a:cubicBezTo>
                    <a:pt x="2293" y="1244"/>
                    <a:pt x="2300" y="1240"/>
                    <a:pt x="2301" y="1234"/>
                  </a:cubicBezTo>
                  <a:cubicBezTo>
                    <a:pt x="2301" y="1228"/>
                    <a:pt x="2294" y="1224"/>
                    <a:pt x="2285" y="1224"/>
                  </a:cubicBezTo>
                  <a:cubicBezTo>
                    <a:pt x="2285" y="1224"/>
                    <a:pt x="2285" y="1224"/>
                    <a:pt x="2285" y="1224"/>
                  </a:cubicBezTo>
                  <a:moveTo>
                    <a:pt x="2330" y="1224"/>
                  </a:moveTo>
                  <a:cubicBezTo>
                    <a:pt x="2321" y="1224"/>
                    <a:pt x="2314" y="1228"/>
                    <a:pt x="2314" y="1234"/>
                  </a:cubicBezTo>
                  <a:cubicBezTo>
                    <a:pt x="2313" y="1239"/>
                    <a:pt x="2320" y="1244"/>
                    <a:pt x="2329" y="1244"/>
                  </a:cubicBezTo>
                  <a:cubicBezTo>
                    <a:pt x="2338" y="1244"/>
                    <a:pt x="2345" y="1239"/>
                    <a:pt x="2346" y="1234"/>
                  </a:cubicBezTo>
                  <a:cubicBezTo>
                    <a:pt x="2346" y="1228"/>
                    <a:pt x="2339" y="1224"/>
                    <a:pt x="2330" y="1224"/>
                  </a:cubicBezTo>
                  <a:cubicBezTo>
                    <a:pt x="2330" y="1224"/>
                    <a:pt x="2330" y="1224"/>
                    <a:pt x="2330" y="1224"/>
                  </a:cubicBezTo>
                  <a:moveTo>
                    <a:pt x="2375" y="1223"/>
                  </a:moveTo>
                  <a:cubicBezTo>
                    <a:pt x="2366" y="1223"/>
                    <a:pt x="2359" y="1228"/>
                    <a:pt x="2359" y="1234"/>
                  </a:cubicBezTo>
                  <a:cubicBezTo>
                    <a:pt x="2359" y="1239"/>
                    <a:pt x="2366" y="1244"/>
                    <a:pt x="2375" y="1244"/>
                  </a:cubicBezTo>
                  <a:cubicBezTo>
                    <a:pt x="2383" y="1244"/>
                    <a:pt x="2391" y="1239"/>
                    <a:pt x="2391" y="1234"/>
                  </a:cubicBezTo>
                  <a:cubicBezTo>
                    <a:pt x="2391" y="1228"/>
                    <a:pt x="2384" y="1223"/>
                    <a:pt x="2375" y="1223"/>
                  </a:cubicBezTo>
                  <a:cubicBezTo>
                    <a:pt x="2375" y="1223"/>
                    <a:pt x="2375" y="1223"/>
                    <a:pt x="2375" y="1223"/>
                  </a:cubicBezTo>
                  <a:moveTo>
                    <a:pt x="2421" y="1223"/>
                  </a:moveTo>
                  <a:cubicBezTo>
                    <a:pt x="2412" y="1223"/>
                    <a:pt x="2405" y="1228"/>
                    <a:pt x="2405" y="1234"/>
                  </a:cubicBezTo>
                  <a:cubicBezTo>
                    <a:pt x="2405" y="1239"/>
                    <a:pt x="2412" y="1244"/>
                    <a:pt x="2420" y="1244"/>
                  </a:cubicBezTo>
                  <a:cubicBezTo>
                    <a:pt x="2429" y="1244"/>
                    <a:pt x="2436" y="1239"/>
                    <a:pt x="2436" y="1234"/>
                  </a:cubicBezTo>
                  <a:cubicBezTo>
                    <a:pt x="2437" y="1228"/>
                    <a:pt x="2430" y="1223"/>
                    <a:pt x="2421" y="1223"/>
                  </a:cubicBezTo>
                  <a:cubicBezTo>
                    <a:pt x="2421" y="1223"/>
                    <a:pt x="2421" y="1223"/>
                    <a:pt x="2421" y="1223"/>
                  </a:cubicBezTo>
                  <a:moveTo>
                    <a:pt x="2468" y="1223"/>
                  </a:moveTo>
                  <a:cubicBezTo>
                    <a:pt x="2459" y="1223"/>
                    <a:pt x="2452" y="1228"/>
                    <a:pt x="2452" y="1233"/>
                  </a:cubicBezTo>
                  <a:cubicBezTo>
                    <a:pt x="2452" y="1239"/>
                    <a:pt x="2459" y="1244"/>
                    <a:pt x="2468" y="1244"/>
                  </a:cubicBezTo>
                  <a:cubicBezTo>
                    <a:pt x="2476" y="1244"/>
                    <a:pt x="2484" y="1239"/>
                    <a:pt x="2483" y="1233"/>
                  </a:cubicBezTo>
                  <a:cubicBezTo>
                    <a:pt x="2483" y="1228"/>
                    <a:pt x="2476" y="1223"/>
                    <a:pt x="2468" y="1223"/>
                  </a:cubicBezTo>
                  <a:cubicBezTo>
                    <a:pt x="2468" y="1223"/>
                    <a:pt x="2468" y="1223"/>
                    <a:pt x="2468" y="1223"/>
                  </a:cubicBezTo>
                  <a:moveTo>
                    <a:pt x="2513" y="1223"/>
                  </a:moveTo>
                  <a:cubicBezTo>
                    <a:pt x="2504" y="1223"/>
                    <a:pt x="2497" y="1228"/>
                    <a:pt x="2497" y="1233"/>
                  </a:cubicBezTo>
                  <a:cubicBezTo>
                    <a:pt x="2497" y="1239"/>
                    <a:pt x="2504" y="1244"/>
                    <a:pt x="2513" y="1244"/>
                  </a:cubicBezTo>
                  <a:cubicBezTo>
                    <a:pt x="2522" y="1244"/>
                    <a:pt x="2529" y="1239"/>
                    <a:pt x="2529" y="1233"/>
                  </a:cubicBezTo>
                  <a:cubicBezTo>
                    <a:pt x="2529" y="1228"/>
                    <a:pt x="2521" y="1223"/>
                    <a:pt x="2513" y="1223"/>
                  </a:cubicBezTo>
                  <a:cubicBezTo>
                    <a:pt x="2513" y="1223"/>
                    <a:pt x="2513" y="1223"/>
                    <a:pt x="2513" y="1223"/>
                  </a:cubicBezTo>
                  <a:moveTo>
                    <a:pt x="2558" y="1223"/>
                  </a:moveTo>
                  <a:cubicBezTo>
                    <a:pt x="2549" y="1223"/>
                    <a:pt x="2542" y="1228"/>
                    <a:pt x="2542" y="1233"/>
                  </a:cubicBezTo>
                  <a:cubicBezTo>
                    <a:pt x="2543" y="1239"/>
                    <a:pt x="2550" y="1243"/>
                    <a:pt x="2559" y="1243"/>
                  </a:cubicBezTo>
                  <a:cubicBezTo>
                    <a:pt x="2568" y="1243"/>
                    <a:pt x="2575" y="1239"/>
                    <a:pt x="2574" y="1233"/>
                  </a:cubicBezTo>
                  <a:cubicBezTo>
                    <a:pt x="2574" y="1228"/>
                    <a:pt x="2567" y="1223"/>
                    <a:pt x="2558" y="1223"/>
                  </a:cubicBezTo>
                  <a:cubicBezTo>
                    <a:pt x="2558" y="1223"/>
                    <a:pt x="2558" y="1223"/>
                    <a:pt x="2558" y="1223"/>
                  </a:cubicBezTo>
                  <a:moveTo>
                    <a:pt x="2604" y="1223"/>
                  </a:moveTo>
                  <a:cubicBezTo>
                    <a:pt x="2595" y="1223"/>
                    <a:pt x="2588" y="1227"/>
                    <a:pt x="2589" y="1233"/>
                  </a:cubicBezTo>
                  <a:cubicBezTo>
                    <a:pt x="2589" y="1239"/>
                    <a:pt x="2596" y="1243"/>
                    <a:pt x="2605" y="1243"/>
                  </a:cubicBezTo>
                  <a:cubicBezTo>
                    <a:pt x="2614" y="1243"/>
                    <a:pt x="2621" y="1239"/>
                    <a:pt x="2620" y="1233"/>
                  </a:cubicBezTo>
                  <a:cubicBezTo>
                    <a:pt x="2620" y="1227"/>
                    <a:pt x="2613" y="1223"/>
                    <a:pt x="2604" y="1223"/>
                  </a:cubicBezTo>
                  <a:cubicBezTo>
                    <a:pt x="2604" y="1223"/>
                    <a:pt x="2604" y="1223"/>
                    <a:pt x="2604" y="1223"/>
                  </a:cubicBezTo>
                  <a:moveTo>
                    <a:pt x="2649" y="1223"/>
                  </a:moveTo>
                  <a:cubicBezTo>
                    <a:pt x="2640" y="1223"/>
                    <a:pt x="2633" y="1227"/>
                    <a:pt x="2634" y="1233"/>
                  </a:cubicBezTo>
                  <a:cubicBezTo>
                    <a:pt x="2634" y="1239"/>
                    <a:pt x="2641" y="1243"/>
                    <a:pt x="2650" y="1243"/>
                  </a:cubicBezTo>
                  <a:cubicBezTo>
                    <a:pt x="2659" y="1243"/>
                    <a:pt x="2666" y="1239"/>
                    <a:pt x="2666" y="1233"/>
                  </a:cubicBezTo>
                  <a:cubicBezTo>
                    <a:pt x="2665" y="1227"/>
                    <a:pt x="2658" y="1223"/>
                    <a:pt x="2649" y="1223"/>
                  </a:cubicBezTo>
                  <a:cubicBezTo>
                    <a:pt x="2649" y="1223"/>
                    <a:pt x="2649" y="1223"/>
                    <a:pt x="2649" y="1223"/>
                  </a:cubicBezTo>
                  <a:moveTo>
                    <a:pt x="2695" y="1223"/>
                  </a:moveTo>
                  <a:cubicBezTo>
                    <a:pt x="2686" y="1223"/>
                    <a:pt x="2679" y="1227"/>
                    <a:pt x="2680" y="1233"/>
                  </a:cubicBezTo>
                  <a:cubicBezTo>
                    <a:pt x="2680" y="1239"/>
                    <a:pt x="2688" y="1243"/>
                    <a:pt x="2696" y="1243"/>
                  </a:cubicBezTo>
                  <a:cubicBezTo>
                    <a:pt x="2705" y="1243"/>
                    <a:pt x="2712" y="1238"/>
                    <a:pt x="2712" y="1233"/>
                  </a:cubicBezTo>
                  <a:cubicBezTo>
                    <a:pt x="2711" y="1227"/>
                    <a:pt x="2704" y="1223"/>
                    <a:pt x="2695" y="1223"/>
                  </a:cubicBezTo>
                  <a:cubicBezTo>
                    <a:pt x="2695" y="1223"/>
                    <a:pt x="2695" y="1223"/>
                    <a:pt x="2695" y="1223"/>
                  </a:cubicBezTo>
                  <a:moveTo>
                    <a:pt x="4145" y="1219"/>
                  </a:moveTo>
                  <a:cubicBezTo>
                    <a:pt x="4137" y="1219"/>
                    <a:pt x="4132" y="1223"/>
                    <a:pt x="4135" y="1229"/>
                  </a:cubicBezTo>
                  <a:cubicBezTo>
                    <a:pt x="4138" y="1235"/>
                    <a:pt x="4148" y="1239"/>
                    <a:pt x="4156" y="1239"/>
                  </a:cubicBezTo>
                  <a:cubicBezTo>
                    <a:pt x="4165" y="1239"/>
                    <a:pt x="4170" y="1235"/>
                    <a:pt x="4167" y="1229"/>
                  </a:cubicBezTo>
                  <a:cubicBezTo>
                    <a:pt x="4164" y="1223"/>
                    <a:pt x="4154" y="1219"/>
                    <a:pt x="4145" y="1219"/>
                  </a:cubicBezTo>
                  <a:cubicBezTo>
                    <a:pt x="4145" y="1219"/>
                    <a:pt x="4145" y="1219"/>
                    <a:pt x="4145" y="1219"/>
                  </a:cubicBezTo>
                  <a:moveTo>
                    <a:pt x="4825" y="1215"/>
                  </a:moveTo>
                  <a:cubicBezTo>
                    <a:pt x="4816" y="1215"/>
                    <a:pt x="4813" y="1220"/>
                    <a:pt x="4817" y="1225"/>
                  </a:cubicBezTo>
                  <a:cubicBezTo>
                    <a:pt x="4821" y="1231"/>
                    <a:pt x="4832" y="1236"/>
                    <a:pt x="4840" y="1236"/>
                  </a:cubicBezTo>
                  <a:cubicBezTo>
                    <a:pt x="4849" y="1236"/>
                    <a:pt x="4853" y="1231"/>
                    <a:pt x="4849" y="1225"/>
                  </a:cubicBezTo>
                  <a:cubicBezTo>
                    <a:pt x="4844" y="1220"/>
                    <a:pt x="4834" y="1215"/>
                    <a:pt x="4825" y="1215"/>
                  </a:cubicBezTo>
                  <a:cubicBezTo>
                    <a:pt x="4825" y="1215"/>
                    <a:pt x="4825" y="1215"/>
                    <a:pt x="4825" y="1215"/>
                  </a:cubicBezTo>
                  <a:moveTo>
                    <a:pt x="4869" y="1215"/>
                  </a:moveTo>
                  <a:cubicBezTo>
                    <a:pt x="4860" y="1215"/>
                    <a:pt x="4857" y="1220"/>
                    <a:pt x="4861" y="1225"/>
                  </a:cubicBezTo>
                  <a:cubicBezTo>
                    <a:pt x="4865" y="1231"/>
                    <a:pt x="4876" y="1236"/>
                    <a:pt x="4885" y="1236"/>
                  </a:cubicBezTo>
                  <a:cubicBezTo>
                    <a:pt x="4894" y="1236"/>
                    <a:pt x="4897" y="1231"/>
                    <a:pt x="4893" y="1225"/>
                  </a:cubicBezTo>
                  <a:cubicBezTo>
                    <a:pt x="4888" y="1220"/>
                    <a:pt x="4878" y="1215"/>
                    <a:pt x="4869" y="1215"/>
                  </a:cubicBezTo>
                  <a:cubicBezTo>
                    <a:pt x="4869" y="1215"/>
                    <a:pt x="4869" y="1215"/>
                    <a:pt x="4869" y="1215"/>
                  </a:cubicBezTo>
                  <a:moveTo>
                    <a:pt x="4914" y="1215"/>
                  </a:moveTo>
                  <a:cubicBezTo>
                    <a:pt x="4906" y="1215"/>
                    <a:pt x="4902" y="1220"/>
                    <a:pt x="4907" y="1225"/>
                  </a:cubicBezTo>
                  <a:cubicBezTo>
                    <a:pt x="4911" y="1231"/>
                    <a:pt x="4922" y="1236"/>
                    <a:pt x="4930" y="1236"/>
                  </a:cubicBezTo>
                  <a:cubicBezTo>
                    <a:pt x="4939" y="1235"/>
                    <a:pt x="4943" y="1231"/>
                    <a:pt x="4938" y="1225"/>
                  </a:cubicBezTo>
                  <a:cubicBezTo>
                    <a:pt x="4934" y="1219"/>
                    <a:pt x="4923" y="1215"/>
                    <a:pt x="4915" y="1215"/>
                  </a:cubicBezTo>
                  <a:cubicBezTo>
                    <a:pt x="4914" y="1215"/>
                    <a:pt x="4914" y="1215"/>
                    <a:pt x="4914" y="1215"/>
                  </a:cubicBezTo>
                  <a:moveTo>
                    <a:pt x="4960" y="1215"/>
                  </a:moveTo>
                  <a:cubicBezTo>
                    <a:pt x="4952" y="1215"/>
                    <a:pt x="4948" y="1219"/>
                    <a:pt x="4953" y="1225"/>
                  </a:cubicBezTo>
                  <a:cubicBezTo>
                    <a:pt x="4957" y="1231"/>
                    <a:pt x="4968" y="1235"/>
                    <a:pt x="4977" y="1235"/>
                  </a:cubicBezTo>
                  <a:cubicBezTo>
                    <a:pt x="4986" y="1235"/>
                    <a:pt x="4989" y="1231"/>
                    <a:pt x="4984" y="1225"/>
                  </a:cubicBezTo>
                  <a:cubicBezTo>
                    <a:pt x="4980" y="1219"/>
                    <a:pt x="4969" y="1215"/>
                    <a:pt x="4960" y="1215"/>
                  </a:cubicBezTo>
                  <a:cubicBezTo>
                    <a:pt x="4960" y="1215"/>
                    <a:pt x="4960" y="1215"/>
                    <a:pt x="4960" y="1215"/>
                  </a:cubicBezTo>
                  <a:moveTo>
                    <a:pt x="264" y="1198"/>
                  </a:moveTo>
                  <a:cubicBezTo>
                    <a:pt x="255" y="1198"/>
                    <a:pt x="245" y="1203"/>
                    <a:pt x="241" y="1209"/>
                  </a:cubicBezTo>
                  <a:cubicBezTo>
                    <a:pt x="237" y="1214"/>
                    <a:pt x="240" y="1219"/>
                    <a:pt x="249" y="1219"/>
                  </a:cubicBezTo>
                  <a:cubicBezTo>
                    <a:pt x="258" y="1219"/>
                    <a:pt x="268" y="1214"/>
                    <a:pt x="272" y="1208"/>
                  </a:cubicBezTo>
                  <a:cubicBezTo>
                    <a:pt x="276" y="1203"/>
                    <a:pt x="272" y="1198"/>
                    <a:pt x="264" y="1198"/>
                  </a:cubicBezTo>
                  <a:cubicBezTo>
                    <a:pt x="264" y="1198"/>
                    <a:pt x="264" y="1198"/>
                    <a:pt x="264" y="1198"/>
                  </a:cubicBezTo>
                  <a:moveTo>
                    <a:pt x="308" y="1198"/>
                  </a:moveTo>
                  <a:cubicBezTo>
                    <a:pt x="300" y="1198"/>
                    <a:pt x="289" y="1203"/>
                    <a:pt x="285" y="1208"/>
                  </a:cubicBezTo>
                  <a:cubicBezTo>
                    <a:pt x="282" y="1214"/>
                    <a:pt x="285" y="1218"/>
                    <a:pt x="294" y="1218"/>
                  </a:cubicBezTo>
                  <a:cubicBezTo>
                    <a:pt x="303" y="1218"/>
                    <a:pt x="313" y="1214"/>
                    <a:pt x="317" y="1208"/>
                  </a:cubicBezTo>
                  <a:cubicBezTo>
                    <a:pt x="321" y="1203"/>
                    <a:pt x="317" y="1198"/>
                    <a:pt x="308" y="1198"/>
                  </a:cubicBezTo>
                  <a:cubicBezTo>
                    <a:pt x="308" y="1198"/>
                    <a:pt x="308" y="1198"/>
                    <a:pt x="308" y="1198"/>
                  </a:cubicBezTo>
                  <a:moveTo>
                    <a:pt x="353" y="1198"/>
                  </a:moveTo>
                  <a:cubicBezTo>
                    <a:pt x="345" y="1198"/>
                    <a:pt x="334" y="1203"/>
                    <a:pt x="331" y="1208"/>
                  </a:cubicBezTo>
                  <a:cubicBezTo>
                    <a:pt x="327" y="1214"/>
                    <a:pt x="331" y="1218"/>
                    <a:pt x="339" y="1218"/>
                  </a:cubicBezTo>
                  <a:cubicBezTo>
                    <a:pt x="348" y="1218"/>
                    <a:pt x="358" y="1214"/>
                    <a:pt x="362" y="1208"/>
                  </a:cubicBezTo>
                  <a:cubicBezTo>
                    <a:pt x="366" y="1203"/>
                    <a:pt x="362" y="1198"/>
                    <a:pt x="353" y="1198"/>
                  </a:cubicBezTo>
                  <a:cubicBezTo>
                    <a:pt x="353" y="1198"/>
                    <a:pt x="353" y="1198"/>
                    <a:pt x="353" y="1198"/>
                  </a:cubicBezTo>
                  <a:moveTo>
                    <a:pt x="398" y="1198"/>
                  </a:moveTo>
                  <a:cubicBezTo>
                    <a:pt x="389" y="1198"/>
                    <a:pt x="379" y="1203"/>
                    <a:pt x="375" y="1208"/>
                  </a:cubicBezTo>
                  <a:cubicBezTo>
                    <a:pt x="372" y="1214"/>
                    <a:pt x="376" y="1218"/>
                    <a:pt x="385" y="1218"/>
                  </a:cubicBezTo>
                  <a:cubicBezTo>
                    <a:pt x="393" y="1218"/>
                    <a:pt x="403" y="1214"/>
                    <a:pt x="407" y="1208"/>
                  </a:cubicBezTo>
                  <a:cubicBezTo>
                    <a:pt x="411" y="1202"/>
                    <a:pt x="407" y="1198"/>
                    <a:pt x="398" y="1198"/>
                  </a:cubicBezTo>
                  <a:cubicBezTo>
                    <a:pt x="398" y="1198"/>
                    <a:pt x="398" y="1198"/>
                    <a:pt x="398" y="1198"/>
                  </a:cubicBezTo>
                  <a:moveTo>
                    <a:pt x="443" y="1198"/>
                  </a:moveTo>
                  <a:cubicBezTo>
                    <a:pt x="434" y="1198"/>
                    <a:pt x="424" y="1202"/>
                    <a:pt x="421" y="1208"/>
                  </a:cubicBezTo>
                  <a:cubicBezTo>
                    <a:pt x="417" y="1214"/>
                    <a:pt x="421" y="1218"/>
                    <a:pt x="430" y="1218"/>
                  </a:cubicBezTo>
                  <a:cubicBezTo>
                    <a:pt x="439" y="1218"/>
                    <a:pt x="449" y="1214"/>
                    <a:pt x="452" y="1208"/>
                  </a:cubicBezTo>
                  <a:cubicBezTo>
                    <a:pt x="456" y="1202"/>
                    <a:pt x="452" y="1198"/>
                    <a:pt x="443" y="1198"/>
                  </a:cubicBezTo>
                  <a:cubicBezTo>
                    <a:pt x="443" y="1198"/>
                    <a:pt x="443" y="1198"/>
                    <a:pt x="443" y="1198"/>
                  </a:cubicBezTo>
                  <a:moveTo>
                    <a:pt x="490" y="1198"/>
                  </a:moveTo>
                  <a:cubicBezTo>
                    <a:pt x="481" y="1198"/>
                    <a:pt x="471" y="1202"/>
                    <a:pt x="467" y="1208"/>
                  </a:cubicBezTo>
                  <a:cubicBezTo>
                    <a:pt x="464" y="1214"/>
                    <a:pt x="468" y="1218"/>
                    <a:pt x="477" y="1218"/>
                  </a:cubicBezTo>
                  <a:cubicBezTo>
                    <a:pt x="485" y="1218"/>
                    <a:pt x="495" y="1213"/>
                    <a:pt x="499" y="1208"/>
                  </a:cubicBezTo>
                  <a:cubicBezTo>
                    <a:pt x="502" y="1202"/>
                    <a:pt x="498" y="1198"/>
                    <a:pt x="490" y="1198"/>
                  </a:cubicBezTo>
                  <a:cubicBezTo>
                    <a:pt x="490" y="1198"/>
                    <a:pt x="490" y="1198"/>
                    <a:pt x="490" y="1198"/>
                  </a:cubicBezTo>
                  <a:moveTo>
                    <a:pt x="534" y="1198"/>
                  </a:moveTo>
                  <a:cubicBezTo>
                    <a:pt x="526" y="1198"/>
                    <a:pt x="516" y="1202"/>
                    <a:pt x="512" y="1208"/>
                  </a:cubicBezTo>
                  <a:cubicBezTo>
                    <a:pt x="509" y="1213"/>
                    <a:pt x="513" y="1218"/>
                    <a:pt x="522" y="1218"/>
                  </a:cubicBezTo>
                  <a:cubicBezTo>
                    <a:pt x="530" y="1218"/>
                    <a:pt x="540" y="1213"/>
                    <a:pt x="544" y="1208"/>
                  </a:cubicBezTo>
                  <a:cubicBezTo>
                    <a:pt x="547" y="1202"/>
                    <a:pt x="543" y="1198"/>
                    <a:pt x="534" y="1198"/>
                  </a:cubicBezTo>
                  <a:cubicBezTo>
                    <a:pt x="534" y="1198"/>
                    <a:pt x="534" y="1198"/>
                    <a:pt x="534" y="1198"/>
                  </a:cubicBezTo>
                  <a:moveTo>
                    <a:pt x="579" y="1197"/>
                  </a:moveTo>
                  <a:cubicBezTo>
                    <a:pt x="571" y="1197"/>
                    <a:pt x="561" y="1202"/>
                    <a:pt x="557" y="1208"/>
                  </a:cubicBezTo>
                  <a:cubicBezTo>
                    <a:pt x="554" y="1213"/>
                    <a:pt x="558" y="1218"/>
                    <a:pt x="567" y="1218"/>
                  </a:cubicBezTo>
                  <a:cubicBezTo>
                    <a:pt x="576" y="1218"/>
                    <a:pt x="586" y="1213"/>
                    <a:pt x="589" y="1208"/>
                  </a:cubicBezTo>
                  <a:cubicBezTo>
                    <a:pt x="592" y="1202"/>
                    <a:pt x="588" y="1197"/>
                    <a:pt x="579" y="1197"/>
                  </a:cubicBezTo>
                  <a:cubicBezTo>
                    <a:pt x="579" y="1197"/>
                    <a:pt x="579" y="1197"/>
                    <a:pt x="579" y="1197"/>
                  </a:cubicBezTo>
                  <a:moveTo>
                    <a:pt x="625" y="1197"/>
                  </a:moveTo>
                  <a:cubicBezTo>
                    <a:pt x="616" y="1197"/>
                    <a:pt x="606" y="1202"/>
                    <a:pt x="603" y="1208"/>
                  </a:cubicBezTo>
                  <a:cubicBezTo>
                    <a:pt x="600" y="1213"/>
                    <a:pt x="604" y="1218"/>
                    <a:pt x="613" y="1218"/>
                  </a:cubicBezTo>
                  <a:cubicBezTo>
                    <a:pt x="622" y="1218"/>
                    <a:pt x="631" y="1213"/>
                    <a:pt x="635" y="1207"/>
                  </a:cubicBezTo>
                  <a:cubicBezTo>
                    <a:pt x="638" y="1202"/>
                    <a:pt x="634" y="1197"/>
                    <a:pt x="625" y="1197"/>
                  </a:cubicBezTo>
                  <a:cubicBezTo>
                    <a:pt x="625" y="1197"/>
                    <a:pt x="625" y="1197"/>
                    <a:pt x="625" y="1197"/>
                  </a:cubicBezTo>
                  <a:moveTo>
                    <a:pt x="670" y="1197"/>
                  </a:moveTo>
                  <a:cubicBezTo>
                    <a:pt x="661" y="1197"/>
                    <a:pt x="651" y="1202"/>
                    <a:pt x="648" y="1207"/>
                  </a:cubicBezTo>
                  <a:cubicBezTo>
                    <a:pt x="645" y="1213"/>
                    <a:pt x="649" y="1218"/>
                    <a:pt x="658" y="1218"/>
                  </a:cubicBezTo>
                  <a:cubicBezTo>
                    <a:pt x="667" y="1218"/>
                    <a:pt x="676" y="1213"/>
                    <a:pt x="680" y="1207"/>
                  </a:cubicBezTo>
                  <a:cubicBezTo>
                    <a:pt x="683" y="1202"/>
                    <a:pt x="678" y="1197"/>
                    <a:pt x="670" y="1197"/>
                  </a:cubicBezTo>
                  <a:cubicBezTo>
                    <a:pt x="670" y="1197"/>
                    <a:pt x="670" y="1197"/>
                    <a:pt x="670" y="1197"/>
                  </a:cubicBezTo>
                  <a:moveTo>
                    <a:pt x="715" y="1197"/>
                  </a:moveTo>
                  <a:cubicBezTo>
                    <a:pt x="706" y="1197"/>
                    <a:pt x="696" y="1202"/>
                    <a:pt x="693" y="1207"/>
                  </a:cubicBezTo>
                  <a:cubicBezTo>
                    <a:pt x="690" y="1213"/>
                    <a:pt x="694" y="1217"/>
                    <a:pt x="703" y="1217"/>
                  </a:cubicBezTo>
                  <a:cubicBezTo>
                    <a:pt x="712" y="1217"/>
                    <a:pt x="722" y="1213"/>
                    <a:pt x="725" y="1207"/>
                  </a:cubicBezTo>
                  <a:cubicBezTo>
                    <a:pt x="728" y="1202"/>
                    <a:pt x="723" y="1197"/>
                    <a:pt x="715" y="1197"/>
                  </a:cubicBezTo>
                  <a:cubicBezTo>
                    <a:pt x="715" y="1197"/>
                    <a:pt x="715" y="1197"/>
                    <a:pt x="715" y="1197"/>
                  </a:cubicBezTo>
                  <a:moveTo>
                    <a:pt x="759" y="1197"/>
                  </a:moveTo>
                  <a:cubicBezTo>
                    <a:pt x="751" y="1197"/>
                    <a:pt x="741" y="1202"/>
                    <a:pt x="738" y="1207"/>
                  </a:cubicBezTo>
                  <a:cubicBezTo>
                    <a:pt x="735" y="1213"/>
                    <a:pt x="739" y="1217"/>
                    <a:pt x="748" y="1217"/>
                  </a:cubicBezTo>
                  <a:cubicBezTo>
                    <a:pt x="757" y="1217"/>
                    <a:pt x="767" y="1213"/>
                    <a:pt x="770" y="1207"/>
                  </a:cubicBezTo>
                  <a:cubicBezTo>
                    <a:pt x="773" y="1202"/>
                    <a:pt x="768" y="1197"/>
                    <a:pt x="759" y="1197"/>
                  </a:cubicBezTo>
                  <a:cubicBezTo>
                    <a:pt x="759" y="1197"/>
                    <a:pt x="759" y="1197"/>
                    <a:pt x="759" y="1197"/>
                  </a:cubicBezTo>
                  <a:moveTo>
                    <a:pt x="804" y="1197"/>
                  </a:moveTo>
                  <a:cubicBezTo>
                    <a:pt x="796" y="1197"/>
                    <a:pt x="786" y="1201"/>
                    <a:pt x="783" y="1207"/>
                  </a:cubicBezTo>
                  <a:cubicBezTo>
                    <a:pt x="780" y="1213"/>
                    <a:pt x="785" y="1217"/>
                    <a:pt x="794" y="1217"/>
                  </a:cubicBezTo>
                  <a:cubicBezTo>
                    <a:pt x="802" y="1217"/>
                    <a:pt x="812" y="1213"/>
                    <a:pt x="815" y="1207"/>
                  </a:cubicBezTo>
                  <a:cubicBezTo>
                    <a:pt x="818" y="1201"/>
                    <a:pt x="813" y="1197"/>
                    <a:pt x="805" y="1197"/>
                  </a:cubicBezTo>
                  <a:cubicBezTo>
                    <a:pt x="804" y="1197"/>
                    <a:pt x="804" y="1197"/>
                    <a:pt x="804" y="1197"/>
                  </a:cubicBezTo>
                  <a:moveTo>
                    <a:pt x="850" y="1197"/>
                  </a:moveTo>
                  <a:cubicBezTo>
                    <a:pt x="841" y="1197"/>
                    <a:pt x="832" y="1201"/>
                    <a:pt x="829" y="1207"/>
                  </a:cubicBezTo>
                  <a:cubicBezTo>
                    <a:pt x="826" y="1213"/>
                    <a:pt x="831" y="1217"/>
                    <a:pt x="839" y="1217"/>
                  </a:cubicBezTo>
                  <a:cubicBezTo>
                    <a:pt x="848" y="1217"/>
                    <a:pt x="858" y="1212"/>
                    <a:pt x="860" y="1207"/>
                  </a:cubicBezTo>
                  <a:cubicBezTo>
                    <a:pt x="863" y="1201"/>
                    <a:pt x="859" y="1197"/>
                    <a:pt x="850" y="1197"/>
                  </a:cubicBezTo>
                  <a:cubicBezTo>
                    <a:pt x="850" y="1197"/>
                    <a:pt x="850" y="1197"/>
                    <a:pt x="850" y="1197"/>
                  </a:cubicBezTo>
                  <a:moveTo>
                    <a:pt x="895" y="1197"/>
                  </a:moveTo>
                  <a:cubicBezTo>
                    <a:pt x="886" y="1197"/>
                    <a:pt x="877" y="1201"/>
                    <a:pt x="874" y="1207"/>
                  </a:cubicBezTo>
                  <a:cubicBezTo>
                    <a:pt x="871" y="1212"/>
                    <a:pt x="876" y="1217"/>
                    <a:pt x="884" y="1217"/>
                  </a:cubicBezTo>
                  <a:cubicBezTo>
                    <a:pt x="893" y="1217"/>
                    <a:pt x="903" y="1212"/>
                    <a:pt x="905" y="1207"/>
                  </a:cubicBezTo>
                  <a:cubicBezTo>
                    <a:pt x="908" y="1201"/>
                    <a:pt x="903" y="1197"/>
                    <a:pt x="895" y="1197"/>
                  </a:cubicBezTo>
                  <a:cubicBezTo>
                    <a:pt x="895" y="1197"/>
                    <a:pt x="895" y="1197"/>
                    <a:pt x="895" y="1197"/>
                  </a:cubicBezTo>
                  <a:moveTo>
                    <a:pt x="940" y="1196"/>
                  </a:moveTo>
                  <a:cubicBezTo>
                    <a:pt x="931" y="1197"/>
                    <a:pt x="922" y="1201"/>
                    <a:pt x="919" y="1207"/>
                  </a:cubicBezTo>
                  <a:cubicBezTo>
                    <a:pt x="916" y="1212"/>
                    <a:pt x="921" y="1217"/>
                    <a:pt x="930" y="1217"/>
                  </a:cubicBezTo>
                  <a:cubicBezTo>
                    <a:pt x="938" y="1217"/>
                    <a:pt x="948" y="1212"/>
                    <a:pt x="950" y="1207"/>
                  </a:cubicBezTo>
                  <a:cubicBezTo>
                    <a:pt x="953" y="1201"/>
                    <a:pt x="948" y="1196"/>
                    <a:pt x="940" y="1196"/>
                  </a:cubicBezTo>
                  <a:cubicBezTo>
                    <a:pt x="940" y="1196"/>
                    <a:pt x="940" y="1196"/>
                    <a:pt x="940" y="1196"/>
                  </a:cubicBezTo>
                  <a:moveTo>
                    <a:pt x="984" y="1196"/>
                  </a:moveTo>
                  <a:cubicBezTo>
                    <a:pt x="976" y="1196"/>
                    <a:pt x="966" y="1201"/>
                    <a:pt x="964" y="1207"/>
                  </a:cubicBezTo>
                  <a:cubicBezTo>
                    <a:pt x="961" y="1212"/>
                    <a:pt x="966" y="1217"/>
                    <a:pt x="975" y="1217"/>
                  </a:cubicBezTo>
                  <a:cubicBezTo>
                    <a:pt x="983" y="1217"/>
                    <a:pt x="993" y="1212"/>
                    <a:pt x="995" y="1206"/>
                  </a:cubicBezTo>
                  <a:cubicBezTo>
                    <a:pt x="998" y="1201"/>
                    <a:pt x="993" y="1196"/>
                    <a:pt x="984" y="1196"/>
                  </a:cubicBezTo>
                  <a:cubicBezTo>
                    <a:pt x="984" y="1196"/>
                    <a:pt x="984" y="1196"/>
                    <a:pt x="984" y="1196"/>
                  </a:cubicBezTo>
                  <a:moveTo>
                    <a:pt x="1029" y="1196"/>
                  </a:moveTo>
                  <a:cubicBezTo>
                    <a:pt x="1021" y="1196"/>
                    <a:pt x="1012" y="1201"/>
                    <a:pt x="1009" y="1206"/>
                  </a:cubicBezTo>
                  <a:cubicBezTo>
                    <a:pt x="1006" y="1212"/>
                    <a:pt x="1011" y="1217"/>
                    <a:pt x="1020" y="1217"/>
                  </a:cubicBezTo>
                  <a:cubicBezTo>
                    <a:pt x="1029" y="1217"/>
                    <a:pt x="1038" y="1212"/>
                    <a:pt x="1041" y="1206"/>
                  </a:cubicBezTo>
                  <a:cubicBezTo>
                    <a:pt x="1043" y="1201"/>
                    <a:pt x="1038" y="1196"/>
                    <a:pt x="1030" y="1196"/>
                  </a:cubicBezTo>
                  <a:cubicBezTo>
                    <a:pt x="1029" y="1196"/>
                    <a:pt x="1029" y="1196"/>
                    <a:pt x="1029" y="1196"/>
                  </a:cubicBezTo>
                  <a:moveTo>
                    <a:pt x="1075" y="1196"/>
                  </a:moveTo>
                  <a:cubicBezTo>
                    <a:pt x="1066" y="1196"/>
                    <a:pt x="1057" y="1201"/>
                    <a:pt x="1055" y="1206"/>
                  </a:cubicBezTo>
                  <a:cubicBezTo>
                    <a:pt x="1052" y="1212"/>
                    <a:pt x="1057" y="1216"/>
                    <a:pt x="1066" y="1216"/>
                  </a:cubicBezTo>
                  <a:cubicBezTo>
                    <a:pt x="1075" y="1216"/>
                    <a:pt x="1084" y="1212"/>
                    <a:pt x="1086" y="1206"/>
                  </a:cubicBezTo>
                  <a:cubicBezTo>
                    <a:pt x="1089" y="1201"/>
                    <a:pt x="1084" y="1196"/>
                    <a:pt x="1075" y="1196"/>
                  </a:cubicBezTo>
                  <a:cubicBezTo>
                    <a:pt x="1075" y="1196"/>
                    <a:pt x="1075" y="1196"/>
                    <a:pt x="1075" y="1196"/>
                  </a:cubicBezTo>
                  <a:moveTo>
                    <a:pt x="1116" y="1196"/>
                  </a:moveTo>
                  <a:cubicBezTo>
                    <a:pt x="1107" y="1196"/>
                    <a:pt x="1098" y="1201"/>
                    <a:pt x="1095" y="1206"/>
                  </a:cubicBezTo>
                  <a:cubicBezTo>
                    <a:pt x="1093" y="1212"/>
                    <a:pt x="1098" y="1216"/>
                    <a:pt x="1107" y="1216"/>
                  </a:cubicBezTo>
                  <a:cubicBezTo>
                    <a:pt x="1116" y="1216"/>
                    <a:pt x="1125" y="1212"/>
                    <a:pt x="1127" y="1206"/>
                  </a:cubicBezTo>
                  <a:cubicBezTo>
                    <a:pt x="1129" y="1201"/>
                    <a:pt x="1124" y="1196"/>
                    <a:pt x="1116" y="1196"/>
                  </a:cubicBezTo>
                  <a:cubicBezTo>
                    <a:pt x="1116" y="1196"/>
                    <a:pt x="1116" y="1196"/>
                    <a:pt x="1116" y="1196"/>
                  </a:cubicBezTo>
                  <a:moveTo>
                    <a:pt x="2153" y="1195"/>
                  </a:moveTo>
                  <a:cubicBezTo>
                    <a:pt x="2144" y="1195"/>
                    <a:pt x="2137" y="1199"/>
                    <a:pt x="2136" y="1205"/>
                  </a:cubicBezTo>
                  <a:cubicBezTo>
                    <a:pt x="2135" y="1211"/>
                    <a:pt x="2142" y="1215"/>
                    <a:pt x="2151" y="1215"/>
                  </a:cubicBezTo>
                  <a:cubicBezTo>
                    <a:pt x="2160" y="1215"/>
                    <a:pt x="2167" y="1211"/>
                    <a:pt x="2168" y="1205"/>
                  </a:cubicBezTo>
                  <a:cubicBezTo>
                    <a:pt x="2168" y="1199"/>
                    <a:pt x="2162" y="1195"/>
                    <a:pt x="2153" y="1195"/>
                  </a:cubicBezTo>
                  <a:cubicBezTo>
                    <a:pt x="2153" y="1195"/>
                    <a:pt x="2153" y="1195"/>
                    <a:pt x="2153" y="1195"/>
                  </a:cubicBezTo>
                  <a:moveTo>
                    <a:pt x="2198" y="1195"/>
                  </a:moveTo>
                  <a:cubicBezTo>
                    <a:pt x="2190" y="1195"/>
                    <a:pt x="2182" y="1199"/>
                    <a:pt x="2182" y="1205"/>
                  </a:cubicBezTo>
                  <a:cubicBezTo>
                    <a:pt x="2181" y="1211"/>
                    <a:pt x="2188" y="1215"/>
                    <a:pt x="2197" y="1215"/>
                  </a:cubicBezTo>
                  <a:cubicBezTo>
                    <a:pt x="2205" y="1215"/>
                    <a:pt x="2213" y="1210"/>
                    <a:pt x="2213" y="1205"/>
                  </a:cubicBezTo>
                  <a:cubicBezTo>
                    <a:pt x="2214" y="1199"/>
                    <a:pt x="2207" y="1195"/>
                    <a:pt x="2198" y="1195"/>
                  </a:cubicBezTo>
                  <a:cubicBezTo>
                    <a:pt x="2198" y="1195"/>
                    <a:pt x="2198" y="1195"/>
                    <a:pt x="2198" y="1195"/>
                  </a:cubicBezTo>
                  <a:moveTo>
                    <a:pt x="2243" y="1195"/>
                  </a:moveTo>
                  <a:cubicBezTo>
                    <a:pt x="2234" y="1195"/>
                    <a:pt x="2227" y="1199"/>
                    <a:pt x="2226" y="1205"/>
                  </a:cubicBezTo>
                  <a:cubicBezTo>
                    <a:pt x="2226" y="1210"/>
                    <a:pt x="2232" y="1215"/>
                    <a:pt x="2241" y="1215"/>
                  </a:cubicBezTo>
                  <a:cubicBezTo>
                    <a:pt x="2250" y="1215"/>
                    <a:pt x="2257" y="1210"/>
                    <a:pt x="2258" y="1205"/>
                  </a:cubicBezTo>
                  <a:cubicBezTo>
                    <a:pt x="2258" y="1199"/>
                    <a:pt x="2251" y="1195"/>
                    <a:pt x="2243" y="1195"/>
                  </a:cubicBezTo>
                  <a:cubicBezTo>
                    <a:pt x="2243" y="1195"/>
                    <a:pt x="2243" y="1195"/>
                    <a:pt x="2243" y="1195"/>
                  </a:cubicBezTo>
                  <a:moveTo>
                    <a:pt x="2287" y="1194"/>
                  </a:moveTo>
                  <a:cubicBezTo>
                    <a:pt x="2279" y="1194"/>
                    <a:pt x="2271" y="1199"/>
                    <a:pt x="2271" y="1205"/>
                  </a:cubicBezTo>
                  <a:cubicBezTo>
                    <a:pt x="2271" y="1210"/>
                    <a:pt x="2277" y="1215"/>
                    <a:pt x="2286" y="1215"/>
                  </a:cubicBezTo>
                  <a:cubicBezTo>
                    <a:pt x="2295" y="1215"/>
                    <a:pt x="2302" y="1210"/>
                    <a:pt x="2303" y="1205"/>
                  </a:cubicBezTo>
                  <a:cubicBezTo>
                    <a:pt x="2303" y="1199"/>
                    <a:pt x="2296" y="1194"/>
                    <a:pt x="2287" y="1194"/>
                  </a:cubicBezTo>
                  <a:cubicBezTo>
                    <a:pt x="2287" y="1194"/>
                    <a:pt x="2287" y="1194"/>
                    <a:pt x="2287" y="1194"/>
                  </a:cubicBezTo>
                  <a:moveTo>
                    <a:pt x="2332" y="1194"/>
                  </a:moveTo>
                  <a:cubicBezTo>
                    <a:pt x="2324" y="1194"/>
                    <a:pt x="2316" y="1199"/>
                    <a:pt x="2316" y="1205"/>
                  </a:cubicBezTo>
                  <a:cubicBezTo>
                    <a:pt x="2316" y="1210"/>
                    <a:pt x="2323" y="1215"/>
                    <a:pt x="2332" y="1215"/>
                  </a:cubicBezTo>
                  <a:cubicBezTo>
                    <a:pt x="2340" y="1215"/>
                    <a:pt x="2348" y="1210"/>
                    <a:pt x="2348" y="1204"/>
                  </a:cubicBezTo>
                  <a:cubicBezTo>
                    <a:pt x="2348" y="1199"/>
                    <a:pt x="2341" y="1194"/>
                    <a:pt x="2333" y="1194"/>
                  </a:cubicBezTo>
                  <a:cubicBezTo>
                    <a:pt x="2333" y="1194"/>
                    <a:pt x="2332" y="1194"/>
                    <a:pt x="2332" y="1194"/>
                  </a:cubicBezTo>
                  <a:moveTo>
                    <a:pt x="2378" y="1194"/>
                  </a:moveTo>
                  <a:cubicBezTo>
                    <a:pt x="2369" y="1194"/>
                    <a:pt x="2362" y="1199"/>
                    <a:pt x="2362" y="1204"/>
                  </a:cubicBezTo>
                  <a:cubicBezTo>
                    <a:pt x="2362" y="1210"/>
                    <a:pt x="2369" y="1215"/>
                    <a:pt x="2377" y="1215"/>
                  </a:cubicBezTo>
                  <a:cubicBezTo>
                    <a:pt x="2386" y="1215"/>
                    <a:pt x="2393" y="1210"/>
                    <a:pt x="2393" y="1204"/>
                  </a:cubicBezTo>
                  <a:cubicBezTo>
                    <a:pt x="2394" y="1199"/>
                    <a:pt x="2387" y="1194"/>
                    <a:pt x="2378" y="1194"/>
                  </a:cubicBezTo>
                  <a:cubicBezTo>
                    <a:pt x="2378" y="1194"/>
                    <a:pt x="2378" y="1194"/>
                    <a:pt x="2378" y="1194"/>
                  </a:cubicBezTo>
                  <a:moveTo>
                    <a:pt x="2423" y="1194"/>
                  </a:moveTo>
                  <a:cubicBezTo>
                    <a:pt x="2414" y="1194"/>
                    <a:pt x="2407" y="1199"/>
                    <a:pt x="2407" y="1204"/>
                  </a:cubicBezTo>
                  <a:cubicBezTo>
                    <a:pt x="2407" y="1210"/>
                    <a:pt x="2414" y="1214"/>
                    <a:pt x="2422" y="1214"/>
                  </a:cubicBezTo>
                  <a:cubicBezTo>
                    <a:pt x="2431" y="1214"/>
                    <a:pt x="2438" y="1210"/>
                    <a:pt x="2438" y="1204"/>
                  </a:cubicBezTo>
                  <a:cubicBezTo>
                    <a:pt x="2438" y="1199"/>
                    <a:pt x="2431" y="1194"/>
                    <a:pt x="2423" y="1194"/>
                  </a:cubicBezTo>
                  <a:cubicBezTo>
                    <a:pt x="2423" y="1194"/>
                    <a:pt x="2423" y="1194"/>
                    <a:pt x="2423" y="1194"/>
                  </a:cubicBezTo>
                  <a:moveTo>
                    <a:pt x="2468" y="1194"/>
                  </a:moveTo>
                  <a:cubicBezTo>
                    <a:pt x="2459" y="1194"/>
                    <a:pt x="2452" y="1199"/>
                    <a:pt x="2452" y="1204"/>
                  </a:cubicBezTo>
                  <a:cubicBezTo>
                    <a:pt x="2452" y="1210"/>
                    <a:pt x="2459" y="1214"/>
                    <a:pt x="2468" y="1214"/>
                  </a:cubicBezTo>
                  <a:cubicBezTo>
                    <a:pt x="2476" y="1214"/>
                    <a:pt x="2483" y="1210"/>
                    <a:pt x="2483" y="1204"/>
                  </a:cubicBezTo>
                  <a:cubicBezTo>
                    <a:pt x="2483" y="1198"/>
                    <a:pt x="2476" y="1194"/>
                    <a:pt x="2468" y="1194"/>
                  </a:cubicBezTo>
                  <a:cubicBezTo>
                    <a:pt x="2468" y="1194"/>
                    <a:pt x="2468" y="1194"/>
                    <a:pt x="2468" y="1194"/>
                  </a:cubicBezTo>
                  <a:moveTo>
                    <a:pt x="2512" y="1194"/>
                  </a:moveTo>
                  <a:cubicBezTo>
                    <a:pt x="2504" y="1194"/>
                    <a:pt x="2497" y="1198"/>
                    <a:pt x="2497" y="1204"/>
                  </a:cubicBezTo>
                  <a:cubicBezTo>
                    <a:pt x="2497" y="1210"/>
                    <a:pt x="2504" y="1214"/>
                    <a:pt x="2512" y="1214"/>
                  </a:cubicBezTo>
                  <a:cubicBezTo>
                    <a:pt x="2521" y="1214"/>
                    <a:pt x="2528" y="1210"/>
                    <a:pt x="2528" y="1204"/>
                  </a:cubicBezTo>
                  <a:cubicBezTo>
                    <a:pt x="2528" y="1198"/>
                    <a:pt x="2521" y="1194"/>
                    <a:pt x="2512" y="1194"/>
                  </a:cubicBezTo>
                  <a:cubicBezTo>
                    <a:pt x="2512" y="1194"/>
                    <a:pt x="2512" y="1194"/>
                    <a:pt x="2512" y="1194"/>
                  </a:cubicBezTo>
                  <a:moveTo>
                    <a:pt x="2557" y="1194"/>
                  </a:moveTo>
                  <a:cubicBezTo>
                    <a:pt x="2549" y="1194"/>
                    <a:pt x="2542" y="1198"/>
                    <a:pt x="2542" y="1204"/>
                  </a:cubicBezTo>
                  <a:cubicBezTo>
                    <a:pt x="2542" y="1210"/>
                    <a:pt x="2549" y="1214"/>
                    <a:pt x="2558" y="1214"/>
                  </a:cubicBezTo>
                  <a:cubicBezTo>
                    <a:pt x="2567" y="1214"/>
                    <a:pt x="2574" y="1209"/>
                    <a:pt x="2573" y="1204"/>
                  </a:cubicBezTo>
                  <a:cubicBezTo>
                    <a:pt x="2573" y="1198"/>
                    <a:pt x="2566" y="1194"/>
                    <a:pt x="2557" y="1194"/>
                  </a:cubicBezTo>
                  <a:cubicBezTo>
                    <a:pt x="2557" y="1194"/>
                    <a:pt x="2557" y="1194"/>
                    <a:pt x="2557" y="1194"/>
                  </a:cubicBezTo>
                  <a:moveTo>
                    <a:pt x="2603" y="1194"/>
                  </a:moveTo>
                  <a:cubicBezTo>
                    <a:pt x="2594" y="1194"/>
                    <a:pt x="2587" y="1198"/>
                    <a:pt x="2587" y="1204"/>
                  </a:cubicBezTo>
                  <a:cubicBezTo>
                    <a:pt x="2588" y="1209"/>
                    <a:pt x="2595" y="1214"/>
                    <a:pt x="2604" y="1214"/>
                  </a:cubicBezTo>
                  <a:cubicBezTo>
                    <a:pt x="2612" y="1214"/>
                    <a:pt x="2619" y="1209"/>
                    <a:pt x="2619" y="1204"/>
                  </a:cubicBezTo>
                  <a:cubicBezTo>
                    <a:pt x="2619" y="1198"/>
                    <a:pt x="2611" y="1194"/>
                    <a:pt x="2603" y="1194"/>
                  </a:cubicBezTo>
                  <a:cubicBezTo>
                    <a:pt x="2603" y="1194"/>
                    <a:pt x="2603" y="1194"/>
                    <a:pt x="2603" y="1194"/>
                  </a:cubicBezTo>
                  <a:moveTo>
                    <a:pt x="2647" y="1193"/>
                  </a:moveTo>
                  <a:cubicBezTo>
                    <a:pt x="2639" y="1193"/>
                    <a:pt x="2632" y="1198"/>
                    <a:pt x="2632" y="1204"/>
                  </a:cubicBezTo>
                  <a:cubicBezTo>
                    <a:pt x="2632" y="1209"/>
                    <a:pt x="2640" y="1214"/>
                    <a:pt x="2649" y="1214"/>
                  </a:cubicBezTo>
                  <a:cubicBezTo>
                    <a:pt x="2657" y="1214"/>
                    <a:pt x="2664" y="1209"/>
                    <a:pt x="2664" y="1204"/>
                  </a:cubicBezTo>
                  <a:cubicBezTo>
                    <a:pt x="2663" y="1198"/>
                    <a:pt x="2656" y="1193"/>
                    <a:pt x="2647" y="1193"/>
                  </a:cubicBezTo>
                  <a:cubicBezTo>
                    <a:pt x="2647" y="1193"/>
                    <a:pt x="2647" y="1193"/>
                    <a:pt x="2647" y="1193"/>
                  </a:cubicBezTo>
                  <a:moveTo>
                    <a:pt x="2693" y="1193"/>
                  </a:moveTo>
                  <a:cubicBezTo>
                    <a:pt x="2684" y="1193"/>
                    <a:pt x="2677" y="1198"/>
                    <a:pt x="2678" y="1204"/>
                  </a:cubicBezTo>
                  <a:cubicBezTo>
                    <a:pt x="2678" y="1209"/>
                    <a:pt x="2685" y="1214"/>
                    <a:pt x="2694" y="1214"/>
                  </a:cubicBezTo>
                  <a:cubicBezTo>
                    <a:pt x="2703" y="1214"/>
                    <a:pt x="2710" y="1209"/>
                    <a:pt x="2709" y="1203"/>
                  </a:cubicBezTo>
                  <a:cubicBezTo>
                    <a:pt x="2709" y="1198"/>
                    <a:pt x="2701" y="1193"/>
                    <a:pt x="2693" y="1193"/>
                  </a:cubicBezTo>
                  <a:cubicBezTo>
                    <a:pt x="2693" y="1193"/>
                    <a:pt x="2693" y="1193"/>
                    <a:pt x="2693" y="1193"/>
                  </a:cubicBezTo>
                  <a:moveTo>
                    <a:pt x="4040" y="1188"/>
                  </a:moveTo>
                  <a:cubicBezTo>
                    <a:pt x="4031" y="1188"/>
                    <a:pt x="4026" y="1193"/>
                    <a:pt x="4029" y="1199"/>
                  </a:cubicBezTo>
                  <a:cubicBezTo>
                    <a:pt x="4032" y="1204"/>
                    <a:pt x="4041" y="1209"/>
                    <a:pt x="4050" y="1209"/>
                  </a:cubicBezTo>
                  <a:cubicBezTo>
                    <a:pt x="4059" y="1209"/>
                    <a:pt x="4064" y="1204"/>
                    <a:pt x="4061" y="1198"/>
                  </a:cubicBezTo>
                  <a:cubicBezTo>
                    <a:pt x="4058" y="1193"/>
                    <a:pt x="4049" y="1188"/>
                    <a:pt x="4040" y="1188"/>
                  </a:cubicBezTo>
                  <a:cubicBezTo>
                    <a:pt x="4040" y="1188"/>
                    <a:pt x="4040" y="1188"/>
                    <a:pt x="4040" y="1188"/>
                  </a:cubicBezTo>
                  <a:moveTo>
                    <a:pt x="4083" y="1188"/>
                  </a:moveTo>
                  <a:cubicBezTo>
                    <a:pt x="4075" y="1188"/>
                    <a:pt x="4070" y="1193"/>
                    <a:pt x="4073" y="1198"/>
                  </a:cubicBezTo>
                  <a:cubicBezTo>
                    <a:pt x="4076" y="1204"/>
                    <a:pt x="4085" y="1209"/>
                    <a:pt x="4094" y="1209"/>
                  </a:cubicBezTo>
                  <a:cubicBezTo>
                    <a:pt x="4103" y="1209"/>
                    <a:pt x="4107" y="1204"/>
                    <a:pt x="4104" y="1198"/>
                  </a:cubicBezTo>
                  <a:cubicBezTo>
                    <a:pt x="4102" y="1193"/>
                    <a:pt x="4092" y="1188"/>
                    <a:pt x="4084" y="1188"/>
                  </a:cubicBezTo>
                  <a:cubicBezTo>
                    <a:pt x="4083" y="1188"/>
                    <a:pt x="4083" y="1188"/>
                    <a:pt x="4083" y="1188"/>
                  </a:cubicBezTo>
                  <a:moveTo>
                    <a:pt x="4397" y="1186"/>
                  </a:moveTo>
                  <a:cubicBezTo>
                    <a:pt x="4388" y="1187"/>
                    <a:pt x="4384" y="1191"/>
                    <a:pt x="4387" y="1197"/>
                  </a:cubicBezTo>
                  <a:cubicBezTo>
                    <a:pt x="4391" y="1203"/>
                    <a:pt x="4401" y="1207"/>
                    <a:pt x="4409" y="1207"/>
                  </a:cubicBezTo>
                  <a:cubicBezTo>
                    <a:pt x="4418" y="1207"/>
                    <a:pt x="4422" y="1202"/>
                    <a:pt x="4419" y="1197"/>
                  </a:cubicBezTo>
                  <a:cubicBezTo>
                    <a:pt x="4415" y="1191"/>
                    <a:pt x="4405" y="1186"/>
                    <a:pt x="4397" y="1186"/>
                  </a:cubicBezTo>
                  <a:cubicBezTo>
                    <a:pt x="4397" y="1186"/>
                    <a:pt x="4397" y="1186"/>
                    <a:pt x="4397" y="1186"/>
                  </a:cubicBezTo>
                  <a:moveTo>
                    <a:pt x="4442" y="1186"/>
                  </a:moveTo>
                  <a:cubicBezTo>
                    <a:pt x="4433" y="1186"/>
                    <a:pt x="4429" y="1191"/>
                    <a:pt x="4433" y="1197"/>
                  </a:cubicBezTo>
                  <a:cubicBezTo>
                    <a:pt x="4436" y="1202"/>
                    <a:pt x="4446" y="1207"/>
                    <a:pt x="4455" y="1207"/>
                  </a:cubicBezTo>
                  <a:cubicBezTo>
                    <a:pt x="4464" y="1207"/>
                    <a:pt x="4468" y="1202"/>
                    <a:pt x="4464" y="1197"/>
                  </a:cubicBezTo>
                  <a:cubicBezTo>
                    <a:pt x="4461" y="1191"/>
                    <a:pt x="4451" y="1186"/>
                    <a:pt x="4442" y="1186"/>
                  </a:cubicBezTo>
                  <a:cubicBezTo>
                    <a:pt x="4442" y="1186"/>
                    <a:pt x="4442" y="1186"/>
                    <a:pt x="4442" y="1186"/>
                  </a:cubicBezTo>
                  <a:moveTo>
                    <a:pt x="4712" y="1186"/>
                  </a:moveTo>
                  <a:cubicBezTo>
                    <a:pt x="4703" y="1186"/>
                    <a:pt x="4700" y="1190"/>
                    <a:pt x="4704" y="1196"/>
                  </a:cubicBezTo>
                  <a:cubicBezTo>
                    <a:pt x="4708" y="1202"/>
                    <a:pt x="4718" y="1206"/>
                    <a:pt x="4727" y="1206"/>
                  </a:cubicBezTo>
                  <a:cubicBezTo>
                    <a:pt x="4736" y="1206"/>
                    <a:pt x="4739" y="1202"/>
                    <a:pt x="4735" y="1196"/>
                  </a:cubicBezTo>
                  <a:cubicBezTo>
                    <a:pt x="4731" y="1190"/>
                    <a:pt x="4721" y="1186"/>
                    <a:pt x="4712" y="1186"/>
                  </a:cubicBezTo>
                  <a:cubicBezTo>
                    <a:pt x="4712" y="1186"/>
                    <a:pt x="4712" y="1186"/>
                    <a:pt x="4712" y="1186"/>
                  </a:cubicBezTo>
                  <a:moveTo>
                    <a:pt x="4757" y="1186"/>
                  </a:moveTo>
                  <a:cubicBezTo>
                    <a:pt x="4749" y="1186"/>
                    <a:pt x="4745" y="1190"/>
                    <a:pt x="4749" y="1196"/>
                  </a:cubicBezTo>
                  <a:cubicBezTo>
                    <a:pt x="4753" y="1202"/>
                    <a:pt x="4764" y="1206"/>
                    <a:pt x="4772" y="1206"/>
                  </a:cubicBezTo>
                  <a:cubicBezTo>
                    <a:pt x="4781" y="1206"/>
                    <a:pt x="4785" y="1201"/>
                    <a:pt x="4781" y="1196"/>
                  </a:cubicBezTo>
                  <a:cubicBezTo>
                    <a:pt x="4776" y="1190"/>
                    <a:pt x="4766" y="1186"/>
                    <a:pt x="4757" y="1186"/>
                  </a:cubicBezTo>
                  <a:cubicBezTo>
                    <a:pt x="4757" y="1186"/>
                    <a:pt x="4757" y="1186"/>
                    <a:pt x="4757" y="1186"/>
                  </a:cubicBezTo>
                  <a:moveTo>
                    <a:pt x="4803" y="1185"/>
                  </a:moveTo>
                  <a:cubicBezTo>
                    <a:pt x="4794" y="1185"/>
                    <a:pt x="4791" y="1190"/>
                    <a:pt x="4795" y="1196"/>
                  </a:cubicBezTo>
                  <a:cubicBezTo>
                    <a:pt x="4799" y="1201"/>
                    <a:pt x="4809" y="1206"/>
                    <a:pt x="4818" y="1206"/>
                  </a:cubicBezTo>
                  <a:cubicBezTo>
                    <a:pt x="4827" y="1206"/>
                    <a:pt x="4831" y="1201"/>
                    <a:pt x="4826" y="1196"/>
                  </a:cubicBezTo>
                  <a:cubicBezTo>
                    <a:pt x="4822" y="1190"/>
                    <a:pt x="4812" y="1185"/>
                    <a:pt x="4803" y="1185"/>
                  </a:cubicBezTo>
                  <a:cubicBezTo>
                    <a:pt x="4803" y="1185"/>
                    <a:pt x="4803" y="1185"/>
                    <a:pt x="4803" y="1185"/>
                  </a:cubicBezTo>
                  <a:moveTo>
                    <a:pt x="4846" y="1185"/>
                  </a:moveTo>
                  <a:cubicBezTo>
                    <a:pt x="4838" y="1185"/>
                    <a:pt x="4834" y="1190"/>
                    <a:pt x="4838" y="1196"/>
                  </a:cubicBezTo>
                  <a:cubicBezTo>
                    <a:pt x="4843" y="1201"/>
                    <a:pt x="4853" y="1206"/>
                    <a:pt x="4862" y="1206"/>
                  </a:cubicBezTo>
                  <a:cubicBezTo>
                    <a:pt x="4871" y="1206"/>
                    <a:pt x="4874" y="1201"/>
                    <a:pt x="4870" y="1196"/>
                  </a:cubicBezTo>
                  <a:cubicBezTo>
                    <a:pt x="4866" y="1190"/>
                    <a:pt x="4855" y="1185"/>
                    <a:pt x="4846" y="1185"/>
                  </a:cubicBezTo>
                  <a:cubicBezTo>
                    <a:pt x="4846" y="1185"/>
                    <a:pt x="4846" y="1185"/>
                    <a:pt x="4846" y="1185"/>
                  </a:cubicBezTo>
                  <a:moveTo>
                    <a:pt x="4891" y="1185"/>
                  </a:moveTo>
                  <a:cubicBezTo>
                    <a:pt x="4883" y="1185"/>
                    <a:pt x="4879" y="1190"/>
                    <a:pt x="4884" y="1195"/>
                  </a:cubicBezTo>
                  <a:cubicBezTo>
                    <a:pt x="4888" y="1201"/>
                    <a:pt x="4899" y="1206"/>
                    <a:pt x="4907" y="1206"/>
                  </a:cubicBezTo>
                  <a:cubicBezTo>
                    <a:pt x="4916" y="1206"/>
                    <a:pt x="4920" y="1201"/>
                    <a:pt x="4915" y="1195"/>
                  </a:cubicBezTo>
                  <a:cubicBezTo>
                    <a:pt x="4911" y="1190"/>
                    <a:pt x="4900" y="1185"/>
                    <a:pt x="4891" y="1185"/>
                  </a:cubicBezTo>
                  <a:cubicBezTo>
                    <a:pt x="4891" y="1185"/>
                    <a:pt x="4891" y="1185"/>
                    <a:pt x="4891" y="1185"/>
                  </a:cubicBezTo>
                  <a:moveTo>
                    <a:pt x="285" y="1168"/>
                  </a:moveTo>
                  <a:cubicBezTo>
                    <a:pt x="276" y="1168"/>
                    <a:pt x="266" y="1172"/>
                    <a:pt x="262" y="1178"/>
                  </a:cubicBezTo>
                  <a:cubicBezTo>
                    <a:pt x="258" y="1184"/>
                    <a:pt x="262" y="1188"/>
                    <a:pt x="271" y="1188"/>
                  </a:cubicBezTo>
                  <a:cubicBezTo>
                    <a:pt x="279" y="1188"/>
                    <a:pt x="290" y="1183"/>
                    <a:pt x="294" y="1178"/>
                  </a:cubicBezTo>
                  <a:cubicBezTo>
                    <a:pt x="298" y="1172"/>
                    <a:pt x="294" y="1168"/>
                    <a:pt x="285" y="1168"/>
                  </a:cubicBezTo>
                  <a:cubicBezTo>
                    <a:pt x="285" y="1168"/>
                    <a:pt x="285" y="1168"/>
                    <a:pt x="285" y="1168"/>
                  </a:cubicBezTo>
                  <a:moveTo>
                    <a:pt x="329" y="1168"/>
                  </a:moveTo>
                  <a:cubicBezTo>
                    <a:pt x="321" y="1168"/>
                    <a:pt x="311" y="1172"/>
                    <a:pt x="307" y="1178"/>
                  </a:cubicBezTo>
                  <a:cubicBezTo>
                    <a:pt x="303" y="1183"/>
                    <a:pt x="307" y="1188"/>
                    <a:pt x="315" y="1188"/>
                  </a:cubicBezTo>
                  <a:cubicBezTo>
                    <a:pt x="324" y="1188"/>
                    <a:pt x="334" y="1183"/>
                    <a:pt x="338" y="1178"/>
                  </a:cubicBezTo>
                  <a:cubicBezTo>
                    <a:pt x="342" y="1172"/>
                    <a:pt x="338" y="1168"/>
                    <a:pt x="329" y="1168"/>
                  </a:cubicBezTo>
                  <a:cubicBezTo>
                    <a:pt x="329" y="1168"/>
                    <a:pt x="329" y="1168"/>
                    <a:pt x="329" y="1168"/>
                  </a:cubicBezTo>
                  <a:moveTo>
                    <a:pt x="374" y="1168"/>
                  </a:moveTo>
                  <a:cubicBezTo>
                    <a:pt x="365" y="1168"/>
                    <a:pt x="355" y="1172"/>
                    <a:pt x="351" y="1178"/>
                  </a:cubicBezTo>
                  <a:cubicBezTo>
                    <a:pt x="348" y="1183"/>
                    <a:pt x="352" y="1188"/>
                    <a:pt x="360" y="1188"/>
                  </a:cubicBezTo>
                  <a:cubicBezTo>
                    <a:pt x="369" y="1188"/>
                    <a:pt x="379" y="1183"/>
                    <a:pt x="383" y="1178"/>
                  </a:cubicBezTo>
                  <a:cubicBezTo>
                    <a:pt x="387" y="1172"/>
                    <a:pt x="383" y="1168"/>
                    <a:pt x="374" y="1168"/>
                  </a:cubicBezTo>
                  <a:cubicBezTo>
                    <a:pt x="374" y="1168"/>
                    <a:pt x="374" y="1168"/>
                    <a:pt x="374" y="1168"/>
                  </a:cubicBezTo>
                  <a:moveTo>
                    <a:pt x="418" y="1167"/>
                  </a:moveTo>
                  <a:cubicBezTo>
                    <a:pt x="410" y="1167"/>
                    <a:pt x="400" y="1172"/>
                    <a:pt x="396" y="1178"/>
                  </a:cubicBezTo>
                  <a:cubicBezTo>
                    <a:pt x="392" y="1183"/>
                    <a:pt x="396" y="1188"/>
                    <a:pt x="405" y="1188"/>
                  </a:cubicBezTo>
                  <a:cubicBezTo>
                    <a:pt x="413" y="1188"/>
                    <a:pt x="424" y="1183"/>
                    <a:pt x="427" y="1178"/>
                  </a:cubicBezTo>
                  <a:cubicBezTo>
                    <a:pt x="431" y="1172"/>
                    <a:pt x="427" y="1167"/>
                    <a:pt x="418" y="1167"/>
                  </a:cubicBezTo>
                  <a:cubicBezTo>
                    <a:pt x="418" y="1167"/>
                    <a:pt x="418" y="1167"/>
                    <a:pt x="418" y="1167"/>
                  </a:cubicBezTo>
                  <a:moveTo>
                    <a:pt x="463" y="1167"/>
                  </a:moveTo>
                  <a:cubicBezTo>
                    <a:pt x="454" y="1167"/>
                    <a:pt x="444" y="1172"/>
                    <a:pt x="441" y="1177"/>
                  </a:cubicBezTo>
                  <a:cubicBezTo>
                    <a:pt x="437" y="1183"/>
                    <a:pt x="441" y="1188"/>
                    <a:pt x="450" y="1188"/>
                  </a:cubicBezTo>
                  <a:cubicBezTo>
                    <a:pt x="458" y="1188"/>
                    <a:pt x="468" y="1183"/>
                    <a:pt x="472" y="1177"/>
                  </a:cubicBezTo>
                  <a:cubicBezTo>
                    <a:pt x="476" y="1172"/>
                    <a:pt x="472" y="1167"/>
                    <a:pt x="463" y="1167"/>
                  </a:cubicBezTo>
                  <a:cubicBezTo>
                    <a:pt x="463" y="1167"/>
                    <a:pt x="463" y="1167"/>
                    <a:pt x="463" y="1167"/>
                  </a:cubicBezTo>
                  <a:moveTo>
                    <a:pt x="509" y="1167"/>
                  </a:moveTo>
                  <a:cubicBezTo>
                    <a:pt x="500" y="1167"/>
                    <a:pt x="490" y="1172"/>
                    <a:pt x="487" y="1177"/>
                  </a:cubicBezTo>
                  <a:cubicBezTo>
                    <a:pt x="483" y="1183"/>
                    <a:pt x="487" y="1187"/>
                    <a:pt x="496" y="1187"/>
                  </a:cubicBezTo>
                  <a:cubicBezTo>
                    <a:pt x="505" y="1187"/>
                    <a:pt x="515" y="1183"/>
                    <a:pt x="518" y="1177"/>
                  </a:cubicBezTo>
                  <a:cubicBezTo>
                    <a:pt x="522" y="1172"/>
                    <a:pt x="518" y="1167"/>
                    <a:pt x="509" y="1167"/>
                  </a:cubicBezTo>
                  <a:cubicBezTo>
                    <a:pt x="509" y="1167"/>
                    <a:pt x="509" y="1167"/>
                    <a:pt x="509" y="1167"/>
                  </a:cubicBezTo>
                  <a:moveTo>
                    <a:pt x="553" y="1167"/>
                  </a:moveTo>
                  <a:cubicBezTo>
                    <a:pt x="545" y="1167"/>
                    <a:pt x="535" y="1172"/>
                    <a:pt x="531" y="1177"/>
                  </a:cubicBezTo>
                  <a:cubicBezTo>
                    <a:pt x="528" y="1183"/>
                    <a:pt x="532" y="1187"/>
                    <a:pt x="541" y="1187"/>
                  </a:cubicBezTo>
                  <a:cubicBezTo>
                    <a:pt x="549" y="1187"/>
                    <a:pt x="559" y="1183"/>
                    <a:pt x="563" y="1177"/>
                  </a:cubicBezTo>
                  <a:cubicBezTo>
                    <a:pt x="566" y="1172"/>
                    <a:pt x="562" y="1167"/>
                    <a:pt x="553" y="1167"/>
                  </a:cubicBezTo>
                  <a:cubicBezTo>
                    <a:pt x="553" y="1167"/>
                    <a:pt x="553" y="1167"/>
                    <a:pt x="553" y="1167"/>
                  </a:cubicBezTo>
                  <a:moveTo>
                    <a:pt x="598" y="1167"/>
                  </a:moveTo>
                  <a:cubicBezTo>
                    <a:pt x="589" y="1167"/>
                    <a:pt x="580" y="1171"/>
                    <a:pt x="576" y="1177"/>
                  </a:cubicBezTo>
                  <a:cubicBezTo>
                    <a:pt x="573" y="1183"/>
                    <a:pt x="577" y="1187"/>
                    <a:pt x="586" y="1187"/>
                  </a:cubicBezTo>
                  <a:cubicBezTo>
                    <a:pt x="594" y="1187"/>
                    <a:pt x="604" y="1183"/>
                    <a:pt x="607" y="1177"/>
                  </a:cubicBezTo>
                  <a:cubicBezTo>
                    <a:pt x="611" y="1171"/>
                    <a:pt x="607" y="1167"/>
                    <a:pt x="598" y="1167"/>
                  </a:cubicBezTo>
                  <a:cubicBezTo>
                    <a:pt x="598" y="1167"/>
                    <a:pt x="598" y="1167"/>
                    <a:pt x="598" y="1167"/>
                  </a:cubicBezTo>
                  <a:moveTo>
                    <a:pt x="643" y="1167"/>
                  </a:moveTo>
                  <a:cubicBezTo>
                    <a:pt x="634" y="1167"/>
                    <a:pt x="625" y="1171"/>
                    <a:pt x="621" y="1177"/>
                  </a:cubicBezTo>
                  <a:cubicBezTo>
                    <a:pt x="618" y="1183"/>
                    <a:pt x="622" y="1187"/>
                    <a:pt x="631" y="1187"/>
                  </a:cubicBezTo>
                  <a:cubicBezTo>
                    <a:pt x="640" y="1187"/>
                    <a:pt x="649" y="1182"/>
                    <a:pt x="653" y="1177"/>
                  </a:cubicBezTo>
                  <a:cubicBezTo>
                    <a:pt x="656" y="1171"/>
                    <a:pt x="652" y="1167"/>
                    <a:pt x="643" y="1167"/>
                  </a:cubicBezTo>
                  <a:cubicBezTo>
                    <a:pt x="643" y="1167"/>
                    <a:pt x="643" y="1167"/>
                    <a:pt x="643" y="1167"/>
                  </a:cubicBezTo>
                  <a:moveTo>
                    <a:pt x="687" y="1167"/>
                  </a:moveTo>
                  <a:cubicBezTo>
                    <a:pt x="679" y="1167"/>
                    <a:pt x="669" y="1171"/>
                    <a:pt x="666" y="1177"/>
                  </a:cubicBezTo>
                  <a:cubicBezTo>
                    <a:pt x="663" y="1182"/>
                    <a:pt x="667" y="1187"/>
                    <a:pt x="676" y="1187"/>
                  </a:cubicBezTo>
                  <a:cubicBezTo>
                    <a:pt x="684" y="1187"/>
                    <a:pt x="694" y="1182"/>
                    <a:pt x="697" y="1177"/>
                  </a:cubicBezTo>
                  <a:cubicBezTo>
                    <a:pt x="700" y="1171"/>
                    <a:pt x="696" y="1167"/>
                    <a:pt x="687" y="1167"/>
                  </a:cubicBezTo>
                  <a:cubicBezTo>
                    <a:pt x="687" y="1167"/>
                    <a:pt x="687" y="1167"/>
                    <a:pt x="687" y="1167"/>
                  </a:cubicBezTo>
                  <a:moveTo>
                    <a:pt x="732" y="1167"/>
                  </a:moveTo>
                  <a:cubicBezTo>
                    <a:pt x="723" y="1167"/>
                    <a:pt x="714" y="1171"/>
                    <a:pt x="710" y="1177"/>
                  </a:cubicBezTo>
                  <a:cubicBezTo>
                    <a:pt x="707" y="1182"/>
                    <a:pt x="712" y="1187"/>
                    <a:pt x="720" y="1187"/>
                  </a:cubicBezTo>
                  <a:cubicBezTo>
                    <a:pt x="729" y="1187"/>
                    <a:pt x="739" y="1182"/>
                    <a:pt x="742" y="1177"/>
                  </a:cubicBezTo>
                  <a:cubicBezTo>
                    <a:pt x="745" y="1171"/>
                    <a:pt x="740" y="1167"/>
                    <a:pt x="732" y="1167"/>
                  </a:cubicBezTo>
                  <a:cubicBezTo>
                    <a:pt x="732" y="1167"/>
                    <a:pt x="732" y="1167"/>
                    <a:pt x="732" y="1167"/>
                  </a:cubicBezTo>
                  <a:moveTo>
                    <a:pt x="776" y="1166"/>
                  </a:moveTo>
                  <a:cubicBezTo>
                    <a:pt x="767" y="1166"/>
                    <a:pt x="758" y="1171"/>
                    <a:pt x="755" y="1177"/>
                  </a:cubicBezTo>
                  <a:cubicBezTo>
                    <a:pt x="752" y="1182"/>
                    <a:pt x="756" y="1187"/>
                    <a:pt x="765" y="1187"/>
                  </a:cubicBezTo>
                  <a:cubicBezTo>
                    <a:pt x="774" y="1187"/>
                    <a:pt x="783" y="1182"/>
                    <a:pt x="786" y="1176"/>
                  </a:cubicBezTo>
                  <a:cubicBezTo>
                    <a:pt x="789" y="1171"/>
                    <a:pt x="785" y="1166"/>
                    <a:pt x="776" y="1166"/>
                  </a:cubicBezTo>
                  <a:cubicBezTo>
                    <a:pt x="776" y="1166"/>
                    <a:pt x="776" y="1166"/>
                    <a:pt x="776" y="1166"/>
                  </a:cubicBezTo>
                  <a:moveTo>
                    <a:pt x="821" y="1166"/>
                  </a:moveTo>
                  <a:cubicBezTo>
                    <a:pt x="812" y="1166"/>
                    <a:pt x="803" y="1171"/>
                    <a:pt x="800" y="1176"/>
                  </a:cubicBezTo>
                  <a:cubicBezTo>
                    <a:pt x="797" y="1182"/>
                    <a:pt x="801" y="1187"/>
                    <a:pt x="810" y="1187"/>
                  </a:cubicBezTo>
                  <a:cubicBezTo>
                    <a:pt x="819" y="1187"/>
                    <a:pt x="828" y="1182"/>
                    <a:pt x="831" y="1176"/>
                  </a:cubicBezTo>
                  <a:cubicBezTo>
                    <a:pt x="834" y="1171"/>
                    <a:pt x="829" y="1166"/>
                    <a:pt x="821" y="1166"/>
                  </a:cubicBezTo>
                  <a:cubicBezTo>
                    <a:pt x="821" y="1166"/>
                    <a:pt x="821" y="1166"/>
                    <a:pt x="821" y="1166"/>
                  </a:cubicBezTo>
                  <a:moveTo>
                    <a:pt x="866" y="1166"/>
                  </a:moveTo>
                  <a:cubicBezTo>
                    <a:pt x="857" y="1166"/>
                    <a:pt x="848" y="1171"/>
                    <a:pt x="845" y="1176"/>
                  </a:cubicBezTo>
                  <a:cubicBezTo>
                    <a:pt x="842" y="1182"/>
                    <a:pt x="847" y="1186"/>
                    <a:pt x="855" y="1186"/>
                  </a:cubicBezTo>
                  <a:cubicBezTo>
                    <a:pt x="864" y="1186"/>
                    <a:pt x="873" y="1182"/>
                    <a:pt x="876" y="1176"/>
                  </a:cubicBezTo>
                  <a:cubicBezTo>
                    <a:pt x="879" y="1171"/>
                    <a:pt x="874" y="1166"/>
                    <a:pt x="866" y="1166"/>
                  </a:cubicBezTo>
                  <a:cubicBezTo>
                    <a:pt x="866" y="1166"/>
                    <a:pt x="866" y="1166"/>
                    <a:pt x="866" y="1166"/>
                  </a:cubicBezTo>
                  <a:moveTo>
                    <a:pt x="910" y="1166"/>
                  </a:moveTo>
                  <a:cubicBezTo>
                    <a:pt x="901" y="1166"/>
                    <a:pt x="892" y="1171"/>
                    <a:pt x="889" y="1176"/>
                  </a:cubicBezTo>
                  <a:cubicBezTo>
                    <a:pt x="886" y="1182"/>
                    <a:pt x="891" y="1186"/>
                    <a:pt x="900" y="1186"/>
                  </a:cubicBezTo>
                  <a:cubicBezTo>
                    <a:pt x="909" y="1186"/>
                    <a:pt x="918" y="1182"/>
                    <a:pt x="921" y="1176"/>
                  </a:cubicBezTo>
                  <a:cubicBezTo>
                    <a:pt x="923" y="1171"/>
                    <a:pt x="919" y="1166"/>
                    <a:pt x="910" y="1166"/>
                  </a:cubicBezTo>
                  <a:cubicBezTo>
                    <a:pt x="910" y="1166"/>
                    <a:pt x="910" y="1166"/>
                    <a:pt x="910" y="1166"/>
                  </a:cubicBezTo>
                  <a:moveTo>
                    <a:pt x="955" y="1166"/>
                  </a:moveTo>
                  <a:cubicBezTo>
                    <a:pt x="946" y="1166"/>
                    <a:pt x="937" y="1170"/>
                    <a:pt x="934" y="1176"/>
                  </a:cubicBezTo>
                  <a:cubicBezTo>
                    <a:pt x="931" y="1182"/>
                    <a:pt x="936" y="1186"/>
                    <a:pt x="945" y="1186"/>
                  </a:cubicBezTo>
                  <a:cubicBezTo>
                    <a:pt x="953" y="1186"/>
                    <a:pt x="963" y="1182"/>
                    <a:pt x="965" y="1176"/>
                  </a:cubicBezTo>
                  <a:cubicBezTo>
                    <a:pt x="968" y="1170"/>
                    <a:pt x="963" y="1166"/>
                    <a:pt x="955" y="1166"/>
                  </a:cubicBezTo>
                  <a:cubicBezTo>
                    <a:pt x="955" y="1166"/>
                    <a:pt x="955" y="1166"/>
                    <a:pt x="955" y="1166"/>
                  </a:cubicBezTo>
                  <a:moveTo>
                    <a:pt x="999" y="1166"/>
                  </a:moveTo>
                  <a:cubicBezTo>
                    <a:pt x="990" y="1166"/>
                    <a:pt x="981" y="1170"/>
                    <a:pt x="978" y="1176"/>
                  </a:cubicBezTo>
                  <a:cubicBezTo>
                    <a:pt x="976" y="1182"/>
                    <a:pt x="981" y="1186"/>
                    <a:pt x="989" y="1186"/>
                  </a:cubicBezTo>
                  <a:cubicBezTo>
                    <a:pt x="998" y="1186"/>
                    <a:pt x="1007" y="1182"/>
                    <a:pt x="1010" y="1176"/>
                  </a:cubicBezTo>
                  <a:cubicBezTo>
                    <a:pt x="1012" y="1170"/>
                    <a:pt x="1008" y="1166"/>
                    <a:pt x="999" y="1166"/>
                  </a:cubicBezTo>
                  <a:cubicBezTo>
                    <a:pt x="999" y="1166"/>
                    <a:pt x="999" y="1166"/>
                    <a:pt x="999" y="1166"/>
                  </a:cubicBezTo>
                  <a:moveTo>
                    <a:pt x="2111" y="1165"/>
                  </a:moveTo>
                  <a:cubicBezTo>
                    <a:pt x="2103" y="1165"/>
                    <a:pt x="2095" y="1170"/>
                    <a:pt x="2094" y="1176"/>
                  </a:cubicBezTo>
                  <a:cubicBezTo>
                    <a:pt x="2094" y="1181"/>
                    <a:pt x="2100" y="1186"/>
                    <a:pt x="2109" y="1186"/>
                  </a:cubicBezTo>
                  <a:cubicBezTo>
                    <a:pt x="2118" y="1186"/>
                    <a:pt x="2125" y="1181"/>
                    <a:pt x="2126" y="1176"/>
                  </a:cubicBezTo>
                  <a:cubicBezTo>
                    <a:pt x="2126" y="1170"/>
                    <a:pt x="2120" y="1165"/>
                    <a:pt x="2111" y="1165"/>
                  </a:cubicBezTo>
                  <a:cubicBezTo>
                    <a:pt x="2111" y="1165"/>
                    <a:pt x="2111" y="1165"/>
                    <a:pt x="2111" y="1165"/>
                  </a:cubicBezTo>
                  <a:moveTo>
                    <a:pt x="2156" y="1165"/>
                  </a:moveTo>
                  <a:cubicBezTo>
                    <a:pt x="2147" y="1165"/>
                    <a:pt x="2140" y="1170"/>
                    <a:pt x="2139" y="1175"/>
                  </a:cubicBezTo>
                  <a:cubicBezTo>
                    <a:pt x="2139" y="1181"/>
                    <a:pt x="2145" y="1186"/>
                    <a:pt x="2154" y="1186"/>
                  </a:cubicBezTo>
                  <a:cubicBezTo>
                    <a:pt x="2162" y="1186"/>
                    <a:pt x="2170" y="1181"/>
                    <a:pt x="2170" y="1175"/>
                  </a:cubicBezTo>
                  <a:cubicBezTo>
                    <a:pt x="2171" y="1170"/>
                    <a:pt x="2164" y="1165"/>
                    <a:pt x="2156" y="1165"/>
                  </a:cubicBezTo>
                  <a:cubicBezTo>
                    <a:pt x="2156" y="1165"/>
                    <a:pt x="2156" y="1165"/>
                    <a:pt x="2156" y="1165"/>
                  </a:cubicBezTo>
                  <a:moveTo>
                    <a:pt x="2201" y="1165"/>
                  </a:moveTo>
                  <a:cubicBezTo>
                    <a:pt x="2192" y="1165"/>
                    <a:pt x="2185" y="1170"/>
                    <a:pt x="2184" y="1175"/>
                  </a:cubicBezTo>
                  <a:cubicBezTo>
                    <a:pt x="2184" y="1181"/>
                    <a:pt x="2190" y="1186"/>
                    <a:pt x="2199" y="1186"/>
                  </a:cubicBezTo>
                  <a:cubicBezTo>
                    <a:pt x="2208" y="1186"/>
                    <a:pt x="2215" y="1181"/>
                    <a:pt x="2216" y="1175"/>
                  </a:cubicBezTo>
                  <a:cubicBezTo>
                    <a:pt x="2216" y="1170"/>
                    <a:pt x="2210" y="1165"/>
                    <a:pt x="2201" y="1165"/>
                  </a:cubicBezTo>
                  <a:cubicBezTo>
                    <a:pt x="2201" y="1165"/>
                    <a:pt x="2201" y="1165"/>
                    <a:pt x="2201" y="1165"/>
                  </a:cubicBezTo>
                  <a:moveTo>
                    <a:pt x="2245" y="1165"/>
                  </a:moveTo>
                  <a:cubicBezTo>
                    <a:pt x="2236" y="1165"/>
                    <a:pt x="2229" y="1170"/>
                    <a:pt x="2228" y="1175"/>
                  </a:cubicBezTo>
                  <a:cubicBezTo>
                    <a:pt x="2228" y="1181"/>
                    <a:pt x="2235" y="1185"/>
                    <a:pt x="2243" y="1185"/>
                  </a:cubicBezTo>
                  <a:cubicBezTo>
                    <a:pt x="2252" y="1185"/>
                    <a:pt x="2259" y="1181"/>
                    <a:pt x="2260" y="1175"/>
                  </a:cubicBezTo>
                  <a:cubicBezTo>
                    <a:pt x="2260" y="1170"/>
                    <a:pt x="2253" y="1165"/>
                    <a:pt x="2245" y="1165"/>
                  </a:cubicBezTo>
                  <a:cubicBezTo>
                    <a:pt x="2245" y="1165"/>
                    <a:pt x="2245" y="1165"/>
                    <a:pt x="2245" y="1165"/>
                  </a:cubicBezTo>
                  <a:moveTo>
                    <a:pt x="2289" y="1165"/>
                  </a:moveTo>
                  <a:cubicBezTo>
                    <a:pt x="2280" y="1165"/>
                    <a:pt x="2273" y="1169"/>
                    <a:pt x="2273" y="1175"/>
                  </a:cubicBezTo>
                  <a:cubicBezTo>
                    <a:pt x="2273" y="1181"/>
                    <a:pt x="2279" y="1185"/>
                    <a:pt x="2288" y="1185"/>
                  </a:cubicBezTo>
                  <a:cubicBezTo>
                    <a:pt x="2297" y="1185"/>
                    <a:pt x="2304" y="1181"/>
                    <a:pt x="2304" y="1175"/>
                  </a:cubicBezTo>
                  <a:cubicBezTo>
                    <a:pt x="2304" y="1169"/>
                    <a:pt x="2298" y="1165"/>
                    <a:pt x="2289" y="1165"/>
                  </a:cubicBezTo>
                  <a:cubicBezTo>
                    <a:pt x="2289" y="1165"/>
                    <a:pt x="2289" y="1165"/>
                    <a:pt x="2289" y="1165"/>
                  </a:cubicBezTo>
                  <a:moveTo>
                    <a:pt x="2334" y="1165"/>
                  </a:moveTo>
                  <a:cubicBezTo>
                    <a:pt x="2325" y="1165"/>
                    <a:pt x="2318" y="1169"/>
                    <a:pt x="2318" y="1175"/>
                  </a:cubicBezTo>
                  <a:cubicBezTo>
                    <a:pt x="2317" y="1181"/>
                    <a:pt x="2324" y="1185"/>
                    <a:pt x="2333" y="1185"/>
                  </a:cubicBezTo>
                  <a:cubicBezTo>
                    <a:pt x="2342" y="1185"/>
                    <a:pt x="2349" y="1181"/>
                    <a:pt x="2349" y="1175"/>
                  </a:cubicBezTo>
                  <a:cubicBezTo>
                    <a:pt x="2349" y="1169"/>
                    <a:pt x="2342" y="1165"/>
                    <a:pt x="2334" y="1165"/>
                  </a:cubicBezTo>
                  <a:cubicBezTo>
                    <a:pt x="2334" y="1165"/>
                    <a:pt x="2334" y="1165"/>
                    <a:pt x="2334" y="1165"/>
                  </a:cubicBezTo>
                  <a:moveTo>
                    <a:pt x="2379" y="1165"/>
                  </a:moveTo>
                  <a:cubicBezTo>
                    <a:pt x="2370" y="1165"/>
                    <a:pt x="2363" y="1169"/>
                    <a:pt x="2363" y="1175"/>
                  </a:cubicBezTo>
                  <a:cubicBezTo>
                    <a:pt x="2363" y="1181"/>
                    <a:pt x="2370" y="1185"/>
                    <a:pt x="2378" y="1185"/>
                  </a:cubicBezTo>
                  <a:cubicBezTo>
                    <a:pt x="2387" y="1185"/>
                    <a:pt x="2394" y="1180"/>
                    <a:pt x="2394" y="1175"/>
                  </a:cubicBezTo>
                  <a:cubicBezTo>
                    <a:pt x="2394" y="1169"/>
                    <a:pt x="2387" y="1165"/>
                    <a:pt x="2379" y="1165"/>
                  </a:cubicBezTo>
                  <a:cubicBezTo>
                    <a:pt x="2379" y="1165"/>
                    <a:pt x="2379" y="1165"/>
                    <a:pt x="2379" y="1165"/>
                  </a:cubicBezTo>
                  <a:moveTo>
                    <a:pt x="2423" y="1164"/>
                  </a:moveTo>
                  <a:cubicBezTo>
                    <a:pt x="2414" y="1165"/>
                    <a:pt x="2407" y="1169"/>
                    <a:pt x="2407" y="1175"/>
                  </a:cubicBezTo>
                  <a:cubicBezTo>
                    <a:pt x="2407" y="1180"/>
                    <a:pt x="2414" y="1185"/>
                    <a:pt x="2423" y="1185"/>
                  </a:cubicBezTo>
                  <a:cubicBezTo>
                    <a:pt x="2431" y="1185"/>
                    <a:pt x="2438" y="1180"/>
                    <a:pt x="2439" y="1175"/>
                  </a:cubicBezTo>
                  <a:cubicBezTo>
                    <a:pt x="2439" y="1169"/>
                    <a:pt x="2432" y="1164"/>
                    <a:pt x="2423" y="1164"/>
                  </a:cubicBezTo>
                  <a:cubicBezTo>
                    <a:pt x="2423" y="1164"/>
                    <a:pt x="2423" y="1164"/>
                    <a:pt x="2423" y="1164"/>
                  </a:cubicBezTo>
                  <a:moveTo>
                    <a:pt x="2468" y="1164"/>
                  </a:moveTo>
                  <a:cubicBezTo>
                    <a:pt x="2459" y="1164"/>
                    <a:pt x="2452" y="1169"/>
                    <a:pt x="2452" y="1175"/>
                  </a:cubicBezTo>
                  <a:cubicBezTo>
                    <a:pt x="2452" y="1180"/>
                    <a:pt x="2459" y="1185"/>
                    <a:pt x="2468" y="1185"/>
                  </a:cubicBezTo>
                  <a:cubicBezTo>
                    <a:pt x="2476" y="1185"/>
                    <a:pt x="2483" y="1180"/>
                    <a:pt x="2483" y="1175"/>
                  </a:cubicBezTo>
                  <a:cubicBezTo>
                    <a:pt x="2483" y="1169"/>
                    <a:pt x="2476" y="1164"/>
                    <a:pt x="2468" y="1164"/>
                  </a:cubicBezTo>
                  <a:cubicBezTo>
                    <a:pt x="2468" y="1164"/>
                    <a:pt x="2468" y="1164"/>
                    <a:pt x="2468" y="1164"/>
                  </a:cubicBezTo>
                  <a:moveTo>
                    <a:pt x="2512" y="1164"/>
                  </a:moveTo>
                  <a:cubicBezTo>
                    <a:pt x="2503" y="1164"/>
                    <a:pt x="2496" y="1169"/>
                    <a:pt x="2496" y="1174"/>
                  </a:cubicBezTo>
                  <a:cubicBezTo>
                    <a:pt x="2496" y="1180"/>
                    <a:pt x="2503" y="1185"/>
                    <a:pt x="2512" y="1185"/>
                  </a:cubicBezTo>
                  <a:cubicBezTo>
                    <a:pt x="2521" y="1185"/>
                    <a:pt x="2528" y="1180"/>
                    <a:pt x="2528" y="1174"/>
                  </a:cubicBezTo>
                  <a:cubicBezTo>
                    <a:pt x="2527" y="1169"/>
                    <a:pt x="2520" y="1164"/>
                    <a:pt x="2512" y="1164"/>
                  </a:cubicBezTo>
                  <a:cubicBezTo>
                    <a:pt x="2512" y="1164"/>
                    <a:pt x="2512" y="1164"/>
                    <a:pt x="2512" y="1164"/>
                  </a:cubicBezTo>
                  <a:moveTo>
                    <a:pt x="2556" y="1164"/>
                  </a:moveTo>
                  <a:cubicBezTo>
                    <a:pt x="2548" y="1164"/>
                    <a:pt x="2541" y="1169"/>
                    <a:pt x="2541" y="1174"/>
                  </a:cubicBezTo>
                  <a:cubicBezTo>
                    <a:pt x="2541" y="1180"/>
                    <a:pt x="2548" y="1185"/>
                    <a:pt x="2557" y="1185"/>
                  </a:cubicBezTo>
                  <a:cubicBezTo>
                    <a:pt x="2566" y="1185"/>
                    <a:pt x="2573" y="1180"/>
                    <a:pt x="2572" y="1174"/>
                  </a:cubicBezTo>
                  <a:cubicBezTo>
                    <a:pt x="2572" y="1169"/>
                    <a:pt x="2565" y="1164"/>
                    <a:pt x="2556" y="1164"/>
                  </a:cubicBezTo>
                  <a:cubicBezTo>
                    <a:pt x="2556" y="1164"/>
                    <a:pt x="2556" y="1164"/>
                    <a:pt x="2556" y="1164"/>
                  </a:cubicBezTo>
                  <a:moveTo>
                    <a:pt x="2601" y="1164"/>
                  </a:moveTo>
                  <a:cubicBezTo>
                    <a:pt x="2593" y="1164"/>
                    <a:pt x="2586" y="1169"/>
                    <a:pt x="2586" y="1174"/>
                  </a:cubicBezTo>
                  <a:cubicBezTo>
                    <a:pt x="2586" y="1180"/>
                    <a:pt x="2594" y="1184"/>
                    <a:pt x="2602" y="1184"/>
                  </a:cubicBezTo>
                  <a:cubicBezTo>
                    <a:pt x="2611" y="1184"/>
                    <a:pt x="2618" y="1180"/>
                    <a:pt x="2618" y="1174"/>
                  </a:cubicBezTo>
                  <a:cubicBezTo>
                    <a:pt x="2617" y="1169"/>
                    <a:pt x="2610" y="1164"/>
                    <a:pt x="2602" y="1164"/>
                  </a:cubicBezTo>
                  <a:cubicBezTo>
                    <a:pt x="2601" y="1164"/>
                    <a:pt x="2601" y="1164"/>
                    <a:pt x="2601" y="1164"/>
                  </a:cubicBezTo>
                  <a:moveTo>
                    <a:pt x="2646" y="1164"/>
                  </a:moveTo>
                  <a:cubicBezTo>
                    <a:pt x="2637" y="1164"/>
                    <a:pt x="2630" y="1168"/>
                    <a:pt x="2631" y="1174"/>
                  </a:cubicBezTo>
                  <a:cubicBezTo>
                    <a:pt x="2631" y="1180"/>
                    <a:pt x="2638" y="1184"/>
                    <a:pt x="2647" y="1184"/>
                  </a:cubicBezTo>
                  <a:cubicBezTo>
                    <a:pt x="2656" y="1184"/>
                    <a:pt x="2662" y="1180"/>
                    <a:pt x="2662" y="1174"/>
                  </a:cubicBezTo>
                  <a:cubicBezTo>
                    <a:pt x="2662" y="1168"/>
                    <a:pt x="2654" y="1164"/>
                    <a:pt x="2646" y="1164"/>
                  </a:cubicBezTo>
                  <a:cubicBezTo>
                    <a:pt x="2646" y="1164"/>
                    <a:pt x="2646" y="1164"/>
                    <a:pt x="2646" y="1164"/>
                  </a:cubicBezTo>
                  <a:moveTo>
                    <a:pt x="2691" y="1164"/>
                  </a:moveTo>
                  <a:cubicBezTo>
                    <a:pt x="2682" y="1164"/>
                    <a:pt x="2675" y="1168"/>
                    <a:pt x="2676" y="1174"/>
                  </a:cubicBezTo>
                  <a:cubicBezTo>
                    <a:pt x="2676" y="1180"/>
                    <a:pt x="2683" y="1184"/>
                    <a:pt x="2692" y="1184"/>
                  </a:cubicBezTo>
                  <a:cubicBezTo>
                    <a:pt x="2701" y="1184"/>
                    <a:pt x="2707" y="1180"/>
                    <a:pt x="2707" y="1174"/>
                  </a:cubicBezTo>
                  <a:cubicBezTo>
                    <a:pt x="2707" y="1168"/>
                    <a:pt x="2699" y="1164"/>
                    <a:pt x="2691" y="1164"/>
                  </a:cubicBezTo>
                  <a:cubicBezTo>
                    <a:pt x="2691" y="1164"/>
                    <a:pt x="2691" y="1164"/>
                    <a:pt x="2691" y="1164"/>
                  </a:cubicBezTo>
                  <a:moveTo>
                    <a:pt x="2734" y="1164"/>
                  </a:moveTo>
                  <a:cubicBezTo>
                    <a:pt x="2725" y="1164"/>
                    <a:pt x="2718" y="1168"/>
                    <a:pt x="2719" y="1174"/>
                  </a:cubicBezTo>
                  <a:cubicBezTo>
                    <a:pt x="2719" y="1180"/>
                    <a:pt x="2727" y="1184"/>
                    <a:pt x="2735" y="1184"/>
                  </a:cubicBezTo>
                  <a:cubicBezTo>
                    <a:pt x="2744" y="1184"/>
                    <a:pt x="2751" y="1179"/>
                    <a:pt x="2750" y="1174"/>
                  </a:cubicBezTo>
                  <a:cubicBezTo>
                    <a:pt x="2750" y="1168"/>
                    <a:pt x="2742" y="1164"/>
                    <a:pt x="2734" y="1164"/>
                  </a:cubicBezTo>
                  <a:cubicBezTo>
                    <a:pt x="2734" y="1164"/>
                    <a:pt x="2734" y="1164"/>
                    <a:pt x="2734" y="1164"/>
                  </a:cubicBezTo>
                  <a:moveTo>
                    <a:pt x="4380" y="1159"/>
                  </a:moveTo>
                  <a:cubicBezTo>
                    <a:pt x="4371" y="1159"/>
                    <a:pt x="4367" y="1164"/>
                    <a:pt x="4370" y="1169"/>
                  </a:cubicBezTo>
                  <a:cubicBezTo>
                    <a:pt x="4374" y="1175"/>
                    <a:pt x="4384" y="1180"/>
                    <a:pt x="4392" y="1180"/>
                  </a:cubicBezTo>
                  <a:cubicBezTo>
                    <a:pt x="4401" y="1180"/>
                    <a:pt x="4405" y="1175"/>
                    <a:pt x="4402" y="1169"/>
                  </a:cubicBezTo>
                  <a:cubicBezTo>
                    <a:pt x="4398" y="1164"/>
                    <a:pt x="4388" y="1159"/>
                    <a:pt x="4380" y="1159"/>
                  </a:cubicBezTo>
                  <a:cubicBezTo>
                    <a:pt x="4380" y="1159"/>
                    <a:pt x="4380" y="1159"/>
                    <a:pt x="4380" y="1159"/>
                  </a:cubicBezTo>
                  <a:moveTo>
                    <a:pt x="4422" y="1159"/>
                  </a:moveTo>
                  <a:cubicBezTo>
                    <a:pt x="4413" y="1159"/>
                    <a:pt x="4409" y="1164"/>
                    <a:pt x="4412" y="1169"/>
                  </a:cubicBezTo>
                  <a:cubicBezTo>
                    <a:pt x="4416" y="1175"/>
                    <a:pt x="4426" y="1180"/>
                    <a:pt x="4434" y="1179"/>
                  </a:cubicBezTo>
                  <a:cubicBezTo>
                    <a:pt x="4443" y="1179"/>
                    <a:pt x="4447" y="1175"/>
                    <a:pt x="4444" y="1169"/>
                  </a:cubicBezTo>
                  <a:cubicBezTo>
                    <a:pt x="4440" y="1163"/>
                    <a:pt x="4430" y="1159"/>
                    <a:pt x="4422" y="1159"/>
                  </a:cubicBezTo>
                  <a:cubicBezTo>
                    <a:pt x="4422" y="1159"/>
                    <a:pt x="4422" y="1159"/>
                    <a:pt x="4422" y="1159"/>
                  </a:cubicBezTo>
                  <a:moveTo>
                    <a:pt x="4024" y="1157"/>
                  </a:moveTo>
                  <a:cubicBezTo>
                    <a:pt x="4016" y="1157"/>
                    <a:pt x="4011" y="1162"/>
                    <a:pt x="4014" y="1168"/>
                  </a:cubicBezTo>
                  <a:cubicBezTo>
                    <a:pt x="4017" y="1173"/>
                    <a:pt x="4026" y="1178"/>
                    <a:pt x="4035" y="1178"/>
                  </a:cubicBezTo>
                  <a:cubicBezTo>
                    <a:pt x="4043" y="1178"/>
                    <a:pt x="4048" y="1173"/>
                    <a:pt x="4045" y="1167"/>
                  </a:cubicBezTo>
                  <a:cubicBezTo>
                    <a:pt x="4042" y="1162"/>
                    <a:pt x="4033" y="1157"/>
                    <a:pt x="4024" y="1157"/>
                  </a:cubicBezTo>
                  <a:cubicBezTo>
                    <a:pt x="4024" y="1157"/>
                    <a:pt x="4024" y="1157"/>
                    <a:pt x="4024" y="1157"/>
                  </a:cubicBezTo>
                  <a:moveTo>
                    <a:pt x="4067" y="1157"/>
                  </a:moveTo>
                  <a:cubicBezTo>
                    <a:pt x="4059" y="1157"/>
                    <a:pt x="4054" y="1162"/>
                    <a:pt x="4057" y="1167"/>
                  </a:cubicBezTo>
                  <a:cubicBezTo>
                    <a:pt x="4060" y="1173"/>
                    <a:pt x="4069" y="1178"/>
                    <a:pt x="4078" y="1178"/>
                  </a:cubicBezTo>
                  <a:cubicBezTo>
                    <a:pt x="4087" y="1178"/>
                    <a:pt x="4091" y="1173"/>
                    <a:pt x="4088" y="1167"/>
                  </a:cubicBezTo>
                  <a:cubicBezTo>
                    <a:pt x="4085" y="1162"/>
                    <a:pt x="4076" y="1157"/>
                    <a:pt x="4068" y="1157"/>
                  </a:cubicBezTo>
                  <a:cubicBezTo>
                    <a:pt x="4068" y="1157"/>
                    <a:pt x="4067" y="1157"/>
                    <a:pt x="4067" y="1157"/>
                  </a:cubicBezTo>
                  <a:moveTo>
                    <a:pt x="4201" y="1157"/>
                  </a:moveTo>
                  <a:cubicBezTo>
                    <a:pt x="4192" y="1157"/>
                    <a:pt x="4188" y="1162"/>
                    <a:pt x="4191" y="1167"/>
                  </a:cubicBezTo>
                  <a:cubicBezTo>
                    <a:pt x="4194" y="1173"/>
                    <a:pt x="4204" y="1178"/>
                    <a:pt x="4212" y="1178"/>
                  </a:cubicBezTo>
                  <a:cubicBezTo>
                    <a:pt x="4221" y="1178"/>
                    <a:pt x="4225" y="1173"/>
                    <a:pt x="4222" y="1167"/>
                  </a:cubicBezTo>
                  <a:cubicBezTo>
                    <a:pt x="4219" y="1162"/>
                    <a:pt x="4209" y="1157"/>
                    <a:pt x="4201" y="1157"/>
                  </a:cubicBezTo>
                  <a:cubicBezTo>
                    <a:pt x="4201" y="1157"/>
                    <a:pt x="4201" y="1157"/>
                    <a:pt x="4201" y="1157"/>
                  </a:cubicBezTo>
                  <a:moveTo>
                    <a:pt x="4245" y="1157"/>
                  </a:moveTo>
                  <a:cubicBezTo>
                    <a:pt x="4236" y="1157"/>
                    <a:pt x="4232" y="1162"/>
                    <a:pt x="4235" y="1167"/>
                  </a:cubicBezTo>
                  <a:cubicBezTo>
                    <a:pt x="4238" y="1173"/>
                    <a:pt x="4248" y="1177"/>
                    <a:pt x="4256" y="1177"/>
                  </a:cubicBezTo>
                  <a:cubicBezTo>
                    <a:pt x="4265" y="1177"/>
                    <a:pt x="4269" y="1173"/>
                    <a:pt x="4266" y="1167"/>
                  </a:cubicBezTo>
                  <a:cubicBezTo>
                    <a:pt x="4263" y="1161"/>
                    <a:pt x="4253" y="1157"/>
                    <a:pt x="4245" y="1157"/>
                  </a:cubicBezTo>
                  <a:cubicBezTo>
                    <a:pt x="4245" y="1157"/>
                    <a:pt x="4245" y="1157"/>
                    <a:pt x="4245" y="1157"/>
                  </a:cubicBezTo>
                  <a:moveTo>
                    <a:pt x="4289" y="1157"/>
                  </a:moveTo>
                  <a:cubicBezTo>
                    <a:pt x="4280" y="1157"/>
                    <a:pt x="4276" y="1161"/>
                    <a:pt x="4279" y="1167"/>
                  </a:cubicBezTo>
                  <a:cubicBezTo>
                    <a:pt x="4283" y="1173"/>
                    <a:pt x="4292" y="1177"/>
                    <a:pt x="4301" y="1177"/>
                  </a:cubicBezTo>
                  <a:cubicBezTo>
                    <a:pt x="4309" y="1177"/>
                    <a:pt x="4314" y="1173"/>
                    <a:pt x="4310" y="1167"/>
                  </a:cubicBezTo>
                  <a:cubicBezTo>
                    <a:pt x="4307" y="1161"/>
                    <a:pt x="4297" y="1157"/>
                    <a:pt x="4289" y="1157"/>
                  </a:cubicBezTo>
                  <a:cubicBezTo>
                    <a:pt x="4289" y="1157"/>
                    <a:pt x="4289" y="1157"/>
                    <a:pt x="4289" y="1157"/>
                  </a:cubicBezTo>
                  <a:moveTo>
                    <a:pt x="4648" y="1156"/>
                  </a:moveTo>
                  <a:cubicBezTo>
                    <a:pt x="4639" y="1156"/>
                    <a:pt x="4635" y="1161"/>
                    <a:pt x="4639" y="1166"/>
                  </a:cubicBezTo>
                  <a:cubicBezTo>
                    <a:pt x="4643" y="1172"/>
                    <a:pt x="4653" y="1177"/>
                    <a:pt x="4662" y="1177"/>
                  </a:cubicBezTo>
                  <a:cubicBezTo>
                    <a:pt x="4671" y="1177"/>
                    <a:pt x="4674" y="1172"/>
                    <a:pt x="4670" y="1166"/>
                  </a:cubicBezTo>
                  <a:cubicBezTo>
                    <a:pt x="4666" y="1161"/>
                    <a:pt x="4656" y="1156"/>
                    <a:pt x="4648" y="1156"/>
                  </a:cubicBezTo>
                  <a:cubicBezTo>
                    <a:pt x="4648" y="1156"/>
                    <a:pt x="4648" y="1156"/>
                    <a:pt x="4648" y="1156"/>
                  </a:cubicBezTo>
                  <a:moveTo>
                    <a:pt x="4736" y="1156"/>
                  </a:moveTo>
                  <a:cubicBezTo>
                    <a:pt x="4727" y="1156"/>
                    <a:pt x="4723" y="1160"/>
                    <a:pt x="4728" y="1166"/>
                  </a:cubicBezTo>
                  <a:cubicBezTo>
                    <a:pt x="4732" y="1172"/>
                    <a:pt x="4742" y="1176"/>
                    <a:pt x="4751" y="1176"/>
                  </a:cubicBezTo>
                  <a:cubicBezTo>
                    <a:pt x="4759" y="1176"/>
                    <a:pt x="4763" y="1172"/>
                    <a:pt x="4759" y="1166"/>
                  </a:cubicBezTo>
                  <a:cubicBezTo>
                    <a:pt x="4755" y="1160"/>
                    <a:pt x="4744" y="1156"/>
                    <a:pt x="4736" y="1156"/>
                  </a:cubicBezTo>
                  <a:cubicBezTo>
                    <a:pt x="4736" y="1156"/>
                    <a:pt x="4736" y="1156"/>
                    <a:pt x="4736" y="1156"/>
                  </a:cubicBezTo>
                  <a:moveTo>
                    <a:pt x="4781" y="1156"/>
                  </a:moveTo>
                  <a:cubicBezTo>
                    <a:pt x="4772" y="1156"/>
                    <a:pt x="4769" y="1160"/>
                    <a:pt x="4773" y="1166"/>
                  </a:cubicBezTo>
                  <a:cubicBezTo>
                    <a:pt x="4777" y="1172"/>
                    <a:pt x="4787" y="1176"/>
                    <a:pt x="4796" y="1176"/>
                  </a:cubicBezTo>
                  <a:cubicBezTo>
                    <a:pt x="4805" y="1176"/>
                    <a:pt x="4808" y="1172"/>
                    <a:pt x="4804" y="1166"/>
                  </a:cubicBezTo>
                  <a:cubicBezTo>
                    <a:pt x="4800" y="1160"/>
                    <a:pt x="4789" y="1156"/>
                    <a:pt x="4781" y="1156"/>
                  </a:cubicBezTo>
                  <a:cubicBezTo>
                    <a:pt x="4781" y="1156"/>
                    <a:pt x="4781" y="1156"/>
                    <a:pt x="4781" y="1156"/>
                  </a:cubicBezTo>
                  <a:moveTo>
                    <a:pt x="306" y="1138"/>
                  </a:moveTo>
                  <a:cubicBezTo>
                    <a:pt x="297" y="1139"/>
                    <a:pt x="287" y="1143"/>
                    <a:pt x="283" y="1149"/>
                  </a:cubicBezTo>
                  <a:cubicBezTo>
                    <a:pt x="279" y="1154"/>
                    <a:pt x="283" y="1159"/>
                    <a:pt x="291" y="1159"/>
                  </a:cubicBezTo>
                  <a:cubicBezTo>
                    <a:pt x="300" y="1159"/>
                    <a:pt x="310" y="1154"/>
                    <a:pt x="314" y="1149"/>
                  </a:cubicBezTo>
                  <a:cubicBezTo>
                    <a:pt x="318" y="1143"/>
                    <a:pt x="314" y="1138"/>
                    <a:pt x="306" y="1138"/>
                  </a:cubicBezTo>
                  <a:cubicBezTo>
                    <a:pt x="306" y="1138"/>
                    <a:pt x="306" y="1138"/>
                    <a:pt x="306" y="1138"/>
                  </a:cubicBezTo>
                  <a:moveTo>
                    <a:pt x="350" y="1138"/>
                  </a:moveTo>
                  <a:cubicBezTo>
                    <a:pt x="341" y="1138"/>
                    <a:pt x="331" y="1143"/>
                    <a:pt x="327" y="1149"/>
                  </a:cubicBezTo>
                  <a:cubicBezTo>
                    <a:pt x="323" y="1154"/>
                    <a:pt x="327" y="1159"/>
                    <a:pt x="336" y="1159"/>
                  </a:cubicBezTo>
                  <a:cubicBezTo>
                    <a:pt x="344" y="1159"/>
                    <a:pt x="354" y="1154"/>
                    <a:pt x="358" y="1148"/>
                  </a:cubicBezTo>
                  <a:cubicBezTo>
                    <a:pt x="362" y="1143"/>
                    <a:pt x="358" y="1138"/>
                    <a:pt x="350" y="1138"/>
                  </a:cubicBezTo>
                  <a:cubicBezTo>
                    <a:pt x="350" y="1138"/>
                    <a:pt x="350" y="1138"/>
                    <a:pt x="350" y="1138"/>
                  </a:cubicBezTo>
                  <a:moveTo>
                    <a:pt x="394" y="1138"/>
                  </a:moveTo>
                  <a:cubicBezTo>
                    <a:pt x="385" y="1138"/>
                    <a:pt x="375" y="1143"/>
                    <a:pt x="371" y="1148"/>
                  </a:cubicBezTo>
                  <a:cubicBezTo>
                    <a:pt x="368" y="1154"/>
                    <a:pt x="372" y="1159"/>
                    <a:pt x="380" y="1159"/>
                  </a:cubicBezTo>
                  <a:cubicBezTo>
                    <a:pt x="389" y="1158"/>
                    <a:pt x="399" y="1154"/>
                    <a:pt x="402" y="1148"/>
                  </a:cubicBezTo>
                  <a:cubicBezTo>
                    <a:pt x="406" y="1143"/>
                    <a:pt x="402" y="1138"/>
                    <a:pt x="394" y="1138"/>
                  </a:cubicBezTo>
                  <a:cubicBezTo>
                    <a:pt x="394" y="1138"/>
                    <a:pt x="394" y="1138"/>
                    <a:pt x="394" y="1138"/>
                  </a:cubicBezTo>
                  <a:moveTo>
                    <a:pt x="438" y="1138"/>
                  </a:moveTo>
                  <a:cubicBezTo>
                    <a:pt x="429" y="1138"/>
                    <a:pt x="419" y="1143"/>
                    <a:pt x="415" y="1148"/>
                  </a:cubicBezTo>
                  <a:cubicBezTo>
                    <a:pt x="412" y="1154"/>
                    <a:pt x="416" y="1158"/>
                    <a:pt x="424" y="1158"/>
                  </a:cubicBezTo>
                  <a:cubicBezTo>
                    <a:pt x="433" y="1158"/>
                    <a:pt x="443" y="1154"/>
                    <a:pt x="446" y="1148"/>
                  </a:cubicBezTo>
                  <a:cubicBezTo>
                    <a:pt x="450" y="1143"/>
                    <a:pt x="446" y="1138"/>
                    <a:pt x="438" y="1138"/>
                  </a:cubicBezTo>
                  <a:cubicBezTo>
                    <a:pt x="438" y="1138"/>
                    <a:pt x="438" y="1138"/>
                    <a:pt x="438" y="1138"/>
                  </a:cubicBezTo>
                  <a:moveTo>
                    <a:pt x="482" y="1138"/>
                  </a:moveTo>
                  <a:cubicBezTo>
                    <a:pt x="473" y="1138"/>
                    <a:pt x="464" y="1143"/>
                    <a:pt x="460" y="1148"/>
                  </a:cubicBezTo>
                  <a:cubicBezTo>
                    <a:pt x="456" y="1154"/>
                    <a:pt x="460" y="1158"/>
                    <a:pt x="469" y="1158"/>
                  </a:cubicBezTo>
                  <a:cubicBezTo>
                    <a:pt x="477" y="1158"/>
                    <a:pt x="487" y="1154"/>
                    <a:pt x="491" y="1148"/>
                  </a:cubicBezTo>
                  <a:cubicBezTo>
                    <a:pt x="494" y="1142"/>
                    <a:pt x="490" y="1138"/>
                    <a:pt x="482" y="1138"/>
                  </a:cubicBezTo>
                  <a:cubicBezTo>
                    <a:pt x="482" y="1138"/>
                    <a:pt x="482" y="1138"/>
                    <a:pt x="482" y="1138"/>
                  </a:cubicBezTo>
                  <a:moveTo>
                    <a:pt x="527" y="1138"/>
                  </a:moveTo>
                  <a:cubicBezTo>
                    <a:pt x="519" y="1138"/>
                    <a:pt x="509" y="1142"/>
                    <a:pt x="506" y="1148"/>
                  </a:cubicBezTo>
                  <a:cubicBezTo>
                    <a:pt x="502" y="1154"/>
                    <a:pt x="506" y="1158"/>
                    <a:pt x="515" y="1158"/>
                  </a:cubicBezTo>
                  <a:cubicBezTo>
                    <a:pt x="523" y="1158"/>
                    <a:pt x="533" y="1154"/>
                    <a:pt x="537" y="1148"/>
                  </a:cubicBezTo>
                  <a:cubicBezTo>
                    <a:pt x="540" y="1142"/>
                    <a:pt x="536" y="1138"/>
                    <a:pt x="528" y="1138"/>
                  </a:cubicBezTo>
                  <a:cubicBezTo>
                    <a:pt x="528" y="1138"/>
                    <a:pt x="527" y="1138"/>
                    <a:pt x="527" y="1138"/>
                  </a:cubicBezTo>
                  <a:moveTo>
                    <a:pt x="571" y="1138"/>
                  </a:moveTo>
                  <a:cubicBezTo>
                    <a:pt x="563" y="1138"/>
                    <a:pt x="553" y="1142"/>
                    <a:pt x="550" y="1148"/>
                  </a:cubicBezTo>
                  <a:cubicBezTo>
                    <a:pt x="546" y="1154"/>
                    <a:pt x="550" y="1158"/>
                    <a:pt x="559" y="1158"/>
                  </a:cubicBezTo>
                  <a:cubicBezTo>
                    <a:pt x="567" y="1158"/>
                    <a:pt x="577" y="1153"/>
                    <a:pt x="581" y="1148"/>
                  </a:cubicBezTo>
                  <a:cubicBezTo>
                    <a:pt x="584" y="1142"/>
                    <a:pt x="580" y="1138"/>
                    <a:pt x="571" y="1138"/>
                  </a:cubicBezTo>
                  <a:cubicBezTo>
                    <a:pt x="571" y="1138"/>
                    <a:pt x="571" y="1138"/>
                    <a:pt x="571" y="1138"/>
                  </a:cubicBezTo>
                  <a:moveTo>
                    <a:pt x="616" y="1138"/>
                  </a:moveTo>
                  <a:cubicBezTo>
                    <a:pt x="607" y="1138"/>
                    <a:pt x="597" y="1142"/>
                    <a:pt x="594" y="1148"/>
                  </a:cubicBezTo>
                  <a:cubicBezTo>
                    <a:pt x="591" y="1153"/>
                    <a:pt x="595" y="1158"/>
                    <a:pt x="603" y="1158"/>
                  </a:cubicBezTo>
                  <a:cubicBezTo>
                    <a:pt x="612" y="1158"/>
                    <a:pt x="622" y="1153"/>
                    <a:pt x="625" y="1148"/>
                  </a:cubicBezTo>
                  <a:cubicBezTo>
                    <a:pt x="628" y="1142"/>
                    <a:pt x="624" y="1138"/>
                    <a:pt x="616" y="1138"/>
                  </a:cubicBezTo>
                  <a:cubicBezTo>
                    <a:pt x="616" y="1138"/>
                    <a:pt x="616" y="1138"/>
                    <a:pt x="616" y="1138"/>
                  </a:cubicBezTo>
                  <a:moveTo>
                    <a:pt x="660" y="1137"/>
                  </a:moveTo>
                  <a:cubicBezTo>
                    <a:pt x="652" y="1137"/>
                    <a:pt x="642" y="1142"/>
                    <a:pt x="639" y="1148"/>
                  </a:cubicBezTo>
                  <a:cubicBezTo>
                    <a:pt x="635" y="1153"/>
                    <a:pt x="640" y="1158"/>
                    <a:pt x="648" y="1158"/>
                  </a:cubicBezTo>
                  <a:cubicBezTo>
                    <a:pt x="657" y="1158"/>
                    <a:pt x="666" y="1153"/>
                    <a:pt x="670" y="1148"/>
                  </a:cubicBezTo>
                  <a:cubicBezTo>
                    <a:pt x="673" y="1142"/>
                    <a:pt x="669" y="1137"/>
                    <a:pt x="660" y="1137"/>
                  </a:cubicBezTo>
                  <a:cubicBezTo>
                    <a:pt x="660" y="1137"/>
                    <a:pt x="660" y="1137"/>
                    <a:pt x="660" y="1137"/>
                  </a:cubicBezTo>
                  <a:moveTo>
                    <a:pt x="704" y="1137"/>
                  </a:moveTo>
                  <a:cubicBezTo>
                    <a:pt x="696" y="1137"/>
                    <a:pt x="686" y="1142"/>
                    <a:pt x="683" y="1148"/>
                  </a:cubicBezTo>
                  <a:cubicBezTo>
                    <a:pt x="680" y="1153"/>
                    <a:pt x="684" y="1158"/>
                    <a:pt x="692" y="1158"/>
                  </a:cubicBezTo>
                  <a:cubicBezTo>
                    <a:pt x="701" y="1158"/>
                    <a:pt x="711" y="1153"/>
                    <a:pt x="714" y="1147"/>
                  </a:cubicBezTo>
                  <a:cubicBezTo>
                    <a:pt x="717" y="1142"/>
                    <a:pt x="713" y="1137"/>
                    <a:pt x="704" y="1137"/>
                  </a:cubicBezTo>
                  <a:cubicBezTo>
                    <a:pt x="704" y="1137"/>
                    <a:pt x="704" y="1137"/>
                    <a:pt x="704" y="1137"/>
                  </a:cubicBezTo>
                  <a:moveTo>
                    <a:pt x="748" y="1137"/>
                  </a:moveTo>
                  <a:cubicBezTo>
                    <a:pt x="740" y="1137"/>
                    <a:pt x="730" y="1142"/>
                    <a:pt x="727" y="1147"/>
                  </a:cubicBezTo>
                  <a:cubicBezTo>
                    <a:pt x="724" y="1153"/>
                    <a:pt x="728" y="1158"/>
                    <a:pt x="737" y="1157"/>
                  </a:cubicBezTo>
                  <a:cubicBezTo>
                    <a:pt x="745" y="1157"/>
                    <a:pt x="755" y="1153"/>
                    <a:pt x="758" y="1147"/>
                  </a:cubicBezTo>
                  <a:cubicBezTo>
                    <a:pt x="761" y="1142"/>
                    <a:pt x="757" y="1137"/>
                    <a:pt x="748" y="1137"/>
                  </a:cubicBezTo>
                  <a:cubicBezTo>
                    <a:pt x="748" y="1137"/>
                    <a:pt x="748" y="1137"/>
                    <a:pt x="748" y="1137"/>
                  </a:cubicBezTo>
                  <a:moveTo>
                    <a:pt x="792" y="1137"/>
                  </a:moveTo>
                  <a:cubicBezTo>
                    <a:pt x="784" y="1137"/>
                    <a:pt x="774" y="1142"/>
                    <a:pt x="771" y="1147"/>
                  </a:cubicBezTo>
                  <a:cubicBezTo>
                    <a:pt x="768" y="1153"/>
                    <a:pt x="772" y="1157"/>
                    <a:pt x="781" y="1157"/>
                  </a:cubicBezTo>
                  <a:cubicBezTo>
                    <a:pt x="790" y="1157"/>
                    <a:pt x="799" y="1153"/>
                    <a:pt x="802" y="1147"/>
                  </a:cubicBezTo>
                  <a:cubicBezTo>
                    <a:pt x="805" y="1142"/>
                    <a:pt x="801" y="1137"/>
                    <a:pt x="792" y="1137"/>
                  </a:cubicBezTo>
                  <a:cubicBezTo>
                    <a:pt x="792" y="1137"/>
                    <a:pt x="792" y="1137"/>
                    <a:pt x="792" y="1137"/>
                  </a:cubicBezTo>
                  <a:moveTo>
                    <a:pt x="836" y="1137"/>
                  </a:moveTo>
                  <a:cubicBezTo>
                    <a:pt x="828" y="1137"/>
                    <a:pt x="818" y="1141"/>
                    <a:pt x="815" y="1147"/>
                  </a:cubicBezTo>
                  <a:cubicBezTo>
                    <a:pt x="812" y="1153"/>
                    <a:pt x="817" y="1157"/>
                    <a:pt x="826" y="1157"/>
                  </a:cubicBezTo>
                  <a:cubicBezTo>
                    <a:pt x="834" y="1157"/>
                    <a:pt x="843" y="1153"/>
                    <a:pt x="846" y="1147"/>
                  </a:cubicBezTo>
                  <a:cubicBezTo>
                    <a:pt x="849" y="1141"/>
                    <a:pt x="845" y="1137"/>
                    <a:pt x="836" y="1137"/>
                  </a:cubicBezTo>
                  <a:cubicBezTo>
                    <a:pt x="836" y="1137"/>
                    <a:pt x="836" y="1137"/>
                    <a:pt x="836" y="1137"/>
                  </a:cubicBezTo>
                  <a:moveTo>
                    <a:pt x="881" y="1137"/>
                  </a:moveTo>
                  <a:cubicBezTo>
                    <a:pt x="872" y="1137"/>
                    <a:pt x="863" y="1141"/>
                    <a:pt x="860" y="1147"/>
                  </a:cubicBezTo>
                  <a:cubicBezTo>
                    <a:pt x="857" y="1153"/>
                    <a:pt x="862" y="1157"/>
                    <a:pt x="870" y="1157"/>
                  </a:cubicBezTo>
                  <a:cubicBezTo>
                    <a:pt x="879" y="1157"/>
                    <a:pt x="888" y="1153"/>
                    <a:pt x="891" y="1147"/>
                  </a:cubicBezTo>
                  <a:cubicBezTo>
                    <a:pt x="894" y="1141"/>
                    <a:pt x="890" y="1137"/>
                    <a:pt x="881" y="1137"/>
                  </a:cubicBezTo>
                  <a:cubicBezTo>
                    <a:pt x="881" y="1137"/>
                    <a:pt x="881" y="1137"/>
                    <a:pt x="881" y="1137"/>
                  </a:cubicBezTo>
                  <a:moveTo>
                    <a:pt x="925" y="1137"/>
                  </a:moveTo>
                  <a:cubicBezTo>
                    <a:pt x="916" y="1137"/>
                    <a:pt x="907" y="1141"/>
                    <a:pt x="904" y="1147"/>
                  </a:cubicBezTo>
                  <a:cubicBezTo>
                    <a:pt x="901" y="1152"/>
                    <a:pt x="906" y="1157"/>
                    <a:pt x="915" y="1157"/>
                  </a:cubicBezTo>
                  <a:cubicBezTo>
                    <a:pt x="923" y="1157"/>
                    <a:pt x="932" y="1152"/>
                    <a:pt x="935" y="1147"/>
                  </a:cubicBezTo>
                  <a:cubicBezTo>
                    <a:pt x="938" y="1141"/>
                    <a:pt x="933" y="1137"/>
                    <a:pt x="925" y="1137"/>
                  </a:cubicBezTo>
                  <a:cubicBezTo>
                    <a:pt x="925" y="1137"/>
                    <a:pt x="925" y="1137"/>
                    <a:pt x="925" y="1137"/>
                  </a:cubicBezTo>
                  <a:moveTo>
                    <a:pt x="2115" y="1136"/>
                  </a:moveTo>
                  <a:cubicBezTo>
                    <a:pt x="2106" y="1136"/>
                    <a:pt x="2099" y="1140"/>
                    <a:pt x="2098" y="1146"/>
                  </a:cubicBezTo>
                  <a:cubicBezTo>
                    <a:pt x="2097" y="1152"/>
                    <a:pt x="2104" y="1156"/>
                    <a:pt x="2112" y="1156"/>
                  </a:cubicBezTo>
                  <a:cubicBezTo>
                    <a:pt x="2121" y="1156"/>
                    <a:pt x="2128" y="1152"/>
                    <a:pt x="2129" y="1146"/>
                  </a:cubicBezTo>
                  <a:cubicBezTo>
                    <a:pt x="2130" y="1140"/>
                    <a:pt x="2123" y="1136"/>
                    <a:pt x="2115" y="1136"/>
                  </a:cubicBezTo>
                  <a:cubicBezTo>
                    <a:pt x="2115" y="1136"/>
                    <a:pt x="2115" y="1136"/>
                    <a:pt x="2115" y="1136"/>
                  </a:cubicBezTo>
                  <a:moveTo>
                    <a:pt x="2159" y="1136"/>
                  </a:moveTo>
                  <a:cubicBezTo>
                    <a:pt x="2150" y="1136"/>
                    <a:pt x="2143" y="1140"/>
                    <a:pt x="2142" y="1146"/>
                  </a:cubicBezTo>
                  <a:cubicBezTo>
                    <a:pt x="2142" y="1152"/>
                    <a:pt x="2148" y="1156"/>
                    <a:pt x="2157" y="1156"/>
                  </a:cubicBezTo>
                  <a:cubicBezTo>
                    <a:pt x="2165" y="1156"/>
                    <a:pt x="2173" y="1152"/>
                    <a:pt x="2173" y="1146"/>
                  </a:cubicBezTo>
                  <a:cubicBezTo>
                    <a:pt x="2174" y="1140"/>
                    <a:pt x="2167" y="1136"/>
                    <a:pt x="2159" y="1136"/>
                  </a:cubicBezTo>
                  <a:cubicBezTo>
                    <a:pt x="2159" y="1136"/>
                    <a:pt x="2159" y="1136"/>
                    <a:pt x="2159" y="1136"/>
                  </a:cubicBezTo>
                  <a:moveTo>
                    <a:pt x="2203" y="1136"/>
                  </a:moveTo>
                  <a:cubicBezTo>
                    <a:pt x="2195" y="1136"/>
                    <a:pt x="2188" y="1140"/>
                    <a:pt x="2187" y="1146"/>
                  </a:cubicBezTo>
                  <a:cubicBezTo>
                    <a:pt x="2187" y="1152"/>
                    <a:pt x="2193" y="1156"/>
                    <a:pt x="2202" y="1156"/>
                  </a:cubicBezTo>
                  <a:cubicBezTo>
                    <a:pt x="2210" y="1156"/>
                    <a:pt x="2218" y="1151"/>
                    <a:pt x="2218" y="1146"/>
                  </a:cubicBezTo>
                  <a:cubicBezTo>
                    <a:pt x="2219" y="1140"/>
                    <a:pt x="2212" y="1136"/>
                    <a:pt x="2203" y="1136"/>
                  </a:cubicBezTo>
                  <a:cubicBezTo>
                    <a:pt x="2203" y="1136"/>
                    <a:pt x="2203" y="1136"/>
                    <a:pt x="2203" y="1136"/>
                  </a:cubicBezTo>
                  <a:moveTo>
                    <a:pt x="2247" y="1135"/>
                  </a:moveTo>
                  <a:cubicBezTo>
                    <a:pt x="2238" y="1135"/>
                    <a:pt x="2231" y="1140"/>
                    <a:pt x="2231" y="1146"/>
                  </a:cubicBezTo>
                  <a:cubicBezTo>
                    <a:pt x="2230" y="1151"/>
                    <a:pt x="2237" y="1156"/>
                    <a:pt x="2245" y="1156"/>
                  </a:cubicBezTo>
                  <a:cubicBezTo>
                    <a:pt x="2254" y="1156"/>
                    <a:pt x="2261" y="1151"/>
                    <a:pt x="2262" y="1146"/>
                  </a:cubicBezTo>
                  <a:cubicBezTo>
                    <a:pt x="2262" y="1140"/>
                    <a:pt x="2256" y="1135"/>
                    <a:pt x="2247" y="1135"/>
                  </a:cubicBezTo>
                  <a:cubicBezTo>
                    <a:pt x="2247" y="1135"/>
                    <a:pt x="2247" y="1135"/>
                    <a:pt x="2247" y="1135"/>
                  </a:cubicBezTo>
                  <a:moveTo>
                    <a:pt x="2291" y="1135"/>
                  </a:moveTo>
                  <a:cubicBezTo>
                    <a:pt x="2282" y="1135"/>
                    <a:pt x="2275" y="1140"/>
                    <a:pt x="2275" y="1146"/>
                  </a:cubicBezTo>
                  <a:cubicBezTo>
                    <a:pt x="2274" y="1151"/>
                    <a:pt x="2281" y="1156"/>
                    <a:pt x="2290" y="1156"/>
                  </a:cubicBezTo>
                  <a:cubicBezTo>
                    <a:pt x="2298" y="1156"/>
                    <a:pt x="2305" y="1151"/>
                    <a:pt x="2306" y="1146"/>
                  </a:cubicBezTo>
                  <a:cubicBezTo>
                    <a:pt x="2306" y="1140"/>
                    <a:pt x="2299" y="1135"/>
                    <a:pt x="2291" y="1135"/>
                  </a:cubicBezTo>
                  <a:cubicBezTo>
                    <a:pt x="2291" y="1135"/>
                    <a:pt x="2291" y="1135"/>
                    <a:pt x="2291" y="1135"/>
                  </a:cubicBezTo>
                  <a:moveTo>
                    <a:pt x="2335" y="1135"/>
                  </a:moveTo>
                  <a:cubicBezTo>
                    <a:pt x="2327" y="1135"/>
                    <a:pt x="2319" y="1140"/>
                    <a:pt x="2319" y="1145"/>
                  </a:cubicBezTo>
                  <a:cubicBezTo>
                    <a:pt x="2319" y="1151"/>
                    <a:pt x="2326" y="1156"/>
                    <a:pt x="2334" y="1156"/>
                  </a:cubicBezTo>
                  <a:cubicBezTo>
                    <a:pt x="2343" y="1156"/>
                    <a:pt x="2350" y="1151"/>
                    <a:pt x="2350" y="1145"/>
                  </a:cubicBezTo>
                  <a:cubicBezTo>
                    <a:pt x="2350" y="1140"/>
                    <a:pt x="2344" y="1135"/>
                    <a:pt x="2335" y="1135"/>
                  </a:cubicBezTo>
                  <a:cubicBezTo>
                    <a:pt x="2335" y="1135"/>
                    <a:pt x="2335" y="1135"/>
                    <a:pt x="2335" y="1135"/>
                  </a:cubicBezTo>
                  <a:moveTo>
                    <a:pt x="2380" y="1135"/>
                  </a:moveTo>
                  <a:cubicBezTo>
                    <a:pt x="2371" y="1135"/>
                    <a:pt x="2364" y="1140"/>
                    <a:pt x="2364" y="1145"/>
                  </a:cubicBezTo>
                  <a:cubicBezTo>
                    <a:pt x="2364" y="1151"/>
                    <a:pt x="2370" y="1156"/>
                    <a:pt x="2379" y="1156"/>
                  </a:cubicBezTo>
                  <a:cubicBezTo>
                    <a:pt x="2388" y="1156"/>
                    <a:pt x="2395" y="1151"/>
                    <a:pt x="2395" y="1145"/>
                  </a:cubicBezTo>
                  <a:cubicBezTo>
                    <a:pt x="2395" y="1140"/>
                    <a:pt x="2388" y="1135"/>
                    <a:pt x="2380" y="1135"/>
                  </a:cubicBezTo>
                  <a:cubicBezTo>
                    <a:pt x="2380" y="1135"/>
                    <a:pt x="2380" y="1135"/>
                    <a:pt x="2380" y="1135"/>
                  </a:cubicBezTo>
                  <a:moveTo>
                    <a:pt x="2423" y="1135"/>
                  </a:moveTo>
                  <a:cubicBezTo>
                    <a:pt x="2415" y="1135"/>
                    <a:pt x="2408" y="1140"/>
                    <a:pt x="2408" y="1145"/>
                  </a:cubicBezTo>
                  <a:cubicBezTo>
                    <a:pt x="2408" y="1151"/>
                    <a:pt x="2415" y="1155"/>
                    <a:pt x="2423" y="1155"/>
                  </a:cubicBezTo>
                  <a:cubicBezTo>
                    <a:pt x="2432" y="1155"/>
                    <a:pt x="2439" y="1151"/>
                    <a:pt x="2439" y="1145"/>
                  </a:cubicBezTo>
                  <a:cubicBezTo>
                    <a:pt x="2439" y="1139"/>
                    <a:pt x="2432" y="1135"/>
                    <a:pt x="2424" y="1135"/>
                  </a:cubicBezTo>
                  <a:cubicBezTo>
                    <a:pt x="2424" y="1135"/>
                    <a:pt x="2423" y="1135"/>
                    <a:pt x="2423" y="1135"/>
                  </a:cubicBezTo>
                  <a:moveTo>
                    <a:pt x="2468" y="1135"/>
                  </a:moveTo>
                  <a:cubicBezTo>
                    <a:pt x="2459" y="1135"/>
                    <a:pt x="2452" y="1139"/>
                    <a:pt x="2452" y="1145"/>
                  </a:cubicBezTo>
                  <a:cubicBezTo>
                    <a:pt x="2452" y="1151"/>
                    <a:pt x="2459" y="1155"/>
                    <a:pt x="2468" y="1155"/>
                  </a:cubicBezTo>
                  <a:cubicBezTo>
                    <a:pt x="2476" y="1155"/>
                    <a:pt x="2483" y="1151"/>
                    <a:pt x="2483" y="1145"/>
                  </a:cubicBezTo>
                  <a:cubicBezTo>
                    <a:pt x="2483" y="1139"/>
                    <a:pt x="2476" y="1135"/>
                    <a:pt x="2468" y="1135"/>
                  </a:cubicBezTo>
                  <a:cubicBezTo>
                    <a:pt x="2468" y="1135"/>
                    <a:pt x="2468" y="1135"/>
                    <a:pt x="2468" y="1135"/>
                  </a:cubicBezTo>
                  <a:moveTo>
                    <a:pt x="2511" y="1135"/>
                  </a:moveTo>
                  <a:cubicBezTo>
                    <a:pt x="2503" y="1135"/>
                    <a:pt x="2496" y="1139"/>
                    <a:pt x="2496" y="1145"/>
                  </a:cubicBezTo>
                  <a:cubicBezTo>
                    <a:pt x="2496" y="1151"/>
                    <a:pt x="2503" y="1155"/>
                    <a:pt x="2512" y="1155"/>
                  </a:cubicBezTo>
                  <a:cubicBezTo>
                    <a:pt x="2520" y="1155"/>
                    <a:pt x="2527" y="1151"/>
                    <a:pt x="2527" y="1145"/>
                  </a:cubicBezTo>
                  <a:cubicBezTo>
                    <a:pt x="2527" y="1139"/>
                    <a:pt x="2520" y="1135"/>
                    <a:pt x="2511" y="1135"/>
                  </a:cubicBezTo>
                  <a:cubicBezTo>
                    <a:pt x="2511" y="1135"/>
                    <a:pt x="2511" y="1135"/>
                    <a:pt x="2511" y="1135"/>
                  </a:cubicBezTo>
                  <a:moveTo>
                    <a:pt x="2556" y="1135"/>
                  </a:moveTo>
                  <a:cubicBezTo>
                    <a:pt x="2547" y="1135"/>
                    <a:pt x="2540" y="1139"/>
                    <a:pt x="2540" y="1145"/>
                  </a:cubicBezTo>
                  <a:cubicBezTo>
                    <a:pt x="2541" y="1150"/>
                    <a:pt x="2548" y="1155"/>
                    <a:pt x="2556" y="1155"/>
                  </a:cubicBezTo>
                  <a:cubicBezTo>
                    <a:pt x="2565" y="1155"/>
                    <a:pt x="2572" y="1150"/>
                    <a:pt x="2571" y="1145"/>
                  </a:cubicBezTo>
                  <a:cubicBezTo>
                    <a:pt x="2571" y="1139"/>
                    <a:pt x="2564" y="1135"/>
                    <a:pt x="2556" y="1135"/>
                  </a:cubicBezTo>
                  <a:cubicBezTo>
                    <a:pt x="2556" y="1135"/>
                    <a:pt x="2556" y="1135"/>
                    <a:pt x="2556" y="1135"/>
                  </a:cubicBezTo>
                  <a:moveTo>
                    <a:pt x="2600" y="1134"/>
                  </a:moveTo>
                  <a:cubicBezTo>
                    <a:pt x="2592" y="1134"/>
                    <a:pt x="2585" y="1139"/>
                    <a:pt x="2585" y="1145"/>
                  </a:cubicBezTo>
                  <a:cubicBezTo>
                    <a:pt x="2585" y="1150"/>
                    <a:pt x="2592" y="1155"/>
                    <a:pt x="2601" y="1155"/>
                  </a:cubicBezTo>
                  <a:cubicBezTo>
                    <a:pt x="2610" y="1155"/>
                    <a:pt x="2616" y="1150"/>
                    <a:pt x="2616" y="1145"/>
                  </a:cubicBezTo>
                  <a:cubicBezTo>
                    <a:pt x="2616" y="1139"/>
                    <a:pt x="2609" y="1134"/>
                    <a:pt x="2600" y="1134"/>
                  </a:cubicBezTo>
                  <a:cubicBezTo>
                    <a:pt x="2600" y="1134"/>
                    <a:pt x="2600" y="1134"/>
                    <a:pt x="2600" y="1134"/>
                  </a:cubicBezTo>
                  <a:moveTo>
                    <a:pt x="2644" y="1134"/>
                  </a:moveTo>
                  <a:cubicBezTo>
                    <a:pt x="2635" y="1134"/>
                    <a:pt x="2629" y="1139"/>
                    <a:pt x="2629" y="1145"/>
                  </a:cubicBezTo>
                  <a:cubicBezTo>
                    <a:pt x="2629" y="1150"/>
                    <a:pt x="2637" y="1155"/>
                    <a:pt x="2645" y="1155"/>
                  </a:cubicBezTo>
                  <a:cubicBezTo>
                    <a:pt x="2654" y="1155"/>
                    <a:pt x="2660" y="1150"/>
                    <a:pt x="2660" y="1144"/>
                  </a:cubicBezTo>
                  <a:cubicBezTo>
                    <a:pt x="2660" y="1139"/>
                    <a:pt x="2653" y="1134"/>
                    <a:pt x="2644" y="1134"/>
                  </a:cubicBezTo>
                  <a:cubicBezTo>
                    <a:pt x="2644" y="1134"/>
                    <a:pt x="2644" y="1134"/>
                    <a:pt x="2644" y="1134"/>
                  </a:cubicBezTo>
                  <a:moveTo>
                    <a:pt x="2689" y="1134"/>
                  </a:moveTo>
                  <a:cubicBezTo>
                    <a:pt x="2680" y="1134"/>
                    <a:pt x="2673" y="1139"/>
                    <a:pt x="2674" y="1144"/>
                  </a:cubicBezTo>
                  <a:cubicBezTo>
                    <a:pt x="2674" y="1150"/>
                    <a:pt x="2681" y="1155"/>
                    <a:pt x="2690" y="1155"/>
                  </a:cubicBezTo>
                  <a:cubicBezTo>
                    <a:pt x="2699" y="1155"/>
                    <a:pt x="2705" y="1150"/>
                    <a:pt x="2705" y="1144"/>
                  </a:cubicBezTo>
                  <a:cubicBezTo>
                    <a:pt x="2704" y="1139"/>
                    <a:pt x="2697" y="1134"/>
                    <a:pt x="2689" y="1134"/>
                  </a:cubicBezTo>
                  <a:cubicBezTo>
                    <a:pt x="2689" y="1134"/>
                    <a:pt x="2689" y="1134"/>
                    <a:pt x="2689" y="1134"/>
                  </a:cubicBezTo>
                  <a:moveTo>
                    <a:pt x="2731" y="1134"/>
                  </a:moveTo>
                  <a:cubicBezTo>
                    <a:pt x="2723" y="1134"/>
                    <a:pt x="2716" y="1139"/>
                    <a:pt x="2716" y="1144"/>
                  </a:cubicBezTo>
                  <a:cubicBezTo>
                    <a:pt x="2717" y="1150"/>
                    <a:pt x="2724" y="1155"/>
                    <a:pt x="2733" y="1155"/>
                  </a:cubicBezTo>
                  <a:cubicBezTo>
                    <a:pt x="2741" y="1154"/>
                    <a:pt x="2748" y="1150"/>
                    <a:pt x="2747" y="1144"/>
                  </a:cubicBezTo>
                  <a:cubicBezTo>
                    <a:pt x="2747" y="1139"/>
                    <a:pt x="2740" y="1134"/>
                    <a:pt x="2731" y="1134"/>
                  </a:cubicBezTo>
                  <a:cubicBezTo>
                    <a:pt x="2731" y="1134"/>
                    <a:pt x="2731" y="1134"/>
                    <a:pt x="2731" y="1134"/>
                  </a:cubicBezTo>
                  <a:moveTo>
                    <a:pt x="2776" y="1134"/>
                  </a:moveTo>
                  <a:cubicBezTo>
                    <a:pt x="2767" y="1134"/>
                    <a:pt x="2761" y="1139"/>
                    <a:pt x="2761" y="1144"/>
                  </a:cubicBezTo>
                  <a:cubicBezTo>
                    <a:pt x="2762" y="1150"/>
                    <a:pt x="2769" y="1154"/>
                    <a:pt x="2778" y="1154"/>
                  </a:cubicBezTo>
                  <a:cubicBezTo>
                    <a:pt x="2786" y="1154"/>
                    <a:pt x="2793" y="1150"/>
                    <a:pt x="2792" y="1144"/>
                  </a:cubicBezTo>
                  <a:cubicBezTo>
                    <a:pt x="2791" y="1138"/>
                    <a:pt x="2784" y="1134"/>
                    <a:pt x="2776" y="1134"/>
                  </a:cubicBezTo>
                  <a:cubicBezTo>
                    <a:pt x="2776" y="1134"/>
                    <a:pt x="2776" y="1134"/>
                    <a:pt x="2776" y="1134"/>
                  </a:cubicBezTo>
                  <a:moveTo>
                    <a:pt x="4186" y="1131"/>
                  </a:moveTo>
                  <a:cubicBezTo>
                    <a:pt x="4178" y="1131"/>
                    <a:pt x="4173" y="1136"/>
                    <a:pt x="4177" y="1141"/>
                  </a:cubicBezTo>
                  <a:cubicBezTo>
                    <a:pt x="4180" y="1147"/>
                    <a:pt x="4189" y="1152"/>
                    <a:pt x="4198" y="1152"/>
                  </a:cubicBezTo>
                  <a:cubicBezTo>
                    <a:pt x="4206" y="1151"/>
                    <a:pt x="4211" y="1147"/>
                    <a:pt x="4208" y="1141"/>
                  </a:cubicBezTo>
                  <a:cubicBezTo>
                    <a:pt x="4204" y="1136"/>
                    <a:pt x="4195" y="1131"/>
                    <a:pt x="4186" y="1131"/>
                  </a:cubicBezTo>
                  <a:cubicBezTo>
                    <a:pt x="4186" y="1131"/>
                    <a:pt x="4186" y="1131"/>
                    <a:pt x="4186" y="1131"/>
                  </a:cubicBezTo>
                  <a:moveTo>
                    <a:pt x="4230" y="1131"/>
                  </a:moveTo>
                  <a:cubicBezTo>
                    <a:pt x="4221" y="1131"/>
                    <a:pt x="4217" y="1135"/>
                    <a:pt x="4220" y="1141"/>
                  </a:cubicBezTo>
                  <a:cubicBezTo>
                    <a:pt x="4223" y="1147"/>
                    <a:pt x="4233" y="1151"/>
                    <a:pt x="4242" y="1151"/>
                  </a:cubicBezTo>
                  <a:cubicBezTo>
                    <a:pt x="4250" y="1151"/>
                    <a:pt x="4254" y="1147"/>
                    <a:pt x="4251" y="1141"/>
                  </a:cubicBezTo>
                  <a:cubicBezTo>
                    <a:pt x="4248" y="1135"/>
                    <a:pt x="4238" y="1131"/>
                    <a:pt x="4230" y="1131"/>
                  </a:cubicBezTo>
                  <a:cubicBezTo>
                    <a:pt x="4230" y="1131"/>
                    <a:pt x="4230" y="1131"/>
                    <a:pt x="4230" y="1131"/>
                  </a:cubicBezTo>
                  <a:moveTo>
                    <a:pt x="4274" y="1131"/>
                  </a:moveTo>
                  <a:cubicBezTo>
                    <a:pt x="4265" y="1131"/>
                    <a:pt x="4261" y="1135"/>
                    <a:pt x="4264" y="1141"/>
                  </a:cubicBezTo>
                  <a:cubicBezTo>
                    <a:pt x="4267" y="1147"/>
                    <a:pt x="4277" y="1151"/>
                    <a:pt x="4286" y="1151"/>
                  </a:cubicBezTo>
                  <a:cubicBezTo>
                    <a:pt x="4294" y="1151"/>
                    <a:pt x="4298" y="1147"/>
                    <a:pt x="4295" y="1141"/>
                  </a:cubicBezTo>
                  <a:cubicBezTo>
                    <a:pt x="4292" y="1135"/>
                    <a:pt x="4282" y="1131"/>
                    <a:pt x="4274" y="1131"/>
                  </a:cubicBezTo>
                  <a:cubicBezTo>
                    <a:pt x="4274" y="1131"/>
                    <a:pt x="4274" y="1131"/>
                    <a:pt x="4274" y="1131"/>
                  </a:cubicBezTo>
                  <a:moveTo>
                    <a:pt x="4318" y="1131"/>
                  </a:moveTo>
                  <a:cubicBezTo>
                    <a:pt x="4309" y="1131"/>
                    <a:pt x="4305" y="1135"/>
                    <a:pt x="4308" y="1141"/>
                  </a:cubicBezTo>
                  <a:cubicBezTo>
                    <a:pt x="4312" y="1147"/>
                    <a:pt x="4322" y="1151"/>
                    <a:pt x="4330" y="1151"/>
                  </a:cubicBezTo>
                  <a:cubicBezTo>
                    <a:pt x="4339" y="1151"/>
                    <a:pt x="4343" y="1146"/>
                    <a:pt x="4339" y="1141"/>
                  </a:cubicBezTo>
                  <a:cubicBezTo>
                    <a:pt x="4336" y="1135"/>
                    <a:pt x="4326" y="1131"/>
                    <a:pt x="4318" y="1131"/>
                  </a:cubicBezTo>
                  <a:cubicBezTo>
                    <a:pt x="4318" y="1131"/>
                    <a:pt x="4318" y="1131"/>
                    <a:pt x="4318" y="1131"/>
                  </a:cubicBezTo>
                  <a:moveTo>
                    <a:pt x="4362" y="1130"/>
                  </a:moveTo>
                  <a:cubicBezTo>
                    <a:pt x="4354" y="1130"/>
                    <a:pt x="4350" y="1135"/>
                    <a:pt x="4353" y="1141"/>
                  </a:cubicBezTo>
                  <a:cubicBezTo>
                    <a:pt x="4357" y="1146"/>
                    <a:pt x="4366" y="1151"/>
                    <a:pt x="4375" y="1151"/>
                  </a:cubicBezTo>
                  <a:cubicBezTo>
                    <a:pt x="4383" y="1151"/>
                    <a:pt x="4388" y="1146"/>
                    <a:pt x="4384" y="1141"/>
                  </a:cubicBezTo>
                  <a:cubicBezTo>
                    <a:pt x="4381" y="1135"/>
                    <a:pt x="4371" y="1130"/>
                    <a:pt x="4362" y="1130"/>
                  </a:cubicBezTo>
                  <a:cubicBezTo>
                    <a:pt x="4362" y="1130"/>
                    <a:pt x="4362" y="1130"/>
                    <a:pt x="4362" y="1130"/>
                  </a:cubicBezTo>
                  <a:moveTo>
                    <a:pt x="3965" y="1128"/>
                  </a:moveTo>
                  <a:cubicBezTo>
                    <a:pt x="3957" y="1128"/>
                    <a:pt x="3952" y="1132"/>
                    <a:pt x="3955" y="1138"/>
                  </a:cubicBezTo>
                  <a:cubicBezTo>
                    <a:pt x="3958" y="1144"/>
                    <a:pt x="3967" y="1148"/>
                    <a:pt x="3975" y="1148"/>
                  </a:cubicBezTo>
                  <a:cubicBezTo>
                    <a:pt x="3984" y="1148"/>
                    <a:pt x="3989" y="1144"/>
                    <a:pt x="3986" y="1138"/>
                  </a:cubicBezTo>
                  <a:cubicBezTo>
                    <a:pt x="3983" y="1132"/>
                    <a:pt x="3974" y="1128"/>
                    <a:pt x="3965" y="1128"/>
                  </a:cubicBezTo>
                  <a:cubicBezTo>
                    <a:pt x="3965" y="1128"/>
                    <a:pt x="3965" y="1128"/>
                    <a:pt x="3965" y="1128"/>
                  </a:cubicBezTo>
                  <a:moveTo>
                    <a:pt x="4010" y="1128"/>
                  </a:moveTo>
                  <a:cubicBezTo>
                    <a:pt x="4001" y="1128"/>
                    <a:pt x="3996" y="1132"/>
                    <a:pt x="3999" y="1138"/>
                  </a:cubicBezTo>
                  <a:cubicBezTo>
                    <a:pt x="4002" y="1144"/>
                    <a:pt x="4011" y="1148"/>
                    <a:pt x="4020" y="1148"/>
                  </a:cubicBezTo>
                  <a:cubicBezTo>
                    <a:pt x="4028" y="1148"/>
                    <a:pt x="4033" y="1143"/>
                    <a:pt x="4030" y="1138"/>
                  </a:cubicBezTo>
                  <a:cubicBezTo>
                    <a:pt x="4027" y="1132"/>
                    <a:pt x="4018" y="1128"/>
                    <a:pt x="4010" y="1128"/>
                  </a:cubicBezTo>
                  <a:cubicBezTo>
                    <a:pt x="4010" y="1128"/>
                    <a:pt x="4010" y="1128"/>
                    <a:pt x="4010" y="1128"/>
                  </a:cubicBezTo>
                  <a:moveTo>
                    <a:pt x="4534" y="1122"/>
                  </a:moveTo>
                  <a:cubicBezTo>
                    <a:pt x="4525" y="1122"/>
                    <a:pt x="4521" y="1127"/>
                    <a:pt x="4525" y="1133"/>
                  </a:cubicBezTo>
                  <a:cubicBezTo>
                    <a:pt x="4529" y="1138"/>
                    <a:pt x="4539" y="1143"/>
                    <a:pt x="4548" y="1143"/>
                  </a:cubicBezTo>
                  <a:cubicBezTo>
                    <a:pt x="4556" y="1143"/>
                    <a:pt x="4560" y="1138"/>
                    <a:pt x="4556" y="1132"/>
                  </a:cubicBezTo>
                  <a:cubicBezTo>
                    <a:pt x="4552" y="1127"/>
                    <a:pt x="4542" y="1122"/>
                    <a:pt x="4534" y="1122"/>
                  </a:cubicBezTo>
                  <a:cubicBezTo>
                    <a:pt x="4534" y="1122"/>
                    <a:pt x="4534" y="1122"/>
                    <a:pt x="4534" y="1122"/>
                  </a:cubicBezTo>
                  <a:moveTo>
                    <a:pt x="325" y="1111"/>
                  </a:moveTo>
                  <a:cubicBezTo>
                    <a:pt x="317" y="1111"/>
                    <a:pt x="307" y="1115"/>
                    <a:pt x="303" y="1121"/>
                  </a:cubicBezTo>
                  <a:cubicBezTo>
                    <a:pt x="299" y="1127"/>
                    <a:pt x="302" y="1131"/>
                    <a:pt x="311" y="1131"/>
                  </a:cubicBezTo>
                  <a:cubicBezTo>
                    <a:pt x="319" y="1131"/>
                    <a:pt x="329" y="1127"/>
                    <a:pt x="333" y="1121"/>
                  </a:cubicBezTo>
                  <a:cubicBezTo>
                    <a:pt x="337" y="1115"/>
                    <a:pt x="334" y="1111"/>
                    <a:pt x="325" y="1111"/>
                  </a:cubicBezTo>
                  <a:cubicBezTo>
                    <a:pt x="325" y="1111"/>
                    <a:pt x="325" y="1111"/>
                    <a:pt x="325" y="1111"/>
                  </a:cubicBezTo>
                  <a:moveTo>
                    <a:pt x="369" y="1111"/>
                  </a:moveTo>
                  <a:cubicBezTo>
                    <a:pt x="360" y="1111"/>
                    <a:pt x="350" y="1115"/>
                    <a:pt x="346" y="1121"/>
                  </a:cubicBezTo>
                  <a:cubicBezTo>
                    <a:pt x="342" y="1127"/>
                    <a:pt x="346" y="1131"/>
                    <a:pt x="355" y="1131"/>
                  </a:cubicBezTo>
                  <a:cubicBezTo>
                    <a:pt x="363" y="1131"/>
                    <a:pt x="373" y="1126"/>
                    <a:pt x="377" y="1121"/>
                  </a:cubicBezTo>
                  <a:cubicBezTo>
                    <a:pt x="381" y="1115"/>
                    <a:pt x="377" y="1111"/>
                    <a:pt x="369" y="1111"/>
                  </a:cubicBezTo>
                  <a:cubicBezTo>
                    <a:pt x="369" y="1111"/>
                    <a:pt x="369" y="1111"/>
                    <a:pt x="369" y="1111"/>
                  </a:cubicBezTo>
                  <a:moveTo>
                    <a:pt x="412" y="1111"/>
                  </a:moveTo>
                  <a:cubicBezTo>
                    <a:pt x="404" y="1111"/>
                    <a:pt x="394" y="1115"/>
                    <a:pt x="390" y="1121"/>
                  </a:cubicBezTo>
                  <a:cubicBezTo>
                    <a:pt x="386" y="1126"/>
                    <a:pt x="390" y="1131"/>
                    <a:pt x="399" y="1131"/>
                  </a:cubicBezTo>
                  <a:cubicBezTo>
                    <a:pt x="407" y="1131"/>
                    <a:pt x="417" y="1126"/>
                    <a:pt x="421" y="1121"/>
                  </a:cubicBezTo>
                  <a:cubicBezTo>
                    <a:pt x="425" y="1115"/>
                    <a:pt x="421" y="1111"/>
                    <a:pt x="412" y="1111"/>
                  </a:cubicBezTo>
                  <a:cubicBezTo>
                    <a:pt x="412" y="1111"/>
                    <a:pt x="412" y="1111"/>
                    <a:pt x="412" y="1111"/>
                  </a:cubicBezTo>
                  <a:moveTo>
                    <a:pt x="456" y="1110"/>
                  </a:moveTo>
                  <a:cubicBezTo>
                    <a:pt x="447" y="1111"/>
                    <a:pt x="437" y="1115"/>
                    <a:pt x="434" y="1121"/>
                  </a:cubicBezTo>
                  <a:cubicBezTo>
                    <a:pt x="430" y="1126"/>
                    <a:pt x="434" y="1131"/>
                    <a:pt x="442" y="1131"/>
                  </a:cubicBezTo>
                  <a:cubicBezTo>
                    <a:pt x="451" y="1131"/>
                    <a:pt x="461" y="1126"/>
                    <a:pt x="465" y="1121"/>
                  </a:cubicBezTo>
                  <a:cubicBezTo>
                    <a:pt x="468" y="1115"/>
                    <a:pt x="464" y="1110"/>
                    <a:pt x="456" y="1110"/>
                  </a:cubicBezTo>
                  <a:cubicBezTo>
                    <a:pt x="456" y="1110"/>
                    <a:pt x="456" y="1110"/>
                    <a:pt x="456" y="1110"/>
                  </a:cubicBezTo>
                  <a:moveTo>
                    <a:pt x="500" y="1110"/>
                  </a:moveTo>
                  <a:cubicBezTo>
                    <a:pt x="491" y="1110"/>
                    <a:pt x="481" y="1115"/>
                    <a:pt x="478" y="1121"/>
                  </a:cubicBezTo>
                  <a:cubicBezTo>
                    <a:pt x="474" y="1126"/>
                    <a:pt x="478" y="1131"/>
                    <a:pt x="487" y="1131"/>
                  </a:cubicBezTo>
                  <a:cubicBezTo>
                    <a:pt x="495" y="1131"/>
                    <a:pt x="505" y="1126"/>
                    <a:pt x="509" y="1120"/>
                  </a:cubicBezTo>
                  <a:cubicBezTo>
                    <a:pt x="512" y="1115"/>
                    <a:pt x="508" y="1110"/>
                    <a:pt x="500" y="1110"/>
                  </a:cubicBezTo>
                  <a:cubicBezTo>
                    <a:pt x="500" y="1110"/>
                    <a:pt x="500" y="1110"/>
                    <a:pt x="500" y="1110"/>
                  </a:cubicBezTo>
                  <a:moveTo>
                    <a:pt x="545" y="1110"/>
                  </a:moveTo>
                  <a:cubicBezTo>
                    <a:pt x="536" y="1110"/>
                    <a:pt x="527" y="1115"/>
                    <a:pt x="523" y="1120"/>
                  </a:cubicBezTo>
                  <a:cubicBezTo>
                    <a:pt x="520" y="1126"/>
                    <a:pt x="524" y="1131"/>
                    <a:pt x="532" y="1131"/>
                  </a:cubicBezTo>
                  <a:cubicBezTo>
                    <a:pt x="541" y="1130"/>
                    <a:pt x="550" y="1126"/>
                    <a:pt x="554" y="1120"/>
                  </a:cubicBezTo>
                  <a:cubicBezTo>
                    <a:pt x="557" y="1115"/>
                    <a:pt x="553" y="1110"/>
                    <a:pt x="545" y="1110"/>
                  </a:cubicBezTo>
                  <a:cubicBezTo>
                    <a:pt x="545" y="1110"/>
                    <a:pt x="545" y="1110"/>
                    <a:pt x="545" y="1110"/>
                  </a:cubicBezTo>
                  <a:moveTo>
                    <a:pt x="588" y="1110"/>
                  </a:moveTo>
                  <a:cubicBezTo>
                    <a:pt x="580" y="1110"/>
                    <a:pt x="570" y="1115"/>
                    <a:pt x="567" y="1120"/>
                  </a:cubicBezTo>
                  <a:cubicBezTo>
                    <a:pt x="563" y="1126"/>
                    <a:pt x="567" y="1130"/>
                    <a:pt x="576" y="1130"/>
                  </a:cubicBezTo>
                  <a:cubicBezTo>
                    <a:pt x="584" y="1130"/>
                    <a:pt x="594" y="1126"/>
                    <a:pt x="597" y="1120"/>
                  </a:cubicBezTo>
                  <a:cubicBezTo>
                    <a:pt x="601" y="1115"/>
                    <a:pt x="597" y="1110"/>
                    <a:pt x="588" y="1110"/>
                  </a:cubicBezTo>
                  <a:cubicBezTo>
                    <a:pt x="588" y="1110"/>
                    <a:pt x="588" y="1110"/>
                    <a:pt x="588" y="1110"/>
                  </a:cubicBezTo>
                  <a:moveTo>
                    <a:pt x="632" y="1110"/>
                  </a:moveTo>
                  <a:cubicBezTo>
                    <a:pt x="624" y="1110"/>
                    <a:pt x="614" y="1115"/>
                    <a:pt x="611" y="1120"/>
                  </a:cubicBezTo>
                  <a:cubicBezTo>
                    <a:pt x="607" y="1126"/>
                    <a:pt x="611" y="1130"/>
                    <a:pt x="620" y="1130"/>
                  </a:cubicBezTo>
                  <a:cubicBezTo>
                    <a:pt x="629" y="1130"/>
                    <a:pt x="638" y="1126"/>
                    <a:pt x="641" y="1120"/>
                  </a:cubicBezTo>
                  <a:cubicBezTo>
                    <a:pt x="645" y="1114"/>
                    <a:pt x="641" y="1110"/>
                    <a:pt x="632" y="1110"/>
                  </a:cubicBezTo>
                  <a:cubicBezTo>
                    <a:pt x="632" y="1110"/>
                    <a:pt x="632" y="1110"/>
                    <a:pt x="632" y="1110"/>
                  </a:cubicBezTo>
                  <a:moveTo>
                    <a:pt x="676" y="1110"/>
                  </a:moveTo>
                  <a:cubicBezTo>
                    <a:pt x="668" y="1110"/>
                    <a:pt x="658" y="1114"/>
                    <a:pt x="655" y="1120"/>
                  </a:cubicBezTo>
                  <a:cubicBezTo>
                    <a:pt x="652" y="1126"/>
                    <a:pt x="656" y="1130"/>
                    <a:pt x="665" y="1130"/>
                  </a:cubicBezTo>
                  <a:cubicBezTo>
                    <a:pt x="673" y="1130"/>
                    <a:pt x="683" y="1126"/>
                    <a:pt x="686" y="1120"/>
                  </a:cubicBezTo>
                  <a:cubicBezTo>
                    <a:pt x="689" y="1114"/>
                    <a:pt x="685" y="1110"/>
                    <a:pt x="676" y="1110"/>
                  </a:cubicBezTo>
                  <a:cubicBezTo>
                    <a:pt x="676" y="1110"/>
                    <a:pt x="676" y="1110"/>
                    <a:pt x="676" y="1110"/>
                  </a:cubicBezTo>
                  <a:moveTo>
                    <a:pt x="720" y="1110"/>
                  </a:moveTo>
                  <a:cubicBezTo>
                    <a:pt x="711" y="1110"/>
                    <a:pt x="702" y="1114"/>
                    <a:pt x="699" y="1120"/>
                  </a:cubicBezTo>
                  <a:cubicBezTo>
                    <a:pt x="695" y="1125"/>
                    <a:pt x="700" y="1130"/>
                    <a:pt x="708" y="1130"/>
                  </a:cubicBezTo>
                  <a:cubicBezTo>
                    <a:pt x="717" y="1130"/>
                    <a:pt x="726" y="1125"/>
                    <a:pt x="729" y="1120"/>
                  </a:cubicBezTo>
                  <a:cubicBezTo>
                    <a:pt x="733" y="1114"/>
                    <a:pt x="728" y="1110"/>
                    <a:pt x="720" y="1110"/>
                  </a:cubicBezTo>
                  <a:cubicBezTo>
                    <a:pt x="720" y="1110"/>
                    <a:pt x="720" y="1110"/>
                    <a:pt x="720" y="1110"/>
                  </a:cubicBezTo>
                  <a:moveTo>
                    <a:pt x="764" y="1110"/>
                  </a:moveTo>
                  <a:cubicBezTo>
                    <a:pt x="755" y="1110"/>
                    <a:pt x="746" y="1114"/>
                    <a:pt x="743" y="1120"/>
                  </a:cubicBezTo>
                  <a:cubicBezTo>
                    <a:pt x="739" y="1125"/>
                    <a:pt x="744" y="1130"/>
                    <a:pt x="752" y="1130"/>
                  </a:cubicBezTo>
                  <a:cubicBezTo>
                    <a:pt x="761" y="1130"/>
                    <a:pt x="770" y="1125"/>
                    <a:pt x="773" y="1120"/>
                  </a:cubicBezTo>
                  <a:cubicBezTo>
                    <a:pt x="776" y="1114"/>
                    <a:pt x="772" y="1110"/>
                    <a:pt x="764" y="1110"/>
                  </a:cubicBezTo>
                  <a:cubicBezTo>
                    <a:pt x="764" y="1110"/>
                    <a:pt x="764" y="1110"/>
                    <a:pt x="764" y="1110"/>
                  </a:cubicBezTo>
                  <a:moveTo>
                    <a:pt x="807" y="1109"/>
                  </a:moveTo>
                  <a:cubicBezTo>
                    <a:pt x="799" y="1109"/>
                    <a:pt x="789" y="1114"/>
                    <a:pt x="786" y="1120"/>
                  </a:cubicBezTo>
                  <a:cubicBezTo>
                    <a:pt x="783" y="1125"/>
                    <a:pt x="788" y="1130"/>
                    <a:pt x="796" y="1130"/>
                  </a:cubicBezTo>
                  <a:cubicBezTo>
                    <a:pt x="805" y="1130"/>
                    <a:pt x="814" y="1125"/>
                    <a:pt x="817" y="1120"/>
                  </a:cubicBezTo>
                  <a:cubicBezTo>
                    <a:pt x="820" y="1114"/>
                    <a:pt x="816" y="1109"/>
                    <a:pt x="807" y="1109"/>
                  </a:cubicBezTo>
                  <a:cubicBezTo>
                    <a:pt x="807" y="1109"/>
                    <a:pt x="807" y="1109"/>
                    <a:pt x="807" y="1109"/>
                  </a:cubicBezTo>
                  <a:moveTo>
                    <a:pt x="851" y="1109"/>
                  </a:moveTo>
                  <a:cubicBezTo>
                    <a:pt x="842" y="1109"/>
                    <a:pt x="833" y="1114"/>
                    <a:pt x="830" y="1119"/>
                  </a:cubicBezTo>
                  <a:cubicBezTo>
                    <a:pt x="827" y="1125"/>
                    <a:pt x="832" y="1130"/>
                    <a:pt x="840" y="1130"/>
                  </a:cubicBezTo>
                  <a:cubicBezTo>
                    <a:pt x="849" y="1130"/>
                    <a:pt x="858" y="1125"/>
                    <a:pt x="861" y="1119"/>
                  </a:cubicBezTo>
                  <a:cubicBezTo>
                    <a:pt x="864" y="1114"/>
                    <a:pt x="859" y="1109"/>
                    <a:pt x="851" y="1109"/>
                  </a:cubicBezTo>
                  <a:cubicBezTo>
                    <a:pt x="851" y="1109"/>
                    <a:pt x="851" y="1109"/>
                    <a:pt x="851" y="1109"/>
                  </a:cubicBezTo>
                  <a:moveTo>
                    <a:pt x="895" y="1109"/>
                  </a:moveTo>
                  <a:cubicBezTo>
                    <a:pt x="887" y="1109"/>
                    <a:pt x="878" y="1114"/>
                    <a:pt x="875" y="1119"/>
                  </a:cubicBezTo>
                  <a:cubicBezTo>
                    <a:pt x="872" y="1125"/>
                    <a:pt x="876" y="1129"/>
                    <a:pt x="885" y="1129"/>
                  </a:cubicBezTo>
                  <a:cubicBezTo>
                    <a:pt x="893" y="1129"/>
                    <a:pt x="902" y="1125"/>
                    <a:pt x="905" y="1119"/>
                  </a:cubicBezTo>
                  <a:cubicBezTo>
                    <a:pt x="908" y="1114"/>
                    <a:pt x="904" y="1109"/>
                    <a:pt x="895" y="1109"/>
                  </a:cubicBezTo>
                  <a:cubicBezTo>
                    <a:pt x="895" y="1109"/>
                    <a:pt x="895" y="1109"/>
                    <a:pt x="895" y="1109"/>
                  </a:cubicBezTo>
                  <a:moveTo>
                    <a:pt x="2162" y="1106"/>
                  </a:moveTo>
                  <a:cubicBezTo>
                    <a:pt x="2153" y="1106"/>
                    <a:pt x="2146" y="1111"/>
                    <a:pt x="2145" y="1116"/>
                  </a:cubicBezTo>
                  <a:cubicBezTo>
                    <a:pt x="2145" y="1122"/>
                    <a:pt x="2151" y="1127"/>
                    <a:pt x="2160" y="1127"/>
                  </a:cubicBezTo>
                  <a:cubicBezTo>
                    <a:pt x="2168" y="1127"/>
                    <a:pt x="2176" y="1122"/>
                    <a:pt x="2176" y="1116"/>
                  </a:cubicBezTo>
                  <a:cubicBezTo>
                    <a:pt x="2177" y="1111"/>
                    <a:pt x="2170" y="1106"/>
                    <a:pt x="2162" y="1106"/>
                  </a:cubicBezTo>
                  <a:cubicBezTo>
                    <a:pt x="2162" y="1106"/>
                    <a:pt x="2162" y="1106"/>
                    <a:pt x="2162" y="1106"/>
                  </a:cubicBezTo>
                  <a:moveTo>
                    <a:pt x="2206" y="1106"/>
                  </a:moveTo>
                  <a:cubicBezTo>
                    <a:pt x="2198" y="1106"/>
                    <a:pt x="2190" y="1111"/>
                    <a:pt x="2190" y="1116"/>
                  </a:cubicBezTo>
                  <a:cubicBezTo>
                    <a:pt x="2189" y="1122"/>
                    <a:pt x="2196" y="1127"/>
                    <a:pt x="2204" y="1127"/>
                  </a:cubicBezTo>
                  <a:cubicBezTo>
                    <a:pt x="2213" y="1127"/>
                    <a:pt x="2220" y="1122"/>
                    <a:pt x="2220" y="1116"/>
                  </a:cubicBezTo>
                  <a:cubicBezTo>
                    <a:pt x="2221" y="1111"/>
                    <a:pt x="2214" y="1106"/>
                    <a:pt x="2206" y="1106"/>
                  </a:cubicBezTo>
                  <a:cubicBezTo>
                    <a:pt x="2206" y="1106"/>
                    <a:pt x="2206" y="1106"/>
                    <a:pt x="2206" y="1106"/>
                  </a:cubicBezTo>
                  <a:moveTo>
                    <a:pt x="2249" y="1106"/>
                  </a:moveTo>
                  <a:cubicBezTo>
                    <a:pt x="2241" y="1106"/>
                    <a:pt x="2233" y="1111"/>
                    <a:pt x="2233" y="1116"/>
                  </a:cubicBezTo>
                  <a:cubicBezTo>
                    <a:pt x="2233" y="1122"/>
                    <a:pt x="2239" y="1126"/>
                    <a:pt x="2248" y="1126"/>
                  </a:cubicBezTo>
                  <a:cubicBezTo>
                    <a:pt x="2256" y="1126"/>
                    <a:pt x="2263" y="1122"/>
                    <a:pt x="2264" y="1116"/>
                  </a:cubicBezTo>
                  <a:cubicBezTo>
                    <a:pt x="2264" y="1111"/>
                    <a:pt x="2258" y="1106"/>
                    <a:pt x="2249" y="1106"/>
                  </a:cubicBezTo>
                  <a:cubicBezTo>
                    <a:pt x="2249" y="1106"/>
                    <a:pt x="2249" y="1106"/>
                    <a:pt x="2249" y="1106"/>
                  </a:cubicBezTo>
                  <a:moveTo>
                    <a:pt x="2293" y="1106"/>
                  </a:moveTo>
                  <a:cubicBezTo>
                    <a:pt x="2284" y="1106"/>
                    <a:pt x="2277" y="1110"/>
                    <a:pt x="2277" y="1116"/>
                  </a:cubicBezTo>
                  <a:cubicBezTo>
                    <a:pt x="2276" y="1122"/>
                    <a:pt x="2283" y="1126"/>
                    <a:pt x="2291" y="1126"/>
                  </a:cubicBezTo>
                  <a:cubicBezTo>
                    <a:pt x="2300" y="1126"/>
                    <a:pt x="2307" y="1122"/>
                    <a:pt x="2307" y="1116"/>
                  </a:cubicBezTo>
                  <a:cubicBezTo>
                    <a:pt x="2308" y="1110"/>
                    <a:pt x="2301" y="1106"/>
                    <a:pt x="2293" y="1106"/>
                  </a:cubicBezTo>
                  <a:cubicBezTo>
                    <a:pt x="2293" y="1106"/>
                    <a:pt x="2293" y="1106"/>
                    <a:pt x="2293" y="1106"/>
                  </a:cubicBezTo>
                  <a:moveTo>
                    <a:pt x="2336" y="1106"/>
                  </a:moveTo>
                  <a:cubicBezTo>
                    <a:pt x="2328" y="1106"/>
                    <a:pt x="2321" y="1110"/>
                    <a:pt x="2321" y="1116"/>
                  </a:cubicBezTo>
                  <a:cubicBezTo>
                    <a:pt x="2320" y="1122"/>
                    <a:pt x="2327" y="1126"/>
                    <a:pt x="2335" y="1126"/>
                  </a:cubicBezTo>
                  <a:cubicBezTo>
                    <a:pt x="2344" y="1126"/>
                    <a:pt x="2351" y="1122"/>
                    <a:pt x="2351" y="1116"/>
                  </a:cubicBezTo>
                  <a:cubicBezTo>
                    <a:pt x="2351" y="1110"/>
                    <a:pt x="2345" y="1106"/>
                    <a:pt x="2336" y="1106"/>
                  </a:cubicBezTo>
                  <a:cubicBezTo>
                    <a:pt x="2336" y="1106"/>
                    <a:pt x="2336" y="1106"/>
                    <a:pt x="2336" y="1106"/>
                  </a:cubicBezTo>
                  <a:moveTo>
                    <a:pt x="2380" y="1106"/>
                  </a:moveTo>
                  <a:cubicBezTo>
                    <a:pt x="2372" y="1106"/>
                    <a:pt x="2365" y="1110"/>
                    <a:pt x="2365" y="1116"/>
                  </a:cubicBezTo>
                  <a:cubicBezTo>
                    <a:pt x="2365" y="1121"/>
                    <a:pt x="2371" y="1126"/>
                    <a:pt x="2380" y="1126"/>
                  </a:cubicBezTo>
                  <a:cubicBezTo>
                    <a:pt x="2388" y="1126"/>
                    <a:pt x="2395" y="1121"/>
                    <a:pt x="2396" y="1116"/>
                  </a:cubicBezTo>
                  <a:cubicBezTo>
                    <a:pt x="2396" y="1110"/>
                    <a:pt x="2389" y="1106"/>
                    <a:pt x="2381" y="1106"/>
                  </a:cubicBezTo>
                  <a:cubicBezTo>
                    <a:pt x="2381" y="1106"/>
                    <a:pt x="2381" y="1106"/>
                    <a:pt x="2380" y="1106"/>
                  </a:cubicBezTo>
                  <a:moveTo>
                    <a:pt x="2424" y="1105"/>
                  </a:moveTo>
                  <a:cubicBezTo>
                    <a:pt x="2415" y="1105"/>
                    <a:pt x="2409" y="1110"/>
                    <a:pt x="2408" y="1116"/>
                  </a:cubicBezTo>
                  <a:cubicBezTo>
                    <a:pt x="2408" y="1121"/>
                    <a:pt x="2415" y="1126"/>
                    <a:pt x="2424" y="1126"/>
                  </a:cubicBezTo>
                  <a:cubicBezTo>
                    <a:pt x="2432" y="1126"/>
                    <a:pt x="2439" y="1121"/>
                    <a:pt x="2439" y="1116"/>
                  </a:cubicBezTo>
                  <a:cubicBezTo>
                    <a:pt x="2439" y="1110"/>
                    <a:pt x="2432" y="1105"/>
                    <a:pt x="2424" y="1105"/>
                  </a:cubicBezTo>
                  <a:cubicBezTo>
                    <a:pt x="2424" y="1105"/>
                    <a:pt x="2424" y="1105"/>
                    <a:pt x="2424" y="1105"/>
                  </a:cubicBezTo>
                  <a:moveTo>
                    <a:pt x="2468" y="1105"/>
                  </a:moveTo>
                  <a:cubicBezTo>
                    <a:pt x="2459" y="1105"/>
                    <a:pt x="2452" y="1110"/>
                    <a:pt x="2452" y="1116"/>
                  </a:cubicBezTo>
                  <a:cubicBezTo>
                    <a:pt x="2452" y="1121"/>
                    <a:pt x="2459" y="1126"/>
                    <a:pt x="2468" y="1126"/>
                  </a:cubicBezTo>
                  <a:cubicBezTo>
                    <a:pt x="2476" y="1126"/>
                    <a:pt x="2483" y="1121"/>
                    <a:pt x="2483" y="1115"/>
                  </a:cubicBezTo>
                  <a:cubicBezTo>
                    <a:pt x="2483" y="1110"/>
                    <a:pt x="2476" y="1105"/>
                    <a:pt x="2468" y="1105"/>
                  </a:cubicBezTo>
                  <a:cubicBezTo>
                    <a:pt x="2468" y="1105"/>
                    <a:pt x="2468" y="1105"/>
                    <a:pt x="2468" y="1105"/>
                  </a:cubicBezTo>
                  <a:moveTo>
                    <a:pt x="2511" y="1105"/>
                  </a:moveTo>
                  <a:cubicBezTo>
                    <a:pt x="2503" y="1105"/>
                    <a:pt x="2496" y="1110"/>
                    <a:pt x="2496" y="1115"/>
                  </a:cubicBezTo>
                  <a:cubicBezTo>
                    <a:pt x="2496" y="1121"/>
                    <a:pt x="2503" y="1126"/>
                    <a:pt x="2511" y="1126"/>
                  </a:cubicBezTo>
                  <a:cubicBezTo>
                    <a:pt x="2520" y="1126"/>
                    <a:pt x="2527" y="1121"/>
                    <a:pt x="2526" y="1115"/>
                  </a:cubicBezTo>
                  <a:cubicBezTo>
                    <a:pt x="2526" y="1110"/>
                    <a:pt x="2519" y="1105"/>
                    <a:pt x="2511" y="1105"/>
                  </a:cubicBezTo>
                  <a:cubicBezTo>
                    <a:pt x="2511" y="1105"/>
                    <a:pt x="2511" y="1105"/>
                    <a:pt x="2511" y="1105"/>
                  </a:cubicBezTo>
                  <a:moveTo>
                    <a:pt x="2555" y="1105"/>
                  </a:moveTo>
                  <a:cubicBezTo>
                    <a:pt x="2546" y="1105"/>
                    <a:pt x="2540" y="1110"/>
                    <a:pt x="2540" y="1115"/>
                  </a:cubicBezTo>
                  <a:cubicBezTo>
                    <a:pt x="2540" y="1121"/>
                    <a:pt x="2547" y="1126"/>
                    <a:pt x="2555" y="1125"/>
                  </a:cubicBezTo>
                  <a:cubicBezTo>
                    <a:pt x="2564" y="1125"/>
                    <a:pt x="2571" y="1121"/>
                    <a:pt x="2570" y="1115"/>
                  </a:cubicBezTo>
                  <a:cubicBezTo>
                    <a:pt x="2570" y="1110"/>
                    <a:pt x="2563" y="1105"/>
                    <a:pt x="2555" y="1105"/>
                  </a:cubicBezTo>
                  <a:cubicBezTo>
                    <a:pt x="2555" y="1105"/>
                    <a:pt x="2555" y="1105"/>
                    <a:pt x="2555" y="1105"/>
                  </a:cubicBezTo>
                  <a:moveTo>
                    <a:pt x="2599" y="1105"/>
                  </a:moveTo>
                  <a:cubicBezTo>
                    <a:pt x="2591" y="1105"/>
                    <a:pt x="2584" y="1110"/>
                    <a:pt x="2584" y="1115"/>
                  </a:cubicBezTo>
                  <a:cubicBezTo>
                    <a:pt x="2584" y="1121"/>
                    <a:pt x="2591" y="1125"/>
                    <a:pt x="2600" y="1125"/>
                  </a:cubicBezTo>
                  <a:cubicBezTo>
                    <a:pt x="2608" y="1125"/>
                    <a:pt x="2615" y="1121"/>
                    <a:pt x="2615" y="1115"/>
                  </a:cubicBezTo>
                  <a:cubicBezTo>
                    <a:pt x="2614" y="1109"/>
                    <a:pt x="2607" y="1105"/>
                    <a:pt x="2599" y="1105"/>
                  </a:cubicBezTo>
                  <a:cubicBezTo>
                    <a:pt x="2599" y="1105"/>
                    <a:pt x="2599" y="1105"/>
                    <a:pt x="2599" y="1105"/>
                  </a:cubicBezTo>
                  <a:moveTo>
                    <a:pt x="2642" y="1105"/>
                  </a:moveTo>
                  <a:cubicBezTo>
                    <a:pt x="2634" y="1105"/>
                    <a:pt x="2627" y="1109"/>
                    <a:pt x="2628" y="1115"/>
                  </a:cubicBezTo>
                  <a:cubicBezTo>
                    <a:pt x="2628" y="1121"/>
                    <a:pt x="2635" y="1125"/>
                    <a:pt x="2644" y="1125"/>
                  </a:cubicBezTo>
                  <a:cubicBezTo>
                    <a:pt x="2652" y="1125"/>
                    <a:pt x="2659" y="1121"/>
                    <a:pt x="2658" y="1115"/>
                  </a:cubicBezTo>
                  <a:cubicBezTo>
                    <a:pt x="2658" y="1109"/>
                    <a:pt x="2651" y="1105"/>
                    <a:pt x="2642" y="1105"/>
                  </a:cubicBezTo>
                  <a:cubicBezTo>
                    <a:pt x="2642" y="1105"/>
                    <a:pt x="2642" y="1105"/>
                    <a:pt x="2642" y="1105"/>
                  </a:cubicBezTo>
                  <a:moveTo>
                    <a:pt x="2686" y="1105"/>
                  </a:moveTo>
                  <a:cubicBezTo>
                    <a:pt x="2678" y="1105"/>
                    <a:pt x="2671" y="1109"/>
                    <a:pt x="2672" y="1115"/>
                  </a:cubicBezTo>
                  <a:cubicBezTo>
                    <a:pt x="2672" y="1121"/>
                    <a:pt x="2679" y="1125"/>
                    <a:pt x="2688" y="1125"/>
                  </a:cubicBezTo>
                  <a:cubicBezTo>
                    <a:pt x="2696" y="1125"/>
                    <a:pt x="2703" y="1120"/>
                    <a:pt x="2703" y="1115"/>
                  </a:cubicBezTo>
                  <a:cubicBezTo>
                    <a:pt x="2702" y="1109"/>
                    <a:pt x="2695" y="1105"/>
                    <a:pt x="2687" y="1105"/>
                  </a:cubicBezTo>
                  <a:cubicBezTo>
                    <a:pt x="2687" y="1105"/>
                    <a:pt x="2686" y="1105"/>
                    <a:pt x="2686" y="1105"/>
                  </a:cubicBezTo>
                  <a:moveTo>
                    <a:pt x="2729" y="1104"/>
                  </a:moveTo>
                  <a:cubicBezTo>
                    <a:pt x="2720" y="1105"/>
                    <a:pt x="2714" y="1109"/>
                    <a:pt x="2714" y="1115"/>
                  </a:cubicBezTo>
                  <a:cubicBezTo>
                    <a:pt x="2714" y="1120"/>
                    <a:pt x="2722" y="1125"/>
                    <a:pt x="2730" y="1125"/>
                  </a:cubicBezTo>
                  <a:cubicBezTo>
                    <a:pt x="2739" y="1125"/>
                    <a:pt x="2745" y="1120"/>
                    <a:pt x="2745" y="1115"/>
                  </a:cubicBezTo>
                  <a:cubicBezTo>
                    <a:pt x="2744" y="1109"/>
                    <a:pt x="2737" y="1104"/>
                    <a:pt x="2729" y="1104"/>
                  </a:cubicBezTo>
                  <a:cubicBezTo>
                    <a:pt x="2729" y="1104"/>
                    <a:pt x="2729" y="1104"/>
                    <a:pt x="2729" y="1104"/>
                  </a:cubicBezTo>
                  <a:moveTo>
                    <a:pt x="2773" y="1104"/>
                  </a:moveTo>
                  <a:cubicBezTo>
                    <a:pt x="2764" y="1104"/>
                    <a:pt x="2758" y="1109"/>
                    <a:pt x="2758" y="1115"/>
                  </a:cubicBezTo>
                  <a:cubicBezTo>
                    <a:pt x="2759" y="1120"/>
                    <a:pt x="2766" y="1125"/>
                    <a:pt x="2775" y="1125"/>
                  </a:cubicBezTo>
                  <a:cubicBezTo>
                    <a:pt x="2783" y="1125"/>
                    <a:pt x="2790" y="1120"/>
                    <a:pt x="2789" y="1115"/>
                  </a:cubicBezTo>
                  <a:cubicBezTo>
                    <a:pt x="2788" y="1109"/>
                    <a:pt x="2781" y="1104"/>
                    <a:pt x="2773" y="1104"/>
                  </a:cubicBezTo>
                  <a:cubicBezTo>
                    <a:pt x="2773" y="1104"/>
                    <a:pt x="2773" y="1104"/>
                    <a:pt x="2773" y="1104"/>
                  </a:cubicBezTo>
                  <a:moveTo>
                    <a:pt x="2815" y="1104"/>
                  </a:moveTo>
                  <a:cubicBezTo>
                    <a:pt x="2806" y="1104"/>
                    <a:pt x="2800" y="1109"/>
                    <a:pt x="2801" y="1114"/>
                  </a:cubicBezTo>
                  <a:cubicBezTo>
                    <a:pt x="2801" y="1120"/>
                    <a:pt x="2808" y="1125"/>
                    <a:pt x="2817" y="1125"/>
                  </a:cubicBezTo>
                  <a:cubicBezTo>
                    <a:pt x="2826" y="1125"/>
                    <a:pt x="2832" y="1120"/>
                    <a:pt x="2831" y="1114"/>
                  </a:cubicBezTo>
                  <a:cubicBezTo>
                    <a:pt x="2831" y="1109"/>
                    <a:pt x="2823" y="1104"/>
                    <a:pt x="2815" y="1104"/>
                  </a:cubicBezTo>
                  <a:cubicBezTo>
                    <a:pt x="2815" y="1104"/>
                    <a:pt x="2815" y="1104"/>
                    <a:pt x="2815" y="1104"/>
                  </a:cubicBezTo>
                  <a:moveTo>
                    <a:pt x="3909" y="1102"/>
                  </a:moveTo>
                  <a:cubicBezTo>
                    <a:pt x="3901" y="1102"/>
                    <a:pt x="3896" y="1106"/>
                    <a:pt x="3899" y="1112"/>
                  </a:cubicBezTo>
                  <a:cubicBezTo>
                    <a:pt x="3902" y="1118"/>
                    <a:pt x="3911" y="1122"/>
                    <a:pt x="3919" y="1122"/>
                  </a:cubicBezTo>
                  <a:cubicBezTo>
                    <a:pt x="3928" y="1122"/>
                    <a:pt x="3932" y="1118"/>
                    <a:pt x="3930" y="1112"/>
                  </a:cubicBezTo>
                  <a:cubicBezTo>
                    <a:pt x="3927" y="1106"/>
                    <a:pt x="3918" y="1102"/>
                    <a:pt x="3910" y="1102"/>
                  </a:cubicBezTo>
                  <a:cubicBezTo>
                    <a:pt x="3910" y="1102"/>
                    <a:pt x="3910" y="1102"/>
                    <a:pt x="3909" y="1102"/>
                  </a:cubicBezTo>
                  <a:moveTo>
                    <a:pt x="3953" y="1102"/>
                  </a:moveTo>
                  <a:cubicBezTo>
                    <a:pt x="3944" y="1102"/>
                    <a:pt x="3940" y="1106"/>
                    <a:pt x="3942" y="1112"/>
                  </a:cubicBezTo>
                  <a:cubicBezTo>
                    <a:pt x="3945" y="1118"/>
                    <a:pt x="3954" y="1122"/>
                    <a:pt x="3963" y="1122"/>
                  </a:cubicBezTo>
                  <a:cubicBezTo>
                    <a:pt x="3971" y="1122"/>
                    <a:pt x="3976" y="1118"/>
                    <a:pt x="3973" y="1112"/>
                  </a:cubicBezTo>
                  <a:cubicBezTo>
                    <a:pt x="3970" y="1106"/>
                    <a:pt x="3961" y="1102"/>
                    <a:pt x="3953" y="1102"/>
                  </a:cubicBezTo>
                  <a:cubicBezTo>
                    <a:pt x="3953" y="1102"/>
                    <a:pt x="3953" y="1102"/>
                    <a:pt x="3953" y="1102"/>
                  </a:cubicBezTo>
                  <a:moveTo>
                    <a:pt x="3997" y="1102"/>
                  </a:moveTo>
                  <a:cubicBezTo>
                    <a:pt x="3988" y="1102"/>
                    <a:pt x="3984" y="1106"/>
                    <a:pt x="3986" y="1112"/>
                  </a:cubicBezTo>
                  <a:cubicBezTo>
                    <a:pt x="3989" y="1118"/>
                    <a:pt x="3998" y="1122"/>
                    <a:pt x="4007" y="1122"/>
                  </a:cubicBezTo>
                  <a:cubicBezTo>
                    <a:pt x="4015" y="1122"/>
                    <a:pt x="4020" y="1117"/>
                    <a:pt x="4017" y="1112"/>
                  </a:cubicBezTo>
                  <a:cubicBezTo>
                    <a:pt x="4014" y="1106"/>
                    <a:pt x="4005" y="1102"/>
                    <a:pt x="3997" y="1102"/>
                  </a:cubicBezTo>
                  <a:cubicBezTo>
                    <a:pt x="3997" y="1102"/>
                    <a:pt x="3997" y="1102"/>
                    <a:pt x="3997" y="1102"/>
                  </a:cubicBezTo>
                  <a:moveTo>
                    <a:pt x="4170" y="1101"/>
                  </a:moveTo>
                  <a:cubicBezTo>
                    <a:pt x="4162" y="1101"/>
                    <a:pt x="4157" y="1106"/>
                    <a:pt x="4160" y="1112"/>
                  </a:cubicBezTo>
                  <a:cubicBezTo>
                    <a:pt x="4163" y="1117"/>
                    <a:pt x="4173" y="1122"/>
                    <a:pt x="4181" y="1122"/>
                  </a:cubicBezTo>
                  <a:cubicBezTo>
                    <a:pt x="4190" y="1122"/>
                    <a:pt x="4194" y="1117"/>
                    <a:pt x="4191" y="1112"/>
                  </a:cubicBezTo>
                  <a:cubicBezTo>
                    <a:pt x="4188" y="1106"/>
                    <a:pt x="4179" y="1101"/>
                    <a:pt x="4170" y="1101"/>
                  </a:cubicBezTo>
                  <a:cubicBezTo>
                    <a:pt x="4170" y="1101"/>
                    <a:pt x="4170" y="1101"/>
                    <a:pt x="4170" y="1101"/>
                  </a:cubicBezTo>
                  <a:moveTo>
                    <a:pt x="4213" y="1101"/>
                  </a:moveTo>
                  <a:cubicBezTo>
                    <a:pt x="4205" y="1101"/>
                    <a:pt x="4200" y="1106"/>
                    <a:pt x="4204" y="1111"/>
                  </a:cubicBezTo>
                  <a:cubicBezTo>
                    <a:pt x="4207" y="1117"/>
                    <a:pt x="4216" y="1122"/>
                    <a:pt x="4225" y="1122"/>
                  </a:cubicBezTo>
                  <a:cubicBezTo>
                    <a:pt x="4233" y="1122"/>
                    <a:pt x="4237" y="1117"/>
                    <a:pt x="4234" y="1111"/>
                  </a:cubicBezTo>
                  <a:cubicBezTo>
                    <a:pt x="4231" y="1106"/>
                    <a:pt x="4222" y="1101"/>
                    <a:pt x="4213" y="1101"/>
                  </a:cubicBezTo>
                  <a:cubicBezTo>
                    <a:pt x="4213" y="1101"/>
                    <a:pt x="4213" y="1101"/>
                    <a:pt x="4213" y="1101"/>
                  </a:cubicBezTo>
                  <a:moveTo>
                    <a:pt x="4256" y="1101"/>
                  </a:moveTo>
                  <a:cubicBezTo>
                    <a:pt x="4248" y="1101"/>
                    <a:pt x="4244" y="1106"/>
                    <a:pt x="4247" y="1111"/>
                  </a:cubicBezTo>
                  <a:cubicBezTo>
                    <a:pt x="4250" y="1117"/>
                    <a:pt x="4260" y="1122"/>
                    <a:pt x="4268" y="1122"/>
                  </a:cubicBezTo>
                  <a:cubicBezTo>
                    <a:pt x="4277" y="1122"/>
                    <a:pt x="4281" y="1117"/>
                    <a:pt x="4278" y="1111"/>
                  </a:cubicBezTo>
                  <a:cubicBezTo>
                    <a:pt x="4274" y="1106"/>
                    <a:pt x="4265" y="1101"/>
                    <a:pt x="4257" y="1101"/>
                  </a:cubicBezTo>
                  <a:cubicBezTo>
                    <a:pt x="4256" y="1101"/>
                    <a:pt x="4256" y="1101"/>
                    <a:pt x="4256" y="1101"/>
                  </a:cubicBezTo>
                  <a:moveTo>
                    <a:pt x="4300" y="1101"/>
                  </a:moveTo>
                  <a:cubicBezTo>
                    <a:pt x="4292" y="1101"/>
                    <a:pt x="4288" y="1106"/>
                    <a:pt x="4291" y="1111"/>
                  </a:cubicBezTo>
                  <a:cubicBezTo>
                    <a:pt x="4294" y="1117"/>
                    <a:pt x="4304" y="1121"/>
                    <a:pt x="4312" y="1121"/>
                  </a:cubicBezTo>
                  <a:cubicBezTo>
                    <a:pt x="4321" y="1121"/>
                    <a:pt x="4325" y="1117"/>
                    <a:pt x="4322" y="1111"/>
                  </a:cubicBezTo>
                  <a:cubicBezTo>
                    <a:pt x="4318" y="1105"/>
                    <a:pt x="4309" y="1101"/>
                    <a:pt x="4300" y="1101"/>
                  </a:cubicBezTo>
                  <a:cubicBezTo>
                    <a:pt x="4300" y="1101"/>
                    <a:pt x="4300" y="1101"/>
                    <a:pt x="4300" y="1101"/>
                  </a:cubicBezTo>
                  <a:moveTo>
                    <a:pt x="4516" y="1096"/>
                  </a:moveTo>
                  <a:cubicBezTo>
                    <a:pt x="4508" y="1096"/>
                    <a:pt x="4504" y="1100"/>
                    <a:pt x="4508" y="1106"/>
                  </a:cubicBezTo>
                  <a:cubicBezTo>
                    <a:pt x="4512" y="1112"/>
                    <a:pt x="4521" y="1116"/>
                    <a:pt x="4530" y="1116"/>
                  </a:cubicBezTo>
                  <a:cubicBezTo>
                    <a:pt x="4538" y="1116"/>
                    <a:pt x="4542" y="1112"/>
                    <a:pt x="4538" y="1106"/>
                  </a:cubicBezTo>
                  <a:cubicBezTo>
                    <a:pt x="4535" y="1100"/>
                    <a:pt x="4525" y="1096"/>
                    <a:pt x="4516" y="1096"/>
                  </a:cubicBezTo>
                  <a:cubicBezTo>
                    <a:pt x="4516" y="1096"/>
                    <a:pt x="4516" y="1096"/>
                    <a:pt x="4516" y="1096"/>
                  </a:cubicBezTo>
                  <a:moveTo>
                    <a:pt x="389" y="1082"/>
                  </a:moveTo>
                  <a:cubicBezTo>
                    <a:pt x="380" y="1082"/>
                    <a:pt x="370" y="1086"/>
                    <a:pt x="366" y="1092"/>
                  </a:cubicBezTo>
                  <a:cubicBezTo>
                    <a:pt x="363" y="1097"/>
                    <a:pt x="366" y="1102"/>
                    <a:pt x="375" y="1102"/>
                  </a:cubicBezTo>
                  <a:cubicBezTo>
                    <a:pt x="383" y="1102"/>
                    <a:pt x="393" y="1097"/>
                    <a:pt x="397" y="1092"/>
                  </a:cubicBezTo>
                  <a:cubicBezTo>
                    <a:pt x="401" y="1086"/>
                    <a:pt x="397" y="1082"/>
                    <a:pt x="389" y="1082"/>
                  </a:cubicBezTo>
                  <a:cubicBezTo>
                    <a:pt x="389" y="1082"/>
                    <a:pt x="389" y="1082"/>
                    <a:pt x="389" y="1082"/>
                  </a:cubicBezTo>
                  <a:moveTo>
                    <a:pt x="432" y="1081"/>
                  </a:moveTo>
                  <a:cubicBezTo>
                    <a:pt x="424" y="1081"/>
                    <a:pt x="414" y="1086"/>
                    <a:pt x="410" y="1092"/>
                  </a:cubicBezTo>
                  <a:cubicBezTo>
                    <a:pt x="406" y="1097"/>
                    <a:pt x="410" y="1102"/>
                    <a:pt x="418" y="1102"/>
                  </a:cubicBezTo>
                  <a:cubicBezTo>
                    <a:pt x="427" y="1102"/>
                    <a:pt x="437" y="1097"/>
                    <a:pt x="440" y="1091"/>
                  </a:cubicBezTo>
                  <a:cubicBezTo>
                    <a:pt x="444" y="1086"/>
                    <a:pt x="440" y="1081"/>
                    <a:pt x="432" y="1081"/>
                  </a:cubicBezTo>
                  <a:cubicBezTo>
                    <a:pt x="432" y="1081"/>
                    <a:pt x="432" y="1081"/>
                    <a:pt x="432" y="1081"/>
                  </a:cubicBezTo>
                  <a:moveTo>
                    <a:pt x="475" y="1081"/>
                  </a:moveTo>
                  <a:cubicBezTo>
                    <a:pt x="467" y="1081"/>
                    <a:pt x="457" y="1086"/>
                    <a:pt x="453" y="1091"/>
                  </a:cubicBezTo>
                  <a:cubicBezTo>
                    <a:pt x="449" y="1097"/>
                    <a:pt x="453" y="1102"/>
                    <a:pt x="462" y="1102"/>
                  </a:cubicBezTo>
                  <a:cubicBezTo>
                    <a:pt x="470" y="1101"/>
                    <a:pt x="480" y="1097"/>
                    <a:pt x="484" y="1091"/>
                  </a:cubicBezTo>
                  <a:cubicBezTo>
                    <a:pt x="487" y="1086"/>
                    <a:pt x="483" y="1081"/>
                    <a:pt x="475" y="1081"/>
                  </a:cubicBezTo>
                  <a:cubicBezTo>
                    <a:pt x="475" y="1081"/>
                    <a:pt x="475" y="1081"/>
                    <a:pt x="475" y="1081"/>
                  </a:cubicBezTo>
                  <a:moveTo>
                    <a:pt x="518" y="1081"/>
                  </a:moveTo>
                  <a:cubicBezTo>
                    <a:pt x="510" y="1081"/>
                    <a:pt x="500" y="1086"/>
                    <a:pt x="497" y="1091"/>
                  </a:cubicBezTo>
                  <a:cubicBezTo>
                    <a:pt x="493" y="1097"/>
                    <a:pt x="497" y="1101"/>
                    <a:pt x="505" y="1101"/>
                  </a:cubicBezTo>
                  <a:cubicBezTo>
                    <a:pt x="514" y="1101"/>
                    <a:pt x="524" y="1097"/>
                    <a:pt x="527" y="1091"/>
                  </a:cubicBezTo>
                  <a:cubicBezTo>
                    <a:pt x="531" y="1086"/>
                    <a:pt x="527" y="1081"/>
                    <a:pt x="519" y="1081"/>
                  </a:cubicBezTo>
                  <a:cubicBezTo>
                    <a:pt x="519" y="1081"/>
                    <a:pt x="518" y="1081"/>
                    <a:pt x="518" y="1081"/>
                  </a:cubicBezTo>
                  <a:moveTo>
                    <a:pt x="563" y="1081"/>
                  </a:moveTo>
                  <a:cubicBezTo>
                    <a:pt x="555" y="1081"/>
                    <a:pt x="545" y="1086"/>
                    <a:pt x="542" y="1091"/>
                  </a:cubicBezTo>
                  <a:cubicBezTo>
                    <a:pt x="538" y="1097"/>
                    <a:pt x="542" y="1101"/>
                    <a:pt x="550" y="1101"/>
                  </a:cubicBezTo>
                  <a:cubicBezTo>
                    <a:pt x="559" y="1101"/>
                    <a:pt x="569" y="1097"/>
                    <a:pt x="572" y="1091"/>
                  </a:cubicBezTo>
                  <a:cubicBezTo>
                    <a:pt x="575" y="1085"/>
                    <a:pt x="572" y="1081"/>
                    <a:pt x="563" y="1081"/>
                  </a:cubicBezTo>
                  <a:cubicBezTo>
                    <a:pt x="563" y="1081"/>
                    <a:pt x="563" y="1081"/>
                    <a:pt x="563" y="1081"/>
                  </a:cubicBezTo>
                  <a:moveTo>
                    <a:pt x="606" y="1081"/>
                  </a:moveTo>
                  <a:cubicBezTo>
                    <a:pt x="598" y="1081"/>
                    <a:pt x="588" y="1085"/>
                    <a:pt x="585" y="1091"/>
                  </a:cubicBezTo>
                  <a:cubicBezTo>
                    <a:pt x="581" y="1097"/>
                    <a:pt x="585" y="1101"/>
                    <a:pt x="594" y="1101"/>
                  </a:cubicBezTo>
                  <a:cubicBezTo>
                    <a:pt x="602" y="1101"/>
                    <a:pt x="612" y="1097"/>
                    <a:pt x="615" y="1091"/>
                  </a:cubicBezTo>
                  <a:cubicBezTo>
                    <a:pt x="619" y="1085"/>
                    <a:pt x="615" y="1081"/>
                    <a:pt x="606" y="1081"/>
                  </a:cubicBezTo>
                  <a:cubicBezTo>
                    <a:pt x="606" y="1081"/>
                    <a:pt x="606" y="1081"/>
                    <a:pt x="606" y="1081"/>
                  </a:cubicBezTo>
                  <a:moveTo>
                    <a:pt x="650" y="1081"/>
                  </a:moveTo>
                  <a:cubicBezTo>
                    <a:pt x="641" y="1081"/>
                    <a:pt x="632" y="1085"/>
                    <a:pt x="628" y="1091"/>
                  </a:cubicBezTo>
                  <a:cubicBezTo>
                    <a:pt x="625" y="1096"/>
                    <a:pt x="629" y="1101"/>
                    <a:pt x="638" y="1101"/>
                  </a:cubicBezTo>
                  <a:cubicBezTo>
                    <a:pt x="646" y="1101"/>
                    <a:pt x="656" y="1096"/>
                    <a:pt x="659" y="1091"/>
                  </a:cubicBezTo>
                  <a:cubicBezTo>
                    <a:pt x="662" y="1085"/>
                    <a:pt x="658" y="1081"/>
                    <a:pt x="650" y="1081"/>
                  </a:cubicBezTo>
                  <a:cubicBezTo>
                    <a:pt x="650" y="1081"/>
                    <a:pt x="650" y="1081"/>
                    <a:pt x="650" y="1081"/>
                  </a:cubicBezTo>
                  <a:moveTo>
                    <a:pt x="694" y="1081"/>
                  </a:moveTo>
                  <a:cubicBezTo>
                    <a:pt x="685" y="1081"/>
                    <a:pt x="676" y="1085"/>
                    <a:pt x="672" y="1091"/>
                  </a:cubicBezTo>
                  <a:cubicBezTo>
                    <a:pt x="669" y="1096"/>
                    <a:pt x="673" y="1101"/>
                    <a:pt x="682" y="1101"/>
                  </a:cubicBezTo>
                  <a:cubicBezTo>
                    <a:pt x="690" y="1101"/>
                    <a:pt x="700" y="1096"/>
                    <a:pt x="703" y="1091"/>
                  </a:cubicBezTo>
                  <a:cubicBezTo>
                    <a:pt x="706" y="1085"/>
                    <a:pt x="702" y="1081"/>
                    <a:pt x="694" y="1081"/>
                  </a:cubicBezTo>
                  <a:cubicBezTo>
                    <a:pt x="694" y="1081"/>
                    <a:pt x="694" y="1081"/>
                    <a:pt x="694" y="1081"/>
                  </a:cubicBezTo>
                  <a:moveTo>
                    <a:pt x="737" y="1080"/>
                  </a:moveTo>
                  <a:cubicBezTo>
                    <a:pt x="728" y="1080"/>
                    <a:pt x="719" y="1085"/>
                    <a:pt x="716" y="1091"/>
                  </a:cubicBezTo>
                  <a:cubicBezTo>
                    <a:pt x="712" y="1096"/>
                    <a:pt x="717" y="1101"/>
                    <a:pt x="725" y="1101"/>
                  </a:cubicBezTo>
                  <a:cubicBezTo>
                    <a:pt x="733" y="1101"/>
                    <a:pt x="743" y="1096"/>
                    <a:pt x="746" y="1090"/>
                  </a:cubicBezTo>
                  <a:cubicBezTo>
                    <a:pt x="749" y="1085"/>
                    <a:pt x="745" y="1080"/>
                    <a:pt x="737" y="1080"/>
                  </a:cubicBezTo>
                  <a:cubicBezTo>
                    <a:pt x="737" y="1080"/>
                    <a:pt x="737" y="1080"/>
                    <a:pt x="737" y="1080"/>
                  </a:cubicBezTo>
                  <a:moveTo>
                    <a:pt x="780" y="1080"/>
                  </a:moveTo>
                  <a:cubicBezTo>
                    <a:pt x="772" y="1080"/>
                    <a:pt x="762" y="1085"/>
                    <a:pt x="759" y="1090"/>
                  </a:cubicBezTo>
                  <a:cubicBezTo>
                    <a:pt x="756" y="1096"/>
                    <a:pt x="760" y="1101"/>
                    <a:pt x="769" y="1101"/>
                  </a:cubicBezTo>
                  <a:cubicBezTo>
                    <a:pt x="777" y="1101"/>
                    <a:pt x="786" y="1096"/>
                    <a:pt x="789" y="1090"/>
                  </a:cubicBezTo>
                  <a:cubicBezTo>
                    <a:pt x="793" y="1085"/>
                    <a:pt x="788" y="1080"/>
                    <a:pt x="780" y="1080"/>
                  </a:cubicBezTo>
                  <a:cubicBezTo>
                    <a:pt x="780" y="1080"/>
                    <a:pt x="780" y="1080"/>
                    <a:pt x="780" y="1080"/>
                  </a:cubicBezTo>
                  <a:moveTo>
                    <a:pt x="823" y="1080"/>
                  </a:moveTo>
                  <a:cubicBezTo>
                    <a:pt x="815" y="1080"/>
                    <a:pt x="805" y="1085"/>
                    <a:pt x="802" y="1090"/>
                  </a:cubicBezTo>
                  <a:cubicBezTo>
                    <a:pt x="799" y="1096"/>
                    <a:pt x="804" y="1100"/>
                    <a:pt x="812" y="1100"/>
                  </a:cubicBezTo>
                  <a:cubicBezTo>
                    <a:pt x="820" y="1100"/>
                    <a:pt x="830" y="1096"/>
                    <a:pt x="833" y="1090"/>
                  </a:cubicBezTo>
                  <a:cubicBezTo>
                    <a:pt x="836" y="1085"/>
                    <a:pt x="831" y="1080"/>
                    <a:pt x="823" y="1080"/>
                  </a:cubicBezTo>
                  <a:cubicBezTo>
                    <a:pt x="823" y="1080"/>
                    <a:pt x="823" y="1080"/>
                    <a:pt x="823" y="1080"/>
                  </a:cubicBezTo>
                  <a:moveTo>
                    <a:pt x="866" y="1080"/>
                  </a:moveTo>
                  <a:cubicBezTo>
                    <a:pt x="858" y="1080"/>
                    <a:pt x="849" y="1085"/>
                    <a:pt x="846" y="1090"/>
                  </a:cubicBezTo>
                  <a:cubicBezTo>
                    <a:pt x="843" y="1096"/>
                    <a:pt x="847" y="1100"/>
                    <a:pt x="856" y="1100"/>
                  </a:cubicBezTo>
                  <a:cubicBezTo>
                    <a:pt x="864" y="1100"/>
                    <a:pt x="873" y="1096"/>
                    <a:pt x="876" y="1090"/>
                  </a:cubicBezTo>
                  <a:cubicBezTo>
                    <a:pt x="879" y="1084"/>
                    <a:pt x="875" y="1080"/>
                    <a:pt x="866" y="1080"/>
                  </a:cubicBezTo>
                  <a:cubicBezTo>
                    <a:pt x="866" y="1080"/>
                    <a:pt x="866" y="1080"/>
                    <a:pt x="866" y="1080"/>
                  </a:cubicBezTo>
                  <a:moveTo>
                    <a:pt x="910" y="1080"/>
                  </a:moveTo>
                  <a:cubicBezTo>
                    <a:pt x="902" y="1080"/>
                    <a:pt x="893" y="1084"/>
                    <a:pt x="890" y="1090"/>
                  </a:cubicBezTo>
                  <a:cubicBezTo>
                    <a:pt x="887" y="1096"/>
                    <a:pt x="891" y="1100"/>
                    <a:pt x="900" y="1100"/>
                  </a:cubicBezTo>
                  <a:cubicBezTo>
                    <a:pt x="908" y="1100"/>
                    <a:pt x="917" y="1096"/>
                    <a:pt x="920" y="1090"/>
                  </a:cubicBezTo>
                  <a:cubicBezTo>
                    <a:pt x="923" y="1084"/>
                    <a:pt x="919" y="1080"/>
                    <a:pt x="910" y="1080"/>
                  </a:cubicBezTo>
                  <a:cubicBezTo>
                    <a:pt x="910" y="1080"/>
                    <a:pt x="910" y="1080"/>
                    <a:pt x="910" y="1080"/>
                  </a:cubicBezTo>
                  <a:moveTo>
                    <a:pt x="2121" y="1077"/>
                  </a:moveTo>
                  <a:cubicBezTo>
                    <a:pt x="2113" y="1077"/>
                    <a:pt x="2105" y="1082"/>
                    <a:pt x="2105" y="1087"/>
                  </a:cubicBezTo>
                  <a:cubicBezTo>
                    <a:pt x="2104" y="1093"/>
                    <a:pt x="2110" y="1098"/>
                    <a:pt x="2119" y="1098"/>
                  </a:cubicBezTo>
                  <a:cubicBezTo>
                    <a:pt x="2127" y="1097"/>
                    <a:pt x="2135" y="1093"/>
                    <a:pt x="2135" y="1087"/>
                  </a:cubicBezTo>
                  <a:cubicBezTo>
                    <a:pt x="2136" y="1082"/>
                    <a:pt x="2130" y="1077"/>
                    <a:pt x="2121" y="1077"/>
                  </a:cubicBezTo>
                  <a:cubicBezTo>
                    <a:pt x="2121" y="1077"/>
                    <a:pt x="2121" y="1077"/>
                    <a:pt x="2121" y="1077"/>
                  </a:cubicBezTo>
                  <a:moveTo>
                    <a:pt x="2165" y="1077"/>
                  </a:moveTo>
                  <a:cubicBezTo>
                    <a:pt x="2157" y="1077"/>
                    <a:pt x="2149" y="1082"/>
                    <a:pt x="2149" y="1087"/>
                  </a:cubicBezTo>
                  <a:cubicBezTo>
                    <a:pt x="2148" y="1093"/>
                    <a:pt x="2154" y="1097"/>
                    <a:pt x="2163" y="1097"/>
                  </a:cubicBezTo>
                  <a:cubicBezTo>
                    <a:pt x="2171" y="1097"/>
                    <a:pt x="2179" y="1093"/>
                    <a:pt x="2179" y="1087"/>
                  </a:cubicBezTo>
                  <a:cubicBezTo>
                    <a:pt x="2180" y="1081"/>
                    <a:pt x="2173" y="1077"/>
                    <a:pt x="2165" y="1077"/>
                  </a:cubicBezTo>
                  <a:cubicBezTo>
                    <a:pt x="2165" y="1077"/>
                    <a:pt x="2165" y="1077"/>
                    <a:pt x="2165" y="1077"/>
                  </a:cubicBezTo>
                  <a:moveTo>
                    <a:pt x="2208" y="1077"/>
                  </a:moveTo>
                  <a:cubicBezTo>
                    <a:pt x="2200" y="1077"/>
                    <a:pt x="2192" y="1081"/>
                    <a:pt x="2192" y="1087"/>
                  </a:cubicBezTo>
                  <a:cubicBezTo>
                    <a:pt x="2191" y="1093"/>
                    <a:pt x="2198" y="1097"/>
                    <a:pt x="2206" y="1097"/>
                  </a:cubicBezTo>
                  <a:cubicBezTo>
                    <a:pt x="2215" y="1097"/>
                    <a:pt x="2222" y="1093"/>
                    <a:pt x="2222" y="1087"/>
                  </a:cubicBezTo>
                  <a:cubicBezTo>
                    <a:pt x="2223" y="1081"/>
                    <a:pt x="2216" y="1077"/>
                    <a:pt x="2208" y="1077"/>
                  </a:cubicBezTo>
                  <a:cubicBezTo>
                    <a:pt x="2208" y="1077"/>
                    <a:pt x="2208" y="1077"/>
                    <a:pt x="2208" y="1077"/>
                  </a:cubicBezTo>
                  <a:moveTo>
                    <a:pt x="2251" y="1077"/>
                  </a:moveTo>
                  <a:cubicBezTo>
                    <a:pt x="2243" y="1077"/>
                    <a:pt x="2236" y="1081"/>
                    <a:pt x="2235" y="1087"/>
                  </a:cubicBezTo>
                  <a:cubicBezTo>
                    <a:pt x="2235" y="1093"/>
                    <a:pt x="2241" y="1097"/>
                    <a:pt x="2250" y="1097"/>
                  </a:cubicBezTo>
                  <a:cubicBezTo>
                    <a:pt x="2258" y="1097"/>
                    <a:pt x="2265" y="1092"/>
                    <a:pt x="2266" y="1087"/>
                  </a:cubicBezTo>
                  <a:cubicBezTo>
                    <a:pt x="2266" y="1081"/>
                    <a:pt x="2260" y="1077"/>
                    <a:pt x="2251" y="1077"/>
                  </a:cubicBezTo>
                  <a:cubicBezTo>
                    <a:pt x="2251" y="1077"/>
                    <a:pt x="2251" y="1077"/>
                    <a:pt x="2251" y="1077"/>
                  </a:cubicBezTo>
                  <a:moveTo>
                    <a:pt x="2294" y="1077"/>
                  </a:moveTo>
                  <a:cubicBezTo>
                    <a:pt x="2286" y="1077"/>
                    <a:pt x="2279" y="1081"/>
                    <a:pt x="2278" y="1087"/>
                  </a:cubicBezTo>
                  <a:cubicBezTo>
                    <a:pt x="2278" y="1092"/>
                    <a:pt x="2285" y="1097"/>
                    <a:pt x="2293" y="1097"/>
                  </a:cubicBezTo>
                  <a:cubicBezTo>
                    <a:pt x="2301" y="1097"/>
                    <a:pt x="2309" y="1092"/>
                    <a:pt x="2309" y="1087"/>
                  </a:cubicBezTo>
                  <a:cubicBezTo>
                    <a:pt x="2309" y="1081"/>
                    <a:pt x="2303" y="1077"/>
                    <a:pt x="2294" y="1077"/>
                  </a:cubicBezTo>
                  <a:cubicBezTo>
                    <a:pt x="2294" y="1077"/>
                    <a:pt x="2294" y="1077"/>
                    <a:pt x="2294" y="1077"/>
                  </a:cubicBezTo>
                  <a:moveTo>
                    <a:pt x="2338" y="1076"/>
                  </a:moveTo>
                  <a:cubicBezTo>
                    <a:pt x="2329" y="1076"/>
                    <a:pt x="2322" y="1081"/>
                    <a:pt x="2322" y="1087"/>
                  </a:cubicBezTo>
                  <a:cubicBezTo>
                    <a:pt x="2322" y="1092"/>
                    <a:pt x="2328" y="1097"/>
                    <a:pt x="2337" y="1097"/>
                  </a:cubicBezTo>
                  <a:cubicBezTo>
                    <a:pt x="2345" y="1097"/>
                    <a:pt x="2352" y="1092"/>
                    <a:pt x="2352" y="1087"/>
                  </a:cubicBezTo>
                  <a:cubicBezTo>
                    <a:pt x="2353" y="1081"/>
                    <a:pt x="2346" y="1076"/>
                    <a:pt x="2338" y="1076"/>
                  </a:cubicBezTo>
                  <a:cubicBezTo>
                    <a:pt x="2338" y="1076"/>
                    <a:pt x="2338" y="1076"/>
                    <a:pt x="2338" y="1076"/>
                  </a:cubicBezTo>
                  <a:moveTo>
                    <a:pt x="2381" y="1076"/>
                  </a:moveTo>
                  <a:cubicBezTo>
                    <a:pt x="2373" y="1076"/>
                    <a:pt x="2366" y="1081"/>
                    <a:pt x="2366" y="1087"/>
                  </a:cubicBezTo>
                  <a:cubicBezTo>
                    <a:pt x="2366" y="1092"/>
                    <a:pt x="2372" y="1097"/>
                    <a:pt x="2381" y="1097"/>
                  </a:cubicBezTo>
                  <a:cubicBezTo>
                    <a:pt x="2389" y="1097"/>
                    <a:pt x="2396" y="1092"/>
                    <a:pt x="2396" y="1086"/>
                  </a:cubicBezTo>
                  <a:cubicBezTo>
                    <a:pt x="2396" y="1081"/>
                    <a:pt x="2390" y="1076"/>
                    <a:pt x="2381" y="1076"/>
                  </a:cubicBezTo>
                  <a:cubicBezTo>
                    <a:pt x="2381" y="1076"/>
                    <a:pt x="2381" y="1076"/>
                    <a:pt x="2381" y="1076"/>
                  </a:cubicBezTo>
                  <a:moveTo>
                    <a:pt x="2424" y="1076"/>
                  </a:moveTo>
                  <a:cubicBezTo>
                    <a:pt x="2416" y="1076"/>
                    <a:pt x="2409" y="1081"/>
                    <a:pt x="2409" y="1086"/>
                  </a:cubicBezTo>
                  <a:cubicBezTo>
                    <a:pt x="2409" y="1092"/>
                    <a:pt x="2416" y="1097"/>
                    <a:pt x="2424" y="1097"/>
                  </a:cubicBezTo>
                  <a:cubicBezTo>
                    <a:pt x="2432" y="1097"/>
                    <a:pt x="2439" y="1092"/>
                    <a:pt x="2439" y="1086"/>
                  </a:cubicBezTo>
                  <a:cubicBezTo>
                    <a:pt x="2439" y="1081"/>
                    <a:pt x="2433" y="1076"/>
                    <a:pt x="2424" y="1076"/>
                  </a:cubicBezTo>
                  <a:cubicBezTo>
                    <a:pt x="2424" y="1076"/>
                    <a:pt x="2424" y="1076"/>
                    <a:pt x="2424" y="1076"/>
                  </a:cubicBezTo>
                  <a:moveTo>
                    <a:pt x="2468" y="1076"/>
                  </a:moveTo>
                  <a:cubicBezTo>
                    <a:pt x="2459" y="1076"/>
                    <a:pt x="2452" y="1081"/>
                    <a:pt x="2452" y="1086"/>
                  </a:cubicBezTo>
                  <a:cubicBezTo>
                    <a:pt x="2452" y="1092"/>
                    <a:pt x="2459" y="1096"/>
                    <a:pt x="2468" y="1096"/>
                  </a:cubicBezTo>
                  <a:cubicBezTo>
                    <a:pt x="2476" y="1096"/>
                    <a:pt x="2483" y="1092"/>
                    <a:pt x="2483" y="1086"/>
                  </a:cubicBezTo>
                  <a:cubicBezTo>
                    <a:pt x="2483" y="1081"/>
                    <a:pt x="2476" y="1076"/>
                    <a:pt x="2468" y="1076"/>
                  </a:cubicBezTo>
                  <a:cubicBezTo>
                    <a:pt x="2468" y="1076"/>
                    <a:pt x="2468" y="1076"/>
                    <a:pt x="2468" y="1076"/>
                  </a:cubicBezTo>
                  <a:moveTo>
                    <a:pt x="2511" y="1076"/>
                  </a:moveTo>
                  <a:cubicBezTo>
                    <a:pt x="2502" y="1076"/>
                    <a:pt x="2496" y="1080"/>
                    <a:pt x="2496" y="1086"/>
                  </a:cubicBezTo>
                  <a:cubicBezTo>
                    <a:pt x="2496" y="1092"/>
                    <a:pt x="2502" y="1096"/>
                    <a:pt x="2511" y="1096"/>
                  </a:cubicBezTo>
                  <a:cubicBezTo>
                    <a:pt x="2519" y="1096"/>
                    <a:pt x="2526" y="1092"/>
                    <a:pt x="2526" y="1086"/>
                  </a:cubicBezTo>
                  <a:cubicBezTo>
                    <a:pt x="2526" y="1080"/>
                    <a:pt x="2519" y="1076"/>
                    <a:pt x="2511" y="1076"/>
                  </a:cubicBezTo>
                  <a:cubicBezTo>
                    <a:pt x="2511" y="1076"/>
                    <a:pt x="2511" y="1076"/>
                    <a:pt x="2511" y="1076"/>
                  </a:cubicBezTo>
                  <a:moveTo>
                    <a:pt x="2554" y="1076"/>
                  </a:moveTo>
                  <a:cubicBezTo>
                    <a:pt x="2546" y="1076"/>
                    <a:pt x="2539" y="1080"/>
                    <a:pt x="2539" y="1086"/>
                  </a:cubicBezTo>
                  <a:cubicBezTo>
                    <a:pt x="2539" y="1092"/>
                    <a:pt x="2546" y="1096"/>
                    <a:pt x="2555" y="1096"/>
                  </a:cubicBezTo>
                  <a:cubicBezTo>
                    <a:pt x="2563" y="1096"/>
                    <a:pt x="2570" y="1091"/>
                    <a:pt x="2569" y="1086"/>
                  </a:cubicBezTo>
                  <a:cubicBezTo>
                    <a:pt x="2569" y="1080"/>
                    <a:pt x="2562" y="1076"/>
                    <a:pt x="2554" y="1076"/>
                  </a:cubicBezTo>
                  <a:cubicBezTo>
                    <a:pt x="2554" y="1076"/>
                    <a:pt x="2554" y="1076"/>
                    <a:pt x="2554" y="1076"/>
                  </a:cubicBezTo>
                  <a:moveTo>
                    <a:pt x="2598" y="1076"/>
                  </a:moveTo>
                  <a:cubicBezTo>
                    <a:pt x="2589" y="1076"/>
                    <a:pt x="2583" y="1080"/>
                    <a:pt x="2583" y="1086"/>
                  </a:cubicBezTo>
                  <a:cubicBezTo>
                    <a:pt x="2583" y="1091"/>
                    <a:pt x="2590" y="1096"/>
                    <a:pt x="2599" y="1096"/>
                  </a:cubicBezTo>
                  <a:cubicBezTo>
                    <a:pt x="2607" y="1096"/>
                    <a:pt x="2614" y="1091"/>
                    <a:pt x="2613" y="1086"/>
                  </a:cubicBezTo>
                  <a:cubicBezTo>
                    <a:pt x="2613" y="1080"/>
                    <a:pt x="2606" y="1076"/>
                    <a:pt x="2598" y="1076"/>
                  </a:cubicBezTo>
                  <a:cubicBezTo>
                    <a:pt x="2598" y="1076"/>
                    <a:pt x="2598" y="1076"/>
                    <a:pt x="2598" y="1076"/>
                  </a:cubicBezTo>
                  <a:moveTo>
                    <a:pt x="2641" y="1075"/>
                  </a:moveTo>
                  <a:cubicBezTo>
                    <a:pt x="2632" y="1075"/>
                    <a:pt x="2626" y="1080"/>
                    <a:pt x="2626" y="1086"/>
                  </a:cubicBezTo>
                  <a:cubicBezTo>
                    <a:pt x="2626" y="1091"/>
                    <a:pt x="2633" y="1096"/>
                    <a:pt x="2642" y="1096"/>
                  </a:cubicBezTo>
                  <a:cubicBezTo>
                    <a:pt x="2650" y="1096"/>
                    <a:pt x="2657" y="1091"/>
                    <a:pt x="2657" y="1086"/>
                  </a:cubicBezTo>
                  <a:cubicBezTo>
                    <a:pt x="2656" y="1080"/>
                    <a:pt x="2649" y="1075"/>
                    <a:pt x="2641" y="1075"/>
                  </a:cubicBezTo>
                  <a:cubicBezTo>
                    <a:pt x="2641" y="1075"/>
                    <a:pt x="2641" y="1075"/>
                    <a:pt x="2641" y="1075"/>
                  </a:cubicBezTo>
                  <a:moveTo>
                    <a:pt x="2684" y="1075"/>
                  </a:moveTo>
                  <a:cubicBezTo>
                    <a:pt x="2676" y="1075"/>
                    <a:pt x="2670" y="1080"/>
                    <a:pt x="2670" y="1086"/>
                  </a:cubicBezTo>
                  <a:cubicBezTo>
                    <a:pt x="2670" y="1091"/>
                    <a:pt x="2677" y="1096"/>
                    <a:pt x="2686" y="1096"/>
                  </a:cubicBezTo>
                  <a:cubicBezTo>
                    <a:pt x="2694" y="1096"/>
                    <a:pt x="2701" y="1091"/>
                    <a:pt x="2700" y="1085"/>
                  </a:cubicBezTo>
                  <a:cubicBezTo>
                    <a:pt x="2700" y="1080"/>
                    <a:pt x="2693" y="1075"/>
                    <a:pt x="2685" y="1075"/>
                  </a:cubicBezTo>
                  <a:cubicBezTo>
                    <a:pt x="2684" y="1075"/>
                    <a:pt x="2684" y="1075"/>
                    <a:pt x="2684" y="1075"/>
                  </a:cubicBezTo>
                  <a:moveTo>
                    <a:pt x="2726" y="1075"/>
                  </a:moveTo>
                  <a:cubicBezTo>
                    <a:pt x="2718" y="1075"/>
                    <a:pt x="2711" y="1080"/>
                    <a:pt x="2712" y="1085"/>
                  </a:cubicBezTo>
                  <a:cubicBezTo>
                    <a:pt x="2712" y="1091"/>
                    <a:pt x="2719" y="1096"/>
                    <a:pt x="2728" y="1096"/>
                  </a:cubicBezTo>
                  <a:cubicBezTo>
                    <a:pt x="2736" y="1096"/>
                    <a:pt x="2743" y="1091"/>
                    <a:pt x="2742" y="1085"/>
                  </a:cubicBezTo>
                  <a:cubicBezTo>
                    <a:pt x="2742" y="1080"/>
                    <a:pt x="2735" y="1075"/>
                    <a:pt x="2726" y="1075"/>
                  </a:cubicBezTo>
                  <a:cubicBezTo>
                    <a:pt x="2726" y="1075"/>
                    <a:pt x="2726" y="1075"/>
                    <a:pt x="2726" y="1075"/>
                  </a:cubicBezTo>
                  <a:moveTo>
                    <a:pt x="2770" y="1075"/>
                  </a:moveTo>
                  <a:cubicBezTo>
                    <a:pt x="2761" y="1075"/>
                    <a:pt x="2755" y="1080"/>
                    <a:pt x="2756" y="1085"/>
                  </a:cubicBezTo>
                  <a:cubicBezTo>
                    <a:pt x="2756" y="1091"/>
                    <a:pt x="2763" y="1095"/>
                    <a:pt x="2772" y="1095"/>
                  </a:cubicBezTo>
                  <a:cubicBezTo>
                    <a:pt x="2780" y="1095"/>
                    <a:pt x="2787" y="1091"/>
                    <a:pt x="2786" y="1085"/>
                  </a:cubicBezTo>
                  <a:cubicBezTo>
                    <a:pt x="2785" y="1080"/>
                    <a:pt x="2778" y="1075"/>
                    <a:pt x="2770" y="1075"/>
                  </a:cubicBezTo>
                  <a:cubicBezTo>
                    <a:pt x="2770" y="1075"/>
                    <a:pt x="2770" y="1075"/>
                    <a:pt x="2770" y="1075"/>
                  </a:cubicBezTo>
                  <a:moveTo>
                    <a:pt x="2811" y="1075"/>
                  </a:moveTo>
                  <a:cubicBezTo>
                    <a:pt x="2803" y="1075"/>
                    <a:pt x="2797" y="1079"/>
                    <a:pt x="2797" y="1085"/>
                  </a:cubicBezTo>
                  <a:cubicBezTo>
                    <a:pt x="2798" y="1091"/>
                    <a:pt x="2805" y="1095"/>
                    <a:pt x="2814" y="1095"/>
                  </a:cubicBezTo>
                  <a:cubicBezTo>
                    <a:pt x="2822" y="1095"/>
                    <a:pt x="2828" y="1091"/>
                    <a:pt x="2828" y="1085"/>
                  </a:cubicBezTo>
                  <a:cubicBezTo>
                    <a:pt x="2827" y="1079"/>
                    <a:pt x="2820" y="1075"/>
                    <a:pt x="2812" y="1075"/>
                  </a:cubicBezTo>
                  <a:cubicBezTo>
                    <a:pt x="2811" y="1075"/>
                    <a:pt x="2811" y="1075"/>
                    <a:pt x="2811" y="1075"/>
                  </a:cubicBezTo>
                  <a:moveTo>
                    <a:pt x="2857" y="1075"/>
                  </a:moveTo>
                  <a:cubicBezTo>
                    <a:pt x="2849" y="1075"/>
                    <a:pt x="2843" y="1079"/>
                    <a:pt x="2843" y="1085"/>
                  </a:cubicBezTo>
                  <a:cubicBezTo>
                    <a:pt x="2844" y="1091"/>
                    <a:pt x="2851" y="1095"/>
                    <a:pt x="2860" y="1095"/>
                  </a:cubicBezTo>
                  <a:cubicBezTo>
                    <a:pt x="2868" y="1095"/>
                    <a:pt x="2874" y="1091"/>
                    <a:pt x="2874" y="1085"/>
                  </a:cubicBezTo>
                  <a:cubicBezTo>
                    <a:pt x="2873" y="1079"/>
                    <a:pt x="2866" y="1075"/>
                    <a:pt x="2857" y="1075"/>
                  </a:cubicBezTo>
                  <a:cubicBezTo>
                    <a:pt x="2857" y="1075"/>
                    <a:pt x="2857" y="1075"/>
                    <a:pt x="2857" y="1075"/>
                  </a:cubicBezTo>
                  <a:moveTo>
                    <a:pt x="3895" y="1074"/>
                  </a:moveTo>
                  <a:cubicBezTo>
                    <a:pt x="3886" y="1074"/>
                    <a:pt x="3882" y="1079"/>
                    <a:pt x="3884" y="1084"/>
                  </a:cubicBezTo>
                  <a:cubicBezTo>
                    <a:pt x="3887" y="1090"/>
                    <a:pt x="3896" y="1094"/>
                    <a:pt x="3904" y="1094"/>
                  </a:cubicBezTo>
                  <a:cubicBezTo>
                    <a:pt x="3913" y="1094"/>
                    <a:pt x="3917" y="1090"/>
                    <a:pt x="3915" y="1084"/>
                  </a:cubicBezTo>
                  <a:cubicBezTo>
                    <a:pt x="3912" y="1078"/>
                    <a:pt x="3903" y="1074"/>
                    <a:pt x="3895" y="1074"/>
                  </a:cubicBezTo>
                  <a:cubicBezTo>
                    <a:pt x="3895" y="1074"/>
                    <a:pt x="3895" y="1074"/>
                    <a:pt x="3895" y="1074"/>
                  </a:cubicBezTo>
                  <a:moveTo>
                    <a:pt x="3984" y="1074"/>
                  </a:moveTo>
                  <a:cubicBezTo>
                    <a:pt x="3976" y="1074"/>
                    <a:pt x="3971" y="1078"/>
                    <a:pt x="3974" y="1084"/>
                  </a:cubicBezTo>
                  <a:cubicBezTo>
                    <a:pt x="3977" y="1090"/>
                    <a:pt x="3986" y="1094"/>
                    <a:pt x="3994" y="1094"/>
                  </a:cubicBezTo>
                  <a:cubicBezTo>
                    <a:pt x="4003" y="1094"/>
                    <a:pt x="4007" y="1089"/>
                    <a:pt x="4004" y="1084"/>
                  </a:cubicBezTo>
                  <a:cubicBezTo>
                    <a:pt x="4002" y="1078"/>
                    <a:pt x="3992" y="1074"/>
                    <a:pt x="3984" y="1074"/>
                  </a:cubicBezTo>
                  <a:cubicBezTo>
                    <a:pt x="3984" y="1074"/>
                    <a:pt x="3984" y="1074"/>
                    <a:pt x="3984" y="1074"/>
                  </a:cubicBezTo>
                  <a:moveTo>
                    <a:pt x="4196" y="1071"/>
                  </a:moveTo>
                  <a:cubicBezTo>
                    <a:pt x="4188" y="1072"/>
                    <a:pt x="4184" y="1076"/>
                    <a:pt x="4187" y="1082"/>
                  </a:cubicBezTo>
                  <a:cubicBezTo>
                    <a:pt x="4190" y="1087"/>
                    <a:pt x="4200" y="1092"/>
                    <a:pt x="4208" y="1092"/>
                  </a:cubicBezTo>
                  <a:cubicBezTo>
                    <a:pt x="4216" y="1092"/>
                    <a:pt x="4221" y="1087"/>
                    <a:pt x="4217" y="1082"/>
                  </a:cubicBezTo>
                  <a:cubicBezTo>
                    <a:pt x="4214" y="1076"/>
                    <a:pt x="4205" y="1071"/>
                    <a:pt x="4196" y="1071"/>
                  </a:cubicBezTo>
                  <a:cubicBezTo>
                    <a:pt x="4196" y="1071"/>
                    <a:pt x="4196" y="1071"/>
                    <a:pt x="4196" y="1071"/>
                  </a:cubicBezTo>
                  <a:moveTo>
                    <a:pt x="4239" y="1071"/>
                  </a:moveTo>
                  <a:cubicBezTo>
                    <a:pt x="4231" y="1071"/>
                    <a:pt x="4227" y="1076"/>
                    <a:pt x="4230" y="1082"/>
                  </a:cubicBezTo>
                  <a:cubicBezTo>
                    <a:pt x="4233" y="1087"/>
                    <a:pt x="4243" y="1092"/>
                    <a:pt x="4251" y="1092"/>
                  </a:cubicBezTo>
                  <a:cubicBezTo>
                    <a:pt x="4260" y="1092"/>
                    <a:pt x="4264" y="1087"/>
                    <a:pt x="4260" y="1082"/>
                  </a:cubicBezTo>
                  <a:cubicBezTo>
                    <a:pt x="4257" y="1076"/>
                    <a:pt x="4248" y="1071"/>
                    <a:pt x="4239" y="1071"/>
                  </a:cubicBezTo>
                  <a:cubicBezTo>
                    <a:pt x="4239" y="1071"/>
                    <a:pt x="4239" y="1071"/>
                    <a:pt x="4239" y="1071"/>
                  </a:cubicBezTo>
                  <a:moveTo>
                    <a:pt x="4283" y="1071"/>
                  </a:moveTo>
                  <a:cubicBezTo>
                    <a:pt x="4274" y="1071"/>
                    <a:pt x="4270" y="1076"/>
                    <a:pt x="4274" y="1082"/>
                  </a:cubicBezTo>
                  <a:cubicBezTo>
                    <a:pt x="4277" y="1087"/>
                    <a:pt x="4286" y="1092"/>
                    <a:pt x="4295" y="1092"/>
                  </a:cubicBezTo>
                  <a:cubicBezTo>
                    <a:pt x="4303" y="1092"/>
                    <a:pt x="4307" y="1087"/>
                    <a:pt x="4304" y="1081"/>
                  </a:cubicBezTo>
                  <a:cubicBezTo>
                    <a:pt x="4301" y="1076"/>
                    <a:pt x="4291" y="1071"/>
                    <a:pt x="4283" y="1071"/>
                  </a:cubicBezTo>
                  <a:cubicBezTo>
                    <a:pt x="4283" y="1071"/>
                    <a:pt x="4283" y="1071"/>
                    <a:pt x="4283" y="1071"/>
                  </a:cubicBezTo>
                  <a:moveTo>
                    <a:pt x="408" y="1054"/>
                  </a:moveTo>
                  <a:cubicBezTo>
                    <a:pt x="399" y="1054"/>
                    <a:pt x="389" y="1058"/>
                    <a:pt x="386" y="1064"/>
                  </a:cubicBezTo>
                  <a:cubicBezTo>
                    <a:pt x="382" y="1069"/>
                    <a:pt x="385" y="1074"/>
                    <a:pt x="394" y="1074"/>
                  </a:cubicBezTo>
                  <a:cubicBezTo>
                    <a:pt x="402" y="1074"/>
                    <a:pt x="412" y="1069"/>
                    <a:pt x="416" y="1064"/>
                  </a:cubicBezTo>
                  <a:cubicBezTo>
                    <a:pt x="420" y="1058"/>
                    <a:pt x="416" y="1054"/>
                    <a:pt x="408" y="1054"/>
                  </a:cubicBezTo>
                  <a:cubicBezTo>
                    <a:pt x="408" y="1054"/>
                    <a:pt x="408" y="1054"/>
                    <a:pt x="408" y="1054"/>
                  </a:cubicBezTo>
                  <a:moveTo>
                    <a:pt x="451" y="1053"/>
                  </a:moveTo>
                  <a:cubicBezTo>
                    <a:pt x="442" y="1053"/>
                    <a:pt x="432" y="1058"/>
                    <a:pt x="429" y="1064"/>
                  </a:cubicBezTo>
                  <a:cubicBezTo>
                    <a:pt x="425" y="1069"/>
                    <a:pt x="429" y="1074"/>
                    <a:pt x="437" y="1074"/>
                  </a:cubicBezTo>
                  <a:cubicBezTo>
                    <a:pt x="445" y="1074"/>
                    <a:pt x="455" y="1069"/>
                    <a:pt x="459" y="1064"/>
                  </a:cubicBezTo>
                  <a:cubicBezTo>
                    <a:pt x="463" y="1058"/>
                    <a:pt x="459" y="1053"/>
                    <a:pt x="451" y="1053"/>
                  </a:cubicBezTo>
                  <a:cubicBezTo>
                    <a:pt x="451" y="1053"/>
                    <a:pt x="451" y="1053"/>
                    <a:pt x="451" y="1053"/>
                  </a:cubicBezTo>
                  <a:moveTo>
                    <a:pt x="493" y="1053"/>
                  </a:moveTo>
                  <a:cubicBezTo>
                    <a:pt x="485" y="1053"/>
                    <a:pt x="475" y="1058"/>
                    <a:pt x="472" y="1064"/>
                  </a:cubicBezTo>
                  <a:cubicBezTo>
                    <a:pt x="468" y="1069"/>
                    <a:pt x="472" y="1074"/>
                    <a:pt x="480" y="1074"/>
                  </a:cubicBezTo>
                  <a:cubicBezTo>
                    <a:pt x="488" y="1074"/>
                    <a:pt x="498" y="1069"/>
                    <a:pt x="502" y="1063"/>
                  </a:cubicBezTo>
                  <a:cubicBezTo>
                    <a:pt x="505" y="1058"/>
                    <a:pt x="502" y="1053"/>
                    <a:pt x="493" y="1053"/>
                  </a:cubicBezTo>
                  <a:cubicBezTo>
                    <a:pt x="493" y="1053"/>
                    <a:pt x="493" y="1053"/>
                    <a:pt x="493" y="1053"/>
                  </a:cubicBezTo>
                  <a:moveTo>
                    <a:pt x="536" y="1053"/>
                  </a:moveTo>
                  <a:cubicBezTo>
                    <a:pt x="528" y="1053"/>
                    <a:pt x="518" y="1058"/>
                    <a:pt x="515" y="1063"/>
                  </a:cubicBezTo>
                  <a:cubicBezTo>
                    <a:pt x="511" y="1069"/>
                    <a:pt x="515" y="1073"/>
                    <a:pt x="523" y="1073"/>
                  </a:cubicBezTo>
                  <a:cubicBezTo>
                    <a:pt x="532" y="1073"/>
                    <a:pt x="541" y="1069"/>
                    <a:pt x="545" y="1063"/>
                  </a:cubicBezTo>
                  <a:cubicBezTo>
                    <a:pt x="548" y="1058"/>
                    <a:pt x="545" y="1053"/>
                    <a:pt x="536" y="1053"/>
                  </a:cubicBezTo>
                  <a:cubicBezTo>
                    <a:pt x="536" y="1053"/>
                    <a:pt x="536" y="1053"/>
                    <a:pt x="536" y="1053"/>
                  </a:cubicBezTo>
                  <a:moveTo>
                    <a:pt x="581" y="1053"/>
                  </a:moveTo>
                  <a:cubicBezTo>
                    <a:pt x="572" y="1053"/>
                    <a:pt x="563" y="1058"/>
                    <a:pt x="559" y="1063"/>
                  </a:cubicBezTo>
                  <a:cubicBezTo>
                    <a:pt x="556" y="1069"/>
                    <a:pt x="560" y="1073"/>
                    <a:pt x="568" y="1073"/>
                  </a:cubicBezTo>
                  <a:cubicBezTo>
                    <a:pt x="576" y="1073"/>
                    <a:pt x="586" y="1069"/>
                    <a:pt x="589" y="1063"/>
                  </a:cubicBezTo>
                  <a:cubicBezTo>
                    <a:pt x="593" y="1058"/>
                    <a:pt x="589" y="1053"/>
                    <a:pt x="581" y="1053"/>
                  </a:cubicBezTo>
                  <a:cubicBezTo>
                    <a:pt x="581" y="1053"/>
                    <a:pt x="581" y="1053"/>
                    <a:pt x="581" y="1053"/>
                  </a:cubicBezTo>
                  <a:moveTo>
                    <a:pt x="623" y="1053"/>
                  </a:moveTo>
                  <a:cubicBezTo>
                    <a:pt x="615" y="1053"/>
                    <a:pt x="605" y="1057"/>
                    <a:pt x="602" y="1063"/>
                  </a:cubicBezTo>
                  <a:cubicBezTo>
                    <a:pt x="599" y="1069"/>
                    <a:pt x="603" y="1073"/>
                    <a:pt x="611" y="1073"/>
                  </a:cubicBezTo>
                  <a:cubicBezTo>
                    <a:pt x="619" y="1073"/>
                    <a:pt x="629" y="1069"/>
                    <a:pt x="632" y="1063"/>
                  </a:cubicBezTo>
                  <a:cubicBezTo>
                    <a:pt x="636" y="1057"/>
                    <a:pt x="632" y="1053"/>
                    <a:pt x="623" y="1053"/>
                  </a:cubicBezTo>
                  <a:cubicBezTo>
                    <a:pt x="623" y="1053"/>
                    <a:pt x="623" y="1053"/>
                    <a:pt x="623" y="1053"/>
                  </a:cubicBezTo>
                  <a:moveTo>
                    <a:pt x="666" y="1053"/>
                  </a:moveTo>
                  <a:cubicBezTo>
                    <a:pt x="658" y="1053"/>
                    <a:pt x="649" y="1057"/>
                    <a:pt x="645" y="1063"/>
                  </a:cubicBezTo>
                  <a:cubicBezTo>
                    <a:pt x="642" y="1069"/>
                    <a:pt x="646" y="1073"/>
                    <a:pt x="654" y="1073"/>
                  </a:cubicBezTo>
                  <a:cubicBezTo>
                    <a:pt x="663" y="1073"/>
                    <a:pt x="672" y="1068"/>
                    <a:pt x="675" y="1063"/>
                  </a:cubicBezTo>
                  <a:cubicBezTo>
                    <a:pt x="679" y="1057"/>
                    <a:pt x="675" y="1053"/>
                    <a:pt x="666" y="1053"/>
                  </a:cubicBezTo>
                  <a:cubicBezTo>
                    <a:pt x="666" y="1053"/>
                    <a:pt x="666" y="1053"/>
                    <a:pt x="666" y="1053"/>
                  </a:cubicBezTo>
                  <a:moveTo>
                    <a:pt x="710" y="1053"/>
                  </a:moveTo>
                  <a:cubicBezTo>
                    <a:pt x="701" y="1053"/>
                    <a:pt x="692" y="1057"/>
                    <a:pt x="689" y="1063"/>
                  </a:cubicBezTo>
                  <a:cubicBezTo>
                    <a:pt x="685" y="1068"/>
                    <a:pt x="690" y="1073"/>
                    <a:pt x="698" y="1073"/>
                  </a:cubicBezTo>
                  <a:cubicBezTo>
                    <a:pt x="706" y="1073"/>
                    <a:pt x="716" y="1068"/>
                    <a:pt x="719" y="1063"/>
                  </a:cubicBezTo>
                  <a:cubicBezTo>
                    <a:pt x="722" y="1057"/>
                    <a:pt x="718" y="1053"/>
                    <a:pt x="710" y="1053"/>
                  </a:cubicBezTo>
                  <a:cubicBezTo>
                    <a:pt x="710" y="1053"/>
                    <a:pt x="710" y="1053"/>
                    <a:pt x="710" y="1053"/>
                  </a:cubicBezTo>
                  <a:moveTo>
                    <a:pt x="752" y="1052"/>
                  </a:moveTo>
                  <a:cubicBezTo>
                    <a:pt x="744" y="1052"/>
                    <a:pt x="735" y="1057"/>
                    <a:pt x="732" y="1063"/>
                  </a:cubicBezTo>
                  <a:cubicBezTo>
                    <a:pt x="728" y="1068"/>
                    <a:pt x="733" y="1073"/>
                    <a:pt x="741" y="1073"/>
                  </a:cubicBezTo>
                  <a:cubicBezTo>
                    <a:pt x="749" y="1073"/>
                    <a:pt x="759" y="1068"/>
                    <a:pt x="762" y="1063"/>
                  </a:cubicBezTo>
                  <a:cubicBezTo>
                    <a:pt x="765" y="1057"/>
                    <a:pt x="761" y="1052"/>
                    <a:pt x="752" y="1052"/>
                  </a:cubicBezTo>
                  <a:cubicBezTo>
                    <a:pt x="752" y="1052"/>
                    <a:pt x="752" y="1052"/>
                    <a:pt x="752" y="1052"/>
                  </a:cubicBezTo>
                  <a:moveTo>
                    <a:pt x="796" y="1052"/>
                  </a:moveTo>
                  <a:cubicBezTo>
                    <a:pt x="787" y="1052"/>
                    <a:pt x="778" y="1057"/>
                    <a:pt x="775" y="1062"/>
                  </a:cubicBezTo>
                  <a:cubicBezTo>
                    <a:pt x="772" y="1068"/>
                    <a:pt x="776" y="1072"/>
                    <a:pt x="784" y="1072"/>
                  </a:cubicBezTo>
                  <a:cubicBezTo>
                    <a:pt x="793" y="1072"/>
                    <a:pt x="802" y="1068"/>
                    <a:pt x="805" y="1062"/>
                  </a:cubicBezTo>
                  <a:cubicBezTo>
                    <a:pt x="808" y="1056"/>
                    <a:pt x="804" y="1052"/>
                    <a:pt x="796" y="1052"/>
                  </a:cubicBezTo>
                  <a:cubicBezTo>
                    <a:pt x="796" y="1052"/>
                    <a:pt x="796" y="1052"/>
                    <a:pt x="796" y="1052"/>
                  </a:cubicBezTo>
                  <a:moveTo>
                    <a:pt x="838" y="1052"/>
                  </a:moveTo>
                  <a:cubicBezTo>
                    <a:pt x="830" y="1052"/>
                    <a:pt x="821" y="1056"/>
                    <a:pt x="818" y="1062"/>
                  </a:cubicBezTo>
                  <a:cubicBezTo>
                    <a:pt x="815" y="1068"/>
                    <a:pt x="819" y="1072"/>
                    <a:pt x="827" y="1072"/>
                  </a:cubicBezTo>
                  <a:cubicBezTo>
                    <a:pt x="836" y="1072"/>
                    <a:pt x="845" y="1068"/>
                    <a:pt x="848" y="1062"/>
                  </a:cubicBezTo>
                  <a:cubicBezTo>
                    <a:pt x="851" y="1056"/>
                    <a:pt x="847" y="1052"/>
                    <a:pt x="838" y="1052"/>
                  </a:cubicBezTo>
                  <a:cubicBezTo>
                    <a:pt x="838" y="1052"/>
                    <a:pt x="838" y="1052"/>
                    <a:pt x="838" y="1052"/>
                  </a:cubicBezTo>
                  <a:moveTo>
                    <a:pt x="882" y="1050"/>
                  </a:moveTo>
                  <a:cubicBezTo>
                    <a:pt x="874" y="1050"/>
                    <a:pt x="865" y="1054"/>
                    <a:pt x="862" y="1060"/>
                  </a:cubicBezTo>
                  <a:cubicBezTo>
                    <a:pt x="859" y="1066"/>
                    <a:pt x="863" y="1070"/>
                    <a:pt x="872" y="1070"/>
                  </a:cubicBezTo>
                  <a:cubicBezTo>
                    <a:pt x="880" y="1070"/>
                    <a:pt x="889" y="1066"/>
                    <a:pt x="892" y="1060"/>
                  </a:cubicBezTo>
                  <a:cubicBezTo>
                    <a:pt x="895" y="1054"/>
                    <a:pt x="891" y="1050"/>
                    <a:pt x="882" y="1050"/>
                  </a:cubicBezTo>
                  <a:cubicBezTo>
                    <a:pt x="882" y="1050"/>
                    <a:pt x="882" y="1050"/>
                    <a:pt x="882" y="1050"/>
                  </a:cubicBezTo>
                  <a:moveTo>
                    <a:pt x="1737" y="1049"/>
                  </a:moveTo>
                  <a:cubicBezTo>
                    <a:pt x="1729" y="1049"/>
                    <a:pt x="1721" y="1053"/>
                    <a:pt x="1720" y="1059"/>
                  </a:cubicBezTo>
                  <a:cubicBezTo>
                    <a:pt x="1718" y="1065"/>
                    <a:pt x="1724" y="1069"/>
                    <a:pt x="1732" y="1069"/>
                  </a:cubicBezTo>
                  <a:cubicBezTo>
                    <a:pt x="1741" y="1069"/>
                    <a:pt x="1749" y="1065"/>
                    <a:pt x="1750" y="1059"/>
                  </a:cubicBezTo>
                  <a:cubicBezTo>
                    <a:pt x="1751" y="1053"/>
                    <a:pt x="1746" y="1049"/>
                    <a:pt x="1737" y="1049"/>
                  </a:cubicBezTo>
                  <a:cubicBezTo>
                    <a:pt x="1737" y="1049"/>
                    <a:pt x="1737" y="1049"/>
                    <a:pt x="1737" y="1049"/>
                  </a:cubicBezTo>
                  <a:moveTo>
                    <a:pt x="1780" y="1049"/>
                  </a:moveTo>
                  <a:cubicBezTo>
                    <a:pt x="1772" y="1049"/>
                    <a:pt x="1764" y="1053"/>
                    <a:pt x="1763" y="1059"/>
                  </a:cubicBezTo>
                  <a:cubicBezTo>
                    <a:pt x="1762" y="1065"/>
                    <a:pt x="1767" y="1069"/>
                    <a:pt x="1776" y="1069"/>
                  </a:cubicBezTo>
                  <a:cubicBezTo>
                    <a:pt x="1784" y="1069"/>
                    <a:pt x="1792" y="1064"/>
                    <a:pt x="1793" y="1059"/>
                  </a:cubicBezTo>
                  <a:cubicBezTo>
                    <a:pt x="1794" y="1053"/>
                    <a:pt x="1789" y="1049"/>
                    <a:pt x="1780" y="1049"/>
                  </a:cubicBezTo>
                  <a:cubicBezTo>
                    <a:pt x="1780" y="1049"/>
                    <a:pt x="1780" y="1049"/>
                    <a:pt x="1780" y="1049"/>
                  </a:cubicBezTo>
                  <a:moveTo>
                    <a:pt x="1824" y="1049"/>
                  </a:moveTo>
                  <a:cubicBezTo>
                    <a:pt x="1815" y="1049"/>
                    <a:pt x="1808" y="1053"/>
                    <a:pt x="1806" y="1059"/>
                  </a:cubicBezTo>
                  <a:cubicBezTo>
                    <a:pt x="1805" y="1064"/>
                    <a:pt x="1811" y="1069"/>
                    <a:pt x="1819" y="1069"/>
                  </a:cubicBezTo>
                  <a:cubicBezTo>
                    <a:pt x="1828" y="1069"/>
                    <a:pt x="1835" y="1064"/>
                    <a:pt x="1836" y="1059"/>
                  </a:cubicBezTo>
                  <a:cubicBezTo>
                    <a:pt x="1838" y="1053"/>
                    <a:pt x="1832" y="1049"/>
                    <a:pt x="1824" y="1049"/>
                  </a:cubicBezTo>
                  <a:cubicBezTo>
                    <a:pt x="1824" y="1049"/>
                    <a:pt x="1824" y="1049"/>
                    <a:pt x="1824" y="1049"/>
                  </a:cubicBezTo>
                  <a:moveTo>
                    <a:pt x="1866" y="1048"/>
                  </a:moveTo>
                  <a:cubicBezTo>
                    <a:pt x="1858" y="1048"/>
                    <a:pt x="1850" y="1053"/>
                    <a:pt x="1849" y="1059"/>
                  </a:cubicBezTo>
                  <a:cubicBezTo>
                    <a:pt x="1848" y="1064"/>
                    <a:pt x="1854" y="1069"/>
                    <a:pt x="1862" y="1069"/>
                  </a:cubicBezTo>
                  <a:cubicBezTo>
                    <a:pt x="1870" y="1069"/>
                    <a:pt x="1878" y="1064"/>
                    <a:pt x="1879" y="1059"/>
                  </a:cubicBezTo>
                  <a:cubicBezTo>
                    <a:pt x="1880" y="1053"/>
                    <a:pt x="1875" y="1048"/>
                    <a:pt x="1866" y="1048"/>
                  </a:cubicBezTo>
                  <a:cubicBezTo>
                    <a:pt x="1866" y="1048"/>
                    <a:pt x="1866" y="1048"/>
                    <a:pt x="1866" y="1048"/>
                  </a:cubicBezTo>
                  <a:moveTo>
                    <a:pt x="1909" y="1048"/>
                  </a:moveTo>
                  <a:cubicBezTo>
                    <a:pt x="1901" y="1048"/>
                    <a:pt x="1893" y="1053"/>
                    <a:pt x="1892" y="1059"/>
                  </a:cubicBezTo>
                  <a:cubicBezTo>
                    <a:pt x="1891" y="1064"/>
                    <a:pt x="1897" y="1069"/>
                    <a:pt x="1905" y="1069"/>
                  </a:cubicBezTo>
                  <a:cubicBezTo>
                    <a:pt x="1914" y="1069"/>
                    <a:pt x="1921" y="1064"/>
                    <a:pt x="1922" y="1058"/>
                  </a:cubicBezTo>
                  <a:cubicBezTo>
                    <a:pt x="1923" y="1053"/>
                    <a:pt x="1917" y="1048"/>
                    <a:pt x="1909" y="1048"/>
                  </a:cubicBezTo>
                  <a:cubicBezTo>
                    <a:pt x="1909" y="1048"/>
                    <a:pt x="1909" y="1048"/>
                    <a:pt x="1909" y="1048"/>
                  </a:cubicBezTo>
                  <a:moveTo>
                    <a:pt x="2039" y="1048"/>
                  </a:moveTo>
                  <a:cubicBezTo>
                    <a:pt x="2031" y="1048"/>
                    <a:pt x="2023" y="1052"/>
                    <a:pt x="2022" y="1058"/>
                  </a:cubicBezTo>
                  <a:cubicBezTo>
                    <a:pt x="2022" y="1064"/>
                    <a:pt x="2028" y="1068"/>
                    <a:pt x="2036" y="1068"/>
                  </a:cubicBezTo>
                  <a:cubicBezTo>
                    <a:pt x="2044" y="1068"/>
                    <a:pt x="2052" y="1064"/>
                    <a:pt x="2053" y="1058"/>
                  </a:cubicBezTo>
                  <a:cubicBezTo>
                    <a:pt x="2053" y="1052"/>
                    <a:pt x="2047" y="1048"/>
                    <a:pt x="2039" y="1048"/>
                  </a:cubicBezTo>
                  <a:cubicBezTo>
                    <a:pt x="2039" y="1048"/>
                    <a:pt x="2039" y="1048"/>
                    <a:pt x="2039" y="1048"/>
                  </a:cubicBezTo>
                  <a:moveTo>
                    <a:pt x="2082" y="1048"/>
                  </a:moveTo>
                  <a:cubicBezTo>
                    <a:pt x="2073" y="1048"/>
                    <a:pt x="2066" y="1052"/>
                    <a:pt x="2065" y="1058"/>
                  </a:cubicBezTo>
                  <a:cubicBezTo>
                    <a:pt x="2064" y="1064"/>
                    <a:pt x="2071" y="1068"/>
                    <a:pt x="2079" y="1068"/>
                  </a:cubicBezTo>
                  <a:cubicBezTo>
                    <a:pt x="2087" y="1068"/>
                    <a:pt x="2095" y="1064"/>
                    <a:pt x="2095" y="1058"/>
                  </a:cubicBezTo>
                  <a:cubicBezTo>
                    <a:pt x="2096" y="1052"/>
                    <a:pt x="2090" y="1048"/>
                    <a:pt x="2082" y="1048"/>
                  </a:cubicBezTo>
                  <a:cubicBezTo>
                    <a:pt x="2082" y="1048"/>
                    <a:pt x="2082" y="1048"/>
                    <a:pt x="2082" y="1048"/>
                  </a:cubicBezTo>
                  <a:moveTo>
                    <a:pt x="2125" y="1048"/>
                  </a:moveTo>
                  <a:cubicBezTo>
                    <a:pt x="2116" y="1048"/>
                    <a:pt x="2109" y="1052"/>
                    <a:pt x="2108" y="1058"/>
                  </a:cubicBezTo>
                  <a:cubicBezTo>
                    <a:pt x="2108" y="1063"/>
                    <a:pt x="2114" y="1068"/>
                    <a:pt x="2122" y="1068"/>
                  </a:cubicBezTo>
                  <a:cubicBezTo>
                    <a:pt x="2131" y="1068"/>
                    <a:pt x="2138" y="1063"/>
                    <a:pt x="2138" y="1058"/>
                  </a:cubicBezTo>
                  <a:cubicBezTo>
                    <a:pt x="2139" y="1052"/>
                    <a:pt x="2133" y="1048"/>
                    <a:pt x="2125" y="1048"/>
                  </a:cubicBezTo>
                  <a:cubicBezTo>
                    <a:pt x="2125" y="1048"/>
                    <a:pt x="2125" y="1048"/>
                    <a:pt x="2125" y="1048"/>
                  </a:cubicBezTo>
                  <a:moveTo>
                    <a:pt x="2168" y="1047"/>
                  </a:moveTo>
                  <a:cubicBezTo>
                    <a:pt x="2160" y="1047"/>
                    <a:pt x="2152" y="1052"/>
                    <a:pt x="2152" y="1058"/>
                  </a:cubicBezTo>
                  <a:cubicBezTo>
                    <a:pt x="2151" y="1063"/>
                    <a:pt x="2157" y="1068"/>
                    <a:pt x="2166" y="1068"/>
                  </a:cubicBezTo>
                  <a:cubicBezTo>
                    <a:pt x="2174" y="1068"/>
                    <a:pt x="2181" y="1063"/>
                    <a:pt x="2182" y="1058"/>
                  </a:cubicBezTo>
                  <a:cubicBezTo>
                    <a:pt x="2182" y="1052"/>
                    <a:pt x="2176" y="1047"/>
                    <a:pt x="2168" y="1047"/>
                  </a:cubicBezTo>
                  <a:cubicBezTo>
                    <a:pt x="2168" y="1047"/>
                    <a:pt x="2168" y="1047"/>
                    <a:pt x="2168" y="1047"/>
                  </a:cubicBezTo>
                  <a:moveTo>
                    <a:pt x="2210" y="1047"/>
                  </a:moveTo>
                  <a:cubicBezTo>
                    <a:pt x="2202" y="1047"/>
                    <a:pt x="2195" y="1052"/>
                    <a:pt x="2195" y="1058"/>
                  </a:cubicBezTo>
                  <a:cubicBezTo>
                    <a:pt x="2194" y="1063"/>
                    <a:pt x="2200" y="1068"/>
                    <a:pt x="2209" y="1068"/>
                  </a:cubicBezTo>
                  <a:cubicBezTo>
                    <a:pt x="2217" y="1068"/>
                    <a:pt x="2224" y="1063"/>
                    <a:pt x="2225" y="1057"/>
                  </a:cubicBezTo>
                  <a:cubicBezTo>
                    <a:pt x="2225" y="1052"/>
                    <a:pt x="2219" y="1047"/>
                    <a:pt x="2211" y="1047"/>
                  </a:cubicBezTo>
                  <a:cubicBezTo>
                    <a:pt x="2211" y="1047"/>
                    <a:pt x="2211" y="1047"/>
                    <a:pt x="2210" y="1047"/>
                  </a:cubicBezTo>
                  <a:moveTo>
                    <a:pt x="2253" y="1047"/>
                  </a:moveTo>
                  <a:cubicBezTo>
                    <a:pt x="2245" y="1047"/>
                    <a:pt x="2238" y="1052"/>
                    <a:pt x="2238" y="1057"/>
                  </a:cubicBezTo>
                  <a:cubicBezTo>
                    <a:pt x="2237" y="1063"/>
                    <a:pt x="2244" y="1068"/>
                    <a:pt x="2252" y="1068"/>
                  </a:cubicBezTo>
                  <a:cubicBezTo>
                    <a:pt x="2260" y="1068"/>
                    <a:pt x="2267" y="1063"/>
                    <a:pt x="2268" y="1057"/>
                  </a:cubicBezTo>
                  <a:cubicBezTo>
                    <a:pt x="2268" y="1052"/>
                    <a:pt x="2262" y="1047"/>
                    <a:pt x="2253" y="1047"/>
                  </a:cubicBezTo>
                  <a:cubicBezTo>
                    <a:pt x="2253" y="1047"/>
                    <a:pt x="2253" y="1047"/>
                    <a:pt x="2253" y="1047"/>
                  </a:cubicBezTo>
                  <a:moveTo>
                    <a:pt x="2296" y="1047"/>
                  </a:moveTo>
                  <a:cubicBezTo>
                    <a:pt x="2288" y="1047"/>
                    <a:pt x="2281" y="1052"/>
                    <a:pt x="2280" y="1057"/>
                  </a:cubicBezTo>
                  <a:cubicBezTo>
                    <a:pt x="2280" y="1063"/>
                    <a:pt x="2286" y="1067"/>
                    <a:pt x="2295" y="1067"/>
                  </a:cubicBezTo>
                  <a:cubicBezTo>
                    <a:pt x="2303" y="1067"/>
                    <a:pt x="2310" y="1063"/>
                    <a:pt x="2310" y="1057"/>
                  </a:cubicBezTo>
                  <a:cubicBezTo>
                    <a:pt x="2311" y="1052"/>
                    <a:pt x="2304" y="1047"/>
                    <a:pt x="2296" y="1047"/>
                  </a:cubicBezTo>
                  <a:cubicBezTo>
                    <a:pt x="2296" y="1047"/>
                    <a:pt x="2296" y="1047"/>
                    <a:pt x="2296" y="1047"/>
                  </a:cubicBezTo>
                  <a:moveTo>
                    <a:pt x="2339" y="1047"/>
                  </a:moveTo>
                  <a:cubicBezTo>
                    <a:pt x="2331" y="1047"/>
                    <a:pt x="2324" y="1051"/>
                    <a:pt x="2323" y="1057"/>
                  </a:cubicBezTo>
                  <a:cubicBezTo>
                    <a:pt x="2323" y="1063"/>
                    <a:pt x="2330" y="1067"/>
                    <a:pt x="2338" y="1067"/>
                  </a:cubicBezTo>
                  <a:cubicBezTo>
                    <a:pt x="2346" y="1067"/>
                    <a:pt x="2353" y="1063"/>
                    <a:pt x="2353" y="1057"/>
                  </a:cubicBezTo>
                  <a:cubicBezTo>
                    <a:pt x="2354" y="1051"/>
                    <a:pt x="2347" y="1047"/>
                    <a:pt x="2339" y="1047"/>
                  </a:cubicBezTo>
                  <a:cubicBezTo>
                    <a:pt x="2339" y="1047"/>
                    <a:pt x="2339" y="1047"/>
                    <a:pt x="2339" y="1047"/>
                  </a:cubicBezTo>
                  <a:moveTo>
                    <a:pt x="2382" y="1047"/>
                  </a:moveTo>
                  <a:cubicBezTo>
                    <a:pt x="2374" y="1047"/>
                    <a:pt x="2367" y="1051"/>
                    <a:pt x="2367" y="1057"/>
                  </a:cubicBezTo>
                  <a:cubicBezTo>
                    <a:pt x="2367" y="1063"/>
                    <a:pt x="2373" y="1067"/>
                    <a:pt x="2382" y="1067"/>
                  </a:cubicBezTo>
                  <a:cubicBezTo>
                    <a:pt x="2390" y="1067"/>
                    <a:pt x="2397" y="1063"/>
                    <a:pt x="2397" y="1057"/>
                  </a:cubicBezTo>
                  <a:cubicBezTo>
                    <a:pt x="2397" y="1051"/>
                    <a:pt x="2391" y="1047"/>
                    <a:pt x="2382" y="1047"/>
                  </a:cubicBezTo>
                  <a:cubicBezTo>
                    <a:pt x="2382" y="1047"/>
                    <a:pt x="2382" y="1047"/>
                    <a:pt x="2382" y="1047"/>
                  </a:cubicBezTo>
                  <a:moveTo>
                    <a:pt x="2425" y="1047"/>
                  </a:moveTo>
                  <a:cubicBezTo>
                    <a:pt x="2417" y="1047"/>
                    <a:pt x="2410" y="1051"/>
                    <a:pt x="2410" y="1057"/>
                  </a:cubicBezTo>
                  <a:cubicBezTo>
                    <a:pt x="2410" y="1062"/>
                    <a:pt x="2416" y="1067"/>
                    <a:pt x="2425" y="1067"/>
                  </a:cubicBezTo>
                  <a:cubicBezTo>
                    <a:pt x="2433" y="1067"/>
                    <a:pt x="2440" y="1062"/>
                    <a:pt x="2440" y="1057"/>
                  </a:cubicBezTo>
                  <a:cubicBezTo>
                    <a:pt x="2440" y="1051"/>
                    <a:pt x="2433" y="1047"/>
                    <a:pt x="2425" y="1047"/>
                  </a:cubicBezTo>
                  <a:cubicBezTo>
                    <a:pt x="2425" y="1047"/>
                    <a:pt x="2425" y="1047"/>
                    <a:pt x="2425" y="1047"/>
                  </a:cubicBezTo>
                  <a:moveTo>
                    <a:pt x="2468" y="1046"/>
                  </a:moveTo>
                  <a:cubicBezTo>
                    <a:pt x="2459" y="1046"/>
                    <a:pt x="2453" y="1051"/>
                    <a:pt x="2453" y="1057"/>
                  </a:cubicBezTo>
                  <a:cubicBezTo>
                    <a:pt x="2453" y="1062"/>
                    <a:pt x="2459" y="1067"/>
                    <a:pt x="2468" y="1067"/>
                  </a:cubicBezTo>
                  <a:cubicBezTo>
                    <a:pt x="2476" y="1067"/>
                    <a:pt x="2483" y="1062"/>
                    <a:pt x="2483" y="1057"/>
                  </a:cubicBezTo>
                  <a:cubicBezTo>
                    <a:pt x="2483" y="1051"/>
                    <a:pt x="2476" y="1046"/>
                    <a:pt x="2468" y="1046"/>
                  </a:cubicBezTo>
                  <a:cubicBezTo>
                    <a:pt x="2468" y="1046"/>
                    <a:pt x="2468" y="1046"/>
                    <a:pt x="2468" y="1046"/>
                  </a:cubicBezTo>
                  <a:moveTo>
                    <a:pt x="2510" y="1046"/>
                  </a:moveTo>
                  <a:cubicBezTo>
                    <a:pt x="2502" y="1046"/>
                    <a:pt x="2495" y="1051"/>
                    <a:pt x="2495" y="1057"/>
                  </a:cubicBezTo>
                  <a:cubicBezTo>
                    <a:pt x="2495" y="1062"/>
                    <a:pt x="2502" y="1067"/>
                    <a:pt x="2511" y="1067"/>
                  </a:cubicBezTo>
                  <a:cubicBezTo>
                    <a:pt x="2519" y="1067"/>
                    <a:pt x="2526" y="1062"/>
                    <a:pt x="2525" y="1056"/>
                  </a:cubicBezTo>
                  <a:cubicBezTo>
                    <a:pt x="2525" y="1051"/>
                    <a:pt x="2519" y="1046"/>
                    <a:pt x="2510" y="1046"/>
                  </a:cubicBezTo>
                  <a:cubicBezTo>
                    <a:pt x="2510" y="1046"/>
                    <a:pt x="2510" y="1046"/>
                    <a:pt x="2510" y="1046"/>
                  </a:cubicBezTo>
                  <a:moveTo>
                    <a:pt x="2553" y="1046"/>
                  </a:moveTo>
                  <a:cubicBezTo>
                    <a:pt x="2545" y="1046"/>
                    <a:pt x="2538" y="1051"/>
                    <a:pt x="2538" y="1056"/>
                  </a:cubicBezTo>
                  <a:cubicBezTo>
                    <a:pt x="2539" y="1062"/>
                    <a:pt x="2545" y="1067"/>
                    <a:pt x="2554" y="1067"/>
                  </a:cubicBezTo>
                  <a:cubicBezTo>
                    <a:pt x="2562" y="1067"/>
                    <a:pt x="2569" y="1062"/>
                    <a:pt x="2569" y="1056"/>
                  </a:cubicBezTo>
                  <a:cubicBezTo>
                    <a:pt x="2568" y="1051"/>
                    <a:pt x="2562" y="1046"/>
                    <a:pt x="2553" y="1046"/>
                  </a:cubicBezTo>
                  <a:cubicBezTo>
                    <a:pt x="2553" y="1046"/>
                    <a:pt x="2553" y="1046"/>
                    <a:pt x="2553" y="1046"/>
                  </a:cubicBezTo>
                  <a:moveTo>
                    <a:pt x="2597" y="1046"/>
                  </a:moveTo>
                  <a:cubicBezTo>
                    <a:pt x="2588" y="1046"/>
                    <a:pt x="2582" y="1051"/>
                    <a:pt x="2582" y="1056"/>
                  </a:cubicBezTo>
                  <a:cubicBezTo>
                    <a:pt x="2582" y="1062"/>
                    <a:pt x="2589" y="1066"/>
                    <a:pt x="2597" y="1066"/>
                  </a:cubicBezTo>
                  <a:cubicBezTo>
                    <a:pt x="2606" y="1066"/>
                    <a:pt x="2612" y="1062"/>
                    <a:pt x="2612" y="1056"/>
                  </a:cubicBezTo>
                  <a:cubicBezTo>
                    <a:pt x="2612" y="1051"/>
                    <a:pt x="2605" y="1046"/>
                    <a:pt x="2597" y="1046"/>
                  </a:cubicBezTo>
                  <a:cubicBezTo>
                    <a:pt x="2597" y="1046"/>
                    <a:pt x="2597" y="1046"/>
                    <a:pt x="2597" y="1046"/>
                  </a:cubicBezTo>
                  <a:moveTo>
                    <a:pt x="2639" y="1046"/>
                  </a:moveTo>
                  <a:cubicBezTo>
                    <a:pt x="2631" y="1046"/>
                    <a:pt x="2624" y="1050"/>
                    <a:pt x="2625" y="1056"/>
                  </a:cubicBezTo>
                  <a:cubicBezTo>
                    <a:pt x="2625" y="1062"/>
                    <a:pt x="2632" y="1066"/>
                    <a:pt x="2640" y="1066"/>
                  </a:cubicBezTo>
                  <a:cubicBezTo>
                    <a:pt x="2649" y="1066"/>
                    <a:pt x="2655" y="1062"/>
                    <a:pt x="2655" y="1056"/>
                  </a:cubicBezTo>
                  <a:cubicBezTo>
                    <a:pt x="2654" y="1050"/>
                    <a:pt x="2647" y="1046"/>
                    <a:pt x="2639" y="1046"/>
                  </a:cubicBezTo>
                  <a:cubicBezTo>
                    <a:pt x="2639" y="1046"/>
                    <a:pt x="2639" y="1046"/>
                    <a:pt x="2639" y="1046"/>
                  </a:cubicBezTo>
                  <a:moveTo>
                    <a:pt x="2682" y="1046"/>
                  </a:moveTo>
                  <a:cubicBezTo>
                    <a:pt x="2674" y="1046"/>
                    <a:pt x="2668" y="1050"/>
                    <a:pt x="2668" y="1056"/>
                  </a:cubicBezTo>
                  <a:cubicBezTo>
                    <a:pt x="2668" y="1062"/>
                    <a:pt x="2675" y="1066"/>
                    <a:pt x="2684" y="1066"/>
                  </a:cubicBezTo>
                  <a:cubicBezTo>
                    <a:pt x="2692" y="1066"/>
                    <a:pt x="2699" y="1062"/>
                    <a:pt x="2698" y="1056"/>
                  </a:cubicBezTo>
                  <a:cubicBezTo>
                    <a:pt x="2698" y="1050"/>
                    <a:pt x="2691" y="1046"/>
                    <a:pt x="2682" y="1046"/>
                  </a:cubicBezTo>
                  <a:cubicBezTo>
                    <a:pt x="2682" y="1046"/>
                    <a:pt x="2682" y="1046"/>
                    <a:pt x="2682" y="1046"/>
                  </a:cubicBezTo>
                  <a:moveTo>
                    <a:pt x="2724" y="1046"/>
                  </a:moveTo>
                  <a:cubicBezTo>
                    <a:pt x="2715" y="1046"/>
                    <a:pt x="2709" y="1050"/>
                    <a:pt x="2709" y="1056"/>
                  </a:cubicBezTo>
                  <a:cubicBezTo>
                    <a:pt x="2710" y="1062"/>
                    <a:pt x="2717" y="1066"/>
                    <a:pt x="2725" y="1066"/>
                  </a:cubicBezTo>
                  <a:cubicBezTo>
                    <a:pt x="2734" y="1066"/>
                    <a:pt x="2740" y="1061"/>
                    <a:pt x="2740" y="1056"/>
                  </a:cubicBezTo>
                  <a:cubicBezTo>
                    <a:pt x="2739" y="1050"/>
                    <a:pt x="2732" y="1046"/>
                    <a:pt x="2724" y="1046"/>
                  </a:cubicBezTo>
                  <a:cubicBezTo>
                    <a:pt x="2724" y="1046"/>
                    <a:pt x="2724" y="1046"/>
                    <a:pt x="2724" y="1046"/>
                  </a:cubicBezTo>
                  <a:moveTo>
                    <a:pt x="2767" y="1045"/>
                  </a:moveTo>
                  <a:cubicBezTo>
                    <a:pt x="2759" y="1045"/>
                    <a:pt x="2752" y="1050"/>
                    <a:pt x="2753" y="1056"/>
                  </a:cubicBezTo>
                  <a:cubicBezTo>
                    <a:pt x="2753" y="1061"/>
                    <a:pt x="2761" y="1066"/>
                    <a:pt x="2769" y="1066"/>
                  </a:cubicBezTo>
                  <a:cubicBezTo>
                    <a:pt x="2777" y="1066"/>
                    <a:pt x="2784" y="1061"/>
                    <a:pt x="2783" y="1056"/>
                  </a:cubicBezTo>
                  <a:cubicBezTo>
                    <a:pt x="2782" y="1050"/>
                    <a:pt x="2775" y="1045"/>
                    <a:pt x="2767" y="1045"/>
                  </a:cubicBezTo>
                  <a:cubicBezTo>
                    <a:pt x="2767" y="1045"/>
                    <a:pt x="2767" y="1045"/>
                    <a:pt x="2767" y="1045"/>
                  </a:cubicBezTo>
                  <a:moveTo>
                    <a:pt x="2808" y="1045"/>
                  </a:moveTo>
                  <a:cubicBezTo>
                    <a:pt x="2800" y="1045"/>
                    <a:pt x="2794" y="1050"/>
                    <a:pt x="2794" y="1056"/>
                  </a:cubicBezTo>
                  <a:cubicBezTo>
                    <a:pt x="2795" y="1061"/>
                    <a:pt x="2802" y="1066"/>
                    <a:pt x="2810" y="1066"/>
                  </a:cubicBezTo>
                  <a:cubicBezTo>
                    <a:pt x="2819" y="1066"/>
                    <a:pt x="2825" y="1061"/>
                    <a:pt x="2824" y="1055"/>
                  </a:cubicBezTo>
                  <a:cubicBezTo>
                    <a:pt x="2824" y="1050"/>
                    <a:pt x="2817" y="1045"/>
                    <a:pt x="2808" y="1045"/>
                  </a:cubicBezTo>
                  <a:cubicBezTo>
                    <a:pt x="2808" y="1045"/>
                    <a:pt x="2808" y="1045"/>
                    <a:pt x="2808" y="1045"/>
                  </a:cubicBezTo>
                  <a:moveTo>
                    <a:pt x="2853" y="1045"/>
                  </a:moveTo>
                  <a:cubicBezTo>
                    <a:pt x="2845" y="1045"/>
                    <a:pt x="2839" y="1050"/>
                    <a:pt x="2840" y="1055"/>
                  </a:cubicBezTo>
                  <a:cubicBezTo>
                    <a:pt x="2840" y="1061"/>
                    <a:pt x="2848" y="1066"/>
                    <a:pt x="2856" y="1066"/>
                  </a:cubicBezTo>
                  <a:cubicBezTo>
                    <a:pt x="2864" y="1066"/>
                    <a:pt x="2870" y="1061"/>
                    <a:pt x="2870" y="1055"/>
                  </a:cubicBezTo>
                  <a:cubicBezTo>
                    <a:pt x="2869" y="1050"/>
                    <a:pt x="2862" y="1045"/>
                    <a:pt x="2853" y="1045"/>
                  </a:cubicBezTo>
                  <a:cubicBezTo>
                    <a:pt x="2853" y="1045"/>
                    <a:pt x="2853" y="1045"/>
                    <a:pt x="2853" y="1045"/>
                  </a:cubicBezTo>
                  <a:moveTo>
                    <a:pt x="2897" y="1045"/>
                  </a:moveTo>
                  <a:cubicBezTo>
                    <a:pt x="2888" y="1045"/>
                    <a:pt x="2882" y="1050"/>
                    <a:pt x="2883" y="1055"/>
                  </a:cubicBezTo>
                  <a:cubicBezTo>
                    <a:pt x="2884" y="1061"/>
                    <a:pt x="2891" y="1065"/>
                    <a:pt x="2899" y="1065"/>
                  </a:cubicBezTo>
                  <a:cubicBezTo>
                    <a:pt x="2908" y="1065"/>
                    <a:pt x="2914" y="1061"/>
                    <a:pt x="2913" y="1055"/>
                  </a:cubicBezTo>
                  <a:cubicBezTo>
                    <a:pt x="2912" y="1050"/>
                    <a:pt x="2905" y="1045"/>
                    <a:pt x="2897" y="1045"/>
                  </a:cubicBezTo>
                  <a:cubicBezTo>
                    <a:pt x="2897" y="1045"/>
                    <a:pt x="2897" y="1045"/>
                    <a:pt x="2897" y="1045"/>
                  </a:cubicBezTo>
                  <a:moveTo>
                    <a:pt x="3924" y="1044"/>
                  </a:moveTo>
                  <a:cubicBezTo>
                    <a:pt x="3916" y="1044"/>
                    <a:pt x="3911" y="1049"/>
                    <a:pt x="3914" y="1054"/>
                  </a:cubicBezTo>
                  <a:cubicBezTo>
                    <a:pt x="3917" y="1060"/>
                    <a:pt x="3926" y="1065"/>
                    <a:pt x="3934" y="1065"/>
                  </a:cubicBezTo>
                  <a:cubicBezTo>
                    <a:pt x="3942" y="1065"/>
                    <a:pt x="3947" y="1060"/>
                    <a:pt x="3944" y="1054"/>
                  </a:cubicBezTo>
                  <a:cubicBezTo>
                    <a:pt x="3941" y="1049"/>
                    <a:pt x="3932" y="1044"/>
                    <a:pt x="3924" y="1044"/>
                  </a:cubicBezTo>
                  <a:cubicBezTo>
                    <a:pt x="3924" y="1044"/>
                    <a:pt x="3924" y="1044"/>
                    <a:pt x="3924" y="1044"/>
                  </a:cubicBezTo>
                  <a:moveTo>
                    <a:pt x="3970" y="1044"/>
                  </a:moveTo>
                  <a:cubicBezTo>
                    <a:pt x="3961" y="1044"/>
                    <a:pt x="3957" y="1049"/>
                    <a:pt x="3960" y="1054"/>
                  </a:cubicBezTo>
                  <a:cubicBezTo>
                    <a:pt x="3962" y="1060"/>
                    <a:pt x="3971" y="1065"/>
                    <a:pt x="3980" y="1064"/>
                  </a:cubicBezTo>
                  <a:cubicBezTo>
                    <a:pt x="3988" y="1064"/>
                    <a:pt x="3992" y="1060"/>
                    <a:pt x="3990" y="1054"/>
                  </a:cubicBezTo>
                  <a:cubicBezTo>
                    <a:pt x="3987" y="1048"/>
                    <a:pt x="3978" y="1044"/>
                    <a:pt x="3970" y="1044"/>
                  </a:cubicBezTo>
                  <a:cubicBezTo>
                    <a:pt x="3970" y="1044"/>
                    <a:pt x="3970" y="1044"/>
                    <a:pt x="3970" y="1044"/>
                  </a:cubicBezTo>
                  <a:moveTo>
                    <a:pt x="4266" y="1043"/>
                  </a:moveTo>
                  <a:cubicBezTo>
                    <a:pt x="4258" y="1043"/>
                    <a:pt x="4254" y="1047"/>
                    <a:pt x="4257" y="1053"/>
                  </a:cubicBezTo>
                  <a:cubicBezTo>
                    <a:pt x="4260" y="1059"/>
                    <a:pt x="4270" y="1063"/>
                    <a:pt x="4278" y="1063"/>
                  </a:cubicBezTo>
                  <a:cubicBezTo>
                    <a:pt x="4286" y="1063"/>
                    <a:pt x="4290" y="1059"/>
                    <a:pt x="4287" y="1053"/>
                  </a:cubicBezTo>
                  <a:cubicBezTo>
                    <a:pt x="4284" y="1047"/>
                    <a:pt x="4274" y="1043"/>
                    <a:pt x="4266" y="1043"/>
                  </a:cubicBezTo>
                  <a:cubicBezTo>
                    <a:pt x="4266" y="1043"/>
                    <a:pt x="4266" y="1043"/>
                    <a:pt x="4266" y="1043"/>
                  </a:cubicBezTo>
                  <a:moveTo>
                    <a:pt x="727" y="1023"/>
                  </a:moveTo>
                  <a:cubicBezTo>
                    <a:pt x="718" y="1023"/>
                    <a:pt x="709" y="1028"/>
                    <a:pt x="706" y="1034"/>
                  </a:cubicBezTo>
                  <a:cubicBezTo>
                    <a:pt x="703" y="1039"/>
                    <a:pt x="707" y="1044"/>
                    <a:pt x="715" y="1044"/>
                  </a:cubicBezTo>
                  <a:cubicBezTo>
                    <a:pt x="723" y="1044"/>
                    <a:pt x="732" y="1039"/>
                    <a:pt x="736" y="1033"/>
                  </a:cubicBezTo>
                  <a:cubicBezTo>
                    <a:pt x="739" y="1028"/>
                    <a:pt x="735" y="1023"/>
                    <a:pt x="727" y="1023"/>
                  </a:cubicBezTo>
                  <a:cubicBezTo>
                    <a:pt x="727" y="1023"/>
                    <a:pt x="727" y="1023"/>
                    <a:pt x="727" y="1023"/>
                  </a:cubicBezTo>
                  <a:moveTo>
                    <a:pt x="346" y="1023"/>
                  </a:moveTo>
                  <a:cubicBezTo>
                    <a:pt x="337" y="1023"/>
                    <a:pt x="328" y="1028"/>
                    <a:pt x="324" y="1033"/>
                  </a:cubicBezTo>
                  <a:cubicBezTo>
                    <a:pt x="320" y="1039"/>
                    <a:pt x="323" y="1044"/>
                    <a:pt x="331" y="1044"/>
                  </a:cubicBezTo>
                  <a:cubicBezTo>
                    <a:pt x="340" y="1044"/>
                    <a:pt x="349" y="1039"/>
                    <a:pt x="353" y="1033"/>
                  </a:cubicBezTo>
                  <a:cubicBezTo>
                    <a:pt x="357" y="1028"/>
                    <a:pt x="354" y="1023"/>
                    <a:pt x="346" y="1023"/>
                  </a:cubicBezTo>
                  <a:cubicBezTo>
                    <a:pt x="346" y="1023"/>
                    <a:pt x="346" y="1023"/>
                    <a:pt x="346" y="1023"/>
                  </a:cubicBezTo>
                  <a:moveTo>
                    <a:pt x="769" y="1023"/>
                  </a:moveTo>
                  <a:cubicBezTo>
                    <a:pt x="761" y="1023"/>
                    <a:pt x="751" y="1028"/>
                    <a:pt x="748" y="1033"/>
                  </a:cubicBezTo>
                  <a:cubicBezTo>
                    <a:pt x="745" y="1039"/>
                    <a:pt x="749" y="1044"/>
                    <a:pt x="757" y="1044"/>
                  </a:cubicBezTo>
                  <a:cubicBezTo>
                    <a:pt x="766" y="1044"/>
                    <a:pt x="775" y="1039"/>
                    <a:pt x="778" y="1033"/>
                  </a:cubicBezTo>
                  <a:cubicBezTo>
                    <a:pt x="781" y="1028"/>
                    <a:pt x="777" y="1023"/>
                    <a:pt x="769" y="1023"/>
                  </a:cubicBezTo>
                  <a:cubicBezTo>
                    <a:pt x="769" y="1023"/>
                    <a:pt x="769" y="1023"/>
                    <a:pt x="769" y="1023"/>
                  </a:cubicBezTo>
                  <a:moveTo>
                    <a:pt x="390" y="1023"/>
                  </a:moveTo>
                  <a:cubicBezTo>
                    <a:pt x="382" y="1023"/>
                    <a:pt x="372" y="1028"/>
                    <a:pt x="368" y="1033"/>
                  </a:cubicBezTo>
                  <a:cubicBezTo>
                    <a:pt x="364" y="1039"/>
                    <a:pt x="368" y="1043"/>
                    <a:pt x="376" y="1043"/>
                  </a:cubicBezTo>
                  <a:cubicBezTo>
                    <a:pt x="384" y="1043"/>
                    <a:pt x="394" y="1039"/>
                    <a:pt x="398" y="1033"/>
                  </a:cubicBezTo>
                  <a:cubicBezTo>
                    <a:pt x="402" y="1028"/>
                    <a:pt x="398" y="1023"/>
                    <a:pt x="390" y="1023"/>
                  </a:cubicBezTo>
                  <a:cubicBezTo>
                    <a:pt x="390" y="1023"/>
                    <a:pt x="390" y="1023"/>
                    <a:pt x="390" y="1023"/>
                  </a:cubicBezTo>
                  <a:moveTo>
                    <a:pt x="428" y="1023"/>
                  </a:moveTo>
                  <a:cubicBezTo>
                    <a:pt x="420" y="1023"/>
                    <a:pt x="410" y="1028"/>
                    <a:pt x="407" y="1033"/>
                  </a:cubicBezTo>
                  <a:cubicBezTo>
                    <a:pt x="403" y="1039"/>
                    <a:pt x="406" y="1043"/>
                    <a:pt x="415" y="1043"/>
                  </a:cubicBezTo>
                  <a:cubicBezTo>
                    <a:pt x="423" y="1043"/>
                    <a:pt x="433" y="1039"/>
                    <a:pt x="436" y="1033"/>
                  </a:cubicBezTo>
                  <a:cubicBezTo>
                    <a:pt x="440" y="1028"/>
                    <a:pt x="437" y="1023"/>
                    <a:pt x="428" y="1023"/>
                  </a:cubicBezTo>
                  <a:cubicBezTo>
                    <a:pt x="428" y="1023"/>
                    <a:pt x="428" y="1023"/>
                    <a:pt x="428" y="1023"/>
                  </a:cubicBezTo>
                  <a:moveTo>
                    <a:pt x="471" y="1023"/>
                  </a:moveTo>
                  <a:cubicBezTo>
                    <a:pt x="463" y="1023"/>
                    <a:pt x="453" y="1027"/>
                    <a:pt x="449" y="1033"/>
                  </a:cubicBezTo>
                  <a:cubicBezTo>
                    <a:pt x="445" y="1039"/>
                    <a:pt x="449" y="1043"/>
                    <a:pt x="457" y="1043"/>
                  </a:cubicBezTo>
                  <a:cubicBezTo>
                    <a:pt x="466" y="1043"/>
                    <a:pt x="475" y="1039"/>
                    <a:pt x="479" y="1033"/>
                  </a:cubicBezTo>
                  <a:cubicBezTo>
                    <a:pt x="483" y="1027"/>
                    <a:pt x="479" y="1023"/>
                    <a:pt x="471" y="1023"/>
                  </a:cubicBezTo>
                  <a:cubicBezTo>
                    <a:pt x="471" y="1023"/>
                    <a:pt x="471" y="1023"/>
                    <a:pt x="471" y="1023"/>
                  </a:cubicBezTo>
                  <a:moveTo>
                    <a:pt x="513" y="1023"/>
                  </a:moveTo>
                  <a:cubicBezTo>
                    <a:pt x="505" y="1023"/>
                    <a:pt x="495" y="1027"/>
                    <a:pt x="492" y="1033"/>
                  </a:cubicBezTo>
                  <a:cubicBezTo>
                    <a:pt x="488" y="1038"/>
                    <a:pt x="492" y="1043"/>
                    <a:pt x="500" y="1043"/>
                  </a:cubicBezTo>
                  <a:cubicBezTo>
                    <a:pt x="508" y="1043"/>
                    <a:pt x="518" y="1038"/>
                    <a:pt x="521" y="1033"/>
                  </a:cubicBezTo>
                  <a:cubicBezTo>
                    <a:pt x="525" y="1027"/>
                    <a:pt x="521" y="1023"/>
                    <a:pt x="513" y="1023"/>
                  </a:cubicBezTo>
                  <a:cubicBezTo>
                    <a:pt x="513" y="1023"/>
                    <a:pt x="513" y="1023"/>
                    <a:pt x="513" y="1023"/>
                  </a:cubicBezTo>
                  <a:moveTo>
                    <a:pt x="556" y="1023"/>
                  </a:moveTo>
                  <a:cubicBezTo>
                    <a:pt x="548" y="1023"/>
                    <a:pt x="538" y="1027"/>
                    <a:pt x="534" y="1033"/>
                  </a:cubicBezTo>
                  <a:cubicBezTo>
                    <a:pt x="531" y="1038"/>
                    <a:pt x="535" y="1043"/>
                    <a:pt x="543" y="1043"/>
                  </a:cubicBezTo>
                  <a:cubicBezTo>
                    <a:pt x="551" y="1043"/>
                    <a:pt x="561" y="1038"/>
                    <a:pt x="564" y="1033"/>
                  </a:cubicBezTo>
                  <a:cubicBezTo>
                    <a:pt x="568" y="1027"/>
                    <a:pt x="564" y="1023"/>
                    <a:pt x="556" y="1023"/>
                  </a:cubicBezTo>
                  <a:cubicBezTo>
                    <a:pt x="556" y="1023"/>
                    <a:pt x="556" y="1023"/>
                    <a:pt x="556" y="1023"/>
                  </a:cubicBezTo>
                  <a:moveTo>
                    <a:pt x="600" y="1022"/>
                  </a:moveTo>
                  <a:cubicBezTo>
                    <a:pt x="591" y="1022"/>
                    <a:pt x="582" y="1027"/>
                    <a:pt x="578" y="1033"/>
                  </a:cubicBezTo>
                  <a:cubicBezTo>
                    <a:pt x="575" y="1038"/>
                    <a:pt x="579" y="1043"/>
                    <a:pt x="587" y="1043"/>
                  </a:cubicBezTo>
                  <a:cubicBezTo>
                    <a:pt x="595" y="1043"/>
                    <a:pt x="605" y="1038"/>
                    <a:pt x="608" y="1033"/>
                  </a:cubicBezTo>
                  <a:cubicBezTo>
                    <a:pt x="612" y="1027"/>
                    <a:pt x="608" y="1022"/>
                    <a:pt x="600" y="1022"/>
                  </a:cubicBezTo>
                  <a:cubicBezTo>
                    <a:pt x="600" y="1022"/>
                    <a:pt x="600" y="1022"/>
                    <a:pt x="600" y="1022"/>
                  </a:cubicBezTo>
                  <a:moveTo>
                    <a:pt x="642" y="1022"/>
                  </a:moveTo>
                  <a:cubicBezTo>
                    <a:pt x="634" y="1022"/>
                    <a:pt x="624" y="1027"/>
                    <a:pt x="621" y="1032"/>
                  </a:cubicBezTo>
                  <a:cubicBezTo>
                    <a:pt x="617" y="1038"/>
                    <a:pt x="621" y="1043"/>
                    <a:pt x="630" y="1043"/>
                  </a:cubicBezTo>
                  <a:cubicBezTo>
                    <a:pt x="638" y="1043"/>
                    <a:pt x="647" y="1038"/>
                    <a:pt x="651" y="1032"/>
                  </a:cubicBezTo>
                  <a:cubicBezTo>
                    <a:pt x="654" y="1027"/>
                    <a:pt x="650" y="1022"/>
                    <a:pt x="642" y="1022"/>
                  </a:cubicBezTo>
                  <a:cubicBezTo>
                    <a:pt x="642" y="1022"/>
                    <a:pt x="642" y="1022"/>
                    <a:pt x="642" y="1022"/>
                  </a:cubicBezTo>
                  <a:moveTo>
                    <a:pt x="684" y="1022"/>
                  </a:moveTo>
                  <a:cubicBezTo>
                    <a:pt x="676" y="1022"/>
                    <a:pt x="667" y="1027"/>
                    <a:pt x="664" y="1032"/>
                  </a:cubicBezTo>
                  <a:cubicBezTo>
                    <a:pt x="660" y="1038"/>
                    <a:pt x="664" y="1042"/>
                    <a:pt x="672" y="1042"/>
                  </a:cubicBezTo>
                  <a:cubicBezTo>
                    <a:pt x="681" y="1042"/>
                    <a:pt x="690" y="1038"/>
                    <a:pt x="693" y="1032"/>
                  </a:cubicBezTo>
                  <a:cubicBezTo>
                    <a:pt x="697" y="1027"/>
                    <a:pt x="693" y="1022"/>
                    <a:pt x="685" y="1022"/>
                  </a:cubicBezTo>
                  <a:cubicBezTo>
                    <a:pt x="685" y="1022"/>
                    <a:pt x="684" y="1022"/>
                    <a:pt x="684" y="1022"/>
                  </a:cubicBezTo>
                  <a:moveTo>
                    <a:pt x="1702" y="1020"/>
                  </a:moveTo>
                  <a:cubicBezTo>
                    <a:pt x="1694" y="1020"/>
                    <a:pt x="1686" y="1024"/>
                    <a:pt x="1685" y="1030"/>
                  </a:cubicBezTo>
                  <a:cubicBezTo>
                    <a:pt x="1683" y="1035"/>
                    <a:pt x="1689" y="1040"/>
                    <a:pt x="1697" y="1040"/>
                  </a:cubicBezTo>
                  <a:cubicBezTo>
                    <a:pt x="1705" y="1040"/>
                    <a:pt x="1713" y="1035"/>
                    <a:pt x="1714" y="1030"/>
                  </a:cubicBezTo>
                  <a:cubicBezTo>
                    <a:pt x="1716" y="1024"/>
                    <a:pt x="1710" y="1020"/>
                    <a:pt x="1702" y="1020"/>
                  </a:cubicBezTo>
                  <a:cubicBezTo>
                    <a:pt x="1702" y="1020"/>
                    <a:pt x="1702" y="1020"/>
                    <a:pt x="1702" y="1020"/>
                  </a:cubicBezTo>
                  <a:moveTo>
                    <a:pt x="1744" y="1019"/>
                  </a:moveTo>
                  <a:cubicBezTo>
                    <a:pt x="1736" y="1019"/>
                    <a:pt x="1728" y="1024"/>
                    <a:pt x="1727" y="1030"/>
                  </a:cubicBezTo>
                  <a:cubicBezTo>
                    <a:pt x="1726" y="1035"/>
                    <a:pt x="1731" y="1040"/>
                    <a:pt x="1739" y="1040"/>
                  </a:cubicBezTo>
                  <a:cubicBezTo>
                    <a:pt x="1748" y="1040"/>
                    <a:pt x="1755" y="1035"/>
                    <a:pt x="1757" y="1030"/>
                  </a:cubicBezTo>
                  <a:cubicBezTo>
                    <a:pt x="1758" y="1024"/>
                    <a:pt x="1753" y="1019"/>
                    <a:pt x="1744" y="1019"/>
                  </a:cubicBezTo>
                  <a:cubicBezTo>
                    <a:pt x="1744" y="1019"/>
                    <a:pt x="1744" y="1019"/>
                    <a:pt x="1744" y="1019"/>
                  </a:cubicBezTo>
                  <a:moveTo>
                    <a:pt x="1787" y="1019"/>
                  </a:moveTo>
                  <a:cubicBezTo>
                    <a:pt x="1779" y="1019"/>
                    <a:pt x="1771" y="1024"/>
                    <a:pt x="1770" y="1030"/>
                  </a:cubicBezTo>
                  <a:cubicBezTo>
                    <a:pt x="1768" y="1035"/>
                    <a:pt x="1774" y="1040"/>
                    <a:pt x="1782" y="1040"/>
                  </a:cubicBezTo>
                  <a:cubicBezTo>
                    <a:pt x="1791" y="1040"/>
                    <a:pt x="1798" y="1035"/>
                    <a:pt x="1800" y="1029"/>
                  </a:cubicBezTo>
                  <a:cubicBezTo>
                    <a:pt x="1801" y="1024"/>
                    <a:pt x="1795" y="1019"/>
                    <a:pt x="1787" y="1019"/>
                  </a:cubicBezTo>
                  <a:cubicBezTo>
                    <a:pt x="1787" y="1019"/>
                    <a:pt x="1787" y="1019"/>
                    <a:pt x="1787" y="1019"/>
                  </a:cubicBezTo>
                  <a:moveTo>
                    <a:pt x="1830" y="1019"/>
                  </a:moveTo>
                  <a:cubicBezTo>
                    <a:pt x="1822" y="1019"/>
                    <a:pt x="1814" y="1024"/>
                    <a:pt x="1813" y="1029"/>
                  </a:cubicBezTo>
                  <a:cubicBezTo>
                    <a:pt x="1812" y="1035"/>
                    <a:pt x="1817" y="1040"/>
                    <a:pt x="1826" y="1040"/>
                  </a:cubicBezTo>
                  <a:cubicBezTo>
                    <a:pt x="1834" y="1040"/>
                    <a:pt x="1841" y="1035"/>
                    <a:pt x="1843" y="1029"/>
                  </a:cubicBezTo>
                  <a:cubicBezTo>
                    <a:pt x="1844" y="1024"/>
                    <a:pt x="1838" y="1019"/>
                    <a:pt x="1830" y="1019"/>
                  </a:cubicBezTo>
                  <a:cubicBezTo>
                    <a:pt x="1830" y="1019"/>
                    <a:pt x="1830" y="1019"/>
                    <a:pt x="1830" y="1019"/>
                  </a:cubicBezTo>
                  <a:moveTo>
                    <a:pt x="1872" y="1019"/>
                  </a:moveTo>
                  <a:cubicBezTo>
                    <a:pt x="1864" y="1019"/>
                    <a:pt x="1856" y="1024"/>
                    <a:pt x="1855" y="1029"/>
                  </a:cubicBezTo>
                  <a:cubicBezTo>
                    <a:pt x="1854" y="1035"/>
                    <a:pt x="1860" y="1039"/>
                    <a:pt x="1868" y="1039"/>
                  </a:cubicBezTo>
                  <a:cubicBezTo>
                    <a:pt x="1876" y="1039"/>
                    <a:pt x="1884" y="1035"/>
                    <a:pt x="1885" y="1029"/>
                  </a:cubicBezTo>
                  <a:cubicBezTo>
                    <a:pt x="1886" y="1024"/>
                    <a:pt x="1880" y="1019"/>
                    <a:pt x="1872" y="1019"/>
                  </a:cubicBezTo>
                  <a:cubicBezTo>
                    <a:pt x="1872" y="1019"/>
                    <a:pt x="1872" y="1019"/>
                    <a:pt x="1872" y="1019"/>
                  </a:cubicBezTo>
                  <a:moveTo>
                    <a:pt x="1915" y="1019"/>
                  </a:moveTo>
                  <a:cubicBezTo>
                    <a:pt x="1906" y="1019"/>
                    <a:pt x="1899" y="1023"/>
                    <a:pt x="1898" y="1029"/>
                  </a:cubicBezTo>
                  <a:cubicBezTo>
                    <a:pt x="1897" y="1035"/>
                    <a:pt x="1902" y="1039"/>
                    <a:pt x="1911" y="1039"/>
                  </a:cubicBezTo>
                  <a:cubicBezTo>
                    <a:pt x="1919" y="1039"/>
                    <a:pt x="1927" y="1035"/>
                    <a:pt x="1928" y="1029"/>
                  </a:cubicBezTo>
                  <a:cubicBezTo>
                    <a:pt x="1929" y="1023"/>
                    <a:pt x="1923" y="1019"/>
                    <a:pt x="1915" y="1019"/>
                  </a:cubicBezTo>
                  <a:cubicBezTo>
                    <a:pt x="1915" y="1019"/>
                    <a:pt x="1915" y="1019"/>
                    <a:pt x="1915" y="1019"/>
                  </a:cubicBezTo>
                  <a:moveTo>
                    <a:pt x="1957" y="1019"/>
                  </a:moveTo>
                  <a:cubicBezTo>
                    <a:pt x="1949" y="1019"/>
                    <a:pt x="1941" y="1023"/>
                    <a:pt x="1940" y="1029"/>
                  </a:cubicBezTo>
                  <a:cubicBezTo>
                    <a:pt x="1939" y="1035"/>
                    <a:pt x="1945" y="1039"/>
                    <a:pt x="1953" y="1039"/>
                  </a:cubicBezTo>
                  <a:cubicBezTo>
                    <a:pt x="1962" y="1039"/>
                    <a:pt x="1969" y="1034"/>
                    <a:pt x="1970" y="1029"/>
                  </a:cubicBezTo>
                  <a:cubicBezTo>
                    <a:pt x="1971" y="1023"/>
                    <a:pt x="1965" y="1019"/>
                    <a:pt x="1957" y="1019"/>
                  </a:cubicBezTo>
                  <a:cubicBezTo>
                    <a:pt x="1957" y="1019"/>
                    <a:pt x="1957" y="1019"/>
                    <a:pt x="1957" y="1019"/>
                  </a:cubicBezTo>
                  <a:moveTo>
                    <a:pt x="1999" y="1019"/>
                  </a:moveTo>
                  <a:cubicBezTo>
                    <a:pt x="1991" y="1019"/>
                    <a:pt x="1984" y="1023"/>
                    <a:pt x="1983" y="1029"/>
                  </a:cubicBezTo>
                  <a:cubicBezTo>
                    <a:pt x="1982" y="1034"/>
                    <a:pt x="1988" y="1039"/>
                    <a:pt x="1996" y="1039"/>
                  </a:cubicBezTo>
                  <a:cubicBezTo>
                    <a:pt x="2004" y="1039"/>
                    <a:pt x="2012" y="1034"/>
                    <a:pt x="2013" y="1029"/>
                  </a:cubicBezTo>
                  <a:cubicBezTo>
                    <a:pt x="2013" y="1023"/>
                    <a:pt x="2008" y="1019"/>
                    <a:pt x="1999" y="1019"/>
                  </a:cubicBezTo>
                  <a:cubicBezTo>
                    <a:pt x="1999" y="1019"/>
                    <a:pt x="1999" y="1019"/>
                    <a:pt x="1999" y="1019"/>
                  </a:cubicBezTo>
                  <a:moveTo>
                    <a:pt x="2043" y="1018"/>
                  </a:moveTo>
                  <a:cubicBezTo>
                    <a:pt x="2035" y="1018"/>
                    <a:pt x="2028" y="1023"/>
                    <a:pt x="2027" y="1029"/>
                  </a:cubicBezTo>
                  <a:cubicBezTo>
                    <a:pt x="2026" y="1034"/>
                    <a:pt x="2032" y="1039"/>
                    <a:pt x="2040" y="1039"/>
                  </a:cubicBezTo>
                  <a:cubicBezTo>
                    <a:pt x="2048" y="1039"/>
                    <a:pt x="2056" y="1034"/>
                    <a:pt x="2057" y="1029"/>
                  </a:cubicBezTo>
                  <a:cubicBezTo>
                    <a:pt x="2057" y="1023"/>
                    <a:pt x="2051" y="1018"/>
                    <a:pt x="2043" y="1018"/>
                  </a:cubicBezTo>
                  <a:cubicBezTo>
                    <a:pt x="2043" y="1018"/>
                    <a:pt x="2043" y="1018"/>
                    <a:pt x="2043" y="1018"/>
                  </a:cubicBezTo>
                  <a:moveTo>
                    <a:pt x="2085" y="1018"/>
                  </a:moveTo>
                  <a:cubicBezTo>
                    <a:pt x="2077" y="1018"/>
                    <a:pt x="2070" y="1023"/>
                    <a:pt x="2069" y="1029"/>
                  </a:cubicBezTo>
                  <a:cubicBezTo>
                    <a:pt x="2068" y="1034"/>
                    <a:pt x="2074" y="1039"/>
                    <a:pt x="2083" y="1039"/>
                  </a:cubicBezTo>
                  <a:cubicBezTo>
                    <a:pt x="2091" y="1039"/>
                    <a:pt x="2098" y="1034"/>
                    <a:pt x="2099" y="1028"/>
                  </a:cubicBezTo>
                  <a:cubicBezTo>
                    <a:pt x="2100" y="1023"/>
                    <a:pt x="2094" y="1018"/>
                    <a:pt x="2085" y="1018"/>
                  </a:cubicBezTo>
                  <a:cubicBezTo>
                    <a:pt x="2085" y="1018"/>
                    <a:pt x="2085" y="1018"/>
                    <a:pt x="2085" y="1018"/>
                  </a:cubicBezTo>
                  <a:moveTo>
                    <a:pt x="2128" y="1018"/>
                  </a:moveTo>
                  <a:cubicBezTo>
                    <a:pt x="2120" y="1018"/>
                    <a:pt x="2112" y="1023"/>
                    <a:pt x="2112" y="1028"/>
                  </a:cubicBezTo>
                  <a:cubicBezTo>
                    <a:pt x="2111" y="1034"/>
                    <a:pt x="2117" y="1039"/>
                    <a:pt x="2126" y="1039"/>
                  </a:cubicBezTo>
                  <a:cubicBezTo>
                    <a:pt x="2134" y="1038"/>
                    <a:pt x="2141" y="1034"/>
                    <a:pt x="2142" y="1028"/>
                  </a:cubicBezTo>
                  <a:cubicBezTo>
                    <a:pt x="2142" y="1023"/>
                    <a:pt x="2136" y="1018"/>
                    <a:pt x="2128" y="1018"/>
                  </a:cubicBezTo>
                  <a:cubicBezTo>
                    <a:pt x="2128" y="1018"/>
                    <a:pt x="2128" y="1018"/>
                    <a:pt x="2128" y="1018"/>
                  </a:cubicBezTo>
                  <a:moveTo>
                    <a:pt x="2171" y="1018"/>
                  </a:moveTo>
                  <a:cubicBezTo>
                    <a:pt x="2163" y="1018"/>
                    <a:pt x="2155" y="1023"/>
                    <a:pt x="2155" y="1028"/>
                  </a:cubicBezTo>
                  <a:cubicBezTo>
                    <a:pt x="2154" y="1034"/>
                    <a:pt x="2161" y="1038"/>
                    <a:pt x="2169" y="1038"/>
                  </a:cubicBezTo>
                  <a:cubicBezTo>
                    <a:pt x="2177" y="1038"/>
                    <a:pt x="2184" y="1034"/>
                    <a:pt x="2185" y="1028"/>
                  </a:cubicBezTo>
                  <a:cubicBezTo>
                    <a:pt x="2185" y="1022"/>
                    <a:pt x="2179" y="1018"/>
                    <a:pt x="2171" y="1018"/>
                  </a:cubicBezTo>
                  <a:cubicBezTo>
                    <a:pt x="2171" y="1018"/>
                    <a:pt x="2171" y="1018"/>
                    <a:pt x="2171" y="1018"/>
                  </a:cubicBezTo>
                  <a:moveTo>
                    <a:pt x="2213" y="1018"/>
                  </a:moveTo>
                  <a:cubicBezTo>
                    <a:pt x="2205" y="1018"/>
                    <a:pt x="2198" y="1022"/>
                    <a:pt x="2197" y="1028"/>
                  </a:cubicBezTo>
                  <a:cubicBezTo>
                    <a:pt x="2197" y="1034"/>
                    <a:pt x="2203" y="1038"/>
                    <a:pt x="2211" y="1038"/>
                  </a:cubicBezTo>
                  <a:cubicBezTo>
                    <a:pt x="2220" y="1038"/>
                    <a:pt x="2227" y="1034"/>
                    <a:pt x="2227" y="1028"/>
                  </a:cubicBezTo>
                  <a:cubicBezTo>
                    <a:pt x="2228" y="1022"/>
                    <a:pt x="2221" y="1018"/>
                    <a:pt x="2213" y="1018"/>
                  </a:cubicBezTo>
                  <a:cubicBezTo>
                    <a:pt x="2213" y="1018"/>
                    <a:pt x="2213" y="1018"/>
                    <a:pt x="2213" y="1018"/>
                  </a:cubicBezTo>
                  <a:moveTo>
                    <a:pt x="2255" y="1018"/>
                  </a:moveTo>
                  <a:cubicBezTo>
                    <a:pt x="2247" y="1018"/>
                    <a:pt x="2240" y="1022"/>
                    <a:pt x="2240" y="1028"/>
                  </a:cubicBezTo>
                  <a:cubicBezTo>
                    <a:pt x="2239" y="1034"/>
                    <a:pt x="2246" y="1038"/>
                    <a:pt x="2254" y="1038"/>
                  </a:cubicBezTo>
                  <a:cubicBezTo>
                    <a:pt x="2262" y="1038"/>
                    <a:pt x="2269" y="1033"/>
                    <a:pt x="2270" y="1028"/>
                  </a:cubicBezTo>
                  <a:cubicBezTo>
                    <a:pt x="2270" y="1022"/>
                    <a:pt x="2264" y="1018"/>
                    <a:pt x="2256" y="1018"/>
                  </a:cubicBezTo>
                  <a:cubicBezTo>
                    <a:pt x="2256" y="1018"/>
                    <a:pt x="2255" y="1018"/>
                    <a:pt x="2255" y="1018"/>
                  </a:cubicBezTo>
                  <a:moveTo>
                    <a:pt x="2298" y="1017"/>
                  </a:moveTo>
                  <a:cubicBezTo>
                    <a:pt x="2289" y="1018"/>
                    <a:pt x="2283" y="1022"/>
                    <a:pt x="2282" y="1028"/>
                  </a:cubicBezTo>
                  <a:cubicBezTo>
                    <a:pt x="2282" y="1033"/>
                    <a:pt x="2288" y="1038"/>
                    <a:pt x="2296" y="1038"/>
                  </a:cubicBezTo>
                  <a:cubicBezTo>
                    <a:pt x="2305" y="1038"/>
                    <a:pt x="2312" y="1033"/>
                    <a:pt x="2312" y="1028"/>
                  </a:cubicBezTo>
                  <a:cubicBezTo>
                    <a:pt x="2312" y="1022"/>
                    <a:pt x="2306" y="1017"/>
                    <a:pt x="2298" y="1017"/>
                  </a:cubicBezTo>
                  <a:cubicBezTo>
                    <a:pt x="2298" y="1017"/>
                    <a:pt x="2298" y="1017"/>
                    <a:pt x="2298" y="1017"/>
                  </a:cubicBezTo>
                  <a:moveTo>
                    <a:pt x="2340" y="1017"/>
                  </a:moveTo>
                  <a:cubicBezTo>
                    <a:pt x="2332" y="1017"/>
                    <a:pt x="2325" y="1022"/>
                    <a:pt x="2325" y="1028"/>
                  </a:cubicBezTo>
                  <a:cubicBezTo>
                    <a:pt x="2325" y="1033"/>
                    <a:pt x="2331" y="1038"/>
                    <a:pt x="2339" y="1038"/>
                  </a:cubicBezTo>
                  <a:cubicBezTo>
                    <a:pt x="2348" y="1038"/>
                    <a:pt x="2354" y="1033"/>
                    <a:pt x="2355" y="1028"/>
                  </a:cubicBezTo>
                  <a:cubicBezTo>
                    <a:pt x="2355" y="1022"/>
                    <a:pt x="2348" y="1017"/>
                    <a:pt x="2340" y="1017"/>
                  </a:cubicBezTo>
                  <a:cubicBezTo>
                    <a:pt x="2340" y="1017"/>
                    <a:pt x="2340" y="1017"/>
                    <a:pt x="2340" y="1017"/>
                  </a:cubicBezTo>
                  <a:moveTo>
                    <a:pt x="2383" y="1017"/>
                  </a:moveTo>
                  <a:cubicBezTo>
                    <a:pt x="2375" y="1017"/>
                    <a:pt x="2368" y="1022"/>
                    <a:pt x="2368" y="1027"/>
                  </a:cubicBezTo>
                  <a:cubicBezTo>
                    <a:pt x="2368" y="1033"/>
                    <a:pt x="2374" y="1038"/>
                    <a:pt x="2383" y="1038"/>
                  </a:cubicBezTo>
                  <a:cubicBezTo>
                    <a:pt x="2391" y="1038"/>
                    <a:pt x="2398" y="1033"/>
                    <a:pt x="2398" y="1027"/>
                  </a:cubicBezTo>
                  <a:cubicBezTo>
                    <a:pt x="2398" y="1022"/>
                    <a:pt x="2391" y="1017"/>
                    <a:pt x="2383" y="1017"/>
                  </a:cubicBezTo>
                  <a:cubicBezTo>
                    <a:pt x="2383" y="1017"/>
                    <a:pt x="2383" y="1017"/>
                    <a:pt x="2383" y="1017"/>
                  </a:cubicBezTo>
                  <a:moveTo>
                    <a:pt x="2425" y="1017"/>
                  </a:moveTo>
                  <a:cubicBezTo>
                    <a:pt x="2417" y="1017"/>
                    <a:pt x="2410" y="1022"/>
                    <a:pt x="2410" y="1027"/>
                  </a:cubicBezTo>
                  <a:cubicBezTo>
                    <a:pt x="2410" y="1033"/>
                    <a:pt x="2417" y="1038"/>
                    <a:pt x="2425" y="1037"/>
                  </a:cubicBezTo>
                  <a:cubicBezTo>
                    <a:pt x="2433" y="1037"/>
                    <a:pt x="2440" y="1033"/>
                    <a:pt x="2440" y="1027"/>
                  </a:cubicBezTo>
                  <a:cubicBezTo>
                    <a:pt x="2440" y="1022"/>
                    <a:pt x="2434" y="1017"/>
                    <a:pt x="2425" y="1017"/>
                  </a:cubicBezTo>
                  <a:cubicBezTo>
                    <a:pt x="2425" y="1017"/>
                    <a:pt x="2425" y="1017"/>
                    <a:pt x="2425" y="1017"/>
                  </a:cubicBezTo>
                  <a:moveTo>
                    <a:pt x="2468" y="1017"/>
                  </a:moveTo>
                  <a:cubicBezTo>
                    <a:pt x="2460" y="1017"/>
                    <a:pt x="2453" y="1022"/>
                    <a:pt x="2453" y="1027"/>
                  </a:cubicBezTo>
                  <a:cubicBezTo>
                    <a:pt x="2453" y="1033"/>
                    <a:pt x="2459" y="1037"/>
                    <a:pt x="2468" y="1037"/>
                  </a:cubicBezTo>
                  <a:cubicBezTo>
                    <a:pt x="2476" y="1037"/>
                    <a:pt x="2483" y="1033"/>
                    <a:pt x="2483" y="1027"/>
                  </a:cubicBezTo>
                  <a:cubicBezTo>
                    <a:pt x="2483" y="1021"/>
                    <a:pt x="2476" y="1017"/>
                    <a:pt x="2468" y="1017"/>
                  </a:cubicBezTo>
                  <a:cubicBezTo>
                    <a:pt x="2468" y="1017"/>
                    <a:pt x="2468" y="1017"/>
                    <a:pt x="2468" y="1017"/>
                  </a:cubicBezTo>
                  <a:moveTo>
                    <a:pt x="2510" y="1017"/>
                  </a:moveTo>
                  <a:cubicBezTo>
                    <a:pt x="2502" y="1017"/>
                    <a:pt x="2495" y="1021"/>
                    <a:pt x="2495" y="1027"/>
                  </a:cubicBezTo>
                  <a:cubicBezTo>
                    <a:pt x="2495" y="1033"/>
                    <a:pt x="2502" y="1037"/>
                    <a:pt x="2510" y="1037"/>
                  </a:cubicBezTo>
                  <a:cubicBezTo>
                    <a:pt x="2518" y="1037"/>
                    <a:pt x="2525" y="1033"/>
                    <a:pt x="2525" y="1027"/>
                  </a:cubicBezTo>
                  <a:cubicBezTo>
                    <a:pt x="2525" y="1021"/>
                    <a:pt x="2518" y="1017"/>
                    <a:pt x="2510" y="1017"/>
                  </a:cubicBezTo>
                  <a:cubicBezTo>
                    <a:pt x="2510" y="1017"/>
                    <a:pt x="2510" y="1017"/>
                    <a:pt x="2510" y="1017"/>
                  </a:cubicBezTo>
                  <a:moveTo>
                    <a:pt x="2552" y="1017"/>
                  </a:moveTo>
                  <a:cubicBezTo>
                    <a:pt x="2544" y="1017"/>
                    <a:pt x="2538" y="1021"/>
                    <a:pt x="2538" y="1027"/>
                  </a:cubicBezTo>
                  <a:cubicBezTo>
                    <a:pt x="2538" y="1033"/>
                    <a:pt x="2545" y="1037"/>
                    <a:pt x="2553" y="1037"/>
                  </a:cubicBezTo>
                  <a:cubicBezTo>
                    <a:pt x="2561" y="1037"/>
                    <a:pt x="2568" y="1032"/>
                    <a:pt x="2568" y="1027"/>
                  </a:cubicBezTo>
                  <a:cubicBezTo>
                    <a:pt x="2567" y="1021"/>
                    <a:pt x="2561" y="1017"/>
                    <a:pt x="2553" y="1017"/>
                  </a:cubicBezTo>
                  <a:cubicBezTo>
                    <a:pt x="2553" y="1017"/>
                    <a:pt x="2552" y="1017"/>
                    <a:pt x="2552" y="1017"/>
                  </a:cubicBezTo>
                  <a:moveTo>
                    <a:pt x="2595" y="1016"/>
                  </a:moveTo>
                  <a:cubicBezTo>
                    <a:pt x="2587" y="1016"/>
                    <a:pt x="2581" y="1021"/>
                    <a:pt x="2581" y="1027"/>
                  </a:cubicBezTo>
                  <a:cubicBezTo>
                    <a:pt x="2581" y="1032"/>
                    <a:pt x="2588" y="1037"/>
                    <a:pt x="2596" y="1037"/>
                  </a:cubicBezTo>
                  <a:cubicBezTo>
                    <a:pt x="2604" y="1037"/>
                    <a:pt x="2611" y="1032"/>
                    <a:pt x="2611" y="1027"/>
                  </a:cubicBezTo>
                  <a:cubicBezTo>
                    <a:pt x="2610" y="1021"/>
                    <a:pt x="2604" y="1016"/>
                    <a:pt x="2595" y="1016"/>
                  </a:cubicBezTo>
                  <a:cubicBezTo>
                    <a:pt x="2595" y="1016"/>
                    <a:pt x="2595" y="1016"/>
                    <a:pt x="2595" y="1016"/>
                  </a:cubicBezTo>
                  <a:moveTo>
                    <a:pt x="2638" y="1016"/>
                  </a:moveTo>
                  <a:cubicBezTo>
                    <a:pt x="2629" y="1016"/>
                    <a:pt x="2623" y="1021"/>
                    <a:pt x="2623" y="1027"/>
                  </a:cubicBezTo>
                  <a:cubicBezTo>
                    <a:pt x="2623" y="1032"/>
                    <a:pt x="2630" y="1037"/>
                    <a:pt x="2639" y="1037"/>
                  </a:cubicBezTo>
                  <a:cubicBezTo>
                    <a:pt x="2647" y="1037"/>
                    <a:pt x="2653" y="1032"/>
                    <a:pt x="2653" y="1026"/>
                  </a:cubicBezTo>
                  <a:cubicBezTo>
                    <a:pt x="2653" y="1021"/>
                    <a:pt x="2646" y="1016"/>
                    <a:pt x="2638" y="1016"/>
                  </a:cubicBezTo>
                  <a:cubicBezTo>
                    <a:pt x="2638" y="1016"/>
                    <a:pt x="2638" y="1016"/>
                    <a:pt x="2638" y="1016"/>
                  </a:cubicBezTo>
                  <a:moveTo>
                    <a:pt x="2680" y="1016"/>
                  </a:moveTo>
                  <a:cubicBezTo>
                    <a:pt x="2672" y="1016"/>
                    <a:pt x="2666" y="1021"/>
                    <a:pt x="2666" y="1026"/>
                  </a:cubicBezTo>
                  <a:cubicBezTo>
                    <a:pt x="2667" y="1032"/>
                    <a:pt x="2674" y="1037"/>
                    <a:pt x="2682" y="1037"/>
                  </a:cubicBezTo>
                  <a:cubicBezTo>
                    <a:pt x="2690" y="1037"/>
                    <a:pt x="2696" y="1032"/>
                    <a:pt x="2696" y="1026"/>
                  </a:cubicBezTo>
                  <a:cubicBezTo>
                    <a:pt x="2696" y="1021"/>
                    <a:pt x="2689" y="1016"/>
                    <a:pt x="2680" y="1016"/>
                  </a:cubicBezTo>
                  <a:cubicBezTo>
                    <a:pt x="2680" y="1016"/>
                    <a:pt x="2680" y="1016"/>
                    <a:pt x="2680" y="1016"/>
                  </a:cubicBezTo>
                  <a:moveTo>
                    <a:pt x="2721" y="1016"/>
                  </a:moveTo>
                  <a:cubicBezTo>
                    <a:pt x="2713" y="1016"/>
                    <a:pt x="2707" y="1021"/>
                    <a:pt x="2707" y="1026"/>
                  </a:cubicBezTo>
                  <a:cubicBezTo>
                    <a:pt x="2708" y="1032"/>
                    <a:pt x="2715" y="1036"/>
                    <a:pt x="2723" y="1036"/>
                  </a:cubicBezTo>
                  <a:cubicBezTo>
                    <a:pt x="2731" y="1036"/>
                    <a:pt x="2737" y="1032"/>
                    <a:pt x="2737" y="1026"/>
                  </a:cubicBezTo>
                  <a:cubicBezTo>
                    <a:pt x="2737" y="1021"/>
                    <a:pt x="2730" y="1016"/>
                    <a:pt x="2721" y="1016"/>
                  </a:cubicBezTo>
                  <a:cubicBezTo>
                    <a:pt x="2721" y="1016"/>
                    <a:pt x="2721" y="1016"/>
                    <a:pt x="2721" y="1016"/>
                  </a:cubicBezTo>
                  <a:moveTo>
                    <a:pt x="2764" y="1016"/>
                  </a:moveTo>
                  <a:cubicBezTo>
                    <a:pt x="2756" y="1016"/>
                    <a:pt x="2750" y="1020"/>
                    <a:pt x="2750" y="1026"/>
                  </a:cubicBezTo>
                  <a:cubicBezTo>
                    <a:pt x="2751" y="1032"/>
                    <a:pt x="2758" y="1036"/>
                    <a:pt x="2766" y="1036"/>
                  </a:cubicBezTo>
                  <a:cubicBezTo>
                    <a:pt x="2774" y="1036"/>
                    <a:pt x="2781" y="1032"/>
                    <a:pt x="2780" y="1026"/>
                  </a:cubicBezTo>
                  <a:cubicBezTo>
                    <a:pt x="2779" y="1020"/>
                    <a:pt x="2772" y="1016"/>
                    <a:pt x="2764" y="1016"/>
                  </a:cubicBezTo>
                  <a:cubicBezTo>
                    <a:pt x="2764" y="1016"/>
                    <a:pt x="2764" y="1016"/>
                    <a:pt x="2764" y="1016"/>
                  </a:cubicBezTo>
                  <a:moveTo>
                    <a:pt x="2805" y="1016"/>
                  </a:moveTo>
                  <a:cubicBezTo>
                    <a:pt x="2797" y="1016"/>
                    <a:pt x="2791" y="1020"/>
                    <a:pt x="2791" y="1026"/>
                  </a:cubicBezTo>
                  <a:cubicBezTo>
                    <a:pt x="2792" y="1032"/>
                    <a:pt x="2799" y="1036"/>
                    <a:pt x="2807" y="1036"/>
                  </a:cubicBezTo>
                  <a:cubicBezTo>
                    <a:pt x="2815" y="1036"/>
                    <a:pt x="2822" y="1032"/>
                    <a:pt x="2821" y="1026"/>
                  </a:cubicBezTo>
                  <a:cubicBezTo>
                    <a:pt x="2820" y="1020"/>
                    <a:pt x="2813" y="1016"/>
                    <a:pt x="2805" y="1016"/>
                  </a:cubicBezTo>
                  <a:cubicBezTo>
                    <a:pt x="2805" y="1016"/>
                    <a:pt x="2805" y="1016"/>
                    <a:pt x="2805" y="1016"/>
                  </a:cubicBezTo>
                  <a:moveTo>
                    <a:pt x="2850" y="1016"/>
                  </a:moveTo>
                  <a:cubicBezTo>
                    <a:pt x="2842" y="1016"/>
                    <a:pt x="2835" y="1020"/>
                    <a:pt x="2836" y="1026"/>
                  </a:cubicBezTo>
                  <a:cubicBezTo>
                    <a:pt x="2837" y="1031"/>
                    <a:pt x="2844" y="1036"/>
                    <a:pt x="2852" y="1036"/>
                  </a:cubicBezTo>
                  <a:cubicBezTo>
                    <a:pt x="2861" y="1036"/>
                    <a:pt x="2867" y="1031"/>
                    <a:pt x="2866" y="1026"/>
                  </a:cubicBezTo>
                  <a:cubicBezTo>
                    <a:pt x="2865" y="1020"/>
                    <a:pt x="2858" y="1016"/>
                    <a:pt x="2850" y="1016"/>
                  </a:cubicBezTo>
                  <a:cubicBezTo>
                    <a:pt x="2850" y="1016"/>
                    <a:pt x="2850" y="1016"/>
                    <a:pt x="2850" y="1016"/>
                  </a:cubicBezTo>
                  <a:moveTo>
                    <a:pt x="2893" y="1015"/>
                  </a:moveTo>
                  <a:cubicBezTo>
                    <a:pt x="2884" y="1015"/>
                    <a:pt x="2878" y="1020"/>
                    <a:pt x="2879" y="1026"/>
                  </a:cubicBezTo>
                  <a:cubicBezTo>
                    <a:pt x="2880" y="1031"/>
                    <a:pt x="2887" y="1036"/>
                    <a:pt x="2895" y="1036"/>
                  </a:cubicBezTo>
                  <a:cubicBezTo>
                    <a:pt x="2904" y="1036"/>
                    <a:pt x="2910" y="1031"/>
                    <a:pt x="2909" y="1026"/>
                  </a:cubicBezTo>
                  <a:cubicBezTo>
                    <a:pt x="2908" y="1020"/>
                    <a:pt x="2901" y="1015"/>
                    <a:pt x="2893" y="1015"/>
                  </a:cubicBezTo>
                  <a:cubicBezTo>
                    <a:pt x="2893" y="1015"/>
                    <a:pt x="2893" y="1015"/>
                    <a:pt x="2893" y="1015"/>
                  </a:cubicBezTo>
                  <a:moveTo>
                    <a:pt x="3527" y="1015"/>
                  </a:moveTo>
                  <a:cubicBezTo>
                    <a:pt x="3518" y="1015"/>
                    <a:pt x="3513" y="1020"/>
                    <a:pt x="3515" y="1025"/>
                  </a:cubicBezTo>
                  <a:cubicBezTo>
                    <a:pt x="3517" y="1031"/>
                    <a:pt x="3526" y="1035"/>
                    <a:pt x="3534" y="1035"/>
                  </a:cubicBezTo>
                  <a:cubicBezTo>
                    <a:pt x="3542" y="1035"/>
                    <a:pt x="3547" y="1031"/>
                    <a:pt x="3545" y="1025"/>
                  </a:cubicBezTo>
                  <a:cubicBezTo>
                    <a:pt x="3543" y="1019"/>
                    <a:pt x="3535" y="1015"/>
                    <a:pt x="3527" y="1015"/>
                  </a:cubicBezTo>
                  <a:cubicBezTo>
                    <a:pt x="3527" y="1015"/>
                    <a:pt x="3527" y="1015"/>
                    <a:pt x="3527" y="1015"/>
                  </a:cubicBezTo>
                  <a:moveTo>
                    <a:pt x="3910" y="1014"/>
                  </a:moveTo>
                  <a:cubicBezTo>
                    <a:pt x="3902" y="1014"/>
                    <a:pt x="3897" y="1019"/>
                    <a:pt x="3900" y="1025"/>
                  </a:cubicBezTo>
                  <a:cubicBezTo>
                    <a:pt x="3903" y="1030"/>
                    <a:pt x="3912" y="1035"/>
                    <a:pt x="3920" y="1035"/>
                  </a:cubicBezTo>
                  <a:cubicBezTo>
                    <a:pt x="3928" y="1035"/>
                    <a:pt x="3933" y="1030"/>
                    <a:pt x="3930" y="1025"/>
                  </a:cubicBezTo>
                  <a:cubicBezTo>
                    <a:pt x="3927" y="1019"/>
                    <a:pt x="3918" y="1014"/>
                    <a:pt x="3910" y="1014"/>
                  </a:cubicBezTo>
                  <a:cubicBezTo>
                    <a:pt x="3910" y="1014"/>
                    <a:pt x="3910" y="1014"/>
                    <a:pt x="3910" y="1014"/>
                  </a:cubicBezTo>
                  <a:moveTo>
                    <a:pt x="4376" y="1010"/>
                  </a:moveTo>
                  <a:cubicBezTo>
                    <a:pt x="4368" y="1010"/>
                    <a:pt x="4364" y="1015"/>
                    <a:pt x="4367" y="1021"/>
                  </a:cubicBezTo>
                  <a:cubicBezTo>
                    <a:pt x="4371" y="1026"/>
                    <a:pt x="4380" y="1031"/>
                    <a:pt x="4389" y="1031"/>
                  </a:cubicBezTo>
                  <a:cubicBezTo>
                    <a:pt x="4397" y="1031"/>
                    <a:pt x="4401" y="1026"/>
                    <a:pt x="4397" y="1021"/>
                  </a:cubicBezTo>
                  <a:cubicBezTo>
                    <a:pt x="4394" y="1015"/>
                    <a:pt x="4384" y="1010"/>
                    <a:pt x="4376" y="1010"/>
                  </a:cubicBezTo>
                  <a:cubicBezTo>
                    <a:pt x="4376" y="1010"/>
                    <a:pt x="4376" y="1010"/>
                    <a:pt x="4376" y="1010"/>
                  </a:cubicBezTo>
                  <a:moveTo>
                    <a:pt x="4412" y="1010"/>
                  </a:moveTo>
                  <a:cubicBezTo>
                    <a:pt x="4404" y="1010"/>
                    <a:pt x="4400" y="1015"/>
                    <a:pt x="4404" y="1021"/>
                  </a:cubicBezTo>
                  <a:cubicBezTo>
                    <a:pt x="4408" y="1026"/>
                    <a:pt x="4417" y="1031"/>
                    <a:pt x="4425" y="1031"/>
                  </a:cubicBezTo>
                  <a:cubicBezTo>
                    <a:pt x="4434" y="1031"/>
                    <a:pt x="4437" y="1026"/>
                    <a:pt x="4434" y="1020"/>
                  </a:cubicBezTo>
                  <a:cubicBezTo>
                    <a:pt x="4430" y="1015"/>
                    <a:pt x="4420" y="1010"/>
                    <a:pt x="4412" y="1010"/>
                  </a:cubicBezTo>
                  <a:cubicBezTo>
                    <a:pt x="4412" y="1010"/>
                    <a:pt x="4412" y="1010"/>
                    <a:pt x="4412" y="1010"/>
                  </a:cubicBezTo>
                  <a:moveTo>
                    <a:pt x="321" y="996"/>
                  </a:moveTo>
                  <a:cubicBezTo>
                    <a:pt x="313" y="996"/>
                    <a:pt x="303" y="1001"/>
                    <a:pt x="299" y="1006"/>
                  </a:cubicBezTo>
                  <a:cubicBezTo>
                    <a:pt x="295" y="1012"/>
                    <a:pt x="299" y="1017"/>
                    <a:pt x="307" y="1017"/>
                  </a:cubicBezTo>
                  <a:cubicBezTo>
                    <a:pt x="315" y="1016"/>
                    <a:pt x="325" y="1012"/>
                    <a:pt x="329" y="1006"/>
                  </a:cubicBezTo>
                  <a:cubicBezTo>
                    <a:pt x="333" y="1001"/>
                    <a:pt x="330" y="996"/>
                    <a:pt x="322" y="996"/>
                  </a:cubicBezTo>
                  <a:cubicBezTo>
                    <a:pt x="321" y="996"/>
                    <a:pt x="321" y="996"/>
                    <a:pt x="321" y="996"/>
                  </a:cubicBezTo>
                  <a:moveTo>
                    <a:pt x="490" y="994"/>
                  </a:moveTo>
                  <a:cubicBezTo>
                    <a:pt x="482" y="994"/>
                    <a:pt x="472" y="999"/>
                    <a:pt x="468" y="1004"/>
                  </a:cubicBezTo>
                  <a:cubicBezTo>
                    <a:pt x="465" y="1010"/>
                    <a:pt x="468" y="1014"/>
                    <a:pt x="477" y="1014"/>
                  </a:cubicBezTo>
                  <a:cubicBezTo>
                    <a:pt x="485" y="1014"/>
                    <a:pt x="494" y="1010"/>
                    <a:pt x="498" y="1004"/>
                  </a:cubicBezTo>
                  <a:cubicBezTo>
                    <a:pt x="502" y="999"/>
                    <a:pt x="498" y="994"/>
                    <a:pt x="490" y="994"/>
                  </a:cubicBezTo>
                  <a:cubicBezTo>
                    <a:pt x="490" y="994"/>
                    <a:pt x="490" y="994"/>
                    <a:pt x="490" y="994"/>
                  </a:cubicBezTo>
                  <a:moveTo>
                    <a:pt x="532" y="994"/>
                  </a:moveTo>
                  <a:cubicBezTo>
                    <a:pt x="524" y="994"/>
                    <a:pt x="514" y="998"/>
                    <a:pt x="510" y="1004"/>
                  </a:cubicBezTo>
                  <a:cubicBezTo>
                    <a:pt x="507" y="1010"/>
                    <a:pt x="510" y="1014"/>
                    <a:pt x="519" y="1014"/>
                  </a:cubicBezTo>
                  <a:cubicBezTo>
                    <a:pt x="527" y="1014"/>
                    <a:pt x="536" y="1010"/>
                    <a:pt x="540" y="1004"/>
                  </a:cubicBezTo>
                  <a:cubicBezTo>
                    <a:pt x="544" y="998"/>
                    <a:pt x="540" y="994"/>
                    <a:pt x="532" y="994"/>
                  </a:cubicBezTo>
                  <a:cubicBezTo>
                    <a:pt x="532" y="994"/>
                    <a:pt x="532" y="994"/>
                    <a:pt x="532" y="994"/>
                  </a:cubicBezTo>
                  <a:moveTo>
                    <a:pt x="574" y="994"/>
                  </a:moveTo>
                  <a:cubicBezTo>
                    <a:pt x="566" y="994"/>
                    <a:pt x="556" y="998"/>
                    <a:pt x="553" y="1004"/>
                  </a:cubicBezTo>
                  <a:cubicBezTo>
                    <a:pt x="549" y="1010"/>
                    <a:pt x="553" y="1014"/>
                    <a:pt x="561" y="1014"/>
                  </a:cubicBezTo>
                  <a:cubicBezTo>
                    <a:pt x="569" y="1014"/>
                    <a:pt x="579" y="1009"/>
                    <a:pt x="582" y="1004"/>
                  </a:cubicBezTo>
                  <a:cubicBezTo>
                    <a:pt x="586" y="998"/>
                    <a:pt x="582" y="994"/>
                    <a:pt x="574" y="994"/>
                  </a:cubicBezTo>
                  <a:cubicBezTo>
                    <a:pt x="574" y="994"/>
                    <a:pt x="574" y="994"/>
                    <a:pt x="574" y="994"/>
                  </a:cubicBezTo>
                  <a:moveTo>
                    <a:pt x="617" y="994"/>
                  </a:moveTo>
                  <a:cubicBezTo>
                    <a:pt x="609" y="994"/>
                    <a:pt x="600" y="998"/>
                    <a:pt x="596" y="1004"/>
                  </a:cubicBezTo>
                  <a:cubicBezTo>
                    <a:pt x="593" y="1009"/>
                    <a:pt x="597" y="1014"/>
                    <a:pt x="605" y="1014"/>
                  </a:cubicBezTo>
                  <a:cubicBezTo>
                    <a:pt x="613" y="1014"/>
                    <a:pt x="623" y="1009"/>
                    <a:pt x="626" y="1004"/>
                  </a:cubicBezTo>
                  <a:cubicBezTo>
                    <a:pt x="629" y="998"/>
                    <a:pt x="626" y="994"/>
                    <a:pt x="618" y="994"/>
                  </a:cubicBezTo>
                  <a:cubicBezTo>
                    <a:pt x="618" y="994"/>
                    <a:pt x="617" y="994"/>
                    <a:pt x="617" y="994"/>
                  </a:cubicBezTo>
                  <a:moveTo>
                    <a:pt x="659" y="993"/>
                  </a:moveTo>
                  <a:cubicBezTo>
                    <a:pt x="651" y="993"/>
                    <a:pt x="642" y="998"/>
                    <a:pt x="638" y="1004"/>
                  </a:cubicBezTo>
                  <a:cubicBezTo>
                    <a:pt x="635" y="1009"/>
                    <a:pt x="639" y="1014"/>
                    <a:pt x="647" y="1014"/>
                  </a:cubicBezTo>
                  <a:cubicBezTo>
                    <a:pt x="655" y="1014"/>
                    <a:pt x="665" y="1009"/>
                    <a:pt x="668" y="1003"/>
                  </a:cubicBezTo>
                  <a:cubicBezTo>
                    <a:pt x="671" y="998"/>
                    <a:pt x="668" y="993"/>
                    <a:pt x="659" y="993"/>
                  </a:cubicBezTo>
                  <a:cubicBezTo>
                    <a:pt x="659" y="993"/>
                    <a:pt x="659" y="993"/>
                    <a:pt x="659" y="993"/>
                  </a:cubicBezTo>
                  <a:moveTo>
                    <a:pt x="702" y="993"/>
                  </a:moveTo>
                  <a:cubicBezTo>
                    <a:pt x="693" y="993"/>
                    <a:pt x="684" y="998"/>
                    <a:pt x="681" y="1003"/>
                  </a:cubicBezTo>
                  <a:cubicBezTo>
                    <a:pt x="677" y="1009"/>
                    <a:pt x="681" y="1014"/>
                    <a:pt x="690" y="1014"/>
                  </a:cubicBezTo>
                  <a:cubicBezTo>
                    <a:pt x="698" y="1014"/>
                    <a:pt x="707" y="1009"/>
                    <a:pt x="710" y="1003"/>
                  </a:cubicBezTo>
                  <a:cubicBezTo>
                    <a:pt x="714" y="998"/>
                    <a:pt x="710" y="993"/>
                    <a:pt x="702" y="993"/>
                  </a:cubicBezTo>
                  <a:cubicBezTo>
                    <a:pt x="702" y="993"/>
                    <a:pt x="702" y="993"/>
                    <a:pt x="702" y="993"/>
                  </a:cubicBezTo>
                  <a:moveTo>
                    <a:pt x="740" y="993"/>
                  </a:moveTo>
                  <a:cubicBezTo>
                    <a:pt x="731" y="993"/>
                    <a:pt x="722" y="998"/>
                    <a:pt x="719" y="1003"/>
                  </a:cubicBezTo>
                  <a:cubicBezTo>
                    <a:pt x="716" y="1009"/>
                    <a:pt x="720" y="1013"/>
                    <a:pt x="728" y="1013"/>
                  </a:cubicBezTo>
                  <a:cubicBezTo>
                    <a:pt x="736" y="1013"/>
                    <a:pt x="745" y="1009"/>
                    <a:pt x="749" y="1003"/>
                  </a:cubicBezTo>
                  <a:cubicBezTo>
                    <a:pt x="752" y="998"/>
                    <a:pt x="748" y="993"/>
                    <a:pt x="740" y="993"/>
                  </a:cubicBezTo>
                  <a:cubicBezTo>
                    <a:pt x="740" y="993"/>
                    <a:pt x="740" y="993"/>
                    <a:pt x="740" y="993"/>
                  </a:cubicBezTo>
                  <a:moveTo>
                    <a:pt x="1710" y="990"/>
                  </a:moveTo>
                  <a:cubicBezTo>
                    <a:pt x="1701" y="990"/>
                    <a:pt x="1694" y="995"/>
                    <a:pt x="1692" y="1000"/>
                  </a:cubicBezTo>
                  <a:cubicBezTo>
                    <a:pt x="1691" y="1006"/>
                    <a:pt x="1696" y="1011"/>
                    <a:pt x="1704" y="1011"/>
                  </a:cubicBezTo>
                  <a:cubicBezTo>
                    <a:pt x="1713" y="1011"/>
                    <a:pt x="1720" y="1006"/>
                    <a:pt x="1722" y="1000"/>
                  </a:cubicBezTo>
                  <a:cubicBezTo>
                    <a:pt x="1723" y="995"/>
                    <a:pt x="1718" y="990"/>
                    <a:pt x="1710" y="990"/>
                  </a:cubicBezTo>
                  <a:cubicBezTo>
                    <a:pt x="1710" y="990"/>
                    <a:pt x="1710" y="990"/>
                    <a:pt x="1710" y="990"/>
                  </a:cubicBezTo>
                  <a:moveTo>
                    <a:pt x="1751" y="990"/>
                  </a:moveTo>
                  <a:cubicBezTo>
                    <a:pt x="1743" y="990"/>
                    <a:pt x="1736" y="995"/>
                    <a:pt x="1734" y="1000"/>
                  </a:cubicBezTo>
                  <a:cubicBezTo>
                    <a:pt x="1733" y="1006"/>
                    <a:pt x="1738" y="1010"/>
                    <a:pt x="1747" y="1010"/>
                  </a:cubicBezTo>
                  <a:cubicBezTo>
                    <a:pt x="1755" y="1010"/>
                    <a:pt x="1762" y="1006"/>
                    <a:pt x="1764" y="1000"/>
                  </a:cubicBezTo>
                  <a:cubicBezTo>
                    <a:pt x="1765" y="995"/>
                    <a:pt x="1760" y="990"/>
                    <a:pt x="1752" y="990"/>
                  </a:cubicBezTo>
                  <a:cubicBezTo>
                    <a:pt x="1751" y="990"/>
                    <a:pt x="1751" y="990"/>
                    <a:pt x="1751" y="990"/>
                  </a:cubicBezTo>
                  <a:moveTo>
                    <a:pt x="1794" y="990"/>
                  </a:moveTo>
                  <a:cubicBezTo>
                    <a:pt x="1785" y="990"/>
                    <a:pt x="1778" y="994"/>
                    <a:pt x="1777" y="1000"/>
                  </a:cubicBezTo>
                  <a:cubicBezTo>
                    <a:pt x="1775" y="1006"/>
                    <a:pt x="1781" y="1010"/>
                    <a:pt x="1789" y="1010"/>
                  </a:cubicBezTo>
                  <a:cubicBezTo>
                    <a:pt x="1797" y="1010"/>
                    <a:pt x="1805" y="1006"/>
                    <a:pt x="1806" y="1000"/>
                  </a:cubicBezTo>
                  <a:cubicBezTo>
                    <a:pt x="1807" y="994"/>
                    <a:pt x="1802" y="990"/>
                    <a:pt x="1794" y="990"/>
                  </a:cubicBezTo>
                  <a:cubicBezTo>
                    <a:pt x="1794" y="990"/>
                    <a:pt x="1794" y="990"/>
                    <a:pt x="1794" y="990"/>
                  </a:cubicBezTo>
                  <a:moveTo>
                    <a:pt x="1836" y="990"/>
                  </a:moveTo>
                  <a:cubicBezTo>
                    <a:pt x="1828" y="990"/>
                    <a:pt x="1820" y="994"/>
                    <a:pt x="1819" y="1000"/>
                  </a:cubicBezTo>
                  <a:cubicBezTo>
                    <a:pt x="1818" y="1006"/>
                    <a:pt x="1824" y="1010"/>
                    <a:pt x="1832" y="1010"/>
                  </a:cubicBezTo>
                  <a:cubicBezTo>
                    <a:pt x="1840" y="1010"/>
                    <a:pt x="1848" y="1005"/>
                    <a:pt x="1849" y="1000"/>
                  </a:cubicBezTo>
                  <a:cubicBezTo>
                    <a:pt x="1850" y="994"/>
                    <a:pt x="1844" y="990"/>
                    <a:pt x="1836" y="990"/>
                  </a:cubicBezTo>
                  <a:cubicBezTo>
                    <a:pt x="1836" y="990"/>
                    <a:pt x="1836" y="990"/>
                    <a:pt x="1836" y="990"/>
                  </a:cubicBezTo>
                  <a:moveTo>
                    <a:pt x="1878" y="990"/>
                  </a:moveTo>
                  <a:cubicBezTo>
                    <a:pt x="1870" y="990"/>
                    <a:pt x="1862" y="994"/>
                    <a:pt x="1861" y="1000"/>
                  </a:cubicBezTo>
                  <a:cubicBezTo>
                    <a:pt x="1860" y="1005"/>
                    <a:pt x="1866" y="1010"/>
                    <a:pt x="1874" y="1010"/>
                  </a:cubicBezTo>
                  <a:cubicBezTo>
                    <a:pt x="1882" y="1010"/>
                    <a:pt x="1890" y="1005"/>
                    <a:pt x="1891" y="1000"/>
                  </a:cubicBezTo>
                  <a:cubicBezTo>
                    <a:pt x="1892" y="994"/>
                    <a:pt x="1886" y="990"/>
                    <a:pt x="1878" y="990"/>
                  </a:cubicBezTo>
                  <a:cubicBezTo>
                    <a:pt x="1878" y="990"/>
                    <a:pt x="1878" y="990"/>
                    <a:pt x="1878" y="990"/>
                  </a:cubicBezTo>
                  <a:moveTo>
                    <a:pt x="1920" y="989"/>
                  </a:moveTo>
                  <a:cubicBezTo>
                    <a:pt x="1912" y="989"/>
                    <a:pt x="1904" y="994"/>
                    <a:pt x="1903" y="1000"/>
                  </a:cubicBezTo>
                  <a:cubicBezTo>
                    <a:pt x="1902" y="1005"/>
                    <a:pt x="1908" y="1010"/>
                    <a:pt x="1916" y="1010"/>
                  </a:cubicBezTo>
                  <a:cubicBezTo>
                    <a:pt x="1924" y="1010"/>
                    <a:pt x="1932" y="1005"/>
                    <a:pt x="1933" y="1000"/>
                  </a:cubicBezTo>
                  <a:cubicBezTo>
                    <a:pt x="1934" y="994"/>
                    <a:pt x="1928" y="989"/>
                    <a:pt x="1920" y="989"/>
                  </a:cubicBezTo>
                  <a:cubicBezTo>
                    <a:pt x="1920" y="989"/>
                    <a:pt x="1920" y="989"/>
                    <a:pt x="1920" y="989"/>
                  </a:cubicBezTo>
                  <a:moveTo>
                    <a:pt x="1962" y="989"/>
                  </a:moveTo>
                  <a:cubicBezTo>
                    <a:pt x="1954" y="989"/>
                    <a:pt x="1946" y="994"/>
                    <a:pt x="1945" y="999"/>
                  </a:cubicBezTo>
                  <a:cubicBezTo>
                    <a:pt x="1944" y="1005"/>
                    <a:pt x="1950" y="1010"/>
                    <a:pt x="1958" y="1010"/>
                  </a:cubicBezTo>
                  <a:cubicBezTo>
                    <a:pt x="1966" y="1010"/>
                    <a:pt x="1974" y="1005"/>
                    <a:pt x="1975" y="999"/>
                  </a:cubicBezTo>
                  <a:cubicBezTo>
                    <a:pt x="1976" y="994"/>
                    <a:pt x="1970" y="989"/>
                    <a:pt x="1962" y="989"/>
                  </a:cubicBezTo>
                  <a:cubicBezTo>
                    <a:pt x="1962" y="989"/>
                    <a:pt x="1962" y="989"/>
                    <a:pt x="1962" y="989"/>
                  </a:cubicBezTo>
                  <a:moveTo>
                    <a:pt x="2004" y="989"/>
                  </a:moveTo>
                  <a:cubicBezTo>
                    <a:pt x="1996" y="989"/>
                    <a:pt x="1988" y="994"/>
                    <a:pt x="1988" y="999"/>
                  </a:cubicBezTo>
                  <a:cubicBezTo>
                    <a:pt x="1987" y="1005"/>
                    <a:pt x="1993" y="1010"/>
                    <a:pt x="2001" y="1009"/>
                  </a:cubicBezTo>
                  <a:cubicBezTo>
                    <a:pt x="2009" y="1009"/>
                    <a:pt x="2016" y="1005"/>
                    <a:pt x="2017" y="999"/>
                  </a:cubicBezTo>
                  <a:cubicBezTo>
                    <a:pt x="2018" y="994"/>
                    <a:pt x="2012" y="989"/>
                    <a:pt x="2004" y="989"/>
                  </a:cubicBezTo>
                  <a:cubicBezTo>
                    <a:pt x="2004" y="989"/>
                    <a:pt x="2004" y="989"/>
                    <a:pt x="2004" y="989"/>
                  </a:cubicBezTo>
                  <a:moveTo>
                    <a:pt x="2047" y="989"/>
                  </a:moveTo>
                  <a:cubicBezTo>
                    <a:pt x="2039" y="989"/>
                    <a:pt x="2032" y="994"/>
                    <a:pt x="2031" y="999"/>
                  </a:cubicBezTo>
                  <a:cubicBezTo>
                    <a:pt x="2030" y="1005"/>
                    <a:pt x="2036" y="1009"/>
                    <a:pt x="2044" y="1009"/>
                  </a:cubicBezTo>
                  <a:cubicBezTo>
                    <a:pt x="2053" y="1009"/>
                    <a:pt x="2060" y="1005"/>
                    <a:pt x="2061" y="999"/>
                  </a:cubicBezTo>
                  <a:cubicBezTo>
                    <a:pt x="2061" y="993"/>
                    <a:pt x="2055" y="989"/>
                    <a:pt x="2047" y="989"/>
                  </a:cubicBezTo>
                  <a:cubicBezTo>
                    <a:pt x="2047" y="989"/>
                    <a:pt x="2047" y="989"/>
                    <a:pt x="2047" y="989"/>
                  </a:cubicBezTo>
                  <a:moveTo>
                    <a:pt x="2089" y="989"/>
                  </a:moveTo>
                  <a:cubicBezTo>
                    <a:pt x="2081" y="989"/>
                    <a:pt x="2074" y="993"/>
                    <a:pt x="2073" y="999"/>
                  </a:cubicBezTo>
                  <a:cubicBezTo>
                    <a:pt x="2072" y="1005"/>
                    <a:pt x="2078" y="1009"/>
                    <a:pt x="2087" y="1009"/>
                  </a:cubicBezTo>
                  <a:cubicBezTo>
                    <a:pt x="2095" y="1009"/>
                    <a:pt x="2102" y="1005"/>
                    <a:pt x="2103" y="999"/>
                  </a:cubicBezTo>
                  <a:cubicBezTo>
                    <a:pt x="2103" y="993"/>
                    <a:pt x="2097" y="989"/>
                    <a:pt x="2089" y="989"/>
                  </a:cubicBezTo>
                  <a:cubicBezTo>
                    <a:pt x="2089" y="989"/>
                    <a:pt x="2089" y="989"/>
                    <a:pt x="2089" y="989"/>
                  </a:cubicBezTo>
                  <a:moveTo>
                    <a:pt x="2131" y="989"/>
                  </a:moveTo>
                  <a:cubicBezTo>
                    <a:pt x="2123" y="989"/>
                    <a:pt x="2116" y="993"/>
                    <a:pt x="2115" y="999"/>
                  </a:cubicBezTo>
                  <a:cubicBezTo>
                    <a:pt x="2115" y="1004"/>
                    <a:pt x="2121" y="1009"/>
                    <a:pt x="2129" y="1009"/>
                  </a:cubicBezTo>
                  <a:cubicBezTo>
                    <a:pt x="2137" y="1009"/>
                    <a:pt x="2144" y="1004"/>
                    <a:pt x="2145" y="999"/>
                  </a:cubicBezTo>
                  <a:cubicBezTo>
                    <a:pt x="2145" y="993"/>
                    <a:pt x="2139" y="989"/>
                    <a:pt x="2131" y="989"/>
                  </a:cubicBezTo>
                  <a:cubicBezTo>
                    <a:pt x="2131" y="989"/>
                    <a:pt x="2131" y="989"/>
                    <a:pt x="2131" y="989"/>
                  </a:cubicBezTo>
                  <a:moveTo>
                    <a:pt x="2174" y="988"/>
                  </a:moveTo>
                  <a:cubicBezTo>
                    <a:pt x="2166" y="988"/>
                    <a:pt x="2159" y="993"/>
                    <a:pt x="2158" y="999"/>
                  </a:cubicBezTo>
                  <a:cubicBezTo>
                    <a:pt x="2157" y="1004"/>
                    <a:pt x="2164" y="1009"/>
                    <a:pt x="2172" y="1009"/>
                  </a:cubicBezTo>
                  <a:cubicBezTo>
                    <a:pt x="2180" y="1009"/>
                    <a:pt x="2187" y="1004"/>
                    <a:pt x="2188" y="999"/>
                  </a:cubicBezTo>
                  <a:cubicBezTo>
                    <a:pt x="2188" y="993"/>
                    <a:pt x="2182" y="988"/>
                    <a:pt x="2174" y="988"/>
                  </a:cubicBezTo>
                  <a:cubicBezTo>
                    <a:pt x="2174" y="988"/>
                    <a:pt x="2174" y="988"/>
                    <a:pt x="2174" y="988"/>
                  </a:cubicBezTo>
                  <a:moveTo>
                    <a:pt x="2216" y="988"/>
                  </a:moveTo>
                  <a:cubicBezTo>
                    <a:pt x="2207" y="988"/>
                    <a:pt x="2200" y="993"/>
                    <a:pt x="2200" y="999"/>
                  </a:cubicBezTo>
                  <a:cubicBezTo>
                    <a:pt x="2199" y="1004"/>
                    <a:pt x="2206" y="1009"/>
                    <a:pt x="2214" y="1009"/>
                  </a:cubicBezTo>
                  <a:cubicBezTo>
                    <a:pt x="2222" y="1009"/>
                    <a:pt x="2229" y="1004"/>
                    <a:pt x="2229" y="998"/>
                  </a:cubicBezTo>
                  <a:cubicBezTo>
                    <a:pt x="2230" y="993"/>
                    <a:pt x="2224" y="988"/>
                    <a:pt x="2216" y="988"/>
                  </a:cubicBezTo>
                  <a:cubicBezTo>
                    <a:pt x="2216" y="988"/>
                    <a:pt x="2216" y="988"/>
                    <a:pt x="2216" y="988"/>
                  </a:cubicBezTo>
                  <a:moveTo>
                    <a:pt x="2258" y="988"/>
                  </a:moveTo>
                  <a:cubicBezTo>
                    <a:pt x="2249" y="988"/>
                    <a:pt x="2243" y="993"/>
                    <a:pt x="2242" y="998"/>
                  </a:cubicBezTo>
                  <a:cubicBezTo>
                    <a:pt x="2242" y="1004"/>
                    <a:pt x="2248" y="1009"/>
                    <a:pt x="2256" y="1009"/>
                  </a:cubicBezTo>
                  <a:cubicBezTo>
                    <a:pt x="2264" y="1009"/>
                    <a:pt x="2271" y="1004"/>
                    <a:pt x="2272" y="998"/>
                  </a:cubicBezTo>
                  <a:cubicBezTo>
                    <a:pt x="2272" y="993"/>
                    <a:pt x="2266" y="988"/>
                    <a:pt x="2258" y="988"/>
                  </a:cubicBezTo>
                  <a:cubicBezTo>
                    <a:pt x="2258" y="988"/>
                    <a:pt x="2258" y="988"/>
                    <a:pt x="2258" y="988"/>
                  </a:cubicBezTo>
                  <a:moveTo>
                    <a:pt x="2299" y="988"/>
                  </a:moveTo>
                  <a:cubicBezTo>
                    <a:pt x="2291" y="988"/>
                    <a:pt x="2284" y="993"/>
                    <a:pt x="2284" y="998"/>
                  </a:cubicBezTo>
                  <a:cubicBezTo>
                    <a:pt x="2284" y="1004"/>
                    <a:pt x="2290" y="1008"/>
                    <a:pt x="2298" y="1008"/>
                  </a:cubicBezTo>
                  <a:cubicBezTo>
                    <a:pt x="2306" y="1008"/>
                    <a:pt x="2313" y="1004"/>
                    <a:pt x="2314" y="998"/>
                  </a:cubicBezTo>
                  <a:cubicBezTo>
                    <a:pt x="2314" y="993"/>
                    <a:pt x="2308" y="988"/>
                    <a:pt x="2299" y="988"/>
                  </a:cubicBezTo>
                  <a:cubicBezTo>
                    <a:pt x="2299" y="988"/>
                    <a:pt x="2299" y="988"/>
                    <a:pt x="2299" y="988"/>
                  </a:cubicBezTo>
                  <a:moveTo>
                    <a:pt x="2342" y="988"/>
                  </a:moveTo>
                  <a:cubicBezTo>
                    <a:pt x="2333" y="988"/>
                    <a:pt x="2327" y="992"/>
                    <a:pt x="2326" y="998"/>
                  </a:cubicBezTo>
                  <a:cubicBezTo>
                    <a:pt x="2326" y="1004"/>
                    <a:pt x="2332" y="1008"/>
                    <a:pt x="2341" y="1008"/>
                  </a:cubicBezTo>
                  <a:cubicBezTo>
                    <a:pt x="2349" y="1008"/>
                    <a:pt x="2356" y="1004"/>
                    <a:pt x="2356" y="998"/>
                  </a:cubicBezTo>
                  <a:cubicBezTo>
                    <a:pt x="2356" y="992"/>
                    <a:pt x="2350" y="988"/>
                    <a:pt x="2342" y="988"/>
                  </a:cubicBezTo>
                  <a:cubicBezTo>
                    <a:pt x="2342" y="988"/>
                    <a:pt x="2342" y="988"/>
                    <a:pt x="2342" y="988"/>
                  </a:cubicBezTo>
                  <a:moveTo>
                    <a:pt x="2384" y="988"/>
                  </a:moveTo>
                  <a:cubicBezTo>
                    <a:pt x="2376" y="988"/>
                    <a:pt x="2369" y="992"/>
                    <a:pt x="2369" y="998"/>
                  </a:cubicBezTo>
                  <a:cubicBezTo>
                    <a:pt x="2369" y="1004"/>
                    <a:pt x="2375" y="1008"/>
                    <a:pt x="2383" y="1008"/>
                  </a:cubicBezTo>
                  <a:cubicBezTo>
                    <a:pt x="2392" y="1008"/>
                    <a:pt x="2398" y="1003"/>
                    <a:pt x="2398" y="998"/>
                  </a:cubicBezTo>
                  <a:cubicBezTo>
                    <a:pt x="2399" y="992"/>
                    <a:pt x="2392" y="988"/>
                    <a:pt x="2384" y="988"/>
                  </a:cubicBezTo>
                  <a:cubicBezTo>
                    <a:pt x="2384" y="988"/>
                    <a:pt x="2384" y="988"/>
                    <a:pt x="2384" y="988"/>
                  </a:cubicBezTo>
                  <a:moveTo>
                    <a:pt x="2426" y="988"/>
                  </a:moveTo>
                  <a:cubicBezTo>
                    <a:pt x="2418" y="988"/>
                    <a:pt x="2411" y="992"/>
                    <a:pt x="2411" y="998"/>
                  </a:cubicBezTo>
                  <a:cubicBezTo>
                    <a:pt x="2411" y="1003"/>
                    <a:pt x="2417" y="1008"/>
                    <a:pt x="2425" y="1008"/>
                  </a:cubicBezTo>
                  <a:cubicBezTo>
                    <a:pt x="2434" y="1008"/>
                    <a:pt x="2440" y="1003"/>
                    <a:pt x="2440" y="998"/>
                  </a:cubicBezTo>
                  <a:cubicBezTo>
                    <a:pt x="2440" y="992"/>
                    <a:pt x="2434" y="988"/>
                    <a:pt x="2426" y="988"/>
                  </a:cubicBezTo>
                  <a:cubicBezTo>
                    <a:pt x="2426" y="988"/>
                    <a:pt x="2426" y="988"/>
                    <a:pt x="2426" y="988"/>
                  </a:cubicBezTo>
                  <a:moveTo>
                    <a:pt x="2468" y="987"/>
                  </a:moveTo>
                  <a:cubicBezTo>
                    <a:pt x="2460" y="987"/>
                    <a:pt x="2453" y="992"/>
                    <a:pt x="2453" y="998"/>
                  </a:cubicBezTo>
                  <a:cubicBezTo>
                    <a:pt x="2453" y="1003"/>
                    <a:pt x="2460" y="1008"/>
                    <a:pt x="2468" y="1008"/>
                  </a:cubicBezTo>
                  <a:cubicBezTo>
                    <a:pt x="2476" y="1008"/>
                    <a:pt x="2483" y="1003"/>
                    <a:pt x="2483" y="998"/>
                  </a:cubicBezTo>
                  <a:cubicBezTo>
                    <a:pt x="2483" y="992"/>
                    <a:pt x="2476" y="987"/>
                    <a:pt x="2468" y="987"/>
                  </a:cubicBezTo>
                  <a:cubicBezTo>
                    <a:pt x="2468" y="987"/>
                    <a:pt x="2468" y="987"/>
                    <a:pt x="2468" y="987"/>
                  </a:cubicBezTo>
                  <a:moveTo>
                    <a:pt x="2510" y="987"/>
                  </a:moveTo>
                  <a:cubicBezTo>
                    <a:pt x="2501" y="987"/>
                    <a:pt x="2495" y="992"/>
                    <a:pt x="2495" y="997"/>
                  </a:cubicBezTo>
                  <a:cubicBezTo>
                    <a:pt x="2495" y="1003"/>
                    <a:pt x="2502" y="1008"/>
                    <a:pt x="2510" y="1008"/>
                  </a:cubicBezTo>
                  <a:cubicBezTo>
                    <a:pt x="2518" y="1008"/>
                    <a:pt x="2525" y="1003"/>
                    <a:pt x="2524" y="997"/>
                  </a:cubicBezTo>
                  <a:cubicBezTo>
                    <a:pt x="2524" y="992"/>
                    <a:pt x="2518" y="987"/>
                    <a:pt x="2510" y="987"/>
                  </a:cubicBezTo>
                  <a:cubicBezTo>
                    <a:pt x="2510" y="987"/>
                    <a:pt x="2510" y="987"/>
                    <a:pt x="2510" y="987"/>
                  </a:cubicBezTo>
                  <a:moveTo>
                    <a:pt x="3433" y="987"/>
                  </a:moveTo>
                  <a:cubicBezTo>
                    <a:pt x="3425" y="987"/>
                    <a:pt x="3420" y="992"/>
                    <a:pt x="3422" y="997"/>
                  </a:cubicBezTo>
                  <a:cubicBezTo>
                    <a:pt x="3424" y="1003"/>
                    <a:pt x="3432" y="1008"/>
                    <a:pt x="3440" y="1008"/>
                  </a:cubicBezTo>
                  <a:cubicBezTo>
                    <a:pt x="3448" y="1008"/>
                    <a:pt x="3453" y="1003"/>
                    <a:pt x="3451" y="997"/>
                  </a:cubicBezTo>
                  <a:cubicBezTo>
                    <a:pt x="3450" y="992"/>
                    <a:pt x="3442" y="987"/>
                    <a:pt x="3434" y="987"/>
                  </a:cubicBezTo>
                  <a:cubicBezTo>
                    <a:pt x="3433" y="987"/>
                    <a:pt x="3433" y="987"/>
                    <a:pt x="3433" y="987"/>
                  </a:cubicBezTo>
                  <a:moveTo>
                    <a:pt x="2552" y="987"/>
                  </a:moveTo>
                  <a:cubicBezTo>
                    <a:pt x="2544" y="987"/>
                    <a:pt x="2537" y="992"/>
                    <a:pt x="2537" y="997"/>
                  </a:cubicBezTo>
                  <a:cubicBezTo>
                    <a:pt x="2537" y="1003"/>
                    <a:pt x="2544" y="1008"/>
                    <a:pt x="2552" y="1008"/>
                  </a:cubicBezTo>
                  <a:cubicBezTo>
                    <a:pt x="2560" y="1007"/>
                    <a:pt x="2567" y="1003"/>
                    <a:pt x="2567" y="997"/>
                  </a:cubicBezTo>
                  <a:cubicBezTo>
                    <a:pt x="2567" y="992"/>
                    <a:pt x="2560" y="987"/>
                    <a:pt x="2552" y="987"/>
                  </a:cubicBezTo>
                  <a:cubicBezTo>
                    <a:pt x="2552" y="987"/>
                    <a:pt x="2552" y="987"/>
                    <a:pt x="2552" y="987"/>
                  </a:cubicBezTo>
                  <a:moveTo>
                    <a:pt x="3476" y="987"/>
                  </a:moveTo>
                  <a:cubicBezTo>
                    <a:pt x="3467" y="987"/>
                    <a:pt x="3462" y="992"/>
                    <a:pt x="3464" y="997"/>
                  </a:cubicBezTo>
                  <a:cubicBezTo>
                    <a:pt x="3466" y="1003"/>
                    <a:pt x="3474" y="1008"/>
                    <a:pt x="3482" y="1007"/>
                  </a:cubicBezTo>
                  <a:cubicBezTo>
                    <a:pt x="3490" y="1007"/>
                    <a:pt x="3496" y="1003"/>
                    <a:pt x="3494" y="997"/>
                  </a:cubicBezTo>
                  <a:cubicBezTo>
                    <a:pt x="3492" y="992"/>
                    <a:pt x="3484" y="987"/>
                    <a:pt x="3476" y="987"/>
                  </a:cubicBezTo>
                  <a:cubicBezTo>
                    <a:pt x="3476" y="987"/>
                    <a:pt x="3476" y="987"/>
                    <a:pt x="3476" y="987"/>
                  </a:cubicBezTo>
                  <a:moveTo>
                    <a:pt x="2594" y="987"/>
                  </a:moveTo>
                  <a:cubicBezTo>
                    <a:pt x="2586" y="987"/>
                    <a:pt x="2580" y="992"/>
                    <a:pt x="2580" y="997"/>
                  </a:cubicBezTo>
                  <a:cubicBezTo>
                    <a:pt x="2580" y="1003"/>
                    <a:pt x="2587" y="1007"/>
                    <a:pt x="2595" y="1007"/>
                  </a:cubicBezTo>
                  <a:cubicBezTo>
                    <a:pt x="2603" y="1007"/>
                    <a:pt x="2610" y="1003"/>
                    <a:pt x="2609" y="997"/>
                  </a:cubicBezTo>
                  <a:cubicBezTo>
                    <a:pt x="2609" y="991"/>
                    <a:pt x="2602" y="987"/>
                    <a:pt x="2594" y="987"/>
                  </a:cubicBezTo>
                  <a:cubicBezTo>
                    <a:pt x="2594" y="987"/>
                    <a:pt x="2594" y="987"/>
                    <a:pt x="2594" y="987"/>
                  </a:cubicBezTo>
                  <a:moveTo>
                    <a:pt x="2636" y="987"/>
                  </a:moveTo>
                  <a:cubicBezTo>
                    <a:pt x="2628" y="987"/>
                    <a:pt x="2621" y="991"/>
                    <a:pt x="2622" y="997"/>
                  </a:cubicBezTo>
                  <a:cubicBezTo>
                    <a:pt x="2622" y="1003"/>
                    <a:pt x="2629" y="1007"/>
                    <a:pt x="2637" y="1007"/>
                  </a:cubicBezTo>
                  <a:cubicBezTo>
                    <a:pt x="2645" y="1007"/>
                    <a:pt x="2652" y="1003"/>
                    <a:pt x="2651" y="997"/>
                  </a:cubicBezTo>
                  <a:cubicBezTo>
                    <a:pt x="2651" y="991"/>
                    <a:pt x="2644" y="987"/>
                    <a:pt x="2636" y="987"/>
                  </a:cubicBezTo>
                  <a:cubicBezTo>
                    <a:pt x="2636" y="987"/>
                    <a:pt x="2636" y="987"/>
                    <a:pt x="2636" y="987"/>
                  </a:cubicBezTo>
                  <a:moveTo>
                    <a:pt x="2678" y="987"/>
                  </a:moveTo>
                  <a:cubicBezTo>
                    <a:pt x="2670" y="987"/>
                    <a:pt x="2664" y="991"/>
                    <a:pt x="2664" y="997"/>
                  </a:cubicBezTo>
                  <a:cubicBezTo>
                    <a:pt x="2665" y="1003"/>
                    <a:pt x="2672" y="1007"/>
                    <a:pt x="2680" y="1007"/>
                  </a:cubicBezTo>
                  <a:cubicBezTo>
                    <a:pt x="2688" y="1007"/>
                    <a:pt x="2694" y="1002"/>
                    <a:pt x="2694" y="997"/>
                  </a:cubicBezTo>
                  <a:cubicBezTo>
                    <a:pt x="2693" y="991"/>
                    <a:pt x="2687" y="987"/>
                    <a:pt x="2678" y="987"/>
                  </a:cubicBezTo>
                  <a:cubicBezTo>
                    <a:pt x="2678" y="987"/>
                    <a:pt x="2678" y="987"/>
                    <a:pt x="2678" y="987"/>
                  </a:cubicBezTo>
                  <a:moveTo>
                    <a:pt x="2719" y="986"/>
                  </a:moveTo>
                  <a:cubicBezTo>
                    <a:pt x="2711" y="986"/>
                    <a:pt x="2705" y="991"/>
                    <a:pt x="2705" y="997"/>
                  </a:cubicBezTo>
                  <a:cubicBezTo>
                    <a:pt x="2705" y="1002"/>
                    <a:pt x="2712" y="1007"/>
                    <a:pt x="2721" y="1007"/>
                  </a:cubicBezTo>
                  <a:cubicBezTo>
                    <a:pt x="2729" y="1007"/>
                    <a:pt x="2735" y="1002"/>
                    <a:pt x="2734" y="997"/>
                  </a:cubicBezTo>
                  <a:cubicBezTo>
                    <a:pt x="2734" y="991"/>
                    <a:pt x="2727" y="986"/>
                    <a:pt x="2719" y="986"/>
                  </a:cubicBezTo>
                  <a:cubicBezTo>
                    <a:pt x="2719" y="986"/>
                    <a:pt x="2719" y="986"/>
                    <a:pt x="2719" y="986"/>
                  </a:cubicBezTo>
                  <a:moveTo>
                    <a:pt x="2761" y="986"/>
                  </a:moveTo>
                  <a:cubicBezTo>
                    <a:pt x="2753" y="986"/>
                    <a:pt x="2747" y="991"/>
                    <a:pt x="2747" y="997"/>
                  </a:cubicBezTo>
                  <a:cubicBezTo>
                    <a:pt x="2748" y="1002"/>
                    <a:pt x="2755" y="1007"/>
                    <a:pt x="2763" y="1007"/>
                  </a:cubicBezTo>
                  <a:cubicBezTo>
                    <a:pt x="2771" y="1007"/>
                    <a:pt x="2778" y="1002"/>
                    <a:pt x="2777" y="996"/>
                  </a:cubicBezTo>
                  <a:cubicBezTo>
                    <a:pt x="2776" y="991"/>
                    <a:pt x="2769" y="986"/>
                    <a:pt x="2761" y="986"/>
                  </a:cubicBezTo>
                  <a:cubicBezTo>
                    <a:pt x="2761" y="986"/>
                    <a:pt x="2761" y="986"/>
                    <a:pt x="2761" y="986"/>
                  </a:cubicBezTo>
                  <a:moveTo>
                    <a:pt x="2802" y="986"/>
                  </a:moveTo>
                  <a:cubicBezTo>
                    <a:pt x="2794" y="986"/>
                    <a:pt x="2788" y="991"/>
                    <a:pt x="2788" y="996"/>
                  </a:cubicBezTo>
                  <a:cubicBezTo>
                    <a:pt x="2789" y="1002"/>
                    <a:pt x="2796" y="1007"/>
                    <a:pt x="2804" y="1007"/>
                  </a:cubicBezTo>
                  <a:cubicBezTo>
                    <a:pt x="2812" y="1007"/>
                    <a:pt x="2818" y="1002"/>
                    <a:pt x="2818" y="996"/>
                  </a:cubicBezTo>
                  <a:cubicBezTo>
                    <a:pt x="2817" y="991"/>
                    <a:pt x="2810" y="986"/>
                    <a:pt x="2802" y="986"/>
                  </a:cubicBezTo>
                  <a:cubicBezTo>
                    <a:pt x="2802" y="986"/>
                    <a:pt x="2802" y="986"/>
                    <a:pt x="2802" y="986"/>
                  </a:cubicBezTo>
                  <a:moveTo>
                    <a:pt x="2846" y="986"/>
                  </a:moveTo>
                  <a:cubicBezTo>
                    <a:pt x="2838" y="986"/>
                    <a:pt x="2832" y="991"/>
                    <a:pt x="2833" y="996"/>
                  </a:cubicBezTo>
                  <a:cubicBezTo>
                    <a:pt x="2833" y="1002"/>
                    <a:pt x="2840" y="1006"/>
                    <a:pt x="2849" y="1006"/>
                  </a:cubicBezTo>
                  <a:cubicBezTo>
                    <a:pt x="2857" y="1006"/>
                    <a:pt x="2863" y="1002"/>
                    <a:pt x="2862" y="996"/>
                  </a:cubicBezTo>
                  <a:cubicBezTo>
                    <a:pt x="2861" y="991"/>
                    <a:pt x="2854" y="986"/>
                    <a:pt x="2846" y="986"/>
                  </a:cubicBezTo>
                  <a:cubicBezTo>
                    <a:pt x="2846" y="986"/>
                    <a:pt x="2846" y="986"/>
                    <a:pt x="2846" y="986"/>
                  </a:cubicBezTo>
                  <a:moveTo>
                    <a:pt x="2889" y="986"/>
                  </a:moveTo>
                  <a:cubicBezTo>
                    <a:pt x="2880" y="986"/>
                    <a:pt x="2874" y="990"/>
                    <a:pt x="2875" y="996"/>
                  </a:cubicBezTo>
                  <a:cubicBezTo>
                    <a:pt x="2876" y="1002"/>
                    <a:pt x="2883" y="1006"/>
                    <a:pt x="2891" y="1006"/>
                  </a:cubicBezTo>
                  <a:cubicBezTo>
                    <a:pt x="2899" y="1006"/>
                    <a:pt x="2905" y="1002"/>
                    <a:pt x="2905" y="996"/>
                  </a:cubicBezTo>
                  <a:cubicBezTo>
                    <a:pt x="2904" y="990"/>
                    <a:pt x="2897" y="986"/>
                    <a:pt x="2889" y="986"/>
                  </a:cubicBezTo>
                  <a:cubicBezTo>
                    <a:pt x="2889" y="986"/>
                    <a:pt x="2889" y="986"/>
                    <a:pt x="2889" y="986"/>
                  </a:cubicBezTo>
                  <a:moveTo>
                    <a:pt x="2931" y="986"/>
                  </a:moveTo>
                  <a:cubicBezTo>
                    <a:pt x="2923" y="986"/>
                    <a:pt x="2917" y="990"/>
                    <a:pt x="2918" y="996"/>
                  </a:cubicBezTo>
                  <a:cubicBezTo>
                    <a:pt x="2919" y="1002"/>
                    <a:pt x="2926" y="1006"/>
                    <a:pt x="2935" y="1006"/>
                  </a:cubicBezTo>
                  <a:cubicBezTo>
                    <a:pt x="2943" y="1006"/>
                    <a:pt x="2949" y="1001"/>
                    <a:pt x="2948" y="996"/>
                  </a:cubicBezTo>
                  <a:cubicBezTo>
                    <a:pt x="2947" y="990"/>
                    <a:pt x="2940" y="986"/>
                    <a:pt x="2932" y="986"/>
                  </a:cubicBezTo>
                  <a:cubicBezTo>
                    <a:pt x="2932" y="986"/>
                    <a:pt x="2931" y="986"/>
                    <a:pt x="2931" y="986"/>
                  </a:cubicBezTo>
                  <a:moveTo>
                    <a:pt x="3854" y="985"/>
                  </a:moveTo>
                  <a:cubicBezTo>
                    <a:pt x="3846" y="985"/>
                    <a:pt x="3841" y="990"/>
                    <a:pt x="3844" y="995"/>
                  </a:cubicBezTo>
                  <a:cubicBezTo>
                    <a:pt x="3847" y="1001"/>
                    <a:pt x="3855" y="1006"/>
                    <a:pt x="3863" y="1006"/>
                  </a:cubicBezTo>
                  <a:cubicBezTo>
                    <a:pt x="3872" y="1005"/>
                    <a:pt x="3876" y="1001"/>
                    <a:pt x="3873" y="995"/>
                  </a:cubicBezTo>
                  <a:cubicBezTo>
                    <a:pt x="3871" y="990"/>
                    <a:pt x="3862" y="985"/>
                    <a:pt x="3854" y="985"/>
                  </a:cubicBezTo>
                  <a:cubicBezTo>
                    <a:pt x="3854" y="985"/>
                    <a:pt x="3854" y="985"/>
                    <a:pt x="3854" y="985"/>
                  </a:cubicBezTo>
                  <a:moveTo>
                    <a:pt x="3982" y="983"/>
                  </a:moveTo>
                  <a:cubicBezTo>
                    <a:pt x="3973" y="983"/>
                    <a:pt x="3969" y="988"/>
                    <a:pt x="3972" y="994"/>
                  </a:cubicBezTo>
                  <a:cubicBezTo>
                    <a:pt x="3975" y="999"/>
                    <a:pt x="3984" y="1004"/>
                    <a:pt x="3992" y="1004"/>
                  </a:cubicBezTo>
                  <a:cubicBezTo>
                    <a:pt x="4000" y="1004"/>
                    <a:pt x="4004" y="999"/>
                    <a:pt x="4001" y="994"/>
                  </a:cubicBezTo>
                  <a:cubicBezTo>
                    <a:pt x="3999" y="988"/>
                    <a:pt x="3990" y="983"/>
                    <a:pt x="3982" y="983"/>
                  </a:cubicBezTo>
                  <a:cubicBezTo>
                    <a:pt x="3982" y="983"/>
                    <a:pt x="3982" y="983"/>
                    <a:pt x="3982" y="983"/>
                  </a:cubicBezTo>
                  <a:moveTo>
                    <a:pt x="4232" y="981"/>
                  </a:moveTo>
                  <a:cubicBezTo>
                    <a:pt x="4224" y="981"/>
                    <a:pt x="4220" y="986"/>
                    <a:pt x="4223" y="991"/>
                  </a:cubicBezTo>
                  <a:cubicBezTo>
                    <a:pt x="4226" y="997"/>
                    <a:pt x="4236" y="1002"/>
                    <a:pt x="4244" y="1002"/>
                  </a:cubicBezTo>
                  <a:cubicBezTo>
                    <a:pt x="4252" y="1002"/>
                    <a:pt x="4256" y="997"/>
                    <a:pt x="4253" y="991"/>
                  </a:cubicBezTo>
                  <a:cubicBezTo>
                    <a:pt x="4249" y="986"/>
                    <a:pt x="4240" y="981"/>
                    <a:pt x="4232" y="981"/>
                  </a:cubicBezTo>
                  <a:cubicBezTo>
                    <a:pt x="4232" y="981"/>
                    <a:pt x="4232" y="981"/>
                    <a:pt x="4232" y="981"/>
                  </a:cubicBezTo>
                  <a:moveTo>
                    <a:pt x="4323" y="981"/>
                  </a:moveTo>
                  <a:cubicBezTo>
                    <a:pt x="4315" y="981"/>
                    <a:pt x="4311" y="985"/>
                    <a:pt x="4314" y="991"/>
                  </a:cubicBezTo>
                  <a:cubicBezTo>
                    <a:pt x="4318" y="997"/>
                    <a:pt x="4327" y="1001"/>
                    <a:pt x="4335" y="1001"/>
                  </a:cubicBezTo>
                  <a:cubicBezTo>
                    <a:pt x="4344" y="1001"/>
                    <a:pt x="4347" y="997"/>
                    <a:pt x="4344" y="991"/>
                  </a:cubicBezTo>
                  <a:cubicBezTo>
                    <a:pt x="4340" y="985"/>
                    <a:pt x="4331" y="981"/>
                    <a:pt x="4323" y="981"/>
                  </a:cubicBezTo>
                  <a:cubicBezTo>
                    <a:pt x="4323" y="981"/>
                    <a:pt x="4323" y="981"/>
                    <a:pt x="4323" y="981"/>
                  </a:cubicBezTo>
                  <a:moveTo>
                    <a:pt x="301" y="967"/>
                  </a:moveTo>
                  <a:cubicBezTo>
                    <a:pt x="293" y="967"/>
                    <a:pt x="283" y="972"/>
                    <a:pt x="279" y="977"/>
                  </a:cubicBezTo>
                  <a:cubicBezTo>
                    <a:pt x="275" y="983"/>
                    <a:pt x="278" y="987"/>
                    <a:pt x="286" y="987"/>
                  </a:cubicBezTo>
                  <a:cubicBezTo>
                    <a:pt x="294" y="987"/>
                    <a:pt x="304" y="983"/>
                    <a:pt x="308" y="977"/>
                  </a:cubicBezTo>
                  <a:cubicBezTo>
                    <a:pt x="312" y="972"/>
                    <a:pt x="309" y="967"/>
                    <a:pt x="301" y="967"/>
                  </a:cubicBezTo>
                  <a:cubicBezTo>
                    <a:pt x="301" y="967"/>
                    <a:pt x="301" y="967"/>
                    <a:pt x="301" y="967"/>
                  </a:cubicBezTo>
                  <a:moveTo>
                    <a:pt x="342" y="967"/>
                  </a:moveTo>
                  <a:cubicBezTo>
                    <a:pt x="334" y="967"/>
                    <a:pt x="324" y="972"/>
                    <a:pt x="320" y="977"/>
                  </a:cubicBezTo>
                  <a:cubicBezTo>
                    <a:pt x="316" y="983"/>
                    <a:pt x="320" y="987"/>
                    <a:pt x="328" y="987"/>
                  </a:cubicBezTo>
                  <a:cubicBezTo>
                    <a:pt x="336" y="987"/>
                    <a:pt x="346" y="983"/>
                    <a:pt x="350" y="977"/>
                  </a:cubicBezTo>
                  <a:cubicBezTo>
                    <a:pt x="354" y="971"/>
                    <a:pt x="350" y="967"/>
                    <a:pt x="342" y="967"/>
                  </a:cubicBezTo>
                  <a:cubicBezTo>
                    <a:pt x="342" y="967"/>
                    <a:pt x="342" y="967"/>
                    <a:pt x="342" y="967"/>
                  </a:cubicBezTo>
                  <a:moveTo>
                    <a:pt x="550" y="965"/>
                  </a:moveTo>
                  <a:cubicBezTo>
                    <a:pt x="542" y="965"/>
                    <a:pt x="533" y="970"/>
                    <a:pt x="529" y="975"/>
                  </a:cubicBezTo>
                  <a:cubicBezTo>
                    <a:pt x="526" y="981"/>
                    <a:pt x="529" y="985"/>
                    <a:pt x="537" y="985"/>
                  </a:cubicBezTo>
                  <a:cubicBezTo>
                    <a:pt x="545" y="985"/>
                    <a:pt x="555" y="981"/>
                    <a:pt x="558" y="975"/>
                  </a:cubicBezTo>
                  <a:cubicBezTo>
                    <a:pt x="562" y="970"/>
                    <a:pt x="558" y="965"/>
                    <a:pt x="550" y="965"/>
                  </a:cubicBezTo>
                  <a:cubicBezTo>
                    <a:pt x="550" y="965"/>
                    <a:pt x="550" y="965"/>
                    <a:pt x="550" y="965"/>
                  </a:cubicBezTo>
                  <a:moveTo>
                    <a:pt x="635" y="965"/>
                  </a:moveTo>
                  <a:cubicBezTo>
                    <a:pt x="627" y="965"/>
                    <a:pt x="618" y="969"/>
                    <a:pt x="614" y="975"/>
                  </a:cubicBezTo>
                  <a:cubicBezTo>
                    <a:pt x="611" y="980"/>
                    <a:pt x="615" y="985"/>
                    <a:pt x="623" y="985"/>
                  </a:cubicBezTo>
                  <a:cubicBezTo>
                    <a:pt x="631" y="985"/>
                    <a:pt x="640" y="980"/>
                    <a:pt x="644" y="975"/>
                  </a:cubicBezTo>
                  <a:cubicBezTo>
                    <a:pt x="647" y="969"/>
                    <a:pt x="643" y="965"/>
                    <a:pt x="635" y="965"/>
                  </a:cubicBezTo>
                  <a:cubicBezTo>
                    <a:pt x="635" y="965"/>
                    <a:pt x="635" y="965"/>
                    <a:pt x="635" y="965"/>
                  </a:cubicBezTo>
                  <a:moveTo>
                    <a:pt x="1677" y="962"/>
                  </a:moveTo>
                  <a:cubicBezTo>
                    <a:pt x="1669" y="962"/>
                    <a:pt x="1662" y="967"/>
                    <a:pt x="1660" y="973"/>
                  </a:cubicBezTo>
                  <a:cubicBezTo>
                    <a:pt x="1659" y="978"/>
                    <a:pt x="1664" y="983"/>
                    <a:pt x="1672" y="983"/>
                  </a:cubicBezTo>
                  <a:cubicBezTo>
                    <a:pt x="1680" y="983"/>
                    <a:pt x="1688" y="978"/>
                    <a:pt x="1689" y="973"/>
                  </a:cubicBezTo>
                  <a:cubicBezTo>
                    <a:pt x="1691" y="967"/>
                    <a:pt x="1686" y="962"/>
                    <a:pt x="1678" y="962"/>
                  </a:cubicBezTo>
                  <a:cubicBezTo>
                    <a:pt x="1678" y="962"/>
                    <a:pt x="1678" y="962"/>
                    <a:pt x="1677" y="962"/>
                  </a:cubicBezTo>
                  <a:moveTo>
                    <a:pt x="1717" y="962"/>
                  </a:moveTo>
                  <a:cubicBezTo>
                    <a:pt x="1709" y="962"/>
                    <a:pt x="1701" y="967"/>
                    <a:pt x="1699" y="972"/>
                  </a:cubicBezTo>
                  <a:cubicBezTo>
                    <a:pt x="1698" y="978"/>
                    <a:pt x="1703" y="983"/>
                    <a:pt x="1712" y="983"/>
                  </a:cubicBezTo>
                  <a:cubicBezTo>
                    <a:pt x="1720" y="983"/>
                    <a:pt x="1727" y="978"/>
                    <a:pt x="1729" y="972"/>
                  </a:cubicBezTo>
                  <a:cubicBezTo>
                    <a:pt x="1730" y="967"/>
                    <a:pt x="1725" y="962"/>
                    <a:pt x="1717" y="962"/>
                  </a:cubicBezTo>
                  <a:cubicBezTo>
                    <a:pt x="1717" y="962"/>
                    <a:pt x="1717" y="962"/>
                    <a:pt x="1717" y="962"/>
                  </a:cubicBezTo>
                  <a:moveTo>
                    <a:pt x="1758" y="962"/>
                  </a:moveTo>
                  <a:cubicBezTo>
                    <a:pt x="1750" y="962"/>
                    <a:pt x="1742" y="967"/>
                    <a:pt x="1741" y="972"/>
                  </a:cubicBezTo>
                  <a:cubicBezTo>
                    <a:pt x="1740" y="978"/>
                    <a:pt x="1745" y="983"/>
                    <a:pt x="1753" y="982"/>
                  </a:cubicBezTo>
                  <a:cubicBezTo>
                    <a:pt x="1761" y="982"/>
                    <a:pt x="1769" y="978"/>
                    <a:pt x="1770" y="972"/>
                  </a:cubicBezTo>
                  <a:cubicBezTo>
                    <a:pt x="1772" y="967"/>
                    <a:pt x="1766" y="962"/>
                    <a:pt x="1758" y="962"/>
                  </a:cubicBezTo>
                  <a:cubicBezTo>
                    <a:pt x="1758" y="962"/>
                    <a:pt x="1758" y="962"/>
                    <a:pt x="1758" y="962"/>
                  </a:cubicBezTo>
                  <a:moveTo>
                    <a:pt x="1800" y="962"/>
                  </a:moveTo>
                  <a:cubicBezTo>
                    <a:pt x="1792" y="962"/>
                    <a:pt x="1784" y="967"/>
                    <a:pt x="1783" y="972"/>
                  </a:cubicBezTo>
                  <a:cubicBezTo>
                    <a:pt x="1782" y="978"/>
                    <a:pt x="1787" y="982"/>
                    <a:pt x="1795" y="982"/>
                  </a:cubicBezTo>
                  <a:cubicBezTo>
                    <a:pt x="1803" y="982"/>
                    <a:pt x="1811" y="978"/>
                    <a:pt x="1812" y="972"/>
                  </a:cubicBezTo>
                  <a:cubicBezTo>
                    <a:pt x="1813" y="966"/>
                    <a:pt x="1808" y="962"/>
                    <a:pt x="1800" y="962"/>
                  </a:cubicBezTo>
                  <a:cubicBezTo>
                    <a:pt x="1800" y="962"/>
                    <a:pt x="1800" y="962"/>
                    <a:pt x="1800" y="962"/>
                  </a:cubicBezTo>
                  <a:moveTo>
                    <a:pt x="1842" y="962"/>
                  </a:moveTo>
                  <a:cubicBezTo>
                    <a:pt x="1834" y="962"/>
                    <a:pt x="1826" y="966"/>
                    <a:pt x="1825" y="972"/>
                  </a:cubicBezTo>
                  <a:cubicBezTo>
                    <a:pt x="1824" y="978"/>
                    <a:pt x="1830" y="982"/>
                    <a:pt x="1838" y="982"/>
                  </a:cubicBezTo>
                  <a:cubicBezTo>
                    <a:pt x="1846" y="982"/>
                    <a:pt x="1853" y="978"/>
                    <a:pt x="1855" y="972"/>
                  </a:cubicBezTo>
                  <a:cubicBezTo>
                    <a:pt x="1856" y="966"/>
                    <a:pt x="1850" y="962"/>
                    <a:pt x="1842" y="962"/>
                  </a:cubicBezTo>
                  <a:cubicBezTo>
                    <a:pt x="1842" y="962"/>
                    <a:pt x="1842" y="962"/>
                    <a:pt x="1842" y="962"/>
                  </a:cubicBezTo>
                  <a:moveTo>
                    <a:pt x="1883" y="962"/>
                  </a:moveTo>
                  <a:cubicBezTo>
                    <a:pt x="1875" y="962"/>
                    <a:pt x="1868" y="966"/>
                    <a:pt x="1867" y="972"/>
                  </a:cubicBezTo>
                  <a:cubicBezTo>
                    <a:pt x="1866" y="977"/>
                    <a:pt x="1871" y="982"/>
                    <a:pt x="1879" y="982"/>
                  </a:cubicBezTo>
                  <a:cubicBezTo>
                    <a:pt x="1888" y="982"/>
                    <a:pt x="1895" y="977"/>
                    <a:pt x="1896" y="972"/>
                  </a:cubicBezTo>
                  <a:cubicBezTo>
                    <a:pt x="1897" y="966"/>
                    <a:pt x="1892" y="962"/>
                    <a:pt x="1884" y="962"/>
                  </a:cubicBezTo>
                  <a:cubicBezTo>
                    <a:pt x="1884" y="962"/>
                    <a:pt x="1883" y="962"/>
                    <a:pt x="1883" y="962"/>
                  </a:cubicBezTo>
                  <a:moveTo>
                    <a:pt x="1925" y="961"/>
                  </a:moveTo>
                  <a:cubicBezTo>
                    <a:pt x="1917" y="961"/>
                    <a:pt x="1910" y="966"/>
                    <a:pt x="1909" y="972"/>
                  </a:cubicBezTo>
                  <a:cubicBezTo>
                    <a:pt x="1908" y="977"/>
                    <a:pt x="1913" y="982"/>
                    <a:pt x="1921" y="982"/>
                  </a:cubicBezTo>
                  <a:cubicBezTo>
                    <a:pt x="1929" y="982"/>
                    <a:pt x="1937" y="977"/>
                    <a:pt x="1938" y="972"/>
                  </a:cubicBezTo>
                  <a:cubicBezTo>
                    <a:pt x="1939" y="966"/>
                    <a:pt x="1933" y="961"/>
                    <a:pt x="1925" y="961"/>
                  </a:cubicBezTo>
                  <a:cubicBezTo>
                    <a:pt x="1925" y="961"/>
                    <a:pt x="1925" y="961"/>
                    <a:pt x="1925" y="961"/>
                  </a:cubicBezTo>
                  <a:moveTo>
                    <a:pt x="1967" y="961"/>
                  </a:moveTo>
                  <a:cubicBezTo>
                    <a:pt x="1958" y="961"/>
                    <a:pt x="1951" y="966"/>
                    <a:pt x="1950" y="972"/>
                  </a:cubicBezTo>
                  <a:cubicBezTo>
                    <a:pt x="1949" y="977"/>
                    <a:pt x="1955" y="982"/>
                    <a:pt x="1963" y="982"/>
                  </a:cubicBezTo>
                  <a:cubicBezTo>
                    <a:pt x="1971" y="982"/>
                    <a:pt x="1979" y="977"/>
                    <a:pt x="1979" y="971"/>
                  </a:cubicBezTo>
                  <a:cubicBezTo>
                    <a:pt x="1980" y="966"/>
                    <a:pt x="1975" y="961"/>
                    <a:pt x="1967" y="961"/>
                  </a:cubicBezTo>
                  <a:cubicBezTo>
                    <a:pt x="1967" y="961"/>
                    <a:pt x="1967" y="961"/>
                    <a:pt x="1967" y="961"/>
                  </a:cubicBezTo>
                  <a:moveTo>
                    <a:pt x="2008" y="961"/>
                  </a:moveTo>
                  <a:cubicBezTo>
                    <a:pt x="2000" y="961"/>
                    <a:pt x="1993" y="966"/>
                    <a:pt x="1992" y="971"/>
                  </a:cubicBezTo>
                  <a:cubicBezTo>
                    <a:pt x="1991" y="977"/>
                    <a:pt x="1997" y="982"/>
                    <a:pt x="2005" y="982"/>
                  </a:cubicBezTo>
                  <a:cubicBezTo>
                    <a:pt x="2013" y="982"/>
                    <a:pt x="2020" y="977"/>
                    <a:pt x="2021" y="971"/>
                  </a:cubicBezTo>
                  <a:cubicBezTo>
                    <a:pt x="2022" y="966"/>
                    <a:pt x="2016" y="961"/>
                    <a:pt x="2008" y="961"/>
                  </a:cubicBezTo>
                  <a:cubicBezTo>
                    <a:pt x="2008" y="961"/>
                    <a:pt x="2008" y="961"/>
                    <a:pt x="2008" y="961"/>
                  </a:cubicBezTo>
                  <a:moveTo>
                    <a:pt x="2051" y="961"/>
                  </a:moveTo>
                  <a:cubicBezTo>
                    <a:pt x="2043" y="961"/>
                    <a:pt x="2036" y="966"/>
                    <a:pt x="2035" y="971"/>
                  </a:cubicBezTo>
                  <a:cubicBezTo>
                    <a:pt x="2034" y="977"/>
                    <a:pt x="2040" y="981"/>
                    <a:pt x="2048" y="981"/>
                  </a:cubicBezTo>
                  <a:cubicBezTo>
                    <a:pt x="2057" y="981"/>
                    <a:pt x="2064" y="977"/>
                    <a:pt x="2064" y="971"/>
                  </a:cubicBezTo>
                  <a:cubicBezTo>
                    <a:pt x="2065" y="965"/>
                    <a:pt x="2059" y="961"/>
                    <a:pt x="2051" y="961"/>
                  </a:cubicBezTo>
                  <a:cubicBezTo>
                    <a:pt x="2051" y="961"/>
                    <a:pt x="2051" y="961"/>
                    <a:pt x="2051" y="961"/>
                  </a:cubicBezTo>
                  <a:moveTo>
                    <a:pt x="2093" y="961"/>
                  </a:moveTo>
                  <a:cubicBezTo>
                    <a:pt x="2085" y="961"/>
                    <a:pt x="2078" y="965"/>
                    <a:pt x="2077" y="971"/>
                  </a:cubicBezTo>
                  <a:cubicBezTo>
                    <a:pt x="2076" y="977"/>
                    <a:pt x="2082" y="981"/>
                    <a:pt x="2090" y="981"/>
                  </a:cubicBezTo>
                  <a:cubicBezTo>
                    <a:pt x="2098" y="981"/>
                    <a:pt x="2105" y="977"/>
                    <a:pt x="2106" y="971"/>
                  </a:cubicBezTo>
                  <a:cubicBezTo>
                    <a:pt x="2107" y="965"/>
                    <a:pt x="2101" y="961"/>
                    <a:pt x="2093" y="961"/>
                  </a:cubicBezTo>
                  <a:cubicBezTo>
                    <a:pt x="2093" y="961"/>
                    <a:pt x="2093" y="961"/>
                    <a:pt x="2093" y="961"/>
                  </a:cubicBezTo>
                  <a:moveTo>
                    <a:pt x="2134" y="961"/>
                  </a:moveTo>
                  <a:cubicBezTo>
                    <a:pt x="2126" y="961"/>
                    <a:pt x="2119" y="965"/>
                    <a:pt x="2119" y="971"/>
                  </a:cubicBezTo>
                  <a:cubicBezTo>
                    <a:pt x="2118" y="977"/>
                    <a:pt x="2124" y="981"/>
                    <a:pt x="2132" y="981"/>
                  </a:cubicBezTo>
                  <a:cubicBezTo>
                    <a:pt x="2140" y="981"/>
                    <a:pt x="2147" y="976"/>
                    <a:pt x="2148" y="971"/>
                  </a:cubicBezTo>
                  <a:cubicBezTo>
                    <a:pt x="2149" y="965"/>
                    <a:pt x="2143" y="961"/>
                    <a:pt x="2135" y="961"/>
                  </a:cubicBezTo>
                  <a:cubicBezTo>
                    <a:pt x="2135" y="961"/>
                    <a:pt x="2134" y="961"/>
                    <a:pt x="2134" y="961"/>
                  </a:cubicBezTo>
                  <a:moveTo>
                    <a:pt x="2177" y="960"/>
                  </a:moveTo>
                  <a:cubicBezTo>
                    <a:pt x="2169" y="961"/>
                    <a:pt x="2162" y="965"/>
                    <a:pt x="2161" y="971"/>
                  </a:cubicBezTo>
                  <a:cubicBezTo>
                    <a:pt x="2160" y="976"/>
                    <a:pt x="2166" y="981"/>
                    <a:pt x="2175" y="981"/>
                  </a:cubicBezTo>
                  <a:cubicBezTo>
                    <a:pt x="2183" y="981"/>
                    <a:pt x="2190" y="976"/>
                    <a:pt x="2190" y="971"/>
                  </a:cubicBezTo>
                  <a:cubicBezTo>
                    <a:pt x="2191" y="965"/>
                    <a:pt x="2185" y="960"/>
                    <a:pt x="2177" y="960"/>
                  </a:cubicBezTo>
                  <a:cubicBezTo>
                    <a:pt x="2177" y="960"/>
                    <a:pt x="2177" y="960"/>
                    <a:pt x="2177" y="960"/>
                  </a:cubicBezTo>
                  <a:moveTo>
                    <a:pt x="2218" y="960"/>
                  </a:moveTo>
                  <a:cubicBezTo>
                    <a:pt x="2210" y="960"/>
                    <a:pt x="2203" y="965"/>
                    <a:pt x="2202" y="971"/>
                  </a:cubicBezTo>
                  <a:cubicBezTo>
                    <a:pt x="2202" y="976"/>
                    <a:pt x="2208" y="981"/>
                    <a:pt x="2216" y="981"/>
                  </a:cubicBezTo>
                  <a:cubicBezTo>
                    <a:pt x="2224" y="981"/>
                    <a:pt x="2231" y="976"/>
                    <a:pt x="2232" y="970"/>
                  </a:cubicBezTo>
                  <a:cubicBezTo>
                    <a:pt x="2232" y="965"/>
                    <a:pt x="2226" y="960"/>
                    <a:pt x="2218" y="960"/>
                  </a:cubicBezTo>
                  <a:cubicBezTo>
                    <a:pt x="2218" y="960"/>
                    <a:pt x="2218" y="960"/>
                    <a:pt x="2218" y="960"/>
                  </a:cubicBezTo>
                  <a:moveTo>
                    <a:pt x="2260" y="960"/>
                  </a:moveTo>
                  <a:cubicBezTo>
                    <a:pt x="2252" y="960"/>
                    <a:pt x="2245" y="965"/>
                    <a:pt x="2244" y="970"/>
                  </a:cubicBezTo>
                  <a:cubicBezTo>
                    <a:pt x="2244" y="976"/>
                    <a:pt x="2250" y="981"/>
                    <a:pt x="2258" y="981"/>
                  </a:cubicBezTo>
                  <a:cubicBezTo>
                    <a:pt x="2266" y="981"/>
                    <a:pt x="2273" y="976"/>
                    <a:pt x="2273" y="970"/>
                  </a:cubicBezTo>
                  <a:cubicBezTo>
                    <a:pt x="2274" y="965"/>
                    <a:pt x="2268" y="960"/>
                    <a:pt x="2260" y="960"/>
                  </a:cubicBezTo>
                  <a:cubicBezTo>
                    <a:pt x="2260" y="960"/>
                    <a:pt x="2260" y="960"/>
                    <a:pt x="2260" y="960"/>
                  </a:cubicBezTo>
                  <a:moveTo>
                    <a:pt x="2301" y="960"/>
                  </a:moveTo>
                  <a:cubicBezTo>
                    <a:pt x="2293" y="960"/>
                    <a:pt x="2286" y="965"/>
                    <a:pt x="2286" y="970"/>
                  </a:cubicBezTo>
                  <a:cubicBezTo>
                    <a:pt x="2285" y="976"/>
                    <a:pt x="2292" y="980"/>
                    <a:pt x="2300" y="980"/>
                  </a:cubicBezTo>
                  <a:cubicBezTo>
                    <a:pt x="2308" y="980"/>
                    <a:pt x="2315" y="976"/>
                    <a:pt x="2315" y="970"/>
                  </a:cubicBezTo>
                  <a:cubicBezTo>
                    <a:pt x="2315" y="965"/>
                    <a:pt x="2309" y="960"/>
                    <a:pt x="2301" y="960"/>
                  </a:cubicBezTo>
                  <a:cubicBezTo>
                    <a:pt x="2301" y="960"/>
                    <a:pt x="2301" y="960"/>
                    <a:pt x="2301" y="960"/>
                  </a:cubicBezTo>
                  <a:moveTo>
                    <a:pt x="2343" y="960"/>
                  </a:moveTo>
                  <a:cubicBezTo>
                    <a:pt x="2335" y="960"/>
                    <a:pt x="2328" y="964"/>
                    <a:pt x="2328" y="970"/>
                  </a:cubicBezTo>
                  <a:cubicBezTo>
                    <a:pt x="2327" y="976"/>
                    <a:pt x="2334" y="980"/>
                    <a:pt x="2342" y="980"/>
                  </a:cubicBezTo>
                  <a:cubicBezTo>
                    <a:pt x="2350" y="980"/>
                    <a:pt x="2357" y="976"/>
                    <a:pt x="2357" y="970"/>
                  </a:cubicBezTo>
                  <a:cubicBezTo>
                    <a:pt x="2357" y="964"/>
                    <a:pt x="2351" y="960"/>
                    <a:pt x="2343" y="960"/>
                  </a:cubicBezTo>
                  <a:cubicBezTo>
                    <a:pt x="2343" y="960"/>
                    <a:pt x="2343" y="960"/>
                    <a:pt x="2343" y="960"/>
                  </a:cubicBezTo>
                  <a:moveTo>
                    <a:pt x="2385" y="960"/>
                  </a:moveTo>
                  <a:cubicBezTo>
                    <a:pt x="2377" y="960"/>
                    <a:pt x="2370" y="964"/>
                    <a:pt x="2370" y="970"/>
                  </a:cubicBezTo>
                  <a:cubicBezTo>
                    <a:pt x="2370" y="976"/>
                    <a:pt x="2376" y="980"/>
                    <a:pt x="2384" y="980"/>
                  </a:cubicBezTo>
                  <a:cubicBezTo>
                    <a:pt x="2392" y="980"/>
                    <a:pt x="2399" y="976"/>
                    <a:pt x="2399" y="970"/>
                  </a:cubicBezTo>
                  <a:cubicBezTo>
                    <a:pt x="2399" y="964"/>
                    <a:pt x="2393" y="960"/>
                    <a:pt x="2385" y="960"/>
                  </a:cubicBezTo>
                  <a:cubicBezTo>
                    <a:pt x="2385" y="960"/>
                    <a:pt x="2385" y="960"/>
                    <a:pt x="2385" y="960"/>
                  </a:cubicBezTo>
                  <a:moveTo>
                    <a:pt x="2426" y="960"/>
                  </a:moveTo>
                  <a:cubicBezTo>
                    <a:pt x="2418" y="960"/>
                    <a:pt x="2412" y="964"/>
                    <a:pt x="2411" y="970"/>
                  </a:cubicBezTo>
                  <a:cubicBezTo>
                    <a:pt x="2411" y="975"/>
                    <a:pt x="2418" y="980"/>
                    <a:pt x="2426" y="980"/>
                  </a:cubicBezTo>
                  <a:cubicBezTo>
                    <a:pt x="2434" y="980"/>
                    <a:pt x="2441" y="975"/>
                    <a:pt x="2441" y="970"/>
                  </a:cubicBezTo>
                  <a:cubicBezTo>
                    <a:pt x="2441" y="964"/>
                    <a:pt x="2434" y="960"/>
                    <a:pt x="2426" y="960"/>
                  </a:cubicBezTo>
                  <a:cubicBezTo>
                    <a:pt x="2426" y="960"/>
                    <a:pt x="2426" y="960"/>
                    <a:pt x="2426" y="960"/>
                  </a:cubicBezTo>
                  <a:moveTo>
                    <a:pt x="2468" y="959"/>
                  </a:moveTo>
                  <a:cubicBezTo>
                    <a:pt x="2460" y="959"/>
                    <a:pt x="2453" y="964"/>
                    <a:pt x="2453" y="970"/>
                  </a:cubicBezTo>
                  <a:cubicBezTo>
                    <a:pt x="2453" y="975"/>
                    <a:pt x="2460" y="980"/>
                    <a:pt x="2468" y="980"/>
                  </a:cubicBezTo>
                  <a:cubicBezTo>
                    <a:pt x="2476" y="980"/>
                    <a:pt x="2483" y="975"/>
                    <a:pt x="2483" y="970"/>
                  </a:cubicBezTo>
                  <a:cubicBezTo>
                    <a:pt x="2482" y="964"/>
                    <a:pt x="2476" y="959"/>
                    <a:pt x="2468" y="959"/>
                  </a:cubicBezTo>
                  <a:cubicBezTo>
                    <a:pt x="2468" y="959"/>
                    <a:pt x="2468" y="959"/>
                    <a:pt x="2468" y="959"/>
                  </a:cubicBezTo>
                  <a:moveTo>
                    <a:pt x="2509" y="959"/>
                  </a:moveTo>
                  <a:cubicBezTo>
                    <a:pt x="2501" y="959"/>
                    <a:pt x="2495" y="964"/>
                    <a:pt x="2495" y="969"/>
                  </a:cubicBezTo>
                  <a:cubicBezTo>
                    <a:pt x="2495" y="975"/>
                    <a:pt x="2501" y="980"/>
                    <a:pt x="2509" y="980"/>
                  </a:cubicBezTo>
                  <a:cubicBezTo>
                    <a:pt x="2518" y="980"/>
                    <a:pt x="2524" y="975"/>
                    <a:pt x="2524" y="969"/>
                  </a:cubicBezTo>
                  <a:cubicBezTo>
                    <a:pt x="2524" y="964"/>
                    <a:pt x="2517" y="959"/>
                    <a:pt x="2509" y="959"/>
                  </a:cubicBezTo>
                  <a:cubicBezTo>
                    <a:pt x="2509" y="959"/>
                    <a:pt x="2509" y="959"/>
                    <a:pt x="2509" y="959"/>
                  </a:cubicBezTo>
                  <a:moveTo>
                    <a:pt x="2551" y="959"/>
                  </a:moveTo>
                  <a:cubicBezTo>
                    <a:pt x="2543" y="959"/>
                    <a:pt x="2537" y="964"/>
                    <a:pt x="2537" y="969"/>
                  </a:cubicBezTo>
                  <a:cubicBezTo>
                    <a:pt x="2537" y="975"/>
                    <a:pt x="2543" y="980"/>
                    <a:pt x="2552" y="980"/>
                  </a:cubicBezTo>
                  <a:cubicBezTo>
                    <a:pt x="2560" y="979"/>
                    <a:pt x="2566" y="975"/>
                    <a:pt x="2566" y="969"/>
                  </a:cubicBezTo>
                  <a:cubicBezTo>
                    <a:pt x="2566" y="964"/>
                    <a:pt x="2559" y="959"/>
                    <a:pt x="2551" y="959"/>
                  </a:cubicBezTo>
                  <a:cubicBezTo>
                    <a:pt x="2551" y="959"/>
                    <a:pt x="2551" y="959"/>
                    <a:pt x="2551" y="959"/>
                  </a:cubicBezTo>
                  <a:moveTo>
                    <a:pt x="2593" y="959"/>
                  </a:moveTo>
                  <a:cubicBezTo>
                    <a:pt x="2585" y="959"/>
                    <a:pt x="2579" y="964"/>
                    <a:pt x="2579" y="969"/>
                  </a:cubicBezTo>
                  <a:cubicBezTo>
                    <a:pt x="2579" y="975"/>
                    <a:pt x="2586" y="979"/>
                    <a:pt x="2594" y="979"/>
                  </a:cubicBezTo>
                  <a:cubicBezTo>
                    <a:pt x="2602" y="979"/>
                    <a:pt x="2608" y="975"/>
                    <a:pt x="2608" y="969"/>
                  </a:cubicBezTo>
                  <a:cubicBezTo>
                    <a:pt x="2608" y="963"/>
                    <a:pt x="2601" y="959"/>
                    <a:pt x="2593" y="959"/>
                  </a:cubicBezTo>
                  <a:cubicBezTo>
                    <a:pt x="2593" y="959"/>
                    <a:pt x="2593" y="959"/>
                    <a:pt x="2593" y="959"/>
                  </a:cubicBezTo>
                  <a:moveTo>
                    <a:pt x="2635" y="959"/>
                  </a:moveTo>
                  <a:cubicBezTo>
                    <a:pt x="2626" y="959"/>
                    <a:pt x="2620" y="963"/>
                    <a:pt x="2620" y="969"/>
                  </a:cubicBezTo>
                  <a:cubicBezTo>
                    <a:pt x="2621" y="975"/>
                    <a:pt x="2627" y="979"/>
                    <a:pt x="2636" y="979"/>
                  </a:cubicBezTo>
                  <a:cubicBezTo>
                    <a:pt x="2644" y="979"/>
                    <a:pt x="2650" y="975"/>
                    <a:pt x="2650" y="969"/>
                  </a:cubicBezTo>
                  <a:cubicBezTo>
                    <a:pt x="2649" y="963"/>
                    <a:pt x="2643" y="959"/>
                    <a:pt x="2635" y="959"/>
                  </a:cubicBezTo>
                  <a:cubicBezTo>
                    <a:pt x="2635" y="959"/>
                    <a:pt x="2635" y="959"/>
                    <a:pt x="2635" y="959"/>
                  </a:cubicBezTo>
                  <a:moveTo>
                    <a:pt x="2677" y="959"/>
                  </a:moveTo>
                  <a:cubicBezTo>
                    <a:pt x="2668" y="959"/>
                    <a:pt x="2662" y="963"/>
                    <a:pt x="2663" y="969"/>
                  </a:cubicBezTo>
                  <a:cubicBezTo>
                    <a:pt x="2663" y="975"/>
                    <a:pt x="2670" y="979"/>
                    <a:pt x="2678" y="979"/>
                  </a:cubicBezTo>
                  <a:cubicBezTo>
                    <a:pt x="2686" y="979"/>
                    <a:pt x="2692" y="974"/>
                    <a:pt x="2692" y="969"/>
                  </a:cubicBezTo>
                  <a:cubicBezTo>
                    <a:pt x="2691" y="963"/>
                    <a:pt x="2685" y="959"/>
                    <a:pt x="2677" y="959"/>
                  </a:cubicBezTo>
                  <a:cubicBezTo>
                    <a:pt x="2677" y="959"/>
                    <a:pt x="2677" y="959"/>
                    <a:pt x="2677" y="959"/>
                  </a:cubicBezTo>
                  <a:moveTo>
                    <a:pt x="2717" y="958"/>
                  </a:moveTo>
                  <a:cubicBezTo>
                    <a:pt x="2709" y="958"/>
                    <a:pt x="2702" y="963"/>
                    <a:pt x="2703" y="969"/>
                  </a:cubicBezTo>
                  <a:cubicBezTo>
                    <a:pt x="2703" y="974"/>
                    <a:pt x="2710" y="979"/>
                    <a:pt x="2718" y="979"/>
                  </a:cubicBezTo>
                  <a:cubicBezTo>
                    <a:pt x="2726" y="979"/>
                    <a:pt x="2733" y="974"/>
                    <a:pt x="2732" y="969"/>
                  </a:cubicBezTo>
                  <a:cubicBezTo>
                    <a:pt x="2732" y="963"/>
                    <a:pt x="2725" y="958"/>
                    <a:pt x="2717" y="958"/>
                  </a:cubicBezTo>
                  <a:cubicBezTo>
                    <a:pt x="2717" y="958"/>
                    <a:pt x="2717" y="958"/>
                    <a:pt x="2717" y="958"/>
                  </a:cubicBezTo>
                  <a:moveTo>
                    <a:pt x="2759" y="958"/>
                  </a:moveTo>
                  <a:cubicBezTo>
                    <a:pt x="2751" y="958"/>
                    <a:pt x="2744" y="963"/>
                    <a:pt x="2745" y="969"/>
                  </a:cubicBezTo>
                  <a:cubicBezTo>
                    <a:pt x="2745" y="974"/>
                    <a:pt x="2752" y="979"/>
                    <a:pt x="2761" y="979"/>
                  </a:cubicBezTo>
                  <a:cubicBezTo>
                    <a:pt x="2769" y="979"/>
                    <a:pt x="2775" y="974"/>
                    <a:pt x="2774" y="968"/>
                  </a:cubicBezTo>
                  <a:cubicBezTo>
                    <a:pt x="2774" y="963"/>
                    <a:pt x="2767" y="958"/>
                    <a:pt x="2759" y="958"/>
                  </a:cubicBezTo>
                  <a:cubicBezTo>
                    <a:pt x="2759" y="958"/>
                    <a:pt x="2759" y="958"/>
                    <a:pt x="2759" y="958"/>
                  </a:cubicBezTo>
                  <a:moveTo>
                    <a:pt x="3424" y="957"/>
                  </a:moveTo>
                  <a:cubicBezTo>
                    <a:pt x="3416" y="958"/>
                    <a:pt x="3411" y="962"/>
                    <a:pt x="3413" y="968"/>
                  </a:cubicBezTo>
                  <a:cubicBezTo>
                    <a:pt x="3414" y="973"/>
                    <a:pt x="3422" y="978"/>
                    <a:pt x="3431" y="978"/>
                  </a:cubicBezTo>
                  <a:cubicBezTo>
                    <a:pt x="3439" y="978"/>
                    <a:pt x="3444" y="973"/>
                    <a:pt x="3442" y="968"/>
                  </a:cubicBezTo>
                  <a:cubicBezTo>
                    <a:pt x="3440" y="962"/>
                    <a:pt x="3432" y="957"/>
                    <a:pt x="3424" y="957"/>
                  </a:cubicBezTo>
                  <a:cubicBezTo>
                    <a:pt x="3424" y="957"/>
                    <a:pt x="3424" y="957"/>
                    <a:pt x="3424" y="957"/>
                  </a:cubicBezTo>
                  <a:moveTo>
                    <a:pt x="3466" y="957"/>
                  </a:moveTo>
                  <a:cubicBezTo>
                    <a:pt x="3458" y="957"/>
                    <a:pt x="3453" y="962"/>
                    <a:pt x="3455" y="968"/>
                  </a:cubicBezTo>
                  <a:cubicBezTo>
                    <a:pt x="3456" y="973"/>
                    <a:pt x="3464" y="978"/>
                    <a:pt x="3473" y="978"/>
                  </a:cubicBezTo>
                  <a:cubicBezTo>
                    <a:pt x="3481" y="978"/>
                    <a:pt x="3486" y="973"/>
                    <a:pt x="3484" y="968"/>
                  </a:cubicBezTo>
                  <a:cubicBezTo>
                    <a:pt x="3482" y="962"/>
                    <a:pt x="3474" y="957"/>
                    <a:pt x="3466" y="957"/>
                  </a:cubicBezTo>
                  <a:cubicBezTo>
                    <a:pt x="3466" y="957"/>
                    <a:pt x="3466" y="957"/>
                    <a:pt x="3466" y="957"/>
                  </a:cubicBezTo>
                  <a:moveTo>
                    <a:pt x="3840" y="954"/>
                  </a:moveTo>
                  <a:cubicBezTo>
                    <a:pt x="3832" y="954"/>
                    <a:pt x="3827" y="959"/>
                    <a:pt x="3830" y="964"/>
                  </a:cubicBezTo>
                  <a:cubicBezTo>
                    <a:pt x="3833" y="970"/>
                    <a:pt x="3841" y="974"/>
                    <a:pt x="3849" y="974"/>
                  </a:cubicBezTo>
                  <a:cubicBezTo>
                    <a:pt x="3857" y="974"/>
                    <a:pt x="3862" y="970"/>
                    <a:pt x="3859" y="964"/>
                  </a:cubicBezTo>
                  <a:cubicBezTo>
                    <a:pt x="3857" y="958"/>
                    <a:pt x="3848" y="954"/>
                    <a:pt x="3840" y="954"/>
                  </a:cubicBezTo>
                  <a:cubicBezTo>
                    <a:pt x="3840" y="954"/>
                    <a:pt x="3840" y="954"/>
                    <a:pt x="3840" y="954"/>
                  </a:cubicBezTo>
                  <a:moveTo>
                    <a:pt x="3926" y="954"/>
                  </a:moveTo>
                  <a:cubicBezTo>
                    <a:pt x="3918" y="954"/>
                    <a:pt x="3913" y="958"/>
                    <a:pt x="3916" y="964"/>
                  </a:cubicBezTo>
                  <a:cubicBezTo>
                    <a:pt x="3919" y="970"/>
                    <a:pt x="3928" y="974"/>
                    <a:pt x="3936" y="974"/>
                  </a:cubicBezTo>
                  <a:cubicBezTo>
                    <a:pt x="3944" y="974"/>
                    <a:pt x="3948" y="969"/>
                    <a:pt x="3945" y="964"/>
                  </a:cubicBezTo>
                  <a:cubicBezTo>
                    <a:pt x="3943" y="958"/>
                    <a:pt x="3934" y="954"/>
                    <a:pt x="3926" y="954"/>
                  </a:cubicBezTo>
                  <a:cubicBezTo>
                    <a:pt x="3926" y="954"/>
                    <a:pt x="3926" y="954"/>
                    <a:pt x="3926" y="954"/>
                  </a:cubicBezTo>
                  <a:moveTo>
                    <a:pt x="3967" y="953"/>
                  </a:moveTo>
                  <a:cubicBezTo>
                    <a:pt x="3959" y="953"/>
                    <a:pt x="3954" y="958"/>
                    <a:pt x="3957" y="964"/>
                  </a:cubicBezTo>
                  <a:cubicBezTo>
                    <a:pt x="3960" y="969"/>
                    <a:pt x="3969" y="974"/>
                    <a:pt x="3977" y="974"/>
                  </a:cubicBezTo>
                  <a:cubicBezTo>
                    <a:pt x="3985" y="974"/>
                    <a:pt x="3989" y="969"/>
                    <a:pt x="3986" y="964"/>
                  </a:cubicBezTo>
                  <a:cubicBezTo>
                    <a:pt x="3984" y="958"/>
                    <a:pt x="3975" y="953"/>
                    <a:pt x="3967" y="953"/>
                  </a:cubicBezTo>
                  <a:cubicBezTo>
                    <a:pt x="3967" y="953"/>
                    <a:pt x="3967" y="953"/>
                    <a:pt x="3967" y="953"/>
                  </a:cubicBezTo>
                  <a:moveTo>
                    <a:pt x="4008" y="953"/>
                  </a:moveTo>
                  <a:cubicBezTo>
                    <a:pt x="4000" y="953"/>
                    <a:pt x="3996" y="958"/>
                    <a:pt x="3999" y="964"/>
                  </a:cubicBezTo>
                  <a:cubicBezTo>
                    <a:pt x="4002" y="969"/>
                    <a:pt x="4010" y="974"/>
                    <a:pt x="4019" y="974"/>
                  </a:cubicBezTo>
                  <a:cubicBezTo>
                    <a:pt x="4027" y="974"/>
                    <a:pt x="4031" y="969"/>
                    <a:pt x="4028" y="963"/>
                  </a:cubicBezTo>
                  <a:cubicBezTo>
                    <a:pt x="4025" y="958"/>
                    <a:pt x="4016" y="953"/>
                    <a:pt x="4008" y="953"/>
                  </a:cubicBezTo>
                  <a:cubicBezTo>
                    <a:pt x="4008" y="953"/>
                    <a:pt x="4008" y="953"/>
                    <a:pt x="4008" y="953"/>
                  </a:cubicBezTo>
                  <a:moveTo>
                    <a:pt x="4050" y="953"/>
                  </a:moveTo>
                  <a:cubicBezTo>
                    <a:pt x="4042" y="953"/>
                    <a:pt x="4038" y="958"/>
                    <a:pt x="4040" y="963"/>
                  </a:cubicBezTo>
                  <a:cubicBezTo>
                    <a:pt x="4043" y="969"/>
                    <a:pt x="4052" y="974"/>
                    <a:pt x="4060" y="974"/>
                  </a:cubicBezTo>
                  <a:cubicBezTo>
                    <a:pt x="4069" y="974"/>
                    <a:pt x="4073" y="969"/>
                    <a:pt x="4070" y="963"/>
                  </a:cubicBezTo>
                  <a:cubicBezTo>
                    <a:pt x="4067" y="958"/>
                    <a:pt x="4058" y="953"/>
                    <a:pt x="4050" y="953"/>
                  </a:cubicBezTo>
                  <a:cubicBezTo>
                    <a:pt x="4050" y="953"/>
                    <a:pt x="4050" y="953"/>
                    <a:pt x="4050" y="953"/>
                  </a:cubicBezTo>
                  <a:moveTo>
                    <a:pt x="4341" y="951"/>
                  </a:moveTo>
                  <a:cubicBezTo>
                    <a:pt x="4332" y="951"/>
                    <a:pt x="4329" y="956"/>
                    <a:pt x="4332" y="961"/>
                  </a:cubicBezTo>
                  <a:cubicBezTo>
                    <a:pt x="4336" y="967"/>
                    <a:pt x="4345" y="972"/>
                    <a:pt x="4353" y="971"/>
                  </a:cubicBezTo>
                  <a:cubicBezTo>
                    <a:pt x="4361" y="971"/>
                    <a:pt x="4365" y="967"/>
                    <a:pt x="4361" y="961"/>
                  </a:cubicBezTo>
                  <a:cubicBezTo>
                    <a:pt x="4358" y="955"/>
                    <a:pt x="4349" y="951"/>
                    <a:pt x="4341" y="951"/>
                  </a:cubicBezTo>
                  <a:cubicBezTo>
                    <a:pt x="4341" y="951"/>
                    <a:pt x="4341" y="951"/>
                    <a:pt x="4341" y="951"/>
                  </a:cubicBezTo>
                  <a:moveTo>
                    <a:pt x="238" y="940"/>
                  </a:moveTo>
                  <a:cubicBezTo>
                    <a:pt x="230" y="940"/>
                    <a:pt x="220" y="945"/>
                    <a:pt x="216" y="950"/>
                  </a:cubicBezTo>
                  <a:cubicBezTo>
                    <a:pt x="211" y="956"/>
                    <a:pt x="214" y="960"/>
                    <a:pt x="222" y="960"/>
                  </a:cubicBezTo>
                  <a:cubicBezTo>
                    <a:pt x="230" y="960"/>
                    <a:pt x="240" y="956"/>
                    <a:pt x="245" y="950"/>
                  </a:cubicBezTo>
                  <a:cubicBezTo>
                    <a:pt x="249" y="944"/>
                    <a:pt x="246" y="940"/>
                    <a:pt x="238" y="940"/>
                  </a:cubicBezTo>
                  <a:cubicBezTo>
                    <a:pt x="238" y="940"/>
                    <a:pt x="238" y="940"/>
                    <a:pt x="238" y="940"/>
                  </a:cubicBezTo>
                  <a:moveTo>
                    <a:pt x="279" y="940"/>
                  </a:moveTo>
                  <a:cubicBezTo>
                    <a:pt x="271" y="940"/>
                    <a:pt x="261" y="944"/>
                    <a:pt x="257" y="950"/>
                  </a:cubicBezTo>
                  <a:cubicBezTo>
                    <a:pt x="253" y="956"/>
                    <a:pt x="256" y="960"/>
                    <a:pt x="264" y="960"/>
                  </a:cubicBezTo>
                  <a:cubicBezTo>
                    <a:pt x="272" y="960"/>
                    <a:pt x="282" y="955"/>
                    <a:pt x="286" y="950"/>
                  </a:cubicBezTo>
                  <a:cubicBezTo>
                    <a:pt x="290" y="944"/>
                    <a:pt x="287" y="940"/>
                    <a:pt x="279" y="940"/>
                  </a:cubicBezTo>
                  <a:cubicBezTo>
                    <a:pt x="279" y="940"/>
                    <a:pt x="279" y="940"/>
                    <a:pt x="279" y="940"/>
                  </a:cubicBezTo>
                  <a:moveTo>
                    <a:pt x="321" y="940"/>
                  </a:moveTo>
                  <a:cubicBezTo>
                    <a:pt x="313" y="940"/>
                    <a:pt x="303" y="944"/>
                    <a:pt x="299" y="950"/>
                  </a:cubicBezTo>
                  <a:cubicBezTo>
                    <a:pt x="295" y="955"/>
                    <a:pt x="298" y="960"/>
                    <a:pt x="306" y="960"/>
                  </a:cubicBezTo>
                  <a:cubicBezTo>
                    <a:pt x="314" y="960"/>
                    <a:pt x="324" y="955"/>
                    <a:pt x="328" y="950"/>
                  </a:cubicBezTo>
                  <a:cubicBezTo>
                    <a:pt x="332" y="944"/>
                    <a:pt x="329" y="940"/>
                    <a:pt x="321" y="940"/>
                  </a:cubicBezTo>
                  <a:cubicBezTo>
                    <a:pt x="321" y="940"/>
                    <a:pt x="321" y="940"/>
                    <a:pt x="321" y="940"/>
                  </a:cubicBezTo>
                  <a:moveTo>
                    <a:pt x="362" y="939"/>
                  </a:moveTo>
                  <a:cubicBezTo>
                    <a:pt x="354" y="939"/>
                    <a:pt x="344" y="944"/>
                    <a:pt x="340" y="950"/>
                  </a:cubicBezTo>
                  <a:cubicBezTo>
                    <a:pt x="336" y="955"/>
                    <a:pt x="339" y="960"/>
                    <a:pt x="347" y="960"/>
                  </a:cubicBezTo>
                  <a:cubicBezTo>
                    <a:pt x="356" y="960"/>
                    <a:pt x="365" y="955"/>
                    <a:pt x="369" y="950"/>
                  </a:cubicBezTo>
                  <a:cubicBezTo>
                    <a:pt x="373" y="944"/>
                    <a:pt x="370" y="939"/>
                    <a:pt x="362" y="939"/>
                  </a:cubicBezTo>
                  <a:cubicBezTo>
                    <a:pt x="362" y="939"/>
                    <a:pt x="362" y="939"/>
                    <a:pt x="362" y="939"/>
                  </a:cubicBezTo>
                  <a:moveTo>
                    <a:pt x="1685" y="933"/>
                  </a:moveTo>
                  <a:cubicBezTo>
                    <a:pt x="1677" y="933"/>
                    <a:pt x="1670" y="938"/>
                    <a:pt x="1668" y="943"/>
                  </a:cubicBezTo>
                  <a:cubicBezTo>
                    <a:pt x="1667" y="949"/>
                    <a:pt x="1672" y="953"/>
                    <a:pt x="1680" y="953"/>
                  </a:cubicBezTo>
                  <a:cubicBezTo>
                    <a:pt x="1688" y="953"/>
                    <a:pt x="1696" y="949"/>
                    <a:pt x="1697" y="943"/>
                  </a:cubicBezTo>
                  <a:cubicBezTo>
                    <a:pt x="1699" y="937"/>
                    <a:pt x="1693" y="933"/>
                    <a:pt x="1685" y="933"/>
                  </a:cubicBezTo>
                  <a:cubicBezTo>
                    <a:pt x="1685" y="933"/>
                    <a:pt x="1685" y="933"/>
                    <a:pt x="1685" y="933"/>
                  </a:cubicBezTo>
                  <a:moveTo>
                    <a:pt x="1724" y="933"/>
                  </a:moveTo>
                  <a:cubicBezTo>
                    <a:pt x="1716" y="933"/>
                    <a:pt x="1709" y="937"/>
                    <a:pt x="1707" y="943"/>
                  </a:cubicBezTo>
                  <a:cubicBezTo>
                    <a:pt x="1706" y="949"/>
                    <a:pt x="1711" y="953"/>
                    <a:pt x="1719" y="953"/>
                  </a:cubicBezTo>
                  <a:cubicBezTo>
                    <a:pt x="1727" y="953"/>
                    <a:pt x="1735" y="949"/>
                    <a:pt x="1736" y="943"/>
                  </a:cubicBezTo>
                  <a:cubicBezTo>
                    <a:pt x="1737" y="937"/>
                    <a:pt x="1732" y="933"/>
                    <a:pt x="1724" y="933"/>
                  </a:cubicBezTo>
                  <a:cubicBezTo>
                    <a:pt x="1724" y="933"/>
                    <a:pt x="1724" y="933"/>
                    <a:pt x="1724" y="933"/>
                  </a:cubicBezTo>
                  <a:moveTo>
                    <a:pt x="1765" y="933"/>
                  </a:moveTo>
                  <a:cubicBezTo>
                    <a:pt x="1757" y="933"/>
                    <a:pt x="1750" y="937"/>
                    <a:pt x="1748" y="943"/>
                  </a:cubicBezTo>
                  <a:cubicBezTo>
                    <a:pt x="1747" y="949"/>
                    <a:pt x="1752" y="953"/>
                    <a:pt x="1760" y="953"/>
                  </a:cubicBezTo>
                  <a:cubicBezTo>
                    <a:pt x="1768" y="953"/>
                    <a:pt x="1776" y="948"/>
                    <a:pt x="1777" y="943"/>
                  </a:cubicBezTo>
                  <a:cubicBezTo>
                    <a:pt x="1779" y="937"/>
                    <a:pt x="1773" y="933"/>
                    <a:pt x="1765" y="933"/>
                  </a:cubicBezTo>
                  <a:cubicBezTo>
                    <a:pt x="1765" y="933"/>
                    <a:pt x="1765" y="933"/>
                    <a:pt x="1765" y="933"/>
                  </a:cubicBezTo>
                  <a:moveTo>
                    <a:pt x="1807" y="932"/>
                  </a:moveTo>
                  <a:cubicBezTo>
                    <a:pt x="1799" y="933"/>
                    <a:pt x="1791" y="937"/>
                    <a:pt x="1790" y="943"/>
                  </a:cubicBezTo>
                  <a:cubicBezTo>
                    <a:pt x="1788" y="948"/>
                    <a:pt x="1794" y="953"/>
                    <a:pt x="1802" y="953"/>
                  </a:cubicBezTo>
                  <a:cubicBezTo>
                    <a:pt x="1810" y="953"/>
                    <a:pt x="1817" y="948"/>
                    <a:pt x="1819" y="943"/>
                  </a:cubicBezTo>
                  <a:cubicBezTo>
                    <a:pt x="1820" y="937"/>
                    <a:pt x="1815" y="932"/>
                    <a:pt x="1807" y="932"/>
                  </a:cubicBezTo>
                  <a:cubicBezTo>
                    <a:pt x="1807" y="932"/>
                    <a:pt x="1807" y="932"/>
                    <a:pt x="1807" y="932"/>
                  </a:cubicBezTo>
                  <a:moveTo>
                    <a:pt x="1848" y="932"/>
                  </a:moveTo>
                  <a:cubicBezTo>
                    <a:pt x="1840" y="932"/>
                    <a:pt x="1833" y="937"/>
                    <a:pt x="1832" y="943"/>
                  </a:cubicBezTo>
                  <a:cubicBezTo>
                    <a:pt x="1830" y="948"/>
                    <a:pt x="1836" y="953"/>
                    <a:pt x="1844" y="953"/>
                  </a:cubicBezTo>
                  <a:cubicBezTo>
                    <a:pt x="1852" y="953"/>
                    <a:pt x="1859" y="948"/>
                    <a:pt x="1861" y="942"/>
                  </a:cubicBezTo>
                  <a:cubicBezTo>
                    <a:pt x="1862" y="937"/>
                    <a:pt x="1856" y="932"/>
                    <a:pt x="1848" y="932"/>
                  </a:cubicBezTo>
                  <a:cubicBezTo>
                    <a:pt x="1848" y="932"/>
                    <a:pt x="1848" y="932"/>
                    <a:pt x="1848" y="932"/>
                  </a:cubicBezTo>
                  <a:moveTo>
                    <a:pt x="1889" y="932"/>
                  </a:moveTo>
                  <a:cubicBezTo>
                    <a:pt x="1881" y="932"/>
                    <a:pt x="1874" y="937"/>
                    <a:pt x="1873" y="942"/>
                  </a:cubicBezTo>
                  <a:cubicBezTo>
                    <a:pt x="1872" y="948"/>
                    <a:pt x="1877" y="953"/>
                    <a:pt x="1885" y="953"/>
                  </a:cubicBezTo>
                  <a:cubicBezTo>
                    <a:pt x="1893" y="953"/>
                    <a:pt x="1901" y="948"/>
                    <a:pt x="1902" y="942"/>
                  </a:cubicBezTo>
                  <a:cubicBezTo>
                    <a:pt x="1903" y="937"/>
                    <a:pt x="1897" y="932"/>
                    <a:pt x="1889" y="932"/>
                  </a:cubicBezTo>
                  <a:cubicBezTo>
                    <a:pt x="1889" y="932"/>
                    <a:pt x="1889" y="932"/>
                    <a:pt x="1889" y="932"/>
                  </a:cubicBezTo>
                  <a:moveTo>
                    <a:pt x="1931" y="932"/>
                  </a:moveTo>
                  <a:cubicBezTo>
                    <a:pt x="1923" y="932"/>
                    <a:pt x="1915" y="937"/>
                    <a:pt x="1914" y="942"/>
                  </a:cubicBezTo>
                  <a:cubicBezTo>
                    <a:pt x="1913" y="948"/>
                    <a:pt x="1919" y="952"/>
                    <a:pt x="1927" y="952"/>
                  </a:cubicBezTo>
                  <a:cubicBezTo>
                    <a:pt x="1935" y="952"/>
                    <a:pt x="1942" y="948"/>
                    <a:pt x="1943" y="942"/>
                  </a:cubicBezTo>
                  <a:cubicBezTo>
                    <a:pt x="1944" y="937"/>
                    <a:pt x="1939" y="932"/>
                    <a:pt x="1931" y="932"/>
                  </a:cubicBezTo>
                  <a:cubicBezTo>
                    <a:pt x="1931" y="932"/>
                    <a:pt x="1931" y="932"/>
                    <a:pt x="1931" y="932"/>
                  </a:cubicBezTo>
                  <a:moveTo>
                    <a:pt x="1972" y="932"/>
                  </a:moveTo>
                  <a:cubicBezTo>
                    <a:pt x="1964" y="932"/>
                    <a:pt x="1956" y="936"/>
                    <a:pt x="1955" y="942"/>
                  </a:cubicBezTo>
                  <a:cubicBezTo>
                    <a:pt x="1954" y="948"/>
                    <a:pt x="1960" y="952"/>
                    <a:pt x="1968" y="952"/>
                  </a:cubicBezTo>
                  <a:cubicBezTo>
                    <a:pt x="1976" y="952"/>
                    <a:pt x="1983" y="948"/>
                    <a:pt x="1984" y="942"/>
                  </a:cubicBezTo>
                  <a:cubicBezTo>
                    <a:pt x="1985" y="936"/>
                    <a:pt x="1980" y="932"/>
                    <a:pt x="1972" y="932"/>
                  </a:cubicBezTo>
                  <a:cubicBezTo>
                    <a:pt x="1972" y="932"/>
                    <a:pt x="1972" y="932"/>
                    <a:pt x="1972" y="932"/>
                  </a:cubicBezTo>
                  <a:moveTo>
                    <a:pt x="2013" y="932"/>
                  </a:moveTo>
                  <a:cubicBezTo>
                    <a:pt x="2005" y="932"/>
                    <a:pt x="1998" y="936"/>
                    <a:pt x="1997" y="942"/>
                  </a:cubicBezTo>
                  <a:cubicBezTo>
                    <a:pt x="1996" y="948"/>
                    <a:pt x="2002" y="952"/>
                    <a:pt x="2010" y="952"/>
                  </a:cubicBezTo>
                  <a:cubicBezTo>
                    <a:pt x="2018" y="952"/>
                    <a:pt x="2025" y="947"/>
                    <a:pt x="2026" y="942"/>
                  </a:cubicBezTo>
                  <a:cubicBezTo>
                    <a:pt x="2027" y="936"/>
                    <a:pt x="2021" y="932"/>
                    <a:pt x="2013" y="932"/>
                  </a:cubicBezTo>
                  <a:cubicBezTo>
                    <a:pt x="2013" y="932"/>
                    <a:pt x="2013" y="932"/>
                    <a:pt x="2013" y="932"/>
                  </a:cubicBezTo>
                  <a:moveTo>
                    <a:pt x="2055" y="931"/>
                  </a:moveTo>
                  <a:cubicBezTo>
                    <a:pt x="2047" y="932"/>
                    <a:pt x="2040" y="936"/>
                    <a:pt x="2040" y="942"/>
                  </a:cubicBezTo>
                  <a:cubicBezTo>
                    <a:pt x="2039" y="947"/>
                    <a:pt x="2045" y="952"/>
                    <a:pt x="2053" y="952"/>
                  </a:cubicBezTo>
                  <a:cubicBezTo>
                    <a:pt x="2061" y="952"/>
                    <a:pt x="2068" y="947"/>
                    <a:pt x="2069" y="942"/>
                  </a:cubicBezTo>
                  <a:cubicBezTo>
                    <a:pt x="2069" y="936"/>
                    <a:pt x="2063" y="931"/>
                    <a:pt x="2056" y="931"/>
                  </a:cubicBezTo>
                  <a:cubicBezTo>
                    <a:pt x="2056" y="931"/>
                    <a:pt x="2055" y="931"/>
                    <a:pt x="2055" y="931"/>
                  </a:cubicBezTo>
                  <a:moveTo>
                    <a:pt x="2096" y="931"/>
                  </a:moveTo>
                  <a:cubicBezTo>
                    <a:pt x="2088" y="931"/>
                    <a:pt x="2081" y="936"/>
                    <a:pt x="2081" y="942"/>
                  </a:cubicBezTo>
                  <a:cubicBezTo>
                    <a:pt x="2080" y="947"/>
                    <a:pt x="2086" y="952"/>
                    <a:pt x="2094" y="952"/>
                  </a:cubicBezTo>
                  <a:cubicBezTo>
                    <a:pt x="2102" y="952"/>
                    <a:pt x="2109" y="947"/>
                    <a:pt x="2110" y="941"/>
                  </a:cubicBezTo>
                  <a:cubicBezTo>
                    <a:pt x="2110" y="936"/>
                    <a:pt x="2104" y="931"/>
                    <a:pt x="2097" y="931"/>
                  </a:cubicBezTo>
                  <a:cubicBezTo>
                    <a:pt x="2097" y="931"/>
                    <a:pt x="2096" y="931"/>
                    <a:pt x="2096" y="931"/>
                  </a:cubicBezTo>
                  <a:moveTo>
                    <a:pt x="2138" y="931"/>
                  </a:moveTo>
                  <a:cubicBezTo>
                    <a:pt x="2130" y="931"/>
                    <a:pt x="2123" y="936"/>
                    <a:pt x="2122" y="941"/>
                  </a:cubicBezTo>
                  <a:cubicBezTo>
                    <a:pt x="2121" y="947"/>
                    <a:pt x="2127" y="952"/>
                    <a:pt x="2135" y="952"/>
                  </a:cubicBezTo>
                  <a:cubicBezTo>
                    <a:pt x="2144" y="952"/>
                    <a:pt x="2151" y="947"/>
                    <a:pt x="2151" y="941"/>
                  </a:cubicBezTo>
                  <a:cubicBezTo>
                    <a:pt x="2152" y="936"/>
                    <a:pt x="2146" y="931"/>
                    <a:pt x="2138" y="931"/>
                  </a:cubicBezTo>
                  <a:cubicBezTo>
                    <a:pt x="2138" y="931"/>
                    <a:pt x="2138" y="931"/>
                    <a:pt x="2138" y="931"/>
                  </a:cubicBezTo>
                  <a:moveTo>
                    <a:pt x="2180" y="931"/>
                  </a:moveTo>
                  <a:cubicBezTo>
                    <a:pt x="2172" y="931"/>
                    <a:pt x="2165" y="936"/>
                    <a:pt x="2164" y="941"/>
                  </a:cubicBezTo>
                  <a:cubicBezTo>
                    <a:pt x="2163" y="947"/>
                    <a:pt x="2169" y="951"/>
                    <a:pt x="2177" y="951"/>
                  </a:cubicBezTo>
                  <a:cubicBezTo>
                    <a:pt x="2186" y="951"/>
                    <a:pt x="2192" y="947"/>
                    <a:pt x="2193" y="941"/>
                  </a:cubicBezTo>
                  <a:cubicBezTo>
                    <a:pt x="2194" y="936"/>
                    <a:pt x="2188" y="931"/>
                    <a:pt x="2180" y="931"/>
                  </a:cubicBezTo>
                  <a:cubicBezTo>
                    <a:pt x="2180" y="931"/>
                    <a:pt x="2180" y="931"/>
                    <a:pt x="2180" y="931"/>
                  </a:cubicBezTo>
                  <a:moveTo>
                    <a:pt x="2221" y="931"/>
                  </a:moveTo>
                  <a:cubicBezTo>
                    <a:pt x="2213" y="931"/>
                    <a:pt x="2206" y="935"/>
                    <a:pt x="2205" y="941"/>
                  </a:cubicBezTo>
                  <a:cubicBezTo>
                    <a:pt x="2205" y="947"/>
                    <a:pt x="2211" y="951"/>
                    <a:pt x="2219" y="951"/>
                  </a:cubicBezTo>
                  <a:cubicBezTo>
                    <a:pt x="2227" y="951"/>
                    <a:pt x="2234" y="947"/>
                    <a:pt x="2234" y="941"/>
                  </a:cubicBezTo>
                  <a:cubicBezTo>
                    <a:pt x="2235" y="935"/>
                    <a:pt x="2229" y="931"/>
                    <a:pt x="2221" y="931"/>
                  </a:cubicBezTo>
                  <a:cubicBezTo>
                    <a:pt x="2221" y="931"/>
                    <a:pt x="2221" y="931"/>
                    <a:pt x="2221" y="931"/>
                  </a:cubicBezTo>
                  <a:moveTo>
                    <a:pt x="2262" y="931"/>
                  </a:moveTo>
                  <a:cubicBezTo>
                    <a:pt x="2254" y="931"/>
                    <a:pt x="2247" y="935"/>
                    <a:pt x="2247" y="941"/>
                  </a:cubicBezTo>
                  <a:cubicBezTo>
                    <a:pt x="2246" y="947"/>
                    <a:pt x="2252" y="951"/>
                    <a:pt x="2260" y="951"/>
                  </a:cubicBezTo>
                  <a:cubicBezTo>
                    <a:pt x="2268" y="951"/>
                    <a:pt x="2275" y="946"/>
                    <a:pt x="2275" y="941"/>
                  </a:cubicBezTo>
                  <a:cubicBezTo>
                    <a:pt x="2276" y="935"/>
                    <a:pt x="2270" y="931"/>
                    <a:pt x="2262" y="931"/>
                  </a:cubicBezTo>
                  <a:cubicBezTo>
                    <a:pt x="2262" y="931"/>
                    <a:pt x="2262" y="931"/>
                    <a:pt x="2262" y="931"/>
                  </a:cubicBezTo>
                  <a:moveTo>
                    <a:pt x="2303" y="931"/>
                  </a:moveTo>
                  <a:cubicBezTo>
                    <a:pt x="2295" y="931"/>
                    <a:pt x="2288" y="935"/>
                    <a:pt x="2288" y="941"/>
                  </a:cubicBezTo>
                  <a:cubicBezTo>
                    <a:pt x="2287" y="946"/>
                    <a:pt x="2294" y="951"/>
                    <a:pt x="2302" y="951"/>
                  </a:cubicBezTo>
                  <a:cubicBezTo>
                    <a:pt x="2310" y="951"/>
                    <a:pt x="2316" y="946"/>
                    <a:pt x="2317" y="941"/>
                  </a:cubicBezTo>
                  <a:cubicBezTo>
                    <a:pt x="2317" y="935"/>
                    <a:pt x="2311" y="931"/>
                    <a:pt x="2303" y="931"/>
                  </a:cubicBezTo>
                  <a:cubicBezTo>
                    <a:pt x="2303" y="931"/>
                    <a:pt x="2303" y="931"/>
                    <a:pt x="2303" y="931"/>
                  </a:cubicBezTo>
                  <a:moveTo>
                    <a:pt x="2344" y="930"/>
                  </a:moveTo>
                  <a:cubicBezTo>
                    <a:pt x="2336" y="930"/>
                    <a:pt x="2329" y="935"/>
                    <a:pt x="2329" y="941"/>
                  </a:cubicBezTo>
                  <a:cubicBezTo>
                    <a:pt x="2329" y="946"/>
                    <a:pt x="2335" y="951"/>
                    <a:pt x="2343" y="951"/>
                  </a:cubicBezTo>
                  <a:cubicBezTo>
                    <a:pt x="2351" y="951"/>
                    <a:pt x="2358" y="946"/>
                    <a:pt x="2358" y="940"/>
                  </a:cubicBezTo>
                  <a:cubicBezTo>
                    <a:pt x="2358" y="935"/>
                    <a:pt x="2352" y="930"/>
                    <a:pt x="2344" y="930"/>
                  </a:cubicBezTo>
                  <a:cubicBezTo>
                    <a:pt x="2344" y="930"/>
                    <a:pt x="2344" y="930"/>
                    <a:pt x="2344" y="930"/>
                  </a:cubicBezTo>
                  <a:moveTo>
                    <a:pt x="2386" y="930"/>
                  </a:moveTo>
                  <a:cubicBezTo>
                    <a:pt x="2378" y="930"/>
                    <a:pt x="2371" y="935"/>
                    <a:pt x="2371" y="940"/>
                  </a:cubicBezTo>
                  <a:cubicBezTo>
                    <a:pt x="2371" y="946"/>
                    <a:pt x="2377" y="951"/>
                    <a:pt x="2385" y="951"/>
                  </a:cubicBezTo>
                  <a:cubicBezTo>
                    <a:pt x="2393" y="951"/>
                    <a:pt x="2400" y="946"/>
                    <a:pt x="2400" y="940"/>
                  </a:cubicBezTo>
                  <a:cubicBezTo>
                    <a:pt x="2400" y="935"/>
                    <a:pt x="2394" y="930"/>
                    <a:pt x="2386" y="930"/>
                  </a:cubicBezTo>
                  <a:cubicBezTo>
                    <a:pt x="2386" y="930"/>
                    <a:pt x="2386" y="930"/>
                    <a:pt x="2386" y="930"/>
                  </a:cubicBezTo>
                  <a:moveTo>
                    <a:pt x="2427" y="930"/>
                  </a:moveTo>
                  <a:cubicBezTo>
                    <a:pt x="2419" y="930"/>
                    <a:pt x="2412" y="935"/>
                    <a:pt x="2412" y="940"/>
                  </a:cubicBezTo>
                  <a:cubicBezTo>
                    <a:pt x="2412" y="946"/>
                    <a:pt x="2418" y="950"/>
                    <a:pt x="2426" y="950"/>
                  </a:cubicBezTo>
                  <a:cubicBezTo>
                    <a:pt x="2434" y="950"/>
                    <a:pt x="2441" y="946"/>
                    <a:pt x="2441" y="940"/>
                  </a:cubicBezTo>
                  <a:cubicBezTo>
                    <a:pt x="2441" y="935"/>
                    <a:pt x="2435" y="930"/>
                    <a:pt x="2427" y="930"/>
                  </a:cubicBezTo>
                  <a:cubicBezTo>
                    <a:pt x="2427" y="930"/>
                    <a:pt x="2427" y="930"/>
                    <a:pt x="2427" y="930"/>
                  </a:cubicBezTo>
                  <a:moveTo>
                    <a:pt x="2468" y="930"/>
                  </a:moveTo>
                  <a:cubicBezTo>
                    <a:pt x="2460" y="930"/>
                    <a:pt x="2454" y="934"/>
                    <a:pt x="2453" y="940"/>
                  </a:cubicBezTo>
                  <a:cubicBezTo>
                    <a:pt x="2453" y="946"/>
                    <a:pt x="2460" y="950"/>
                    <a:pt x="2468" y="950"/>
                  </a:cubicBezTo>
                  <a:cubicBezTo>
                    <a:pt x="2476" y="950"/>
                    <a:pt x="2482" y="946"/>
                    <a:pt x="2482" y="940"/>
                  </a:cubicBezTo>
                  <a:cubicBezTo>
                    <a:pt x="2482" y="934"/>
                    <a:pt x="2476" y="930"/>
                    <a:pt x="2468" y="930"/>
                  </a:cubicBezTo>
                  <a:cubicBezTo>
                    <a:pt x="2468" y="930"/>
                    <a:pt x="2468" y="930"/>
                    <a:pt x="2468" y="930"/>
                  </a:cubicBezTo>
                  <a:moveTo>
                    <a:pt x="2509" y="930"/>
                  </a:moveTo>
                  <a:cubicBezTo>
                    <a:pt x="2501" y="930"/>
                    <a:pt x="2495" y="934"/>
                    <a:pt x="2495" y="940"/>
                  </a:cubicBezTo>
                  <a:cubicBezTo>
                    <a:pt x="2495" y="946"/>
                    <a:pt x="2501" y="950"/>
                    <a:pt x="2509" y="950"/>
                  </a:cubicBezTo>
                  <a:cubicBezTo>
                    <a:pt x="2517" y="950"/>
                    <a:pt x="2524" y="945"/>
                    <a:pt x="2524" y="940"/>
                  </a:cubicBezTo>
                  <a:cubicBezTo>
                    <a:pt x="2523" y="934"/>
                    <a:pt x="2517" y="930"/>
                    <a:pt x="2509" y="930"/>
                  </a:cubicBezTo>
                  <a:cubicBezTo>
                    <a:pt x="2509" y="930"/>
                    <a:pt x="2509" y="930"/>
                    <a:pt x="2509" y="930"/>
                  </a:cubicBezTo>
                  <a:moveTo>
                    <a:pt x="2550" y="930"/>
                  </a:moveTo>
                  <a:cubicBezTo>
                    <a:pt x="2542" y="930"/>
                    <a:pt x="2536" y="934"/>
                    <a:pt x="2536" y="940"/>
                  </a:cubicBezTo>
                  <a:cubicBezTo>
                    <a:pt x="2536" y="945"/>
                    <a:pt x="2543" y="950"/>
                    <a:pt x="2551" y="950"/>
                  </a:cubicBezTo>
                  <a:cubicBezTo>
                    <a:pt x="2559" y="950"/>
                    <a:pt x="2565" y="945"/>
                    <a:pt x="2565" y="940"/>
                  </a:cubicBezTo>
                  <a:cubicBezTo>
                    <a:pt x="2565" y="934"/>
                    <a:pt x="2558" y="930"/>
                    <a:pt x="2550" y="930"/>
                  </a:cubicBezTo>
                  <a:cubicBezTo>
                    <a:pt x="2550" y="930"/>
                    <a:pt x="2550" y="930"/>
                    <a:pt x="2550" y="930"/>
                  </a:cubicBezTo>
                  <a:moveTo>
                    <a:pt x="2592" y="929"/>
                  </a:moveTo>
                  <a:cubicBezTo>
                    <a:pt x="2584" y="929"/>
                    <a:pt x="2578" y="934"/>
                    <a:pt x="2578" y="940"/>
                  </a:cubicBezTo>
                  <a:cubicBezTo>
                    <a:pt x="2578" y="945"/>
                    <a:pt x="2585" y="950"/>
                    <a:pt x="2593" y="950"/>
                  </a:cubicBezTo>
                  <a:cubicBezTo>
                    <a:pt x="2601" y="950"/>
                    <a:pt x="2607" y="945"/>
                    <a:pt x="2607" y="940"/>
                  </a:cubicBezTo>
                  <a:cubicBezTo>
                    <a:pt x="2607" y="934"/>
                    <a:pt x="2600" y="929"/>
                    <a:pt x="2592" y="929"/>
                  </a:cubicBezTo>
                  <a:cubicBezTo>
                    <a:pt x="2592" y="929"/>
                    <a:pt x="2592" y="929"/>
                    <a:pt x="2592" y="929"/>
                  </a:cubicBezTo>
                  <a:moveTo>
                    <a:pt x="2633" y="929"/>
                  </a:moveTo>
                  <a:cubicBezTo>
                    <a:pt x="2625" y="929"/>
                    <a:pt x="2619" y="934"/>
                    <a:pt x="2619" y="939"/>
                  </a:cubicBezTo>
                  <a:cubicBezTo>
                    <a:pt x="2619" y="945"/>
                    <a:pt x="2626" y="950"/>
                    <a:pt x="2634" y="950"/>
                  </a:cubicBezTo>
                  <a:cubicBezTo>
                    <a:pt x="2642" y="950"/>
                    <a:pt x="2648" y="945"/>
                    <a:pt x="2648" y="939"/>
                  </a:cubicBezTo>
                  <a:cubicBezTo>
                    <a:pt x="2648" y="934"/>
                    <a:pt x="2641" y="929"/>
                    <a:pt x="2633" y="929"/>
                  </a:cubicBezTo>
                  <a:cubicBezTo>
                    <a:pt x="2633" y="929"/>
                    <a:pt x="2633" y="929"/>
                    <a:pt x="2633" y="929"/>
                  </a:cubicBezTo>
                  <a:moveTo>
                    <a:pt x="2675" y="929"/>
                  </a:moveTo>
                  <a:cubicBezTo>
                    <a:pt x="2667" y="929"/>
                    <a:pt x="2660" y="934"/>
                    <a:pt x="2661" y="939"/>
                  </a:cubicBezTo>
                  <a:cubicBezTo>
                    <a:pt x="2661" y="945"/>
                    <a:pt x="2668" y="950"/>
                    <a:pt x="2676" y="949"/>
                  </a:cubicBezTo>
                  <a:cubicBezTo>
                    <a:pt x="2684" y="949"/>
                    <a:pt x="2690" y="945"/>
                    <a:pt x="2690" y="939"/>
                  </a:cubicBezTo>
                  <a:cubicBezTo>
                    <a:pt x="2689" y="934"/>
                    <a:pt x="2683" y="929"/>
                    <a:pt x="2675" y="929"/>
                  </a:cubicBezTo>
                  <a:cubicBezTo>
                    <a:pt x="2675" y="929"/>
                    <a:pt x="2675" y="929"/>
                    <a:pt x="2675" y="929"/>
                  </a:cubicBezTo>
                  <a:moveTo>
                    <a:pt x="2714" y="929"/>
                  </a:moveTo>
                  <a:cubicBezTo>
                    <a:pt x="2706" y="929"/>
                    <a:pt x="2700" y="933"/>
                    <a:pt x="2701" y="939"/>
                  </a:cubicBezTo>
                  <a:cubicBezTo>
                    <a:pt x="2701" y="945"/>
                    <a:pt x="2708" y="949"/>
                    <a:pt x="2716" y="949"/>
                  </a:cubicBezTo>
                  <a:cubicBezTo>
                    <a:pt x="2724" y="949"/>
                    <a:pt x="2730" y="945"/>
                    <a:pt x="2730" y="939"/>
                  </a:cubicBezTo>
                  <a:cubicBezTo>
                    <a:pt x="2729" y="933"/>
                    <a:pt x="2722" y="929"/>
                    <a:pt x="2714" y="929"/>
                  </a:cubicBezTo>
                  <a:cubicBezTo>
                    <a:pt x="2714" y="929"/>
                    <a:pt x="2714" y="929"/>
                    <a:pt x="2714" y="929"/>
                  </a:cubicBezTo>
                  <a:moveTo>
                    <a:pt x="2756" y="929"/>
                  </a:moveTo>
                  <a:cubicBezTo>
                    <a:pt x="2748" y="929"/>
                    <a:pt x="2742" y="933"/>
                    <a:pt x="2742" y="939"/>
                  </a:cubicBezTo>
                  <a:cubicBezTo>
                    <a:pt x="2743" y="945"/>
                    <a:pt x="2750" y="949"/>
                    <a:pt x="2758" y="949"/>
                  </a:cubicBezTo>
                  <a:cubicBezTo>
                    <a:pt x="2766" y="949"/>
                    <a:pt x="2772" y="945"/>
                    <a:pt x="2771" y="939"/>
                  </a:cubicBezTo>
                  <a:cubicBezTo>
                    <a:pt x="2771" y="933"/>
                    <a:pt x="2764" y="929"/>
                    <a:pt x="2756" y="929"/>
                  </a:cubicBezTo>
                  <a:cubicBezTo>
                    <a:pt x="2756" y="929"/>
                    <a:pt x="2756" y="929"/>
                    <a:pt x="2756" y="929"/>
                  </a:cubicBezTo>
                  <a:moveTo>
                    <a:pt x="2796" y="929"/>
                  </a:moveTo>
                  <a:cubicBezTo>
                    <a:pt x="2788" y="929"/>
                    <a:pt x="2782" y="933"/>
                    <a:pt x="2782" y="939"/>
                  </a:cubicBezTo>
                  <a:cubicBezTo>
                    <a:pt x="2783" y="944"/>
                    <a:pt x="2790" y="949"/>
                    <a:pt x="2798" y="949"/>
                  </a:cubicBezTo>
                  <a:cubicBezTo>
                    <a:pt x="2806" y="949"/>
                    <a:pt x="2812" y="944"/>
                    <a:pt x="2811" y="939"/>
                  </a:cubicBezTo>
                  <a:cubicBezTo>
                    <a:pt x="2811" y="933"/>
                    <a:pt x="2804" y="929"/>
                    <a:pt x="2796" y="929"/>
                  </a:cubicBezTo>
                  <a:cubicBezTo>
                    <a:pt x="2796" y="929"/>
                    <a:pt x="2796" y="929"/>
                    <a:pt x="2796" y="929"/>
                  </a:cubicBezTo>
                  <a:moveTo>
                    <a:pt x="2839" y="928"/>
                  </a:moveTo>
                  <a:cubicBezTo>
                    <a:pt x="2831" y="928"/>
                    <a:pt x="2825" y="933"/>
                    <a:pt x="2826" y="939"/>
                  </a:cubicBezTo>
                  <a:cubicBezTo>
                    <a:pt x="2827" y="944"/>
                    <a:pt x="2834" y="949"/>
                    <a:pt x="2842" y="949"/>
                  </a:cubicBezTo>
                  <a:cubicBezTo>
                    <a:pt x="2850" y="949"/>
                    <a:pt x="2856" y="944"/>
                    <a:pt x="2855" y="939"/>
                  </a:cubicBezTo>
                  <a:cubicBezTo>
                    <a:pt x="2854" y="933"/>
                    <a:pt x="2847" y="928"/>
                    <a:pt x="2839" y="928"/>
                  </a:cubicBezTo>
                  <a:cubicBezTo>
                    <a:pt x="2839" y="928"/>
                    <a:pt x="2839" y="928"/>
                    <a:pt x="2839" y="928"/>
                  </a:cubicBezTo>
                  <a:moveTo>
                    <a:pt x="3374" y="928"/>
                  </a:moveTo>
                  <a:cubicBezTo>
                    <a:pt x="3366" y="928"/>
                    <a:pt x="3361" y="933"/>
                    <a:pt x="3362" y="938"/>
                  </a:cubicBezTo>
                  <a:cubicBezTo>
                    <a:pt x="3364" y="944"/>
                    <a:pt x="3372" y="949"/>
                    <a:pt x="3380" y="949"/>
                  </a:cubicBezTo>
                  <a:cubicBezTo>
                    <a:pt x="3388" y="948"/>
                    <a:pt x="3393" y="944"/>
                    <a:pt x="3391" y="938"/>
                  </a:cubicBezTo>
                  <a:cubicBezTo>
                    <a:pt x="3390" y="933"/>
                    <a:pt x="3382" y="928"/>
                    <a:pt x="3374" y="928"/>
                  </a:cubicBezTo>
                  <a:cubicBezTo>
                    <a:pt x="3374" y="928"/>
                    <a:pt x="3374" y="928"/>
                    <a:pt x="3374" y="928"/>
                  </a:cubicBezTo>
                  <a:moveTo>
                    <a:pt x="3415" y="928"/>
                  </a:moveTo>
                  <a:cubicBezTo>
                    <a:pt x="3407" y="928"/>
                    <a:pt x="3402" y="932"/>
                    <a:pt x="3403" y="938"/>
                  </a:cubicBezTo>
                  <a:cubicBezTo>
                    <a:pt x="3405" y="944"/>
                    <a:pt x="3413" y="948"/>
                    <a:pt x="3421" y="948"/>
                  </a:cubicBezTo>
                  <a:cubicBezTo>
                    <a:pt x="3429" y="948"/>
                    <a:pt x="3434" y="944"/>
                    <a:pt x="3432" y="938"/>
                  </a:cubicBezTo>
                  <a:cubicBezTo>
                    <a:pt x="3431" y="932"/>
                    <a:pt x="3423" y="928"/>
                    <a:pt x="3415" y="928"/>
                  </a:cubicBezTo>
                  <a:cubicBezTo>
                    <a:pt x="3415" y="928"/>
                    <a:pt x="3415" y="928"/>
                    <a:pt x="3415" y="928"/>
                  </a:cubicBezTo>
                  <a:moveTo>
                    <a:pt x="3456" y="928"/>
                  </a:moveTo>
                  <a:cubicBezTo>
                    <a:pt x="3448" y="928"/>
                    <a:pt x="3443" y="932"/>
                    <a:pt x="3445" y="938"/>
                  </a:cubicBezTo>
                  <a:cubicBezTo>
                    <a:pt x="3447" y="944"/>
                    <a:pt x="3455" y="948"/>
                    <a:pt x="3463" y="948"/>
                  </a:cubicBezTo>
                  <a:cubicBezTo>
                    <a:pt x="3471" y="948"/>
                    <a:pt x="3476" y="944"/>
                    <a:pt x="3474" y="938"/>
                  </a:cubicBezTo>
                  <a:cubicBezTo>
                    <a:pt x="3472" y="932"/>
                    <a:pt x="3464" y="928"/>
                    <a:pt x="3456" y="928"/>
                  </a:cubicBezTo>
                  <a:cubicBezTo>
                    <a:pt x="3456" y="928"/>
                    <a:pt x="3456" y="928"/>
                    <a:pt x="3456" y="928"/>
                  </a:cubicBezTo>
                  <a:moveTo>
                    <a:pt x="3828" y="926"/>
                  </a:moveTo>
                  <a:cubicBezTo>
                    <a:pt x="3820" y="926"/>
                    <a:pt x="3815" y="931"/>
                    <a:pt x="3818" y="937"/>
                  </a:cubicBezTo>
                  <a:cubicBezTo>
                    <a:pt x="3820" y="942"/>
                    <a:pt x="3829" y="947"/>
                    <a:pt x="3837" y="947"/>
                  </a:cubicBezTo>
                  <a:cubicBezTo>
                    <a:pt x="3845" y="947"/>
                    <a:pt x="3849" y="942"/>
                    <a:pt x="3847" y="937"/>
                  </a:cubicBezTo>
                  <a:cubicBezTo>
                    <a:pt x="3844" y="931"/>
                    <a:pt x="3836" y="926"/>
                    <a:pt x="3828" y="926"/>
                  </a:cubicBezTo>
                  <a:cubicBezTo>
                    <a:pt x="3828" y="926"/>
                    <a:pt x="3828" y="926"/>
                    <a:pt x="3828" y="926"/>
                  </a:cubicBezTo>
                  <a:moveTo>
                    <a:pt x="3869" y="926"/>
                  </a:moveTo>
                  <a:cubicBezTo>
                    <a:pt x="3861" y="926"/>
                    <a:pt x="3857" y="931"/>
                    <a:pt x="3859" y="937"/>
                  </a:cubicBezTo>
                  <a:cubicBezTo>
                    <a:pt x="3862" y="942"/>
                    <a:pt x="3870" y="947"/>
                    <a:pt x="3878" y="947"/>
                  </a:cubicBezTo>
                  <a:cubicBezTo>
                    <a:pt x="3886" y="947"/>
                    <a:pt x="3891" y="942"/>
                    <a:pt x="3888" y="937"/>
                  </a:cubicBezTo>
                  <a:cubicBezTo>
                    <a:pt x="3885" y="931"/>
                    <a:pt x="3877" y="926"/>
                    <a:pt x="3869" y="926"/>
                  </a:cubicBezTo>
                  <a:cubicBezTo>
                    <a:pt x="3869" y="926"/>
                    <a:pt x="3869" y="926"/>
                    <a:pt x="3869" y="926"/>
                  </a:cubicBezTo>
                  <a:moveTo>
                    <a:pt x="3913" y="926"/>
                  </a:moveTo>
                  <a:cubicBezTo>
                    <a:pt x="3905" y="926"/>
                    <a:pt x="3900" y="931"/>
                    <a:pt x="3903" y="936"/>
                  </a:cubicBezTo>
                  <a:cubicBezTo>
                    <a:pt x="3906" y="942"/>
                    <a:pt x="3914" y="947"/>
                    <a:pt x="3922" y="947"/>
                  </a:cubicBezTo>
                  <a:cubicBezTo>
                    <a:pt x="3930" y="947"/>
                    <a:pt x="3935" y="942"/>
                    <a:pt x="3932" y="936"/>
                  </a:cubicBezTo>
                  <a:cubicBezTo>
                    <a:pt x="3929" y="931"/>
                    <a:pt x="3921" y="926"/>
                    <a:pt x="3913" y="926"/>
                  </a:cubicBezTo>
                  <a:cubicBezTo>
                    <a:pt x="3913" y="926"/>
                    <a:pt x="3913" y="926"/>
                    <a:pt x="3913" y="926"/>
                  </a:cubicBezTo>
                  <a:moveTo>
                    <a:pt x="3953" y="926"/>
                  </a:moveTo>
                  <a:cubicBezTo>
                    <a:pt x="3945" y="926"/>
                    <a:pt x="3941" y="931"/>
                    <a:pt x="3944" y="936"/>
                  </a:cubicBezTo>
                  <a:cubicBezTo>
                    <a:pt x="3947" y="942"/>
                    <a:pt x="3955" y="947"/>
                    <a:pt x="3963" y="947"/>
                  </a:cubicBezTo>
                  <a:cubicBezTo>
                    <a:pt x="3971" y="947"/>
                    <a:pt x="3976" y="942"/>
                    <a:pt x="3973" y="936"/>
                  </a:cubicBezTo>
                  <a:cubicBezTo>
                    <a:pt x="3970" y="931"/>
                    <a:pt x="3961" y="926"/>
                    <a:pt x="3953" y="926"/>
                  </a:cubicBezTo>
                  <a:cubicBezTo>
                    <a:pt x="3953" y="926"/>
                    <a:pt x="3953" y="926"/>
                    <a:pt x="3953" y="926"/>
                  </a:cubicBezTo>
                  <a:moveTo>
                    <a:pt x="3994" y="926"/>
                  </a:moveTo>
                  <a:cubicBezTo>
                    <a:pt x="3986" y="926"/>
                    <a:pt x="3982" y="930"/>
                    <a:pt x="3985" y="936"/>
                  </a:cubicBezTo>
                  <a:cubicBezTo>
                    <a:pt x="3988" y="942"/>
                    <a:pt x="3997" y="946"/>
                    <a:pt x="4005" y="946"/>
                  </a:cubicBezTo>
                  <a:cubicBezTo>
                    <a:pt x="4013" y="946"/>
                    <a:pt x="4017" y="942"/>
                    <a:pt x="4014" y="936"/>
                  </a:cubicBezTo>
                  <a:cubicBezTo>
                    <a:pt x="4011" y="930"/>
                    <a:pt x="4002" y="926"/>
                    <a:pt x="3994" y="926"/>
                  </a:cubicBezTo>
                  <a:cubicBezTo>
                    <a:pt x="3994" y="926"/>
                    <a:pt x="3994" y="926"/>
                    <a:pt x="3994" y="926"/>
                  </a:cubicBezTo>
                  <a:moveTo>
                    <a:pt x="4282" y="925"/>
                  </a:moveTo>
                  <a:cubicBezTo>
                    <a:pt x="4274" y="925"/>
                    <a:pt x="4270" y="930"/>
                    <a:pt x="4273" y="936"/>
                  </a:cubicBezTo>
                  <a:cubicBezTo>
                    <a:pt x="4277" y="941"/>
                    <a:pt x="4286" y="946"/>
                    <a:pt x="4294" y="946"/>
                  </a:cubicBezTo>
                  <a:cubicBezTo>
                    <a:pt x="4302" y="946"/>
                    <a:pt x="4306" y="941"/>
                    <a:pt x="4302" y="936"/>
                  </a:cubicBezTo>
                  <a:cubicBezTo>
                    <a:pt x="4299" y="930"/>
                    <a:pt x="4290" y="925"/>
                    <a:pt x="4282" y="925"/>
                  </a:cubicBezTo>
                  <a:cubicBezTo>
                    <a:pt x="4282" y="925"/>
                    <a:pt x="4282" y="925"/>
                    <a:pt x="4282" y="925"/>
                  </a:cubicBezTo>
                  <a:moveTo>
                    <a:pt x="218" y="911"/>
                  </a:moveTo>
                  <a:cubicBezTo>
                    <a:pt x="210" y="911"/>
                    <a:pt x="200" y="915"/>
                    <a:pt x="196" y="921"/>
                  </a:cubicBezTo>
                  <a:cubicBezTo>
                    <a:pt x="191" y="927"/>
                    <a:pt x="194" y="931"/>
                    <a:pt x="202" y="931"/>
                  </a:cubicBezTo>
                  <a:cubicBezTo>
                    <a:pt x="210" y="931"/>
                    <a:pt x="220" y="927"/>
                    <a:pt x="225" y="921"/>
                  </a:cubicBezTo>
                  <a:cubicBezTo>
                    <a:pt x="229" y="915"/>
                    <a:pt x="226" y="911"/>
                    <a:pt x="218" y="911"/>
                  </a:cubicBezTo>
                  <a:cubicBezTo>
                    <a:pt x="218" y="911"/>
                    <a:pt x="218" y="911"/>
                    <a:pt x="218" y="911"/>
                  </a:cubicBezTo>
                  <a:moveTo>
                    <a:pt x="260" y="911"/>
                  </a:moveTo>
                  <a:cubicBezTo>
                    <a:pt x="252" y="911"/>
                    <a:pt x="242" y="915"/>
                    <a:pt x="238" y="921"/>
                  </a:cubicBezTo>
                  <a:cubicBezTo>
                    <a:pt x="233" y="926"/>
                    <a:pt x="236" y="931"/>
                    <a:pt x="244" y="931"/>
                  </a:cubicBezTo>
                  <a:cubicBezTo>
                    <a:pt x="252" y="931"/>
                    <a:pt x="262" y="926"/>
                    <a:pt x="266" y="921"/>
                  </a:cubicBezTo>
                  <a:cubicBezTo>
                    <a:pt x="271" y="915"/>
                    <a:pt x="268" y="911"/>
                    <a:pt x="260" y="911"/>
                  </a:cubicBezTo>
                  <a:cubicBezTo>
                    <a:pt x="260" y="911"/>
                    <a:pt x="260" y="911"/>
                    <a:pt x="260" y="911"/>
                  </a:cubicBezTo>
                  <a:moveTo>
                    <a:pt x="300" y="911"/>
                  </a:moveTo>
                  <a:cubicBezTo>
                    <a:pt x="292" y="911"/>
                    <a:pt x="283" y="915"/>
                    <a:pt x="278" y="921"/>
                  </a:cubicBezTo>
                  <a:cubicBezTo>
                    <a:pt x="274" y="926"/>
                    <a:pt x="277" y="931"/>
                    <a:pt x="285" y="931"/>
                  </a:cubicBezTo>
                  <a:cubicBezTo>
                    <a:pt x="293" y="931"/>
                    <a:pt x="303" y="926"/>
                    <a:pt x="307" y="921"/>
                  </a:cubicBezTo>
                  <a:cubicBezTo>
                    <a:pt x="311" y="915"/>
                    <a:pt x="308" y="911"/>
                    <a:pt x="300" y="911"/>
                  </a:cubicBezTo>
                  <a:cubicBezTo>
                    <a:pt x="300" y="911"/>
                    <a:pt x="300" y="911"/>
                    <a:pt x="300" y="911"/>
                  </a:cubicBezTo>
                  <a:moveTo>
                    <a:pt x="342" y="910"/>
                  </a:moveTo>
                  <a:cubicBezTo>
                    <a:pt x="334" y="910"/>
                    <a:pt x="324" y="915"/>
                    <a:pt x="320" y="921"/>
                  </a:cubicBezTo>
                  <a:cubicBezTo>
                    <a:pt x="316" y="926"/>
                    <a:pt x="319" y="931"/>
                    <a:pt x="327" y="931"/>
                  </a:cubicBezTo>
                  <a:cubicBezTo>
                    <a:pt x="335" y="931"/>
                    <a:pt x="345" y="926"/>
                    <a:pt x="349" y="920"/>
                  </a:cubicBezTo>
                  <a:cubicBezTo>
                    <a:pt x="353" y="915"/>
                    <a:pt x="350" y="910"/>
                    <a:pt x="342" y="910"/>
                  </a:cubicBezTo>
                  <a:cubicBezTo>
                    <a:pt x="342" y="910"/>
                    <a:pt x="342" y="910"/>
                    <a:pt x="342" y="910"/>
                  </a:cubicBezTo>
                  <a:moveTo>
                    <a:pt x="383" y="910"/>
                  </a:moveTo>
                  <a:cubicBezTo>
                    <a:pt x="375" y="910"/>
                    <a:pt x="365" y="915"/>
                    <a:pt x="361" y="920"/>
                  </a:cubicBezTo>
                  <a:cubicBezTo>
                    <a:pt x="357" y="926"/>
                    <a:pt x="360" y="930"/>
                    <a:pt x="368" y="930"/>
                  </a:cubicBezTo>
                  <a:cubicBezTo>
                    <a:pt x="376" y="930"/>
                    <a:pt x="386" y="926"/>
                    <a:pt x="390" y="920"/>
                  </a:cubicBezTo>
                  <a:cubicBezTo>
                    <a:pt x="394" y="915"/>
                    <a:pt x="391" y="910"/>
                    <a:pt x="383" y="910"/>
                  </a:cubicBezTo>
                  <a:cubicBezTo>
                    <a:pt x="383" y="910"/>
                    <a:pt x="383" y="910"/>
                    <a:pt x="383" y="910"/>
                  </a:cubicBezTo>
                  <a:moveTo>
                    <a:pt x="1646" y="904"/>
                  </a:moveTo>
                  <a:cubicBezTo>
                    <a:pt x="1638" y="904"/>
                    <a:pt x="1631" y="908"/>
                    <a:pt x="1629" y="914"/>
                  </a:cubicBezTo>
                  <a:cubicBezTo>
                    <a:pt x="1627" y="920"/>
                    <a:pt x="1633" y="924"/>
                    <a:pt x="1641" y="924"/>
                  </a:cubicBezTo>
                  <a:cubicBezTo>
                    <a:pt x="1648" y="924"/>
                    <a:pt x="1656" y="919"/>
                    <a:pt x="1658" y="914"/>
                  </a:cubicBezTo>
                  <a:cubicBezTo>
                    <a:pt x="1659" y="908"/>
                    <a:pt x="1654" y="904"/>
                    <a:pt x="1646" y="904"/>
                  </a:cubicBezTo>
                  <a:cubicBezTo>
                    <a:pt x="1646" y="904"/>
                    <a:pt x="1646" y="904"/>
                    <a:pt x="1646" y="904"/>
                  </a:cubicBezTo>
                  <a:moveTo>
                    <a:pt x="1693" y="904"/>
                  </a:moveTo>
                  <a:cubicBezTo>
                    <a:pt x="1685" y="904"/>
                    <a:pt x="1678" y="908"/>
                    <a:pt x="1676" y="914"/>
                  </a:cubicBezTo>
                  <a:cubicBezTo>
                    <a:pt x="1675" y="919"/>
                    <a:pt x="1680" y="924"/>
                    <a:pt x="1688" y="924"/>
                  </a:cubicBezTo>
                  <a:cubicBezTo>
                    <a:pt x="1696" y="924"/>
                    <a:pt x="1703" y="919"/>
                    <a:pt x="1705" y="914"/>
                  </a:cubicBezTo>
                  <a:cubicBezTo>
                    <a:pt x="1706" y="908"/>
                    <a:pt x="1701" y="904"/>
                    <a:pt x="1693" y="904"/>
                  </a:cubicBezTo>
                  <a:cubicBezTo>
                    <a:pt x="1693" y="904"/>
                    <a:pt x="1693" y="904"/>
                    <a:pt x="1693" y="904"/>
                  </a:cubicBezTo>
                  <a:moveTo>
                    <a:pt x="1732" y="903"/>
                  </a:moveTo>
                  <a:cubicBezTo>
                    <a:pt x="1724" y="903"/>
                    <a:pt x="1716" y="908"/>
                    <a:pt x="1715" y="914"/>
                  </a:cubicBezTo>
                  <a:cubicBezTo>
                    <a:pt x="1713" y="919"/>
                    <a:pt x="1718" y="924"/>
                    <a:pt x="1726" y="924"/>
                  </a:cubicBezTo>
                  <a:cubicBezTo>
                    <a:pt x="1734" y="924"/>
                    <a:pt x="1742" y="919"/>
                    <a:pt x="1743" y="913"/>
                  </a:cubicBezTo>
                  <a:cubicBezTo>
                    <a:pt x="1745" y="908"/>
                    <a:pt x="1739" y="903"/>
                    <a:pt x="1732" y="903"/>
                  </a:cubicBezTo>
                  <a:cubicBezTo>
                    <a:pt x="1732" y="903"/>
                    <a:pt x="1732" y="903"/>
                    <a:pt x="1732" y="903"/>
                  </a:cubicBezTo>
                  <a:moveTo>
                    <a:pt x="1772" y="903"/>
                  </a:moveTo>
                  <a:cubicBezTo>
                    <a:pt x="1764" y="903"/>
                    <a:pt x="1757" y="908"/>
                    <a:pt x="1755" y="913"/>
                  </a:cubicBezTo>
                  <a:cubicBezTo>
                    <a:pt x="1754" y="919"/>
                    <a:pt x="1759" y="924"/>
                    <a:pt x="1767" y="924"/>
                  </a:cubicBezTo>
                  <a:cubicBezTo>
                    <a:pt x="1775" y="924"/>
                    <a:pt x="1783" y="919"/>
                    <a:pt x="1784" y="913"/>
                  </a:cubicBezTo>
                  <a:cubicBezTo>
                    <a:pt x="1785" y="908"/>
                    <a:pt x="1780" y="903"/>
                    <a:pt x="1772" y="903"/>
                  </a:cubicBezTo>
                  <a:cubicBezTo>
                    <a:pt x="1772" y="903"/>
                    <a:pt x="1772" y="903"/>
                    <a:pt x="1772" y="903"/>
                  </a:cubicBezTo>
                  <a:moveTo>
                    <a:pt x="1813" y="903"/>
                  </a:moveTo>
                  <a:cubicBezTo>
                    <a:pt x="1805" y="903"/>
                    <a:pt x="1798" y="908"/>
                    <a:pt x="1797" y="913"/>
                  </a:cubicBezTo>
                  <a:cubicBezTo>
                    <a:pt x="1795" y="919"/>
                    <a:pt x="1801" y="923"/>
                    <a:pt x="1809" y="923"/>
                  </a:cubicBezTo>
                  <a:cubicBezTo>
                    <a:pt x="1817" y="923"/>
                    <a:pt x="1824" y="919"/>
                    <a:pt x="1825" y="913"/>
                  </a:cubicBezTo>
                  <a:cubicBezTo>
                    <a:pt x="1826" y="908"/>
                    <a:pt x="1821" y="903"/>
                    <a:pt x="1813" y="903"/>
                  </a:cubicBezTo>
                  <a:cubicBezTo>
                    <a:pt x="1813" y="903"/>
                    <a:pt x="1813" y="903"/>
                    <a:pt x="1813" y="903"/>
                  </a:cubicBezTo>
                  <a:moveTo>
                    <a:pt x="1854" y="903"/>
                  </a:moveTo>
                  <a:cubicBezTo>
                    <a:pt x="1847" y="903"/>
                    <a:pt x="1839" y="907"/>
                    <a:pt x="1838" y="913"/>
                  </a:cubicBezTo>
                  <a:cubicBezTo>
                    <a:pt x="1837" y="919"/>
                    <a:pt x="1842" y="923"/>
                    <a:pt x="1850" y="923"/>
                  </a:cubicBezTo>
                  <a:cubicBezTo>
                    <a:pt x="1858" y="923"/>
                    <a:pt x="1865" y="919"/>
                    <a:pt x="1867" y="913"/>
                  </a:cubicBezTo>
                  <a:cubicBezTo>
                    <a:pt x="1868" y="907"/>
                    <a:pt x="1862" y="903"/>
                    <a:pt x="1855" y="903"/>
                  </a:cubicBezTo>
                  <a:cubicBezTo>
                    <a:pt x="1855" y="903"/>
                    <a:pt x="1854" y="903"/>
                    <a:pt x="1854" y="903"/>
                  </a:cubicBezTo>
                  <a:moveTo>
                    <a:pt x="1895" y="903"/>
                  </a:moveTo>
                  <a:cubicBezTo>
                    <a:pt x="1887" y="903"/>
                    <a:pt x="1880" y="907"/>
                    <a:pt x="1879" y="913"/>
                  </a:cubicBezTo>
                  <a:cubicBezTo>
                    <a:pt x="1878" y="919"/>
                    <a:pt x="1883" y="923"/>
                    <a:pt x="1891" y="923"/>
                  </a:cubicBezTo>
                  <a:cubicBezTo>
                    <a:pt x="1899" y="923"/>
                    <a:pt x="1906" y="918"/>
                    <a:pt x="1907" y="913"/>
                  </a:cubicBezTo>
                  <a:cubicBezTo>
                    <a:pt x="1908" y="907"/>
                    <a:pt x="1903" y="903"/>
                    <a:pt x="1895" y="903"/>
                  </a:cubicBezTo>
                  <a:cubicBezTo>
                    <a:pt x="1895" y="903"/>
                    <a:pt x="1895" y="903"/>
                    <a:pt x="1895" y="903"/>
                  </a:cubicBezTo>
                  <a:moveTo>
                    <a:pt x="1936" y="903"/>
                  </a:moveTo>
                  <a:cubicBezTo>
                    <a:pt x="1928" y="903"/>
                    <a:pt x="1921" y="907"/>
                    <a:pt x="1920" y="913"/>
                  </a:cubicBezTo>
                  <a:cubicBezTo>
                    <a:pt x="1919" y="918"/>
                    <a:pt x="1924" y="923"/>
                    <a:pt x="1932" y="923"/>
                  </a:cubicBezTo>
                  <a:cubicBezTo>
                    <a:pt x="1940" y="923"/>
                    <a:pt x="1947" y="918"/>
                    <a:pt x="1948" y="913"/>
                  </a:cubicBezTo>
                  <a:cubicBezTo>
                    <a:pt x="1949" y="907"/>
                    <a:pt x="1944" y="903"/>
                    <a:pt x="1936" y="903"/>
                  </a:cubicBezTo>
                  <a:cubicBezTo>
                    <a:pt x="1936" y="903"/>
                    <a:pt x="1936" y="903"/>
                    <a:pt x="1936" y="903"/>
                  </a:cubicBezTo>
                  <a:moveTo>
                    <a:pt x="1977" y="902"/>
                  </a:moveTo>
                  <a:cubicBezTo>
                    <a:pt x="1969" y="902"/>
                    <a:pt x="1961" y="907"/>
                    <a:pt x="1960" y="913"/>
                  </a:cubicBezTo>
                  <a:cubicBezTo>
                    <a:pt x="1959" y="918"/>
                    <a:pt x="1965" y="923"/>
                    <a:pt x="1973" y="923"/>
                  </a:cubicBezTo>
                  <a:cubicBezTo>
                    <a:pt x="1981" y="923"/>
                    <a:pt x="1988" y="918"/>
                    <a:pt x="1989" y="912"/>
                  </a:cubicBezTo>
                  <a:cubicBezTo>
                    <a:pt x="1990" y="907"/>
                    <a:pt x="1984" y="902"/>
                    <a:pt x="1977" y="902"/>
                  </a:cubicBezTo>
                  <a:cubicBezTo>
                    <a:pt x="1977" y="902"/>
                    <a:pt x="1977" y="902"/>
                    <a:pt x="1977" y="902"/>
                  </a:cubicBezTo>
                  <a:moveTo>
                    <a:pt x="2017" y="902"/>
                  </a:moveTo>
                  <a:cubicBezTo>
                    <a:pt x="2010" y="902"/>
                    <a:pt x="2002" y="907"/>
                    <a:pt x="2002" y="912"/>
                  </a:cubicBezTo>
                  <a:cubicBezTo>
                    <a:pt x="2001" y="918"/>
                    <a:pt x="2006" y="923"/>
                    <a:pt x="2014" y="923"/>
                  </a:cubicBezTo>
                  <a:cubicBezTo>
                    <a:pt x="2022" y="923"/>
                    <a:pt x="2029" y="918"/>
                    <a:pt x="2030" y="912"/>
                  </a:cubicBezTo>
                  <a:cubicBezTo>
                    <a:pt x="2031" y="907"/>
                    <a:pt x="2025" y="902"/>
                    <a:pt x="2018" y="902"/>
                  </a:cubicBezTo>
                  <a:cubicBezTo>
                    <a:pt x="2018" y="902"/>
                    <a:pt x="2018" y="902"/>
                    <a:pt x="2017" y="902"/>
                  </a:cubicBezTo>
                  <a:moveTo>
                    <a:pt x="2060" y="902"/>
                  </a:moveTo>
                  <a:cubicBezTo>
                    <a:pt x="2052" y="902"/>
                    <a:pt x="2045" y="907"/>
                    <a:pt x="2044" y="912"/>
                  </a:cubicBezTo>
                  <a:cubicBezTo>
                    <a:pt x="2043" y="918"/>
                    <a:pt x="2049" y="922"/>
                    <a:pt x="2057" y="922"/>
                  </a:cubicBezTo>
                  <a:cubicBezTo>
                    <a:pt x="2065" y="922"/>
                    <a:pt x="2072" y="918"/>
                    <a:pt x="2073" y="912"/>
                  </a:cubicBezTo>
                  <a:cubicBezTo>
                    <a:pt x="2073" y="907"/>
                    <a:pt x="2068" y="902"/>
                    <a:pt x="2060" y="902"/>
                  </a:cubicBezTo>
                  <a:cubicBezTo>
                    <a:pt x="2060" y="902"/>
                    <a:pt x="2060" y="902"/>
                    <a:pt x="2060" y="902"/>
                  </a:cubicBezTo>
                  <a:moveTo>
                    <a:pt x="2100" y="902"/>
                  </a:moveTo>
                  <a:cubicBezTo>
                    <a:pt x="2092" y="902"/>
                    <a:pt x="2085" y="906"/>
                    <a:pt x="2085" y="912"/>
                  </a:cubicBezTo>
                  <a:cubicBezTo>
                    <a:pt x="2084" y="918"/>
                    <a:pt x="2090" y="922"/>
                    <a:pt x="2098" y="922"/>
                  </a:cubicBezTo>
                  <a:cubicBezTo>
                    <a:pt x="2106" y="922"/>
                    <a:pt x="2113" y="918"/>
                    <a:pt x="2113" y="912"/>
                  </a:cubicBezTo>
                  <a:cubicBezTo>
                    <a:pt x="2114" y="906"/>
                    <a:pt x="2108" y="902"/>
                    <a:pt x="2100" y="902"/>
                  </a:cubicBezTo>
                  <a:cubicBezTo>
                    <a:pt x="2100" y="902"/>
                    <a:pt x="2100" y="902"/>
                    <a:pt x="2100" y="902"/>
                  </a:cubicBezTo>
                  <a:moveTo>
                    <a:pt x="2141" y="902"/>
                  </a:moveTo>
                  <a:cubicBezTo>
                    <a:pt x="2133" y="902"/>
                    <a:pt x="2126" y="906"/>
                    <a:pt x="2126" y="912"/>
                  </a:cubicBezTo>
                  <a:cubicBezTo>
                    <a:pt x="2125" y="918"/>
                    <a:pt x="2131" y="922"/>
                    <a:pt x="2139" y="922"/>
                  </a:cubicBezTo>
                  <a:cubicBezTo>
                    <a:pt x="2147" y="922"/>
                    <a:pt x="2154" y="917"/>
                    <a:pt x="2154" y="912"/>
                  </a:cubicBezTo>
                  <a:cubicBezTo>
                    <a:pt x="2155" y="906"/>
                    <a:pt x="2149" y="902"/>
                    <a:pt x="2141" y="902"/>
                  </a:cubicBezTo>
                  <a:cubicBezTo>
                    <a:pt x="2141" y="902"/>
                    <a:pt x="2141" y="902"/>
                    <a:pt x="2141" y="902"/>
                  </a:cubicBezTo>
                  <a:moveTo>
                    <a:pt x="2182" y="901"/>
                  </a:moveTo>
                  <a:cubicBezTo>
                    <a:pt x="2175" y="902"/>
                    <a:pt x="2168" y="906"/>
                    <a:pt x="2167" y="912"/>
                  </a:cubicBezTo>
                  <a:cubicBezTo>
                    <a:pt x="2167" y="917"/>
                    <a:pt x="2172" y="922"/>
                    <a:pt x="2180" y="922"/>
                  </a:cubicBezTo>
                  <a:cubicBezTo>
                    <a:pt x="2188" y="922"/>
                    <a:pt x="2195" y="917"/>
                    <a:pt x="2196" y="912"/>
                  </a:cubicBezTo>
                  <a:cubicBezTo>
                    <a:pt x="2196" y="906"/>
                    <a:pt x="2190" y="901"/>
                    <a:pt x="2183" y="901"/>
                  </a:cubicBezTo>
                  <a:cubicBezTo>
                    <a:pt x="2183" y="901"/>
                    <a:pt x="2183" y="901"/>
                    <a:pt x="2182" y="901"/>
                  </a:cubicBezTo>
                  <a:moveTo>
                    <a:pt x="2223" y="901"/>
                  </a:moveTo>
                  <a:cubicBezTo>
                    <a:pt x="2215" y="901"/>
                    <a:pt x="2208" y="906"/>
                    <a:pt x="2208" y="912"/>
                  </a:cubicBezTo>
                  <a:cubicBezTo>
                    <a:pt x="2207" y="917"/>
                    <a:pt x="2213" y="922"/>
                    <a:pt x="2221" y="922"/>
                  </a:cubicBezTo>
                  <a:cubicBezTo>
                    <a:pt x="2229" y="922"/>
                    <a:pt x="2236" y="917"/>
                    <a:pt x="2237" y="911"/>
                  </a:cubicBezTo>
                  <a:cubicBezTo>
                    <a:pt x="2237" y="906"/>
                    <a:pt x="2231" y="901"/>
                    <a:pt x="2223" y="901"/>
                  </a:cubicBezTo>
                  <a:cubicBezTo>
                    <a:pt x="2223" y="901"/>
                    <a:pt x="2223" y="901"/>
                    <a:pt x="2223" y="901"/>
                  </a:cubicBezTo>
                  <a:moveTo>
                    <a:pt x="2836" y="901"/>
                  </a:moveTo>
                  <a:cubicBezTo>
                    <a:pt x="2828" y="901"/>
                    <a:pt x="2822" y="906"/>
                    <a:pt x="2823" y="911"/>
                  </a:cubicBezTo>
                  <a:cubicBezTo>
                    <a:pt x="2824" y="917"/>
                    <a:pt x="2831" y="922"/>
                    <a:pt x="2838" y="922"/>
                  </a:cubicBezTo>
                  <a:cubicBezTo>
                    <a:pt x="2846" y="922"/>
                    <a:pt x="2852" y="917"/>
                    <a:pt x="2852" y="911"/>
                  </a:cubicBezTo>
                  <a:cubicBezTo>
                    <a:pt x="2851" y="906"/>
                    <a:pt x="2844" y="901"/>
                    <a:pt x="2836" y="901"/>
                  </a:cubicBezTo>
                  <a:cubicBezTo>
                    <a:pt x="2836" y="901"/>
                    <a:pt x="2836" y="901"/>
                    <a:pt x="2836" y="901"/>
                  </a:cubicBezTo>
                  <a:moveTo>
                    <a:pt x="2264" y="901"/>
                  </a:moveTo>
                  <a:cubicBezTo>
                    <a:pt x="2256" y="901"/>
                    <a:pt x="2249" y="906"/>
                    <a:pt x="2249" y="911"/>
                  </a:cubicBezTo>
                  <a:cubicBezTo>
                    <a:pt x="2248" y="917"/>
                    <a:pt x="2254" y="922"/>
                    <a:pt x="2262" y="922"/>
                  </a:cubicBezTo>
                  <a:cubicBezTo>
                    <a:pt x="2270" y="922"/>
                    <a:pt x="2277" y="917"/>
                    <a:pt x="2277" y="911"/>
                  </a:cubicBezTo>
                  <a:cubicBezTo>
                    <a:pt x="2278" y="906"/>
                    <a:pt x="2272" y="901"/>
                    <a:pt x="2264" y="901"/>
                  </a:cubicBezTo>
                  <a:cubicBezTo>
                    <a:pt x="2264" y="901"/>
                    <a:pt x="2264" y="901"/>
                    <a:pt x="2264" y="901"/>
                  </a:cubicBezTo>
                  <a:moveTo>
                    <a:pt x="2304" y="901"/>
                  </a:moveTo>
                  <a:cubicBezTo>
                    <a:pt x="2297" y="901"/>
                    <a:pt x="2290" y="906"/>
                    <a:pt x="2290" y="911"/>
                  </a:cubicBezTo>
                  <a:cubicBezTo>
                    <a:pt x="2289" y="917"/>
                    <a:pt x="2295" y="921"/>
                    <a:pt x="2303" y="921"/>
                  </a:cubicBezTo>
                  <a:cubicBezTo>
                    <a:pt x="2311" y="921"/>
                    <a:pt x="2318" y="917"/>
                    <a:pt x="2318" y="911"/>
                  </a:cubicBezTo>
                  <a:cubicBezTo>
                    <a:pt x="2319" y="906"/>
                    <a:pt x="2312" y="901"/>
                    <a:pt x="2305" y="901"/>
                  </a:cubicBezTo>
                  <a:cubicBezTo>
                    <a:pt x="2305" y="901"/>
                    <a:pt x="2305" y="901"/>
                    <a:pt x="2304" y="901"/>
                  </a:cubicBezTo>
                  <a:moveTo>
                    <a:pt x="2917" y="901"/>
                  </a:moveTo>
                  <a:cubicBezTo>
                    <a:pt x="2909" y="901"/>
                    <a:pt x="2904" y="906"/>
                    <a:pt x="2904" y="911"/>
                  </a:cubicBezTo>
                  <a:cubicBezTo>
                    <a:pt x="2905" y="917"/>
                    <a:pt x="2912" y="921"/>
                    <a:pt x="2920" y="921"/>
                  </a:cubicBezTo>
                  <a:cubicBezTo>
                    <a:pt x="2928" y="921"/>
                    <a:pt x="2934" y="917"/>
                    <a:pt x="2933" y="911"/>
                  </a:cubicBezTo>
                  <a:cubicBezTo>
                    <a:pt x="2932" y="905"/>
                    <a:pt x="2925" y="901"/>
                    <a:pt x="2917" y="901"/>
                  </a:cubicBezTo>
                  <a:cubicBezTo>
                    <a:pt x="2917" y="901"/>
                    <a:pt x="2917" y="901"/>
                    <a:pt x="2917" y="901"/>
                  </a:cubicBezTo>
                  <a:moveTo>
                    <a:pt x="2345" y="901"/>
                  </a:moveTo>
                  <a:cubicBezTo>
                    <a:pt x="2338" y="901"/>
                    <a:pt x="2331" y="905"/>
                    <a:pt x="2331" y="911"/>
                  </a:cubicBezTo>
                  <a:cubicBezTo>
                    <a:pt x="2330" y="917"/>
                    <a:pt x="2337" y="921"/>
                    <a:pt x="2344" y="921"/>
                  </a:cubicBezTo>
                  <a:cubicBezTo>
                    <a:pt x="2352" y="921"/>
                    <a:pt x="2359" y="917"/>
                    <a:pt x="2359" y="911"/>
                  </a:cubicBezTo>
                  <a:cubicBezTo>
                    <a:pt x="2360" y="905"/>
                    <a:pt x="2353" y="901"/>
                    <a:pt x="2346" y="901"/>
                  </a:cubicBezTo>
                  <a:cubicBezTo>
                    <a:pt x="2345" y="901"/>
                    <a:pt x="2345" y="901"/>
                    <a:pt x="2345" y="901"/>
                  </a:cubicBezTo>
                  <a:moveTo>
                    <a:pt x="2387" y="901"/>
                  </a:moveTo>
                  <a:cubicBezTo>
                    <a:pt x="2379" y="901"/>
                    <a:pt x="2372" y="905"/>
                    <a:pt x="2372" y="911"/>
                  </a:cubicBezTo>
                  <a:cubicBezTo>
                    <a:pt x="2372" y="917"/>
                    <a:pt x="2378" y="921"/>
                    <a:pt x="2386" y="921"/>
                  </a:cubicBezTo>
                  <a:cubicBezTo>
                    <a:pt x="2394" y="921"/>
                    <a:pt x="2401" y="916"/>
                    <a:pt x="2401" y="911"/>
                  </a:cubicBezTo>
                  <a:cubicBezTo>
                    <a:pt x="2401" y="905"/>
                    <a:pt x="2395" y="901"/>
                    <a:pt x="2387" y="901"/>
                  </a:cubicBezTo>
                  <a:cubicBezTo>
                    <a:pt x="2387" y="901"/>
                    <a:pt x="2387" y="901"/>
                    <a:pt x="2387" y="901"/>
                  </a:cubicBezTo>
                  <a:moveTo>
                    <a:pt x="2427" y="900"/>
                  </a:moveTo>
                  <a:cubicBezTo>
                    <a:pt x="2419" y="901"/>
                    <a:pt x="2413" y="905"/>
                    <a:pt x="2413" y="911"/>
                  </a:cubicBezTo>
                  <a:cubicBezTo>
                    <a:pt x="2413" y="916"/>
                    <a:pt x="2419" y="921"/>
                    <a:pt x="2427" y="921"/>
                  </a:cubicBezTo>
                  <a:cubicBezTo>
                    <a:pt x="2435" y="921"/>
                    <a:pt x="2441" y="916"/>
                    <a:pt x="2441" y="911"/>
                  </a:cubicBezTo>
                  <a:cubicBezTo>
                    <a:pt x="2442" y="905"/>
                    <a:pt x="2435" y="900"/>
                    <a:pt x="2427" y="900"/>
                  </a:cubicBezTo>
                  <a:cubicBezTo>
                    <a:pt x="2427" y="900"/>
                    <a:pt x="2427" y="900"/>
                    <a:pt x="2427" y="900"/>
                  </a:cubicBezTo>
                  <a:moveTo>
                    <a:pt x="2468" y="900"/>
                  </a:moveTo>
                  <a:cubicBezTo>
                    <a:pt x="2460" y="900"/>
                    <a:pt x="2454" y="905"/>
                    <a:pt x="2454" y="911"/>
                  </a:cubicBezTo>
                  <a:cubicBezTo>
                    <a:pt x="2454" y="916"/>
                    <a:pt x="2460" y="921"/>
                    <a:pt x="2468" y="921"/>
                  </a:cubicBezTo>
                  <a:cubicBezTo>
                    <a:pt x="2476" y="921"/>
                    <a:pt x="2482" y="916"/>
                    <a:pt x="2482" y="910"/>
                  </a:cubicBezTo>
                  <a:cubicBezTo>
                    <a:pt x="2482" y="905"/>
                    <a:pt x="2476" y="900"/>
                    <a:pt x="2468" y="900"/>
                  </a:cubicBezTo>
                  <a:cubicBezTo>
                    <a:pt x="2468" y="900"/>
                    <a:pt x="2468" y="900"/>
                    <a:pt x="2468" y="900"/>
                  </a:cubicBezTo>
                  <a:moveTo>
                    <a:pt x="2509" y="900"/>
                  </a:moveTo>
                  <a:cubicBezTo>
                    <a:pt x="2501" y="900"/>
                    <a:pt x="2494" y="905"/>
                    <a:pt x="2494" y="910"/>
                  </a:cubicBezTo>
                  <a:cubicBezTo>
                    <a:pt x="2494" y="916"/>
                    <a:pt x="2501" y="921"/>
                    <a:pt x="2509" y="921"/>
                  </a:cubicBezTo>
                  <a:cubicBezTo>
                    <a:pt x="2517" y="921"/>
                    <a:pt x="2523" y="916"/>
                    <a:pt x="2523" y="910"/>
                  </a:cubicBezTo>
                  <a:cubicBezTo>
                    <a:pt x="2523" y="905"/>
                    <a:pt x="2517" y="900"/>
                    <a:pt x="2509" y="900"/>
                  </a:cubicBezTo>
                  <a:cubicBezTo>
                    <a:pt x="2509" y="900"/>
                    <a:pt x="2509" y="900"/>
                    <a:pt x="2509" y="900"/>
                  </a:cubicBezTo>
                  <a:moveTo>
                    <a:pt x="2550" y="900"/>
                  </a:moveTo>
                  <a:cubicBezTo>
                    <a:pt x="2542" y="900"/>
                    <a:pt x="2535" y="905"/>
                    <a:pt x="2536" y="910"/>
                  </a:cubicBezTo>
                  <a:cubicBezTo>
                    <a:pt x="2536" y="916"/>
                    <a:pt x="2542" y="920"/>
                    <a:pt x="2550" y="920"/>
                  </a:cubicBezTo>
                  <a:cubicBezTo>
                    <a:pt x="2558" y="920"/>
                    <a:pt x="2564" y="916"/>
                    <a:pt x="2564" y="910"/>
                  </a:cubicBezTo>
                  <a:cubicBezTo>
                    <a:pt x="2564" y="905"/>
                    <a:pt x="2558" y="900"/>
                    <a:pt x="2550" y="900"/>
                  </a:cubicBezTo>
                  <a:cubicBezTo>
                    <a:pt x="2550" y="900"/>
                    <a:pt x="2550" y="900"/>
                    <a:pt x="2550" y="900"/>
                  </a:cubicBezTo>
                  <a:moveTo>
                    <a:pt x="2591" y="900"/>
                  </a:moveTo>
                  <a:cubicBezTo>
                    <a:pt x="2583" y="900"/>
                    <a:pt x="2577" y="904"/>
                    <a:pt x="2577" y="910"/>
                  </a:cubicBezTo>
                  <a:cubicBezTo>
                    <a:pt x="2577" y="916"/>
                    <a:pt x="2584" y="920"/>
                    <a:pt x="2592" y="920"/>
                  </a:cubicBezTo>
                  <a:cubicBezTo>
                    <a:pt x="2600" y="920"/>
                    <a:pt x="2606" y="916"/>
                    <a:pt x="2606" y="910"/>
                  </a:cubicBezTo>
                  <a:cubicBezTo>
                    <a:pt x="2605" y="904"/>
                    <a:pt x="2599" y="900"/>
                    <a:pt x="2591" y="900"/>
                  </a:cubicBezTo>
                  <a:cubicBezTo>
                    <a:pt x="2591" y="900"/>
                    <a:pt x="2591" y="900"/>
                    <a:pt x="2591" y="900"/>
                  </a:cubicBezTo>
                  <a:moveTo>
                    <a:pt x="2874" y="900"/>
                  </a:moveTo>
                  <a:cubicBezTo>
                    <a:pt x="2866" y="900"/>
                    <a:pt x="2861" y="904"/>
                    <a:pt x="2861" y="910"/>
                  </a:cubicBezTo>
                  <a:cubicBezTo>
                    <a:pt x="2862" y="916"/>
                    <a:pt x="2869" y="920"/>
                    <a:pt x="2877" y="920"/>
                  </a:cubicBezTo>
                  <a:cubicBezTo>
                    <a:pt x="2885" y="920"/>
                    <a:pt x="2891" y="916"/>
                    <a:pt x="2890" y="910"/>
                  </a:cubicBezTo>
                  <a:cubicBezTo>
                    <a:pt x="2889" y="904"/>
                    <a:pt x="2882" y="900"/>
                    <a:pt x="2874" y="900"/>
                  </a:cubicBezTo>
                  <a:cubicBezTo>
                    <a:pt x="2874" y="900"/>
                    <a:pt x="2874" y="900"/>
                    <a:pt x="2874" y="900"/>
                  </a:cubicBezTo>
                  <a:moveTo>
                    <a:pt x="2631" y="900"/>
                  </a:moveTo>
                  <a:cubicBezTo>
                    <a:pt x="2624" y="900"/>
                    <a:pt x="2617" y="904"/>
                    <a:pt x="2618" y="910"/>
                  </a:cubicBezTo>
                  <a:cubicBezTo>
                    <a:pt x="2618" y="916"/>
                    <a:pt x="2625" y="920"/>
                    <a:pt x="2632" y="920"/>
                  </a:cubicBezTo>
                  <a:cubicBezTo>
                    <a:pt x="2640" y="920"/>
                    <a:pt x="2647" y="915"/>
                    <a:pt x="2646" y="910"/>
                  </a:cubicBezTo>
                  <a:cubicBezTo>
                    <a:pt x="2646" y="904"/>
                    <a:pt x="2639" y="900"/>
                    <a:pt x="2632" y="900"/>
                  </a:cubicBezTo>
                  <a:cubicBezTo>
                    <a:pt x="2632" y="900"/>
                    <a:pt x="2631" y="900"/>
                    <a:pt x="2631" y="900"/>
                  </a:cubicBezTo>
                  <a:moveTo>
                    <a:pt x="2673" y="899"/>
                  </a:moveTo>
                  <a:cubicBezTo>
                    <a:pt x="2665" y="899"/>
                    <a:pt x="2659" y="904"/>
                    <a:pt x="2659" y="910"/>
                  </a:cubicBezTo>
                  <a:cubicBezTo>
                    <a:pt x="2659" y="915"/>
                    <a:pt x="2666" y="920"/>
                    <a:pt x="2674" y="920"/>
                  </a:cubicBezTo>
                  <a:cubicBezTo>
                    <a:pt x="2682" y="920"/>
                    <a:pt x="2688" y="915"/>
                    <a:pt x="2688" y="910"/>
                  </a:cubicBezTo>
                  <a:cubicBezTo>
                    <a:pt x="2687" y="904"/>
                    <a:pt x="2681" y="899"/>
                    <a:pt x="2673" y="899"/>
                  </a:cubicBezTo>
                  <a:cubicBezTo>
                    <a:pt x="2673" y="899"/>
                    <a:pt x="2673" y="899"/>
                    <a:pt x="2673" y="899"/>
                  </a:cubicBezTo>
                  <a:moveTo>
                    <a:pt x="2955" y="899"/>
                  </a:moveTo>
                  <a:cubicBezTo>
                    <a:pt x="2948" y="899"/>
                    <a:pt x="2942" y="904"/>
                    <a:pt x="2943" y="910"/>
                  </a:cubicBezTo>
                  <a:cubicBezTo>
                    <a:pt x="2944" y="915"/>
                    <a:pt x="2951" y="920"/>
                    <a:pt x="2959" y="920"/>
                  </a:cubicBezTo>
                  <a:cubicBezTo>
                    <a:pt x="2967" y="920"/>
                    <a:pt x="2972" y="915"/>
                    <a:pt x="2971" y="910"/>
                  </a:cubicBezTo>
                  <a:cubicBezTo>
                    <a:pt x="2971" y="904"/>
                    <a:pt x="2963" y="899"/>
                    <a:pt x="2956" y="899"/>
                  </a:cubicBezTo>
                  <a:cubicBezTo>
                    <a:pt x="2956" y="899"/>
                    <a:pt x="2955" y="899"/>
                    <a:pt x="2955" y="899"/>
                  </a:cubicBezTo>
                  <a:moveTo>
                    <a:pt x="3365" y="898"/>
                  </a:moveTo>
                  <a:cubicBezTo>
                    <a:pt x="3357" y="898"/>
                    <a:pt x="3352" y="903"/>
                    <a:pt x="3354" y="909"/>
                  </a:cubicBezTo>
                  <a:cubicBezTo>
                    <a:pt x="3355" y="914"/>
                    <a:pt x="3363" y="919"/>
                    <a:pt x="3371" y="919"/>
                  </a:cubicBezTo>
                  <a:cubicBezTo>
                    <a:pt x="3379" y="919"/>
                    <a:pt x="3384" y="914"/>
                    <a:pt x="3382" y="909"/>
                  </a:cubicBezTo>
                  <a:cubicBezTo>
                    <a:pt x="3381" y="903"/>
                    <a:pt x="3373" y="898"/>
                    <a:pt x="3365" y="898"/>
                  </a:cubicBezTo>
                  <a:cubicBezTo>
                    <a:pt x="3365" y="898"/>
                    <a:pt x="3365" y="898"/>
                    <a:pt x="3365" y="898"/>
                  </a:cubicBezTo>
                  <a:moveTo>
                    <a:pt x="3405" y="898"/>
                  </a:moveTo>
                  <a:cubicBezTo>
                    <a:pt x="3398" y="898"/>
                    <a:pt x="3393" y="903"/>
                    <a:pt x="3394" y="909"/>
                  </a:cubicBezTo>
                  <a:cubicBezTo>
                    <a:pt x="3396" y="914"/>
                    <a:pt x="3404" y="919"/>
                    <a:pt x="3412" y="919"/>
                  </a:cubicBezTo>
                  <a:cubicBezTo>
                    <a:pt x="3420" y="919"/>
                    <a:pt x="3425" y="914"/>
                    <a:pt x="3423" y="908"/>
                  </a:cubicBezTo>
                  <a:cubicBezTo>
                    <a:pt x="3421" y="903"/>
                    <a:pt x="3413" y="898"/>
                    <a:pt x="3406" y="898"/>
                  </a:cubicBezTo>
                  <a:cubicBezTo>
                    <a:pt x="3406" y="898"/>
                    <a:pt x="3406" y="898"/>
                    <a:pt x="3405" y="898"/>
                  </a:cubicBezTo>
                  <a:moveTo>
                    <a:pt x="3446" y="898"/>
                  </a:moveTo>
                  <a:cubicBezTo>
                    <a:pt x="3439" y="898"/>
                    <a:pt x="3434" y="903"/>
                    <a:pt x="3435" y="908"/>
                  </a:cubicBezTo>
                  <a:cubicBezTo>
                    <a:pt x="3437" y="914"/>
                    <a:pt x="3445" y="919"/>
                    <a:pt x="3453" y="919"/>
                  </a:cubicBezTo>
                  <a:cubicBezTo>
                    <a:pt x="3461" y="919"/>
                    <a:pt x="3466" y="914"/>
                    <a:pt x="3464" y="908"/>
                  </a:cubicBezTo>
                  <a:cubicBezTo>
                    <a:pt x="3462" y="903"/>
                    <a:pt x="3454" y="898"/>
                    <a:pt x="3446" y="898"/>
                  </a:cubicBezTo>
                  <a:cubicBezTo>
                    <a:pt x="3446" y="898"/>
                    <a:pt x="3446" y="898"/>
                    <a:pt x="3446" y="898"/>
                  </a:cubicBezTo>
                  <a:moveTo>
                    <a:pt x="2794" y="898"/>
                  </a:moveTo>
                  <a:cubicBezTo>
                    <a:pt x="2786" y="898"/>
                    <a:pt x="2781" y="902"/>
                    <a:pt x="2781" y="908"/>
                  </a:cubicBezTo>
                  <a:cubicBezTo>
                    <a:pt x="2782" y="913"/>
                    <a:pt x="2789" y="918"/>
                    <a:pt x="2797" y="918"/>
                  </a:cubicBezTo>
                  <a:cubicBezTo>
                    <a:pt x="2804" y="918"/>
                    <a:pt x="2810" y="913"/>
                    <a:pt x="2810" y="908"/>
                  </a:cubicBezTo>
                  <a:cubicBezTo>
                    <a:pt x="2809" y="902"/>
                    <a:pt x="2802" y="898"/>
                    <a:pt x="2794" y="898"/>
                  </a:cubicBezTo>
                  <a:cubicBezTo>
                    <a:pt x="2794" y="898"/>
                    <a:pt x="2794" y="898"/>
                    <a:pt x="2794" y="898"/>
                  </a:cubicBezTo>
                  <a:moveTo>
                    <a:pt x="3814" y="897"/>
                  </a:moveTo>
                  <a:cubicBezTo>
                    <a:pt x="3806" y="897"/>
                    <a:pt x="3802" y="901"/>
                    <a:pt x="3805" y="907"/>
                  </a:cubicBezTo>
                  <a:cubicBezTo>
                    <a:pt x="3807" y="913"/>
                    <a:pt x="3816" y="917"/>
                    <a:pt x="3823" y="917"/>
                  </a:cubicBezTo>
                  <a:cubicBezTo>
                    <a:pt x="3831" y="917"/>
                    <a:pt x="3836" y="913"/>
                    <a:pt x="3833" y="907"/>
                  </a:cubicBezTo>
                  <a:cubicBezTo>
                    <a:pt x="3831" y="901"/>
                    <a:pt x="3822" y="897"/>
                    <a:pt x="3814" y="897"/>
                  </a:cubicBezTo>
                  <a:cubicBezTo>
                    <a:pt x="3814" y="897"/>
                    <a:pt x="3814" y="897"/>
                    <a:pt x="3814" y="897"/>
                  </a:cubicBezTo>
                  <a:moveTo>
                    <a:pt x="3855" y="897"/>
                  </a:moveTo>
                  <a:cubicBezTo>
                    <a:pt x="3847" y="897"/>
                    <a:pt x="3843" y="901"/>
                    <a:pt x="3846" y="907"/>
                  </a:cubicBezTo>
                  <a:cubicBezTo>
                    <a:pt x="3848" y="913"/>
                    <a:pt x="3857" y="917"/>
                    <a:pt x="3865" y="917"/>
                  </a:cubicBezTo>
                  <a:cubicBezTo>
                    <a:pt x="3873" y="917"/>
                    <a:pt x="3877" y="913"/>
                    <a:pt x="3874" y="907"/>
                  </a:cubicBezTo>
                  <a:cubicBezTo>
                    <a:pt x="3872" y="901"/>
                    <a:pt x="3863" y="897"/>
                    <a:pt x="3855" y="897"/>
                  </a:cubicBezTo>
                  <a:cubicBezTo>
                    <a:pt x="3855" y="897"/>
                    <a:pt x="3855" y="897"/>
                    <a:pt x="3855" y="897"/>
                  </a:cubicBezTo>
                  <a:moveTo>
                    <a:pt x="3898" y="896"/>
                  </a:moveTo>
                  <a:cubicBezTo>
                    <a:pt x="3891" y="897"/>
                    <a:pt x="3886" y="901"/>
                    <a:pt x="3889" y="907"/>
                  </a:cubicBezTo>
                  <a:cubicBezTo>
                    <a:pt x="3892" y="912"/>
                    <a:pt x="3900" y="917"/>
                    <a:pt x="3908" y="917"/>
                  </a:cubicBezTo>
                  <a:cubicBezTo>
                    <a:pt x="3916" y="917"/>
                    <a:pt x="3920" y="912"/>
                    <a:pt x="3918" y="907"/>
                  </a:cubicBezTo>
                  <a:cubicBezTo>
                    <a:pt x="3915" y="901"/>
                    <a:pt x="3906" y="896"/>
                    <a:pt x="3899" y="896"/>
                  </a:cubicBezTo>
                  <a:cubicBezTo>
                    <a:pt x="3899" y="896"/>
                    <a:pt x="3898" y="896"/>
                    <a:pt x="3898" y="896"/>
                  </a:cubicBezTo>
                  <a:moveTo>
                    <a:pt x="3939" y="896"/>
                  </a:moveTo>
                  <a:cubicBezTo>
                    <a:pt x="3931" y="896"/>
                    <a:pt x="3927" y="901"/>
                    <a:pt x="3929" y="907"/>
                  </a:cubicBezTo>
                  <a:cubicBezTo>
                    <a:pt x="3932" y="912"/>
                    <a:pt x="3941" y="917"/>
                    <a:pt x="3949" y="917"/>
                  </a:cubicBezTo>
                  <a:cubicBezTo>
                    <a:pt x="3957" y="917"/>
                    <a:pt x="3961" y="912"/>
                    <a:pt x="3958" y="907"/>
                  </a:cubicBezTo>
                  <a:cubicBezTo>
                    <a:pt x="3955" y="901"/>
                    <a:pt x="3947" y="896"/>
                    <a:pt x="3939" y="896"/>
                  </a:cubicBezTo>
                  <a:cubicBezTo>
                    <a:pt x="3939" y="896"/>
                    <a:pt x="3939" y="896"/>
                    <a:pt x="3939" y="896"/>
                  </a:cubicBezTo>
                  <a:moveTo>
                    <a:pt x="3979" y="896"/>
                  </a:moveTo>
                  <a:cubicBezTo>
                    <a:pt x="3971" y="896"/>
                    <a:pt x="3967" y="901"/>
                    <a:pt x="3970" y="906"/>
                  </a:cubicBezTo>
                  <a:cubicBezTo>
                    <a:pt x="3973" y="912"/>
                    <a:pt x="3982" y="917"/>
                    <a:pt x="3990" y="917"/>
                  </a:cubicBezTo>
                  <a:cubicBezTo>
                    <a:pt x="3997" y="917"/>
                    <a:pt x="4002" y="912"/>
                    <a:pt x="3999" y="906"/>
                  </a:cubicBezTo>
                  <a:cubicBezTo>
                    <a:pt x="3996" y="901"/>
                    <a:pt x="3987" y="896"/>
                    <a:pt x="3979" y="896"/>
                  </a:cubicBezTo>
                  <a:cubicBezTo>
                    <a:pt x="3979" y="896"/>
                    <a:pt x="3979" y="896"/>
                    <a:pt x="3979" y="896"/>
                  </a:cubicBezTo>
                  <a:moveTo>
                    <a:pt x="4223" y="894"/>
                  </a:moveTo>
                  <a:cubicBezTo>
                    <a:pt x="4215" y="894"/>
                    <a:pt x="4211" y="898"/>
                    <a:pt x="4215" y="904"/>
                  </a:cubicBezTo>
                  <a:cubicBezTo>
                    <a:pt x="4218" y="910"/>
                    <a:pt x="4227" y="914"/>
                    <a:pt x="4235" y="914"/>
                  </a:cubicBezTo>
                  <a:cubicBezTo>
                    <a:pt x="4243" y="914"/>
                    <a:pt x="4247" y="910"/>
                    <a:pt x="4243" y="904"/>
                  </a:cubicBezTo>
                  <a:cubicBezTo>
                    <a:pt x="4240" y="898"/>
                    <a:pt x="4231" y="894"/>
                    <a:pt x="4223" y="894"/>
                  </a:cubicBezTo>
                  <a:cubicBezTo>
                    <a:pt x="4223" y="894"/>
                    <a:pt x="4223" y="894"/>
                    <a:pt x="4223" y="894"/>
                  </a:cubicBezTo>
                  <a:moveTo>
                    <a:pt x="118" y="883"/>
                  </a:moveTo>
                  <a:cubicBezTo>
                    <a:pt x="110" y="883"/>
                    <a:pt x="100" y="888"/>
                    <a:pt x="95" y="894"/>
                  </a:cubicBezTo>
                  <a:cubicBezTo>
                    <a:pt x="91" y="899"/>
                    <a:pt x="94" y="904"/>
                    <a:pt x="101" y="904"/>
                  </a:cubicBezTo>
                  <a:cubicBezTo>
                    <a:pt x="109" y="904"/>
                    <a:pt x="119" y="899"/>
                    <a:pt x="124" y="894"/>
                  </a:cubicBezTo>
                  <a:cubicBezTo>
                    <a:pt x="128" y="888"/>
                    <a:pt x="126" y="883"/>
                    <a:pt x="118" y="883"/>
                  </a:cubicBezTo>
                  <a:cubicBezTo>
                    <a:pt x="118" y="883"/>
                    <a:pt x="118" y="883"/>
                    <a:pt x="118" y="883"/>
                  </a:cubicBezTo>
                  <a:moveTo>
                    <a:pt x="160" y="883"/>
                  </a:moveTo>
                  <a:cubicBezTo>
                    <a:pt x="152" y="883"/>
                    <a:pt x="142" y="888"/>
                    <a:pt x="137" y="893"/>
                  </a:cubicBezTo>
                  <a:cubicBezTo>
                    <a:pt x="133" y="899"/>
                    <a:pt x="136" y="904"/>
                    <a:pt x="144" y="904"/>
                  </a:cubicBezTo>
                  <a:cubicBezTo>
                    <a:pt x="152" y="903"/>
                    <a:pt x="161" y="899"/>
                    <a:pt x="166" y="893"/>
                  </a:cubicBezTo>
                  <a:cubicBezTo>
                    <a:pt x="170" y="888"/>
                    <a:pt x="167" y="883"/>
                    <a:pt x="160" y="883"/>
                  </a:cubicBezTo>
                  <a:cubicBezTo>
                    <a:pt x="160" y="883"/>
                    <a:pt x="160" y="883"/>
                    <a:pt x="160" y="883"/>
                  </a:cubicBezTo>
                  <a:moveTo>
                    <a:pt x="199" y="882"/>
                  </a:moveTo>
                  <a:cubicBezTo>
                    <a:pt x="191" y="882"/>
                    <a:pt x="181" y="887"/>
                    <a:pt x="177" y="892"/>
                  </a:cubicBezTo>
                  <a:cubicBezTo>
                    <a:pt x="172" y="898"/>
                    <a:pt x="175" y="902"/>
                    <a:pt x="183" y="902"/>
                  </a:cubicBezTo>
                  <a:cubicBezTo>
                    <a:pt x="191" y="902"/>
                    <a:pt x="201" y="898"/>
                    <a:pt x="205" y="892"/>
                  </a:cubicBezTo>
                  <a:cubicBezTo>
                    <a:pt x="209" y="887"/>
                    <a:pt x="206" y="882"/>
                    <a:pt x="199" y="882"/>
                  </a:cubicBezTo>
                  <a:cubicBezTo>
                    <a:pt x="199" y="882"/>
                    <a:pt x="199" y="882"/>
                    <a:pt x="199" y="882"/>
                  </a:cubicBezTo>
                  <a:moveTo>
                    <a:pt x="239" y="882"/>
                  </a:moveTo>
                  <a:cubicBezTo>
                    <a:pt x="231" y="882"/>
                    <a:pt x="221" y="887"/>
                    <a:pt x="217" y="892"/>
                  </a:cubicBezTo>
                  <a:cubicBezTo>
                    <a:pt x="213" y="898"/>
                    <a:pt x="216" y="902"/>
                    <a:pt x="224" y="902"/>
                  </a:cubicBezTo>
                  <a:cubicBezTo>
                    <a:pt x="231" y="902"/>
                    <a:pt x="241" y="898"/>
                    <a:pt x="246" y="892"/>
                  </a:cubicBezTo>
                  <a:cubicBezTo>
                    <a:pt x="250" y="886"/>
                    <a:pt x="247" y="882"/>
                    <a:pt x="239" y="882"/>
                  </a:cubicBezTo>
                  <a:cubicBezTo>
                    <a:pt x="239" y="882"/>
                    <a:pt x="239" y="882"/>
                    <a:pt x="239" y="882"/>
                  </a:cubicBezTo>
                  <a:moveTo>
                    <a:pt x="280" y="882"/>
                  </a:moveTo>
                  <a:cubicBezTo>
                    <a:pt x="272" y="882"/>
                    <a:pt x="262" y="886"/>
                    <a:pt x="258" y="892"/>
                  </a:cubicBezTo>
                  <a:cubicBezTo>
                    <a:pt x="254" y="898"/>
                    <a:pt x="257" y="902"/>
                    <a:pt x="264" y="902"/>
                  </a:cubicBezTo>
                  <a:cubicBezTo>
                    <a:pt x="272" y="902"/>
                    <a:pt x="282" y="897"/>
                    <a:pt x="286" y="892"/>
                  </a:cubicBezTo>
                  <a:cubicBezTo>
                    <a:pt x="290" y="886"/>
                    <a:pt x="287" y="882"/>
                    <a:pt x="280" y="882"/>
                  </a:cubicBezTo>
                  <a:cubicBezTo>
                    <a:pt x="280" y="882"/>
                    <a:pt x="280" y="882"/>
                    <a:pt x="280" y="882"/>
                  </a:cubicBezTo>
                  <a:moveTo>
                    <a:pt x="321" y="882"/>
                  </a:moveTo>
                  <a:cubicBezTo>
                    <a:pt x="314" y="882"/>
                    <a:pt x="304" y="886"/>
                    <a:pt x="300" y="892"/>
                  </a:cubicBezTo>
                  <a:cubicBezTo>
                    <a:pt x="296" y="897"/>
                    <a:pt x="299" y="902"/>
                    <a:pt x="307" y="902"/>
                  </a:cubicBezTo>
                  <a:cubicBezTo>
                    <a:pt x="315" y="902"/>
                    <a:pt x="324" y="897"/>
                    <a:pt x="328" y="892"/>
                  </a:cubicBezTo>
                  <a:cubicBezTo>
                    <a:pt x="332" y="886"/>
                    <a:pt x="329" y="882"/>
                    <a:pt x="322" y="882"/>
                  </a:cubicBezTo>
                  <a:cubicBezTo>
                    <a:pt x="322" y="882"/>
                    <a:pt x="322" y="882"/>
                    <a:pt x="321" y="882"/>
                  </a:cubicBezTo>
                  <a:moveTo>
                    <a:pt x="1701" y="874"/>
                  </a:moveTo>
                  <a:cubicBezTo>
                    <a:pt x="1693" y="874"/>
                    <a:pt x="1685" y="879"/>
                    <a:pt x="1684" y="884"/>
                  </a:cubicBezTo>
                  <a:cubicBezTo>
                    <a:pt x="1682" y="890"/>
                    <a:pt x="1688" y="894"/>
                    <a:pt x="1696" y="894"/>
                  </a:cubicBezTo>
                  <a:cubicBezTo>
                    <a:pt x="1703" y="894"/>
                    <a:pt x="1711" y="890"/>
                    <a:pt x="1712" y="884"/>
                  </a:cubicBezTo>
                  <a:cubicBezTo>
                    <a:pt x="1714" y="879"/>
                    <a:pt x="1709" y="874"/>
                    <a:pt x="1701" y="874"/>
                  </a:cubicBezTo>
                  <a:cubicBezTo>
                    <a:pt x="1701" y="874"/>
                    <a:pt x="1701" y="874"/>
                    <a:pt x="1701" y="874"/>
                  </a:cubicBezTo>
                  <a:moveTo>
                    <a:pt x="1739" y="874"/>
                  </a:moveTo>
                  <a:cubicBezTo>
                    <a:pt x="1731" y="874"/>
                    <a:pt x="1724" y="879"/>
                    <a:pt x="1722" y="884"/>
                  </a:cubicBezTo>
                  <a:cubicBezTo>
                    <a:pt x="1721" y="890"/>
                    <a:pt x="1726" y="894"/>
                    <a:pt x="1734" y="894"/>
                  </a:cubicBezTo>
                  <a:cubicBezTo>
                    <a:pt x="1742" y="894"/>
                    <a:pt x="1749" y="890"/>
                    <a:pt x="1751" y="884"/>
                  </a:cubicBezTo>
                  <a:cubicBezTo>
                    <a:pt x="1752" y="878"/>
                    <a:pt x="1747" y="874"/>
                    <a:pt x="1739" y="874"/>
                  </a:cubicBezTo>
                  <a:cubicBezTo>
                    <a:pt x="1739" y="874"/>
                    <a:pt x="1739" y="874"/>
                    <a:pt x="1739" y="874"/>
                  </a:cubicBezTo>
                  <a:moveTo>
                    <a:pt x="1779" y="874"/>
                  </a:moveTo>
                  <a:cubicBezTo>
                    <a:pt x="1771" y="874"/>
                    <a:pt x="1764" y="878"/>
                    <a:pt x="1763" y="884"/>
                  </a:cubicBezTo>
                  <a:cubicBezTo>
                    <a:pt x="1761" y="890"/>
                    <a:pt x="1766" y="894"/>
                    <a:pt x="1774" y="894"/>
                  </a:cubicBezTo>
                  <a:cubicBezTo>
                    <a:pt x="1782" y="894"/>
                    <a:pt x="1790" y="889"/>
                    <a:pt x="1791" y="884"/>
                  </a:cubicBezTo>
                  <a:cubicBezTo>
                    <a:pt x="1792" y="878"/>
                    <a:pt x="1787" y="874"/>
                    <a:pt x="1779" y="874"/>
                  </a:cubicBezTo>
                  <a:cubicBezTo>
                    <a:pt x="1779" y="874"/>
                    <a:pt x="1779" y="874"/>
                    <a:pt x="1779" y="874"/>
                  </a:cubicBezTo>
                  <a:moveTo>
                    <a:pt x="1820" y="874"/>
                  </a:moveTo>
                  <a:cubicBezTo>
                    <a:pt x="1812" y="874"/>
                    <a:pt x="1805" y="878"/>
                    <a:pt x="1803" y="884"/>
                  </a:cubicBezTo>
                  <a:cubicBezTo>
                    <a:pt x="1802" y="889"/>
                    <a:pt x="1807" y="894"/>
                    <a:pt x="1815" y="894"/>
                  </a:cubicBezTo>
                  <a:cubicBezTo>
                    <a:pt x="1823" y="894"/>
                    <a:pt x="1830" y="889"/>
                    <a:pt x="1832" y="884"/>
                  </a:cubicBezTo>
                  <a:cubicBezTo>
                    <a:pt x="1833" y="878"/>
                    <a:pt x="1828" y="874"/>
                    <a:pt x="1820" y="874"/>
                  </a:cubicBezTo>
                  <a:cubicBezTo>
                    <a:pt x="1820" y="874"/>
                    <a:pt x="1820" y="874"/>
                    <a:pt x="1820" y="874"/>
                  </a:cubicBezTo>
                  <a:moveTo>
                    <a:pt x="1861" y="873"/>
                  </a:moveTo>
                  <a:cubicBezTo>
                    <a:pt x="1853" y="873"/>
                    <a:pt x="1845" y="878"/>
                    <a:pt x="1844" y="884"/>
                  </a:cubicBezTo>
                  <a:cubicBezTo>
                    <a:pt x="1843" y="889"/>
                    <a:pt x="1848" y="894"/>
                    <a:pt x="1856" y="894"/>
                  </a:cubicBezTo>
                  <a:cubicBezTo>
                    <a:pt x="1864" y="894"/>
                    <a:pt x="1872" y="889"/>
                    <a:pt x="1873" y="884"/>
                  </a:cubicBezTo>
                  <a:cubicBezTo>
                    <a:pt x="1874" y="878"/>
                    <a:pt x="1868" y="873"/>
                    <a:pt x="1861" y="873"/>
                  </a:cubicBezTo>
                  <a:cubicBezTo>
                    <a:pt x="1861" y="873"/>
                    <a:pt x="1861" y="873"/>
                    <a:pt x="1861" y="873"/>
                  </a:cubicBezTo>
                  <a:moveTo>
                    <a:pt x="1901" y="873"/>
                  </a:moveTo>
                  <a:cubicBezTo>
                    <a:pt x="1893" y="873"/>
                    <a:pt x="1886" y="878"/>
                    <a:pt x="1885" y="883"/>
                  </a:cubicBezTo>
                  <a:cubicBezTo>
                    <a:pt x="1883" y="889"/>
                    <a:pt x="1889" y="894"/>
                    <a:pt x="1897" y="894"/>
                  </a:cubicBezTo>
                  <a:cubicBezTo>
                    <a:pt x="1905" y="894"/>
                    <a:pt x="1912" y="889"/>
                    <a:pt x="1913" y="883"/>
                  </a:cubicBezTo>
                  <a:cubicBezTo>
                    <a:pt x="1914" y="878"/>
                    <a:pt x="1909" y="873"/>
                    <a:pt x="1901" y="873"/>
                  </a:cubicBezTo>
                  <a:cubicBezTo>
                    <a:pt x="1901" y="873"/>
                    <a:pt x="1901" y="873"/>
                    <a:pt x="1901" y="873"/>
                  </a:cubicBezTo>
                  <a:moveTo>
                    <a:pt x="1941" y="873"/>
                  </a:moveTo>
                  <a:cubicBezTo>
                    <a:pt x="1933" y="873"/>
                    <a:pt x="1926" y="878"/>
                    <a:pt x="1925" y="883"/>
                  </a:cubicBezTo>
                  <a:cubicBezTo>
                    <a:pt x="1924" y="889"/>
                    <a:pt x="1930" y="893"/>
                    <a:pt x="1938" y="893"/>
                  </a:cubicBezTo>
                  <a:cubicBezTo>
                    <a:pt x="1945" y="893"/>
                    <a:pt x="1953" y="889"/>
                    <a:pt x="1954" y="883"/>
                  </a:cubicBezTo>
                  <a:cubicBezTo>
                    <a:pt x="1955" y="878"/>
                    <a:pt x="1949" y="873"/>
                    <a:pt x="1941" y="873"/>
                  </a:cubicBezTo>
                  <a:cubicBezTo>
                    <a:pt x="1941" y="873"/>
                    <a:pt x="1941" y="873"/>
                    <a:pt x="1941" y="873"/>
                  </a:cubicBezTo>
                  <a:moveTo>
                    <a:pt x="1981" y="873"/>
                  </a:moveTo>
                  <a:cubicBezTo>
                    <a:pt x="1974" y="873"/>
                    <a:pt x="1967" y="877"/>
                    <a:pt x="1966" y="883"/>
                  </a:cubicBezTo>
                  <a:cubicBezTo>
                    <a:pt x="1965" y="889"/>
                    <a:pt x="1970" y="893"/>
                    <a:pt x="1978" y="893"/>
                  </a:cubicBezTo>
                  <a:cubicBezTo>
                    <a:pt x="1986" y="893"/>
                    <a:pt x="1993" y="889"/>
                    <a:pt x="1994" y="883"/>
                  </a:cubicBezTo>
                  <a:cubicBezTo>
                    <a:pt x="1995" y="877"/>
                    <a:pt x="1989" y="873"/>
                    <a:pt x="1982" y="873"/>
                  </a:cubicBezTo>
                  <a:cubicBezTo>
                    <a:pt x="1982" y="873"/>
                    <a:pt x="1982" y="873"/>
                    <a:pt x="1981" y="873"/>
                  </a:cubicBezTo>
                  <a:moveTo>
                    <a:pt x="2022" y="873"/>
                  </a:moveTo>
                  <a:cubicBezTo>
                    <a:pt x="2014" y="873"/>
                    <a:pt x="2007" y="877"/>
                    <a:pt x="2006" y="883"/>
                  </a:cubicBezTo>
                  <a:cubicBezTo>
                    <a:pt x="2005" y="889"/>
                    <a:pt x="2011" y="893"/>
                    <a:pt x="2019" y="893"/>
                  </a:cubicBezTo>
                  <a:cubicBezTo>
                    <a:pt x="2027" y="893"/>
                    <a:pt x="2034" y="888"/>
                    <a:pt x="2035" y="883"/>
                  </a:cubicBezTo>
                  <a:cubicBezTo>
                    <a:pt x="2036" y="877"/>
                    <a:pt x="2030" y="873"/>
                    <a:pt x="2022" y="873"/>
                  </a:cubicBezTo>
                  <a:cubicBezTo>
                    <a:pt x="2022" y="873"/>
                    <a:pt x="2022" y="873"/>
                    <a:pt x="2022" y="873"/>
                  </a:cubicBezTo>
                  <a:moveTo>
                    <a:pt x="2064" y="873"/>
                  </a:moveTo>
                  <a:cubicBezTo>
                    <a:pt x="2056" y="873"/>
                    <a:pt x="2049" y="877"/>
                    <a:pt x="2048" y="883"/>
                  </a:cubicBezTo>
                  <a:cubicBezTo>
                    <a:pt x="2047" y="888"/>
                    <a:pt x="2053" y="893"/>
                    <a:pt x="2061" y="893"/>
                  </a:cubicBezTo>
                  <a:cubicBezTo>
                    <a:pt x="2069" y="893"/>
                    <a:pt x="2076" y="888"/>
                    <a:pt x="2077" y="883"/>
                  </a:cubicBezTo>
                  <a:cubicBezTo>
                    <a:pt x="2077" y="877"/>
                    <a:pt x="2072" y="873"/>
                    <a:pt x="2064" y="873"/>
                  </a:cubicBezTo>
                  <a:cubicBezTo>
                    <a:pt x="2064" y="873"/>
                    <a:pt x="2064" y="873"/>
                    <a:pt x="2064" y="873"/>
                  </a:cubicBezTo>
                  <a:moveTo>
                    <a:pt x="2104" y="872"/>
                  </a:moveTo>
                  <a:cubicBezTo>
                    <a:pt x="2096" y="872"/>
                    <a:pt x="2089" y="877"/>
                    <a:pt x="2088" y="883"/>
                  </a:cubicBezTo>
                  <a:cubicBezTo>
                    <a:pt x="2088" y="888"/>
                    <a:pt x="2093" y="893"/>
                    <a:pt x="2101" y="893"/>
                  </a:cubicBezTo>
                  <a:cubicBezTo>
                    <a:pt x="2109" y="893"/>
                    <a:pt x="2116" y="888"/>
                    <a:pt x="2117" y="882"/>
                  </a:cubicBezTo>
                  <a:cubicBezTo>
                    <a:pt x="2118" y="877"/>
                    <a:pt x="2112" y="872"/>
                    <a:pt x="2104" y="872"/>
                  </a:cubicBezTo>
                  <a:cubicBezTo>
                    <a:pt x="2104" y="872"/>
                    <a:pt x="2104" y="872"/>
                    <a:pt x="2104" y="872"/>
                  </a:cubicBezTo>
                  <a:moveTo>
                    <a:pt x="2145" y="872"/>
                  </a:moveTo>
                  <a:cubicBezTo>
                    <a:pt x="2137" y="872"/>
                    <a:pt x="2130" y="877"/>
                    <a:pt x="2129" y="882"/>
                  </a:cubicBezTo>
                  <a:cubicBezTo>
                    <a:pt x="2128" y="888"/>
                    <a:pt x="2134" y="893"/>
                    <a:pt x="2142" y="893"/>
                  </a:cubicBezTo>
                  <a:cubicBezTo>
                    <a:pt x="2150" y="893"/>
                    <a:pt x="2157" y="888"/>
                    <a:pt x="2158" y="882"/>
                  </a:cubicBezTo>
                  <a:cubicBezTo>
                    <a:pt x="2158" y="877"/>
                    <a:pt x="2152" y="872"/>
                    <a:pt x="2145" y="872"/>
                  </a:cubicBezTo>
                  <a:cubicBezTo>
                    <a:pt x="2145" y="872"/>
                    <a:pt x="2145" y="872"/>
                    <a:pt x="2145" y="872"/>
                  </a:cubicBezTo>
                  <a:moveTo>
                    <a:pt x="2833" y="872"/>
                  </a:moveTo>
                  <a:cubicBezTo>
                    <a:pt x="2825" y="872"/>
                    <a:pt x="2819" y="877"/>
                    <a:pt x="2820" y="882"/>
                  </a:cubicBezTo>
                  <a:cubicBezTo>
                    <a:pt x="2820" y="888"/>
                    <a:pt x="2827" y="893"/>
                    <a:pt x="2835" y="893"/>
                  </a:cubicBezTo>
                  <a:cubicBezTo>
                    <a:pt x="2843" y="893"/>
                    <a:pt x="2849" y="888"/>
                    <a:pt x="2848" y="882"/>
                  </a:cubicBezTo>
                  <a:cubicBezTo>
                    <a:pt x="2847" y="877"/>
                    <a:pt x="2840" y="872"/>
                    <a:pt x="2833" y="872"/>
                  </a:cubicBezTo>
                  <a:cubicBezTo>
                    <a:pt x="2833" y="872"/>
                    <a:pt x="2833" y="872"/>
                    <a:pt x="2833" y="872"/>
                  </a:cubicBezTo>
                  <a:moveTo>
                    <a:pt x="2185" y="872"/>
                  </a:moveTo>
                  <a:cubicBezTo>
                    <a:pt x="2178" y="872"/>
                    <a:pt x="2171" y="877"/>
                    <a:pt x="2170" y="882"/>
                  </a:cubicBezTo>
                  <a:cubicBezTo>
                    <a:pt x="2170" y="888"/>
                    <a:pt x="2175" y="892"/>
                    <a:pt x="2183" y="892"/>
                  </a:cubicBezTo>
                  <a:cubicBezTo>
                    <a:pt x="2191" y="892"/>
                    <a:pt x="2198" y="888"/>
                    <a:pt x="2199" y="882"/>
                  </a:cubicBezTo>
                  <a:cubicBezTo>
                    <a:pt x="2199" y="877"/>
                    <a:pt x="2193" y="872"/>
                    <a:pt x="2185" y="872"/>
                  </a:cubicBezTo>
                  <a:cubicBezTo>
                    <a:pt x="2185" y="872"/>
                    <a:pt x="2185" y="872"/>
                    <a:pt x="2185" y="872"/>
                  </a:cubicBezTo>
                  <a:moveTo>
                    <a:pt x="2226" y="872"/>
                  </a:moveTo>
                  <a:cubicBezTo>
                    <a:pt x="2218" y="872"/>
                    <a:pt x="2211" y="876"/>
                    <a:pt x="2211" y="882"/>
                  </a:cubicBezTo>
                  <a:cubicBezTo>
                    <a:pt x="2210" y="888"/>
                    <a:pt x="2216" y="892"/>
                    <a:pt x="2224" y="892"/>
                  </a:cubicBezTo>
                  <a:cubicBezTo>
                    <a:pt x="2232" y="892"/>
                    <a:pt x="2238" y="888"/>
                    <a:pt x="2239" y="882"/>
                  </a:cubicBezTo>
                  <a:cubicBezTo>
                    <a:pt x="2239" y="876"/>
                    <a:pt x="2233" y="872"/>
                    <a:pt x="2226" y="872"/>
                  </a:cubicBezTo>
                  <a:cubicBezTo>
                    <a:pt x="2226" y="872"/>
                    <a:pt x="2226" y="872"/>
                    <a:pt x="2226" y="872"/>
                  </a:cubicBezTo>
                  <a:moveTo>
                    <a:pt x="2913" y="872"/>
                  </a:moveTo>
                  <a:cubicBezTo>
                    <a:pt x="2905" y="872"/>
                    <a:pt x="2900" y="876"/>
                    <a:pt x="2900" y="882"/>
                  </a:cubicBezTo>
                  <a:cubicBezTo>
                    <a:pt x="2901" y="888"/>
                    <a:pt x="2908" y="892"/>
                    <a:pt x="2916" y="892"/>
                  </a:cubicBezTo>
                  <a:cubicBezTo>
                    <a:pt x="2924" y="892"/>
                    <a:pt x="2930" y="888"/>
                    <a:pt x="2929" y="882"/>
                  </a:cubicBezTo>
                  <a:cubicBezTo>
                    <a:pt x="2928" y="876"/>
                    <a:pt x="2921" y="872"/>
                    <a:pt x="2913" y="872"/>
                  </a:cubicBezTo>
                  <a:cubicBezTo>
                    <a:pt x="2913" y="872"/>
                    <a:pt x="2913" y="872"/>
                    <a:pt x="2913" y="872"/>
                  </a:cubicBezTo>
                  <a:moveTo>
                    <a:pt x="2871" y="872"/>
                  </a:moveTo>
                  <a:cubicBezTo>
                    <a:pt x="2863" y="872"/>
                    <a:pt x="2857" y="876"/>
                    <a:pt x="2858" y="882"/>
                  </a:cubicBezTo>
                  <a:cubicBezTo>
                    <a:pt x="2858" y="888"/>
                    <a:pt x="2865" y="892"/>
                    <a:pt x="2873" y="892"/>
                  </a:cubicBezTo>
                  <a:cubicBezTo>
                    <a:pt x="2881" y="892"/>
                    <a:pt x="2887" y="887"/>
                    <a:pt x="2886" y="882"/>
                  </a:cubicBezTo>
                  <a:cubicBezTo>
                    <a:pt x="2885" y="876"/>
                    <a:pt x="2878" y="872"/>
                    <a:pt x="2871" y="872"/>
                  </a:cubicBezTo>
                  <a:cubicBezTo>
                    <a:pt x="2871" y="872"/>
                    <a:pt x="2871" y="872"/>
                    <a:pt x="2871" y="872"/>
                  </a:cubicBezTo>
                  <a:moveTo>
                    <a:pt x="2266" y="872"/>
                  </a:moveTo>
                  <a:cubicBezTo>
                    <a:pt x="2258" y="872"/>
                    <a:pt x="2252" y="876"/>
                    <a:pt x="2251" y="882"/>
                  </a:cubicBezTo>
                  <a:cubicBezTo>
                    <a:pt x="2251" y="888"/>
                    <a:pt x="2257" y="892"/>
                    <a:pt x="2265" y="892"/>
                  </a:cubicBezTo>
                  <a:cubicBezTo>
                    <a:pt x="2272" y="892"/>
                    <a:pt x="2279" y="887"/>
                    <a:pt x="2279" y="882"/>
                  </a:cubicBezTo>
                  <a:cubicBezTo>
                    <a:pt x="2280" y="876"/>
                    <a:pt x="2274" y="872"/>
                    <a:pt x="2266" y="872"/>
                  </a:cubicBezTo>
                  <a:cubicBezTo>
                    <a:pt x="2266" y="872"/>
                    <a:pt x="2266" y="872"/>
                    <a:pt x="2266" y="872"/>
                  </a:cubicBezTo>
                  <a:moveTo>
                    <a:pt x="2306" y="871"/>
                  </a:moveTo>
                  <a:cubicBezTo>
                    <a:pt x="2298" y="871"/>
                    <a:pt x="2292" y="876"/>
                    <a:pt x="2291" y="882"/>
                  </a:cubicBezTo>
                  <a:cubicBezTo>
                    <a:pt x="2291" y="887"/>
                    <a:pt x="2297" y="892"/>
                    <a:pt x="2305" y="892"/>
                  </a:cubicBezTo>
                  <a:cubicBezTo>
                    <a:pt x="2313" y="892"/>
                    <a:pt x="2320" y="887"/>
                    <a:pt x="2320" y="882"/>
                  </a:cubicBezTo>
                  <a:cubicBezTo>
                    <a:pt x="2320" y="876"/>
                    <a:pt x="2314" y="871"/>
                    <a:pt x="2306" y="871"/>
                  </a:cubicBezTo>
                  <a:cubicBezTo>
                    <a:pt x="2306" y="871"/>
                    <a:pt x="2306" y="871"/>
                    <a:pt x="2306" y="871"/>
                  </a:cubicBezTo>
                  <a:moveTo>
                    <a:pt x="2995" y="871"/>
                  </a:moveTo>
                  <a:cubicBezTo>
                    <a:pt x="2988" y="871"/>
                    <a:pt x="2982" y="876"/>
                    <a:pt x="2983" y="882"/>
                  </a:cubicBezTo>
                  <a:cubicBezTo>
                    <a:pt x="2984" y="887"/>
                    <a:pt x="2991" y="892"/>
                    <a:pt x="2999" y="892"/>
                  </a:cubicBezTo>
                  <a:cubicBezTo>
                    <a:pt x="3007" y="892"/>
                    <a:pt x="3012" y="887"/>
                    <a:pt x="3011" y="882"/>
                  </a:cubicBezTo>
                  <a:cubicBezTo>
                    <a:pt x="3010" y="876"/>
                    <a:pt x="3003" y="871"/>
                    <a:pt x="2995" y="871"/>
                  </a:cubicBezTo>
                  <a:cubicBezTo>
                    <a:pt x="2995" y="871"/>
                    <a:pt x="2995" y="871"/>
                    <a:pt x="2995" y="871"/>
                  </a:cubicBezTo>
                  <a:moveTo>
                    <a:pt x="2951" y="871"/>
                  </a:moveTo>
                  <a:cubicBezTo>
                    <a:pt x="2943" y="871"/>
                    <a:pt x="2938" y="876"/>
                    <a:pt x="2938" y="882"/>
                  </a:cubicBezTo>
                  <a:cubicBezTo>
                    <a:pt x="2939" y="887"/>
                    <a:pt x="2946" y="892"/>
                    <a:pt x="2954" y="892"/>
                  </a:cubicBezTo>
                  <a:cubicBezTo>
                    <a:pt x="2962" y="892"/>
                    <a:pt x="2968" y="887"/>
                    <a:pt x="2967" y="882"/>
                  </a:cubicBezTo>
                  <a:cubicBezTo>
                    <a:pt x="2966" y="876"/>
                    <a:pt x="2959" y="871"/>
                    <a:pt x="2951" y="871"/>
                  </a:cubicBezTo>
                  <a:cubicBezTo>
                    <a:pt x="2951" y="871"/>
                    <a:pt x="2951" y="871"/>
                    <a:pt x="2951" y="871"/>
                  </a:cubicBezTo>
                  <a:moveTo>
                    <a:pt x="2347" y="871"/>
                  </a:moveTo>
                  <a:cubicBezTo>
                    <a:pt x="2339" y="871"/>
                    <a:pt x="2332" y="876"/>
                    <a:pt x="2332" y="882"/>
                  </a:cubicBezTo>
                  <a:cubicBezTo>
                    <a:pt x="2332" y="887"/>
                    <a:pt x="2338" y="892"/>
                    <a:pt x="2346" y="892"/>
                  </a:cubicBezTo>
                  <a:cubicBezTo>
                    <a:pt x="2354" y="892"/>
                    <a:pt x="2360" y="887"/>
                    <a:pt x="2360" y="881"/>
                  </a:cubicBezTo>
                  <a:cubicBezTo>
                    <a:pt x="2361" y="876"/>
                    <a:pt x="2355" y="871"/>
                    <a:pt x="2347" y="871"/>
                  </a:cubicBezTo>
                  <a:cubicBezTo>
                    <a:pt x="2347" y="871"/>
                    <a:pt x="2347" y="871"/>
                    <a:pt x="2347" y="871"/>
                  </a:cubicBezTo>
                  <a:moveTo>
                    <a:pt x="2388" y="871"/>
                  </a:moveTo>
                  <a:cubicBezTo>
                    <a:pt x="2380" y="871"/>
                    <a:pt x="2373" y="876"/>
                    <a:pt x="2373" y="881"/>
                  </a:cubicBezTo>
                  <a:cubicBezTo>
                    <a:pt x="2373" y="887"/>
                    <a:pt x="2379" y="892"/>
                    <a:pt x="2387" y="892"/>
                  </a:cubicBezTo>
                  <a:cubicBezTo>
                    <a:pt x="2395" y="892"/>
                    <a:pt x="2401" y="887"/>
                    <a:pt x="2402" y="881"/>
                  </a:cubicBezTo>
                  <a:cubicBezTo>
                    <a:pt x="2402" y="876"/>
                    <a:pt x="2395" y="871"/>
                    <a:pt x="2388" y="871"/>
                  </a:cubicBezTo>
                  <a:cubicBezTo>
                    <a:pt x="2388" y="871"/>
                    <a:pt x="2388" y="871"/>
                    <a:pt x="2388" y="871"/>
                  </a:cubicBezTo>
                  <a:moveTo>
                    <a:pt x="2428" y="871"/>
                  </a:moveTo>
                  <a:cubicBezTo>
                    <a:pt x="2420" y="871"/>
                    <a:pt x="2414" y="876"/>
                    <a:pt x="2413" y="881"/>
                  </a:cubicBezTo>
                  <a:cubicBezTo>
                    <a:pt x="2413" y="887"/>
                    <a:pt x="2420" y="891"/>
                    <a:pt x="2427" y="891"/>
                  </a:cubicBezTo>
                  <a:cubicBezTo>
                    <a:pt x="2435" y="891"/>
                    <a:pt x="2442" y="887"/>
                    <a:pt x="2442" y="881"/>
                  </a:cubicBezTo>
                  <a:cubicBezTo>
                    <a:pt x="2442" y="875"/>
                    <a:pt x="2436" y="871"/>
                    <a:pt x="2428" y="871"/>
                  </a:cubicBezTo>
                  <a:cubicBezTo>
                    <a:pt x="2428" y="871"/>
                    <a:pt x="2428" y="871"/>
                    <a:pt x="2428" y="871"/>
                  </a:cubicBezTo>
                  <a:moveTo>
                    <a:pt x="2468" y="871"/>
                  </a:moveTo>
                  <a:cubicBezTo>
                    <a:pt x="2460" y="871"/>
                    <a:pt x="2454" y="875"/>
                    <a:pt x="2454" y="881"/>
                  </a:cubicBezTo>
                  <a:cubicBezTo>
                    <a:pt x="2454" y="887"/>
                    <a:pt x="2460" y="891"/>
                    <a:pt x="2468" y="891"/>
                  </a:cubicBezTo>
                  <a:cubicBezTo>
                    <a:pt x="2476" y="891"/>
                    <a:pt x="2482" y="887"/>
                    <a:pt x="2482" y="881"/>
                  </a:cubicBezTo>
                  <a:cubicBezTo>
                    <a:pt x="2482" y="875"/>
                    <a:pt x="2476" y="871"/>
                    <a:pt x="2468" y="871"/>
                  </a:cubicBezTo>
                  <a:cubicBezTo>
                    <a:pt x="2468" y="871"/>
                    <a:pt x="2468" y="871"/>
                    <a:pt x="2468" y="871"/>
                  </a:cubicBezTo>
                  <a:moveTo>
                    <a:pt x="2508" y="871"/>
                  </a:moveTo>
                  <a:cubicBezTo>
                    <a:pt x="2501" y="871"/>
                    <a:pt x="2494" y="875"/>
                    <a:pt x="2494" y="881"/>
                  </a:cubicBezTo>
                  <a:cubicBezTo>
                    <a:pt x="2494" y="887"/>
                    <a:pt x="2501" y="891"/>
                    <a:pt x="2509" y="891"/>
                  </a:cubicBezTo>
                  <a:cubicBezTo>
                    <a:pt x="2516" y="891"/>
                    <a:pt x="2523" y="886"/>
                    <a:pt x="2523" y="881"/>
                  </a:cubicBezTo>
                  <a:cubicBezTo>
                    <a:pt x="2523" y="875"/>
                    <a:pt x="2516" y="871"/>
                    <a:pt x="2508" y="871"/>
                  </a:cubicBezTo>
                  <a:cubicBezTo>
                    <a:pt x="2508" y="871"/>
                    <a:pt x="2508" y="871"/>
                    <a:pt x="2508" y="871"/>
                  </a:cubicBezTo>
                  <a:moveTo>
                    <a:pt x="2549" y="870"/>
                  </a:moveTo>
                  <a:cubicBezTo>
                    <a:pt x="2541" y="870"/>
                    <a:pt x="2535" y="875"/>
                    <a:pt x="2535" y="881"/>
                  </a:cubicBezTo>
                  <a:cubicBezTo>
                    <a:pt x="2535" y="886"/>
                    <a:pt x="2542" y="891"/>
                    <a:pt x="2549" y="891"/>
                  </a:cubicBezTo>
                  <a:cubicBezTo>
                    <a:pt x="2557" y="891"/>
                    <a:pt x="2563" y="886"/>
                    <a:pt x="2563" y="881"/>
                  </a:cubicBezTo>
                  <a:cubicBezTo>
                    <a:pt x="2563" y="875"/>
                    <a:pt x="2557" y="870"/>
                    <a:pt x="2549" y="870"/>
                  </a:cubicBezTo>
                  <a:cubicBezTo>
                    <a:pt x="2549" y="870"/>
                    <a:pt x="2549" y="870"/>
                    <a:pt x="2549" y="870"/>
                  </a:cubicBezTo>
                  <a:moveTo>
                    <a:pt x="2590" y="870"/>
                  </a:moveTo>
                  <a:cubicBezTo>
                    <a:pt x="2582" y="870"/>
                    <a:pt x="2576" y="875"/>
                    <a:pt x="2576" y="881"/>
                  </a:cubicBezTo>
                  <a:cubicBezTo>
                    <a:pt x="2576" y="886"/>
                    <a:pt x="2583" y="891"/>
                    <a:pt x="2591" y="891"/>
                  </a:cubicBezTo>
                  <a:cubicBezTo>
                    <a:pt x="2598" y="891"/>
                    <a:pt x="2605" y="886"/>
                    <a:pt x="2604" y="880"/>
                  </a:cubicBezTo>
                  <a:cubicBezTo>
                    <a:pt x="2604" y="875"/>
                    <a:pt x="2598" y="870"/>
                    <a:pt x="2590" y="870"/>
                  </a:cubicBezTo>
                  <a:cubicBezTo>
                    <a:pt x="2590" y="870"/>
                    <a:pt x="2590" y="870"/>
                    <a:pt x="2590" y="870"/>
                  </a:cubicBezTo>
                  <a:moveTo>
                    <a:pt x="2630" y="870"/>
                  </a:moveTo>
                  <a:cubicBezTo>
                    <a:pt x="2622" y="870"/>
                    <a:pt x="2616" y="875"/>
                    <a:pt x="2616" y="880"/>
                  </a:cubicBezTo>
                  <a:cubicBezTo>
                    <a:pt x="2617" y="886"/>
                    <a:pt x="2623" y="891"/>
                    <a:pt x="2631" y="891"/>
                  </a:cubicBezTo>
                  <a:cubicBezTo>
                    <a:pt x="2639" y="890"/>
                    <a:pt x="2645" y="886"/>
                    <a:pt x="2645" y="880"/>
                  </a:cubicBezTo>
                  <a:cubicBezTo>
                    <a:pt x="2644" y="875"/>
                    <a:pt x="2638" y="870"/>
                    <a:pt x="2630" y="870"/>
                  </a:cubicBezTo>
                  <a:cubicBezTo>
                    <a:pt x="2630" y="870"/>
                    <a:pt x="2630" y="870"/>
                    <a:pt x="2630" y="870"/>
                  </a:cubicBezTo>
                  <a:moveTo>
                    <a:pt x="2671" y="870"/>
                  </a:moveTo>
                  <a:cubicBezTo>
                    <a:pt x="2663" y="870"/>
                    <a:pt x="2657" y="875"/>
                    <a:pt x="2657" y="880"/>
                  </a:cubicBezTo>
                  <a:cubicBezTo>
                    <a:pt x="2658" y="886"/>
                    <a:pt x="2664" y="890"/>
                    <a:pt x="2672" y="890"/>
                  </a:cubicBezTo>
                  <a:cubicBezTo>
                    <a:pt x="2680" y="890"/>
                    <a:pt x="2686" y="886"/>
                    <a:pt x="2686" y="880"/>
                  </a:cubicBezTo>
                  <a:cubicBezTo>
                    <a:pt x="2685" y="874"/>
                    <a:pt x="2679" y="870"/>
                    <a:pt x="2671" y="870"/>
                  </a:cubicBezTo>
                  <a:cubicBezTo>
                    <a:pt x="2671" y="870"/>
                    <a:pt x="2671" y="870"/>
                    <a:pt x="2671" y="870"/>
                  </a:cubicBezTo>
                  <a:moveTo>
                    <a:pt x="3316" y="869"/>
                  </a:moveTo>
                  <a:cubicBezTo>
                    <a:pt x="3309" y="869"/>
                    <a:pt x="3303" y="874"/>
                    <a:pt x="3305" y="879"/>
                  </a:cubicBezTo>
                  <a:cubicBezTo>
                    <a:pt x="3307" y="885"/>
                    <a:pt x="3314" y="890"/>
                    <a:pt x="3322" y="890"/>
                  </a:cubicBezTo>
                  <a:cubicBezTo>
                    <a:pt x="3330" y="890"/>
                    <a:pt x="3335" y="885"/>
                    <a:pt x="3333" y="879"/>
                  </a:cubicBezTo>
                  <a:cubicBezTo>
                    <a:pt x="3332" y="874"/>
                    <a:pt x="3324" y="869"/>
                    <a:pt x="3316" y="869"/>
                  </a:cubicBezTo>
                  <a:cubicBezTo>
                    <a:pt x="3316" y="869"/>
                    <a:pt x="3316" y="869"/>
                    <a:pt x="3316" y="869"/>
                  </a:cubicBezTo>
                  <a:moveTo>
                    <a:pt x="3357" y="869"/>
                  </a:moveTo>
                  <a:cubicBezTo>
                    <a:pt x="3349" y="869"/>
                    <a:pt x="3344" y="874"/>
                    <a:pt x="3346" y="879"/>
                  </a:cubicBezTo>
                  <a:cubicBezTo>
                    <a:pt x="3348" y="885"/>
                    <a:pt x="3355" y="889"/>
                    <a:pt x="3363" y="889"/>
                  </a:cubicBezTo>
                  <a:cubicBezTo>
                    <a:pt x="3371" y="889"/>
                    <a:pt x="3376" y="885"/>
                    <a:pt x="3374" y="879"/>
                  </a:cubicBezTo>
                  <a:cubicBezTo>
                    <a:pt x="3373" y="873"/>
                    <a:pt x="3365" y="869"/>
                    <a:pt x="3357" y="869"/>
                  </a:cubicBezTo>
                  <a:cubicBezTo>
                    <a:pt x="3357" y="869"/>
                    <a:pt x="3357" y="869"/>
                    <a:pt x="3357" y="869"/>
                  </a:cubicBezTo>
                  <a:moveTo>
                    <a:pt x="3397" y="869"/>
                  </a:moveTo>
                  <a:cubicBezTo>
                    <a:pt x="3389" y="869"/>
                    <a:pt x="3384" y="873"/>
                    <a:pt x="3386" y="879"/>
                  </a:cubicBezTo>
                  <a:cubicBezTo>
                    <a:pt x="3388" y="885"/>
                    <a:pt x="3396" y="889"/>
                    <a:pt x="3403" y="889"/>
                  </a:cubicBezTo>
                  <a:cubicBezTo>
                    <a:pt x="3411" y="889"/>
                    <a:pt x="3416" y="885"/>
                    <a:pt x="3414" y="879"/>
                  </a:cubicBezTo>
                  <a:cubicBezTo>
                    <a:pt x="3413" y="873"/>
                    <a:pt x="3405" y="869"/>
                    <a:pt x="3397" y="869"/>
                  </a:cubicBezTo>
                  <a:cubicBezTo>
                    <a:pt x="3397" y="869"/>
                    <a:pt x="3397" y="869"/>
                    <a:pt x="3397" y="869"/>
                  </a:cubicBezTo>
                  <a:moveTo>
                    <a:pt x="2749" y="869"/>
                  </a:moveTo>
                  <a:cubicBezTo>
                    <a:pt x="2741" y="869"/>
                    <a:pt x="2735" y="873"/>
                    <a:pt x="2736" y="879"/>
                  </a:cubicBezTo>
                  <a:cubicBezTo>
                    <a:pt x="2736" y="885"/>
                    <a:pt x="2743" y="889"/>
                    <a:pt x="2751" y="889"/>
                  </a:cubicBezTo>
                  <a:cubicBezTo>
                    <a:pt x="2759" y="889"/>
                    <a:pt x="2765" y="884"/>
                    <a:pt x="2764" y="879"/>
                  </a:cubicBezTo>
                  <a:cubicBezTo>
                    <a:pt x="2763" y="873"/>
                    <a:pt x="2757" y="869"/>
                    <a:pt x="2749" y="869"/>
                  </a:cubicBezTo>
                  <a:cubicBezTo>
                    <a:pt x="2749" y="869"/>
                    <a:pt x="2749" y="869"/>
                    <a:pt x="2749" y="869"/>
                  </a:cubicBezTo>
                  <a:moveTo>
                    <a:pt x="3437" y="869"/>
                  </a:moveTo>
                  <a:cubicBezTo>
                    <a:pt x="3429" y="869"/>
                    <a:pt x="3425" y="873"/>
                    <a:pt x="3426" y="879"/>
                  </a:cubicBezTo>
                  <a:cubicBezTo>
                    <a:pt x="3428" y="885"/>
                    <a:pt x="3436" y="889"/>
                    <a:pt x="3444" y="889"/>
                  </a:cubicBezTo>
                  <a:cubicBezTo>
                    <a:pt x="3452" y="889"/>
                    <a:pt x="3457" y="884"/>
                    <a:pt x="3455" y="879"/>
                  </a:cubicBezTo>
                  <a:cubicBezTo>
                    <a:pt x="3453" y="873"/>
                    <a:pt x="3445" y="869"/>
                    <a:pt x="3437" y="869"/>
                  </a:cubicBezTo>
                  <a:cubicBezTo>
                    <a:pt x="3437" y="869"/>
                    <a:pt x="3437" y="869"/>
                    <a:pt x="3437" y="869"/>
                  </a:cubicBezTo>
                  <a:moveTo>
                    <a:pt x="2791" y="868"/>
                  </a:moveTo>
                  <a:cubicBezTo>
                    <a:pt x="2783" y="868"/>
                    <a:pt x="2778" y="873"/>
                    <a:pt x="2778" y="879"/>
                  </a:cubicBezTo>
                  <a:cubicBezTo>
                    <a:pt x="2779" y="884"/>
                    <a:pt x="2786" y="889"/>
                    <a:pt x="2793" y="889"/>
                  </a:cubicBezTo>
                  <a:cubicBezTo>
                    <a:pt x="2801" y="889"/>
                    <a:pt x="2807" y="884"/>
                    <a:pt x="2807" y="879"/>
                  </a:cubicBezTo>
                  <a:cubicBezTo>
                    <a:pt x="2806" y="873"/>
                    <a:pt x="2799" y="868"/>
                    <a:pt x="2791" y="868"/>
                  </a:cubicBezTo>
                  <a:cubicBezTo>
                    <a:pt x="2791" y="868"/>
                    <a:pt x="2791" y="868"/>
                    <a:pt x="2791" y="868"/>
                  </a:cubicBezTo>
                  <a:moveTo>
                    <a:pt x="3478" y="868"/>
                  </a:moveTo>
                  <a:cubicBezTo>
                    <a:pt x="3470" y="868"/>
                    <a:pt x="3465" y="873"/>
                    <a:pt x="3467" y="879"/>
                  </a:cubicBezTo>
                  <a:cubicBezTo>
                    <a:pt x="3469" y="884"/>
                    <a:pt x="3477" y="889"/>
                    <a:pt x="3485" y="889"/>
                  </a:cubicBezTo>
                  <a:cubicBezTo>
                    <a:pt x="3492" y="889"/>
                    <a:pt x="3497" y="884"/>
                    <a:pt x="3495" y="879"/>
                  </a:cubicBezTo>
                  <a:cubicBezTo>
                    <a:pt x="3493" y="873"/>
                    <a:pt x="3486" y="868"/>
                    <a:pt x="3478" y="868"/>
                  </a:cubicBezTo>
                  <a:cubicBezTo>
                    <a:pt x="3478" y="868"/>
                    <a:pt x="3478" y="868"/>
                    <a:pt x="3478" y="868"/>
                  </a:cubicBezTo>
                  <a:moveTo>
                    <a:pt x="3720" y="867"/>
                  </a:moveTo>
                  <a:cubicBezTo>
                    <a:pt x="3713" y="867"/>
                    <a:pt x="3708" y="872"/>
                    <a:pt x="3711" y="878"/>
                  </a:cubicBezTo>
                  <a:cubicBezTo>
                    <a:pt x="3713" y="883"/>
                    <a:pt x="3721" y="888"/>
                    <a:pt x="3729" y="888"/>
                  </a:cubicBezTo>
                  <a:cubicBezTo>
                    <a:pt x="3737" y="888"/>
                    <a:pt x="3741" y="883"/>
                    <a:pt x="3739" y="878"/>
                  </a:cubicBezTo>
                  <a:cubicBezTo>
                    <a:pt x="3737" y="872"/>
                    <a:pt x="3728" y="867"/>
                    <a:pt x="3721" y="867"/>
                  </a:cubicBezTo>
                  <a:cubicBezTo>
                    <a:pt x="3721" y="867"/>
                    <a:pt x="3721" y="867"/>
                    <a:pt x="3720" y="867"/>
                  </a:cubicBezTo>
                  <a:moveTo>
                    <a:pt x="3761" y="867"/>
                  </a:moveTo>
                  <a:cubicBezTo>
                    <a:pt x="3753" y="867"/>
                    <a:pt x="3749" y="872"/>
                    <a:pt x="3751" y="878"/>
                  </a:cubicBezTo>
                  <a:cubicBezTo>
                    <a:pt x="3754" y="883"/>
                    <a:pt x="3762" y="888"/>
                    <a:pt x="3770" y="888"/>
                  </a:cubicBezTo>
                  <a:cubicBezTo>
                    <a:pt x="3778" y="888"/>
                    <a:pt x="3782" y="883"/>
                    <a:pt x="3780" y="878"/>
                  </a:cubicBezTo>
                  <a:cubicBezTo>
                    <a:pt x="3777" y="872"/>
                    <a:pt x="3769" y="867"/>
                    <a:pt x="3761" y="867"/>
                  </a:cubicBezTo>
                  <a:cubicBezTo>
                    <a:pt x="3761" y="867"/>
                    <a:pt x="3761" y="867"/>
                    <a:pt x="3761" y="867"/>
                  </a:cubicBezTo>
                  <a:moveTo>
                    <a:pt x="3801" y="867"/>
                  </a:moveTo>
                  <a:cubicBezTo>
                    <a:pt x="3793" y="867"/>
                    <a:pt x="3789" y="872"/>
                    <a:pt x="3791" y="878"/>
                  </a:cubicBezTo>
                  <a:cubicBezTo>
                    <a:pt x="3794" y="883"/>
                    <a:pt x="3802" y="888"/>
                    <a:pt x="3810" y="888"/>
                  </a:cubicBezTo>
                  <a:cubicBezTo>
                    <a:pt x="3818" y="888"/>
                    <a:pt x="3822" y="883"/>
                    <a:pt x="3820" y="877"/>
                  </a:cubicBezTo>
                  <a:cubicBezTo>
                    <a:pt x="3817" y="872"/>
                    <a:pt x="3809" y="867"/>
                    <a:pt x="3801" y="867"/>
                  </a:cubicBezTo>
                  <a:cubicBezTo>
                    <a:pt x="3801" y="867"/>
                    <a:pt x="3801" y="867"/>
                    <a:pt x="3801" y="867"/>
                  </a:cubicBezTo>
                  <a:moveTo>
                    <a:pt x="3842" y="867"/>
                  </a:moveTo>
                  <a:cubicBezTo>
                    <a:pt x="3834" y="867"/>
                    <a:pt x="3829" y="872"/>
                    <a:pt x="3832" y="877"/>
                  </a:cubicBezTo>
                  <a:cubicBezTo>
                    <a:pt x="3835" y="883"/>
                    <a:pt x="3843" y="888"/>
                    <a:pt x="3851" y="888"/>
                  </a:cubicBezTo>
                  <a:cubicBezTo>
                    <a:pt x="3859" y="888"/>
                    <a:pt x="3863" y="883"/>
                    <a:pt x="3860" y="877"/>
                  </a:cubicBezTo>
                  <a:cubicBezTo>
                    <a:pt x="3858" y="872"/>
                    <a:pt x="3849" y="867"/>
                    <a:pt x="3842" y="867"/>
                  </a:cubicBezTo>
                  <a:cubicBezTo>
                    <a:pt x="3842" y="867"/>
                    <a:pt x="3842" y="867"/>
                    <a:pt x="3842" y="867"/>
                  </a:cubicBezTo>
                  <a:moveTo>
                    <a:pt x="3884" y="867"/>
                  </a:moveTo>
                  <a:cubicBezTo>
                    <a:pt x="3877" y="867"/>
                    <a:pt x="3872" y="872"/>
                    <a:pt x="3875" y="877"/>
                  </a:cubicBezTo>
                  <a:cubicBezTo>
                    <a:pt x="3878" y="883"/>
                    <a:pt x="3886" y="887"/>
                    <a:pt x="3894" y="887"/>
                  </a:cubicBezTo>
                  <a:cubicBezTo>
                    <a:pt x="3902" y="887"/>
                    <a:pt x="3906" y="883"/>
                    <a:pt x="3903" y="877"/>
                  </a:cubicBezTo>
                  <a:cubicBezTo>
                    <a:pt x="3901" y="871"/>
                    <a:pt x="3892" y="867"/>
                    <a:pt x="3884" y="867"/>
                  </a:cubicBezTo>
                  <a:cubicBezTo>
                    <a:pt x="3884" y="867"/>
                    <a:pt x="3884" y="867"/>
                    <a:pt x="3884" y="867"/>
                  </a:cubicBezTo>
                  <a:moveTo>
                    <a:pt x="3924" y="867"/>
                  </a:moveTo>
                  <a:cubicBezTo>
                    <a:pt x="3916" y="867"/>
                    <a:pt x="3912" y="871"/>
                    <a:pt x="3915" y="877"/>
                  </a:cubicBezTo>
                  <a:cubicBezTo>
                    <a:pt x="3918" y="883"/>
                    <a:pt x="3926" y="887"/>
                    <a:pt x="3934" y="887"/>
                  </a:cubicBezTo>
                  <a:cubicBezTo>
                    <a:pt x="3942" y="887"/>
                    <a:pt x="3946" y="883"/>
                    <a:pt x="3943" y="877"/>
                  </a:cubicBezTo>
                  <a:cubicBezTo>
                    <a:pt x="3941" y="871"/>
                    <a:pt x="3932" y="867"/>
                    <a:pt x="3924" y="867"/>
                  </a:cubicBezTo>
                  <a:cubicBezTo>
                    <a:pt x="3924" y="867"/>
                    <a:pt x="3924" y="867"/>
                    <a:pt x="3924" y="867"/>
                  </a:cubicBezTo>
                  <a:moveTo>
                    <a:pt x="4205" y="863"/>
                  </a:moveTo>
                  <a:cubicBezTo>
                    <a:pt x="4197" y="863"/>
                    <a:pt x="4193" y="868"/>
                    <a:pt x="4197" y="873"/>
                  </a:cubicBezTo>
                  <a:cubicBezTo>
                    <a:pt x="4200" y="879"/>
                    <a:pt x="4209" y="883"/>
                    <a:pt x="4217" y="883"/>
                  </a:cubicBezTo>
                  <a:cubicBezTo>
                    <a:pt x="4225" y="883"/>
                    <a:pt x="4228" y="879"/>
                    <a:pt x="4225" y="873"/>
                  </a:cubicBezTo>
                  <a:cubicBezTo>
                    <a:pt x="4222" y="867"/>
                    <a:pt x="4213" y="863"/>
                    <a:pt x="4205" y="863"/>
                  </a:cubicBezTo>
                  <a:cubicBezTo>
                    <a:pt x="4205" y="863"/>
                    <a:pt x="4205" y="863"/>
                    <a:pt x="4205" y="863"/>
                  </a:cubicBezTo>
                  <a:moveTo>
                    <a:pt x="62" y="853"/>
                  </a:moveTo>
                  <a:cubicBezTo>
                    <a:pt x="54" y="853"/>
                    <a:pt x="44" y="858"/>
                    <a:pt x="39" y="863"/>
                  </a:cubicBezTo>
                  <a:cubicBezTo>
                    <a:pt x="35" y="869"/>
                    <a:pt x="37" y="874"/>
                    <a:pt x="45" y="874"/>
                  </a:cubicBezTo>
                  <a:cubicBezTo>
                    <a:pt x="53" y="874"/>
                    <a:pt x="63" y="869"/>
                    <a:pt x="68" y="863"/>
                  </a:cubicBezTo>
                  <a:cubicBezTo>
                    <a:pt x="72" y="858"/>
                    <a:pt x="70" y="853"/>
                    <a:pt x="62" y="853"/>
                  </a:cubicBezTo>
                  <a:cubicBezTo>
                    <a:pt x="62" y="853"/>
                    <a:pt x="62" y="853"/>
                    <a:pt x="62" y="853"/>
                  </a:cubicBezTo>
                  <a:moveTo>
                    <a:pt x="102" y="853"/>
                  </a:moveTo>
                  <a:cubicBezTo>
                    <a:pt x="94" y="853"/>
                    <a:pt x="84" y="858"/>
                    <a:pt x="79" y="863"/>
                  </a:cubicBezTo>
                  <a:cubicBezTo>
                    <a:pt x="75" y="869"/>
                    <a:pt x="78" y="873"/>
                    <a:pt x="85" y="873"/>
                  </a:cubicBezTo>
                  <a:cubicBezTo>
                    <a:pt x="93" y="873"/>
                    <a:pt x="103" y="869"/>
                    <a:pt x="108" y="863"/>
                  </a:cubicBezTo>
                  <a:cubicBezTo>
                    <a:pt x="112" y="858"/>
                    <a:pt x="110" y="853"/>
                    <a:pt x="102" y="853"/>
                  </a:cubicBezTo>
                  <a:cubicBezTo>
                    <a:pt x="102" y="853"/>
                    <a:pt x="102" y="853"/>
                    <a:pt x="102" y="853"/>
                  </a:cubicBezTo>
                  <a:moveTo>
                    <a:pt x="142" y="853"/>
                  </a:moveTo>
                  <a:cubicBezTo>
                    <a:pt x="134" y="853"/>
                    <a:pt x="124" y="858"/>
                    <a:pt x="120" y="863"/>
                  </a:cubicBezTo>
                  <a:cubicBezTo>
                    <a:pt x="115" y="869"/>
                    <a:pt x="118" y="873"/>
                    <a:pt x="126" y="873"/>
                  </a:cubicBezTo>
                  <a:cubicBezTo>
                    <a:pt x="134" y="873"/>
                    <a:pt x="144" y="869"/>
                    <a:pt x="148" y="863"/>
                  </a:cubicBezTo>
                  <a:cubicBezTo>
                    <a:pt x="153" y="857"/>
                    <a:pt x="150" y="853"/>
                    <a:pt x="142" y="853"/>
                  </a:cubicBezTo>
                  <a:cubicBezTo>
                    <a:pt x="142" y="853"/>
                    <a:pt x="142" y="853"/>
                    <a:pt x="142" y="853"/>
                  </a:cubicBezTo>
                  <a:moveTo>
                    <a:pt x="221" y="853"/>
                  </a:moveTo>
                  <a:cubicBezTo>
                    <a:pt x="213" y="853"/>
                    <a:pt x="204" y="857"/>
                    <a:pt x="199" y="863"/>
                  </a:cubicBezTo>
                  <a:cubicBezTo>
                    <a:pt x="195" y="869"/>
                    <a:pt x="198" y="873"/>
                    <a:pt x="206" y="873"/>
                  </a:cubicBezTo>
                  <a:cubicBezTo>
                    <a:pt x="213" y="873"/>
                    <a:pt x="223" y="868"/>
                    <a:pt x="228" y="863"/>
                  </a:cubicBezTo>
                  <a:cubicBezTo>
                    <a:pt x="232" y="857"/>
                    <a:pt x="229" y="853"/>
                    <a:pt x="221" y="853"/>
                  </a:cubicBezTo>
                  <a:cubicBezTo>
                    <a:pt x="221" y="853"/>
                    <a:pt x="221" y="853"/>
                    <a:pt x="221" y="853"/>
                  </a:cubicBezTo>
                  <a:moveTo>
                    <a:pt x="184" y="853"/>
                  </a:moveTo>
                  <a:cubicBezTo>
                    <a:pt x="176" y="853"/>
                    <a:pt x="166" y="857"/>
                    <a:pt x="161" y="863"/>
                  </a:cubicBezTo>
                  <a:cubicBezTo>
                    <a:pt x="157" y="869"/>
                    <a:pt x="160" y="873"/>
                    <a:pt x="168" y="873"/>
                  </a:cubicBezTo>
                  <a:cubicBezTo>
                    <a:pt x="175" y="873"/>
                    <a:pt x="185" y="868"/>
                    <a:pt x="190" y="863"/>
                  </a:cubicBezTo>
                  <a:cubicBezTo>
                    <a:pt x="194" y="857"/>
                    <a:pt x="191" y="853"/>
                    <a:pt x="184" y="853"/>
                  </a:cubicBezTo>
                  <a:cubicBezTo>
                    <a:pt x="184" y="853"/>
                    <a:pt x="184" y="853"/>
                    <a:pt x="184" y="853"/>
                  </a:cubicBezTo>
                  <a:moveTo>
                    <a:pt x="343" y="852"/>
                  </a:moveTo>
                  <a:cubicBezTo>
                    <a:pt x="335" y="852"/>
                    <a:pt x="325" y="857"/>
                    <a:pt x="321" y="862"/>
                  </a:cubicBezTo>
                  <a:cubicBezTo>
                    <a:pt x="317" y="868"/>
                    <a:pt x="320" y="873"/>
                    <a:pt x="328" y="873"/>
                  </a:cubicBezTo>
                  <a:cubicBezTo>
                    <a:pt x="336" y="873"/>
                    <a:pt x="346" y="868"/>
                    <a:pt x="350" y="862"/>
                  </a:cubicBezTo>
                  <a:cubicBezTo>
                    <a:pt x="354" y="857"/>
                    <a:pt x="351" y="852"/>
                    <a:pt x="343" y="852"/>
                  </a:cubicBezTo>
                  <a:cubicBezTo>
                    <a:pt x="343" y="852"/>
                    <a:pt x="343" y="852"/>
                    <a:pt x="343" y="852"/>
                  </a:cubicBezTo>
                  <a:moveTo>
                    <a:pt x="378" y="852"/>
                  </a:moveTo>
                  <a:cubicBezTo>
                    <a:pt x="370" y="852"/>
                    <a:pt x="360" y="857"/>
                    <a:pt x="356" y="862"/>
                  </a:cubicBezTo>
                  <a:cubicBezTo>
                    <a:pt x="352" y="868"/>
                    <a:pt x="355" y="872"/>
                    <a:pt x="363" y="872"/>
                  </a:cubicBezTo>
                  <a:cubicBezTo>
                    <a:pt x="371" y="872"/>
                    <a:pt x="380" y="868"/>
                    <a:pt x="384" y="862"/>
                  </a:cubicBezTo>
                  <a:cubicBezTo>
                    <a:pt x="388" y="857"/>
                    <a:pt x="385" y="852"/>
                    <a:pt x="378" y="852"/>
                  </a:cubicBezTo>
                  <a:cubicBezTo>
                    <a:pt x="378" y="852"/>
                    <a:pt x="378" y="852"/>
                    <a:pt x="378" y="852"/>
                  </a:cubicBezTo>
                  <a:moveTo>
                    <a:pt x="662" y="850"/>
                  </a:moveTo>
                  <a:cubicBezTo>
                    <a:pt x="654" y="850"/>
                    <a:pt x="645" y="855"/>
                    <a:pt x="641" y="860"/>
                  </a:cubicBezTo>
                  <a:cubicBezTo>
                    <a:pt x="638" y="866"/>
                    <a:pt x="641" y="870"/>
                    <a:pt x="649" y="870"/>
                  </a:cubicBezTo>
                  <a:cubicBezTo>
                    <a:pt x="657" y="870"/>
                    <a:pt x="666" y="866"/>
                    <a:pt x="670" y="860"/>
                  </a:cubicBezTo>
                  <a:cubicBezTo>
                    <a:pt x="673" y="855"/>
                    <a:pt x="670" y="850"/>
                    <a:pt x="662" y="850"/>
                  </a:cubicBezTo>
                  <a:cubicBezTo>
                    <a:pt x="662" y="850"/>
                    <a:pt x="662" y="850"/>
                    <a:pt x="662" y="850"/>
                  </a:cubicBezTo>
                  <a:moveTo>
                    <a:pt x="1708" y="846"/>
                  </a:moveTo>
                  <a:cubicBezTo>
                    <a:pt x="1700" y="846"/>
                    <a:pt x="1693" y="851"/>
                    <a:pt x="1691" y="856"/>
                  </a:cubicBezTo>
                  <a:cubicBezTo>
                    <a:pt x="1690" y="862"/>
                    <a:pt x="1695" y="866"/>
                    <a:pt x="1703" y="866"/>
                  </a:cubicBezTo>
                  <a:cubicBezTo>
                    <a:pt x="1711" y="866"/>
                    <a:pt x="1718" y="862"/>
                    <a:pt x="1720" y="856"/>
                  </a:cubicBezTo>
                  <a:cubicBezTo>
                    <a:pt x="1721" y="851"/>
                    <a:pt x="1716" y="846"/>
                    <a:pt x="1708" y="846"/>
                  </a:cubicBezTo>
                  <a:cubicBezTo>
                    <a:pt x="1708" y="846"/>
                    <a:pt x="1708" y="846"/>
                    <a:pt x="1708" y="846"/>
                  </a:cubicBezTo>
                  <a:moveTo>
                    <a:pt x="1746" y="846"/>
                  </a:moveTo>
                  <a:cubicBezTo>
                    <a:pt x="1738" y="846"/>
                    <a:pt x="1731" y="851"/>
                    <a:pt x="1729" y="856"/>
                  </a:cubicBezTo>
                  <a:cubicBezTo>
                    <a:pt x="1728" y="862"/>
                    <a:pt x="1733" y="866"/>
                    <a:pt x="1741" y="866"/>
                  </a:cubicBezTo>
                  <a:cubicBezTo>
                    <a:pt x="1749" y="866"/>
                    <a:pt x="1756" y="862"/>
                    <a:pt x="1757" y="856"/>
                  </a:cubicBezTo>
                  <a:cubicBezTo>
                    <a:pt x="1759" y="850"/>
                    <a:pt x="1754" y="846"/>
                    <a:pt x="1746" y="846"/>
                  </a:cubicBezTo>
                  <a:cubicBezTo>
                    <a:pt x="1746" y="846"/>
                    <a:pt x="1746" y="846"/>
                    <a:pt x="1746" y="846"/>
                  </a:cubicBezTo>
                  <a:moveTo>
                    <a:pt x="1786" y="846"/>
                  </a:moveTo>
                  <a:cubicBezTo>
                    <a:pt x="1778" y="846"/>
                    <a:pt x="1771" y="850"/>
                    <a:pt x="1769" y="856"/>
                  </a:cubicBezTo>
                  <a:cubicBezTo>
                    <a:pt x="1768" y="862"/>
                    <a:pt x="1773" y="866"/>
                    <a:pt x="1781" y="866"/>
                  </a:cubicBezTo>
                  <a:cubicBezTo>
                    <a:pt x="1789" y="866"/>
                    <a:pt x="1796" y="861"/>
                    <a:pt x="1797" y="856"/>
                  </a:cubicBezTo>
                  <a:cubicBezTo>
                    <a:pt x="1799" y="850"/>
                    <a:pt x="1794" y="846"/>
                    <a:pt x="1786" y="846"/>
                  </a:cubicBezTo>
                  <a:cubicBezTo>
                    <a:pt x="1786" y="846"/>
                    <a:pt x="1786" y="846"/>
                    <a:pt x="1786" y="846"/>
                  </a:cubicBezTo>
                  <a:moveTo>
                    <a:pt x="1826" y="846"/>
                  </a:moveTo>
                  <a:cubicBezTo>
                    <a:pt x="1818" y="846"/>
                    <a:pt x="1811" y="850"/>
                    <a:pt x="1810" y="856"/>
                  </a:cubicBezTo>
                  <a:cubicBezTo>
                    <a:pt x="1808" y="861"/>
                    <a:pt x="1814" y="866"/>
                    <a:pt x="1821" y="866"/>
                  </a:cubicBezTo>
                  <a:cubicBezTo>
                    <a:pt x="1829" y="866"/>
                    <a:pt x="1837" y="861"/>
                    <a:pt x="1838" y="856"/>
                  </a:cubicBezTo>
                  <a:cubicBezTo>
                    <a:pt x="1839" y="850"/>
                    <a:pt x="1834" y="846"/>
                    <a:pt x="1826" y="846"/>
                  </a:cubicBezTo>
                  <a:cubicBezTo>
                    <a:pt x="1826" y="846"/>
                    <a:pt x="1826" y="846"/>
                    <a:pt x="1826" y="846"/>
                  </a:cubicBezTo>
                  <a:moveTo>
                    <a:pt x="1866" y="845"/>
                  </a:moveTo>
                  <a:cubicBezTo>
                    <a:pt x="1859" y="845"/>
                    <a:pt x="1851" y="850"/>
                    <a:pt x="1850" y="856"/>
                  </a:cubicBezTo>
                  <a:cubicBezTo>
                    <a:pt x="1849" y="861"/>
                    <a:pt x="1854" y="866"/>
                    <a:pt x="1862" y="866"/>
                  </a:cubicBezTo>
                  <a:cubicBezTo>
                    <a:pt x="1870" y="866"/>
                    <a:pt x="1877" y="861"/>
                    <a:pt x="1878" y="855"/>
                  </a:cubicBezTo>
                  <a:cubicBezTo>
                    <a:pt x="1880" y="850"/>
                    <a:pt x="1874" y="845"/>
                    <a:pt x="1867" y="845"/>
                  </a:cubicBezTo>
                  <a:cubicBezTo>
                    <a:pt x="1867" y="845"/>
                    <a:pt x="1867" y="845"/>
                    <a:pt x="1866" y="845"/>
                  </a:cubicBezTo>
                  <a:moveTo>
                    <a:pt x="1906" y="845"/>
                  </a:moveTo>
                  <a:cubicBezTo>
                    <a:pt x="1899" y="845"/>
                    <a:pt x="1891" y="850"/>
                    <a:pt x="1890" y="855"/>
                  </a:cubicBezTo>
                  <a:cubicBezTo>
                    <a:pt x="1889" y="861"/>
                    <a:pt x="1895" y="866"/>
                    <a:pt x="1902" y="866"/>
                  </a:cubicBezTo>
                  <a:cubicBezTo>
                    <a:pt x="1910" y="866"/>
                    <a:pt x="1917" y="861"/>
                    <a:pt x="1918" y="855"/>
                  </a:cubicBezTo>
                  <a:cubicBezTo>
                    <a:pt x="1919" y="850"/>
                    <a:pt x="1914" y="845"/>
                    <a:pt x="1906" y="845"/>
                  </a:cubicBezTo>
                  <a:cubicBezTo>
                    <a:pt x="1906" y="845"/>
                    <a:pt x="1906" y="845"/>
                    <a:pt x="1906" y="845"/>
                  </a:cubicBezTo>
                  <a:moveTo>
                    <a:pt x="1946" y="845"/>
                  </a:moveTo>
                  <a:cubicBezTo>
                    <a:pt x="1939" y="845"/>
                    <a:pt x="1932" y="850"/>
                    <a:pt x="1930" y="855"/>
                  </a:cubicBezTo>
                  <a:cubicBezTo>
                    <a:pt x="1929" y="861"/>
                    <a:pt x="1935" y="865"/>
                    <a:pt x="1943" y="865"/>
                  </a:cubicBezTo>
                  <a:cubicBezTo>
                    <a:pt x="1950" y="865"/>
                    <a:pt x="1958" y="861"/>
                    <a:pt x="1959" y="855"/>
                  </a:cubicBezTo>
                  <a:cubicBezTo>
                    <a:pt x="1960" y="850"/>
                    <a:pt x="1954" y="845"/>
                    <a:pt x="1946" y="845"/>
                  </a:cubicBezTo>
                  <a:cubicBezTo>
                    <a:pt x="1946" y="845"/>
                    <a:pt x="1946" y="845"/>
                    <a:pt x="1946" y="845"/>
                  </a:cubicBezTo>
                  <a:moveTo>
                    <a:pt x="1986" y="845"/>
                  </a:moveTo>
                  <a:cubicBezTo>
                    <a:pt x="1978" y="845"/>
                    <a:pt x="1971" y="849"/>
                    <a:pt x="1970" y="855"/>
                  </a:cubicBezTo>
                  <a:cubicBezTo>
                    <a:pt x="1969" y="861"/>
                    <a:pt x="1975" y="865"/>
                    <a:pt x="1983" y="865"/>
                  </a:cubicBezTo>
                  <a:cubicBezTo>
                    <a:pt x="1991" y="865"/>
                    <a:pt x="1998" y="861"/>
                    <a:pt x="1999" y="855"/>
                  </a:cubicBezTo>
                  <a:cubicBezTo>
                    <a:pt x="1999" y="849"/>
                    <a:pt x="1994" y="845"/>
                    <a:pt x="1986" y="845"/>
                  </a:cubicBezTo>
                  <a:cubicBezTo>
                    <a:pt x="1986" y="845"/>
                    <a:pt x="1986" y="845"/>
                    <a:pt x="1986" y="845"/>
                  </a:cubicBezTo>
                  <a:moveTo>
                    <a:pt x="2026" y="845"/>
                  </a:moveTo>
                  <a:cubicBezTo>
                    <a:pt x="2019" y="845"/>
                    <a:pt x="2012" y="849"/>
                    <a:pt x="2011" y="855"/>
                  </a:cubicBezTo>
                  <a:cubicBezTo>
                    <a:pt x="2010" y="861"/>
                    <a:pt x="2015" y="865"/>
                    <a:pt x="2023" y="865"/>
                  </a:cubicBezTo>
                  <a:cubicBezTo>
                    <a:pt x="2031" y="865"/>
                    <a:pt x="2038" y="860"/>
                    <a:pt x="2039" y="855"/>
                  </a:cubicBezTo>
                  <a:cubicBezTo>
                    <a:pt x="2040" y="849"/>
                    <a:pt x="2034" y="845"/>
                    <a:pt x="2026" y="845"/>
                  </a:cubicBezTo>
                  <a:cubicBezTo>
                    <a:pt x="2026" y="845"/>
                    <a:pt x="2026" y="845"/>
                    <a:pt x="2026" y="845"/>
                  </a:cubicBezTo>
                  <a:moveTo>
                    <a:pt x="2068" y="844"/>
                  </a:moveTo>
                  <a:cubicBezTo>
                    <a:pt x="2060" y="844"/>
                    <a:pt x="2053" y="849"/>
                    <a:pt x="2052" y="855"/>
                  </a:cubicBezTo>
                  <a:cubicBezTo>
                    <a:pt x="2051" y="860"/>
                    <a:pt x="2057" y="865"/>
                    <a:pt x="2065" y="865"/>
                  </a:cubicBezTo>
                  <a:cubicBezTo>
                    <a:pt x="2073" y="865"/>
                    <a:pt x="2080" y="860"/>
                    <a:pt x="2080" y="855"/>
                  </a:cubicBezTo>
                  <a:cubicBezTo>
                    <a:pt x="2081" y="849"/>
                    <a:pt x="2076" y="844"/>
                    <a:pt x="2068" y="844"/>
                  </a:cubicBezTo>
                  <a:cubicBezTo>
                    <a:pt x="2068" y="844"/>
                    <a:pt x="2068" y="844"/>
                    <a:pt x="2068" y="844"/>
                  </a:cubicBezTo>
                  <a:moveTo>
                    <a:pt x="2108" y="844"/>
                  </a:moveTo>
                  <a:cubicBezTo>
                    <a:pt x="2100" y="844"/>
                    <a:pt x="2093" y="849"/>
                    <a:pt x="2092" y="855"/>
                  </a:cubicBezTo>
                  <a:cubicBezTo>
                    <a:pt x="2091" y="860"/>
                    <a:pt x="2097" y="865"/>
                    <a:pt x="2105" y="865"/>
                  </a:cubicBezTo>
                  <a:cubicBezTo>
                    <a:pt x="2113" y="865"/>
                    <a:pt x="2120" y="860"/>
                    <a:pt x="2120" y="854"/>
                  </a:cubicBezTo>
                  <a:cubicBezTo>
                    <a:pt x="2121" y="849"/>
                    <a:pt x="2115" y="844"/>
                    <a:pt x="2108" y="844"/>
                  </a:cubicBezTo>
                  <a:cubicBezTo>
                    <a:pt x="2108" y="844"/>
                    <a:pt x="2108" y="844"/>
                    <a:pt x="2108" y="844"/>
                  </a:cubicBezTo>
                  <a:moveTo>
                    <a:pt x="2148" y="844"/>
                  </a:moveTo>
                  <a:cubicBezTo>
                    <a:pt x="2140" y="844"/>
                    <a:pt x="2133" y="849"/>
                    <a:pt x="2132" y="854"/>
                  </a:cubicBezTo>
                  <a:cubicBezTo>
                    <a:pt x="2132" y="860"/>
                    <a:pt x="2138" y="865"/>
                    <a:pt x="2145" y="865"/>
                  </a:cubicBezTo>
                  <a:cubicBezTo>
                    <a:pt x="2153" y="864"/>
                    <a:pt x="2160" y="860"/>
                    <a:pt x="2161" y="854"/>
                  </a:cubicBezTo>
                  <a:cubicBezTo>
                    <a:pt x="2161" y="849"/>
                    <a:pt x="2155" y="844"/>
                    <a:pt x="2148" y="844"/>
                  </a:cubicBezTo>
                  <a:cubicBezTo>
                    <a:pt x="2148" y="844"/>
                    <a:pt x="2148" y="844"/>
                    <a:pt x="2148" y="844"/>
                  </a:cubicBezTo>
                  <a:moveTo>
                    <a:pt x="2188" y="844"/>
                  </a:moveTo>
                  <a:cubicBezTo>
                    <a:pt x="2180" y="844"/>
                    <a:pt x="2174" y="849"/>
                    <a:pt x="2173" y="854"/>
                  </a:cubicBezTo>
                  <a:cubicBezTo>
                    <a:pt x="2173" y="860"/>
                    <a:pt x="2178" y="864"/>
                    <a:pt x="2186" y="864"/>
                  </a:cubicBezTo>
                  <a:cubicBezTo>
                    <a:pt x="2194" y="864"/>
                    <a:pt x="2201" y="860"/>
                    <a:pt x="2201" y="854"/>
                  </a:cubicBezTo>
                  <a:cubicBezTo>
                    <a:pt x="2202" y="848"/>
                    <a:pt x="2196" y="844"/>
                    <a:pt x="2188" y="844"/>
                  </a:cubicBezTo>
                  <a:cubicBezTo>
                    <a:pt x="2188" y="844"/>
                    <a:pt x="2188" y="844"/>
                    <a:pt x="2188" y="844"/>
                  </a:cubicBezTo>
                  <a:moveTo>
                    <a:pt x="2228" y="844"/>
                  </a:moveTo>
                  <a:cubicBezTo>
                    <a:pt x="2220" y="844"/>
                    <a:pt x="2214" y="848"/>
                    <a:pt x="2213" y="854"/>
                  </a:cubicBezTo>
                  <a:cubicBezTo>
                    <a:pt x="2213" y="860"/>
                    <a:pt x="2218" y="864"/>
                    <a:pt x="2226" y="864"/>
                  </a:cubicBezTo>
                  <a:cubicBezTo>
                    <a:pt x="2234" y="864"/>
                    <a:pt x="2241" y="860"/>
                    <a:pt x="2241" y="854"/>
                  </a:cubicBezTo>
                  <a:cubicBezTo>
                    <a:pt x="2242" y="848"/>
                    <a:pt x="2236" y="844"/>
                    <a:pt x="2228" y="844"/>
                  </a:cubicBezTo>
                  <a:cubicBezTo>
                    <a:pt x="2228" y="844"/>
                    <a:pt x="2228" y="844"/>
                    <a:pt x="2228" y="844"/>
                  </a:cubicBezTo>
                  <a:moveTo>
                    <a:pt x="2268" y="844"/>
                  </a:moveTo>
                  <a:cubicBezTo>
                    <a:pt x="2260" y="844"/>
                    <a:pt x="2254" y="848"/>
                    <a:pt x="2253" y="854"/>
                  </a:cubicBezTo>
                  <a:cubicBezTo>
                    <a:pt x="2253" y="859"/>
                    <a:pt x="2259" y="864"/>
                    <a:pt x="2267" y="864"/>
                  </a:cubicBezTo>
                  <a:cubicBezTo>
                    <a:pt x="2274" y="864"/>
                    <a:pt x="2281" y="859"/>
                    <a:pt x="2281" y="854"/>
                  </a:cubicBezTo>
                  <a:cubicBezTo>
                    <a:pt x="2282" y="848"/>
                    <a:pt x="2276" y="844"/>
                    <a:pt x="2268" y="844"/>
                  </a:cubicBezTo>
                  <a:cubicBezTo>
                    <a:pt x="2268" y="844"/>
                    <a:pt x="2268" y="844"/>
                    <a:pt x="2268" y="844"/>
                  </a:cubicBezTo>
                  <a:moveTo>
                    <a:pt x="2308" y="843"/>
                  </a:moveTo>
                  <a:cubicBezTo>
                    <a:pt x="2300" y="843"/>
                    <a:pt x="2294" y="848"/>
                    <a:pt x="2293" y="854"/>
                  </a:cubicBezTo>
                  <a:cubicBezTo>
                    <a:pt x="2293" y="859"/>
                    <a:pt x="2299" y="864"/>
                    <a:pt x="2307" y="864"/>
                  </a:cubicBezTo>
                  <a:cubicBezTo>
                    <a:pt x="2314" y="864"/>
                    <a:pt x="2321" y="859"/>
                    <a:pt x="2321" y="854"/>
                  </a:cubicBezTo>
                  <a:cubicBezTo>
                    <a:pt x="2322" y="848"/>
                    <a:pt x="2316" y="843"/>
                    <a:pt x="2308" y="843"/>
                  </a:cubicBezTo>
                  <a:cubicBezTo>
                    <a:pt x="2308" y="843"/>
                    <a:pt x="2308" y="843"/>
                    <a:pt x="2308" y="843"/>
                  </a:cubicBezTo>
                  <a:moveTo>
                    <a:pt x="2348" y="843"/>
                  </a:moveTo>
                  <a:cubicBezTo>
                    <a:pt x="2340" y="843"/>
                    <a:pt x="2334" y="848"/>
                    <a:pt x="2333" y="853"/>
                  </a:cubicBezTo>
                  <a:cubicBezTo>
                    <a:pt x="2333" y="859"/>
                    <a:pt x="2339" y="864"/>
                    <a:pt x="2347" y="864"/>
                  </a:cubicBezTo>
                  <a:cubicBezTo>
                    <a:pt x="2355" y="864"/>
                    <a:pt x="2361" y="859"/>
                    <a:pt x="2362" y="853"/>
                  </a:cubicBezTo>
                  <a:cubicBezTo>
                    <a:pt x="2362" y="848"/>
                    <a:pt x="2356" y="843"/>
                    <a:pt x="2348" y="843"/>
                  </a:cubicBezTo>
                  <a:cubicBezTo>
                    <a:pt x="2348" y="843"/>
                    <a:pt x="2348" y="843"/>
                    <a:pt x="2348" y="843"/>
                  </a:cubicBezTo>
                  <a:moveTo>
                    <a:pt x="2388" y="843"/>
                  </a:moveTo>
                  <a:cubicBezTo>
                    <a:pt x="2381" y="843"/>
                    <a:pt x="2374" y="848"/>
                    <a:pt x="2374" y="853"/>
                  </a:cubicBezTo>
                  <a:cubicBezTo>
                    <a:pt x="2374" y="859"/>
                    <a:pt x="2380" y="864"/>
                    <a:pt x="2388" y="863"/>
                  </a:cubicBezTo>
                  <a:cubicBezTo>
                    <a:pt x="2396" y="863"/>
                    <a:pt x="2402" y="859"/>
                    <a:pt x="2402" y="853"/>
                  </a:cubicBezTo>
                  <a:cubicBezTo>
                    <a:pt x="2402" y="848"/>
                    <a:pt x="2396" y="843"/>
                    <a:pt x="2389" y="843"/>
                  </a:cubicBezTo>
                  <a:cubicBezTo>
                    <a:pt x="2389" y="843"/>
                    <a:pt x="2389" y="843"/>
                    <a:pt x="2388" y="843"/>
                  </a:cubicBezTo>
                  <a:moveTo>
                    <a:pt x="2428" y="843"/>
                  </a:moveTo>
                  <a:cubicBezTo>
                    <a:pt x="2421" y="843"/>
                    <a:pt x="2414" y="847"/>
                    <a:pt x="2414" y="853"/>
                  </a:cubicBezTo>
                  <a:cubicBezTo>
                    <a:pt x="2414" y="859"/>
                    <a:pt x="2420" y="863"/>
                    <a:pt x="2428" y="863"/>
                  </a:cubicBezTo>
                  <a:cubicBezTo>
                    <a:pt x="2436" y="863"/>
                    <a:pt x="2442" y="859"/>
                    <a:pt x="2442" y="853"/>
                  </a:cubicBezTo>
                  <a:cubicBezTo>
                    <a:pt x="2442" y="847"/>
                    <a:pt x="2436" y="843"/>
                    <a:pt x="2428" y="843"/>
                  </a:cubicBezTo>
                  <a:cubicBezTo>
                    <a:pt x="2428" y="843"/>
                    <a:pt x="2428" y="843"/>
                    <a:pt x="2428" y="843"/>
                  </a:cubicBezTo>
                  <a:moveTo>
                    <a:pt x="2468" y="843"/>
                  </a:moveTo>
                  <a:cubicBezTo>
                    <a:pt x="2461" y="843"/>
                    <a:pt x="2454" y="847"/>
                    <a:pt x="2454" y="853"/>
                  </a:cubicBezTo>
                  <a:cubicBezTo>
                    <a:pt x="2454" y="859"/>
                    <a:pt x="2460" y="863"/>
                    <a:pt x="2468" y="863"/>
                  </a:cubicBezTo>
                  <a:cubicBezTo>
                    <a:pt x="2476" y="863"/>
                    <a:pt x="2482" y="858"/>
                    <a:pt x="2482" y="853"/>
                  </a:cubicBezTo>
                  <a:cubicBezTo>
                    <a:pt x="2482" y="847"/>
                    <a:pt x="2476" y="843"/>
                    <a:pt x="2468" y="843"/>
                  </a:cubicBezTo>
                  <a:cubicBezTo>
                    <a:pt x="2468" y="843"/>
                    <a:pt x="2468" y="843"/>
                    <a:pt x="2468" y="843"/>
                  </a:cubicBezTo>
                  <a:moveTo>
                    <a:pt x="2829" y="843"/>
                  </a:moveTo>
                  <a:cubicBezTo>
                    <a:pt x="2821" y="843"/>
                    <a:pt x="2816" y="847"/>
                    <a:pt x="2816" y="853"/>
                  </a:cubicBezTo>
                  <a:cubicBezTo>
                    <a:pt x="2817" y="858"/>
                    <a:pt x="2824" y="863"/>
                    <a:pt x="2831" y="863"/>
                  </a:cubicBezTo>
                  <a:cubicBezTo>
                    <a:pt x="2839" y="863"/>
                    <a:pt x="2845" y="858"/>
                    <a:pt x="2844" y="853"/>
                  </a:cubicBezTo>
                  <a:cubicBezTo>
                    <a:pt x="2844" y="847"/>
                    <a:pt x="2837" y="843"/>
                    <a:pt x="2829" y="843"/>
                  </a:cubicBezTo>
                  <a:cubicBezTo>
                    <a:pt x="2829" y="843"/>
                    <a:pt x="2829" y="843"/>
                    <a:pt x="2829" y="843"/>
                  </a:cubicBezTo>
                  <a:moveTo>
                    <a:pt x="2508" y="843"/>
                  </a:moveTo>
                  <a:cubicBezTo>
                    <a:pt x="2500" y="843"/>
                    <a:pt x="2494" y="847"/>
                    <a:pt x="2494" y="853"/>
                  </a:cubicBezTo>
                  <a:cubicBezTo>
                    <a:pt x="2494" y="858"/>
                    <a:pt x="2501" y="863"/>
                    <a:pt x="2508" y="863"/>
                  </a:cubicBezTo>
                  <a:cubicBezTo>
                    <a:pt x="2516" y="863"/>
                    <a:pt x="2522" y="858"/>
                    <a:pt x="2522" y="853"/>
                  </a:cubicBezTo>
                  <a:cubicBezTo>
                    <a:pt x="2522" y="847"/>
                    <a:pt x="2516" y="843"/>
                    <a:pt x="2508" y="843"/>
                  </a:cubicBezTo>
                  <a:cubicBezTo>
                    <a:pt x="2508" y="843"/>
                    <a:pt x="2508" y="843"/>
                    <a:pt x="2508" y="843"/>
                  </a:cubicBezTo>
                  <a:moveTo>
                    <a:pt x="2548" y="842"/>
                  </a:moveTo>
                  <a:cubicBezTo>
                    <a:pt x="2541" y="842"/>
                    <a:pt x="2534" y="847"/>
                    <a:pt x="2534" y="853"/>
                  </a:cubicBezTo>
                  <a:cubicBezTo>
                    <a:pt x="2535" y="858"/>
                    <a:pt x="2541" y="863"/>
                    <a:pt x="2549" y="863"/>
                  </a:cubicBezTo>
                  <a:cubicBezTo>
                    <a:pt x="2557" y="863"/>
                    <a:pt x="2563" y="858"/>
                    <a:pt x="2563" y="852"/>
                  </a:cubicBezTo>
                  <a:cubicBezTo>
                    <a:pt x="2562" y="847"/>
                    <a:pt x="2556" y="842"/>
                    <a:pt x="2548" y="842"/>
                  </a:cubicBezTo>
                  <a:cubicBezTo>
                    <a:pt x="2548" y="842"/>
                    <a:pt x="2548" y="842"/>
                    <a:pt x="2548" y="842"/>
                  </a:cubicBezTo>
                  <a:moveTo>
                    <a:pt x="2909" y="842"/>
                  </a:moveTo>
                  <a:cubicBezTo>
                    <a:pt x="2901" y="842"/>
                    <a:pt x="2895" y="847"/>
                    <a:pt x="2896" y="852"/>
                  </a:cubicBezTo>
                  <a:cubicBezTo>
                    <a:pt x="2897" y="858"/>
                    <a:pt x="2904" y="863"/>
                    <a:pt x="2912" y="863"/>
                  </a:cubicBezTo>
                  <a:cubicBezTo>
                    <a:pt x="2919" y="863"/>
                    <a:pt x="2925" y="858"/>
                    <a:pt x="2924" y="852"/>
                  </a:cubicBezTo>
                  <a:cubicBezTo>
                    <a:pt x="2923" y="847"/>
                    <a:pt x="2917" y="842"/>
                    <a:pt x="2909" y="842"/>
                  </a:cubicBezTo>
                  <a:cubicBezTo>
                    <a:pt x="2909" y="842"/>
                    <a:pt x="2909" y="842"/>
                    <a:pt x="2909" y="842"/>
                  </a:cubicBezTo>
                  <a:moveTo>
                    <a:pt x="2589" y="842"/>
                  </a:moveTo>
                  <a:cubicBezTo>
                    <a:pt x="2581" y="842"/>
                    <a:pt x="2575" y="847"/>
                    <a:pt x="2575" y="852"/>
                  </a:cubicBezTo>
                  <a:cubicBezTo>
                    <a:pt x="2575" y="858"/>
                    <a:pt x="2582" y="863"/>
                    <a:pt x="2589" y="863"/>
                  </a:cubicBezTo>
                  <a:cubicBezTo>
                    <a:pt x="2597" y="863"/>
                    <a:pt x="2603" y="858"/>
                    <a:pt x="2603" y="852"/>
                  </a:cubicBezTo>
                  <a:cubicBezTo>
                    <a:pt x="2603" y="847"/>
                    <a:pt x="2597" y="842"/>
                    <a:pt x="2589" y="842"/>
                  </a:cubicBezTo>
                  <a:cubicBezTo>
                    <a:pt x="2589" y="842"/>
                    <a:pt x="2589" y="842"/>
                    <a:pt x="2589" y="842"/>
                  </a:cubicBezTo>
                  <a:moveTo>
                    <a:pt x="2867" y="842"/>
                  </a:moveTo>
                  <a:cubicBezTo>
                    <a:pt x="2859" y="842"/>
                    <a:pt x="2853" y="847"/>
                    <a:pt x="2854" y="852"/>
                  </a:cubicBezTo>
                  <a:cubicBezTo>
                    <a:pt x="2855" y="858"/>
                    <a:pt x="2862" y="863"/>
                    <a:pt x="2869" y="863"/>
                  </a:cubicBezTo>
                  <a:cubicBezTo>
                    <a:pt x="2877" y="863"/>
                    <a:pt x="2883" y="858"/>
                    <a:pt x="2882" y="852"/>
                  </a:cubicBezTo>
                  <a:cubicBezTo>
                    <a:pt x="2881" y="847"/>
                    <a:pt x="2874" y="842"/>
                    <a:pt x="2867" y="842"/>
                  </a:cubicBezTo>
                  <a:cubicBezTo>
                    <a:pt x="2867" y="842"/>
                    <a:pt x="2867" y="842"/>
                    <a:pt x="2867" y="842"/>
                  </a:cubicBezTo>
                  <a:moveTo>
                    <a:pt x="2629" y="842"/>
                  </a:moveTo>
                  <a:cubicBezTo>
                    <a:pt x="2621" y="842"/>
                    <a:pt x="2615" y="847"/>
                    <a:pt x="2615" y="852"/>
                  </a:cubicBezTo>
                  <a:cubicBezTo>
                    <a:pt x="2615" y="858"/>
                    <a:pt x="2622" y="862"/>
                    <a:pt x="2630" y="862"/>
                  </a:cubicBezTo>
                  <a:cubicBezTo>
                    <a:pt x="2637" y="862"/>
                    <a:pt x="2643" y="858"/>
                    <a:pt x="2643" y="852"/>
                  </a:cubicBezTo>
                  <a:cubicBezTo>
                    <a:pt x="2643" y="847"/>
                    <a:pt x="2636" y="842"/>
                    <a:pt x="2629" y="842"/>
                  </a:cubicBezTo>
                  <a:cubicBezTo>
                    <a:pt x="2629" y="842"/>
                    <a:pt x="2629" y="842"/>
                    <a:pt x="2629" y="842"/>
                  </a:cubicBezTo>
                  <a:moveTo>
                    <a:pt x="2990" y="842"/>
                  </a:moveTo>
                  <a:cubicBezTo>
                    <a:pt x="2982" y="842"/>
                    <a:pt x="2977" y="846"/>
                    <a:pt x="2978" y="852"/>
                  </a:cubicBezTo>
                  <a:cubicBezTo>
                    <a:pt x="2979" y="858"/>
                    <a:pt x="2986" y="862"/>
                    <a:pt x="2994" y="862"/>
                  </a:cubicBezTo>
                  <a:cubicBezTo>
                    <a:pt x="3002" y="862"/>
                    <a:pt x="3007" y="858"/>
                    <a:pt x="3006" y="852"/>
                  </a:cubicBezTo>
                  <a:cubicBezTo>
                    <a:pt x="3005" y="846"/>
                    <a:pt x="2998" y="842"/>
                    <a:pt x="2990" y="842"/>
                  </a:cubicBezTo>
                  <a:cubicBezTo>
                    <a:pt x="2990" y="842"/>
                    <a:pt x="2990" y="842"/>
                    <a:pt x="2990" y="842"/>
                  </a:cubicBezTo>
                  <a:moveTo>
                    <a:pt x="2709" y="842"/>
                  </a:moveTo>
                  <a:cubicBezTo>
                    <a:pt x="2701" y="842"/>
                    <a:pt x="2695" y="846"/>
                    <a:pt x="2696" y="852"/>
                  </a:cubicBezTo>
                  <a:cubicBezTo>
                    <a:pt x="2696" y="858"/>
                    <a:pt x="2703" y="862"/>
                    <a:pt x="2711" y="862"/>
                  </a:cubicBezTo>
                  <a:cubicBezTo>
                    <a:pt x="2718" y="862"/>
                    <a:pt x="2724" y="858"/>
                    <a:pt x="2724" y="852"/>
                  </a:cubicBezTo>
                  <a:cubicBezTo>
                    <a:pt x="2723" y="846"/>
                    <a:pt x="2717" y="842"/>
                    <a:pt x="2709" y="842"/>
                  </a:cubicBezTo>
                  <a:cubicBezTo>
                    <a:pt x="2709" y="842"/>
                    <a:pt x="2709" y="842"/>
                    <a:pt x="2709" y="842"/>
                  </a:cubicBezTo>
                  <a:moveTo>
                    <a:pt x="2946" y="842"/>
                  </a:moveTo>
                  <a:cubicBezTo>
                    <a:pt x="2939" y="842"/>
                    <a:pt x="2933" y="846"/>
                    <a:pt x="2934" y="852"/>
                  </a:cubicBezTo>
                  <a:cubicBezTo>
                    <a:pt x="2935" y="858"/>
                    <a:pt x="2942" y="862"/>
                    <a:pt x="2950" y="862"/>
                  </a:cubicBezTo>
                  <a:cubicBezTo>
                    <a:pt x="2957" y="862"/>
                    <a:pt x="2963" y="858"/>
                    <a:pt x="2962" y="852"/>
                  </a:cubicBezTo>
                  <a:cubicBezTo>
                    <a:pt x="2961" y="846"/>
                    <a:pt x="2954" y="842"/>
                    <a:pt x="2946" y="842"/>
                  </a:cubicBezTo>
                  <a:cubicBezTo>
                    <a:pt x="2946" y="842"/>
                    <a:pt x="2946" y="842"/>
                    <a:pt x="2946" y="842"/>
                  </a:cubicBezTo>
                  <a:moveTo>
                    <a:pt x="3028" y="841"/>
                  </a:moveTo>
                  <a:cubicBezTo>
                    <a:pt x="3020" y="841"/>
                    <a:pt x="3015" y="846"/>
                    <a:pt x="3016" y="852"/>
                  </a:cubicBezTo>
                  <a:cubicBezTo>
                    <a:pt x="3017" y="857"/>
                    <a:pt x="3024" y="862"/>
                    <a:pt x="3032" y="862"/>
                  </a:cubicBezTo>
                  <a:cubicBezTo>
                    <a:pt x="3039" y="862"/>
                    <a:pt x="3045" y="857"/>
                    <a:pt x="3044" y="852"/>
                  </a:cubicBezTo>
                  <a:cubicBezTo>
                    <a:pt x="3043" y="846"/>
                    <a:pt x="3036" y="841"/>
                    <a:pt x="3028" y="841"/>
                  </a:cubicBezTo>
                  <a:cubicBezTo>
                    <a:pt x="3028" y="841"/>
                    <a:pt x="3028" y="841"/>
                    <a:pt x="3028" y="841"/>
                  </a:cubicBezTo>
                  <a:moveTo>
                    <a:pt x="2747" y="840"/>
                  </a:moveTo>
                  <a:cubicBezTo>
                    <a:pt x="2739" y="840"/>
                    <a:pt x="2733" y="845"/>
                    <a:pt x="2734" y="851"/>
                  </a:cubicBezTo>
                  <a:cubicBezTo>
                    <a:pt x="2734" y="856"/>
                    <a:pt x="2741" y="861"/>
                    <a:pt x="2749" y="861"/>
                  </a:cubicBezTo>
                  <a:cubicBezTo>
                    <a:pt x="2756" y="861"/>
                    <a:pt x="2762" y="856"/>
                    <a:pt x="2762" y="850"/>
                  </a:cubicBezTo>
                  <a:cubicBezTo>
                    <a:pt x="2761" y="845"/>
                    <a:pt x="2754" y="840"/>
                    <a:pt x="2747" y="840"/>
                  </a:cubicBezTo>
                  <a:cubicBezTo>
                    <a:pt x="2747" y="840"/>
                    <a:pt x="2747" y="840"/>
                    <a:pt x="2747" y="840"/>
                  </a:cubicBezTo>
                  <a:moveTo>
                    <a:pt x="2789" y="840"/>
                  </a:moveTo>
                  <a:cubicBezTo>
                    <a:pt x="2781" y="840"/>
                    <a:pt x="2775" y="845"/>
                    <a:pt x="2776" y="850"/>
                  </a:cubicBezTo>
                  <a:cubicBezTo>
                    <a:pt x="2776" y="856"/>
                    <a:pt x="2783" y="861"/>
                    <a:pt x="2791" y="861"/>
                  </a:cubicBezTo>
                  <a:cubicBezTo>
                    <a:pt x="2799" y="861"/>
                    <a:pt x="2804" y="856"/>
                    <a:pt x="2804" y="850"/>
                  </a:cubicBezTo>
                  <a:cubicBezTo>
                    <a:pt x="2803" y="845"/>
                    <a:pt x="2797" y="840"/>
                    <a:pt x="2789" y="840"/>
                  </a:cubicBezTo>
                  <a:cubicBezTo>
                    <a:pt x="2789" y="840"/>
                    <a:pt x="2789" y="840"/>
                    <a:pt x="2789" y="840"/>
                  </a:cubicBezTo>
                  <a:moveTo>
                    <a:pt x="3308" y="839"/>
                  </a:moveTo>
                  <a:cubicBezTo>
                    <a:pt x="3300" y="839"/>
                    <a:pt x="3295" y="844"/>
                    <a:pt x="3297" y="850"/>
                  </a:cubicBezTo>
                  <a:cubicBezTo>
                    <a:pt x="3298" y="855"/>
                    <a:pt x="3306" y="860"/>
                    <a:pt x="3314" y="860"/>
                  </a:cubicBezTo>
                  <a:cubicBezTo>
                    <a:pt x="3322" y="860"/>
                    <a:pt x="3327" y="855"/>
                    <a:pt x="3325" y="850"/>
                  </a:cubicBezTo>
                  <a:cubicBezTo>
                    <a:pt x="3323" y="844"/>
                    <a:pt x="3316" y="839"/>
                    <a:pt x="3308" y="839"/>
                  </a:cubicBezTo>
                  <a:cubicBezTo>
                    <a:pt x="3308" y="839"/>
                    <a:pt x="3308" y="839"/>
                    <a:pt x="3308" y="839"/>
                  </a:cubicBezTo>
                  <a:moveTo>
                    <a:pt x="3348" y="839"/>
                  </a:moveTo>
                  <a:cubicBezTo>
                    <a:pt x="3341" y="839"/>
                    <a:pt x="3336" y="844"/>
                    <a:pt x="3337" y="850"/>
                  </a:cubicBezTo>
                  <a:cubicBezTo>
                    <a:pt x="3339" y="855"/>
                    <a:pt x="3347" y="860"/>
                    <a:pt x="3354" y="860"/>
                  </a:cubicBezTo>
                  <a:cubicBezTo>
                    <a:pt x="3362" y="860"/>
                    <a:pt x="3367" y="855"/>
                    <a:pt x="3365" y="849"/>
                  </a:cubicBezTo>
                  <a:cubicBezTo>
                    <a:pt x="3364" y="844"/>
                    <a:pt x="3356" y="839"/>
                    <a:pt x="3349" y="839"/>
                  </a:cubicBezTo>
                  <a:cubicBezTo>
                    <a:pt x="3348" y="839"/>
                    <a:pt x="3348" y="839"/>
                    <a:pt x="3348" y="839"/>
                  </a:cubicBezTo>
                  <a:moveTo>
                    <a:pt x="3388" y="839"/>
                  </a:moveTo>
                  <a:cubicBezTo>
                    <a:pt x="3380" y="839"/>
                    <a:pt x="3375" y="844"/>
                    <a:pt x="3377" y="849"/>
                  </a:cubicBezTo>
                  <a:cubicBezTo>
                    <a:pt x="3379" y="855"/>
                    <a:pt x="3386" y="860"/>
                    <a:pt x="3394" y="860"/>
                  </a:cubicBezTo>
                  <a:cubicBezTo>
                    <a:pt x="3402" y="860"/>
                    <a:pt x="3407" y="855"/>
                    <a:pt x="3405" y="849"/>
                  </a:cubicBezTo>
                  <a:cubicBezTo>
                    <a:pt x="3403" y="844"/>
                    <a:pt x="3396" y="839"/>
                    <a:pt x="3388" y="839"/>
                  </a:cubicBezTo>
                  <a:cubicBezTo>
                    <a:pt x="3388" y="839"/>
                    <a:pt x="3388" y="839"/>
                    <a:pt x="3388" y="839"/>
                  </a:cubicBezTo>
                  <a:moveTo>
                    <a:pt x="3428" y="839"/>
                  </a:moveTo>
                  <a:cubicBezTo>
                    <a:pt x="3420" y="839"/>
                    <a:pt x="3415" y="844"/>
                    <a:pt x="3417" y="849"/>
                  </a:cubicBezTo>
                  <a:cubicBezTo>
                    <a:pt x="3419" y="855"/>
                    <a:pt x="3426" y="859"/>
                    <a:pt x="3434" y="859"/>
                  </a:cubicBezTo>
                  <a:cubicBezTo>
                    <a:pt x="3442" y="859"/>
                    <a:pt x="3447" y="855"/>
                    <a:pt x="3445" y="849"/>
                  </a:cubicBezTo>
                  <a:cubicBezTo>
                    <a:pt x="3443" y="843"/>
                    <a:pt x="3435" y="839"/>
                    <a:pt x="3428" y="839"/>
                  </a:cubicBezTo>
                  <a:cubicBezTo>
                    <a:pt x="3428" y="839"/>
                    <a:pt x="3428" y="839"/>
                    <a:pt x="3428" y="839"/>
                  </a:cubicBezTo>
                  <a:moveTo>
                    <a:pt x="3468" y="839"/>
                  </a:moveTo>
                  <a:cubicBezTo>
                    <a:pt x="3460" y="839"/>
                    <a:pt x="3455" y="843"/>
                    <a:pt x="3457" y="849"/>
                  </a:cubicBezTo>
                  <a:cubicBezTo>
                    <a:pt x="3459" y="855"/>
                    <a:pt x="3467" y="859"/>
                    <a:pt x="3475" y="859"/>
                  </a:cubicBezTo>
                  <a:cubicBezTo>
                    <a:pt x="3482" y="859"/>
                    <a:pt x="3487" y="855"/>
                    <a:pt x="3485" y="849"/>
                  </a:cubicBezTo>
                  <a:cubicBezTo>
                    <a:pt x="3483" y="843"/>
                    <a:pt x="3476" y="839"/>
                    <a:pt x="3468" y="839"/>
                  </a:cubicBezTo>
                  <a:cubicBezTo>
                    <a:pt x="3468" y="839"/>
                    <a:pt x="3468" y="839"/>
                    <a:pt x="3468" y="839"/>
                  </a:cubicBezTo>
                  <a:moveTo>
                    <a:pt x="3508" y="839"/>
                  </a:moveTo>
                  <a:cubicBezTo>
                    <a:pt x="3500" y="839"/>
                    <a:pt x="3496" y="843"/>
                    <a:pt x="3498" y="849"/>
                  </a:cubicBezTo>
                  <a:cubicBezTo>
                    <a:pt x="3500" y="855"/>
                    <a:pt x="3508" y="859"/>
                    <a:pt x="3515" y="859"/>
                  </a:cubicBezTo>
                  <a:cubicBezTo>
                    <a:pt x="3523" y="859"/>
                    <a:pt x="3528" y="854"/>
                    <a:pt x="3526" y="849"/>
                  </a:cubicBezTo>
                  <a:cubicBezTo>
                    <a:pt x="3524" y="843"/>
                    <a:pt x="3516" y="839"/>
                    <a:pt x="3508" y="839"/>
                  </a:cubicBezTo>
                  <a:cubicBezTo>
                    <a:pt x="3508" y="839"/>
                    <a:pt x="3508" y="839"/>
                    <a:pt x="3508" y="839"/>
                  </a:cubicBezTo>
                  <a:moveTo>
                    <a:pt x="3748" y="838"/>
                  </a:moveTo>
                  <a:cubicBezTo>
                    <a:pt x="3740" y="838"/>
                    <a:pt x="3736" y="842"/>
                    <a:pt x="3739" y="848"/>
                  </a:cubicBezTo>
                  <a:cubicBezTo>
                    <a:pt x="3741" y="854"/>
                    <a:pt x="3749" y="858"/>
                    <a:pt x="3757" y="858"/>
                  </a:cubicBezTo>
                  <a:cubicBezTo>
                    <a:pt x="3765" y="858"/>
                    <a:pt x="3769" y="854"/>
                    <a:pt x="3767" y="848"/>
                  </a:cubicBezTo>
                  <a:cubicBezTo>
                    <a:pt x="3764" y="842"/>
                    <a:pt x="3756" y="838"/>
                    <a:pt x="3748" y="838"/>
                  </a:cubicBezTo>
                  <a:cubicBezTo>
                    <a:pt x="3748" y="838"/>
                    <a:pt x="3748" y="838"/>
                    <a:pt x="3748" y="838"/>
                  </a:cubicBezTo>
                  <a:moveTo>
                    <a:pt x="3708" y="838"/>
                  </a:moveTo>
                  <a:cubicBezTo>
                    <a:pt x="3700" y="838"/>
                    <a:pt x="3696" y="842"/>
                    <a:pt x="3698" y="848"/>
                  </a:cubicBezTo>
                  <a:cubicBezTo>
                    <a:pt x="3701" y="854"/>
                    <a:pt x="3709" y="858"/>
                    <a:pt x="3717" y="858"/>
                  </a:cubicBezTo>
                  <a:cubicBezTo>
                    <a:pt x="3724" y="858"/>
                    <a:pt x="3729" y="854"/>
                    <a:pt x="3726" y="848"/>
                  </a:cubicBezTo>
                  <a:cubicBezTo>
                    <a:pt x="3724" y="842"/>
                    <a:pt x="3716" y="838"/>
                    <a:pt x="3708" y="838"/>
                  </a:cubicBezTo>
                  <a:cubicBezTo>
                    <a:pt x="3708" y="838"/>
                    <a:pt x="3708" y="838"/>
                    <a:pt x="3708" y="838"/>
                  </a:cubicBezTo>
                  <a:moveTo>
                    <a:pt x="3788" y="838"/>
                  </a:moveTo>
                  <a:cubicBezTo>
                    <a:pt x="3780" y="838"/>
                    <a:pt x="3776" y="842"/>
                    <a:pt x="3778" y="848"/>
                  </a:cubicBezTo>
                  <a:cubicBezTo>
                    <a:pt x="3781" y="854"/>
                    <a:pt x="3789" y="858"/>
                    <a:pt x="3797" y="858"/>
                  </a:cubicBezTo>
                  <a:cubicBezTo>
                    <a:pt x="3805" y="858"/>
                    <a:pt x="3809" y="853"/>
                    <a:pt x="3806" y="848"/>
                  </a:cubicBezTo>
                  <a:cubicBezTo>
                    <a:pt x="3804" y="842"/>
                    <a:pt x="3796" y="838"/>
                    <a:pt x="3788" y="838"/>
                  </a:cubicBezTo>
                  <a:cubicBezTo>
                    <a:pt x="3788" y="838"/>
                    <a:pt x="3788" y="838"/>
                    <a:pt x="3788" y="838"/>
                  </a:cubicBezTo>
                  <a:moveTo>
                    <a:pt x="3828" y="837"/>
                  </a:moveTo>
                  <a:cubicBezTo>
                    <a:pt x="3820" y="837"/>
                    <a:pt x="3816" y="842"/>
                    <a:pt x="3819" y="848"/>
                  </a:cubicBezTo>
                  <a:cubicBezTo>
                    <a:pt x="3821" y="853"/>
                    <a:pt x="3830" y="858"/>
                    <a:pt x="3837" y="858"/>
                  </a:cubicBezTo>
                  <a:cubicBezTo>
                    <a:pt x="3845" y="858"/>
                    <a:pt x="3849" y="853"/>
                    <a:pt x="3847" y="848"/>
                  </a:cubicBezTo>
                  <a:cubicBezTo>
                    <a:pt x="3844" y="842"/>
                    <a:pt x="3836" y="837"/>
                    <a:pt x="3828" y="837"/>
                  </a:cubicBezTo>
                  <a:cubicBezTo>
                    <a:pt x="3828" y="837"/>
                    <a:pt x="3828" y="837"/>
                    <a:pt x="3828" y="837"/>
                  </a:cubicBezTo>
                  <a:moveTo>
                    <a:pt x="3870" y="837"/>
                  </a:moveTo>
                  <a:cubicBezTo>
                    <a:pt x="3863" y="837"/>
                    <a:pt x="3859" y="842"/>
                    <a:pt x="3861" y="848"/>
                  </a:cubicBezTo>
                  <a:cubicBezTo>
                    <a:pt x="3864" y="853"/>
                    <a:pt x="3872" y="858"/>
                    <a:pt x="3880" y="858"/>
                  </a:cubicBezTo>
                  <a:cubicBezTo>
                    <a:pt x="3888" y="858"/>
                    <a:pt x="3892" y="853"/>
                    <a:pt x="3889" y="847"/>
                  </a:cubicBezTo>
                  <a:cubicBezTo>
                    <a:pt x="3887" y="842"/>
                    <a:pt x="3878" y="837"/>
                    <a:pt x="3870" y="837"/>
                  </a:cubicBezTo>
                  <a:cubicBezTo>
                    <a:pt x="3870" y="837"/>
                    <a:pt x="3870" y="837"/>
                    <a:pt x="3870" y="837"/>
                  </a:cubicBezTo>
                  <a:moveTo>
                    <a:pt x="86" y="824"/>
                  </a:moveTo>
                  <a:cubicBezTo>
                    <a:pt x="78" y="824"/>
                    <a:pt x="68" y="829"/>
                    <a:pt x="64" y="834"/>
                  </a:cubicBezTo>
                  <a:cubicBezTo>
                    <a:pt x="59" y="840"/>
                    <a:pt x="62" y="844"/>
                    <a:pt x="69" y="844"/>
                  </a:cubicBezTo>
                  <a:cubicBezTo>
                    <a:pt x="77" y="844"/>
                    <a:pt x="87" y="840"/>
                    <a:pt x="92" y="834"/>
                  </a:cubicBezTo>
                  <a:cubicBezTo>
                    <a:pt x="96" y="829"/>
                    <a:pt x="94" y="824"/>
                    <a:pt x="86" y="824"/>
                  </a:cubicBezTo>
                  <a:cubicBezTo>
                    <a:pt x="86" y="824"/>
                    <a:pt x="86" y="824"/>
                    <a:pt x="86" y="824"/>
                  </a:cubicBezTo>
                  <a:moveTo>
                    <a:pt x="125" y="824"/>
                  </a:moveTo>
                  <a:cubicBezTo>
                    <a:pt x="118" y="824"/>
                    <a:pt x="108" y="828"/>
                    <a:pt x="103" y="834"/>
                  </a:cubicBezTo>
                  <a:cubicBezTo>
                    <a:pt x="99" y="840"/>
                    <a:pt x="101" y="844"/>
                    <a:pt x="109" y="844"/>
                  </a:cubicBezTo>
                  <a:cubicBezTo>
                    <a:pt x="117" y="844"/>
                    <a:pt x="127" y="840"/>
                    <a:pt x="131" y="834"/>
                  </a:cubicBezTo>
                  <a:cubicBezTo>
                    <a:pt x="136" y="828"/>
                    <a:pt x="133" y="824"/>
                    <a:pt x="126" y="824"/>
                  </a:cubicBezTo>
                  <a:cubicBezTo>
                    <a:pt x="125" y="824"/>
                    <a:pt x="125" y="824"/>
                    <a:pt x="125" y="824"/>
                  </a:cubicBezTo>
                  <a:moveTo>
                    <a:pt x="165" y="824"/>
                  </a:moveTo>
                  <a:cubicBezTo>
                    <a:pt x="158" y="824"/>
                    <a:pt x="148" y="828"/>
                    <a:pt x="143" y="834"/>
                  </a:cubicBezTo>
                  <a:cubicBezTo>
                    <a:pt x="139" y="839"/>
                    <a:pt x="141" y="844"/>
                    <a:pt x="149" y="844"/>
                  </a:cubicBezTo>
                  <a:cubicBezTo>
                    <a:pt x="157" y="844"/>
                    <a:pt x="167" y="839"/>
                    <a:pt x="171" y="834"/>
                  </a:cubicBezTo>
                  <a:cubicBezTo>
                    <a:pt x="176" y="828"/>
                    <a:pt x="173" y="824"/>
                    <a:pt x="165" y="824"/>
                  </a:cubicBezTo>
                  <a:cubicBezTo>
                    <a:pt x="165" y="824"/>
                    <a:pt x="165" y="824"/>
                    <a:pt x="165" y="824"/>
                  </a:cubicBezTo>
                  <a:moveTo>
                    <a:pt x="206" y="824"/>
                  </a:moveTo>
                  <a:cubicBezTo>
                    <a:pt x="199" y="824"/>
                    <a:pt x="189" y="828"/>
                    <a:pt x="184" y="834"/>
                  </a:cubicBezTo>
                  <a:cubicBezTo>
                    <a:pt x="180" y="839"/>
                    <a:pt x="183" y="844"/>
                    <a:pt x="191" y="844"/>
                  </a:cubicBezTo>
                  <a:cubicBezTo>
                    <a:pt x="198" y="844"/>
                    <a:pt x="208" y="839"/>
                    <a:pt x="212" y="834"/>
                  </a:cubicBezTo>
                  <a:cubicBezTo>
                    <a:pt x="217" y="828"/>
                    <a:pt x="214" y="824"/>
                    <a:pt x="206" y="824"/>
                  </a:cubicBezTo>
                  <a:cubicBezTo>
                    <a:pt x="206" y="824"/>
                    <a:pt x="206" y="824"/>
                    <a:pt x="206" y="824"/>
                  </a:cubicBezTo>
                  <a:moveTo>
                    <a:pt x="399" y="823"/>
                  </a:moveTo>
                  <a:cubicBezTo>
                    <a:pt x="391" y="823"/>
                    <a:pt x="382" y="827"/>
                    <a:pt x="377" y="833"/>
                  </a:cubicBezTo>
                  <a:cubicBezTo>
                    <a:pt x="373" y="838"/>
                    <a:pt x="376" y="843"/>
                    <a:pt x="384" y="843"/>
                  </a:cubicBezTo>
                  <a:cubicBezTo>
                    <a:pt x="392" y="843"/>
                    <a:pt x="401" y="838"/>
                    <a:pt x="405" y="833"/>
                  </a:cubicBezTo>
                  <a:cubicBezTo>
                    <a:pt x="409" y="827"/>
                    <a:pt x="406" y="823"/>
                    <a:pt x="399" y="823"/>
                  </a:cubicBezTo>
                  <a:cubicBezTo>
                    <a:pt x="399" y="823"/>
                    <a:pt x="399" y="823"/>
                    <a:pt x="399" y="823"/>
                  </a:cubicBezTo>
                  <a:moveTo>
                    <a:pt x="564" y="821"/>
                  </a:moveTo>
                  <a:cubicBezTo>
                    <a:pt x="556" y="821"/>
                    <a:pt x="547" y="826"/>
                    <a:pt x="543" y="831"/>
                  </a:cubicBezTo>
                  <a:cubicBezTo>
                    <a:pt x="539" y="837"/>
                    <a:pt x="543" y="841"/>
                    <a:pt x="550" y="841"/>
                  </a:cubicBezTo>
                  <a:cubicBezTo>
                    <a:pt x="558" y="841"/>
                    <a:pt x="567" y="837"/>
                    <a:pt x="571" y="831"/>
                  </a:cubicBezTo>
                  <a:cubicBezTo>
                    <a:pt x="575" y="826"/>
                    <a:pt x="571" y="821"/>
                    <a:pt x="564" y="821"/>
                  </a:cubicBezTo>
                  <a:cubicBezTo>
                    <a:pt x="564" y="821"/>
                    <a:pt x="564" y="821"/>
                    <a:pt x="564" y="821"/>
                  </a:cubicBezTo>
                  <a:moveTo>
                    <a:pt x="602" y="821"/>
                  </a:moveTo>
                  <a:cubicBezTo>
                    <a:pt x="595" y="821"/>
                    <a:pt x="585" y="826"/>
                    <a:pt x="582" y="831"/>
                  </a:cubicBezTo>
                  <a:cubicBezTo>
                    <a:pt x="578" y="837"/>
                    <a:pt x="581" y="841"/>
                    <a:pt x="589" y="841"/>
                  </a:cubicBezTo>
                  <a:cubicBezTo>
                    <a:pt x="597" y="841"/>
                    <a:pt x="606" y="837"/>
                    <a:pt x="610" y="831"/>
                  </a:cubicBezTo>
                  <a:cubicBezTo>
                    <a:pt x="613" y="825"/>
                    <a:pt x="610" y="821"/>
                    <a:pt x="602" y="821"/>
                  </a:cubicBezTo>
                  <a:cubicBezTo>
                    <a:pt x="602" y="821"/>
                    <a:pt x="602" y="821"/>
                    <a:pt x="602" y="821"/>
                  </a:cubicBezTo>
                  <a:moveTo>
                    <a:pt x="1716" y="817"/>
                  </a:moveTo>
                  <a:cubicBezTo>
                    <a:pt x="1708" y="817"/>
                    <a:pt x="1701" y="821"/>
                    <a:pt x="1699" y="827"/>
                  </a:cubicBezTo>
                  <a:cubicBezTo>
                    <a:pt x="1698" y="832"/>
                    <a:pt x="1703" y="837"/>
                    <a:pt x="1711" y="837"/>
                  </a:cubicBezTo>
                  <a:cubicBezTo>
                    <a:pt x="1718" y="837"/>
                    <a:pt x="1726" y="832"/>
                    <a:pt x="1727" y="827"/>
                  </a:cubicBezTo>
                  <a:cubicBezTo>
                    <a:pt x="1729" y="821"/>
                    <a:pt x="1724" y="817"/>
                    <a:pt x="1716" y="817"/>
                  </a:cubicBezTo>
                  <a:cubicBezTo>
                    <a:pt x="1716" y="817"/>
                    <a:pt x="1716" y="817"/>
                    <a:pt x="1716" y="817"/>
                  </a:cubicBezTo>
                  <a:moveTo>
                    <a:pt x="1753" y="816"/>
                  </a:moveTo>
                  <a:cubicBezTo>
                    <a:pt x="1746" y="816"/>
                    <a:pt x="1738" y="821"/>
                    <a:pt x="1737" y="827"/>
                  </a:cubicBezTo>
                  <a:cubicBezTo>
                    <a:pt x="1735" y="832"/>
                    <a:pt x="1740" y="837"/>
                    <a:pt x="1748" y="837"/>
                  </a:cubicBezTo>
                  <a:cubicBezTo>
                    <a:pt x="1756" y="837"/>
                    <a:pt x="1763" y="832"/>
                    <a:pt x="1765" y="827"/>
                  </a:cubicBezTo>
                  <a:cubicBezTo>
                    <a:pt x="1766" y="821"/>
                    <a:pt x="1761" y="816"/>
                    <a:pt x="1753" y="816"/>
                  </a:cubicBezTo>
                  <a:cubicBezTo>
                    <a:pt x="1753" y="816"/>
                    <a:pt x="1753" y="816"/>
                    <a:pt x="1753" y="816"/>
                  </a:cubicBezTo>
                  <a:moveTo>
                    <a:pt x="1793" y="816"/>
                  </a:moveTo>
                  <a:cubicBezTo>
                    <a:pt x="1785" y="816"/>
                    <a:pt x="1778" y="821"/>
                    <a:pt x="1776" y="827"/>
                  </a:cubicBezTo>
                  <a:cubicBezTo>
                    <a:pt x="1775" y="832"/>
                    <a:pt x="1780" y="837"/>
                    <a:pt x="1788" y="837"/>
                  </a:cubicBezTo>
                  <a:cubicBezTo>
                    <a:pt x="1796" y="837"/>
                    <a:pt x="1803" y="832"/>
                    <a:pt x="1804" y="826"/>
                  </a:cubicBezTo>
                  <a:cubicBezTo>
                    <a:pt x="1806" y="821"/>
                    <a:pt x="1800" y="816"/>
                    <a:pt x="1793" y="816"/>
                  </a:cubicBezTo>
                  <a:cubicBezTo>
                    <a:pt x="1793" y="816"/>
                    <a:pt x="1793" y="816"/>
                    <a:pt x="1793" y="816"/>
                  </a:cubicBezTo>
                  <a:moveTo>
                    <a:pt x="1833" y="816"/>
                  </a:moveTo>
                  <a:cubicBezTo>
                    <a:pt x="1825" y="816"/>
                    <a:pt x="1818" y="821"/>
                    <a:pt x="1816" y="826"/>
                  </a:cubicBezTo>
                  <a:cubicBezTo>
                    <a:pt x="1815" y="832"/>
                    <a:pt x="1820" y="837"/>
                    <a:pt x="1828" y="836"/>
                  </a:cubicBezTo>
                  <a:cubicBezTo>
                    <a:pt x="1836" y="836"/>
                    <a:pt x="1843" y="832"/>
                    <a:pt x="1844" y="826"/>
                  </a:cubicBezTo>
                  <a:cubicBezTo>
                    <a:pt x="1845" y="821"/>
                    <a:pt x="1840" y="816"/>
                    <a:pt x="1833" y="816"/>
                  </a:cubicBezTo>
                  <a:cubicBezTo>
                    <a:pt x="1833" y="816"/>
                    <a:pt x="1833" y="816"/>
                    <a:pt x="1833" y="816"/>
                  </a:cubicBezTo>
                  <a:moveTo>
                    <a:pt x="1873" y="816"/>
                  </a:moveTo>
                  <a:cubicBezTo>
                    <a:pt x="1865" y="816"/>
                    <a:pt x="1858" y="821"/>
                    <a:pt x="1857" y="826"/>
                  </a:cubicBezTo>
                  <a:cubicBezTo>
                    <a:pt x="1855" y="832"/>
                    <a:pt x="1861" y="836"/>
                    <a:pt x="1868" y="836"/>
                  </a:cubicBezTo>
                  <a:cubicBezTo>
                    <a:pt x="1876" y="836"/>
                    <a:pt x="1883" y="832"/>
                    <a:pt x="1884" y="826"/>
                  </a:cubicBezTo>
                  <a:cubicBezTo>
                    <a:pt x="1886" y="820"/>
                    <a:pt x="1880" y="816"/>
                    <a:pt x="1873" y="816"/>
                  </a:cubicBezTo>
                  <a:cubicBezTo>
                    <a:pt x="1873" y="816"/>
                    <a:pt x="1873" y="816"/>
                    <a:pt x="1873" y="816"/>
                  </a:cubicBezTo>
                  <a:moveTo>
                    <a:pt x="1912" y="816"/>
                  </a:moveTo>
                  <a:cubicBezTo>
                    <a:pt x="1904" y="816"/>
                    <a:pt x="1897" y="820"/>
                    <a:pt x="1896" y="826"/>
                  </a:cubicBezTo>
                  <a:cubicBezTo>
                    <a:pt x="1895" y="832"/>
                    <a:pt x="1900" y="836"/>
                    <a:pt x="1908" y="836"/>
                  </a:cubicBezTo>
                  <a:cubicBezTo>
                    <a:pt x="1916" y="836"/>
                    <a:pt x="1923" y="831"/>
                    <a:pt x="1924" y="826"/>
                  </a:cubicBezTo>
                  <a:cubicBezTo>
                    <a:pt x="1925" y="820"/>
                    <a:pt x="1920" y="816"/>
                    <a:pt x="1912" y="816"/>
                  </a:cubicBezTo>
                  <a:cubicBezTo>
                    <a:pt x="1912" y="816"/>
                    <a:pt x="1912" y="816"/>
                    <a:pt x="1912" y="816"/>
                  </a:cubicBezTo>
                  <a:moveTo>
                    <a:pt x="1952" y="816"/>
                  </a:moveTo>
                  <a:cubicBezTo>
                    <a:pt x="1944" y="816"/>
                    <a:pt x="1937" y="820"/>
                    <a:pt x="1936" y="826"/>
                  </a:cubicBezTo>
                  <a:cubicBezTo>
                    <a:pt x="1935" y="831"/>
                    <a:pt x="1940" y="836"/>
                    <a:pt x="1948" y="836"/>
                  </a:cubicBezTo>
                  <a:cubicBezTo>
                    <a:pt x="1956" y="836"/>
                    <a:pt x="1963" y="831"/>
                    <a:pt x="1964" y="826"/>
                  </a:cubicBezTo>
                  <a:cubicBezTo>
                    <a:pt x="1965" y="820"/>
                    <a:pt x="1959" y="816"/>
                    <a:pt x="1952" y="816"/>
                  </a:cubicBezTo>
                  <a:cubicBezTo>
                    <a:pt x="1952" y="816"/>
                    <a:pt x="1952" y="816"/>
                    <a:pt x="1952" y="816"/>
                  </a:cubicBezTo>
                  <a:moveTo>
                    <a:pt x="1991" y="815"/>
                  </a:moveTo>
                  <a:cubicBezTo>
                    <a:pt x="1983" y="815"/>
                    <a:pt x="1976" y="820"/>
                    <a:pt x="1976" y="826"/>
                  </a:cubicBezTo>
                  <a:cubicBezTo>
                    <a:pt x="1975" y="831"/>
                    <a:pt x="1980" y="836"/>
                    <a:pt x="1988" y="836"/>
                  </a:cubicBezTo>
                  <a:cubicBezTo>
                    <a:pt x="1995" y="836"/>
                    <a:pt x="2002" y="831"/>
                    <a:pt x="2003" y="825"/>
                  </a:cubicBezTo>
                  <a:cubicBezTo>
                    <a:pt x="2004" y="820"/>
                    <a:pt x="1999" y="815"/>
                    <a:pt x="1991" y="815"/>
                  </a:cubicBezTo>
                  <a:cubicBezTo>
                    <a:pt x="1991" y="815"/>
                    <a:pt x="1991" y="815"/>
                    <a:pt x="1991" y="815"/>
                  </a:cubicBezTo>
                  <a:moveTo>
                    <a:pt x="2031" y="815"/>
                  </a:moveTo>
                  <a:cubicBezTo>
                    <a:pt x="2023" y="815"/>
                    <a:pt x="2016" y="820"/>
                    <a:pt x="2015" y="825"/>
                  </a:cubicBezTo>
                  <a:cubicBezTo>
                    <a:pt x="2015" y="831"/>
                    <a:pt x="2020" y="836"/>
                    <a:pt x="2028" y="836"/>
                  </a:cubicBezTo>
                  <a:cubicBezTo>
                    <a:pt x="2036" y="836"/>
                    <a:pt x="2042" y="831"/>
                    <a:pt x="2043" y="825"/>
                  </a:cubicBezTo>
                  <a:cubicBezTo>
                    <a:pt x="2044" y="820"/>
                    <a:pt x="2039" y="815"/>
                    <a:pt x="2031" y="815"/>
                  </a:cubicBezTo>
                  <a:cubicBezTo>
                    <a:pt x="2031" y="815"/>
                    <a:pt x="2031" y="815"/>
                    <a:pt x="2031" y="815"/>
                  </a:cubicBezTo>
                  <a:moveTo>
                    <a:pt x="2072" y="815"/>
                  </a:moveTo>
                  <a:cubicBezTo>
                    <a:pt x="2064" y="815"/>
                    <a:pt x="2057" y="820"/>
                    <a:pt x="2057" y="825"/>
                  </a:cubicBezTo>
                  <a:cubicBezTo>
                    <a:pt x="2056" y="831"/>
                    <a:pt x="2061" y="835"/>
                    <a:pt x="2069" y="835"/>
                  </a:cubicBezTo>
                  <a:cubicBezTo>
                    <a:pt x="2077" y="835"/>
                    <a:pt x="2084" y="831"/>
                    <a:pt x="2084" y="825"/>
                  </a:cubicBezTo>
                  <a:cubicBezTo>
                    <a:pt x="2085" y="820"/>
                    <a:pt x="2080" y="815"/>
                    <a:pt x="2072" y="815"/>
                  </a:cubicBezTo>
                  <a:cubicBezTo>
                    <a:pt x="2072" y="815"/>
                    <a:pt x="2072" y="815"/>
                    <a:pt x="2072" y="815"/>
                  </a:cubicBezTo>
                  <a:moveTo>
                    <a:pt x="2111" y="815"/>
                  </a:moveTo>
                  <a:cubicBezTo>
                    <a:pt x="2104" y="815"/>
                    <a:pt x="2097" y="819"/>
                    <a:pt x="2096" y="825"/>
                  </a:cubicBezTo>
                  <a:cubicBezTo>
                    <a:pt x="2095" y="831"/>
                    <a:pt x="2101" y="835"/>
                    <a:pt x="2109" y="835"/>
                  </a:cubicBezTo>
                  <a:cubicBezTo>
                    <a:pt x="2116" y="835"/>
                    <a:pt x="2123" y="831"/>
                    <a:pt x="2124" y="825"/>
                  </a:cubicBezTo>
                  <a:cubicBezTo>
                    <a:pt x="2125" y="819"/>
                    <a:pt x="2119" y="815"/>
                    <a:pt x="2111" y="815"/>
                  </a:cubicBezTo>
                  <a:cubicBezTo>
                    <a:pt x="2111" y="815"/>
                    <a:pt x="2111" y="815"/>
                    <a:pt x="2111" y="815"/>
                  </a:cubicBezTo>
                  <a:moveTo>
                    <a:pt x="2151" y="815"/>
                  </a:moveTo>
                  <a:cubicBezTo>
                    <a:pt x="2143" y="815"/>
                    <a:pt x="2137" y="819"/>
                    <a:pt x="2136" y="825"/>
                  </a:cubicBezTo>
                  <a:cubicBezTo>
                    <a:pt x="2135" y="831"/>
                    <a:pt x="2141" y="835"/>
                    <a:pt x="2149" y="835"/>
                  </a:cubicBezTo>
                  <a:cubicBezTo>
                    <a:pt x="2156" y="835"/>
                    <a:pt x="2163" y="830"/>
                    <a:pt x="2164" y="825"/>
                  </a:cubicBezTo>
                  <a:cubicBezTo>
                    <a:pt x="2164" y="819"/>
                    <a:pt x="2159" y="815"/>
                    <a:pt x="2151" y="815"/>
                  </a:cubicBezTo>
                  <a:cubicBezTo>
                    <a:pt x="2151" y="815"/>
                    <a:pt x="2151" y="815"/>
                    <a:pt x="2151" y="815"/>
                  </a:cubicBezTo>
                  <a:moveTo>
                    <a:pt x="2191" y="814"/>
                  </a:moveTo>
                  <a:cubicBezTo>
                    <a:pt x="2183" y="814"/>
                    <a:pt x="2177" y="819"/>
                    <a:pt x="2176" y="825"/>
                  </a:cubicBezTo>
                  <a:cubicBezTo>
                    <a:pt x="2176" y="830"/>
                    <a:pt x="2181" y="835"/>
                    <a:pt x="2189" y="835"/>
                  </a:cubicBezTo>
                  <a:cubicBezTo>
                    <a:pt x="2197" y="835"/>
                    <a:pt x="2204" y="830"/>
                    <a:pt x="2204" y="825"/>
                  </a:cubicBezTo>
                  <a:cubicBezTo>
                    <a:pt x="2205" y="819"/>
                    <a:pt x="2199" y="814"/>
                    <a:pt x="2191" y="814"/>
                  </a:cubicBezTo>
                  <a:cubicBezTo>
                    <a:pt x="2191" y="814"/>
                    <a:pt x="2191" y="814"/>
                    <a:pt x="2191" y="814"/>
                  </a:cubicBezTo>
                  <a:moveTo>
                    <a:pt x="2231" y="814"/>
                  </a:moveTo>
                  <a:cubicBezTo>
                    <a:pt x="2223" y="814"/>
                    <a:pt x="2216" y="819"/>
                    <a:pt x="2216" y="825"/>
                  </a:cubicBezTo>
                  <a:cubicBezTo>
                    <a:pt x="2215" y="830"/>
                    <a:pt x="2221" y="835"/>
                    <a:pt x="2229" y="835"/>
                  </a:cubicBezTo>
                  <a:cubicBezTo>
                    <a:pt x="2236" y="835"/>
                    <a:pt x="2243" y="830"/>
                    <a:pt x="2244" y="824"/>
                  </a:cubicBezTo>
                  <a:cubicBezTo>
                    <a:pt x="2244" y="819"/>
                    <a:pt x="2238" y="814"/>
                    <a:pt x="2231" y="814"/>
                  </a:cubicBezTo>
                  <a:cubicBezTo>
                    <a:pt x="2231" y="814"/>
                    <a:pt x="2231" y="814"/>
                    <a:pt x="2231" y="814"/>
                  </a:cubicBezTo>
                  <a:moveTo>
                    <a:pt x="2270" y="814"/>
                  </a:moveTo>
                  <a:cubicBezTo>
                    <a:pt x="2263" y="814"/>
                    <a:pt x="2256" y="819"/>
                    <a:pt x="2256" y="824"/>
                  </a:cubicBezTo>
                  <a:cubicBezTo>
                    <a:pt x="2255" y="830"/>
                    <a:pt x="2261" y="835"/>
                    <a:pt x="2269" y="834"/>
                  </a:cubicBezTo>
                  <a:cubicBezTo>
                    <a:pt x="2276" y="834"/>
                    <a:pt x="2283" y="830"/>
                    <a:pt x="2283" y="824"/>
                  </a:cubicBezTo>
                  <a:cubicBezTo>
                    <a:pt x="2284" y="819"/>
                    <a:pt x="2278" y="814"/>
                    <a:pt x="2270" y="814"/>
                  </a:cubicBezTo>
                  <a:cubicBezTo>
                    <a:pt x="2270" y="814"/>
                    <a:pt x="2270" y="814"/>
                    <a:pt x="2270" y="814"/>
                  </a:cubicBezTo>
                  <a:moveTo>
                    <a:pt x="2310" y="814"/>
                  </a:moveTo>
                  <a:cubicBezTo>
                    <a:pt x="2302" y="814"/>
                    <a:pt x="2295" y="819"/>
                    <a:pt x="2295" y="824"/>
                  </a:cubicBezTo>
                  <a:cubicBezTo>
                    <a:pt x="2295" y="830"/>
                    <a:pt x="2301" y="834"/>
                    <a:pt x="2308" y="834"/>
                  </a:cubicBezTo>
                  <a:cubicBezTo>
                    <a:pt x="2316" y="834"/>
                    <a:pt x="2323" y="830"/>
                    <a:pt x="2323" y="824"/>
                  </a:cubicBezTo>
                  <a:cubicBezTo>
                    <a:pt x="2323" y="818"/>
                    <a:pt x="2317" y="814"/>
                    <a:pt x="2310" y="814"/>
                  </a:cubicBezTo>
                  <a:cubicBezTo>
                    <a:pt x="2310" y="814"/>
                    <a:pt x="2310" y="814"/>
                    <a:pt x="2310" y="814"/>
                  </a:cubicBezTo>
                  <a:moveTo>
                    <a:pt x="2349" y="814"/>
                  </a:moveTo>
                  <a:cubicBezTo>
                    <a:pt x="2342" y="814"/>
                    <a:pt x="2335" y="818"/>
                    <a:pt x="2335" y="824"/>
                  </a:cubicBezTo>
                  <a:cubicBezTo>
                    <a:pt x="2335" y="830"/>
                    <a:pt x="2341" y="834"/>
                    <a:pt x="2348" y="834"/>
                  </a:cubicBezTo>
                  <a:cubicBezTo>
                    <a:pt x="2356" y="834"/>
                    <a:pt x="2363" y="829"/>
                    <a:pt x="2363" y="824"/>
                  </a:cubicBezTo>
                  <a:cubicBezTo>
                    <a:pt x="2363" y="818"/>
                    <a:pt x="2357" y="814"/>
                    <a:pt x="2349" y="814"/>
                  </a:cubicBezTo>
                  <a:cubicBezTo>
                    <a:pt x="2349" y="814"/>
                    <a:pt x="2349" y="814"/>
                    <a:pt x="2349" y="814"/>
                  </a:cubicBezTo>
                  <a:moveTo>
                    <a:pt x="2389" y="814"/>
                  </a:moveTo>
                  <a:cubicBezTo>
                    <a:pt x="2382" y="814"/>
                    <a:pt x="2375" y="818"/>
                    <a:pt x="2375" y="824"/>
                  </a:cubicBezTo>
                  <a:cubicBezTo>
                    <a:pt x="2375" y="829"/>
                    <a:pt x="2381" y="834"/>
                    <a:pt x="2389" y="834"/>
                  </a:cubicBezTo>
                  <a:cubicBezTo>
                    <a:pt x="2397" y="834"/>
                    <a:pt x="2403" y="829"/>
                    <a:pt x="2403" y="824"/>
                  </a:cubicBezTo>
                  <a:cubicBezTo>
                    <a:pt x="2403" y="818"/>
                    <a:pt x="2397" y="814"/>
                    <a:pt x="2390" y="814"/>
                  </a:cubicBezTo>
                  <a:cubicBezTo>
                    <a:pt x="2389" y="814"/>
                    <a:pt x="2389" y="814"/>
                    <a:pt x="2389" y="814"/>
                  </a:cubicBezTo>
                  <a:moveTo>
                    <a:pt x="2429" y="813"/>
                  </a:moveTo>
                  <a:cubicBezTo>
                    <a:pt x="2421" y="813"/>
                    <a:pt x="2415" y="818"/>
                    <a:pt x="2415" y="824"/>
                  </a:cubicBezTo>
                  <a:cubicBezTo>
                    <a:pt x="2415" y="829"/>
                    <a:pt x="2421" y="834"/>
                    <a:pt x="2428" y="834"/>
                  </a:cubicBezTo>
                  <a:cubicBezTo>
                    <a:pt x="2436" y="834"/>
                    <a:pt x="2443" y="829"/>
                    <a:pt x="2443" y="823"/>
                  </a:cubicBezTo>
                  <a:cubicBezTo>
                    <a:pt x="2443" y="818"/>
                    <a:pt x="2437" y="813"/>
                    <a:pt x="2429" y="813"/>
                  </a:cubicBezTo>
                  <a:cubicBezTo>
                    <a:pt x="2429" y="813"/>
                    <a:pt x="2429" y="813"/>
                    <a:pt x="2429" y="813"/>
                  </a:cubicBezTo>
                  <a:moveTo>
                    <a:pt x="2468" y="813"/>
                  </a:moveTo>
                  <a:cubicBezTo>
                    <a:pt x="2461" y="813"/>
                    <a:pt x="2455" y="818"/>
                    <a:pt x="2454" y="823"/>
                  </a:cubicBezTo>
                  <a:cubicBezTo>
                    <a:pt x="2454" y="829"/>
                    <a:pt x="2461" y="834"/>
                    <a:pt x="2468" y="834"/>
                  </a:cubicBezTo>
                  <a:cubicBezTo>
                    <a:pt x="2476" y="834"/>
                    <a:pt x="2482" y="829"/>
                    <a:pt x="2482" y="823"/>
                  </a:cubicBezTo>
                  <a:cubicBezTo>
                    <a:pt x="2482" y="818"/>
                    <a:pt x="2476" y="813"/>
                    <a:pt x="2469" y="813"/>
                  </a:cubicBezTo>
                  <a:cubicBezTo>
                    <a:pt x="2469" y="813"/>
                    <a:pt x="2469" y="813"/>
                    <a:pt x="2468" y="813"/>
                  </a:cubicBezTo>
                  <a:moveTo>
                    <a:pt x="2508" y="813"/>
                  </a:moveTo>
                  <a:cubicBezTo>
                    <a:pt x="2500" y="813"/>
                    <a:pt x="2494" y="818"/>
                    <a:pt x="2494" y="823"/>
                  </a:cubicBezTo>
                  <a:cubicBezTo>
                    <a:pt x="2494" y="829"/>
                    <a:pt x="2500" y="833"/>
                    <a:pt x="2508" y="833"/>
                  </a:cubicBezTo>
                  <a:cubicBezTo>
                    <a:pt x="2516" y="833"/>
                    <a:pt x="2522" y="829"/>
                    <a:pt x="2522" y="823"/>
                  </a:cubicBezTo>
                  <a:cubicBezTo>
                    <a:pt x="2522" y="817"/>
                    <a:pt x="2516" y="813"/>
                    <a:pt x="2508" y="813"/>
                  </a:cubicBezTo>
                  <a:cubicBezTo>
                    <a:pt x="2508" y="813"/>
                    <a:pt x="2508" y="813"/>
                    <a:pt x="2508" y="813"/>
                  </a:cubicBezTo>
                  <a:moveTo>
                    <a:pt x="2826" y="813"/>
                  </a:moveTo>
                  <a:cubicBezTo>
                    <a:pt x="2818" y="813"/>
                    <a:pt x="2812" y="818"/>
                    <a:pt x="2813" y="823"/>
                  </a:cubicBezTo>
                  <a:cubicBezTo>
                    <a:pt x="2813" y="829"/>
                    <a:pt x="2820" y="833"/>
                    <a:pt x="2828" y="833"/>
                  </a:cubicBezTo>
                  <a:cubicBezTo>
                    <a:pt x="2836" y="833"/>
                    <a:pt x="2841" y="829"/>
                    <a:pt x="2841" y="823"/>
                  </a:cubicBezTo>
                  <a:cubicBezTo>
                    <a:pt x="2840" y="817"/>
                    <a:pt x="2833" y="813"/>
                    <a:pt x="2826" y="813"/>
                  </a:cubicBezTo>
                  <a:cubicBezTo>
                    <a:pt x="2826" y="813"/>
                    <a:pt x="2826" y="813"/>
                    <a:pt x="2826" y="813"/>
                  </a:cubicBezTo>
                  <a:moveTo>
                    <a:pt x="2548" y="813"/>
                  </a:moveTo>
                  <a:cubicBezTo>
                    <a:pt x="2540" y="813"/>
                    <a:pt x="2534" y="817"/>
                    <a:pt x="2534" y="823"/>
                  </a:cubicBezTo>
                  <a:cubicBezTo>
                    <a:pt x="2534" y="829"/>
                    <a:pt x="2540" y="833"/>
                    <a:pt x="2548" y="833"/>
                  </a:cubicBezTo>
                  <a:cubicBezTo>
                    <a:pt x="2556" y="833"/>
                    <a:pt x="2562" y="829"/>
                    <a:pt x="2562" y="823"/>
                  </a:cubicBezTo>
                  <a:cubicBezTo>
                    <a:pt x="2562" y="817"/>
                    <a:pt x="2555" y="813"/>
                    <a:pt x="2548" y="813"/>
                  </a:cubicBezTo>
                  <a:cubicBezTo>
                    <a:pt x="2548" y="813"/>
                    <a:pt x="2548" y="813"/>
                    <a:pt x="2548" y="813"/>
                  </a:cubicBezTo>
                  <a:moveTo>
                    <a:pt x="2588" y="813"/>
                  </a:moveTo>
                  <a:cubicBezTo>
                    <a:pt x="2580" y="813"/>
                    <a:pt x="2574" y="817"/>
                    <a:pt x="2574" y="823"/>
                  </a:cubicBezTo>
                  <a:cubicBezTo>
                    <a:pt x="2574" y="829"/>
                    <a:pt x="2581" y="833"/>
                    <a:pt x="2588" y="833"/>
                  </a:cubicBezTo>
                  <a:cubicBezTo>
                    <a:pt x="2596" y="833"/>
                    <a:pt x="2602" y="828"/>
                    <a:pt x="2602" y="823"/>
                  </a:cubicBezTo>
                  <a:cubicBezTo>
                    <a:pt x="2602" y="817"/>
                    <a:pt x="2595" y="813"/>
                    <a:pt x="2588" y="813"/>
                  </a:cubicBezTo>
                  <a:cubicBezTo>
                    <a:pt x="2588" y="813"/>
                    <a:pt x="2588" y="813"/>
                    <a:pt x="2588" y="813"/>
                  </a:cubicBezTo>
                  <a:moveTo>
                    <a:pt x="2904" y="813"/>
                  </a:moveTo>
                  <a:cubicBezTo>
                    <a:pt x="2897" y="813"/>
                    <a:pt x="2891" y="817"/>
                    <a:pt x="2892" y="823"/>
                  </a:cubicBezTo>
                  <a:cubicBezTo>
                    <a:pt x="2893" y="829"/>
                    <a:pt x="2900" y="833"/>
                    <a:pt x="2907" y="833"/>
                  </a:cubicBezTo>
                  <a:cubicBezTo>
                    <a:pt x="2915" y="833"/>
                    <a:pt x="2921" y="828"/>
                    <a:pt x="2920" y="823"/>
                  </a:cubicBezTo>
                  <a:cubicBezTo>
                    <a:pt x="2919" y="817"/>
                    <a:pt x="2912" y="813"/>
                    <a:pt x="2905" y="813"/>
                  </a:cubicBezTo>
                  <a:cubicBezTo>
                    <a:pt x="2905" y="813"/>
                    <a:pt x="2904" y="813"/>
                    <a:pt x="2904" y="813"/>
                  </a:cubicBezTo>
                  <a:moveTo>
                    <a:pt x="2863" y="813"/>
                  </a:moveTo>
                  <a:cubicBezTo>
                    <a:pt x="2855" y="813"/>
                    <a:pt x="2850" y="817"/>
                    <a:pt x="2850" y="823"/>
                  </a:cubicBezTo>
                  <a:cubicBezTo>
                    <a:pt x="2851" y="828"/>
                    <a:pt x="2858" y="833"/>
                    <a:pt x="2865" y="833"/>
                  </a:cubicBezTo>
                  <a:cubicBezTo>
                    <a:pt x="2873" y="833"/>
                    <a:pt x="2879" y="828"/>
                    <a:pt x="2878" y="823"/>
                  </a:cubicBezTo>
                  <a:cubicBezTo>
                    <a:pt x="2877" y="817"/>
                    <a:pt x="2871" y="813"/>
                    <a:pt x="2863" y="813"/>
                  </a:cubicBezTo>
                  <a:cubicBezTo>
                    <a:pt x="2863" y="813"/>
                    <a:pt x="2863" y="813"/>
                    <a:pt x="2863" y="813"/>
                  </a:cubicBezTo>
                  <a:moveTo>
                    <a:pt x="2627" y="812"/>
                  </a:moveTo>
                  <a:cubicBezTo>
                    <a:pt x="2619" y="812"/>
                    <a:pt x="2613" y="817"/>
                    <a:pt x="2614" y="823"/>
                  </a:cubicBezTo>
                  <a:cubicBezTo>
                    <a:pt x="2614" y="828"/>
                    <a:pt x="2620" y="833"/>
                    <a:pt x="2628" y="833"/>
                  </a:cubicBezTo>
                  <a:cubicBezTo>
                    <a:pt x="2636" y="833"/>
                    <a:pt x="2642" y="828"/>
                    <a:pt x="2641" y="823"/>
                  </a:cubicBezTo>
                  <a:cubicBezTo>
                    <a:pt x="2641" y="817"/>
                    <a:pt x="2635" y="812"/>
                    <a:pt x="2627" y="812"/>
                  </a:cubicBezTo>
                  <a:cubicBezTo>
                    <a:pt x="2627" y="812"/>
                    <a:pt x="2627" y="812"/>
                    <a:pt x="2627" y="812"/>
                  </a:cubicBezTo>
                  <a:moveTo>
                    <a:pt x="2985" y="812"/>
                  </a:moveTo>
                  <a:cubicBezTo>
                    <a:pt x="2977" y="812"/>
                    <a:pt x="2972" y="817"/>
                    <a:pt x="2973" y="823"/>
                  </a:cubicBezTo>
                  <a:cubicBezTo>
                    <a:pt x="2974" y="828"/>
                    <a:pt x="2981" y="833"/>
                    <a:pt x="2989" y="833"/>
                  </a:cubicBezTo>
                  <a:cubicBezTo>
                    <a:pt x="2996" y="833"/>
                    <a:pt x="3002" y="828"/>
                    <a:pt x="3001" y="822"/>
                  </a:cubicBezTo>
                  <a:cubicBezTo>
                    <a:pt x="3000" y="817"/>
                    <a:pt x="2993" y="812"/>
                    <a:pt x="2985" y="812"/>
                  </a:cubicBezTo>
                  <a:cubicBezTo>
                    <a:pt x="2985" y="812"/>
                    <a:pt x="2985" y="812"/>
                    <a:pt x="2985" y="812"/>
                  </a:cubicBezTo>
                  <a:moveTo>
                    <a:pt x="2942" y="812"/>
                  </a:moveTo>
                  <a:cubicBezTo>
                    <a:pt x="2934" y="812"/>
                    <a:pt x="2929" y="817"/>
                    <a:pt x="2929" y="822"/>
                  </a:cubicBezTo>
                  <a:cubicBezTo>
                    <a:pt x="2930" y="828"/>
                    <a:pt x="2937" y="833"/>
                    <a:pt x="2945" y="833"/>
                  </a:cubicBezTo>
                  <a:cubicBezTo>
                    <a:pt x="2953" y="833"/>
                    <a:pt x="2958" y="828"/>
                    <a:pt x="2957" y="822"/>
                  </a:cubicBezTo>
                  <a:cubicBezTo>
                    <a:pt x="2956" y="817"/>
                    <a:pt x="2949" y="812"/>
                    <a:pt x="2942" y="812"/>
                  </a:cubicBezTo>
                  <a:cubicBezTo>
                    <a:pt x="2942" y="812"/>
                    <a:pt x="2942" y="812"/>
                    <a:pt x="2942" y="812"/>
                  </a:cubicBezTo>
                  <a:moveTo>
                    <a:pt x="3022" y="812"/>
                  </a:moveTo>
                  <a:cubicBezTo>
                    <a:pt x="3015" y="812"/>
                    <a:pt x="3009" y="816"/>
                    <a:pt x="3010" y="822"/>
                  </a:cubicBezTo>
                  <a:cubicBezTo>
                    <a:pt x="3011" y="828"/>
                    <a:pt x="3018" y="832"/>
                    <a:pt x="3026" y="832"/>
                  </a:cubicBezTo>
                  <a:cubicBezTo>
                    <a:pt x="3034" y="832"/>
                    <a:pt x="3039" y="828"/>
                    <a:pt x="3038" y="822"/>
                  </a:cubicBezTo>
                  <a:cubicBezTo>
                    <a:pt x="3037" y="816"/>
                    <a:pt x="3030" y="812"/>
                    <a:pt x="3022" y="812"/>
                  </a:cubicBezTo>
                  <a:cubicBezTo>
                    <a:pt x="3022" y="812"/>
                    <a:pt x="3022" y="812"/>
                    <a:pt x="3022" y="812"/>
                  </a:cubicBezTo>
                  <a:moveTo>
                    <a:pt x="2707" y="810"/>
                  </a:moveTo>
                  <a:cubicBezTo>
                    <a:pt x="2699" y="810"/>
                    <a:pt x="2693" y="815"/>
                    <a:pt x="2693" y="820"/>
                  </a:cubicBezTo>
                  <a:cubicBezTo>
                    <a:pt x="2694" y="826"/>
                    <a:pt x="2700" y="831"/>
                    <a:pt x="2708" y="831"/>
                  </a:cubicBezTo>
                  <a:cubicBezTo>
                    <a:pt x="2716" y="831"/>
                    <a:pt x="2722" y="826"/>
                    <a:pt x="2721" y="820"/>
                  </a:cubicBezTo>
                  <a:cubicBezTo>
                    <a:pt x="2721" y="815"/>
                    <a:pt x="2714" y="810"/>
                    <a:pt x="2707" y="810"/>
                  </a:cubicBezTo>
                  <a:cubicBezTo>
                    <a:pt x="2707" y="810"/>
                    <a:pt x="2707" y="810"/>
                    <a:pt x="2707" y="810"/>
                  </a:cubicBezTo>
                  <a:moveTo>
                    <a:pt x="3260" y="810"/>
                  </a:moveTo>
                  <a:cubicBezTo>
                    <a:pt x="3252" y="810"/>
                    <a:pt x="3247" y="815"/>
                    <a:pt x="3249" y="820"/>
                  </a:cubicBezTo>
                  <a:cubicBezTo>
                    <a:pt x="3250" y="826"/>
                    <a:pt x="3258" y="831"/>
                    <a:pt x="3265" y="831"/>
                  </a:cubicBezTo>
                  <a:cubicBezTo>
                    <a:pt x="3273" y="830"/>
                    <a:pt x="3278" y="826"/>
                    <a:pt x="3277" y="820"/>
                  </a:cubicBezTo>
                  <a:cubicBezTo>
                    <a:pt x="3275" y="815"/>
                    <a:pt x="3268" y="810"/>
                    <a:pt x="3260" y="810"/>
                  </a:cubicBezTo>
                  <a:cubicBezTo>
                    <a:pt x="3260" y="810"/>
                    <a:pt x="3260" y="810"/>
                    <a:pt x="3260" y="810"/>
                  </a:cubicBezTo>
                  <a:moveTo>
                    <a:pt x="2746" y="810"/>
                  </a:moveTo>
                  <a:cubicBezTo>
                    <a:pt x="2738" y="810"/>
                    <a:pt x="2732" y="815"/>
                    <a:pt x="2733" y="820"/>
                  </a:cubicBezTo>
                  <a:cubicBezTo>
                    <a:pt x="2733" y="826"/>
                    <a:pt x="2740" y="830"/>
                    <a:pt x="2748" y="830"/>
                  </a:cubicBezTo>
                  <a:cubicBezTo>
                    <a:pt x="2755" y="830"/>
                    <a:pt x="2761" y="826"/>
                    <a:pt x="2761" y="820"/>
                  </a:cubicBezTo>
                  <a:cubicBezTo>
                    <a:pt x="2760" y="814"/>
                    <a:pt x="2754" y="810"/>
                    <a:pt x="2746" y="810"/>
                  </a:cubicBezTo>
                  <a:cubicBezTo>
                    <a:pt x="2746" y="810"/>
                    <a:pt x="2746" y="810"/>
                    <a:pt x="2746" y="810"/>
                  </a:cubicBezTo>
                  <a:moveTo>
                    <a:pt x="3300" y="810"/>
                  </a:moveTo>
                  <a:cubicBezTo>
                    <a:pt x="3292" y="810"/>
                    <a:pt x="3287" y="814"/>
                    <a:pt x="3289" y="820"/>
                  </a:cubicBezTo>
                  <a:cubicBezTo>
                    <a:pt x="3290" y="826"/>
                    <a:pt x="3298" y="830"/>
                    <a:pt x="3305" y="830"/>
                  </a:cubicBezTo>
                  <a:cubicBezTo>
                    <a:pt x="3313" y="830"/>
                    <a:pt x="3318" y="826"/>
                    <a:pt x="3317" y="820"/>
                  </a:cubicBezTo>
                  <a:cubicBezTo>
                    <a:pt x="3315" y="814"/>
                    <a:pt x="3307" y="810"/>
                    <a:pt x="3300" y="810"/>
                  </a:cubicBezTo>
                  <a:cubicBezTo>
                    <a:pt x="3300" y="810"/>
                    <a:pt x="3300" y="810"/>
                    <a:pt x="3300" y="810"/>
                  </a:cubicBezTo>
                  <a:moveTo>
                    <a:pt x="2786" y="810"/>
                  </a:moveTo>
                  <a:cubicBezTo>
                    <a:pt x="2778" y="810"/>
                    <a:pt x="2772" y="814"/>
                    <a:pt x="2773" y="820"/>
                  </a:cubicBezTo>
                  <a:cubicBezTo>
                    <a:pt x="2773" y="826"/>
                    <a:pt x="2780" y="830"/>
                    <a:pt x="2788" y="830"/>
                  </a:cubicBezTo>
                  <a:cubicBezTo>
                    <a:pt x="2795" y="830"/>
                    <a:pt x="2801" y="826"/>
                    <a:pt x="2801" y="820"/>
                  </a:cubicBezTo>
                  <a:cubicBezTo>
                    <a:pt x="2800" y="814"/>
                    <a:pt x="2793" y="810"/>
                    <a:pt x="2786" y="810"/>
                  </a:cubicBezTo>
                  <a:cubicBezTo>
                    <a:pt x="2786" y="810"/>
                    <a:pt x="2786" y="810"/>
                    <a:pt x="2786" y="810"/>
                  </a:cubicBezTo>
                  <a:moveTo>
                    <a:pt x="3340" y="810"/>
                  </a:moveTo>
                  <a:cubicBezTo>
                    <a:pt x="3332" y="810"/>
                    <a:pt x="3327" y="814"/>
                    <a:pt x="3329" y="820"/>
                  </a:cubicBezTo>
                  <a:cubicBezTo>
                    <a:pt x="3331" y="826"/>
                    <a:pt x="3338" y="830"/>
                    <a:pt x="3346" y="830"/>
                  </a:cubicBezTo>
                  <a:cubicBezTo>
                    <a:pt x="3353" y="830"/>
                    <a:pt x="3358" y="826"/>
                    <a:pt x="3357" y="820"/>
                  </a:cubicBezTo>
                  <a:cubicBezTo>
                    <a:pt x="3355" y="814"/>
                    <a:pt x="3347" y="810"/>
                    <a:pt x="3340" y="810"/>
                  </a:cubicBezTo>
                  <a:cubicBezTo>
                    <a:pt x="3340" y="810"/>
                    <a:pt x="3340" y="810"/>
                    <a:pt x="3340" y="810"/>
                  </a:cubicBezTo>
                  <a:moveTo>
                    <a:pt x="3379" y="809"/>
                  </a:moveTo>
                  <a:cubicBezTo>
                    <a:pt x="3371" y="809"/>
                    <a:pt x="3366" y="814"/>
                    <a:pt x="3368" y="820"/>
                  </a:cubicBezTo>
                  <a:cubicBezTo>
                    <a:pt x="3370" y="825"/>
                    <a:pt x="3377" y="830"/>
                    <a:pt x="3385" y="830"/>
                  </a:cubicBezTo>
                  <a:cubicBezTo>
                    <a:pt x="3393" y="830"/>
                    <a:pt x="3398" y="825"/>
                    <a:pt x="3396" y="820"/>
                  </a:cubicBezTo>
                  <a:cubicBezTo>
                    <a:pt x="3394" y="814"/>
                    <a:pt x="3387" y="809"/>
                    <a:pt x="3379" y="809"/>
                  </a:cubicBezTo>
                  <a:cubicBezTo>
                    <a:pt x="3379" y="809"/>
                    <a:pt x="3379" y="809"/>
                    <a:pt x="3379" y="809"/>
                  </a:cubicBezTo>
                  <a:moveTo>
                    <a:pt x="3418" y="809"/>
                  </a:moveTo>
                  <a:cubicBezTo>
                    <a:pt x="3411" y="809"/>
                    <a:pt x="3406" y="814"/>
                    <a:pt x="3408" y="820"/>
                  </a:cubicBezTo>
                  <a:cubicBezTo>
                    <a:pt x="3409" y="825"/>
                    <a:pt x="3417" y="830"/>
                    <a:pt x="3425" y="830"/>
                  </a:cubicBezTo>
                  <a:cubicBezTo>
                    <a:pt x="3432" y="830"/>
                    <a:pt x="3437" y="825"/>
                    <a:pt x="3435" y="819"/>
                  </a:cubicBezTo>
                  <a:cubicBezTo>
                    <a:pt x="3434" y="814"/>
                    <a:pt x="3426" y="809"/>
                    <a:pt x="3418" y="809"/>
                  </a:cubicBezTo>
                  <a:cubicBezTo>
                    <a:pt x="3418" y="809"/>
                    <a:pt x="3418" y="809"/>
                    <a:pt x="3418" y="809"/>
                  </a:cubicBezTo>
                  <a:moveTo>
                    <a:pt x="3458" y="809"/>
                  </a:moveTo>
                  <a:cubicBezTo>
                    <a:pt x="3450" y="809"/>
                    <a:pt x="3445" y="814"/>
                    <a:pt x="3447" y="819"/>
                  </a:cubicBezTo>
                  <a:cubicBezTo>
                    <a:pt x="3449" y="825"/>
                    <a:pt x="3457" y="830"/>
                    <a:pt x="3465" y="830"/>
                  </a:cubicBezTo>
                  <a:cubicBezTo>
                    <a:pt x="3472" y="830"/>
                    <a:pt x="3477" y="825"/>
                    <a:pt x="3475" y="819"/>
                  </a:cubicBezTo>
                  <a:cubicBezTo>
                    <a:pt x="3473" y="814"/>
                    <a:pt x="3466" y="809"/>
                    <a:pt x="3458" y="809"/>
                  </a:cubicBezTo>
                  <a:cubicBezTo>
                    <a:pt x="3458" y="809"/>
                    <a:pt x="3458" y="809"/>
                    <a:pt x="3458" y="809"/>
                  </a:cubicBezTo>
                  <a:moveTo>
                    <a:pt x="3498" y="809"/>
                  </a:moveTo>
                  <a:cubicBezTo>
                    <a:pt x="3490" y="809"/>
                    <a:pt x="3486" y="814"/>
                    <a:pt x="3488" y="819"/>
                  </a:cubicBezTo>
                  <a:cubicBezTo>
                    <a:pt x="3489" y="825"/>
                    <a:pt x="3497" y="829"/>
                    <a:pt x="3505" y="829"/>
                  </a:cubicBezTo>
                  <a:cubicBezTo>
                    <a:pt x="3513" y="829"/>
                    <a:pt x="3517" y="825"/>
                    <a:pt x="3515" y="819"/>
                  </a:cubicBezTo>
                  <a:cubicBezTo>
                    <a:pt x="3513" y="813"/>
                    <a:pt x="3506" y="809"/>
                    <a:pt x="3498" y="809"/>
                  </a:cubicBezTo>
                  <a:cubicBezTo>
                    <a:pt x="3498" y="809"/>
                    <a:pt x="3498" y="809"/>
                    <a:pt x="3498" y="809"/>
                  </a:cubicBezTo>
                  <a:moveTo>
                    <a:pt x="3537" y="809"/>
                  </a:moveTo>
                  <a:cubicBezTo>
                    <a:pt x="3530" y="809"/>
                    <a:pt x="3525" y="813"/>
                    <a:pt x="3527" y="819"/>
                  </a:cubicBezTo>
                  <a:cubicBezTo>
                    <a:pt x="3529" y="825"/>
                    <a:pt x="3537" y="829"/>
                    <a:pt x="3545" y="829"/>
                  </a:cubicBezTo>
                  <a:cubicBezTo>
                    <a:pt x="3552" y="829"/>
                    <a:pt x="3557" y="825"/>
                    <a:pt x="3555" y="819"/>
                  </a:cubicBezTo>
                  <a:cubicBezTo>
                    <a:pt x="3553" y="813"/>
                    <a:pt x="3545" y="809"/>
                    <a:pt x="3537" y="809"/>
                  </a:cubicBezTo>
                  <a:cubicBezTo>
                    <a:pt x="3537" y="809"/>
                    <a:pt x="3537" y="809"/>
                    <a:pt x="3537" y="809"/>
                  </a:cubicBezTo>
                  <a:moveTo>
                    <a:pt x="3656" y="808"/>
                  </a:moveTo>
                  <a:cubicBezTo>
                    <a:pt x="3648" y="808"/>
                    <a:pt x="3644" y="813"/>
                    <a:pt x="3646" y="819"/>
                  </a:cubicBezTo>
                  <a:cubicBezTo>
                    <a:pt x="3648" y="824"/>
                    <a:pt x="3656" y="829"/>
                    <a:pt x="3664" y="829"/>
                  </a:cubicBezTo>
                  <a:cubicBezTo>
                    <a:pt x="3672" y="829"/>
                    <a:pt x="3676" y="824"/>
                    <a:pt x="3674" y="818"/>
                  </a:cubicBezTo>
                  <a:cubicBezTo>
                    <a:pt x="3672" y="813"/>
                    <a:pt x="3664" y="808"/>
                    <a:pt x="3656" y="808"/>
                  </a:cubicBezTo>
                  <a:cubicBezTo>
                    <a:pt x="3656" y="808"/>
                    <a:pt x="3656" y="808"/>
                    <a:pt x="3656" y="808"/>
                  </a:cubicBezTo>
                  <a:moveTo>
                    <a:pt x="3696" y="808"/>
                  </a:moveTo>
                  <a:cubicBezTo>
                    <a:pt x="3688" y="808"/>
                    <a:pt x="3684" y="813"/>
                    <a:pt x="3686" y="818"/>
                  </a:cubicBezTo>
                  <a:cubicBezTo>
                    <a:pt x="3689" y="824"/>
                    <a:pt x="3697" y="829"/>
                    <a:pt x="3704" y="829"/>
                  </a:cubicBezTo>
                  <a:cubicBezTo>
                    <a:pt x="3712" y="829"/>
                    <a:pt x="3716" y="824"/>
                    <a:pt x="3714" y="818"/>
                  </a:cubicBezTo>
                  <a:cubicBezTo>
                    <a:pt x="3712" y="813"/>
                    <a:pt x="3704" y="808"/>
                    <a:pt x="3696" y="808"/>
                  </a:cubicBezTo>
                  <a:cubicBezTo>
                    <a:pt x="3696" y="808"/>
                    <a:pt x="3696" y="808"/>
                    <a:pt x="3696" y="808"/>
                  </a:cubicBezTo>
                  <a:moveTo>
                    <a:pt x="3735" y="807"/>
                  </a:moveTo>
                  <a:cubicBezTo>
                    <a:pt x="3727" y="807"/>
                    <a:pt x="3723" y="811"/>
                    <a:pt x="3725" y="817"/>
                  </a:cubicBezTo>
                  <a:cubicBezTo>
                    <a:pt x="3728" y="823"/>
                    <a:pt x="3736" y="827"/>
                    <a:pt x="3744" y="827"/>
                  </a:cubicBezTo>
                  <a:cubicBezTo>
                    <a:pt x="3751" y="827"/>
                    <a:pt x="3756" y="823"/>
                    <a:pt x="3753" y="817"/>
                  </a:cubicBezTo>
                  <a:cubicBezTo>
                    <a:pt x="3751" y="811"/>
                    <a:pt x="3743" y="807"/>
                    <a:pt x="3735" y="807"/>
                  </a:cubicBezTo>
                  <a:cubicBezTo>
                    <a:pt x="3735" y="807"/>
                    <a:pt x="3735" y="807"/>
                    <a:pt x="3735" y="807"/>
                  </a:cubicBezTo>
                  <a:moveTo>
                    <a:pt x="3774" y="806"/>
                  </a:moveTo>
                  <a:cubicBezTo>
                    <a:pt x="3767" y="807"/>
                    <a:pt x="3762" y="811"/>
                    <a:pt x="3765" y="817"/>
                  </a:cubicBezTo>
                  <a:cubicBezTo>
                    <a:pt x="3767" y="823"/>
                    <a:pt x="3776" y="827"/>
                    <a:pt x="3783" y="827"/>
                  </a:cubicBezTo>
                  <a:cubicBezTo>
                    <a:pt x="3791" y="827"/>
                    <a:pt x="3795" y="822"/>
                    <a:pt x="3793" y="817"/>
                  </a:cubicBezTo>
                  <a:cubicBezTo>
                    <a:pt x="3790" y="811"/>
                    <a:pt x="3782" y="806"/>
                    <a:pt x="3774" y="806"/>
                  </a:cubicBezTo>
                  <a:cubicBezTo>
                    <a:pt x="3774" y="806"/>
                    <a:pt x="3774" y="806"/>
                    <a:pt x="3774" y="806"/>
                  </a:cubicBezTo>
                  <a:moveTo>
                    <a:pt x="3814" y="806"/>
                  </a:moveTo>
                  <a:cubicBezTo>
                    <a:pt x="3806" y="806"/>
                    <a:pt x="3802" y="811"/>
                    <a:pt x="3805" y="817"/>
                  </a:cubicBezTo>
                  <a:cubicBezTo>
                    <a:pt x="3807" y="822"/>
                    <a:pt x="3815" y="827"/>
                    <a:pt x="3823" y="827"/>
                  </a:cubicBezTo>
                  <a:cubicBezTo>
                    <a:pt x="3831" y="827"/>
                    <a:pt x="3835" y="822"/>
                    <a:pt x="3832" y="817"/>
                  </a:cubicBezTo>
                  <a:cubicBezTo>
                    <a:pt x="3830" y="811"/>
                    <a:pt x="3822" y="806"/>
                    <a:pt x="3814" y="806"/>
                  </a:cubicBezTo>
                  <a:cubicBezTo>
                    <a:pt x="3814" y="806"/>
                    <a:pt x="3814" y="806"/>
                    <a:pt x="3814" y="806"/>
                  </a:cubicBezTo>
                  <a:moveTo>
                    <a:pt x="3856" y="806"/>
                  </a:moveTo>
                  <a:cubicBezTo>
                    <a:pt x="3848" y="806"/>
                    <a:pt x="3844" y="811"/>
                    <a:pt x="3847" y="816"/>
                  </a:cubicBezTo>
                  <a:cubicBezTo>
                    <a:pt x="3849" y="822"/>
                    <a:pt x="3858" y="827"/>
                    <a:pt x="3866" y="827"/>
                  </a:cubicBezTo>
                  <a:cubicBezTo>
                    <a:pt x="3873" y="827"/>
                    <a:pt x="3877" y="822"/>
                    <a:pt x="3875" y="816"/>
                  </a:cubicBezTo>
                  <a:cubicBezTo>
                    <a:pt x="3872" y="811"/>
                    <a:pt x="3864" y="806"/>
                    <a:pt x="3856" y="806"/>
                  </a:cubicBezTo>
                  <a:cubicBezTo>
                    <a:pt x="3856" y="806"/>
                    <a:pt x="3856" y="806"/>
                    <a:pt x="3856" y="806"/>
                  </a:cubicBezTo>
                  <a:moveTo>
                    <a:pt x="3895" y="806"/>
                  </a:moveTo>
                  <a:cubicBezTo>
                    <a:pt x="3887" y="806"/>
                    <a:pt x="3883" y="811"/>
                    <a:pt x="3886" y="816"/>
                  </a:cubicBezTo>
                  <a:cubicBezTo>
                    <a:pt x="3889" y="822"/>
                    <a:pt x="3897" y="827"/>
                    <a:pt x="3905" y="827"/>
                  </a:cubicBezTo>
                  <a:cubicBezTo>
                    <a:pt x="3912" y="826"/>
                    <a:pt x="3916" y="822"/>
                    <a:pt x="3914" y="816"/>
                  </a:cubicBezTo>
                  <a:cubicBezTo>
                    <a:pt x="3911" y="811"/>
                    <a:pt x="3903" y="806"/>
                    <a:pt x="3895" y="806"/>
                  </a:cubicBezTo>
                  <a:cubicBezTo>
                    <a:pt x="3895" y="806"/>
                    <a:pt x="3895" y="806"/>
                    <a:pt x="3895" y="806"/>
                  </a:cubicBezTo>
                  <a:moveTo>
                    <a:pt x="3934" y="806"/>
                  </a:moveTo>
                  <a:cubicBezTo>
                    <a:pt x="3927" y="806"/>
                    <a:pt x="3923" y="810"/>
                    <a:pt x="3925" y="816"/>
                  </a:cubicBezTo>
                  <a:cubicBezTo>
                    <a:pt x="3928" y="822"/>
                    <a:pt x="3937" y="826"/>
                    <a:pt x="3944" y="826"/>
                  </a:cubicBezTo>
                  <a:cubicBezTo>
                    <a:pt x="3952" y="826"/>
                    <a:pt x="3956" y="822"/>
                    <a:pt x="3953" y="816"/>
                  </a:cubicBezTo>
                  <a:cubicBezTo>
                    <a:pt x="3950" y="810"/>
                    <a:pt x="3942" y="806"/>
                    <a:pt x="3934" y="806"/>
                  </a:cubicBezTo>
                  <a:cubicBezTo>
                    <a:pt x="3934" y="806"/>
                    <a:pt x="3934" y="806"/>
                    <a:pt x="3934" y="806"/>
                  </a:cubicBezTo>
                  <a:moveTo>
                    <a:pt x="3974" y="806"/>
                  </a:moveTo>
                  <a:cubicBezTo>
                    <a:pt x="3966" y="806"/>
                    <a:pt x="3962" y="810"/>
                    <a:pt x="3965" y="816"/>
                  </a:cubicBezTo>
                  <a:cubicBezTo>
                    <a:pt x="3968" y="822"/>
                    <a:pt x="3977" y="826"/>
                    <a:pt x="3984" y="826"/>
                  </a:cubicBezTo>
                  <a:cubicBezTo>
                    <a:pt x="3992" y="826"/>
                    <a:pt x="3996" y="821"/>
                    <a:pt x="3993" y="816"/>
                  </a:cubicBezTo>
                  <a:cubicBezTo>
                    <a:pt x="3990" y="810"/>
                    <a:pt x="3982" y="806"/>
                    <a:pt x="3974" y="806"/>
                  </a:cubicBezTo>
                  <a:cubicBezTo>
                    <a:pt x="3974" y="806"/>
                    <a:pt x="3974" y="806"/>
                    <a:pt x="3974" y="806"/>
                  </a:cubicBezTo>
                  <a:moveTo>
                    <a:pt x="28" y="798"/>
                  </a:moveTo>
                  <a:cubicBezTo>
                    <a:pt x="20" y="798"/>
                    <a:pt x="10" y="802"/>
                    <a:pt x="5" y="808"/>
                  </a:cubicBezTo>
                  <a:cubicBezTo>
                    <a:pt x="0" y="813"/>
                    <a:pt x="3" y="818"/>
                    <a:pt x="10" y="818"/>
                  </a:cubicBezTo>
                  <a:cubicBezTo>
                    <a:pt x="18" y="818"/>
                    <a:pt x="28" y="813"/>
                    <a:pt x="33" y="808"/>
                  </a:cubicBezTo>
                  <a:cubicBezTo>
                    <a:pt x="38" y="802"/>
                    <a:pt x="35" y="798"/>
                    <a:pt x="28" y="798"/>
                  </a:cubicBezTo>
                  <a:cubicBezTo>
                    <a:pt x="28" y="798"/>
                    <a:pt x="28" y="798"/>
                    <a:pt x="28" y="798"/>
                  </a:cubicBezTo>
                  <a:moveTo>
                    <a:pt x="187" y="797"/>
                  </a:moveTo>
                  <a:cubicBezTo>
                    <a:pt x="179" y="797"/>
                    <a:pt x="169" y="801"/>
                    <a:pt x="165" y="807"/>
                  </a:cubicBezTo>
                  <a:cubicBezTo>
                    <a:pt x="160" y="813"/>
                    <a:pt x="163" y="817"/>
                    <a:pt x="171" y="817"/>
                  </a:cubicBezTo>
                  <a:cubicBezTo>
                    <a:pt x="178" y="817"/>
                    <a:pt x="188" y="813"/>
                    <a:pt x="192" y="807"/>
                  </a:cubicBezTo>
                  <a:cubicBezTo>
                    <a:pt x="197" y="801"/>
                    <a:pt x="194" y="797"/>
                    <a:pt x="187" y="797"/>
                  </a:cubicBezTo>
                  <a:cubicBezTo>
                    <a:pt x="187" y="797"/>
                    <a:pt x="187" y="797"/>
                    <a:pt x="187" y="797"/>
                  </a:cubicBezTo>
                  <a:moveTo>
                    <a:pt x="228" y="795"/>
                  </a:moveTo>
                  <a:cubicBezTo>
                    <a:pt x="221" y="795"/>
                    <a:pt x="211" y="800"/>
                    <a:pt x="207" y="805"/>
                  </a:cubicBezTo>
                  <a:cubicBezTo>
                    <a:pt x="202" y="811"/>
                    <a:pt x="205" y="815"/>
                    <a:pt x="213" y="815"/>
                  </a:cubicBezTo>
                  <a:cubicBezTo>
                    <a:pt x="220" y="815"/>
                    <a:pt x="230" y="811"/>
                    <a:pt x="234" y="805"/>
                  </a:cubicBezTo>
                  <a:cubicBezTo>
                    <a:pt x="239" y="800"/>
                    <a:pt x="236" y="795"/>
                    <a:pt x="229" y="795"/>
                  </a:cubicBezTo>
                  <a:cubicBezTo>
                    <a:pt x="229" y="795"/>
                    <a:pt x="228" y="795"/>
                    <a:pt x="228" y="795"/>
                  </a:cubicBezTo>
                  <a:moveTo>
                    <a:pt x="111" y="793"/>
                  </a:moveTo>
                  <a:cubicBezTo>
                    <a:pt x="103" y="793"/>
                    <a:pt x="94" y="798"/>
                    <a:pt x="89" y="803"/>
                  </a:cubicBezTo>
                  <a:cubicBezTo>
                    <a:pt x="84" y="809"/>
                    <a:pt x="87" y="814"/>
                    <a:pt x="95" y="814"/>
                  </a:cubicBezTo>
                  <a:cubicBezTo>
                    <a:pt x="102" y="813"/>
                    <a:pt x="112" y="809"/>
                    <a:pt x="117" y="803"/>
                  </a:cubicBezTo>
                  <a:cubicBezTo>
                    <a:pt x="121" y="798"/>
                    <a:pt x="119" y="793"/>
                    <a:pt x="111" y="793"/>
                  </a:cubicBezTo>
                  <a:cubicBezTo>
                    <a:pt x="111" y="793"/>
                    <a:pt x="111" y="793"/>
                    <a:pt x="111" y="793"/>
                  </a:cubicBezTo>
                  <a:moveTo>
                    <a:pt x="150" y="793"/>
                  </a:moveTo>
                  <a:cubicBezTo>
                    <a:pt x="143" y="793"/>
                    <a:pt x="133" y="798"/>
                    <a:pt x="128" y="803"/>
                  </a:cubicBezTo>
                  <a:cubicBezTo>
                    <a:pt x="124" y="809"/>
                    <a:pt x="126" y="813"/>
                    <a:pt x="134" y="813"/>
                  </a:cubicBezTo>
                  <a:cubicBezTo>
                    <a:pt x="142" y="813"/>
                    <a:pt x="151" y="809"/>
                    <a:pt x="156" y="803"/>
                  </a:cubicBezTo>
                  <a:cubicBezTo>
                    <a:pt x="160" y="798"/>
                    <a:pt x="158" y="793"/>
                    <a:pt x="150" y="793"/>
                  </a:cubicBezTo>
                  <a:cubicBezTo>
                    <a:pt x="150" y="793"/>
                    <a:pt x="150" y="793"/>
                    <a:pt x="150" y="793"/>
                  </a:cubicBezTo>
                  <a:moveTo>
                    <a:pt x="1724" y="786"/>
                  </a:moveTo>
                  <a:cubicBezTo>
                    <a:pt x="1716" y="786"/>
                    <a:pt x="1709" y="791"/>
                    <a:pt x="1708" y="796"/>
                  </a:cubicBezTo>
                  <a:cubicBezTo>
                    <a:pt x="1706" y="802"/>
                    <a:pt x="1711" y="806"/>
                    <a:pt x="1719" y="806"/>
                  </a:cubicBezTo>
                  <a:cubicBezTo>
                    <a:pt x="1726" y="806"/>
                    <a:pt x="1734" y="802"/>
                    <a:pt x="1735" y="796"/>
                  </a:cubicBezTo>
                  <a:cubicBezTo>
                    <a:pt x="1737" y="790"/>
                    <a:pt x="1732" y="786"/>
                    <a:pt x="1724" y="786"/>
                  </a:cubicBezTo>
                  <a:cubicBezTo>
                    <a:pt x="1724" y="786"/>
                    <a:pt x="1724" y="786"/>
                    <a:pt x="1724" y="786"/>
                  </a:cubicBezTo>
                  <a:moveTo>
                    <a:pt x="1761" y="786"/>
                  </a:moveTo>
                  <a:cubicBezTo>
                    <a:pt x="1753" y="786"/>
                    <a:pt x="1746" y="790"/>
                    <a:pt x="1745" y="796"/>
                  </a:cubicBezTo>
                  <a:cubicBezTo>
                    <a:pt x="1743" y="802"/>
                    <a:pt x="1748" y="806"/>
                    <a:pt x="1756" y="806"/>
                  </a:cubicBezTo>
                  <a:cubicBezTo>
                    <a:pt x="1764" y="806"/>
                    <a:pt x="1771" y="802"/>
                    <a:pt x="1772" y="796"/>
                  </a:cubicBezTo>
                  <a:cubicBezTo>
                    <a:pt x="1774" y="790"/>
                    <a:pt x="1769" y="786"/>
                    <a:pt x="1761" y="786"/>
                  </a:cubicBezTo>
                  <a:cubicBezTo>
                    <a:pt x="1761" y="786"/>
                    <a:pt x="1761" y="786"/>
                    <a:pt x="1761" y="786"/>
                  </a:cubicBezTo>
                  <a:moveTo>
                    <a:pt x="1800" y="786"/>
                  </a:moveTo>
                  <a:cubicBezTo>
                    <a:pt x="1792" y="786"/>
                    <a:pt x="1785" y="790"/>
                    <a:pt x="1784" y="796"/>
                  </a:cubicBezTo>
                  <a:cubicBezTo>
                    <a:pt x="1782" y="801"/>
                    <a:pt x="1788" y="806"/>
                    <a:pt x="1795" y="806"/>
                  </a:cubicBezTo>
                  <a:cubicBezTo>
                    <a:pt x="1803" y="806"/>
                    <a:pt x="1810" y="801"/>
                    <a:pt x="1811" y="796"/>
                  </a:cubicBezTo>
                  <a:cubicBezTo>
                    <a:pt x="1813" y="790"/>
                    <a:pt x="1808" y="786"/>
                    <a:pt x="1800" y="786"/>
                  </a:cubicBezTo>
                  <a:cubicBezTo>
                    <a:pt x="1800" y="786"/>
                    <a:pt x="1800" y="786"/>
                    <a:pt x="1800" y="786"/>
                  </a:cubicBezTo>
                  <a:moveTo>
                    <a:pt x="1839" y="785"/>
                  </a:moveTo>
                  <a:cubicBezTo>
                    <a:pt x="1832" y="785"/>
                    <a:pt x="1825" y="790"/>
                    <a:pt x="1823" y="796"/>
                  </a:cubicBezTo>
                  <a:cubicBezTo>
                    <a:pt x="1822" y="801"/>
                    <a:pt x="1827" y="806"/>
                    <a:pt x="1835" y="806"/>
                  </a:cubicBezTo>
                  <a:cubicBezTo>
                    <a:pt x="1842" y="806"/>
                    <a:pt x="1850" y="801"/>
                    <a:pt x="1851" y="796"/>
                  </a:cubicBezTo>
                  <a:cubicBezTo>
                    <a:pt x="1852" y="790"/>
                    <a:pt x="1847" y="785"/>
                    <a:pt x="1839" y="785"/>
                  </a:cubicBezTo>
                  <a:cubicBezTo>
                    <a:pt x="1839" y="785"/>
                    <a:pt x="1839" y="785"/>
                    <a:pt x="1839" y="785"/>
                  </a:cubicBezTo>
                  <a:moveTo>
                    <a:pt x="1879" y="785"/>
                  </a:moveTo>
                  <a:cubicBezTo>
                    <a:pt x="1871" y="785"/>
                    <a:pt x="1864" y="790"/>
                    <a:pt x="1863" y="795"/>
                  </a:cubicBezTo>
                  <a:cubicBezTo>
                    <a:pt x="1862" y="801"/>
                    <a:pt x="1867" y="806"/>
                    <a:pt x="1875" y="806"/>
                  </a:cubicBezTo>
                  <a:cubicBezTo>
                    <a:pt x="1882" y="806"/>
                    <a:pt x="1890" y="801"/>
                    <a:pt x="1891" y="795"/>
                  </a:cubicBezTo>
                  <a:cubicBezTo>
                    <a:pt x="1892" y="790"/>
                    <a:pt x="1887" y="785"/>
                    <a:pt x="1879" y="785"/>
                  </a:cubicBezTo>
                  <a:cubicBezTo>
                    <a:pt x="1879" y="785"/>
                    <a:pt x="1879" y="785"/>
                    <a:pt x="1879" y="785"/>
                  </a:cubicBezTo>
                  <a:moveTo>
                    <a:pt x="1918" y="785"/>
                  </a:moveTo>
                  <a:cubicBezTo>
                    <a:pt x="1910" y="785"/>
                    <a:pt x="1903" y="790"/>
                    <a:pt x="1902" y="795"/>
                  </a:cubicBezTo>
                  <a:cubicBezTo>
                    <a:pt x="1901" y="801"/>
                    <a:pt x="1906" y="805"/>
                    <a:pt x="1914" y="805"/>
                  </a:cubicBezTo>
                  <a:cubicBezTo>
                    <a:pt x="1922" y="805"/>
                    <a:pt x="1929" y="801"/>
                    <a:pt x="1930" y="795"/>
                  </a:cubicBezTo>
                  <a:cubicBezTo>
                    <a:pt x="1931" y="790"/>
                    <a:pt x="1926" y="785"/>
                    <a:pt x="1918" y="785"/>
                  </a:cubicBezTo>
                  <a:cubicBezTo>
                    <a:pt x="1918" y="785"/>
                    <a:pt x="1918" y="785"/>
                    <a:pt x="1918" y="785"/>
                  </a:cubicBezTo>
                  <a:moveTo>
                    <a:pt x="1957" y="785"/>
                  </a:moveTo>
                  <a:cubicBezTo>
                    <a:pt x="1950" y="785"/>
                    <a:pt x="1943" y="789"/>
                    <a:pt x="1942" y="795"/>
                  </a:cubicBezTo>
                  <a:cubicBezTo>
                    <a:pt x="1941" y="801"/>
                    <a:pt x="1946" y="805"/>
                    <a:pt x="1954" y="805"/>
                  </a:cubicBezTo>
                  <a:cubicBezTo>
                    <a:pt x="1961" y="805"/>
                    <a:pt x="1968" y="801"/>
                    <a:pt x="1969" y="795"/>
                  </a:cubicBezTo>
                  <a:cubicBezTo>
                    <a:pt x="1970" y="789"/>
                    <a:pt x="1965" y="785"/>
                    <a:pt x="1957" y="785"/>
                  </a:cubicBezTo>
                  <a:cubicBezTo>
                    <a:pt x="1957" y="785"/>
                    <a:pt x="1957" y="785"/>
                    <a:pt x="1957" y="785"/>
                  </a:cubicBezTo>
                  <a:moveTo>
                    <a:pt x="1996" y="785"/>
                  </a:moveTo>
                  <a:cubicBezTo>
                    <a:pt x="1989" y="785"/>
                    <a:pt x="1982" y="789"/>
                    <a:pt x="1981" y="795"/>
                  </a:cubicBezTo>
                  <a:cubicBezTo>
                    <a:pt x="1980" y="801"/>
                    <a:pt x="1985" y="805"/>
                    <a:pt x="1993" y="805"/>
                  </a:cubicBezTo>
                  <a:cubicBezTo>
                    <a:pt x="2001" y="805"/>
                    <a:pt x="2007" y="800"/>
                    <a:pt x="2008" y="795"/>
                  </a:cubicBezTo>
                  <a:cubicBezTo>
                    <a:pt x="2009" y="789"/>
                    <a:pt x="2004" y="785"/>
                    <a:pt x="1996" y="785"/>
                  </a:cubicBezTo>
                  <a:cubicBezTo>
                    <a:pt x="1996" y="785"/>
                    <a:pt x="1996" y="785"/>
                    <a:pt x="1996" y="785"/>
                  </a:cubicBezTo>
                  <a:moveTo>
                    <a:pt x="2036" y="784"/>
                  </a:moveTo>
                  <a:cubicBezTo>
                    <a:pt x="2028" y="784"/>
                    <a:pt x="2021" y="789"/>
                    <a:pt x="2020" y="795"/>
                  </a:cubicBezTo>
                  <a:cubicBezTo>
                    <a:pt x="2019" y="800"/>
                    <a:pt x="2025" y="805"/>
                    <a:pt x="2033" y="805"/>
                  </a:cubicBezTo>
                  <a:cubicBezTo>
                    <a:pt x="2040" y="805"/>
                    <a:pt x="2047" y="800"/>
                    <a:pt x="2048" y="795"/>
                  </a:cubicBezTo>
                  <a:cubicBezTo>
                    <a:pt x="2049" y="789"/>
                    <a:pt x="2043" y="784"/>
                    <a:pt x="2036" y="784"/>
                  </a:cubicBezTo>
                  <a:cubicBezTo>
                    <a:pt x="2036" y="784"/>
                    <a:pt x="2036" y="784"/>
                    <a:pt x="2036" y="784"/>
                  </a:cubicBezTo>
                  <a:moveTo>
                    <a:pt x="2076" y="784"/>
                  </a:moveTo>
                  <a:cubicBezTo>
                    <a:pt x="2069" y="784"/>
                    <a:pt x="2062" y="789"/>
                    <a:pt x="2061" y="795"/>
                  </a:cubicBezTo>
                  <a:cubicBezTo>
                    <a:pt x="2060" y="800"/>
                    <a:pt x="2066" y="805"/>
                    <a:pt x="2073" y="805"/>
                  </a:cubicBezTo>
                  <a:cubicBezTo>
                    <a:pt x="2081" y="805"/>
                    <a:pt x="2088" y="800"/>
                    <a:pt x="2089" y="794"/>
                  </a:cubicBezTo>
                  <a:cubicBezTo>
                    <a:pt x="2089" y="789"/>
                    <a:pt x="2084" y="784"/>
                    <a:pt x="2076" y="784"/>
                  </a:cubicBezTo>
                  <a:cubicBezTo>
                    <a:pt x="2076" y="784"/>
                    <a:pt x="2076" y="784"/>
                    <a:pt x="2076" y="784"/>
                  </a:cubicBezTo>
                  <a:moveTo>
                    <a:pt x="2115" y="784"/>
                  </a:moveTo>
                  <a:cubicBezTo>
                    <a:pt x="2108" y="784"/>
                    <a:pt x="2101" y="789"/>
                    <a:pt x="2100" y="794"/>
                  </a:cubicBezTo>
                  <a:cubicBezTo>
                    <a:pt x="2099" y="800"/>
                    <a:pt x="2105" y="805"/>
                    <a:pt x="2113" y="804"/>
                  </a:cubicBezTo>
                  <a:cubicBezTo>
                    <a:pt x="2120" y="804"/>
                    <a:pt x="2127" y="800"/>
                    <a:pt x="2128" y="794"/>
                  </a:cubicBezTo>
                  <a:cubicBezTo>
                    <a:pt x="2128" y="789"/>
                    <a:pt x="2123" y="784"/>
                    <a:pt x="2115" y="784"/>
                  </a:cubicBezTo>
                  <a:cubicBezTo>
                    <a:pt x="2115" y="784"/>
                    <a:pt x="2115" y="784"/>
                    <a:pt x="2115" y="784"/>
                  </a:cubicBezTo>
                  <a:moveTo>
                    <a:pt x="2155" y="784"/>
                  </a:moveTo>
                  <a:cubicBezTo>
                    <a:pt x="2147" y="784"/>
                    <a:pt x="2140" y="789"/>
                    <a:pt x="2140" y="794"/>
                  </a:cubicBezTo>
                  <a:cubicBezTo>
                    <a:pt x="2139" y="800"/>
                    <a:pt x="2145" y="804"/>
                    <a:pt x="2152" y="804"/>
                  </a:cubicBezTo>
                  <a:cubicBezTo>
                    <a:pt x="2160" y="804"/>
                    <a:pt x="2167" y="800"/>
                    <a:pt x="2167" y="794"/>
                  </a:cubicBezTo>
                  <a:cubicBezTo>
                    <a:pt x="2168" y="788"/>
                    <a:pt x="2162" y="784"/>
                    <a:pt x="2155" y="784"/>
                  </a:cubicBezTo>
                  <a:cubicBezTo>
                    <a:pt x="2155" y="784"/>
                    <a:pt x="2155" y="784"/>
                    <a:pt x="2155" y="784"/>
                  </a:cubicBezTo>
                  <a:moveTo>
                    <a:pt x="2194" y="784"/>
                  </a:moveTo>
                  <a:cubicBezTo>
                    <a:pt x="2187" y="784"/>
                    <a:pt x="2180" y="788"/>
                    <a:pt x="2179" y="794"/>
                  </a:cubicBezTo>
                  <a:cubicBezTo>
                    <a:pt x="2179" y="800"/>
                    <a:pt x="2185" y="804"/>
                    <a:pt x="2192" y="804"/>
                  </a:cubicBezTo>
                  <a:cubicBezTo>
                    <a:pt x="2200" y="804"/>
                    <a:pt x="2206" y="799"/>
                    <a:pt x="2207" y="794"/>
                  </a:cubicBezTo>
                  <a:cubicBezTo>
                    <a:pt x="2207" y="788"/>
                    <a:pt x="2202" y="784"/>
                    <a:pt x="2194" y="784"/>
                  </a:cubicBezTo>
                  <a:cubicBezTo>
                    <a:pt x="2194" y="784"/>
                    <a:pt x="2194" y="784"/>
                    <a:pt x="2194" y="784"/>
                  </a:cubicBezTo>
                  <a:moveTo>
                    <a:pt x="2233" y="784"/>
                  </a:moveTo>
                  <a:cubicBezTo>
                    <a:pt x="2226" y="784"/>
                    <a:pt x="2219" y="788"/>
                    <a:pt x="2219" y="794"/>
                  </a:cubicBezTo>
                  <a:cubicBezTo>
                    <a:pt x="2218" y="799"/>
                    <a:pt x="2224" y="804"/>
                    <a:pt x="2231" y="804"/>
                  </a:cubicBezTo>
                  <a:cubicBezTo>
                    <a:pt x="2239" y="804"/>
                    <a:pt x="2246" y="799"/>
                    <a:pt x="2246" y="794"/>
                  </a:cubicBezTo>
                  <a:cubicBezTo>
                    <a:pt x="2247" y="788"/>
                    <a:pt x="2241" y="784"/>
                    <a:pt x="2233" y="784"/>
                  </a:cubicBezTo>
                  <a:cubicBezTo>
                    <a:pt x="2233" y="784"/>
                    <a:pt x="2233" y="784"/>
                    <a:pt x="2233" y="784"/>
                  </a:cubicBezTo>
                  <a:moveTo>
                    <a:pt x="2822" y="783"/>
                  </a:moveTo>
                  <a:cubicBezTo>
                    <a:pt x="2815" y="783"/>
                    <a:pt x="2809" y="788"/>
                    <a:pt x="2810" y="794"/>
                  </a:cubicBezTo>
                  <a:cubicBezTo>
                    <a:pt x="2810" y="799"/>
                    <a:pt x="2817" y="804"/>
                    <a:pt x="2824" y="804"/>
                  </a:cubicBezTo>
                  <a:cubicBezTo>
                    <a:pt x="2832" y="804"/>
                    <a:pt x="2838" y="799"/>
                    <a:pt x="2837" y="794"/>
                  </a:cubicBezTo>
                  <a:cubicBezTo>
                    <a:pt x="2836" y="788"/>
                    <a:pt x="2830" y="783"/>
                    <a:pt x="2822" y="783"/>
                  </a:cubicBezTo>
                  <a:cubicBezTo>
                    <a:pt x="2822" y="783"/>
                    <a:pt x="2822" y="783"/>
                    <a:pt x="2822" y="783"/>
                  </a:cubicBezTo>
                  <a:moveTo>
                    <a:pt x="2272" y="783"/>
                  </a:moveTo>
                  <a:cubicBezTo>
                    <a:pt x="2265" y="783"/>
                    <a:pt x="2258" y="788"/>
                    <a:pt x="2258" y="794"/>
                  </a:cubicBezTo>
                  <a:cubicBezTo>
                    <a:pt x="2257" y="799"/>
                    <a:pt x="2263" y="804"/>
                    <a:pt x="2271" y="804"/>
                  </a:cubicBezTo>
                  <a:cubicBezTo>
                    <a:pt x="2279" y="804"/>
                    <a:pt x="2285" y="799"/>
                    <a:pt x="2285" y="793"/>
                  </a:cubicBezTo>
                  <a:cubicBezTo>
                    <a:pt x="2286" y="788"/>
                    <a:pt x="2280" y="783"/>
                    <a:pt x="2272" y="783"/>
                  </a:cubicBezTo>
                  <a:cubicBezTo>
                    <a:pt x="2272" y="783"/>
                    <a:pt x="2272" y="783"/>
                    <a:pt x="2272" y="783"/>
                  </a:cubicBezTo>
                  <a:moveTo>
                    <a:pt x="2311" y="783"/>
                  </a:moveTo>
                  <a:cubicBezTo>
                    <a:pt x="2304" y="783"/>
                    <a:pt x="2297" y="788"/>
                    <a:pt x="2297" y="793"/>
                  </a:cubicBezTo>
                  <a:cubicBezTo>
                    <a:pt x="2297" y="799"/>
                    <a:pt x="2303" y="804"/>
                    <a:pt x="2310" y="804"/>
                  </a:cubicBezTo>
                  <a:cubicBezTo>
                    <a:pt x="2318" y="804"/>
                    <a:pt x="2324" y="799"/>
                    <a:pt x="2325" y="793"/>
                  </a:cubicBezTo>
                  <a:cubicBezTo>
                    <a:pt x="2325" y="788"/>
                    <a:pt x="2319" y="783"/>
                    <a:pt x="2312" y="783"/>
                  </a:cubicBezTo>
                  <a:cubicBezTo>
                    <a:pt x="2311" y="783"/>
                    <a:pt x="2311" y="783"/>
                    <a:pt x="2311" y="783"/>
                  </a:cubicBezTo>
                  <a:moveTo>
                    <a:pt x="2900" y="783"/>
                  </a:moveTo>
                  <a:cubicBezTo>
                    <a:pt x="2893" y="783"/>
                    <a:pt x="2887" y="788"/>
                    <a:pt x="2888" y="793"/>
                  </a:cubicBezTo>
                  <a:cubicBezTo>
                    <a:pt x="2889" y="799"/>
                    <a:pt x="2896" y="804"/>
                    <a:pt x="2903" y="803"/>
                  </a:cubicBezTo>
                  <a:cubicBezTo>
                    <a:pt x="2911" y="803"/>
                    <a:pt x="2916" y="799"/>
                    <a:pt x="2915" y="793"/>
                  </a:cubicBezTo>
                  <a:cubicBezTo>
                    <a:pt x="2915" y="788"/>
                    <a:pt x="2908" y="783"/>
                    <a:pt x="2900" y="783"/>
                  </a:cubicBezTo>
                  <a:cubicBezTo>
                    <a:pt x="2900" y="783"/>
                    <a:pt x="2900" y="783"/>
                    <a:pt x="2900" y="783"/>
                  </a:cubicBezTo>
                  <a:moveTo>
                    <a:pt x="2351" y="783"/>
                  </a:moveTo>
                  <a:cubicBezTo>
                    <a:pt x="2343" y="783"/>
                    <a:pt x="2337" y="788"/>
                    <a:pt x="2336" y="793"/>
                  </a:cubicBezTo>
                  <a:cubicBezTo>
                    <a:pt x="2336" y="799"/>
                    <a:pt x="2342" y="803"/>
                    <a:pt x="2350" y="803"/>
                  </a:cubicBezTo>
                  <a:cubicBezTo>
                    <a:pt x="2357" y="803"/>
                    <a:pt x="2364" y="799"/>
                    <a:pt x="2364" y="793"/>
                  </a:cubicBezTo>
                  <a:cubicBezTo>
                    <a:pt x="2364" y="787"/>
                    <a:pt x="2358" y="783"/>
                    <a:pt x="2351" y="783"/>
                  </a:cubicBezTo>
                  <a:cubicBezTo>
                    <a:pt x="2351" y="783"/>
                    <a:pt x="2351" y="783"/>
                    <a:pt x="2351" y="783"/>
                  </a:cubicBezTo>
                  <a:moveTo>
                    <a:pt x="2859" y="783"/>
                  </a:moveTo>
                  <a:cubicBezTo>
                    <a:pt x="2851" y="783"/>
                    <a:pt x="2846" y="788"/>
                    <a:pt x="2847" y="793"/>
                  </a:cubicBezTo>
                  <a:cubicBezTo>
                    <a:pt x="2847" y="799"/>
                    <a:pt x="2854" y="803"/>
                    <a:pt x="2862" y="803"/>
                  </a:cubicBezTo>
                  <a:cubicBezTo>
                    <a:pt x="2869" y="803"/>
                    <a:pt x="2875" y="799"/>
                    <a:pt x="2874" y="793"/>
                  </a:cubicBezTo>
                  <a:cubicBezTo>
                    <a:pt x="2873" y="787"/>
                    <a:pt x="2867" y="783"/>
                    <a:pt x="2859" y="783"/>
                  </a:cubicBezTo>
                  <a:cubicBezTo>
                    <a:pt x="2859" y="783"/>
                    <a:pt x="2859" y="783"/>
                    <a:pt x="2859" y="783"/>
                  </a:cubicBezTo>
                  <a:moveTo>
                    <a:pt x="2390" y="783"/>
                  </a:moveTo>
                  <a:cubicBezTo>
                    <a:pt x="2383" y="783"/>
                    <a:pt x="2377" y="787"/>
                    <a:pt x="2376" y="793"/>
                  </a:cubicBezTo>
                  <a:cubicBezTo>
                    <a:pt x="2376" y="799"/>
                    <a:pt x="2382" y="803"/>
                    <a:pt x="2390" y="803"/>
                  </a:cubicBezTo>
                  <a:cubicBezTo>
                    <a:pt x="2397" y="803"/>
                    <a:pt x="2404" y="799"/>
                    <a:pt x="2404" y="793"/>
                  </a:cubicBezTo>
                  <a:cubicBezTo>
                    <a:pt x="2404" y="787"/>
                    <a:pt x="2398" y="783"/>
                    <a:pt x="2391" y="783"/>
                  </a:cubicBezTo>
                  <a:cubicBezTo>
                    <a:pt x="2390" y="783"/>
                    <a:pt x="2390" y="783"/>
                    <a:pt x="2390" y="783"/>
                  </a:cubicBezTo>
                  <a:moveTo>
                    <a:pt x="2429" y="783"/>
                  </a:moveTo>
                  <a:cubicBezTo>
                    <a:pt x="2422" y="783"/>
                    <a:pt x="2416" y="787"/>
                    <a:pt x="2415" y="793"/>
                  </a:cubicBezTo>
                  <a:cubicBezTo>
                    <a:pt x="2415" y="798"/>
                    <a:pt x="2421" y="803"/>
                    <a:pt x="2429" y="803"/>
                  </a:cubicBezTo>
                  <a:cubicBezTo>
                    <a:pt x="2437" y="803"/>
                    <a:pt x="2443" y="798"/>
                    <a:pt x="2443" y="793"/>
                  </a:cubicBezTo>
                  <a:cubicBezTo>
                    <a:pt x="2443" y="787"/>
                    <a:pt x="2437" y="783"/>
                    <a:pt x="2429" y="783"/>
                  </a:cubicBezTo>
                  <a:cubicBezTo>
                    <a:pt x="2429" y="783"/>
                    <a:pt x="2429" y="783"/>
                    <a:pt x="2429" y="783"/>
                  </a:cubicBezTo>
                  <a:moveTo>
                    <a:pt x="2937" y="783"/>
                  </a:moveTo>
                  <a:cubicBezTo>
                    <a:pt x="2930" y="783"/>
                    <a:pt x="2924" y="787"/>
                    <a:pt x="2925" y="793"/>
                  </a:cubicBezTo>
                  <a:cubicBezTo>
                    <a:pt x="2926" y="799"/>
                    <a:pt x="2933" y="803"/>
                    <a:pt x="2940" y="803"/>
                  </a:cubicBezTo>
                  <a:cubicBezTo>
                    <a:pt x="2948" y="803"/>
                    <a:pt x="2953" y="798"/>
                    <a:pt x="2952" y="793"/>
                  </a:cubicBezTo>
                  <a:cubicBezTo>
                    <a:pt x="2952" y="787"/>
                    <a:pt x="2945" y="783"/>
                    <a:pt x="2937" y="783"/>
                  </a:cubicBezTo>
                  <a:cubicBezTo>
                    <a:pt x="2937" y="783"/>
                    <a:pt x="2937" y="783"/>
                    <a:pt x="2937" y="783"/>
                  </a:cubicBezTo>
                  <a:moveTo>
                    <a:pt x="2666" y="782"/>
                  </a:moveTo>
                  <a:cubicBezTo>
                    <a:pt x="2658" y="782"/>
                    <a:pt x="2652" y="787"/>
                    <a:pt x="2653" y="793"/>
                  </a:cubicBezTo>
                  <a:cubicBezTo>
                    <a:pt x="2653" y="798"/>
                    <a:pt x="2659" y="803"/>
                    <a:pt x="2667" y="803"/>
                  </a:cubicBezTo>
                  <a:cubicBezTo>
                    <a:pt x="2675" y="803"/>
                    <a:pt x="2681" y="798"/>
                    <a:pt x="2680" y="793"/>
                  </a:cubicBezTo>
                  <a:cubicBezTo>
                    <a:pt x="2680" y="787"/>
                    <a:pt x="2673" y="782"/>
                    <a:pt x="2666" y="782"/>
                  </a:cubicBezTo>
                  <a:cubicBezTo>
                    <a:pt x="2666" y="782"/>
                    <a:pt x="2666" y="782"/>
                    <a:pt x="2666" y="782"/>
                  </a:cubicBezTo>
                  <a:moveTo>
                    <a:pt x="2469" y="782"/>
                  </a:moveTo>
                  <a:cubicBezTo>
                    <a:pt x="2461" y="782"/>
                    <a:pt x="2455" y="787"/>
                    <a:pt x="2455" y="793"/>
                  </a:cubicBezTo>
                  <a:cubicBezTo>
                    <a:pt x="2455" y="798"/>
                    <a:pt x="2461" y="803"/>
                    <a:pt x="2469" y="803"/>
                  </a:cubicBezTo>
                  <a:cubicBezTo>
                    <a:pt x="2476" y="803"/>
                    <a:pt x="2482" y="798"/>
                    <a:pt x="2482" y="793"/>
                  </a:cubicBezTo>
                  <a:cubicBezTo>
                    <a:pt x="2482" y="787"/>
                    <a:pt x="2476" y="782"/>
                    <a:pt x="2469" y="782"/>
                  </a:cubicBezTo>
                  <a:cubicBezTo>
                    <a:pt x="2469" y="782"/>
                    <a:pt x="2469" y="782"/>
                    <a:pt x="2469" y="782"/>
                  </a:cubicBezTo>
                  <a:moveTo>
                    <a:pt x="2980" y="782"/>
                  </a:moveTo>
                  <a:cubicBezTo>
                    <a:pt x="2972" y="782"/>
                    <a:pt x="2967" y="787"/>
                    <a:pt x="2968" y="793"/>
                  </a:cubicBezTo>
                  <a:cubicBezTo>
                    <a:pt x="2969" y="798"/>
                    <a:pt x="2976" y="803"/>
                    <a:pt x="2983" y="803"/>
                  </a:cubicBezTo>
                  <a:cubicBezTo>
                    <a:pt x="2991" y="803"/>
                    <a:pt x="2997" y="798"/>
                    <a:pt x="2996" y="792"/>
                  </a:cubicBezTo>
                  <a:cubicBezTo>
                    <a:pt x="2995" y="787"/>
                    <a:pt x="2988" y="782"/>
                    <a:pt x="2980" y="782"/>
                  </a:cubicBezTo>
                  <a:cubicBezTo>
                    <a:pt x="2980" y="782"/>
                    <a:pt x="2980" y="782"/>
                    <a:pt x="2980" y="782"/>
                  </a:cubicBezTo>
                  <a:moveTo>
                    <a:pt x="2704" y="782"/>
                  </a:moveTo>
                  <a:cubicBezTo>
                    <a:pt x="2697" y="782"/>
                    <a:pt x="2691" y="787"/>
                    <a:pt x="2691" y="793"/>
                  </a:cubicBezTo>
                  <a:cubicBezTo>
                    <a:pt x="2692" y="798"/>
                    <a:pt x="2698" y="803"/>
                    <a:pt x="2706" y="803"/>
                  </a:cubicBezTo>
                  <a:cubicBezTo>
                    <a:pt x="2714" y="803"/>
                    <a:pt x="2719" y="798"/>
                    <a:pt x="2719" y="792"/>
                  </a:cubicBezTo>
                  <a:cubicBezTo>
                    <a:pt x="2719" y="787"/>
                    <a:pt x="2712" y="782"/>
                    <a:pt x="2705" y="782"/>
                  </a:cubicBezTo>
                  <a:cubicBezTo>
                    <a:pt x="2704" y="782"/>
                    <a:pt x="2704" y="782"/>
                    <a:pt x="2704" y="782"/>
                  </a:cubicBezTo>
                  <a:moveTo>
                    <a:pt x="2508" y="782"/>
                  </a:moveTo>
                  <a:cubicBezTo>
                    <a:pt x="2500" y="782"/>
                    <a:pt x="2494" y="787"/>
                    <a:pt x="2494" y="792"/>
                  </a:cubicBezTo>
                  <a:cubicBezTo>
                    <a:pt x="2494" y="798"/>
                    <a:pt x="2500" y="803"/>
                    <a:pt x="2508" y="803"/>
                  </a:cubicBezTo>
                  <a:cubicBezTo>
                    <a:pt x="2515" y="803"/>
                    <a:pt x="2522" y="798"/>
                    <a:pt x="2521" y="792"/>
                  </a:cubicBezTo>
                  <a:cubicBezTo>
                    <a:pt x="2521" y="787"/>
                    <a:pt x="2515" y="782"/>
                    <a:pt x="2508" y="782"/>
                  </a:cubicBezTo>
                  <a:cubicBezTo>
                    <a:pt x="2508" y="782"/>
                    <a:pt x="2508" y="782"/>
                    <a:pt x="2508" y="782"/>
                  </a:cubicBezTo>
                  <a:moveTo>
                    <a:pt x="2743" y="782"/>
                  </a:moveTo>
                  <a:cubicBezTo>
                    <a:pt x="2736" y="782"/>
                    <a:pt x="2730" y="787"/>
                    <a:pt x="2731" y="792"/>
                  </a:cubicBezTo>
                  <a:cubicBezTo>
                    <a:pt x="2731" y="798"/>
                    <a:pt x="2738" y="803"/>
                    <a:pt x="2745" y="803"/>
                  </a:cubicBezTo>
                  <a:cubicBezTo>
                    <a:pt x="2753" y="803"/>
                    <a:pt x="2759" y="798"/>
                    <a:pt x="2758" y="792"/>
                  </a:cubicBezTo>
                  <a:cubicBezTo>
                    <a:pt x="2758" y="787"/>
                    <a:pt x="2751" y="782"/>
                    <a:pt x="2743" y="782"/>
                  </a:cubicBezTo>
                  <a:cubicBezTo>
                    <a:pt x="2743" y="782"/>
                    <a:pt x="2743" y="782"/>
                    <a:pt x="2743" y="782"/>
                  </a:cubicBezTo>
                  <a:moveTo>
                    <a:pt x="2547" y="782"/>
                  </a:moveTo>
                  <a:cubicBezTo>
                    <a:pt x="2539" y="782"/>
                    <a:pt x="2533" y="787"/>
                    <a:pt x="2533" y="792"/>
                  </a:cubicBezTo>
                  <a:cubicBezTo>
                    <a:pt x="2533" y="798"/>
                    <a:pt x="2540" y="802"/>
                    <a:pt x="2547" y="802"/>
                  </a:cubicBezTo>
                  <a:cubicBezTo>
                    <a:pt x="2555" y="802"/>
                    <a:pt x="2561" y="798"/>
                    <a:pt x="2561" y="792"/>
                  </a:cubicBezTo>
                  <a:cubicBezTo>
                    <a:pt x="2561" y="787"/>
                    <a:pt x="2555" y="782"/>
                    <a:pt x="2547" y="782"/>
                  </a:cubicBezTo>
                  <a:cubicBezTo>
                    <a:pt x="2547" y="782"/>
                    <a:pt x="2547" y="782"/>
                    <a:pt x="2547" y="782"/>
                  </a:cubicBezTo>
                  <a:moveTo>
                    <a:pt x="2783" y="782"/>
                  </a:moveTo>
                  <a:cubicBezTo>
                    <a:pt x="2775" y="782"/>
                    <a:pt x="2769" y="787"/>
                    <a:pt x="2770" y="792"/>
                  </a:cubicBezTo>
                  <a:cubicBezTo>
                    <a:pt x="2771" y="798"/>
                    <a:pt x="2777" y="802"/>
                    <a:pt x="2785" y="802"/>
                  </a:cubicBezTo>
                  <a:cubicBezTo>
                    <a:pt x="2792" y="802"/>
                    <a:pt x="2798" y="798"/>
                    <a:pt x="2798" y="792"/>
                  </a:cubicBezTo>
                  <a:cubicBezTo>
                    <a:pt x="2797" y="786"/>
                    <a:pt x="2790" y="782"/>
                    <a:pt x="2783" y="782"/>
                  </a:cubicBezTo>
                  <a:cubicBezTo>
                    <a:pt x="2783" y="782"/>
                    <a:pt x="2783" y="782"/>
                    <a:pt x="2783" y="782"/>
                  </a:cubicBezTo>
                  <a:moveTo>
                    <a:pt x="3017" y="782"/>
                  </a:moveTo>
                  <a:cubicBezTo>
                    <a:pt x="3009" y="782"/>
                    <a:pt x="3004" y="786"/>
                    <a:pt x="3005" y="792"/>
                  </a:cubicBezTo>
                  <a:cubicBezTo>
                    <a:pt x="3006" y="798"/>
                    <a:pt x="3013" y="802"/>
                    <a:pt x="3021" y="802"/>
                  </a:cubicBezTo>
                  <a:cubicBezTo>
                    <a:pt x="3028" y="802"/>
                    <a:pt x="3034" y="798"/>
                    <a:pt x="3033" y="792"/>
                  </a:cubicBezTo>
                  <a:cubicBezTo>
                    <a:pt x="3031" y="786"/>
                    <a:pt x="3025" y="782"/>
                    <a:pt x="3017" y="782"/>
                  </a:cubicBezTo>
                  <a:cubicBezTo>
                    <a:pt x="3017" y="782"/>
                    <a:pt x="3017" y="782"/>
                    <a:pt x="3017" y="782"/>
                  </a:cubicBezTo>
                  <a:moveTo>
                    <a:pt x="2587" y="782"/>
                  </a:moveTo>
                  <a:cubicBezTo>
                    <a:pt x="2579" y="782"/>
                    <a:pt x="2573" y="786"/>
                    <a:pt x="2573" y="792"/>
                  </a:cubicBezTo>
                  <a:cubicBezTo>
                    <a:pt x="2573" y="798"/>
                    <a:pt x="2580" y="802"/>
                    <a:pt x="2587" y="802"/>
                  </a:cubicBezTo>
                  <a:cubicBezTo>
                    <a:pt x="2595" y="802"/>
                    <a:pt x="2601" y="798"/>
                    <a:pt x="2601" y="792"/>
                  </a:cubicBezTo>
                  <a:cubicBezTo>
                    <a:pt x="2600" y="786"/>
                    <a:pt x="2594" y="782"/>
                    <a:pt x="2587" y="782"/>
                  </a:cubicBezTo>
                  <a:cubicBezTo>
                    <a:pt x="2587" y="782"/>
                    <a:pt x="2587" y="782"/>
                    <a:pt x="2587" y="782"/>
                  </a:cubicBezTo>
                  <a:moveTo>
                    <a:pt x="3217" y="781"/>
                  </a:moveTo>
                  <a:cubicBezTo>
                    <a:pt x="3209" y="781"/>
                    <a:pt x="3204" y="785"/>
                    <a:pt x="3206" y="791"/>
                  </a:cubicBezTo>
                  <a:cubicBezTo>
                    <a:pt x="3207" y="797"/>
                    <a:pt x="3215" y="801"/>
                    <a:pt x="3222" y="801"/>
                  </a:cubicBezTo>
                  <a:cubicBezTo>
                    <a:pt x="3230" y="801"/>
                    <a:pt x="3235" y="796"/>
                    <a:pt x="3233" y="791"/>
                  </a:cubicBezTo>
                  <a:cubicBezTo>
                    <a:pt x="3232" y="785"/>
                    <a:pt x="3225" y="781"/>
                    <a:pt x="3217" y="781"/>
                  </a:cubicBezTo>
                  <a:cubicBezTo>
                    <a:pt x="3217" y="781"/>
                    <a:pt x="3217" y="781"/>
                    <a:pt x="3217" y="781"/>
                  </a:cubicBezTo>
                  <a:moveTo>
                    <a:pt x="3257" y="780"/>
                  </a:moveTo>
                  <a:cubicBezTo>
                    <a:pt x="3249" y="780"/>
                    <a:pt x="3244" y="785"/>
                    <a:pt x="3246" y="791"/>
                  </a:cubicBezTo>
                  <a:cubicBezTo>
                    <a:pt x="3247" y="796"/>
                    <a:pt x="3254" y="801"/>
                    <a:pt x="3262" y="801"/>
                  </a:cubicBezTo>
                  <a:cubicBezTo>
                    <a:pt x="3270" y="801"/>
                    <a:pt x="3275" y="796"/>
                    <a:pt x="3273" y="791"/>
                  </a:cubicBezTo>
                  <a:cubicBezTo>
                    <a:pt x="3272" y="785"/>
                    <a:pt x="3264" y="780"/>
                    <a:pt x="3257" y="780"/>
                  </a:cubicBezTo>
                  <a:cubicBezTo>
                    <a:pt x="3257" y="780"/>
                    <a:pt x="3257" y="780"/>
                    <a:pt x="3257" y="780"/>
                  </a:cubicBezTo>
                  <a:moveTo>
                    <a:pt x="3292" y="780"/>
                  </a:moveTo>
                  <a:cubicBezTo>
                    <a:pt x="3284" y="780"/>
                    <a:pt x="3279" y="785"/>
                    <a:pt x="3281" y="791"/>
                  </a:cubicBezTo>
                  <a:cubicBezTo>
                    <a:pt x="3282" y="796"/>
                    <a:pt x="3290" y="801"/>
                    <a:pt x="3297" y="801"/>
                  </a:cubicBezTo>
                  <a:cubicBezTo>
                    <a:pt x="3305" y="801"/>
                    <a:pt x="3310" y="796"/>
                    <a:pt x="3308" y="790"/>
                  </a:cubicBezTo>
                  <a:cubicBezTo>
                    <a:pt x="3307" y="785"/>
                    <a:pt x="3299" y="780"/>
                    <a:pt x="3292" y="780"/>
                  </a:cubicBezTo>
                  <a:cubicBezTo>
                    <a:pt x="3292" y="780"/>
                    <a:pt x="3292" y="780"/>
                    <a:pt x="3292" y="780"/>
                  </a:cubicBezTo>
                  <a:moveTo>
                    <a:pt x="3331" y="780"/>
                  </a:moveTo>
                  <a:cubicBezTo>
                    <a:pt x="3324" y="780"/>
                    <a:pt x="3319" y="785"/>
                    <a:pt x="3320" y="790"/>
                  </a:cubicBezTo>
                  <a:cubicBezTo>
                    <a:pt x="3322" y="796"/>
                    <a:pt x="3329" y="801"/>
                    <a:pt x="3337" y="801"/>
                  </a:cubicBezTo>
                  <a:cubicBezTo>
                    <a:pt x="3345" y="800"/>
                    <a:pt x="3350" y="796"/>
                    <a:pt x="3348" y="790"/>
                  </a:cubicBezTo>
                  <a:cubicBezTo>
                    <a:pt x="3346" y="785"/>
                    <a:pt x="3339" y="780"/>
                    <a:pt x="3331" y="780"/>
                  </a:cubicBezTo>
                  <a:cubicBezTo>
                    <a:pt x="3331" y="780"/>
                    <a:pt x="3331" y="780"/>
                    <a:pt x="3331" y="780"/>
                  </a:cubicBezTo>
                  <a:moveTo>
                    <a:pt x="3370" y="780"/>
                  </a:moveTo>
                  <a:cubicBezTo>
                    <a:pt x="3362" y="780"/>
                    <a:pt x="3357" y="784"/>
                    <a:pt x="3359" y="790"/>
                  </a:cubicBezTo>
                  <a:cubicBezTo>
                    <a:pt x="3361" y="796"/>
                    <a:pt x="3368" y="800"/>
                    <a:pt x="3376" y="800"/>
                  </a:cubicBezTo>
                  <a:cubicBezTo>
                    <a:pt x="3384" y="800"/>
                    <a:pt x="3388" y="796"/>
                    <a:pt x="3387" y="790"/>
                  </a:cubicBezTo>
                  <a:cubicBezTo>
                    <a:pt x="3385" y="784"/>
                    <a:pt x="3377" y="780"/>
                    <a:pt x="3370" y="780"/>
                  </a:cubicBezTo>
                  <a:cubicBezTo>
                    <a:pt x="3370" y="780"/>
                    <a:pt x="3370" y="780"/>
                    <a:pt x="3370" y="780"/>
                  </a:cubicBezTo>
                  <a:moveTo>
                    <a:pt x="3409" y="780"/>
                  </a:moveTo>
                  <a:cubicBezTo>
                    <a:pt x="3401" y="780"/>
                    <a:pt x="3396" y="784"/>
                    <a:pt x="3398" y="790"/>
                  </a:cubicBezTo>
                  <a:cubicBezTo>
                    <a:pt x="3400" y="796"/>
                    <a:pt x="3408" y="800"/>
                    <a:pt x="3415" y="800"/>
                  </a:cubicBezTo>
                  <a:cubicBezTo>
                    <a:pt x="3423" y="800"/>
                    <a:pt x="3428" y="795"/>
                    <a:pt x="3426" y="790"/>
                  </a:cubicBezTo>
                  <a:cubicBezTo>
                    <a:pt x="3424" y="784"/>
                    <a:pt x="3416" y="780"/>
                    <a:pt x="3409" y="780"/>
                  </a:cubicBezTo>
                  <a:cubicBezTo>
                    <a:pt x="3409" y="780"/>
                    <a:pt x="3409" y="780"/>
                    <a:pt x="3409" y="780"/>
                  </a:cubicBezTo>
                  <a:moveTo>
                    <a:pt x="3448" y="779"/>
                  </a:moveTo>
                  <a:cubicBezTo>
                    <a:pt x="3440" y="779"/>
                    <a:pt x="3436" y="784"/>
                    <a:pt x="3438" y="790"/>
                  </a:cubicBezTo>
                  <a:cubicBezTo>
                    <a:pt x="3440" y="795"/>
                    <a:pt x="3447" y="800"/>
                    <a:pt x="3455" y="800"/>
                  </a:cubicBezTo>
                  <a:cubicBezTo>
                    <a:pt x="3462" y="800"/>
                    <a:pt x="3467" y="795"/>
                    <a:pt x="3465" y="790"/>
                  </a:cubicBezTo>
                  <a:cubicBezTo>
                    <a:pt x="3463" y="784"/>
                    <a:pt x="3456" y="779"/>
                    <a:pt x="3448" y="779"/>
                  </a:cubicBezTo>
                  <a:cubicBezTo>
                    <a:pt x="3448" y="779"/>
                    <a:pt x="3448" y="779"/>
                    <a:pt x="3448" y="779"/>
                  </a:cubicBezTo>
                  <a:moveTo>
                    <a:pt x="3488" y="779"/>
                  </a:moveTo>
                  <a:cubicBezTo>
                    <a:pt x="3480" y="779"/>
                    <a:pt x="3476" y="784"/>
                    <a:pt x="3477" y="790"/>
                  </a:cubicBezTo>
                  <a:cubicBezTo>
                    <a:pt x="3479" y="795"/>
                    <a:pt x="3487" y="800"/>
                    <a:pt x="3495" y="800"/>
                  </a:cubicBezTo>
                  <a:cubicBezTo>
                    <a:pt x="3502" y="800"/>
                    <a:pt x="3507" y="795"/>
                    <a:pt x="3505" y="789"/>
                  </a:cubicBezTo>
                  <a:cubicBezTo>
                    <a:pt x="3503" y="784"/>
                    <a:pt x="3495" y="779"/>
                    <a:pt x="3488" y="779"/>
                  </a:cubicBezTo>
                  <a:cubicBezTo>
                    <a:pt x="3488" y="779"/>
                    <a:pt x="3488" y="779"/>
                    <a:pt x="3488" y="779"/>
                  </a:cubicBezTo>
                  <a:moveTo>
                    <a:pt x="3527" y="779"/>
                  </a:moveTo>
                  <a:cubicBezTo>
                    <a:pt x="3519" y="779"/>
                    <a:pt x="3515" y="784"/>
                    <a:pt x="3517" y="789"/>
                  </a:cubicBezTo>
                  <a:cubicBezTo>
                    <a:pt x="3519" y="795"/>
                    <a:pt x="3526" y="800"/>
                    <a:pt x="3534" y="800"/>
                  </a:cubicBezTo>
                  <a:cubicBezTo>
                    <a:pt x="3542" y="800"/>
                    <a:pt x="3546" y="795"/>
                    <a:pt x="3544" y="789"/>
                  </a:cubicBezTo>
                  <a:cubicBezTo>
                    <a:pt x="3542" y="784"/>
                    <a:pt x="3534" y="779"/>
                    <a:pt x="3527" y="779"/>
                  </a:cubicBezTo>
                  <a:cubicBezTo>
                    <a:pt x="3527" y="779"/>
                    <a:pt x="3527" y="779"/>
                    <a:pt x="3527" y="779"/>
                  </a:cubicBezTo>
                  <a:moveTo>
                    <a:pt x="3566" y="779"/>
                  </a:moveTo>
                  <a:cubicBezTo>
                    <a:pt x="3558" y="779"/>
                    <a:pt x="3554" y="784"/>
                    <a:pt x="3556" y="789"/>
                  </a:cubicBezTo>
                  <a:cubicBezTo>
                    <a:pt x="3558" y="795"/>
                    <a:pt x="3566" y="799"/>
                    <a:pt x="3573" y="799"/>
                  </a:cubicBezTo>
                  <a:cubicBezTo>
                    <a:pt x="3581" y="799"/>
                    <a:pt x="3585" y="795"/>
                    <a:pt x="3583" y="789"/>
                  </a:cubicBezTo>
                  <a:cubicBezTo>
                    <a:pt x="3581" y="783"/>
                    <a:pt x="3573" y="779"/>
                    <a:pt x="3566" y="779"/>
                  </a:cubicBezTo>
                  <a:cubicBezTo>
                    <a:pt x="3566" y="779"/>
                    <a:pt x="3566" y="779"/>
                    <a:pt x="3566" y="779"/>
                  </a:cubicBezTo>
                  <a:moveTo>
                    <a:pt x="4129" y="779"/>
                  </a:moveTo>
                  <a:cubicBezTo>
                    <a:pt x="4121" y="779"/>
                    <a:pt x="4117" y="783"/>
                    <a:pt x="4121" y="789"/>
                  </a:cubicBezTo>
                  <a:cubicBezTo>
                    <a:pt x="4124" y="795"/>
                    <a:pt x="4133" y="799"/>
                    <a:pt x="4140" y="799"/>
                  </a:cubicBezTo>
                  <a:cubicBezTo>
                    <a:pt x="4148" y="799"/>
                    <a:pt x="4151" y="795"/>
                    <a:pt x="4148" y="789"/>
                  </a:cubicBezTo>
                  <a:cubicBezTo>
                    <a:pt x="4145" y="783"/>
                    <a:pt x="4136" y="779"/>
                    <a:pt x="4129" y="779"/>
                  </a:cubicBezTo>
                  <a:cubicBezTo>
                    <a:pt x="4129" y="779"/>
                    <a:pt x="4129" y="779"/>
                    <a:pt x="4129" y="779"/>
                  </a:cubicBezTo>
                  <a:moveTo>
                    <a:pt x="3605" y="779"/>
                  </a:moveTo>
                  <a:cubicBezTo>
                    <a:pt x="3597" y="779"/>
                    <a:pt x="3593" y="783"/>
                    <a:pt x="3595" y="789"/>
                  </a:cubicBezTo>
                  <a:cubicBezTo>
                    <a:pt x="3597" y="795"/>
                    <a:pt x="3605" y="799"/>
                    <a:pt x="3613" y="799"/>
                  </a:cubicBezTo>
                  <a:cubicBezTo>
                    <a:pt x="3620" y="799"/>
                    <a:pt x="3625" y="795"/>
                    <a:pt x="3622" y="789"/>
                  </a:cubicBezTo>
                  <a:cubicBezTo>
                    <a:pt x="3620" y="783"/>
                    <a:pt x="3612" y="779"/>
                    <a:pt x="3605" y="779"/>
                  </a:cubicBezTo>
                  <a:cubicBezTo>
                    <a:pt x="3605" y="779"/>
                    <a:pt x="3605" y="779"/>
                    <a:pt x="3605" y="779"/>
                  </a:cubicBezTo>
                  <a:moveTo>
                    <a:pt x="3644" y="779"/>
                  </a:moveTo>
                  <a:cubicBezTo>
                    <a:pt x="3636" y="779"/>
                    <a:pt x="3632" y="783"/>
                    <a:pt x="3634" y="789"/>
                  </a:cubicBezTo>
                  <a:cubicBezTo>
                    <a:pt x="3637" y="795"/>
                    <a:pt x="3645" y="799"/>
                    <a:pt x="3652" y="799"/>
                  </a:cubicBezTo>
                  <a:cubicBezTo>
                    <a:pt x="3660" y="799"/>
                    <a:pt x="3664" y="794"/>
                    <a:pt x="3662" y="789"/>
                  </a:cubicBezTo>
                  <a:cubicBezTo>
                    <a:pt x="3660" y="783"/>
                    <a:pt x="3652" y="779"/>
                    <a:pt x="3644" y="779"/>
                  </a:cubicBezTo>
                  <a:cubicBezTo>
                    <a:pt x="3644" y="779"/>
                    <a:pt x="3644" y="779"/>
                    <a:pt x="3644" y="779"/>
                  </a:cubicBezTo>
                  <a:moveTo>
                    <a:pt x="3684" y="778"/>
                  </a:moveTo>
                  <a:cubicBezTo>
                    <a:pt x="3676" y="778"/>
                    <a:pt x="3672" y="783"/>
                    <a:pt x="3674" y="789"/>
                  </a:cubicBezTo>
                  <a:cubicBezTo>
                    <a:pt x="3676" y="794"/>
                    <a:pt x="3684" y="799"/>
                    <a:pt x="3692" y="799"/>
                  </a:cubicBezTo>
                  <a:cubicBezTo>
                    <a:pt x="3700" y="799"/>
                    <a:pt x="3704" y="794"/>
                    <a:pt x="3702" y="789"/>
                  </a:cubicBezTo>
                  <a:cubicBezTo>
                    <a:pt x="3699" y="783"/>
                    <a:pt x="3691" y="778"/>
                    <a:pt x="3684" y="778"/>
                  </a:cubicBezTo>
                  <a:cubicBezTo>
                    <a:pt x="3684" y="778"/>
                    <a:pt x="3684" y="778"/>
                    <a:pt x="3684" y="778"/>
                  </a:cubicBezTo>
                  <a:moveTo>
                    <a:pt x="3722" y="777"/>
                  </a:moveTo>
                  <a:cubicBezTo>
                    <a:pt x="3715" y="777"/>
                    <a:pt x="3711" y="782"/>
                    <a:pt x="3713" y="787"/>
                  </a:cubicBezTo>
                  <a:cubicBezTo>
                    <a:pt x="3715" y="793"/>
                    <a:pt x="3723" y="798"/>
                    <a:pt x="3731" y="798"/>
                  </a:cubicBezTo>
                  <a:cubicBezTo>
                    <a:pt x="3739" y="798"/>
                    <a:pt x="3743" y="793"/>
                    <a:pt x="3740" y="787"/>
                  </a:cubicBezTo>
                  <a:cubicBezTo>
                    <a:pt x="3738" y="782"/>
                    <a:pt x="3730" y="777"/>
                    <a:pt x="3722" y="777"/>
                  </a:cubicBezTo>
                  <a:cubicBezTo>
                    <a:pt x="3722" y="777"/>
                    <a:pt x="3722" y="777"/>
                    <a:pt x="3722" y="777"/>
                  </a:cubicBezTo>
                  <a:moveTo>
                    <a:pt x="3761" y="777"/>
                  </a:moveTo>
                  <a:cubicBezTo>
                    <a:pt x="3754" y="777"/>
                    <a:pt x="3750" y="782"/>
                    <a:pt x="3752" y="787"/>
                  </a:cubicBezTo>
                  <a:cubicBezTo>
                    <a:pt x="3754" y="793"/>
                    <a:pt x="3763" y="797"/>
                    <a:pt x="3770" y="797"/>
                  </a:cubicBezTo>
                  <a:cubicBezTo>
                    <a:pt x="3778" y="797"/>
                    <a:pt x="3782" y="793"/>
                    <a:pt x="3779" y="787"/>
                  </a:cubicBezTo>
                  <a:cubicBezTo>
                    <a:pt x="3777" y="781"/>
                    <a:pt x="3769" y="777"/>
                    <a:pt x="3761" y="777"/>
                  </a:cubicBezTo>
                  <a:cubicBezTo>
                    <a:pt x="3761" y="777"/>
                    <a:pt x="3761" y="777"/>
                    <a:pt x="3761" y="777"/>
                  </a:cubicBezTo>
                  <a:moveTo>
                    <a:pt x="3800" y="777"/>
                  </a:moveTo>
                  <a:cubicBezTo>
                    <a:pt x="3793" y="777"/>
                    <a:pt x="3789" y="781"/>
                    <a:pt x="3791" y="787"/>
                  </a:cubicBezTo>
                  <a:cubicBezTo>
                    <a:pt x="3794" y="793"/>
                    <a:pt x="3802" y="797"/>
                    <a:pt x="3810" y="797"/>
                  </a:cubicBezTo>
                  <a:cubicBezTo>
                    <a:pt x="3817" y="797"/>
                    <a:pt x="3821" y="793"/>
                    <a:pt x="3819" y="787"/>
                  </a:cubicBezTo>
                  <a:cubicBezTo>
                    <a:pt x="3816" y="781"/>
                    <a:pt x="3808" y="777"/>
                    <a:pt x="3801" y="777"/>
                  </a:cubicBezTo>
                  <a:cubicBezTo>
                    <a:pt x="3801" y="777"/>
                    <a:pt x="3800" y="777"/>
                    <a:pt x="3800" y="777"/>
                  </a:cubicBezTo>
                  <a:moveTo>
                    <a:pt x="3842" y="776"/>
                  </a:moveTo>
                  <a:cubicBezTo>
                    <a:pt x="3834" y="777"/>
                    <a:pt x="3830" y="781"/>
                    <a:pt x="3833" y="787"/>
                  </a:cubicBezTo>
                  <a:cubicBezTo>
                    <a:pt x="3836" y="793"/>
                    <a:pt x="3844" y="797"/>
                    <a:pt x="3852" y="797"/>
                  </a:cubicBezTo>
                  <a:cubicBezTo>
                    <a:pt x="3859" y="797"/>
                    <a:pt x="3863" y="792"/>
                    <a:pt x="3861" y="787"/>
                  </a:cubicBezTo>
                  <a:cubicBezTo>
                    <a:pt x="3858" y="781"/>
                    <a:pt x="3850" y="776"/>
                    <a:pt x="3842" y="776"/>
                  </a:cubicBezTo>
                  <a:cubicBezTo>
                    <a:pt x="3842" y="776"/>
                    <a:pt x="3842" y="776"/>
                    <a:pt x="3842" y="776"/>
                  </a:cubicBezTo>
                  <a:moveTo>
                    <a:pt x="3881" y="776"/>
                  </a:moveTo>
                  <a:cubicBezTo>
                    <a:pt x="3873" y="776"/>
                    <a:pt x="3869" y="781"/>
                    <a:pt x="3872" y="787"/>
                  </a:cubicBezTo>
                  <a:cubicBezTo>
                    <a:pt x="3875" y="792"/>
                    <a:pt x="3883" y="797"/>
                    <a:pt x="3891" y="797"/>
                  </a:cubicBezTo>
                  <a:cubicBezTo>
                    <a:pt x="3898" y="797"/>
                    <a:pt x="3902" y="792"/>
                    <a:pt x="3899" y="787"/>
                  </a:cubicBezTo>
                  <a:cubicBezTo>
                    <a:pt x="3897" y="781"/>
                    <a:pt x="3888" y="776"/>
                    <a:pt x="3881" y="776"/>
                  </a:cubicBezTo>
                  <a:cubicBezTo>
                    <a:pt x="3881" y="776"/>
                    <a:pt x="3881" y="776"/>
                    <a:pt x="3881" y="776"/>
                  </a:cubicBezTo>
                  <a:moveTo>
                    <a:pt x="3920" y="776"/>
                  </a:moveTo>
                  <a:cubicBezTo>
                    <a:pt x="3912" y="776"/>
                    <a:pt x="3908" y="781"/>
                    <a:pt x="3911" y="786"/>
                  </a:cubicBezTo>
                  <a:cubicBezTo>
                    <a:pt x="3914" y="792"/>
                    <a:pt x="3922" y="797"/>
                    <a:pt x="3930" y="797"/>
                  </a:cubicBezTo>
                  <a:cubicBezTo>
                    <a:pt x="3937" y="797"/>
                    <a:pt x="3941" y="792"/>
                    <a:pt x="3938" y="786"/>
                  </a:cubicBezTo>
                  <a:cubicBezTo>
                    <a:pt x="3936" y="781"/>
                    <a:pt x="3927" y="776"/>
                    <a:pt x="3920" y="776"/>
                  </a:cubicBezTo>
                  <a:cubicBezTo>
                    <a:pt x="3920" y="776"/>
                    <a:pt x="3920" y="776"/>
                    <a:pt x="3920" y="776"/>
                  </a:cubicBezTo>
                  <a:moveTo>
                    <a:pt x="3959" y="776"/>
                  </a:moveTo>
                  <a:cubicBezTo>
                    <a:pt x="3951" y="776"/>
                    <a:pt x="3947" y="781"/>
                    <a:pt x="3950" y="786"/>
                  </a:cubicBezTo>
                  <a:cubicBezTo>
                    <a:pt x="3953" y="792"/>
                    <a:pt x="3962" y="797"/>
                    <a:pt x="3969" y="796"/>
                  </a:cubicBezTo>
                  <a:cubicBezTo>
                    <a:pt x="3977" y="796"/>
                    <a:pt x="3981" y="792"/>
                    <a:pt x="3978" y="786"/>
                  </a:cubicBezTo>
                  <a:cubicBezTo>
                    <a:pt x="3975" y="780"/>
                    <a:pt x="3966" y="776"/>
                    <a:pt x="3959" y="776"/>
                  </a:cubicBezTo>
                  <a:cubicBezTo>
                    <a:pt x="3959" y="776"/>
                    <a:pt x="3959" y="776"/>
                    <a:pt x="3959" y="776"/>
                  </a:cubicBezTo>
                  <a:moveTo>
                    <a:pt x="3998" y="776"/>
                  </a:moveTo>
                  <a:cubicBezTo>
                    <a:pt x="3991" y="776"/>
                    <a:pt x="3987" y="780"/>
                    <a:pt x="3990" y="786"/>
                  </a:cubicBezTo>
                  <a:cubicBezTo>
                    <a:pt x="3993" y="792"/>
                    <a:pt x="4001" y="796"/>
                    <a:pt x="4009" y="796"/>
                  </a:cubicBezTo>
                  <a:cubicBezTo>
                    <a:pt x="4017" y="796"/>
                    <a:pt x="4020" y="792"/>
                    <a:pt x="4017" y="786"/>
                  </a:cubicBezTo>
                  <a:cubicBezTo>
                    <a:pt x="4015" y="780"/>
                    <a:pt x="4006" y="776"/>
                    <a:pt x="3998" y="776"/>
                  </a:cubicBezTo>
                  <a:cubicBezTo>
                    <a:pt x="3998" y="776"/>
                    <a:pt x="3998" y="776"/>
                    <a:pt x="3998" y="776"/>
                  </a:cubicBezTo>
                  <a:moveTo>
                    <a:pt x="4037" y="776"/>
                  </a:moveTo>
                  <a:cubicBezTo>
                    <a:pt x="4030" y="776"/>
                    <a:pt x="4026" y="780"/>
                    <a:pt x="4029" y="786"/>
                  </a:cubicBezTo>
                  <a:cubicBezTo>
                    <a:pt x="4032" y="792"/>
                    <a:pt x="4041" y="796"/>
                    <a:pt x="4048" y="796"/>
                  </a:cubicBezTo>
                  <a:cubicBezTo>
                    <a:pt x="4056" y="796"/>
                    <a:pt x="4060" y="791"/>
                    <a:pt x="4057" y="786"/>
                  </a:cubicBezTo>
                  <a:cubicBezTo>
                    <a:pt x="4053" y="780"/>
                    <a:pt x="4045" y="776"/>
                    <a:pt x="4037" y="776"/>
                  </a:cubicBezTo>
                  <a:cubicBezTo>
                    <a:pt x="4037" y="776"/>
                    <a:pt x="4037" y="776"/>
                    <a:pt x="4037" y="776"/>
                  </a:cubicBezTo>
                  <a:moveTo>
                    <a:pt x="94" y="767"/>
                  </a:moveTo>
                  <a:cubicBezTo>
                    <a:pt x="86" y="767"/>
                    <a:pt x="77" y="771"/>
                    <a:pt x="72" y="777"/>
                  </a:cubicBezTo>
                  <a:cubicBezTo>
                    <a:pt x="67" y="782"/>
                    <a:pt x="70" y="787"/>
                    <a:pt x="77" y="787"/>
                  </a:cubicBezTo>
                  <a:cubicBezTo>
                    <a:pt x="85" y="787"/>
                    <a:pt x="95" y="782"/>
                    <a:pt x="99" y="777"/>
                  </a:cubicBezTo>
                  <a:cubicBezTo>
                    <a:pt x="104" y="771"/>
                    <a:pt x="102" y="767"/>
                    <a:pt x="94" y="767"/>
                  </a:cubicBezTo>
                  <a:cubicBezTo>
                    <a:pt x="94" y="767"/>
                    <a:pt x="94" y="767"/>
                    <a:pt x="94" y="767"/>
                  </a:cubicBezTo>
                  <a:moveTo>
                    <a:pt x="211" y="766"/>
                  </a:moveTo>
                  <a:cubicBezTo>
                    <a:pt x="203" y="766"/>
                    <a:pt x="194" y="771"/>
                    <a:pt x="189" y="776"/>
                  </a:cubicBezTo>
                  <a:cubicBezTo>
                    <a:pt x="185" y="782"/>
                    <a:pt x="187" y="786"/>
                    <a:pt x="195" y="786"/>
                  </a:cubicBezTo>
                  <a:cubicBezTo>
                    <a:pt x="203" y="786"/>
                    <a:pt x="212" y="782"/>
                    <a:pt x="217" y="776"/>
                  </a:cubicBezTo>
                  <a:cubicBezTo>
                    <a:pt x="221" y="770"/>
                    <a:pt x="218" y="766"/>
                    <a:pt x="211" y="766"/>
                  </a:cubicBezTo>
                  <a:cubicBezTo>
                    <a:pt x="211" y="766"/>
                    <a:pt x="211" y="766"/>
                    <a:pt x="211" y="766"/>
                  </a:cubicBezTo>
                  <a:moveTo>
                    <a:pt x="251" y="766"/>
                  </a:moveTo>
                  <a:cubicBezTo>
                    <a:pt x="244" y="766"/>
                    <a:pt x="234" y="770"/>
                    <a:pt x="230" y="776"/>
                  </a:cubicBezTo>
                  <a:cubicBezTo>
                    <a:pt x="225" y="782"/>
                    <a:pt x="228" y="786"/>
                    <a:pt x="235" y="786"/>
                  </a:cubicBezTo>
                  <a:cubicBezTo>
                    <a:pt x="243" y="786"/>
                    <a:pt x="253" y="781"/>
                    <a:pt x="257" y="776"/>
                  </a:cubicBezTo>
                  <a:cubicBezTo>
                    <a:pt x="261" y="770"/>
                    <a:pt x="259" y="766"/>
                    <a:pt x="251" y="766"/>
                  </a:cubicBezTo>
                  <a:cubicBezTo>
                    <a:pt x="251" y="766"/>
                    <a:pt x="251" y="766"/>
                    <a:pt x="251" y="766"/>
                  </a:cubicBezTo>
                  <a:moveTo>
                    <a:pt x="135" y="764"/>
                  </a:moveTo>
                  <a:cubicBezTo>
                    <a:pt x="127" y="764"/>
                    <a:pt x="118" y="769"/>
                    <a:pt x="113" y="774"/>
                  </a:cubicBezTo>
                  <a:cubicBezTo>
                    <a:pt x="108" y="780"/>
                    <a:pt x="111" y="784"/>
                    <a:pt x="118" y="784"/>
                  </a:cubicBezTo>
                  <a:cubicBezTo>
                    <a:pt x="126" y="784"/>
                    <a:pt x="136" y="780"/>
                    <a:pt x="140" y="774"/>
                  </a:cubicBezTo>
                  <a:cubicBezTo>
                    <a:pt x="145" y="769"/>
                    <a:pt x="142" y="764"/>
                    <a:pt x="135" y="764"/>
                  </a:cubicBezTo>
                  <a:cubicBezTo>
                    <a:pt x="135" y="764"/>
                    <a:pt x="135" y="764"/>
                    <a:pt x="135" y="764"/>
                  </a:cubicBezTo>
                  <a:moveTo>
                    <a:pt x="174" y="764"/>
                  </a:moveTo>
                  <a:cubicBezTo>
                    <a:pt x="166" y="764"/>
                    <a:pt x="156" y="768"/>
                    <a:pt x="152" y="774"/>
                  </a:cubicBezTo>
                  <a:cubicBezTo>
                    <a:pt x="147" y="780"/>
                    <a:pt x="150" y="784"/>
                    <a:pt x="157" y="784"/>
                  </a:cubicBezTo>
                  <a:cubicBezTo>
                    <a:pt x="165" y="784"/>
                    <a:pt x="175" y="779"/>
                    <a:pt x="179" y="774"/>
                  </a:cubicBezTo>
                  <a:cubicBezTo>
                    <a:pt x="184" y="768"/>
                    <a:pt x="181" y="764"/>
                    <a:pt x="174" y="764"/>
                  </a:cubicBezTo>
                  <a:cubicBezTo>
                    <a:pt x="174" y="764"/>
                    <a:pt x="174" y="764"/>
                    <a:pt x="174" y="764"/>
                  </a:cubicBezTo>
                  <a:moveTo>
                    <a:pt x="1768" y="756"/>
                  </a:moveTo>
                  <a:cubicBezTo>
                    <a:pt x="1761" y="756"/>
                    <a:pt x="1753" y="761"/>
                    <a:pt x="1752" y="767"/>
                  </a:cubicBezTo>
                  <a:cubicBezTo>
                    <a:pt x="1751" y="772"/>
                    <a:pt x="1756" y="777"/>
                    <a:pt x="1763" y="777"/>
                  </a:cubicBezTo>
                  <a:cubicBezTo>
                    <a:pt x="1771" y="777"/>
                    <a:pt x="1778" y="772"/>
                    <a:pt x="1779" y="766"/>
                  </a:cubicBezTo>
                  <a:cubicBezTo>
                    <a:pt x="1781" y="761"/>
                    <a:pt x="1776" y="756"/>
                    <a:pt x="1768" y="756"/>
                  </a:cubicBezTo>
                  <a:cubicBezTo>
                    <a:pt x="1768" y="756"/>
                    <a:pt x="1768" y="756"/>
                    <a:pt x="1768" y="756"/>
                  </a:cubicBezTo>
                  <a:moveTo>
                    <a:pt x="1807" y="756"/>
                  </a:moveTo>
                  <a:cubicBezTo>
                    <a:pt x="1799" y="756"/>
                    <a:pt x="1792" y="761"/>
                    <a:pt x="1791" y="766"/>
                  </a:cubicBezTo>
                  <a:cubicBezTo>
                    <a:pt x="1789" y="772"/>
                    <a:pt x="1795" y="777"/>
                    <a:pt x="1802" y="777"/>
                  </a:cubicBezTo>
                  <a:cubicBezTo>
                    <a:pt x="1810" y="776"/>
                    <a:pt x="1817" y="772"/>
                    <a:pt x="1818" y="766"/>
                  </a:cubicBezTo>
                  <a:cubicBezTo>
                    <a:pt x="1819" y="761"/>
                    <a:pt x="1814" y="756"/>
                    <a:pt x="1807" y="756"/>
                  </a:cubicBezTo>
                  <a:cubicBezTo>
                    <a:pt x="1807" y="756"/>
                    <a:pt x="1807" y="756"/>
                    <a:pt x="1807" y="756"/>
                  </a:cubicBezTo>
                  <a:moveTo>
                    <a:pt x="1846" y="756"/>
                  </a:moveTo>
                  <a:cubicBezTo>
                    <a:pt x="1838" y="756"/>
                    <a:pt x="1831" y="761"/>
                    <a:pt x="1830" y="766"/>
                  </a:cubicBezTo>
                  <a:cubicBezTo>
                    <a:pt x="1829" y="772"/>
                    <a:pt x="1834" y="776"/>
                    <a:pt x="1841" y="776"/>
                  </a:cubicBezTo>
                  <a:cubicBezTo>
                    <a:pt x="1849" y="776"/>
                    <a:pt x="1856" y="772"/>
                    <a:pt x="1857" y="766"/>
                  </a:cubicBezTo>
                  <a:cubicBezTo>
                    <a:pt x="1858" y="760"/>
                    <a:pt x="1853" y="756"/>
                    <a:pt x="1846" y="756"/>
                  </a:cubicBezTo>
                  <a:cubicBezTo>
                    <a:pt x="1846" y="756"/>
                    <a:pt x="1846" y="756"/>
                    <a:pt x="1846" y="756"/>
                  </a:cubicBezTo>
                  <a:moveTo>
                    <a:pt x="1885" y="756"/>
                  </a:moveTo>
                  <a:cubicBezTo>
                    <a:pt x="1878" y="756"/>
                    <a:pt x="1871" y="760"/>
                    <a:pt x="1869" y="766"/>
                  </a:cubicBezTo>
                  <a:cubicBezTo>
                    <a:pt x="1868" y="772"/>
                    <a:pt x="1873" y="776"/>
                    <a:pt x="1881" y="776"/>
                  </a:cubicBezTo>
                  <a:cubicBezTo>
                    <a:pt x="1888" y="776"/>
                    <a:pt x="1896" y="771"/>
                    <a:pt x="1897" y="766"/>
                  </a:cubicBezTo>
                  <a:cubicBezTo>
                    <a:pt x="1898" y="760"/>
                    <a:pt x="1893" y="756"/>
                    <a:pt x="1885" y="756"/>
                  </a:cubicBezTo>
                  <a:cubicBezTo>
                    <a:pt x="1885" y="756"/>
                    <a:pt x="1885" y="756"/>
                    <a:pt x="1885" y="756"/>
                  </a:cubicBezTo>
                  <a:moveTo>
                    <a:pt x="1924" y="756"/>
                  </a:moveTo>
                  <a:cubicBezTo>
                    <a:pt x="1916" y="756"/>
                    <a:pt x="1909" y="760"/>
                    <a:pt x="1908" y="766"/>
                  </a:cubicBezTo>
                  <a:cubicBezTo>
                    <a:pt x="1907" y="771"/>
                    <a:pt x="1912" y="776"/>
                    <a:pt x="1920" y="776"/>
                  </a:cubicBezTo>
                  <a:cubicBezTo>
                    <a:pt x="1927" y="776"/>
                    <a:pt x="1934" y="771"/>
                    <a:pt x="1935" y="766"/>
                  </a:cubicBezTo>
                  <a:cubicBezTo>
                    <a:pt x="1936" y="760"/>
                    <a:pt x="1931" y="756"/>
                    <a:pt x="1924" y="756"/>
                  </a:cubicBezTo>
                  <a:cubicBezTo>
                    <a:pt x="1924" y="756"/>
                    <a:pt x="1924" y="756"/>
                    <a:pt x="1924" y="756"/>
                  </a:cubicBezTo>
                  <a:moveTo>
                    <a:pt x="1963" y="755"/>
                  </a:moveTo>
                  <a:cubicBezTo>
                    <a:pt x="1955" y="755"/>
                    <a:pt x="1948" y="760"/>
                    <a:pt x="1947" y="766"/>
                  </a:cubicBezTo>
                  <a:cubicBezTo>
                    <a:pt x="1946" y="771"/>
                    <a:pt x="1951" y="776"/>
                    <a:pt x="1959" y="776"/>
                  </a:cubicBezTo>
                  <a:cubicBezTo>
                    <a:pt x="1966" y="776"/>
                    <a:pt x="1973" y="771"/>
                    <a:pt x="1974" y="765"/>
                  </a:cubicBezTo>
                  <a:cubicBezTo>
                    <a:pt x="1975" y="760"/>
                    <a:pt x="1970" y="755"/>
                    <a:pt x="1963" y="755"/>
                  </a:cubicBezTo>
                  <a:cubicBezTo>
                    <a:pt x="1963" y="755"/>
                    <a:pt x="1963" y="755"/>
                    <a:pt x="1963" y="755"/>
                  </a:cubicBezTo>
                  <a:moveTo>
                    <a:pt x="2819" y="755"/>
                  </a:moveTo>
                  <a:cubicBezTo>
                    <a:pt x="2811" y="755"/>
                    <a:pt x="2806" y="760"/>
                    <a:pt x="2806" y="766"/>
                  </a:cubicBezTo>
                  <a:cubicBezTo>
                    <a:pt x="2807" y="771"/>
                    <a:pt x="2814" y="776"/>
                    <a:pt x="2821" y="776"/>
                  </a:cubicBezTo>
                  <a:cubicBezTo>
                    <a:pt x="2829" y="776"/>
                    <a:pt x="2834" y="771"/>
                    <a:pt x="2834" y="765"/>
                  </a:cubicBezTo>
                  <a:cubicBezTo>
                    <a:pt x="2833" y="760"/>
                    <a:pt x="2826" y="755"/>
                    <a:pt x="2819" y="755"/>
                  </a:cubicBezTo>
                  <a:cubicBezTo>
                    <a:pt x="2819" y="755"/>
                    <a:pt x="2819" y="755"/>
                    <a:pt x="2819" y="755"/>
                  </a:cubicBezTo>
                  <a:moveTo>
                    <a:pt x="2001" y="755"/>
                  </a:moveTo>
                  <a:cubicBezTo>
                    <a:pt x="1994" y="755"/>
                    <a:pt x="1987" y="760"/>
                    <a:pt x="1986" y="765"/>
                  </a:cubicBezTo>
                  <a:cubicBezTo>
                    <a:pt x="1985" y="771"/>
                    <a:pt x="1990" y="776"/>
                    <a:pt x="1998" y="776"/>
                  </a:cubicBezTo>
                  <a:cubicBezTo>
                    <a:pt x="2005" y="776"/>
                    <a:pt x="2012" y="771"/>
                    <a:pt x="2013" y="765"/>
                  </a:cubicBezTo>
                  <a:cubicBezTo>
                    <a:pt x="2014" y="760"/>
                    <a:pt x="2009" y="755"/>
                    <a:pt x="2001" y="755"/>
                  </a:cubicBezTo>
                  <a:cubicBezTo>
                    <a:pt x="2001" y="755"/>
                    <a:pt x="2001" y="755"/>
                    <a:pt x="2001" y="755"/>
                  </a:cubicBezTo>
                  <a:moveTo>
                    <a:pt x="2040" y="755"/>
                  </a:moveTo>
                  <a:cubicBezTo>
                    <a:pt x="2033" y="755"/>
                    <a:pt x="2026" y="760"/>
                    <a:pt x="2025" y="765"/>
                  </a:cubicBezTo>
                  <a:cubicBezTo>
                    <a:pt x="2024" y="771"/>
                    <a:pt x="2029" y="775"/>
                    <a:pt x="2037" y="775"/>
                  </a:cubicBezTo>
                  <a:cubicBezTo>
                    <a:pt x="2045" y="775"/>
                    <a:pt x="2051" y="771"/>
                    <a:pt x="2052" y="765"/>
                  </a:cubicBezTo>
                  <a:cubicBezTo>
                    <a:pt x="2053" y="759"/>
                    <a:pt x="2048" y="755"/>
                    <a:pt x="2040" y="755"/>
                  </a:cubicBezTo>
                  <a:cubicBezTo>
                    <a:pt x="2040" y="755"/>
                    <a:pt x="2040" y="755"/>
                    <a:pt x="2040" y="755"/>
                  </a:cubicBezTo>
                  <a:moveTo>
                    <a:pt x="2855" y="755"/>
                  </a:moveTo>
                  <a:cubicBezTo>
                    <a:pt x="2848" y="755"/>
                    <a:pt x="2842" y="759"/>
                    <a:pt x="2843" y="765"/>
                  </a:cubicBezTo>
                  <a:cubicBezTo>
                    <a:pt x="2844" y="771"/>
                    <a:pt x="2850" y="775"/>
                    <a:pt x="2858" y="775"/>
                  </a:cubicBezTo>
                  <a:cubicBezTo>
                    <a:pt x="2866" y="775"/>
                    <a:pt x="2871" y="771"/>
                    <a:pt x="2870" y="765"/>
                  </a:cubicBezTo>
                  <a:cubicBezTo>
                    <a:pt x="2870" y="759"/>
                    <a:pt x="2863" y="755"/>
                    <a:pt x="2855" y="755"/>
                  </a:cubicBezTo>
                  <a:cubicBezTo>
                    <a:pt x="2855" y="755"/>
                    <a:pt x="2855" y="755"/>
                    <a:pt x="2855" y="755"/>
                  </a:cubicBezTo>
                  <a:moveTo>
                    <a:pt x="2080" y="755"/>
                  </a:moveTo>
                  <a:cubicBezTo>
                    <a:pt x="2073" y="755"/>
                    <a:pt x="2066" y="759"/>
                    <a:pt x="2065" y="765"/>
                  </a:cubicBezTo>
                  <a:cubicBezTo>
                    <a:pt x="2064" y="771"/>
                    <a:pt x="2070" y="775"/>
                    <a:pt x="2077" y="775"/>
                  </a:cubicBezTo>
                  <a:cubicBezTo>
                    <a:pt x="2085" y="775"/>
                    <a:pt x="2092" y="771"/>
                    <a:pt x="2092" y="765"/>
                  </a:cubicBezTo>
                  <a:cubicBezTo>
                    <a:pt x="2093" y="759"/>
                    <a:pt x="2088" y="755"/>
                    <a:pt x="2080" y="755"/>
                  </a:cubicBezTo>
                  <a:cubicBezTo>
                    <a:pt x="2080" y="755"/>
                    <a:pt x="2080" y="755"/>
                    <a:pt x="2080" y="755"/>
                  </a:cubicBezTo>
                  <a:moveTo>
                    <a:pt x="2119" y="755"/>
                  </a:moveTo>
                  <a:cubicBezTo>
                    <a:pt x="2111" y="755"/>
                    <a:pt x="2105" y="759"/>
                    <a:pt x="2104" y="765"/>
                  </a:cubicBezTo>
                  <a:cubicBezTo>
                    <a:pt x="2103" y="770"/>
                    <a:pt x="2109" y="775"/>
                    <a:pt x="2116" y="775"/>
                  </a:cubicBezTo>
                  <a:cubicBezTo>
                    <a:pt x="2124" y="775"/>
                    <a:pt x="2131" y="770"/>
                    <a:pt x="2131" y="765"/>
                  </a:cubicBezTo>
                  <a:cubicBezTo>
                    <a:pt x="2132" y="759"/>
                    <a:pt x="2126" y="755"/>
                    <a:pt x="2119" y="755"/>
                  </a:cubicBezTo>
                  <a:cubicBezTo>
                    <a:pt x="2119" y="755"/>
                    <a:pt x="2119" y="755"/>
                    <a:pt x="2119" y="755"/>
                  </a:cubicBezTo>
                  <a:moveTo>
                    <a:pt x="2158" y="754"/>
                  </a:moveTo>
                  <a:cubicBezTo>
                    <a:pt x="2150" y="754"/>
                    <a:pt x="2144" y="759"/>
                    <a:pt x="2143" y="765"/>
                  </a:cubicBezTo>
                  <a:cubicBezTo>
                    <a:pt x="2142" y="770"/>
                    <a:pt x="2148" y="775"/>
                    <a:pt x="2156" y="775"/>
                  </a:cubicBezTo>
                  <a:cubicBezTo>
                    <a:pt x="2163" y="775"/>
                    <a:pt x="2170" y="770"/>
                    <a:pt x="2170" y="765"/>
                  </a:cubicBezTo>
                  <a:cubicBezTo>
                    <a:pt x="2171" y="759"/>
                    <a:pt x="2165" y="754"/>
                    <a:pt x="2158" y="754"/>
                  </a:cubicBezTo>
                  <a:cubicBezTo>
                    <a:pt x="2158" y="754"/>
                    <a:pt x="2158" y="754"/>
                    <a:pt x="2158" y="754"/>
                  </a:cubicBezTo>
                  <a:moveTo>
                    <a:pt x="2197" y="754"/>
                  </a:moveTo>
                  <a:cubicBezTo>
                    <a:pt x="2190" y="754"/>
                    <a:pt x="2183" y="759"/>
                    <a:pt x="2182" y="764"/>
                  </a:cubicBezTo>
                  <a:cubicBezTo>
                    <a:pt x="2182" y="770"/>
                    <a:pt x="2188" y="775"/>
                    <a:pt x="2195" y="775"/>
                  </a:cubicBezTo>
                  <a:cubicBezTo>
                    <a:pt x="2203" y="775"/>
                    <a:pt x="2209" y="770"/>
                    <a:pt x="2210" y="764"/>
                  </a:cubicBezTo>
                  <a:cubicBezTo>
                    <a:pt x="2210" y="759"/>
                    <a:pt x="2205" y="754"/>
                    <a:pt x="2197" y="754"/>
                  </a:cubicBezTo>
                  <a:cubicBezTo>
                    <a:pt x="2197" y="754"/>
                    <a:pt x="2197" y="754"/>
                    <a:pt x="2197" y="754"/>
                  </a:cubicBezTo>
                  <a:moveTo>
                    <a:pt x="2236" y="754"/>
                  </a:moveTo>
                  <a:cubicBezTo>
                    <a:pt x="2228" y="754"/>
                    <a:pt x="2222" y="759"/>
                    <a:pt x="2221" y="764"/>
                  </a:cubicBezTo>
                  <a:cubicBezTo>
                    <a:pt x="2221" y="770"/>
                    <a:pt x="2226" y="774"/>
                    <a:pt x="2234" y="774"/>
                  </a:cubicBezTo>
                  <a:cubicBezTo>
                    <a:pt x="2242" y="774"/>
                    <a:pt x="2248" y="770"/>
                    <a:pt x="2248" y="764"/>
                  </a:cubicBezTo>
                  <a:cubicBezTo>
                    <a:pt x="2249" y="759"/>
                    <a:pt x="2243" y="754"/>
                    <a:pt x="2236" y="754"/>
                  </a:cubicBezTo>
                  <a:cubicBezTo>
                    <a:pt x="2236" y="754"/>
                    <a:pt x="2236" y="754"/>
                    <a:pt x="2236" y="754"/>
                  </a:cubicBezTo>
                  <a:moveTo>
                    <a:pt x="2275" y="754"/>
                  </a:moveTo>
                  <a:cubicBezTo>
                    <a:pt x="2267" y="754"/>
                    <a:pt x="2261" y="758"/>
                    <a:pt x="2260" y="764"/>
                  </a:cubicBezTo>
                  <a:cubicBezTo>
                    <a:pt x="2260" y="770"/>
                    <a:pt x="2266" y="774"/>
                    <a:pt x="2273" y="774"/>
                  </a:cubicBezTo>
                  <a:cubicBezTo>
                    <a:pt x="2281" y="774"/>
                    <a:pt x="2287" y="770"/>
                    <a:pt x="2287" y="764"/>
                  </a:cubicBezTo>
                  <a:cubicBezTo>
                    <a:pt x="2288" y="758"/>
                    <a:pt x="2282" y="754"/>
                    <a:pt x="2275" y="754"/>
                  </a:cubicBezTo>
                  <a:cubicBezTo>
                    <a:pt x="2275" y="754"/>
                    <a:pt x="2275" y="754"/>
                    <a:pt x="2275" y="754"/>
                  </a:cubicBezTo>
                  <a:moveTo>
                    <a:pt x="2313" y="754"/>
                  </a:moveTo>
                  <a:cubicBezTo>
                    <a:pt x="2306" y="754"/>
                    <a:pt x="2299" y="758"/>
                    <a:pt x="2299" y="764"/>
                  </a:cubicBezTo>
                  <a:cubicBezTo>
                    <a:pt x="2299" y="770"/>
                    <a:pt x="2304" y="774"/>
                    <a:pt x="2312" y="774"/>
                  </a:cubicBezTo>
                  <a:cubicBezTo>
                    <a:pt x="2320" y="774"/>
                    <a:pt x="2326" y="769"/>
                    <a:pt x="2326" y="764"/>
                  </a:cubicBezTo>
                  <a:cubicBezTo>
                    <a:pt x="2327" y="758"/>
                    <a:pt x="2321" y="754"/>
                    <a:pt x="2313" y="754"/>
                  </a:cubicBezTo>
                  <a:cubicBezTo>
                    <a:pt x="2313" y="754"/>
                    <a:pt x="2313" y="754"/>
                    <a:pt x="2313" y="754"/>
                  </a:cubicBezTo>
                  <a:moveTo>
                    <a:pt x="2352" y="753"/>
                  </a:moveTo>
                  <a:cubicBezTo>
                    <a:pt x="2345" y="753"/>
                    <a:pt x="2338" y="758"/>
                    <a:pt x="2338" y="764"/>
                  </a:cubicBezTo>
                  <a:cubicBezTo>
                    <a:pt x="2338" y="769"/>
                    <a:pt x="2344" y="774"/>
                    <a:pt x="2351" y="774"/>
                  </a:cubicBezTo>
                  <a:cubicBezTo>
                    <a:pt x="2359" y="774"/>
                    <a:pt x="2365" y="769"/>
                    <a:pt x="2365" y="764"/>
                  </a:cubicBezTo>
                  <a:cubicBezTo>
                    <a:pt x="2365" y="758"/>
                    <a:pt x="2360" y="753"/>
                    <a:pt x="2352" y="753"/>
                  </a:cubicBezTo>
                  <a:cubicBezTo>
                    <a:pt x="2352" y="753"/>
                    <a:pt x="2352" y="753"/>
                    <a:pt x="2352" y="753"/>
                  </a:cubicBezTo>
                  <a:moveTo>
                    <a:pt x="2391" y="753"/>
                  </a:moveTo>
                  <a:cubicBezTo>
                    <a:pt x="2384" y="753"/>
                    <a:pt x="2378" y="758"/>
                    <a:pt x="2377" y="764"/>
                  </a:cubicBezTo>
                  <a:cubicBezTo>
                    <a:pt x="2377" y="769"/>
                    <a:pt x="2383" y="774"/>
                    <a:pt x="2391" y="774"/>
                  </a:cubicBezTo>
                  <a:cubicBezTo>
                    <a:pt x="2398" y="774"/>
                    <a:pt x="2405" y="769"/>
                    <a:pt x="2405" y="763"/>
                  </a:cubicBezTo>
                  <a:cubicBezTo>
                    <a:pt x="2405" y="758"/>
                    <a:pt x="2399" y="753"/>
                    <a:pt x="2391" y="753"/>
                  </a:cubicBezTo>
                  <a:cubicBezTo>
                    <a:pt x="2391" y="753"/>
                    <a:pt x="2391" y="753"/>
                    <a:pt x="2391" y="753"/>
                  </a:cubicBezTo>
                  <a:moveTo>
                    <a:pt x="2430" y="753"/>
                  </a:moveTo>
                  <a:cubicBezTo>
                    <a:pt x="2422" y="753"/>
                    <a:pt x="2416" y="758"/>
                    <a:pt x="2416" y="763"/>
                  </a:cubicBezTo>
                  <a:cubicBezTo>
                    <a:pt x="2416" y="769"/>
                    <a:pt x="2422" y="774"/>
                    <a:pt x="2430" y="773"/>
                  </a:cubicBezTo>
                  <a:cubicBezTo>
                    <a:pt x="2437" y="773"/>
                    <a:pt x="2443" y="769"/>
                    <a:pt x="2443" y="763"/>
                  </a:cubicBezTo>
                  <a:cubicBezTo>
                    <a:pt x="2443" y="758"/>
                    <a:pt x="2438" y="753"/>
                    <a:pt x="2430" y="753"/>
                  </a:cubicBezTo>
                  <a:cubicBezTo>
                    <a:pt x="2430" y="753"/>
                    <a:pt x="2430" y="753"/>
                    <a:pt x="2430" y="753"/>
                  </a:cubicBezTo>
                  <a:moveTo>
                    <a:pt x="3011" y="753"/>
                  </a:moveTo>
                  <a:cubicBezTo>
                    <a:pt x="3003" y="753"/>
                    <a:pt x="2998" y="758"/>
                    <a:pt x="2999" y="763"/>
                  </a:cubicBezTo>
                  <a:cubicBezTo>
                    <a:pt x="3000" y="769"/>
                    <a:pt x="3007" y="773"/>
                    <a:pt x="3014" y="773"/>
                  </a:cubicBezTo>
                  <a:cubicBezTo>
                    <a:pt x="3022" y="773"/>
                    <a:pt x="3027" y="769"/>
                    <a:pt x="3026" y="763"/>
                  </a:cubicBezTo>
                  <a:cubicBezTo>
                    <a:pt x="3025" y="757"/>
                    <a:pt x="3018" y="753"/>
                    <a:pt x="3011" y="753"/>
                  </a:cubicBezTo>
                  <a:cubicBezTo>
                    <a:pt x="3011" y="753"/>
                    <a:pt x="3011" y="753"/>
                    <a:pt x="3011" y="753"/>
                  </a:cubicBezTo>
                  <a:moveTo>
                    <a:pt x="2469" y="753"/>
                  </a:moveTo>
                  <a:cubicBezTo>
                    <a:pt x="2461" y="753"/>
                    <a:pt x="2455" y="757"/>
                    <a:pt x="2455" y="763"/>
                  </a:cubicBezTo>
                  <a:cubicBezTo>
                    <a:pt x="2455" y="769"/>
                    <a:pt x="2461" y="773"/>
                    <a:pt x="2469" y="773"/>
                  </a:cubicBezTo>
                  <a:cubicBezTo>
                    <a:pt x="2476" y="773"/>
                    <a:pt x="2482" y="769"/>
                    <a:pt x="2482" y="763"/>
                  </a:cubicBezTo>
                  <a:cubicBezTo>
                    <a:pt x="2482" y="757"/>
                    <a:pt x="2476" y="753"/>
                    <a:pt x="2469" y="753"/>
                  </a:cubicBezTo>
                  <a:cubicBezTo>
                    <a:pt x="2469" y="753"/>
                    <a:pt x="2469" y="753"/>
                    <a:pt x="2469" y="753"/>
                  </a:cubicBezTo>
                  <a:moveTo>
                    <a:pt x="3049" y="753"/>
                  </a:moveTo>
                  <a:cubicBezTo>
                    <a:pt x="3042" y="753"/>
                    <a:pt x="3037" y="757"/>
                    <a:pt x="3038" y="763"/>
                  </a:cubicBezTo>
                  <a:cubicBezTo>
                    <a:pt x="3039" y="769"/>
                    <a:pt x="3046" y="773"/>
                    <a:pt x="3053" y="773"/>
                  </a:cubicBezTo>
                  <a:cubicBezTo>
                    <a:pt x="3061" y="773"/>
                    <a:pt x="3066" y="769"/>
                    <a:pt x="3065" y="763"/>
                  </a:cubicBezTo>
                  <a:cubicBezTo>
                    <a:pt x="3064" y="757"/>
                    <a:pt x="3057" y="753"/>
                    <a:pt x="3050" y="753"/>
                  </a:cubicBezTo>
                  <a:cubicBezTo>
                    <a:pt x="3050" y="753"/>
                    <a:pt x="3050" y="753"/>
                    <a:pt x="3049" y="753"/>
                  </a:cubicBezTo>
                  <a:moveTo>
                    <a:pt x="2507" y="753"/>
                  </a:moveTo>
                  <a:cubicBezTo>
                    <a:pt x="2500" y="753"/>
                    <a:pt x="2494" y="757"/>
                    <a:pt x="2494" y="763"/>
                  </a:cubicBezTo>
                  <a:cubicBezTo>
                    <a:pt x="2494" y="769"/>
                    <a:pt x="2500" y="773"/>
                    <a:pt x="2508" y="773"/>
                  </a:cubicBezTo>
                  <a:cubicBezTo>
                    <a:pt x="2515" y="773"/>
                    <a:pt x="2521" y="768"/>
                    <a:pt x="2521" y="763"/>
                  </a:cubicBezTo>
                  <a:cubicBezTo>
                    <a:pt x="2521" y="757"/>
                    <a:pt x="2515" y="753"/>
                    <a:pt x="2507" y="753"/>
                  </a:cubicBezTo>
                  <a:cubicBezTo>
                    <a:pt x="2507" y="753"/>
                    <a:pt x="2507" y="753"/>
                    <a:pt x="2507" y="753"/>
                  </a:cubicBezTo>
                  <a:moveTo>
                    <a:pt x="2546" y="752"/>
                  </a:moveTo>
                  <a:cubicBezTo>
                    <a:pt x="2539" y="752"/>
                    <a:pt x="2533" y="757"/>
                    <a:pt x="2533" y="763"/>
                  </a:cubicBezTo>
                  <a:cubicBezTo>
                    <a:pt x="2533" y="768"/>
                    <a:pt x="2539" y="773"/>
                    <a:pt x="2547" y="773"/>
                  </a:cubicBezTo>
                  <a:cubicBezTo>
                    <a:pt x="2554" y="773"/>
                    <a:pt x="2560" y="768"/>
                    <a:pt x="2560" y="763"/>
                  </a:cubicBezTo>
                  <a:cubicBezTo>
                    <a:pt x="2560" y="757"/>
                    <a:pt x="2554" y="752"/>
                    <a:pt x="2546" y="752"/>
                  </a:cubicBezTo>
                  <a:cubicBezTo>
                    <a:pt x="2546" y="752"/>
                    <a:pt x="2546" y="752"/>
                    <a:pt x="2546" y="752"/>
                  </a:cubicBezTo>
                  <a:moveTo>
                    <a:pt x="2586" y="752"/>
                  </a:moveTo>
                  <a:cubicBezTo>
                    <a:pt x="2578" y="752"/>
                    <a:pt x="2572" y="757"/>
                    <a:pt x="2572" y="763"/>
                  </a:cubicBezTo>
                  <a:cubicBezTo>
                    <a:pt x="2572" y="768"/>
                    <a:pt x="2579" y="773"/>
                    <a:pt x="2586" y="773"/>
                  </a:cubicBezTo>
                  <a:cubicBezTo>
                    <a:pt x="2594" y="773"/>
                    <a:pt x="2600" y="768"/>
                    <a:pt x="2600" y="762"/>
                  </a:cubicBezTo>
                  <a:cubicBezTo>
                    <a:pt x="2599" y="757"/>
                    <a:pt x="2593" y="752"/>
                    <a:pt x="2586" y="752"/>
                  </a:cubicBezTo>
                  <a:cubicBezTo>
                    <a:pt x="2586" y="752"/>
                    <a:pt x="2586" y="752"/>
                    <a:pt x="2586" y="752"/>
                  </a:cubicBezTo>
                  <a:moveTo>
                    <a:pt x="2664" y="752"/>
                  </a:moveTo>
                  <a:cubicBezTo>
                    <a:pt x="2656" y="752"/>
                    <a:pt x="2650" y="757"/>
                    <a:pt x="2650" y="762"/>
                  </a:cubicBezTo>
                  <a:cubicBezTo>
                    <a:pt x="2651" y="768"/>
                    <a:pt x="2657" y="773"/>
                    <a:pt x="2665" y="773"/>
                  </a:cubicBezTo>
                  <a:cubicBezTo>
                    <a:pt x="2672" y="773"/>
                    <a:pt x="2678" y="768"/>
                    <a:pt x="2678" y="762"/>
                  </a:cubicBezTo>
                  <a:cubicBezTo>
                    <a:pt x="2677" y="757"/>
                    <a:pt x="2671" y="752"/>
                    <a:pt x="2664" y="752"/>
                  </a:cubicBezTo>
                  <a:cubicBezTo>
                    <a:pt x="2664" y="752"/>
                    <a:pt x="2664" y="752"/>
                    <a:pt x="2664" y="752"/>
                  </a:cubicBezTo>
                  <a:moveTo>
                    <a:pt x="2702" y="752"/>
                  </a:moveTo>
                  <a:cubicBezTo>
                    <a:pt x="2695" y="752"/>
                    <a:pt x="2689" y="757"/>
                    <a:pt x="2689" y="762"/>
                  </a:cubicBezTo>
                  <a:cubicBezTo>
                    <a:pt x="2690" y="768"/>
                    <a:pt x="2696" y="772"/>
                    <a:pt x="2704" y="772"/>
                  </a:cubicBezTo>
                  <a:cubicBezTo>
                    <a:pt x="2711" y="772"/>
                    <a:pt x="2717" y="768"/>
                    <a:pt x="2717" y="762"/>
                  </a:cubicBezTo>
                  <a:cubicBezTo>
                    <a:pt x="2716" y="756"/>
                    <a:pt x="2710" y="752"/>
                    <a:pt x="2702" y="752"/>
                  </a:cubicBezTo>
                  <a:cubicBezTo>
                    <a:pt x="2702" y="752"/>
                    <a:pt x="2702" y="752"/>
                    <a:pt x="2702" y="752"/>
                  </a:cubicBezTo>
                  <a:moveTo>
                    <a:pt x="2975" y="752"/>
                  </a:moveTo>
                  <a:cubicBezTo>
                    <a:pt x="2967" y="752"/>
                    <a:pt x="2962" y="756"/>
                    <a:pt x="2963" y="762"/>
                  </a:cubicBezTo>
                  <a:cubicBezTo>
                    <a:pt x="2964" y="768"/>
                    <a:pt x="2971" y="772"/>
                    <a:pt x="2978" y="772"/>
                  </a:cubicBezTo>
                  <a:cubicBezTo>
                    <a:pt x="2986" y="772"/>
                    <a:pt x="2991" y="768"/>
                    <a:pt x="2990" y="762"/>
                  </a:cubicBezTo>
                  <a:cubicBezTo>
                    <a:pt x="2989" y="756"/>
                    <a:pt x="2982" y="752"/>
                    <a:pt x="2975" y="752"/>
                  </a:cubicBezTo>
                  <a:cubicBezTo>
                    <a:pt x="2975" y="752"/>
                    <a:pt x="2975" y="752"/>
                    <a:pt x="2975" y="752"/>
                  </a:cubicBezTo>
                  <a:moveTo>
                    <a:pt x="2741" y="752"/>
                  </a:moveTo>
                  <a:cubicBezTo>
                    <a:pt x="2733" y="752"/>
                    <a:pt x="2728" y="756"/>
                    <a:pt x="2728" y="762"/>
                  </a:cubicBezTo>
                  <a:cubicBezTo>
                    <a:pt x="2728" y="768"/>
                    <a:pt x="2735" y="772"/>
                    <a:pt x="2743" y="772"/>
                  </a:cubicBezTo>
                  <a:cubicBezTo>
                    <a:pt x="2750" y="772"/>
                    <a:pt x="2756" y="768"/>
                    <a:pt x="2755" y="762"/>
                  </a:cubicBezTo>
                  <a:cubicBezTo>
                    <a:pt x="2755" y="756"/>
                    <a:pt x="2748" y="752"/>
                    <a:pt x="2741" y="752"/>
                  </a:cubicBezTo>
                  <a:cubicBezTo>
                    <a:pt x="2741" y="752"/>
                    <a:pt x="2741" y="752"/>
                    <a:pt x="2741" y="752"/>
                  </a:cubicBezTo>
                  <a:moveTo>
                    <a:pt x="3169" y="751"/>
                  </a:moveTo>
                  <a:cubicBezTo>
                    <a:pt x="3161" y="751"/>
                    <a:pt x="3156" y="756"/>
                    <a:pt x="3158" y="762"/>
                  </a:cubicBezTo>
                  <a:cubicBezTo>
                    <a:pt x="3159" y="767"/>
                    <a:pt x="3166" y="772"/>
                    <a:pt x="3174" y="772"/>
                  </a:cubicBezTo>
                  <a:cubicBezTo>
                    <a:pt x="3181" y="772"/>
                    <a:pt x="3186" y="767"/>
                    <a:pt x="3185" y="762"/>
                  </a:cubicBezTo>
                  <a:cubicBezTo>
                    <a:pt x="3184" y="756"/>
                    <a:pt x="3176" y="751"/>
                    <a:pt x="3169" y="751"/>
                  </a:cubicBezTo>
                  <a:cubicBezTo>
                    <a:pt x="3169" y="751"/>
                    <a:pt x="3169" y="751"/>
                    <a:pt x="3169" y="751"/>
                  </a:cubicBezTo>
                  <a:moveTo>
                    <a:pt x="3088" y="751"/>
                  </a:moveTo>
                  <a:cubicBezTo>
                    <a:pt x="3080" y="751"/>
                    <a:pt x="3075" y="756"/>
                    <a:pt x="3076" y="762"/>
                  </a:cubicBezTo>
                  <a:cubicBezTo>
                    <a:pt x="3077" y="767"/>
                    <a:pt x="3084" y="772"/>
                    <a:pt x="3092" y="772"/>
                  </a:cubicBezTo>
                  <a:cubicBezTo>
                    <a:pt x="3100" y="772"/>
                    <a:pt x="3105" y="767"/>
                    <a:pt x="3104" y="761"/>
                  </a:cubicBezTo>
                  <a:cubicBezTo>
                    <a:pt x="3102" y="756"/>
                    <a:pt x="3095" y="751"/>
                    <a:pt x="3088" y="751"/>
                  </a:cubicBezTo>
                  <a:cubicBezTo>
                    <a:pt x="3088" y="751"/>
                    <a:pt x="3088" y="751"/>
                    <a:pt x="3088" y="751"/>
                  </a:cubicBezTo>
                  <a:moveTo>
                    <a:pt x="3208" y="751"/>
                  </a:moveTo>
                  <a:cubicBezTo>
                    <a:pt x="3201" y="751"/>
                    <a:pt x="3196" y="756"/>
                    <a:pt x="3197" y="761"/>
                  </a:cubicBezTo>
                  <a:cubicBezTo>
                    <a:pt x="3198" y="767"/>
                    <a:pt x="3206" y="772"/>
                    <a:pt x="3213" y="772"/>
                  </a:cubicBezTo>
                  <a:cubicBezTo>
                    <a:pt x="3221" y="772"/>
                    <a:pt x="3226" y="767"/>
                    <a:pt x="3224" y="761"/>
                  </a:cubicBezTo>
                  <a:cubicBezTo>
                    <a:pt x="3223" y="756"/>
                    <a:pt x="3216" y="751"/>
                    <a:pt x="3208" y="751"/>
                  </a:cubicBezTo>
                  <a:cubicBezTo>
                    <a:pt x="3208" y="751"/>
                    <a:pt x="3208" y="751"/>
                    <a:pt x="3208" y="751"/>
                  </a:cubicBezTo>
                  <a:moveTo>
                    <a:pt x="2780" y="751"/>
                  </a:moveTo>
                  <a:cubicBezTo>
                    <a:pt x="2772" y="751"/>
                    <a:pt x="2766" y="756"/>
                    <a:pt x="2767" y="761"/>
                  </a:cubicBezTo>
                  <a:cubicBezTo>
                    <a:pt x="2768" y="767"/>
                    <a:pt x="2774" y="772"/>
                    <a:pt x="2782" y="772"/>
                  </a:cubicBezTo>
                  <a:cubicBezTo>
                    <a:pt x="2789" y="772"/>
                    <a:pt x="2795" y="767"/>
                    <a:pt x="2794" y="761"/>
                  </a:cubicBezTo>
                  <a:cubicBezTo>
                    <a:pt x="2794" y="756"/>
                    <a:pt x="2787" y="751"/>
                    <a:pt x="2780" y="751"/>
                  </a:cubicBezTo>
                  <a:cubicBezTo>
                    <a:pt x="2780" y="751"/>
                    <a:pt x="2780" y="751"/>
                    <a:pt x="2780" y="751"/>
                  </a:cubicBezTo>
                  <a:moveTo>
                    <a:pt x="3127" y="751"/>
                  </a:moveTo>
                  <a:cubicBezTo>
                    <a:pt x="3119" y="751"/>
                    <a:pt x="3114" y="756"/>
                    <a:pt x="3115" y="761"/>
                  </a:cubicBezTo>
                  <a:cubicBezTo>
                    <a:pt x="3117" y="767"/>
                    <a:pt x="3124" y="772"/>
                    <a:pt x="3131" y="772"/>
                  </a:cubicBezTo>
                  <a:cubicBezTo>
                    <a:pt x="3139" y="772"/>
                    <a:pt x="3144" y="767"/>
                    <a:pt x="3143" y="761"/>
                  </a:cubicBezTo>
                  <a:cubicBezTo>
                    <a:pt x="3141" y="756"/>
                    <a:pt x="3134" y="751"/>
                    <a:pt x="3127" y="751"/>
                  </a:cubicBezTo>
                  <a:cubicBezTo>
                    <a:pt x="3127" y="751"/>
                    <a:pt x="3127" y="751"/>
                    <a:pt x="3127" y="751"/>
                  </a:cubicBezTo>
                  <a:moveTo>
                    <a:pt x="3711" y="751"/>
                  </a:moveTo>
                  <a:cubicBezTo>
                    <a:pt x="3704" y="751"/>
                    <a:pt x="3700" y="756"/>
                    <a:pt x="3702" y="761"/>
                  </a:cubicBezTo>
                  <a:cubicBezTo>
                    <a:pt x="3704" y="767"/>
                    <a:pt x="3712" y="772"/>
                    <a:pt x="3720" y="772"/>
                  </a:cubicBezTo>
                  <a:cubicBezTo>
                    <a:pt x="3728" y="772"/>
                    <a:pt x="3732" y="767"/>
                    <a:pt x="3729" y="761"/>
                  </a:cubicBezTo>
                  <a:cubicBezTo>
                    <a:pt x="3727" y="756"/>
                    <a:pt x="3719" y="751"/>
                    <a:pt x="3711" y="751"/>
                  </a:cubicBezTo>
                  <a:cubicBezTo>
                    <a:pt x="3711" y="751"/>
                    <a:pt x="3711" y="751"/>
                    <a:pt x="3711" y="751"/>
                  </a:cubicBezTo>
                  <a:moveTo>
                    <a:pt x="3244" y="751"/>
                  </a:moveTo>
                  <a:cubicBezTo>
                    <a:pt x="3237" y="751"/>
                    <a:pt x="3232" y="756"/>
                    <a:pt x="3233" y="761"/>
                  </a:cubicBezTo>
                  <a:cubicBezTo>
                    <a:pt x="3235" y="767"/>
                    <a:pt x="3242" y="771"/>
                    <a:pt x="3250" y="771"/>
                  </a:cubicBezTo>
                  <a:cubicBezTo>
                    <a:pt x="3257" y="771"/>
                    <a:pt x="3262" y="767"/>
                    <a:pt x="3261" y="761"/>
                  </a:cubicBezTo>
                  <a:cubicBezTo>
                    <a:pt x="3259" y="756"/>
                    <a:pt x="3252" y="751"/>
                    <a:pt x="3244" y="751"/>
                  </a:cubicBezTo>
                  <a:cubicBezTo>
                    <a:pt x="3244" y="751"/>
                    <a:pt x="3244" y="751"/>
                    <a:pt x="3244" y="751"/>
                  </a:cubicBezTo>
                  <a:moveTo>
                    <a:pt x="3750" y="751"/>
                  </a:moveTo>
                  <a:cubicBezTo>
                    <a:pt x="3742" y="751"/>
                    <a:pt x="3738" y="756"/>
                    <a:pt x="3741" y="761"/>
                  </a:cubicBezTo>
                  <a:cubicBezTo>
                    <a:pt x="3743" y="767"/>
                    <a:pt x="3751" y="771"/>
                    <a:pt x="3759" y="771"/>
                  </a:cubicBezTo>
                  <a:cubicBezTo>
                    <a:pt x="3766" y="771"/>
                    <a:pt x="3770" y="767"/>
                    <a:pt x="3768" y="761"/>
                  </a:cubicBezTo>
                  <a:cubicBezTo>
                    <a:pt x="3766" y="755"/>
                    <a:pt x="3757" y="751"/>
                    <a:pt x="3750" y="751"/>
                  </a:cubicBezTo>
                  <a:cubicBezTo>
                    <a:pt x="3750" y="751"/>
                    <a:pt x="3750" y="751"/>
                    <a:pt x="3750" y="751"/>
                  </a:cubicBezTo>
                  <a:moveTo>
                    <a:pt x="3284" y="751"/>
                  </a:moveTo>
                  <a:cubicBezTo>
                    <a:pt x="3276" y="751"/>
                    <a:pt x="3271" y="755"/>
                    <a:pt x="3273" y="761"/>
                  </a:cubicBezTo>
                  <a:cubicBezTo>
                    <a:pt x="3274" y="767"/>
                    <a:pt x="3282" y="771"/>
                    <a:pt x="3289" y="771"/>
                  </a:cubicBezTo>
                  <a:cubicBezTo>
                    <a:pt x="3297" y="771"/>
                    <a:pt x="3302" y="767"/>
                    <a:pt x="3300" y="761"/>
                  </a:cubicBezTo>
                  <a:cubicBezTo>
                    <a:pt x="3298" y="755"/>
                    <a:pt x="3291" y="751"/>
                    <a:pt x="3284" y="751"/>
                  </a:cubicBezTo>
                  <a:cubicBezTo>
                    <a:pt x="3284" y="751"/>
                    <a:pt x="3284" y="751"/>
                    <a:pt x="3284" y="751"/>
                  </a:cubicBezTo>
                  <a:moveTo>
                    <a:pt x="3789" y="751"/>
                  </a:moveTo>
                  <a:cubicBezTo>
                    <a:pt x="3781" y="751"/>
                    <a:pt x="3777" y="755"/>
                    <a:pt x="3780" y="761"/>
                  </a:cubicBezTo>
                  <a:cubicBezTo>
                    <a:pt x="3782" y="767"/>
                    <a:pt x="3790" y="771"/>
                    <a:pt x="3798" y="771"/>
                  </a:cubicBezTo>
                  <a:cubicBezTo>
                    <a:pt x="3806" y="771"/>
                    <a:pt x="3810" y="767"/>
                    <a:pt x="3807" y="761"/>
                  </a:cubicBezTo>
                  <a:cubicBezTo>
                    <a:pt x="3804" y="755"/>
                    <a:pt x="3796" y="751"/>
                    <a:pt x="3789" y="751"/>
                  </a:cubicBezTo>
                  <a:cubicBezTo>
                    <a:pt x="3789" y="751"/>
                    <a:pt x="3789" y="751"/>
                    <a:pt x="3789" y="751"/>
                  </a:cubicBezTo>
                  <a:moveTo>
                    <a:pt x="3322" y="751"/>
                  </a:moveTo>
                  <a:cubicBezTo>
                    <a:pt x="3315" y="751"/>
                    <a:pt x="3310" y="755"/>
                    <a:pt x="3311" y="761"/>
                  </a:cubicBezTo>
                  <a:cubicBezTo>
                    <a:pt x="3313" y="767"/>
                    <a:pt x="3320" y="771"/>
                    <a:pt x="3328" y="771"/>
                  </a:cubicBezTo>
                  <a:cubicBezTo>
                    <a:pt x="3336" y="771"/>
                    <a:pt x="3340" y="766"/>
                    <a:pt x="3339" y="761"/>
                  </a:cubicBezTo>
                  <a:cubicBezTo>
                    <a:pt x="3337" y="755"/>
                    <a:pt x="3330" y="751"/>
                    <a:pt x="3322" y="751"/>
                  </a:cubicBezTo>
                  <a:cubicBezTo>
                    <a:pt x="3322" y="751"/>
                    <a:pt x="3322" y="751"/>
                    <a:pt x="3322" y="751"/>
                  </a:cubicBezTo>
                  <a:moveTo>
                    <a:pt x="3830" y="750"/>
                  </a:moveTo>
                  <a:cubicBezTo>
                    <a:pt x="3823" y="750"/>
                    <a:pt x="3819" y="755"/>
                    <a:pt x="3821" y="761"/>
                  </a:cubicBezTo>
                  <a:cubicBezTo>
                    <a:pt x="3824" y="766"/>
                    <a:pt x="3832" y="771"/>
                    <a:pt x="3840" y="771"/>
                  </a:cubicBezTo>
                  <a:cubicBezTo>
                    <a:pt x="3847" y="771"/>
                    <a:pt x="3851" y="766"/>
                    <a:pt x="3848" y="761"/>
                  </a:cubicBezTo>
                  <a:cubicBezTo>
                    <a:pt x="3846" y="755"/>
                    <a:pt x="3838" y="750"/>
                    <a:pt x="3830" y="750"/>
                  </a:cubicBezTo>
                  <a:cubicBezTo>
                    <a:pt x="3830" y="750"/>
                    <a:pt x="3830" y="750"/>
                    <a:pt x="3830" y="750"/>
                  </a:cubicBezTo>
                  <a:moveTo>
                    <a:pt x="3361" y="750"/>
                  </a:moveTo>
                  <a:cubicBezTo>
                    <a:pt x="3353" y="750"/>
                    <a:pt x="3349" y="755"/>
                    <a:pt x="3350" y="761"/>
                  </a:cubicBezTo>
                  <a:cubicBezTo>
                    <a:pt x="3352" y="766"/>
                    <a:pt x="3360" y="771"/>
                    <a:pt x="3367" y="771"/>
                  </a:cubicBezTo>
                  <a:cubicBezTo>
                    <a:pt x="3375" y="771"/>
                    <a:pt x="3379" y="766"/>
                    <a:pt x="3378" y="761"/>
                  </a:cubicBezTo>
                  <a:cubicBezTo>
                    <a:pt x="3376" y="755"/>
                    <a:pt x="3368" y="750"/>
                    <a:pt x="3361" y="750"/>
                  </a:cubicBezTo>
                  <a:cubicBezTo>
                    <a:pt x="3361" y="750"/>
                    <a:pt x="3361" y="750"/>
                    <a:pt x="3361" y="750"/>
                  </a:cubicBezTo>
                  <a:moveTo>
                    <a:pt x="3868" y="750"/>
                  </a:moveTo>
                  <a:cubicBezTo>
                    <a:pt x="3861" y="750"/>
                    <a:pt x="3857" y="755"/>
                    <a:pt x="3860" y="761"/>
                  </a:cubicBezTo>
                  <a:cubicBezTo>
                    <a:pt x="3862" y="766"/>
                    <a:pt x="3871" y="771"/>
                    <a:pt x="3878" y="771"/>
                  </a:cubicBezTo>
                  <a:cubicBezTo>
                    <a:pt x="3886" y="771"/>
                    <a:pt x="3890" y="766"/>
                    <a:pt x="3887" y="760"/>
                  </a:cubicBezTo>
                  <a:cubicBezTo>
                    <a:pt x="3884" y="755"/>
                    <a:pt x="3876" y="750"/>
                    <a:pt x="3868" y="750"/>
                  </a:cubicBezTo>
                  <a:cubicBezTo>
                    <a:pt x="3868" y="750"/>
                    <a:pt x="3868" y="750"/>
                    <a:pt x="3868" y="750"/>
                  </a:cubicBezTo>
                  <a:moveTo>
                    <a:pt x="3399" y="750"/>
                  </a:moveTo>
                  <a:cubicBezTo>
                    <a:pt x="3392" y="750"/>
                    <a:pt x="3387" y="755"/>
                    <a:pt x="3389" y="761"/>
                  </a:cubicBezTo>
                  <a:cubicBezTo>
                    <a:pt x="3391" y="766"/>
                    <a:pt x="3398" y="771"/>
                    <a:pt x="3406" y="771"/>
                  </a:cubicBezTo>
                  <a:cubicBezTo>
                    <a:pt x="3413" y="771"/>
                    <a:pt x="3418" y="766"/>
                    <a:pt x="3416" y="760"/>
                  </a:cubicBezTo>
                  <a:cubicBezTo>
                    <a:pt x="3415" y="755"/>
                    <a:pt x="3407" y="750"/>
                    <a:pt x="3400" y="750"/>
                  </a:cubicBezTo>
                  <a:cubicBezTo>
                    <a:pt x="3400" y="750"/>
                    <a:pt x="3400" y="750"/>
                    <a:pt x="3399" y="750"/>
                  </a:cubicBezTo>
                  <a:moveTo>
                    <a:pt x="3907" y="750"/>
                  </a:moveTo>
                  <a:cubicBezTo>
                    <a:pt x="3899" y="750"/>
                    <a:pt x="3895" y="755"/>
                    <a:pt x="3898" y="760"/>
                  </a:cubicBezTo>
                  <a:cubicBezTo>
                    <a:pt x="3901" y="766"/>
                    <a:pt x="3909" y="771"/>
                    <a:pt x="3917" y="771"/>
                  </a:cubicBezTo>
                  <a:cubicBezTo>
                    <a:pt x="3924" y="771"/>
                    <a:pt x="3928" y="766"/>
                    <a:pt x="3926" y="760"/>
                  </a:cubicBezTo>
                  <a:cubicBezTo>
                    <a:pt x="3923" y="755"/>
                    <a:pt x="3914" y="750"/>
                    <a:pt x="3907" y="750"/>
                  </a:cubicBezTo>
                  <a:cubicBezTo>
                    <a:pt x="3907" y="750"/>
                    <a:pt x="3907" y="750"/>
                    <a:pt x="3907" y="750"/>
                  </a:cubicBezTo>
                  <a:moveTo>
                    <a:pt x="3438" y="750"/>
                  </a:moveTo>
                  <a:cubicBezTo>
                    <a:pt x="3431" y="750"/>
                    <a:pt x="3426" y="755"/>
                    <a:pt x="3428" y="760"/>
                  </a:cubicBezTo>
                  <a:cubicBezTo>
                    <a:pt x="3430" y="766"/>
                    <a:pt x="3438" y="771"/>
                    <a:pt x="3445" y="771"/>
                  </a:cubicBezTo>
                  <a:cubicBezTo>
                    <a:pt x="3453" y="770"/>
                    <a:pt x="3457" y="766"/>
                    <a:pt x="3455" y="760"/>
                  </a:cubicBezTo>
                  <a:cubicBezTo>
                    <a:pt x="3453" y="755"/>
                    <a:pt x="3446" y="750"/>
                    <a:pt x="3438" y="750"/>
                  </a:cubicBezTo>
                  <a:cubicBezTo>
                    <a:pt x="3438" y="750"/>
                    <a:pt x="3438" y="750"/>
                    <a:pt x="3438" y="750"/>
                  </a:cubicBezTo>
                  <a:moveTo>
                    <a:pt x="3946" y="750"/>
                  </a:moveTo>
                  <a:cubicBezTo>
                    <a:pt x="3938" y="750"/>
                    <a:pt x="3934" y="755"/>
                    <a:pt x="3937" y="760"/>
                  </a:cubicBezTo>
                  <a:cubicBezTo>
                    <a:pt x="3940" y="766"/>
                    <a:pt x="3949" y="770"/>
                    <a:pt x="3956" y="770"/>
                  </a:cubicBezTo>
                  <a:cubicBezTo>
                    <a:pt x="3964" y="770"/>
                    <a:pt x="3967" y="766"/>
                    <a:pt x="3965" y="760"/>
                  </a:cubicBezTo>
                  <a:cubicBezTo>
                    <a:pt x="3962" y="754"/>
                    <a:pt x="3953" y="750"/>
                    <a:pt x="3946" y="750"/>
                  </a:cubicBezTo>
                  <a:cubicBezTo>
                    <a:pt x="3946" y="750"/>
                    <a:pt x="3946" y="750"/>
                    <a:pt x="3946" y="750"/>
                  </a:cubicBezTo>
                  <a:moveTo>
                    <a:pt x="3478" y="750"/>
                  </a:moveTo>
                  <a:cubicBezTo>
                    <a:pt x="3470" y="750"/>
                    <a:pt x="3466" y="754"/>
                    <a:pt x="3467" y="760"/>
                  </a:cubicBezTo>
                  <a:cubicBezTo>
                    <a:pt x="3469" y="766"/>
                    <a:pt x="3477" y="770"/>
                    <a:pt x="3485" y="770"/>
                  </a:cubicBezTo>
                  <a:cubicBezTo>
                    <a:pt x="3492" y="770"/>
                    <a:pt x="3497" y="766"/>
                    <a:pt x="3495" y="760"/>
                  </a:cubicBezTo>
                  <a:cubicBezTo>
                    <a:pt x="3493" y="754"/>
                    <a:pt x="3485" y="750"/>
                    <a:pt x="3478" y="750"/>
                  </a:cubicBezTo>
                  <a:cubicBezTo>
                    <a:pt x="3478" y="750"/>
                    <a:pt x="3478" y="750"/>
                    <a:pt x="3478" y="750"/>
                  </a:cubicBezTo>
                  <a:moveTo>
                    <a:pt x="3985" y="750"/>
                  </a:moveTo>
                  <a:cubicBezTo>
                    <a:pt x="3977" y="750"/>
                    <a:pt x="3974" y="754"/>
                    <a:pt x="3977" y="760"/>
                  </a:cubicBezTo>
                  <a:cubicBezTo>
                    <a:pt x="3980" y="766"/>
                    <a:pt x="3988" y="770"/>
                    <a:pt x="3996" y="770"/>
                  </a:cubicBezTo>
                  <a:cubicBezTo>
                    <a:pt x="4003" y="770"/>
                    <a:pt x="4007" y="766"/>
                    <a:pt x="4004" y="760"/>
                  </a:cubicBezTo>
                  <a:cubicBezTo>
                    <a:pt x="4001" y="754"/>
                    <a:pt x="3993" y="750"/>
                    <a:pt x="3985" y="750"/>
                  </a:cubicBezTo>
                  <a:cubicBezTo>
                    <a:pt x="3985" y="750"/>
                    <a:pt x="3985" y="750"/>
                    <a:pt x="3985" y="750"/>
                  </a:cubicBezTo>
                  <a:moveTo>
                    <a:pt x="3516" y="750"/>
                  </a:moveTo>
                  <a:cubicBezTo>
                    <a:pt x="3509" y="750"/>
                    <a:pt x="3504" y="754"/>
                    <a:pt x="3506" y="760"/>
                  </a:cubicBezTo>
                  <a:cubicBezTo>
                    <a:pt x="3508" y="766"/>
                    <a:pt x="3516" y="770"/>
                    <a:pt x="3523" y="770"/>
                  </a:cubicBezTo>
                  <a:cubicBezTo>
                    <a:pt x="3531" y="770"/>
                    <a:pt x="3535" y="765"/>
                    <a:pt x="3533" y="760"/>
                  </a:cubicBezTo>
                  <a:cubicBezTo>
                    <a:pt x="3531" y="754"/>
                    <a:pt x="3524" y="750"/>
                    <a:pt x="3516" y="750"/>
                  </a:cubicBezTo>
                  <a:cubicBezTo>
                    <a:pt x="3516" y="750"/>
                    <a:pt x="3516" y="750"/>
                    <a:pt x="3516" y="750"/>
                  </a:cubicBezTo>
                  <a:moveTo>
                    <a:pt x="4024" y="749"/>
                  </a:moveTo>
                  <a:cubicBezTo>
                    <a:pt x="4016" y="750"/>
                    <a:pt x="4012" y="754"/>
                    <a:pt x="4015" y="760"/>
                  </a:cubicBezTo>
                  <a:cubicBezTo>
                    <a:pt x="4018" y="766"/>
                    <a:pt x="4027" y="770"/>
                    <a:pt x="4034" y="770"/>
                  </a:cubicBezTo>
                  <a:cubicBezTo>
                    <a:pt x="4042" y="770"/>
                    <a:pt x="4046" y="765"/>
                    <a:pt x="4043" y="760"/>
                  </a:cubicBezTo>
                  <a:cubicBezTo>
                    <a:pt x="4040" y="754"/>
                    <a:pt x="4031" y="749"/>
                    <a:pt x="4024" y="749"/>
                  </a:cubicBezTo>
                  <a:cubicBezTo>
                    <a:pt x="4024" y="749"/>
                    <a:pt x="4024" y="749"/>
                    <a:pt x="4024" y="749"/>
                  </a:cubicBezTo>
                  <a:moveTo>
                    <a:pt x="3555" y="749"/>
                  </a:moveTo>
                  <a:cubicBezTo>
                    <a:pt x="3547" y="749"/>
                    <a:pt x="3543" y="754"/>
                    <a:pt x="3545" y="760"/>
                  </a:cubicBezTo>
                  <a:cubicBezTo>
                    <a:pt x="3547" y="765"/>
                    <a:pt x="3555" y="770"/>
                    <a:pt x="3563" y="770"/>
                  </a:cubicBezTo>
                  <a:cubicBezTo>
                    <a:pt x="3570" y="770"/>
                    <a:pt x="3574" y="765"/>
                    <a:pt x="3572" y="760"/>
                  </a:cubicBezTo>
                  <a:cubicBezTo>
                    <a:pt x="3570" y="754"/>
                    <a:pt x="3562" y="749"/>
                    <a:pt x="3555" y="749"/>
                  </a:cubicBezTo>
                  <a:cubicBezTo>
                    <a:pt x="3555" y="749"/>
                    <a:pt x="3555" y="749"/>
                    <a:pt x="3555" y="749"/>
                  </a:cubicBezTo>
                  <a:moveTo>
                    <a:pt x="4061" y="749"/>
                  </a:moveTo>
                  <a:cubicBezTo>
                    <a:pt x="4054" y="749"/>
                    <a:pt x="4050" y="754"/>
                    <a:pt x="4053" y="760"/>
                  </a:cubicBezTo>
                  <a:cubicBezTo>
                    <a:pt x="4056" y="765"/>
                    <a:pt x="4065" y="770"/>
                    <a:pt x="4072" y="770"/>
                  </a:cubicBezTo>
                  <a:cubicBezTo>
                    <a:pt x="4080" y="770"/>
                    <a:pt x="4083" y="765"/>
                    <a:pt x="4080" y="760"/>
                  </a:cubicBezTo>
                  <a:cubicBezTo>
                    <a:pt x="4077" y="754"/>
                    <a:pt x="4069" y="749"/>
                    <a:pt x="4061" y="749"/>
                  </a:cubicBezTo>
                  <a:cubicBezTo>
                    <a:pt x="4061" y="749"/>
                    <a:pt x="4061" y="749"/>
                    <a:pt x="4061" y="749"/>
                  </a:cubicBezTo>
                  <a:moveTo>
                    <a:pt x="3593" y="749"/>
                  </a:moveTo>
                  <a:cubicBezTo>
                    <a:pt x="3586" y="749"/>
                    <a:pt x="3582" y="754"/>
                    <a:pt x="3584" y="760"/>
                  </a:cubicBezTo>
                  <a:cubicBezTo>
                    <a:pt x="3586" y="765"/>
                    <a:pt x="3594" y="770"/>
                    <a:pt x="3601" y="770"/>
                  </a:cubicBezTo>
                  <a:cubicBezTo>
                    <a:pt x="3609" y="770"/>
                    <a:pt x="3613" y="765"/>
                    <a:pt x="3611" y="759"/>
                  </a:cubicBezTo>
                  <a:cubicBezTo>
                    <a:pt x="3609" y="754"/>
                    <a:pt x="3601" y="749"/>
                    <a:pt x="3594" y="749"/>
                  </a:cubicBezTo>
                  <a:cubicBezTo>
                    <a:pt x="3594" y="749"/>
                    <a:pt x="3594" y="749"/>
                    <a:pt x="3593" y="749"/>
                  </a:cubicBezTo>
                  <a:moveTo>
                    <a:pt x="3632" y="749"/>
                  </a:moveTo>
                  <a:cubicBezTo>
                    <a:pt x="3625" y="749"/>
                    <a:pt x="3621" y="754"/>
                    <a:pt x="3623" y="759"/>
                  </a:cubicBezTo>
                  <a:cubicBezTo>
                    <a:pt x="3625" y="765"/>
                    <a:pt x="3633" y="770"/>
                    <a:pt x="3640" y="770"/>
                  </a:cubicBezTo>
                  <a:cubicBezTo>
                    <a:pt x="3648" y="770"/>
                    <a:pt x="3652" y="765"/>
                    <a:pt x="3650" y="759"/>
                  </a:cubicBezTo>
                  <a:cubicBezTo>
                    <a:pt x="3648" y="754"/>
                    <a:pt x="3640" y="749"/>
                    <a:pt x="3632" y="749"/>
                  </a:cubicBezTo>
                  <a:cubicBezTo>
                    <a:pt x="3632" y="749"/>
                    <a:pt x="3632" y="749"/>
                    <a:pt x="3632" y="749"/>
                  </a:cubicBezTo>
                  <a:moveTo>
                    <a:pt x="3672" y="749"/>
                  </a:moveTo>
                  <a:cubicBezTo>
                    <a:pt x="3664" y="749"/>
                    <a:pt x="3660" y="754"/>
                    <a:pt x="3662" y="759"/>
                  </a:cubicBezTo>
                  <a:cubicBezTo>
                    <a:pt x="3664" y="765"/>
                    <a:pt x="3672" y="769"/>
                    <a:pt x="3680" y="769"/>
                  </a:cubicBezTo>
                  <a:cubicBezTo>
                    <a:pt x="3688" y="769"/>
                    <a:pt x="3692" y="765"/>
                    <a:pt x="3689" y="759"/>
                  </a:cubicBezTo>
                  <a:cubicBezTo>
                    <a:pt x="3687" y="753"/>
                    <a:pt x="3679" y="749"/>
                    <a:pt x="3672" y="749"/>
                  </a:cubicBezTo>
                  <a:cubicBezTo>
                    <a:pt x="3672" y="749"/>
                    <a:pt x="3672" y="749"/>
                    <a:pt x="3672" y="749"/>
                  </a:cubicBezTo>
                  <a:moveTo>
                    <a:pt x="232" y="739"/>
                  </a:moveTo>
                  <a:cubicBezTo>
                    <a:pt x="224" y="739"/>
                    <a:pt x="215" y="744"/>
                    <a:pt x="210" y="749"/>
                  </a:cubicBezTo>
                  <a:cubicBezTo>
                    <a:pt x="206" y="755"/>
                    <a:pt x="208" y="760"/>
                    <a:pt x="216" y="760"/>
                  </a:cubicBezTo>
                  <a:cubicBezTo>
                    <a:pt x="223" y="760"/>
                    <a:pt x="233" y="755"/>
                    <a:pt x="237" y="749"/>
                  </a:cubicBezTo>
                  <a:cubicBezTo>
                    <a:pt x="242" y="744"/>
                    <a:pt x="239" y="739"/>
                    <a:pt x="232" y="739"/>
                  </a:cubicBezTo>
                  <a:cubicBezTo>
                    <a:pt x="232" y="739"/>
                    <a:pt x="232" y="739"/>
                    <a:pt x="232" y="739"/>
                  </a:cubicBezTo>
                  <a:moveTo>
                    <a:pt x="37" y="739"/>
                  </a:moveTo>
                  <a:cubicBezTo>
                    <a:pt x="29" y="739"/>
                    <a:pt x="19" y="744"/>
                    <a:pt x="14" y="749"/>
                  </a:cubicBezTo>
                  <a:cubicBezTo>
                    <a:pt x="10" y="755"/>
                    <a:pt x="12" y="760"/>
                    <a:pt x="19" y="759"/>
                  </a:cubicBezTo>
                  <a:cubicBezTo>
                    <a:pt x="27" y="759"/>
                    <a:pt x="37" y="755"/>
                    <a:pt x="41" y="749"/>
                  </a:cubicBezTo>
                  <a:cubicBezTo>
                    <a:pt x="46" y="744"/>
                    <a:pt x="44" y="739"/>
                    <a:pt x="37" y="739"/>
                  </a:cubicBezTo>
                  <a:cubicBezTo>
                    <a:pt x="37" y="739"/>
                    <a:pt x="37" y="739"/>
                    <a:pt x="37" y="739"/>
                  </a:cubicBezTo>
                  <a:moveTo>
                    <a:pt x="115" y="739"/>
                  </a:moveTo>
                  <a:cubicBezTo>
                    <a:pt x="108" y="739"/>
                    <a:pt x="98" y="743"/>
                    <a:pt x="93" y="749"/>
                  </a:cubicBezTo>
                  <a:cubicBezTo>
                    <a:pt x="89" y="755"/>
                    <a:pt x="91" y="759"/>
                    <a:pt x="98" y="759"/>
                  </a:cubicBezTo>
                  <a:cubicBezTo>
                    <a:pt x="106" y="759"/>
                    <a:pt x="116" y="754"/>
                    <a:pt x="120" y="749"/>
                  </a:cubicBezTo>
                  <a:cubicBezTo>
                    <a:pt x="125" y="743"/>
                    <a:pt x="123" y="739"/>
                    <a:pt x="115" y="739"/>
                  </a:cubicBezTo>
                  <a:cubicBezTo>
                    <a:pt x="115" y="739"/>
                    <a:pt x="115" y="739"/>
                    <a:pt x="115" y="739"/>
                  </a:cubicBezTo>
                  <a:moveTo>
                    <a:pt x="311" y="738"/>
                  </a:moveTo>
                  <a:cubicBezTo>
                    <a:pt x="303" y="738"/>
                    <a:pt x="294" y="742"/>
                    <a:pt x="290" y="748"/>
                  </a:cubicBezTo>
                  <a:cubicBezTo>
                    <a:pt x="285" y="754"/>
                    <a:pt x="288" y="758"/>
                    <a:pt x="296" y="758"/>
                  </a:cubicBezTo>
                  <a:cubicBezTo>
                    <a:pt x="303" y="758"/>
                    <a:pt x="313" y="754"/>
                    <a:pt x="317" y="748"/>
                  </a:cubicBezTo>
                  <a:cubicBezTo>
                    <a:pt x="321" y="742"/>
                    <a:pt x="318" y="738"/>
                    <a:pt x="311" y="738"/>
                  </a:cubicBezTo>
                  <a:cubicBezTo>
                    <a:pt x="311" y="738"/>
                    <a:pt x="311" y="738"/>
                    <a:pt x="311" y="738"/>
                  </a:cubicBezTo>
                  <a:moveTo>
                    <a:pt x="273" y="737"/>
                  </a:moveTo>
                  <a:cubicBezTo>
                    <a:pt x="265" y="737"/>
                    <a:pt x="256" y="742"/>
                    <a:pt x="252" y="748"/>
                  </a:cubicBezTo>
                  <a:cubicBezTo>
                    <a:pt x="247" y="753"/>
                    <a:pt x="250" y="758"/>
                    <a:pt x="257" y="758"/>
                  </a:cubicBezTo>
                  <a:cubicBezTo>
                    <a:pt x="265" y="758"/>
                    <a:pt x="274" y="753"/>
                    <a:pt x="279" y="748"/>
                  </a:cubicBezTo>
                  <a:cubicBezTo>
                    <a:pt x="283" y="742"/>
                    <a:pt x="280" y="737"/>
                    <a:pt x="273" y="737"/>
                  </a:cubicBezTo>
                  <a:cubicBezTo>
                    <a:pt x="273" y="737"/>
                    <a:pt x="273" y="737"/>
                    <a:pt x="273" y="737"/>
                  </a:cubicBezTo>
                  <a:moveTo>
                    <a:pt x="582" y="736"/>
                  </a:moveTo>
                  <a:cubicBezTo>
                    <a:pt x="574" y="737"/>
                    <a:pt x="565" y="741"/>
                    <a:pt x="561" y="747"/>
                  </a:cubicBezTo>
                  <a:cubicBezTo>
                    <a:pt x="558" y="752"/>
                    <a:pt x="561" y="757"/>
                    <a:pt x="568" y="757"/>
                  </a:cubicBezTo>
                  <a:cubicBezTo>
                    <a:pt x="576" y="757"/>
                    <a:pt x="585" y="752"/>
                    <a:pt x="589" y="747"/>
                  </a:cubicBezTo>
                  <a:cubicBezTo>
                    <a:pt x="592" y="741"/>
                    <a:pt x="589" y="736"/>
                    <a:pt x="582" y="736"/>
                  </a:cubicBezTo>
                  <a:cubicBezTo>
                    <a:pt x="582" y="736"/>
                    <a:pt x="582" y="736"/>
                    <a:pt x="582" y="736"/>
                  </a:cubicBezTo>
                  <a:moveTo>
                    <a:pt x="157" y="736"/>
                  </a:moveTo>
                  <a:cubicBezTo>
                    <a:pt x="150" y="736"/>
                    <a:pt x="140" y="741"/>
                    <a:pt x="136" y="746"/>
                  </a:cubicBezTo>
                  <a:cubicBezTo>
                    <a:pt x="131" y="752"/>
                    <a:pt x="134" y="756"/>
                    <a:pt x="141" y="756"/>
                  </a:cubicBezTo>
                  <a:cubicBezTo>
                    <a:pt x="149" y="756"/>
                    <a:pt x="158" y="752"/>
                    <a:pt x="163" y="746"/>
                  </a:cubicBezTo>
                  <a:cubicBezTo>
                    <a:pt x="167" y="741"/>
                    <a:pt x="165" y="736"/>
                    <a:pt x="158" y="736"/>
                  </a:cubicBezTo>
                  <a:cubicBezTo>
                    <a:pt x="158" y="736"/>
                    <a:pt x="158" y="736"/>
                    <a:pt x="157" y="736"/>
                  </a:cubicBezTo>
                  <a:moveTo>
                    <a:pt x="196" y="736"/>
                  </a:moveTo>
                  <a:cubicBezTo>
                    <a:pt x="188" y="736"/>
                    <a:pt x="179" y="741"/>
                    <a:pt x="174" y="746"/>
                  </a:cubicBezTo>
                  <a:cubicBezTo>
                    <a:pt x="170" y="752"/>
                    <a:pt x="172" y="756"/>
                    <a:pt x="180" y="756"/>
                  </a:cubicBezTo>
                  <a:cubicBezTo>
                    <a:pt x="187" y="756"/>
                    <a:pt x="197" y="752"/>
                    <a:pt x="201" y="746"/>
                  </a:cubicBezTo>
                  <a:cubicBezTo>
                    <a:pt x="206" y="741"/>
                    <a:pt x="203" y="736"/>
                    <a:pt x="196" y="736"/>
                  </a:cubicBezTo>
                  <a:cubicBezTo>
                    <a:pt x="196" y="736"/>
                    <a:pt x="196" y="736"/>
                    <a:pt x="196" y="736"/>
                  </a:cubicBezTo>
                  <a:moveTo>
                    <a:pt x="1775" y="729"/>
                  </a:moveTo>
                  <a:cubicBezTo>
                    <a:pt x="1768" y="729"/>
                    <a:pt x="1760" y="733"/>
                    <a:pt x="1759" y="739"/>
                  </a:cubicBezTo>
                  <a:cubicBezTo>
                    <a:pt x="1758" y="744"/>
                    <a:pt x="1763" y="749"/>
                    <a:pt x="1770" y="749"/>
                  </a:cubicBezTo>
                  <a:cubicBezTo>
                    <a:pt x="1778" y="749"/>
                    <a:pt x="1785" y="744"/>
                    <a:pt x="1786" y="739"/>
                  </a:cubicBezTo>
                  <a:cubicBezTo>
                    <a:pt x="1787" y="733"/>
                    <a:pt x="1783" y="729"/>
                    <a:pt x="1775" y="729"/>
                  </a:cubicBezTo>
                  <a:cubicBezTo>
                    <a:pt x="1775" y="729"/>
                    <a:pt x="1775" y="729"/>
                    <a:pt x="1775" y="729"/>
                  </a:cubicBezTo>
                  <a:moveTo>
                    <a:pt x="1813" y="728"/>
                  </a:moveTo>
                  <a:cubicBezTo>
                    <a:pt x="1806" y="728"/>
                    <a:pt x="1799" y="733"/>
                    <a:pt x="1797" y="739"/>
                  </a:cubicBezTo>
                  <a:cubicBezTo>
                    <a:pt x="1796" y="744"/>
                    <a:pt x="1801" y="749"/>
                    <a:pt x="1809" y="749"/>
                  </a:cubicBezTo>
                  <a:cubicBezTo>
                    <a:pt x="1816" y="749"/>
                    <a:pt x="1823" y="744"/>
                    <a:pt x="1824" y="739"/>
                  </a:cubicBezTo>
                  <a:cubicBezTo>
                    <a:pt x="1826" y="733"/>
                    <a:pt x="1821" y="728"/>
                    <a:pt x="1813" y="728"/>
                  </a:cubicBezTo>
                  <a:cubicBezTo>
                    <a:pt x="1813" y="728"/>
                    <a:pt x="1813" y="728"/>
                    <a:pt x="1813" y="728"/>
                  </a:cubicBezTo>
                  <a:moveTo>
                    <a:pt x="1852" y="728"/>
                  </a:moveTo>
                  <a:cubicBezTo>
                    <a:pt x="1844" y="728"/>
                    <a:pt x="1837" y="733"/>
                    <a:pt x="1836" y="738"/>
                  </a:cubicBezTo>
                  <a:cubicBezTo>
                    <a:pt x="1835" y="744"/>
                    <a:pt x="1840" y="749"/>
                    <a:pt x="1847" y="749"/>
                  </a:cubicBezTo>
                  <a:cubicBezTo>
                    <a:pt x="1855" y="749"/>
                    <a:pt x="1862" y="744"/>
                    <a:pt x="1863" y="738"/>
                  </a:cubicBezTo>
                  <a:cubicBezTo>
                    <a:pt x="1864" y="733"/>
                    <a:pt x="1859" y="728"/>
                    <a:pt x="1852" y="728"/>
                  </a:cubicBezTo>
                  <a:cubicBezTo>
                    <a:pt x="1852" y="728"/>
                    <a:pt x="1852" y="728"/>
                    <a:pt x="1852" y="728"/>
                  </a:cubicBezTo>
                  <a:moveTo>
                    <a:pt x="1891" y="728"/>
                  </a:moveTo>
                  <a:cubicBezTo>
                    <a:pt x="1883" y="728"/>
                    <a:pt x="1876" y="733"/>
                    <a:pt x="1875" y="738"/>
                  </a:cubicBezTo>
                  <a:cubicBezTo>
                    <a:pt x="1874" y="744"/>
                    <a:pt x="1879" y="748"/>
                    <a:pt x="1887" y="748"/>
                  </a:cubicBezTo>
                  <a:cubicBezTo>
                    <a:pt x="1894" y="748"/>
                    <a:pt x="1901" y="744"/>
                    <a:pt x="1902" y="738"/>
                  </a:cubicBezTo>
                  <a:cubicBezTo>
                    <a:pt x="1903" y="733"/>
                    <a:pt x="1898" y="728"/>
                    <a:pt x="1891" y="728"/>
                  </a:cubicBezTo>
                  <a:cubicBezTo>
                    <a:pt x="1891" y="728"/>
                    <a:pt x="1891" y="728"/>
                    <a:pt x="1891" y="728"/>
                  </a:cubicBezTo>
                  <a:moveTo>
                    <a:pt x="1929" y="728"/>
                  </a:moveTo>
                  <a:cubicBezTo>
                    <a:pt x="1922" y="728"/>
                    <a:pt x="1915" y="732"/>
                    <a:pt x="1914" y="738"/>
                  </a:cubicBezTo>
                  <a:cubicBezTo>
                    <a:pt x="1912" y="744"/>
                    <a:pt x="1918" y="748"/>
                    <a:pt x="1925" y="748"/>
                  </a:cubicBezTo>
                  <a:cubicBezTo>
                    <a:pt x="1933" y="748"/>
                    <a:pt x="1940" y="744"/>
                    <a:pt x="1941" y="738"/>
                  </a:cubicBezTo>
                  <a:cubicBezTo>
                    <a:pt x="1942" y="732"/>
                    <a:pt x="1937" y="728"/>
                    <a:pt x="1929" y="728"/>
                  </a:cubicBezTo>
                  <a:cubicBezTo>
                    <a:pt x="1929" y="728"/>
                    <a:pt x="1929" y="728"/>
                    <a:pt x="1929" y="728"/>
                  </a:cubicBezTo>
                  <a:moveTo>
                    <a:pt x="1968" y="728"/>
                  </a:moveTo>
                  <a:cubicBezTo>
                    <a:pt x="1960" y="728"/>
                    <a:pt x="1953" y="732"/>
                    <a:pt x="1952" y="738"/>
                  </a:cubicBezTo>
                  <a:cubicBezTo>
                    <a:pt x="1951" y="744"/>
                    <a:pt x="1956" y="748"/>
                    <a:pt x="1964" y="748"/>
                  </a:cubicBezTo>
                  <a:cubicBezTo>
                    <a:pt x="1971" y="748"/>
                    <a:pt x="1978" y="743"/>
                    <a:pt x="1979" y="738"/>
                  </a:cubicBezTo>
                  <a:cubicBezTo>
                    <a:pt x="1980" y="732"/>
                    <a:pt x="1975" y="728"/>
                    <a:pt x="1968" y="728"/>
                  </a:cubicBezTo>
                  <a:cubicBezTo>
                    <a:pt x="1968" y="728"/>
                    <a:pt x="1968" y="728"/>
                    <a:pt x="1968" y="728"/>
                  </a:cubicBezTo>
                  <a:moveTo>
                    <a:pt x="2006" y="727"/>
                  </a:moveTo>
                  <a:cubicBezTo>
                    <a:pt x="1998" y="727"/>
                    <a:pt x="1992" y="732"/>
                    <a:pt x="1991" y="738"/>
                  </a:cubicBezTo>
                  <a:cubicBezTo>
                    <a:pt x="1990" y="743"/>
                    <a:pt x="1995" y="748"/>
                    <a:pt x="2002" y="748"/>
                  </a:cubicBezTo>
                  <a:cubicBezTo>
                    <a:pt x="2010" y="748"/>
                    <a:pt x="2017" y="743"/>
                    <a:pt x="2018" y="738"/>
                  </a:cubicBezTo>
                  <a:cubicBezTo>
                    <a:pt x="2019" y="732"/>
                    <a:pt x="2013" y="727"/>
                    <a:pt x="2006" y="727"/>
                  </a:cubicBezTo>
                  <a:cubicBezTo>
                    <a:pt x="2006" y="727"/>
                    <a:pt x="2006" y="727"/>
                    <a:pt x="2006" y="727"/>
                  </a:cubicBezTo>
                  <a:moveTo>
                    <a:pt x="2044" y="727"/>
                  </a:moveTo>
                  <a:cubicBezTo>
                    <a:pt x="2037" y="727"/>
                    <a:pt x="2030" y="732"/>
                    <a:pt x="2029" y="737"/>
                  </a:cubicBezTo>
                  <a:cubicBezTo>
                    <a:pt x="2028" y="743"/>
                    <a:pt x="2034" y="748"/>
                    <a:pt x="2041" y="748"/>
                  </a:cubicBezTo>
                  <a:cubicBezTo>
                    <a:pt x="2049" y="748"/>
                    <a:pt x="2056" y="743"/>
                    <a:pt x="2056" y="737"/>
                  </a:cubicBezTo>
                  <a:cubicBezTo>
                    <a:pt x="2057" y="732"/>
                    <a:pt x="2052" y="727"/>
                    <a:pt x="2045" y="727"/>
                  </a:cubicBezTo>
                  <a:cubicBezTo>
                    <a:pt x="2044" y="727"/>
                    <a:pt x="2044" y="727"/>
                    <a:pt x="2044" y="727"/>
                  </a:cubicBezTo>
                  <a:moveTo>
                    <a:pt x="2084" y="727"/>
                  </a:moveTo>
                  <a:cubicBezTo>
                    <a:pt x="2077" y="727"/>
                    <a:pt x="2070" y="732"/>
                    <a:pt x="2069" y="737"/>
                  </a:cubicBezTo>
                  <a:cubicBezTo>
                    <a:pt x="2068" y="743"/>
                    <a:pt x="2074" y="747"/>
                    <a:pt x="2081" y="747"/>
                  </a:cubicBezTo>
                  <a:cubicBezTo>
                    <a:pt x="2089" y="747"/>
                    <a:pt x="2095" y="743"/>
                    <a:pt x="2096" y="737"/>
                  </a:cubicBezTo>
                  <a:cubicBezTo>
                    <a:pt x="2097" y="732"/>
                    <a:pt x="2092" y="727"/>
                    <a:pt x="2084" y="727"/>
                  </a:cubicBezTo>
                  <a:cubicBezTo>
                    <a:pt x="2084" y="727"/>
                    <a:pt x="2084" y="727"/>
                    <a:pt x="2084" y="727"/>
                  </a:cubicBezTo>
                  <a:moveTo>
                    <a:pt x="2122" y="727"/>
                  </a:moveTo>
                  <a:cubicBezTo>
                    <a:pt x="2115" y="727"/>
                    <a:pt x="2108" y="731"/>
                    <a:pt x="2108" y="737"/>
                  </a:cubicBezTo>
                  <a:cubicBezTo>
                    <a:pt x="2107" y="743"/>
                    <a:pt x="2112" y="747"/>
                    <a:pt x="2120" y="747"/>
                  </a:cubicBezTo>
                  <a:cubicBezTo>
                    <a:pt x="2127" y="747"/>
                    <a:pt x="2134" y="743"/>
                    <a:pt x="2135" y="737"/>
                  </a:cubicBezTo>
                  <a:cubicBezTo>
                    <a:pt x="2135" y="731"/>
                    <a:pt x="2130" y="727"/>
                    <a:pt x="2122" y="727"/>
                  </a:cubicBezTo>
                  <a:cubicBezTo>
                    <a:pt x="2122" y="727"/>
                    <a:pt x="2122" y="727"/>
                    <a:pt x="2122" y="727"/>
                  </a:cubicBezTo>
                  <a:moveTo>
                    <a:pt x="2161" y="727"/>
                  </a:moveTo>
                  <a:cubicBezTo>
                    <a:pt x="2154" y="727"/>
                    <a:pt x="2147" y="731"/>
                    <a:pt x="2146" y="737"/>
                  </a:cubicBezTo>
                  <a:cubicBezTo>
                    <a:pt x="2146" y="743"/>
                    <a:pt x="2151" y="747"/>
                    <a:pt x="2159" y="747"/>
                  </a:cubicBezTo>
                  <a:cubicBezTo>
                    <a:pt x="2166" y="747"/>
                    <a:pt x="2173" y="742"/>
                    <a:pt x="2173" y="737"/>
                  </a:cubicBezTo>
                  <a:cubicBezTo>
                    <a:pt x="2174" y="731"/>
                    <a:pt x="2168" y="727"/>
                    <a:pt x="2161" y="727"/>
                  </a:cubicBezTo>
                  <a:cubicBezTo>
                    <a:pt x="2161" y="727"/>
                    <a:pt x="2161" y="727"/>
                    <a:pt x="2161" y="727"/>
                  </a:cubicBezTo>
                  <a:moveTo>
                    <a:pt x="2200" y="726"/>
                  </a:moveTo>
                  <a:cubicBezTo>
                    <a:pt x="2192" y="726"/>
                    <a:pt x="2186" y="731"/>
                    <a:pt x="2185" y="737"/>
                  </a:cubicBezTo>
                  <a:cubicBezTo>
                    <a:pt x="2185" y="742"/>
                    <a:pt x="2190" y="747"/>
                    <a:pt x="2198" y="747"/>
                  </a:cubicBezTo>
                  <a:cubicBezTo>
                    <a:pt x="2205" y="747"/>
                    <a:pt x="2212" y="742"/>
                    <a:pt x="2212" y="737"/>
                  </a:cubicBezTo>
                  <a:cubicBezTo>
                    <a:pt x="2213" y="731"/>
                    <a:pt x="2207" y="726"/>
                    <a:pt x="2200" y="726"/>
                  </a:cubicBezTo>
                  <a:cubicBezTo>
                    <a:pt x="2200" y="726"/>
                    <a:pt x="2200" y="726"/>
                    <a:pt x="2200" y="726"/>
                  </a:cubicBezTo>
                  <a:moveTo>
                    <a:pt x="2238" y="726"/>
                  </a:moveTo>
                  <a:cubicBezTo>
                    <a:pt x="2231" y="726"/>
                    <a:pt x="2224" y="731"/>
                    <a:pt x="2224" y="736"/>
                  </a:cubicBezTo>
                  <a:cubicBezTo>
                    <a:pt x="2223" y="742"/>
                    <a:pt x="2229" y="747"/>
                    <a:pt x="2236" y="747"/>
                  </a:cubicBezTo>
                  <a:cubicBezTo>
                    <a:pt x="2244" y="747"/>
                    <a:pt x="2250" y="742"/>
                    <a:pt x="2251" y="736"/>
                  </a:cubicBezTo>
                  <a:cubicBezTo>
                    <a:pt x="2251" y="731"/>
                    <a:pt x="2246" y="726"/>
                    <a:pt x="2238" y="726"/>
                  </a:cubicBezTo>
                  <a:cubicBezTo>
                    <a:pt x="2238" y="726"/>
                    <a:pt x="2238" y="726"/>
                    <a:pt x="2238" y="726"/>
                  </a:cubicBezTo>
                  <a:moveTo>
                    <a:pt x="2277" y="726"/>
                  </a:moveTo>
                  <a:cubicBezTo>
                    <a:pt x="2269" y="726"/>
                    <a:pt x="2263" y="731"/>
                    <a:pt x="2262" y="736"/>
                  </a:cubicBezTo>
                  <a:cubicBezTo>
                    <a:pt x="2262" y="742"/>
                    <a:pt x="2268" y="746"/>
                    <a:pt x="2275" y="746"/>
                  </a:cubicBezTo>
                  <a:cubicBezTo>
                    <a:pt x="2283" y="746"/>
                    <a:pt x="2289" y="742"/>
                    <a:pt x="2289" y="736"/>
                  </a:cubicBezTo>
                  <a:cubicBezTo>
                    <a:pt x="2290" y="731"/>
                    <a:pt x="2284" y="726"/>
                    <a:pt x="2277" y="726"/>
                  </a:cubicBezTo>
                  <a:cubicBezTo>
                    <a:pt x="2277" y="726"/>
                    <a:pt x="2277" y="726"/>
                    <a:pt x="2277" y="726"/>
                  </a:cubicBezTo>
                  <a:moveTo>
                    <a:pt x="2315" y="726"/>
                  </a:moveTo>
                  <a:cubicBezTo>
                    <a:pt x="2307" y="726"/>
                    <a:pt x="2301" y="730"/>
                    <a:pt x="2301" y="736"/>
                  </a:cubicBezTo>
                  <a:cubicBezTo>
                    <a:pt x="2300" y="742"/>
                    <a:pt x="2306" y="746"/>
                    <a:pt x="2314" y="746"/>
                  </a:cubicBezTo>
                  <a:cubicBezTo>
                    <a:pt x="2321" y="746"/>
                    <a:pt x="2327" y="742"/>
                    <a:pt x="2328" y="736"/>
                  </a:cubicBezTo>
                  <a:cubicBezTo>
                    <a:pt x="2328" y="730"/>
                    <a:pt x="2322" y="726"/>
                    <a:pt x="2315" y="726"/>
                  </a:cubicBezTo>
                  <a:cubicBezTo>
                    <a:pt x="2315" y="726"/>
                    <a:pt x="2315" y="726"/>
                    <a:pt x="2315" y="726"/>
                  </a:cubicBezTo>
                  <a:moveTo>
                    <a:pt x="2815" y="726"/>
                  </a:moveTo>
                  <a:cubicBezTo>
                    <a:pt x="2808" y="726"/>
                    <a:pt x="2803" y="730"/>
                    <a:pt x="2803" y="736"/>
                  </a:cubicBezTo>
                  <a:cubicBezTo>
                    <a:pt x="2804" y="742"/>
                    <a:pt x="2810" y="746"/>
                    <a:pt x="2818" y="746"/>
                  </a:cubicBezTo>
                  <a:cubicBezTo>
                    <a:pt x="2825" y="746"/>
                    <a:pt x="2831" y="741"/>
                    <a:pt x="2830" y="736"/>
                  </a:cubicBezTo>
                  <a:cubicBezTo>
                    <a:pt x="2829" y="730"/>
                    <a:pt x="2823" y="726"/>
                    <a:pt x="2816" y="726"/>
                  </a:cubicBezTo>
                  <a:cubicBezTo>
                    <a:pt x="2816" y="726"/>
                    <a:pt x="2816" y="726"/>
                    <a:pt x="2815" y="726"/>
                  </a:cubicBezTo>
                  <a:moveTo>
                    <a:pt x="2353" y="726"/>
                  </a:moveTo>
                  <a:cubicBezTo>
                    <a:pt x="2346" y="726"/>
                    <a:pt x="2340" y="730"/>
                    <a:pt x="2339" y="736"/>
                  </a:cubicBezTo>
                  <a:cubicBezTo>
                    <a:pt x="2339" y="742"/>
                    <a:pt x="2345" y="746"/>
                    <a:pt x="2352" y="746"/>
                  </a:cubicBezTo>
                  <a:cubicBezTo>
                    <a:pt x="2360" y="746"/>
                    <a:pt x="2366" y="741"/>
                    <a:pt x="2366" y="736"/>
                  </a:cubicBezTo>
                  <a:cubicBezTo>
                    <a:pt x="2367" y="730"/>
                    <a:pt x="2361" y="726"/>
                    <a:pt x="2353" y="726"/>
                  </a:cubicBezTo>
                  <a:cubicBezTo>
                    <a:pt x="2353" y="726"/>
                    <a:pt x="2353" y="726"/>
                    <a:pt x="2353" y="726"/>
                  </a:cubicBezTo>
                  <a:moveTo>
                    <a:pt x="2392" y="725"/>
                  </a:moveTo>
                  <a:cubicBezTo>
                    <a:pt x="2385" y="725"/>
                    <a:pt x="2379" y="730"/>
                    <a:pt x="2378" y="736"/>
                  </a:cubicBezTo>
                  <a:cubicBezTo>
                    <a:pt x="2378" y="741"/>
                    <a:pt x="2384" y="746"/>
                    <a:pt x="2392" y="746"/>
                  </a:cubicBezTo>
                  <a:cubicBezTo>
                    <a:pt x="2399" y="746"/>
                    <a:pt x="2405" y="741"/>
                    <a:pt x="2405" y="736"/>
                  </a:cubicBezTo>
                  <a:cubicBezTo>
                    <a:pt x="2406" y="730"/>
                    <a:pt x="2400" y="725"/>
                    <a:pt x="2392" y="725"/>
                  </a:cubicBezTo>
                  <a:cubicBezTo>
                    <a:pt x="2392" y="725"/>
                    <a:pt x="2392" y="725"/>
                    <a:pt x="2392" y="725"/>
                  </a:cubicBezTo>
                  <a:moveTo>
                    <a:pt x="2430" y="725"/>
                  </a:moveTo>
                  <a:cubicBezTo>
                    <a:pt x="2423" y="725"/>
                    <a:pt x="2417" y="730"/>
                    <a:pt x="2417" y="736"/>
                  </a:cubicBezTo>
                  <a:cubicBezTo>
                    <a:pt x="2417" y="741"/>
                    <a:pt x="2423" y="746"/>
                    <a:pt x="2430" y="746"/>
                  </a:cubicBezTo>
                  <a:cubicBezTo>
                    <a:pt x="2438" y="746"/>
                    <a:pt x="2444" y="741"/>
                    <a:pt x="2444" y="735"/>
                  </a:cubicBezTo>
                  <a:cubicBezTo>
                    <a:pt x="2444" y="730"/>
                    <a:pt x="2438" y="725"/>
                    <a:pt x="2431" y="725"/>
                  </a:cubicBezTo>
                  <a:cubicBezTo>
                    <a:pt x="2431" y="725"/>
                    <a:pt x="2431" y="725"/>
                    <a:pt x="2430" y="725"/>
                  </a:cubicBezTo>
                  <a:moveTo>
                    <a:pt x="2469" y="725"/>
                  </a:moveTo>
                  <a:cubicBezTo>
                    <a:pt x="2461" y="725"/>
                    <a:pt x="2455" y="730"/>
                    <a:pt x="2455" y="735"/>
                  </a:cubicBezTo>
                  <a:cubicBezTo>
                    <a:pt x="2455" y="741"/>
                    <a:pt x="2461" y="746"/>
                    <a:pt x="2469" y="745"/>
                  </a:cubicBezTo>
                  <a:cubicBezTo>
                    <a:pt x="2476" y="745"/>
                    <a:pt x="2482" y="741"/>
                    <a:pt x="2482" y="735"/>
                  </a:cubicBezTo>
                  <a:cubicBezTo>
                    <a:pt x="2482" y="730"/>
                    <a:pt x="2476" y="725"/>
                    <a:pt x="2469" y="725"/>
                  </a:cubicBezTo>
                  <a:cubicBezTo>
                    <a:pt x="2469" y="725"/>
                    <a:pt x="2469" y="725"/>
                    <a:pt x="2469" y="725"/>
                  </a:cubicBezTo>
                  <a:moveTo>
                    <a:pt x="2507" y="725"/>
                  </a:moveTo>
                  <a:cubicBezTo>
                    <a:pt x="2500" y="725"/>
                    <a:pt x="2494" y="729"/>
                    <a:pt x="2494" y="735"/>
                  </a:cubicBezTo>
                  <a:cubicBezTo>
                    <a:pt x="2494" y="741"/>
                    <a:pt x="2500" y="745"/>
                    <a:pt x="2507" y="745"/>
                  </a:cubicBezTo>
                  <a:cubicBezTo>
                    <a:pt x="2515" y="745"/>
                    <a:pt x="2521" y="741"/>
                    <a:pt x="2521" y="735"/>
                  </a:cubicBezTo>
                  <a:cubicBezTo>
                    <a:pt x="2521" y="729"/>
                    <a:pt x="2515" y="725"/>
                    <a:pt x="2507" y="725"/>
                  </a:cubicBezTo>
                  <a:cubicBezTo>
                    <a:pt x="2507" y="725"/>
                    <a:pt x="2507" y="725"/>
                    <a:pt x="2507" y="725"/>
                  </a:cubicBezTo>
                  <a:moveTo>
                    <a:pt x="2546" y="725"/>
                  </a:moveTo>
                  <a:cubicBezTo>
                    <a:pt x="2538" y="725"/>
                    <a:pt x="2532" y="729"/>
                    <a:pt x="2532" y="735"/>
                  </a:cubicBezTo>
                  <a:cubicBezTo>
                    <a:pt x="2533" y="741"/>
                    <a:pt x="2539" y="745"/>
                    <a:pt x="2546" y="745"/>
                  </a:cubicBezTo>
                  <a:cubicBezTo>
                    <a:pt x="2554" y="745"/>
                    <a:pt x="2560" y="740"/>
                    <a:pt x="2559" y="735"/>
                  </a:cubicBezTo>
                  <a:cubicBezTo>
                    <a:pt x="2559" y="729"/>
                    <a:pt x="2553" y="725"/>
                    <a:pt x="2546" y="725"/>
                  </a:cubicBezTo>
                  <a:cubicBezTo>
                    <a:pt x="2546" y="725"/>
                    <a:pt x="2546" y="725"/>
                    <a:pt x="2546" y="725"/>
                  </a:cubicBezTo>
                  <a:moveTo>
                    <a:pt x="2622" y="724"/>
                  </a:moveTo>
                  <a:cubicBezTo>
                    <a:pt x="2615" y="724"/>
                    <a:pt x="2609" y="729"/>
                    <a:pt x="2609" y="735"/>
                  </a:cubicBezTo>
                  <a:cubicBezTo>
                    <a:pt x="2609" y="740"/>
                    <a:pt x="2616" y="745"/>
                    <a:pt x="2623" y="745"/>
                  </a:cubicBezTo>
                  <a:cubicBezTo>
                    <a:pt x="2631" y="745"/>
                    <a:pt x="2636" y="740"/>
                    <a:pt x="2636" y="735"/>
                  </a:cubicBezTo>
                  <a:cubicBezTo>
                    <a:pt x="2636" y="729"/>
                    <a:pt x="2630" y="724"/>
                    <a:pt x="2622" y="724"/>
                  </a:cubicBezTo>
                  <a:cubicBezTo>
                    <a:pt x="2622" y="724"/>
                    <a:pt x="2622" y="724"/>
                    <a:pt x="2622" y="724"/>
                  </a:cubicBezTo>
                  <a:moveTo>
                    <a:pt x="2662" y="724"/>
                  </a:moveTo>
                  <a:cubicBezTo>
                    <a:pt x="2655" y="724"/>
                    <a:pt x="2649" y="729"/>
                    <a:pt x="2649" y="735"/>
                  </a:cubicBezTo>
                  <a:cubicBezTo>
                    <a:pt x="2650" y="740"/>
                    <a:pt x="2656" y="745"/>
                    <a:pt x="2663" y="745"/>
                  </a:cubicBezTo>
                  <a:cubicBezTo>
                    <a:pt x="2671" y="745"/>
                    <a:pt x="2677" y="740"/>
                    <a:pt x="2676" y="734"/>
                  </a:cubicBezTo>
                  <a:cubicBezTo>
                    <a:pt x="2676" y="729"/>
                    <a:pt x="2670" y="724"/>
                    <a:pt x="2662" y="724"/>
                  </a:cubicBezTo>
                  <a:cubicBezTo>
                    <a:pt x="2662" y="724"/>
                    <a:pt x="2662" y="724"/>
                    <a:pt x="2662" y="724"/>
                  </a:cubicBezTo>
                  <a:moveTo>
                    <a:pt x="2700" y="724"/>
                  </a:moveTo>
                  <a:cubicBezTo>
                    <a:pt x="2693" y="724"/>
                    <a:pt x="2687" y="729"/>
                    <a:pt x="2687" y="734"/>
                  </a:cubicBezTo>
                  <a:cubicBezTo>
                    <a:pt x="2688" y="740"/>
                    <a:pt x="2694" y="745"/>
                    <a:pt x="2702" y="745"/>
                  </a:cubicBezTo>
                  <a:cubicBezTo>
                    <a:pt x="2709" y="744"/>
                    <a:pt x="2715" y="740"/>
                    <a:pt x="2714" y="734"/>
                  </a:cubicBezTo>
                  <a:cubicBezTo>
                    <a:pt x="2714" y="729"/>
                    <a:pt x="2708" y="724"/>
                    <a:pt x="2700" y="724"/>
                  </a:cubicBezTo>
                  <a:cubicBezTo>
                    <a:pt x="2700" y="724"/>
                    <a:pt x="2700" y="724"/>
                    <a:pt x="2700" y="724"/>
                  </a:cubicBezTo>
                  <a:moveTo>
                    <a:pt x="2738" y="724"/>
                  </a:moveTo>
                  <a:cubicBezTo>
                    <a:pt x="2731" y="724"/>
                    <a:pt x="2725" y="729"/>
                    <a:pt x="2726" y="734"/>
                  </a:cubicBezTo>
                  <a:cubicBezTo>
                    <a:pt x="2726" y="740"/>
                    <a:pt x="2733" y="744"/>
                    <a:pt x="2740" y="744"/>
                  </a:cubicBezTo>
                  <a:cubicBezTo>
                    <a:pt x="2748" y="744"/>
                    <a:pt x="2753" y="740"/>
                    <a:pt x="2753" y="734"/>
                  </a:cubicBezTo>
                  <a:cubicBezTo>
                    <a:pt x="2752" y="728"/>
                    <a:pt x="2746" y="724"/>
                    <a:pt x="2738" y="724"/>
                  </a:cubicBezTo>
                  <a:cubicBezTo>
                    <a:pt x="2738" y="724"/>
                    <a:pt x="2738" y="724"/>
                    <a:pt x="2738" y="724"/>
                  </a:cubicBezTo>
                  <a:moveTo>
                    <a:pt x="2777" y="723"/>
                  </a:moveTo>
                  <a:cubicBezTo>
                    <a:pt x="2769" y="723"/>
                    <a:pt x="2764" y="728"/>
                    <a:pt x="2764" y="734"/>
                  </a:cubicBezTo>
                  <a:cubicBezTo>
                    <a:pt x="2765" y="739"/>
                    <a:pt x="2771" y="744"/>
                    <a:pt x="2779" y="744"/>
                  </a:cubicBezTo>
                  <a:cubicBezTo>
                    <a:pt x="2786" y="744"/>
                    <a:pt x="2792" y="739"/>
                    <a:pt x="2791" y="733"/>
                  </a:cubicBezTo>
                  <a:cubicBezTo>
                    <a:pt x="2791" y="728"/>
                    <a:pt x="2784" y="723"/>
                    <a:pt x="2777" y="723"/>
                  </a:cubicBezTo>
                  <a:cubicBezTo>
                    <a:pt x="2777" y="723"/>
                    <a:pt x="2777" y="723"/>
                    <a:pt x="2777" y="723"/>
                  </a:cubicBezTo>
                  <a:moveTo>
                    <a:pt x="2890" y="723"/>
                  </a:moveTo>
                  <a:cubicBezTo>
                    <a:pt x="2882" y="723"/>
                    <a:pt x="2877" y="728"/>
                    <a:pt x="2878" y="733"/>
                  </a:cubicBezTo>
                  <a:cubicBezTo>
                    <a:pt x="2878" y="739"/>
                    <a:pt x="2885" y="744"/>
                    <a:pt x="2892" y="744"/>
                  </a:cubicBezTo>
                  <a:cubicBezTo>
                    <a:pt x="2900" y="744"/>
                    <a:pt x="2905" y="739"/>
                    <a:pt x="2905" y="733"/>
                  </a:cubicBezTo>
                  <a:cubicBezTo>
                    <a:pt x="2904" y="728"/>
                    <a:pt x="2897" y="723"/>
                    <a:pt x="2890" y="723"/>
                  </a:cubicBezTo>
                  <a:cubicBezTo>
                    <a:pt x="2890" y="723"/>
                    <a:pt x="2890" y="723"/>
                    <a:pt x="2890" y="723"/>
                  </a:cubicBezTo>
                  <a:moveTo>
                    <a:pt x="2928" y="723"/>
                  </a:moveTo>
                  <a:cubicBezTo>
                    <a:pt x="2921" y="723"/>
                    <a:pt x="2915" y="728"/>
                    <a:pt x="2916" y="733"/>
                  </a:cubicBezTo>
                  <a:cubicBezTo>
                    <a:pt x="2917" y="739"/>
                    <a:pt x="2924" y="743"/>
                    <a:pt x="2931" y="743"/>
                  </a:cubicBezTo>
                  <a:cubicBezTo>
                    <a:pt x="2939" y="743"/>
                    <a:pt x="2944" y="739"/>
                    <a:pt x="2943" y="733"/>
                  </a:cubicBezTo>
                  <a:cubicBezTo>
                    <a:pt x="2942" y="727"/>
                    <a:pt x="2936" y="723"/>
                    <a:pt x="2928" y="723"/>
                  </a:cubicBezTo>
                  <a:cubicBezTo>
                    <a:pt x="2928" y="723"/>
                    <a:pt x="2928" y="723"/>
                    <a:pt x="2928" y="723"/>
                  </a:cubicBezTo>
                  <a:moveTo>
                    <a:pt x="2967" y="723"/>
                  </a:moveTo>
                  <a:cubicBezTo>
                    <a:pt x="2960" y="723"/>
                    <a:pt x="2954" y="727"/>
                    <a:pt x="2955" y="733"/>
                  </a:cubicBezTo>
                  <a:cubicBezTo>
                    <a:pt x="2956" y="739"/>
                    <a:pt x="2963" y="743"/>
                    <a:pt x="2970" y="743"/>
                  </a:cubicBezTo>
                  <a:cubicBezTo>
                    <a:pt x="2978" y="743"/>
                    <a:pt x="2983" y="738"/>
                    <a:pt x="2982" y="733"/>
                  </a:cubicBezTo>
                  <a:cubicBezTo>
                    <a:pt x="2981" y="727"/>
                    <a:pt x="2974" y="723"/>
                    <a:pt x="2967" y="723"/>
                  </a:cubicBezTo>
                  <a:cubicBezTo>
                    <a:pt x="2967" y="723"/>
                    <a:pt x="2967" y="723"/>
                    <a:pt x="2967" y="723"/>
                  </a:cubicBezTo>
                  <a:moveTo>
                    <a:pt x="3005" y="722"/>
                  </a:moveTo>
                  <a:cubicBezTo>
                    <a:pt x="2998" y="723"/>
                    <a:pt x="2993" y="727"/>
                    <a:pt x="2994" y="733"/>
                  </a:cubicBezTo>
                  <a:cubicBezTo>
                    <a:pt x="2995" y="738"/>
                    <a:pt x="3001" y="743"/>
                    <a:pt x="3009" y="743"/>
                  </a:cubicBezTo>
                  <a:cubicBezTo>
                    <a:pt x="3016" y="743"/>
                    <a:pt x="3022" y="738"/>
                    <a:pt x="3021" y="733"/>
                  </a:cubicBezTo>
                  <a:cubicBezTo>
                    <a:pt x="3019" y="727"/>
                    <a:pt x="3013" y="722"/>
                    <a:pt x="3005" y="722"/>
                  </a:cubicBezTo>
                  <a:cubicBezTo>
                    <a:pt x="3005" y="722"/>
                    <a:pt x="3005" y="722"/>
                    <a:pt x="3005" y="722"/>
                  </a:cubicBezTo>
                  <a:moveTo>
                    <a:pt x="3044" y="722"/>
                  </a:moveTo>
                  <a:cubicBezTo>
                    <a:pt x="3036" y="722"/>
                    <a:pt x="3031" y="727"/>
                    <a:pt x="3032" y="733"/>
                  </a:cubicBezTo>
                  <a:cubicBezTo>
                    <a:pt x="3033" y="738"/>
                    <a:pt x="3040" y="743"/>
                    <a:pt x="3048" y="743"/>
                  </a:cubicBezTo>
                  <a:cubicBezTo>
                    <a:pt x="3055" y="743"/>
                    <a:pt x="3060" y="738"/>
                    <a:pt x="3059" y="732"/>
                  </a:cubicBezTo>
                  <a:cubicBezTo>
                    <a:pt x="3058" y="727"/>
                    <a:pt x="3051" y="722"/>
                    <a:pt x="3044" y="722"/>
                  </a:cubicBezTo>
                  <a:cubicBezTo>
                    <a:pt x="3044" y="722"/>
                    <a:pt x="3044" y="722"/>
                    <a:pt x="3044" y="722"/>
                  </a:cubicBezTo>
                  <a:moveTo>
                    <a:pt x="3160" y="722"/>
                  </a:moveTo>
                  <a:cubicBezTo>
                    <a:pt x="3153" y="722"/>
                    <a:pt x="3148" y="726"/>
                    <a:pt x="3149" y="732"/>
                  </a:cubicBezTo>
                  <a:cubicBezTo>
                    <a:pt x="3150" y="738"/>
                    <a:pt x="3157" y="742"/>
                    <a:pt x="3165" y="742"/>
                  </a:cubicBezTo>
                  <a:cubicBezTo>
                    <a:pt x="3172" y="742"/>
                    <a:pt x="3177" y="738"/>
                    <a:pt x="3176" y="732"/>
                  </a:cubicBezTo>
                  <a:cubicBezTo>
                    <a:pt x="3174" y="726"/>
                    <a:pt x="3167" y="722"/>
                    <a:pt x="3160" y="722"/>
                  </a:cubicBezTo>
                  <a:cubicBezTo>
                    <a:pt x="3160" y="722"/>
                    <a:pt x="3160" y="722"/>
                    <a:pt x="3160" y="722"/>
                  </a:cubicBezTo>
                  <a:moveTo>
                    <a:pt x="3082" y="722"/>
                  </a:moveTo>
                  <a:cubicBezTo>
                    <a:pt x="3074" y="722"/>
                    <a:pt x="3069" y="726"/>
                    <a:pt x="3070" y="732"/>
                  </a:cubicBezTo>
                  <a:cubicBezTo>
                    <a:pt x="3071" y="738"/>
                    <a:pt x="3078" y="742"/>
                    <a:pt x="3086" y="742"/>
                  </a:cubicBezTo>
                  <a:cubicBezTo>
                    <a:pt x="3093" y="742"/>
                    <a:pt x="3098" y="737"/>
                    <a:pt x="3097" y="732"/>
                  </a:cubicBezTo>
                  <a:cubicBezTo>
                    <a:pt x="3096" y="726"/>
                    <a:pt x="3089" y="722"/>
                    <a:pt x="3082" y="722"/>
                  </a:cubicBezTo>
                  <a:cubicBezTo>
                    <a:pt x="3082" y="722"/>
                    <a:pt x="3082" y="722"/>
                    <a:pt x="3082" y="722"/>
                  </a:cubicBezTo>
                  <a:moveTo>
                    <a:pt x="3198" y="722"/>
                  </a:moveTo>
                  <a:cubicBezTo>
                    <a:pt x="3191" y="722"/>
                    <a:pt x="3186" y="726"/>
                    <a:pt x="3187" y="732"/>
                  </a:cubicBezTo>
                  <a:cubicBezTo>
                    <a:pt x="3189" y="738"/>
                    <a:pt x="3196" y="742"/>
                    <a:pt x="3203" y="742"/>
                  </a:cubicBezTo>
                  <a:cubicBezTo>
                    <a:pt x="3211" y="742"/>
                    <a:pt x="3216" y="737"/>
                    <a:pt x="3214" y="732"/>
                  </a:cubicBezTo>
                  <a:cubicBezTo>
                    <a:pt x="3213" y="726"/>
                    <a:pt x="3206" y="722"/>
                    <a:pt x="3198" y="722"/>
                  </a:cubicBezTo>
                  <a:cubicBezTo>
                    <a:pt x="3198" y="722"/>
                    <a:pt x="3198" y="722"/>
                    <a:pt x="3198" y="722"/>
                  </a:cubicBezTo>
                  <a:moveTo>
                    <a:pt x="3120" y="721"/>
                  </a:moveTo>
                  <a:cubicBezTo>
                    <a:pt x="3113" y="721"/>
                    <a:pt x="3108" y="726"/>
                    <a:pt x="3109" y="732"/>
                  </a:cubicBezTo>
                  <a:cubicBezTo>
                    <a:pt x="3110" y="737"/>
                    <a:pt x="3117" y="742"/>
                    <a:pt x="3125" y="742"/>
                  </a:cubicBezTo>
                  <a:cubicBezTo>
                    <a:pt x="3132" y="742"/>
                    <a:pt x="3137" y="737"/>
                    <a:pt x="3136" y="732"/>
                  </a:cubicBezTo>
                  <a:cubicBezTo>
                    <a:pt x="3135" y="726"/>
                    <a:pt x="3128" y="721"/>
                    <a:pt x="3120" y="721"/>
                  </a:cubicBezTo>
                  <a:cubicBezTo>
                    <a:pt x="3120" y="721"/>
                    <a:pt x="3120" y="721"/>
                    <a:pt x="3120" y="721"/>
                  </a:cubicBezTo>
                  <a:moveTo>
                    <a:pt x="3699" y="721"/>
                  </a:moveTo>
                  <a:cubicBezTo>
                    <a:pt x="3691" y="721"/>
                    <a:pt x="3687" y="726"/>
                    <a:pt x="3690" y="732"/>
                  </a:cubicBezTo>
                  <a:cubicBezTo>
                    <a:pt x="3692" y="737"/>
                    <a:pt x="3700" y="742"/>
                    <a:pt x="3707" y="742"/>
                  </a:cubicBezTo>
                  <a:cubicBezTo>
                    <a:pt x="3715" y="742"/>
                    <a:pt x="3719" y="737"/>
                    <a:pt x="3717" y="732"/>
                  </a:cubicBezTo>
                  <a:cubicBezTo>
                    <a:pt x="3714" y="726"/>
                    <a:pt x="3706" y="721"/>
                    <a:pt x="3699" y="721"/>
                  </a:cubicBezTo>
                  <a:cubicBezTo>
                    <a:pt x="3699" y="721"/>
                    <a:pt x="3699" y="721"/>
                    <a:pt x="3699" y="721"/>
                  </a:cubicBezTo>
                  <a:moveTo>
                    <a:pt x="3237" y="721"/>
                  </a:moveTo>
                  <a:cubicBezTo>
                    <a:pt x="3229" y="721"/>
                    <a:pt x="3224" y="726"/>
                    <a:pt x="3226" y="732"/>
                  </a:cubicBezTo>
                  <a:cubicBezTo>
                    <a:pt x="3227" y="737"/>
                    <a:pt x="3234" y="742"/>
                    <a:pt x="3242" y="742"/>
                  </a:cubicBezTo>
                  <a:cubicBezTo>
                    <a:pt x="3249" y="742"/>
                    <a:pt x="3254" y="737"/>
                    <a:pt x="3253" y="732"/>
                  </a:cubicBezTo>
                  <a:cubicBezTo>
                    <a:pt x="3251" y="726"/>
                    <a:pt x="3244" y="721"/>
                    <a:pt x="3237" y="721"/>
                  </a:cubicBezTo>
                  <a:cubicBezTo>
                    <a:pt x="3237" y="721"/>
                    <a:pt x="3237" y="721"/>
                    <a:pt x="3237" y="721"/>
                  </a:cubicBezTo>
                  <a:moveTo>
                    <a:pt x="3737" y="721"/>
                  </a:moveTo>
                  <a:cubicBezTo>
                    <a:pt x="3730" y="721"/>
                    <a:pt x="3726" y="726"/>
                    <a:pt x="3728" y="732"/>
                  </a:cubicBezTo>
                  <a:cubicBezTo>
                    <a:pt x="3730" y="737"/>
                    <a:pt x="3738" y="742"/>
                    <a:pt x="3746" y="742"/>
                  </a:cubicBezTo>
                  <a:cubicBezTo>
                    <a:pt x="3753" y="742"/>
                    <a:pt x="3757" y="737"/>
                    <a:pt x="3755" y="731"/>
                  </a:cubicBezTo>
                  <a:cubicBezTo>
                    <a:pt x="3753" y="726"/>
                    <a:pt x="3745" y="721"/>
                    <a:pt x="3737" y="721"/>
                  </a:cubicBezTo>
                  <a:cubicBezTo>
                    <a:pt x="3737" y="721"/>
                    <a:pt x="3737" y="721"/>
                    <a:pt x="3737" y="721"/>
                  </a:cubicBezTo>
                  <a:moveTo>
                    <a:pt x="3275" y="721"/>
                  </a:moveTo>
                  <a:cubicBezTo>
                    <a:pt x="3268" y="721"/>
                    <a:pt x="3263" y="726"/>
                    <a:pt x="3265" y="731"/>
                  </a:cubicBezTo>
                  <a:cubicBezTo>
                    <a:pt x="3266" y="737"/>
                    <a:pt x="3274" y="742"/>
                    <a:pt x="3281" y="742"/>
                  </a:cubicBezTo>
                  <a:cubicBezTo>
                    <a:pt x="3289" y="742"/>
                    <a:pt x="3293" y="737"/>
                    <a:pt x="3292" y="731"/>
                  </a:cubicBezTo>
                  <a:cubicBezTo>
                    <a:pt x="3290" y="726"/>
                    <a:pt x="3283" y="721"/>
                    <a:pt x="3276" y="721"/>
                  </a:cubicBezTo>
                  <a:cubicBezTo>
                    <a:pt x="3276" y="721"/>
                    <a:pt x="3275" y="721"/>
                    <a:pt x="3275" y="721"/>
                  </a:cubicBezTo>
                  <a:moveTo>
                    <a:pt x="3776" y="721"/>
                  </a:moveTo>
                  <a:cubicBezTo>
                    <a:pt x="3768" y="721"/>
                    <a:pt x="3764" y="726"/>
                    <a:pt x="3767" y="731"/>
                  </a:cubicBezTo>
                  <a:cubicBezTo>
                    <a:pt x="3769" y="737"/>
                    <a:pt x="3777" y="742"/>
                    <a:pt x="3785" y="742"/>
                  </a:cubicBezTo>
                  <a:cubicBezTo>
                    <a:pt x="3792" y="742"/>
                    <a:pt x="3796" y="737"/>
                    <a:pt x="3794" y="731"/>
                  </a:cubicBezTo>
                  <a:cubicBezTo>
                    <a:pt x="3791" y="726"/>
                    <a:pt x="3783" y="721"/>
                    <a:pt x="3776" y="721"/>
                  </a:cubicBezTo>
                  <a:cubicBezTo>
                    <a:pt x="3776" y="721"/>
                    <a:pt x="3776" y="721"/>
                    <a:pt x="3776" y="721"/>
                  </a:cubicBezTo>
                  <a:moveTo>
                    <a:pt x="3314" y="721"/>
                  </a:moveTo>
                  <a:cubicBezTo>
                    <a:pt x="3306" y="721"/>
                    <a:pt x="3301" y="726"/>
                    <a:pt x="3303" y="731"/>
                  </a:cubicBezTo>
                  <a:cubicBezTo>
                    <a:pt x="3305" y="737"/>
                    <a:pt x="3312" y="741"/>
                    <a:pt x="3320" y="741"/>
                  </a:cubicBezTo>
                  <a:cubicBezTo>
                    <a:pt x="3327" y="741"/>
                    <a:pt x="3332" y="737"/>
                    <a:pt x="3330" y="731"/>
                  </a:cubicBezTo>
                  <a:cubicBezTo>
                    <a:pt x="3328" y="725"/>
                    <a:pt x="3321" y="721"/>
                    <a:pt x="3314" y="721"/>
                  </a:cubicBezTo>
                  <a:cubicBezTo>
                    <a:pt x="3314" y="721"/>
                    <a:pt x="3314" y="721"/>
                    <a:pt x="3314" y="721"/>
                  </a:cubicBezTo>
                  <a:moveTo>
                    <a:pt x="3816" y="721"/>
                  </a:moveTo>
                  <a:cubicBezTo>
                    <a:pt x="3809" y="721"/>
                    <a:pt x="3805" y="725"/>
                    <a:pt x="3808" y="731"/>
                  </a:cubicBezTo>
                  <a:cubicBezTo>
                    <a:pt x="3810" y="737"/>
                    <a:pt x="3818" y="741"/>
                    <a:pt x="3826" y="741"/>
                  </a:cubicBezTo>
                  <a:cubicBezTo>
                    <a:pt x="3833" y="741"/>
                    <a:pt x="3837" y="737"/>
                    <a:pt x="3835" y="731"/>
                  </a:cubicBezTo>
                  <a:cubicBezTo>
                    <a:pt x="3832" y="725"/>
                    <a:pt x="3824" y="721"/>
                    <a:pt x="3816" y="721"/>
                  </a:cubicBezTo>
                  <a:cubicBezTo>
                    <a:pt x="3816" y="721"/>
                    <a:pt x="3816" y="721"/>
                    <a:pt x="3816" y="721"/>
                  </a:cubicBezTo>
                  <a:moveTo>
                    <a:pt x="3352" y="721"/>
                  </a:moveTo>
                  <a:cubicBezTo>
                    <a:pt x="3345" y="721"/>
                    <a:pt x="3340" y="725"/>
                    <a:pt x="3342" y="731"/>
                  </a:cubicBezTo>
                  <a:cubicBezTo>
                    <a:pt x="3343" y="737"/>
                    <a:pt x="3351" y="741"/>
                    <a:pt x="3358" y="741"/>
                  </a:cubicBezTo>
                  <a:cubicBezTo>
                    <a:pt x="3366" y="741"/>
                    <a:pt x="3370" y="737"/>
                    <a:pt x="3369" y="731"/>
                  </a:cubicBezTo>
                  <a:cubicBezTo>
                    <a:pt x="3367" y="725"/>
                    <a:pt x="3360" y="721"/>
                    <a:pt x="3352" y="721"/>
                  </a:cubicBezTo>
                  <a:cubicBezTo>
                    <a:pt x="3352" y="721"/>
                    <a:pt x="3352" y="721"/>
                    <a:pt x="3352" y="721"/>
                  </a:cubicBezTo>
                  <a:moveTo>
                    <a:pt x="3854" y="721"/>
                  </a:moveTo>
                  <a:cubicBezTo>
                    <a:pt x="3847" y="721"/>
                    <a:pt x="3843" y="725"/>
                    <a:pt x="3846" y="731"/>
                  </a:cubicBezTo>
                  <a:cubicBezTo>
                    <a:pt x="3848" y="737"/>
                    <a:pt x="3856" y="741"/>
                    <a:pt x="3864" y="741"/>
                  </a:cubicBezTo>
                  <a:cubicBezTo>
                    <a:pt x="3871" y="741"/>
                    <a:pt x="3875" y="736"/>
                    <a:pt x="3873" y="731"/>
                  </a:cubicBezTo>
                  <a:cubicBezTo>
                    <a:pt x="3870" y="725"/>
                    <a:pt x="3862" y="721"/>
                    <a:pt x="3854" y="721"/>
                  </a:cubicBezTo>
                  <a:cubicBezTo>
                    <a:pt x="3854" y="721"/>
                    <a:pt x="3854" y="721"/>
                    <a:pt x="3854" y="721"/>
                  </a:cubicBezTo>
                  <a:moveTo>
                    <a:pt x="3390" y="721"/>
                  </a:moveTo>
                  <a:cubicBezTo>
                    <a:pt x="3383" y="721"/>
                    <a:pt x="3378" y="725"/>
                    <a:pt x="3380" y="731"/>
                  </a:cubicBezTo>
                  <a:cubicBezTo>
                    <a:pt x="3382" y="737"/>
                    <a:pt x="3389" y="741"/>
                    <a:pt x="3397" y="741"/>
                  </a:cubicBezTo>
                  <a:cubicBezTo>
                    <a:pt x="3404" y="741"/>
                    <a:pt x="3409" y="736"/>
                    <a:pt x="3407" y="731"/>
                  </a:cubicBezTo>
                  <a:cubicBezTo>
                    <a:pt x="3405" y="725"/>
                    <a:pt x="3398" y="721"/>
                    <a:pt x="3390" y="721"/>
                  </a:cubicBezTo>
                  <a:cubicBezTo>
                    <a:pt x="3390" y="721"/>
                    <a:pt x="3390" y="721"/>
                    <a:pt x="3390" y="721"/>
                  </a:cubicBezTo>
                  <a:moveTo>
                    <a:pt x="3892" y="720"/>
                  </a:moveTo>
                  <a:cubicBezTo>
                    <a:pt x="3885" y="720"/>
                    <a:pt x="3881" y="725"/>
                    <a:pt x="3884" y="731"/>
                  </a:cubicBezTo>
                  <a:cubicBezTo>
                    <a:pt x="3887" y="736"/>
                    <a:pt x="3895" y="741"/>
                    <a:pt x="3902" y="741"/>
                  </a:cubicBezTo>
                  <a:cubicBezTo>
                    <a:pt x="3910" y="741"/>
                    <a:pt x="3914" y="736"/>
                    <a:pt x="3911" y="731"/>
                  </a:cubicBezTo>
                  <a:cubicBezTo>
                    <a:pt x="3908" y="725"/>
                    <a:pt x="3900" y="720"/>
                    <a:pt x="3892" y="720"/>
                  </a:cubicBezTo>
                  <a:cubicBezTo>
                    <a:pt x="3892" y="720"/>
                    <a:pt x="3892" y="720"/>
                    <a:pt x="3892" y="720"/>
                  </a:cubicBezTo>
                  <a:moveTo>
                    <a:pt x="3429" y="720"/>
                  </a:moveTo>
                  <a:cubicBezTo>
                    <a:pt x="3421" y="720"/>
                    <a:pt x="3417" y="725"/>
                    <a:pt x="3419" y="731"/>
                  </a:cubicBezTo>
                  <a:cubicBezTo>
                    <a:pt x="3420" y="736"/>
                    <a:pt x="3428" y="741"/>
                    <a:pt x="3435" y="741"/>
                  </a:cubicBezTo>
                  <a:cubicBezTo>
                    <a:pt x="3443" y="741"/>
                    <a:pt x="3447" y="736"/>
                    <a:pt x="3446" y="731"/>
                  </a:cubicBezTo>
                  <a:cubicBezTo>
                    <a:pt x="3444" y="725"/>
                    <a:pt x="3436" y="720"/>
                    <a:pt x="3429" y="720"/>
                  </a:cubicBezTo>
                  <a:cubicBezTo>
                    <a:pt x="3429" y="720"/>
                    <a:pt x="3429" y="720"/>
                    <a:pt x="3429" y="720"/>
                  </a:cubicBezTo>
                  <a:moveTo>
                    <a:pt x="3931" y="720"/>
                  </a:moveTo>
                  <a:cubicBezTo>
                    <a:pt x="3923" y="720"/>
                    <a:pt x="3920" y="725"/>
                    <a:pt x="3923" y="731"/>
                  </a:cubicBezTo>
                  <a:cubicBezTo>
                    <a:pt x="3925" y="736"/>
                    <a:pt x="3934" y="741"/>
                    <a:pt x="3941" y="741"/>
                  </a:cubicBezTo>
                  <a:cubicBezTo>
                    <a:pt x="3949" y="741"/>
                    <a:pt x="3952" y="736"/>
                    <a:pt x="3950" y="730"/>
                  </a:cubicBezTo>
                  <a:cubicBezTo>
                    <a:pt x="3947" y="725"/>
                    <a:pt x="3938" y="720"/>
                    <a:pt x="3931" y="720"/>
                  </a:cubicBezTo>
                  <a:cubicBezTo>
                    <a:pt x="3931" y="720"/>
                    <a:pt x="3931" y="720"/>
                    <a:pt x="3931" y="720"/>
                  </a:cubicBezTo>
                  <a:moveTo>
                    <a:pt x="3468" y="720"/>
                  </a:moveTo>
                  <a:cubicBezTo>
                    <a:pt x="3460" y="720"/>
                    <a:pt x="3456" y="725"/>
                    <a:pt x="3458" y="730"/>
                  </a:cubicBezTo>
                  <a:cubicBezTo>
                    <a:pt x="3459" y="736"/>
                    <a:pt x="3467" y="741"/>
                    <a:pt x="3474" y="741"/>
                  </a:cubicBezTo>
                  <a:cubicBezTo>
                    <a:pt x="3482" y="741"/>
                    <a:pt x="3486" y="736"/>
                    <a:pt x="3484" y="730"/>
                  </a:cubicBezTo>
                  <a:cubicBezTo>
                    <a:pt x="3483" y="725"/>
                    <a:pt x="3475" y="720"/>
                    <a:pt x="3468" y="720"/>
                  </a:cubicBezTo>
                  <a:cubicBezTo>
                    <a:pt x="3468" y="720"/>
                    <a:pt x="3468" y="720"/>
                    <a:pt x="3468" y="720"/>
                  </a:cubicBezTo>
                  <a:moveTo>
                    <a:pt x="3970" y="720"/>
                  </a:moveTo>
                  <a:cubicBezTo>
                    <a:pt x="3962" y="720"/>
                    <a:pt x="3959" y="725"/>
                    <a:pt x="3961" y="730"/>
                  </a:cubicBezTo>
                  <a:cubicBezTo>
                    <a:pt x="3964" y="736"/>
                    <a:pt x="3973" y="741"/>
                    <a:pt x="3980" y="741"/>
                  </a:cubicBezTo>
                  <a:cubicBezTo>
                    <a:pt x="3988" y="741"/>
                    <a:pt x="3991" y="736"/>
                    <a:pt x="3988" y="730"/>
                  </a:cubicBezTo>
                  <a:cubicBezTo>
                    <a:pt x="3986" y="725"/>
                    <a:pt x="3977" y="720"/>
                    <a:pt x="3970" y="720"/>
                  </a:cubicBezTo>
                  <a:cubicBezTo>
                    <a:pt x="3970" y="720"/>
                    <a:pt x="3970" y="720"/>
                    <a:pt x="3970" y="720"/>
                  </a:cubicBezTo>
                  <a:moveTo>
                    <a:pt x="3506" y="720"/>
                  </a:moveTo>
                  <a:cubicBezTo>
                    <a:pt x="3498" y="720"/>
                    <a:pt x="3494" y="725"/>
                    <a:pt x="3496" y="730"/>
                  </a:cubicBezTo>
                  <a:cubicBezTo>
                    <a:pt x="3498" y="736"/>
                    <a:pt x="3505" y="741"/>
                    <a:pt x="3513" y="740"/>
                  </a:cubicBezTo>
                  <a:cubicBezTo>
                    <a:pt x="3520" y="740"/>
                    <a:pt x="3525" y="736"/>
                    <a:pt x="3523" y="730"/>
                  </a:cubicBezTo>
                  <a:cubicBezTo>
                    <a:pt x="3521" y="725"/>
                    <a:pt x="3513" y="720"/>
                    <a:pt x="3506" y="720"/>
                  </a:cubicBezTo>
                  <a:cubicBezTo>
                    <a:pt x="3506" y="720"/>
                    <a:pt x="3506" y="720"/>
                    <a:pt x="3506" y="720"/>
                  </a:cubicBezTo>
                  <a:moveTo>
                    <a:pt x="4008" y="720"/>
                  </a:moveTo>
                  <a:cubicBezTo>
                    <a:pt x="4000" y="720"/>
                    <a:pt x="3997" y="724"/>
                    <a:pt x="4000" y="730"/>
                  </a:cubicBezTo>
                  <a:cubicBezTo>
                    <a:pt x="4003" y="736"/>
                    <a:pt x="4011" y="740"/>
                    <a:pt x="4019" y="740"/>
                  </a:cubicBezTo>
                  <a:cubicBezTo>
                    <a:pt x="4026" y="740"/>
                    <a:pt x="4030" y="736"/>
                    <a:pt x="4027" y="730"/>
                  </a:cubicBezTo>
                  <a:cubicBezTo>
                    <a:pt x="4024" y="724"/>
                    <a:pt x="4015" y="720"/>
                    <a:pt x="4008" y="720"/>
                  </a:cubicBezTo>
                  <a:cubicBezTo>
                    <a:pt x="4008" y="720"/>
                    <a:pt x="4008" y="720"/>
                    <a:pt x="4008" y="720"/>
                  </a:cubicBezTo>
                  <a:moveTo>
                    <a:pt x="3544" y="720"/>
                  </a:moveTo>
                  <a:cubicBezTo>
                    <a:pt x="3537" y="720"/>
                    <a:pt x="3532" y="724"/>
                    <a:pt x="3534" y="730"/>
                  </a:cubicBezTo>
                  <a:cubicBezTo>
                    <a:pt x="3536" y="736"/>
                    <a:pt x="3544" y="740"/>
                    <a:pt x="3552" y="740"/>
                  </a:cubicBezTo>
                  <a:cubicBezTo>
                    <a:pt x="3559" y="740"/>
                    <a:pt x="3563" y="736"/>
                    <a:pt x="3561" y="730"/>
                  </a:cubicBezTo>
                  <a:cubicBezTo>
                    <a:pt x="3559" y="724"/>
                    <a:pt x="3552" y="720"/>
                    <a:pt x="3544" y="720"/>
                  </a:cubicBezTo>
                  <a:cubicBezTo>
                    <a:pt x="3544" y="720"/>
                    <a:pt x="3544" y="720"/>
                    <a:pt x="3544" y="720"/>
                  </a:cubicBezTo>
                  <a:moveTo>
                    <a:pt x="4045" y="720"/>
                  </a:moveTo>
                  <a:cubicBezTo>
                    <a:pt x="4038" y="720"/>
                    <a:pt x="4034" y="724"/>
                    <a:pt x="4037" y="730"/>
                  </a:cubicBezTo>
                  <a:cubicBezTo>
                    <a:pt x="4040" y="736"/>
                    <a:pt x="4049" y="740"/>
                    <a:pt x="4056" y="740"/>
                  </a:cubicBezTo>
                  <a:cubicBezTo>
                    <a:pt x="4064" y="740"/>
                    <a:pt x="4067" y="736"/>
                    <a:pt x="4064" y="730"/>
                  </a:cubicBezTo>
                  <a:cubicBezTo>
                    <a:pt x="4061" y="724"/>
                    <a:pt x="4053" y="720"/>
                    <a:pt x="4045" y="720"/>
                  </a:cubicBezTo>
                  <a:cubicBezTo>
                    <a:pt x="4045" y="720"/>
                    <a:pt x="4045" y="720"/>
                    <a:pt x="4045" y="720"/>
                  </a:cubicBezTo>
                  <a:moveTo>
                    <a:pt x="3582" y="720"/>
                  </a:moveTo>
                  <a:cubicBezTo>
                    <a:pt x="3575" y="720"/>
                    <a:pt x="3571" y="724"/>
                    <a:pt x="3573" y="730"/>
                  </a:cubicBezTo>
                  <a:cubicBezTo>
                    <a:pt x="3575" y="736"/>
                    <a:pt x="3583" y="740"/>
                    <a:pt x="3590" y="740"/>
                  </a:cubicBezTo>
                  <a:cubicBezTo>
                    <a:pt x="3597" y="740"/>
                    <a:pt x="3602" y="735"/>
                    <a:pt x="3600" y="730"/>
                  </a:cubicBezTo>
                  <a:cubicBezTo>
                    <a:pt x="3597" y="724"/>
                    <a:pt x="3590" y="720"/>
                    <a:pt x="3582" y="720"/>
                  </a:cubicBezTo>
                  <a:cubicBezTo>
                    <a:pt x="3582" y="720"/>
                    <a:pt x="3582" y="720"/>
                    <a:pt x="3582" y="720"/>
                  </a:cubicBezTo>
                  <a:moveTo>
                    <a:pt x="3621" y="719"/>
                  </a:moveTo>
                  <a:cubicBezTo>
                    <a:pt x="3613" y="719"/>
                    <a:pt x="3609" y="724"/>
                    <a:pt x="3611" y="730"/>
                  </a:cubicBezTo>
                  <a:cubicBezTo>
                    <a:pt x="3613" y="735"/>
                    <a:pt x="3621" y="740"/>
                    <a:pt x="3629" y="740"/>
                  </a:cubicBezTo>
                  <a:cubicBezTo>
                    <a:pt x="3636" y="740"/>
                    <a:pt x="3640" y="735"/>
                    <a:pt x="3638" y="730"/>
                  </a:cubicBezTo>
                  <a:cubicBezTo>
                    <a:pt x="3636" y="724"/>
                    <a:pt x="3628" y="719"/>
                    <a:pt x="3621" y="719"/>
                  </a:cubicBezTo>
                  <a:cubicBezTo>
                    <a:pt x="3621" y="719"/>
                    <a:pt x="3621" y="719"/>
                    <a:pt x="3621" y="719"/>
                  </a:cubicBezTo>
                  <a:moveTo>
                    <a:pt x="3660" y="719"/>
                  </a:moveTo>
                  <a:cubicBezTo>
                    <a:pt x="3652" y="719"/>
                    <a:pt x="3648" y="724"/>
                    <a:pt x="3650" y="730"/>
                  </a:cubicBezTo>
                  <a:cubicBezTo>
                    <a:pt x="3652" y="735"/>
                    <a:pt x="3660" y="740"/>
                    <a:pt x="3668" y="740"/>
                  </a:cubicBezTo>
                  <a:cubicBezTo>
                    <a:pt x="3675" y="740"/>
                    <a:pt x="3679" y="735"/>
                    <a:pt x="3677" y="729"/>
                  </a:cubicBezTo>
                  <a:cubicBezTo>
                    <a:pt x="3675" y="724"/>
                    <a:pt x="3667" y="719"/>
                    <a:pt x="3660" y="719"/>
                  </a:cubicBezTo>
                  <a:cubicBezTo>
                    <a:pt x="3660" y="719"/>
                    <a:pt x="3660" y="719"/>
                    <a:pt x="3660" y="719"/>
                  </a:cubicBezTo>
                  <a:moveTo>
                    <a:pt x="61" y="710"/>
                  </a:moveTo>
                  <a:cubicBezTo>
                    <a:pt x="54" y="710"/>
                    <a:pt x="44" y="715"/>
                    <a:pt x="39" y="720"/>
                  </a:cubicBezTo>
                  <a:cubicBezTo>
                    <a:pt x="35" y="726"/>
                    <a:pt x="37" y="730"/>
                    <a:pt x="44" y="730"/>
                  </a:cubicBezTo>
                  <a:cubicBezTo>
                    <a:pt x="52" y="730"/>
                    <a:pt x="61" y="726"/>
                    <a:pt x="66" y="720"/>
                  </a:cubicBezTo>
                  <a:cubicBezTo>
                    <a:pt x="71" y="715"/>
                    <a:pt x="69" y="710"/>
                    <a:pt x="61" y="710"/>
                  </a:cubicBezTo>
                  <a:cubicBezTo>
                    <a:pt x="61" y="710"/>
                    <a:pt x="61" y="710"/>
                    <a:pt x="61" y="710"/>
                  </a:cubicBezTo>
                  <a:moveTo>
                    <a:pt x="100" y="710"/>
                  </a:moveTo>
                  <a:cubicBezTo>
                    <a:pt x="92" y="710"/>
                    <a:pt x="82" y="714"/>
                    <a:pt x="78" y="720"/>
                  </a:cubicBezTo>
                  <a:cubicBezTo>
                    <a:pt x="73" y="726"/>
                    <a:pt x="75" y="730"/>
                    <a:pt x="83" y="730"/>
                  </a:cubicBezTo>
                  <a:cubicBezTo>
                    <a:pt x="90" y="730"/>
                    <a:pt x="100" y="725"/>
                    <a:pt x="105" y="720"/>
                  </a:cubicBezTo>
                  <a:cubicBezTo>
                    <a:pt x="109" y="714"/>
                    <a:pt x="107" y="710"/>
                    <a:pt x="100" y="710"/>
                  </a:cubicBezTo>
                  <a:cubicBezTo>
                    <a:pt x="100" y="710"/>
                    <a:pt x="100" y="710"/>
                    <a:pt x="100" y="710"/>
                  </a:cubicBezTo>
                  <a:moveTo>
                    <a:pt x="139" y="710"/>
                  </a:moveTo>
                  <a:cubicBezTo>
                    <a:pt x="132" y="710"/>
                    <a:pt x="122" y="714"/>
                    <a:pt x="117" y="720"/>
                  </a:cubicBezTo>
                  <a:cubicBezTo>
                    <a:pt x="113" y="725"/>
                    <a:pt x="115" y="730"/>
                    <a:pt x="123" y="730"/>
                  </a:cubicBezTo>
                  <a:cubicBezTo>
                    <a:pt x="130" y="730"/>
                    <a:pt x="140" y="725"/>
                    <a:pt x="144" y="720"/>
                  </a:cubicBezTo>
                  <a:cubicBezTo>
                    <a:pt x="149" y="714"/>
                    <a:pt x="147" y="710"/>
                    <a:pt x="139" y="710"/>
                  </a:cubicBezTo>
                  <a:cubicBezTo>
                    <a:pt x="139" y="710"/>
                    <a:pt x="139" y="710"/>
                    <a:pt x="139" y="710"/>
                  </a:cubicBezTo>
                  <a:moveTo>
                    <a:pt x="333" y="709"/>
                  </a:moveTo>
                  <a:cubicBezTo>
                    <a:pt x="326" y="709"/>
                    <a:pt x="316" y="713"/>
                    <a:pt x="312" y="719"/>
                  </a:cubicBezTo>
                  <a:cubicBezTo>
                    <a:pt x="308" y="724"/>
                    <a:pt x="310" y="729"/>
                    <a:pt x="318" y="729"/>
                  </a:cubicBezTo>
                  <a:cubicBezTo>
                    <a:pt x="325" y="729"/>
                    <a:pt x="335" y="724"/>
                    <a:pt x="339" y="719"/>
                  </a:cubicBezTo>
                  <a:cubicBezTo>
                    <a:pt x="343" y="713"/>
                    <a:pt x="340" y="709"/>
                    <a:pt x="333" y="709"/>
                  </a:cubicBezTo>
                  <a:cubicBezTo>
                    <a:pt x="333" y="709"/>
                    <a:pt x="333" y="709"/>
                    <a:pt x="333" y="709"/>
                  </a:cubicBezTo>
                  <a:moveTo>
                    <a:pt x="256" y="708"/>
                  </a:moveTo>
                  <a:cubicBezTo>
                    <a:pt x="249" y="708"/>
                    <a:pt x="239" y="713"/>
                    <a:pt x="235" y="719"/>
                  </a:cubicBezTo>
                  <a:cubicBezTo>
                    <a:pt x="230" y="724"/>
                    <a:pt x="233" y="729"/>
                    <a:pt x="240" y="729"/>
                  </a:cubicBezTo>
                  <a:cubicBezTo>
                    <a:pt x="248" y="729"/>
                    <a:pt x="257" y="724"/>
                    <a:pt x="261" y="718"/>
                  </a:cubicBezTo>
                  <a:cubicBezTo>
                    <a:pt x="266" y="713"/>
                    <a:pt x="263" y="708"/>
                    <a:pt x="256" y="708"/>
                  </a:cubicBezTo>
                  <a:cubicBezTo>
                    <a:pt x="256" y="708"/>
                    <a:pt x="256" y="708"/>
                    <a:pt x="256" y="708"/>
                  </a:cubicBezTo>
                  <a:moveTo>
                    <a:pt x="371" y="708"/>
                  </a:moveTo>
                  <a:cubicBezTo>
                    <a:pt x="364" y="708"/>
                    <a:pt x="355" y="713"/>
                    <a:pt x="350" y="719"/>
                  </a:cubicBezTo>
                  <a:cubicBezTo>
                    <a:pt x="346" y="724"/>
                    <a:pt x="349" y="729"/>
                    <a:pt x="356" y="729"/>
                  </a:cubicBezTo>
                  <a:cubicBezTo>
                    <a:pt x="364" y="729"/>
                    <a:pt x="373" y="724"/>
                    <a:pt x="377" y="718"/>
                  </a:cubicBezTo>
                  <a:cubicBezTo>
                    <a:pt x="381" y="713"/>
                    <a:pt x="379" y="708"/>
                    <a:pt x="371" y="708"/>
                  </a:cubicBezTo>
                  <a:cubicBezTo>
                    <a:pt x="371" y="708"/>
                    <a:pt x="371" y="708"/>
                    <a:pt x="371" y="708"/>
                  </a:cubicBezTo>
                  <a:moveTo>
                    <a:pt x="295" y="708"/>
                  </a:moveTo>
                  <a:cubicBezTo>
                    <a:pt x="288" y="708"/>
                    <a:pt x="279" y="713"/>
                    <a:pt x="274" y="718"/>
                  </a:cubicBezTo>
                  <a:cubicBezTo>
                    <a:pt x="270" y="724"/>
                    <a:pt x="272" y="728"/>
                    <a:pt x="280" y="728"/>
                  </a:cubicBezTo>
                  <a:cubicBezTo>
                    <a:pt x="287" y="728"/>
                    <a:pt x="297" y="724"/>
                    <a:pt x="301" y="718"/>
                  </a:cubicBezTo>
                  <a:cubicBezTo>
                    <a:pt x="305" y="713"/>
                    <a:pt x="303" y="708"/>
                    <a:pt x="295" y="708"/>
                  </a:cubicBezTo>
                  <a:cubicBezTo>
                    <a:pt x="295" y="708"/>
                    <a:pt x="295" y="708"/>
                    <a:pt x="295" y="708"/>
                  </a:cubicBezTo>
                  <a:moveTo>
                    <a:pt x="410" y="708"/>
                  </a:moveTo>
                  <a:cubicBezTo>
                    <a:pt x="403" y="708"/>
                    <a:pt x="393" y="713"/>
                    <a:pt x="389" y="718"/>
                  </a:cubicBezTo>
                  <a:cubicBezTo>
                    <a:pt x="385" y="724"/>
                    <a:pt x="388" y="728"/>
                    <a:pt x="395" y="728"/>
                  </a:cubicBezTo>
                  <a:cubicBezTo>
                    <a:pt x="403" y="728"/>
                    <a:pt x="412" y="724"/>
                    <a:pt x="416" y="718"/>
                  </a:cubicBezTo>
                  <a:cubicBezTo>
                    <a:pt x="420" y="713"/>
                    <a:pt x="417" y="708"/>
                    <a:pt x="410" y="708"/>
                  </a:cubicBezTo>
                  <a:cubicBezTo>
                    <a:pt x="410" y="708"/>
                    <a:pt x="410" y="708"/>
                    <a:pt x="410" y="708"/>
                  </a:cubicBezTo>
                  <a:moveTo>
                    <a:pt x="448" y="708"/>
                  </a:moveTo>
                  <a:cubicBezTo>
                    <a:pt x="441" y="708"/>
                    <a:pt x="431" y="713"/>
                    <a:pt x="427" y="718"/>
                  </a:cubicBezTo>
                  <a:cubicBezTo>
                    <a:pt x="423" y="724"/>
                    <a:pt x="426" y="728"/>
                    <a:pt x="433" y="728"/>
                  </a:cubicBezTo>
                  <a:cubicBezTo>
                    <a:pt x="441" y="728"/>
                    <a:pt x="450" y="724"/>
                    <a:pt x="454" y="718"/>
                  </a:cubicBezTo>
                  <a:cubicBezTo>
                    <a:pt x="458" y="712"/>
                    <a:pt x="455" y="708"/>
                    <a:pt x="448" y="708"/>
                  </a:cubicBezTo>
                  <a:cubicBezTo>
                    <a:pt x="448" y="708"/>
                    <a:pt x="448" y="708"/>
                    <a:pt x="448" y="708"/>
                  </a:cubicBezTo>
                  <a:moveTo>
                    <a:pt x="486" y="708"/>
                  </a:moveTo>
                  <a:cubicBezTo>
                    <a:pt x="479" y="708"/>
                    <a:pt x="470" y="712"/>
                    <a:pt x="466" y="718"/>
                  </a:cubicBezTo>
                  <a:cubicBezTo>
                    <a:pt x="462" y="724"/>
                    <a:pt x="465" y="728"/>
                    <a:pt x="472" y="728"/>
                  </a:cubicBezTo>
                  <a:cubicBezTo>
                    <a:pt x="479" y="728"/>
                    <a:pt x="489" y="723"/>
                    <a:pt x="492" y="718"/>
                  </a:cubicBezTo>
                  <a:cubicBezTo>
                    <a:pt x="496" y="712"/>
                    <a:pt x="494" y="708"/>
                    <a:pt x="486" y="708"/>
                  </a:cubicBezTo>
                  <a:cubicBezTo>
                    <a:pt x="486" y="708"/>
                    <a:pt x="486" y="708"/>
                    <a:pt x="486" y="708"/>
                  </a:cubicBezTo>
                  <a:moveTo>
                    <a:pt x="601" y="707"/>
                  </a:moveTo>
                  <a:cubicBezTo>
                    <a:pt x="594" y="707"/>
                    <a:pt x="585" y="712"/>
                    <a:pt x="581" y="717"/>
                  </a:cubicBezTo>
                  <a:cubicBezTo>
                    <a:pt x="577" y="723"/>
                    <a:pt x="580" y="727"/>
                    <a:pt x="588" y="727"/>
                  </a:cubicBezTo>
                  <a:cubicBezTo>
                    <a:pt x="595" y="727"/>
                    <a:pt x="604" y="723"/>
                    <a:pt x="608" y="717"/>
                  </a:cubicBezTo>
                  <a:cubicBezTo>
                    <a:pt x="611" y="712"/>
                    <a:pt x="608" y="707"/>
                    <a:pt x="601" y="707"/>
                  </a:cubicBezTo>
                  <a:cubicBezTo>
                    <a:pt x="601" y="707"/>
                    <a:pt x="601" y="707"/>
                    <a:pt x="601" y="707"/>
                  </a:cubicBezTo>
                  <a:moveTo>
                    <a:pt x="181" y="707"/>
                  </a:moveTo>
                  <a:cubicBezTo>
                    <a:pt x="174" y="707"/>
                    <a:pt x="164" y="712"/>
                    <a:pt x="159" y="717"/>
                  </a:cubicBezTo>
                  <a:cubicBezTo>
                    <a:pt x="155" y="723"/>
                    <a:pt x="157" y="727"/>
                    <a:pt x="165" y="727"/>
                  </a:cubicBezTo>
                  <a:cubicBezTo>
                    <a:pt x="172" y="727"/>
                    <a:pt x="182" y="723"/>
                    <a:pt x="186" y="717"/>
                  </a:cubicBezTo>
                  <a:cubicBezTo>
                    <a:pt x="191" y="711"/>
                    <a:pt x="188" y="707"/>
                    <a:pt x="181" y="707"/>
                  </a:cubicBezTo>
                  <a:cubicBezTo>
                    <a:pt x="181" y="707"/>
                    <a:pt x="181" y="707"/>
                    <a:pt x="181" y="707"/>
                  </a:cubicBezTo>
                  <a:moveTo>
                    <a:pt x="219" y="707"/>
                  </a:moveTo>
                  <a:cubicBezTo>
                    <a:pt x="212" y="707"/>
                    <a:pt x="202" y="711"/>
                    <a:pt x="198" y="717"/>
                  </a:cubicBezTo>
                  <a:cubicBezTo>
                    <a:pt x="193" y="723"/>
                    <a:pt x="196" y="727"/>
                    <a:pt x="203" y="727"/>
                  </a:cubicBezTo>
                  <a:cubicBezTo>
                    <a:pt x="210" y="727"/>
                    <a:pt x="220" y="722"/>
                    <a:pt x="224" y="717"/>
                  </a:cubicBezTo>
                  <a:cubicBezTo>
                    <a:pt x="229" y="711"/>
                    <a:pt x="226" y="707"/>
                    <a:pt x="219" y="707"/>
                  </a:cubicBezTo>
                  <a:cubicBezTo>
                    <a:pt x="219" y="707"/>
                    <a:pt x="219" y="707"/>
                    <a:pt x="219" y="707"/>
                  </a:cubicBezTo>
                  <a:moveTo>
                    <a:pt x="1858" y="699"/>
                  </a:moveTo>
                  <a:cubicBezTo>
                    <a:pt x="1851" y="699"/>
                    <a:pt x="1844" y="703"/>
                    <a:pt x="1843" y="709"/>
                  </a:cubicBezTo>
                  <a:cubicBezTo>
                    <a:pt x="1841" y="715"/>
                    <a:pt x="1846" y="719"/>
                    <a:pt x="1854" y="719"/>
                  </a:cubicBezTo>
                  <a:cubicBezTo>
                    <a:pt x="1861" y="719"/>
                    <a:pt x="1868" y="715"/>
                    <a:pt x="1869" y="709"/>
                  </a:cubicBezTo>
                  <a:cubicBezTo>
                    <a:pt x="1871" y="703"/>
                    <a:pt x="1866" y="699"/>
                    <a:pt x="1858" y="699"/>
                  </a:cubicBezTo>
                  <a:cubicBezTo>
                    <a:pt x="1858" y="699"/>
                    <a:pt x="1858" y="699"/>
                    <a:pt x="1858" y="699"/>
                  </a:cubicBezTo>
                  <a:moveTo>
                    <a:pt x="1897" y="699"/>
                  </a:moveTo>
                  <a:cubicBezTo>
                    <a:pt x="1890" y="699"/>
                    <a:pt x="1883" y="703"/>
                    <a:pt x="1881" y="709"/>
                  </a:cubicBezTo>
                  <a:cubicBezTo>
                    <a:pt x="1880" y="714"/>
                    <a:pt x="1885" y="719"/>
                    <a:pt x="1893" y="719"/>
                  </a:cubicBezTo>
                  <a:cubicBezTo>
                    <a:pt x="1900" y="719"/>
                    <a:pt x="1907" y="714"/>
                    <a:pt x="1908" y="709"/>
                  </a:cubicBezTo>
                  <a:cubicBezTo>
                    <a:pt x="1909" y="703"/>
                    <a:pt x="1904" y="699"/>
                    <a:pt x="1897" y="699"/>
                  </a:cubicBezTo>
                  <a:cubicBezTo>
                    <a:pt x="1897" y="699"/>
                    <a:pt x="1897" y="699"/>
                    <a:pt x="1897" y="699"/>
                  </a:cubicBezTo>
                  <a:moveTo>
                    <a:pt x="1935" y="698"/>
                  </a:moveTo>
                  <a:cubicBezTo>
                    <a:pt x="1927" y="698"/>
                    <a:pt x="1921" y="703"/>
                    <a:pt x="1919" y="709"/>
                  </a:cubicBezTo>
                  <a:cubicBezTo>
                    <a:pt x="1918" y="714"/>
                    <a:pt x="1923" y="719"/>
                    <a:pt x="1931" y="719"/>
                  </a:cubicBezTo>
                  <a:cubicBezTo>
                    <a:pt x="1938" y="719"/>
                    <a:pt x="1945" y="714"/>
                    <a:pt x="1946" y="709"/>
                  </a:cubicBezTo>
                  <a:cubicBezTo>
                    <a:pt x="1947" y="703"/>
                    <a:pt x="1942" y="698"/>
                    <a:pt x="1935" y="698"/>
                  </a:cubicBezTo>
                  <a:cubicBezTo>
                    <a:pt x="1935" y="698"/>
                    <a:pt x="1935" y="698"/>
                    <a:pt x="1935" y="698"/>
                  </a:cubicBezTo>
                  <a:moveTo>
                    <a:pt x="1973" y="698"/>
                  </a:moveTo>
                  <a:cubicBezTo>
                    <a:pt x="1965" y="698"/>
                    <a:pt x="1959" y="703"/>
                    <a:pt x="1958" y="708"/>
                  </a:cubicBezTo>
                  <a:cubicBezTo>
                    <a:pt x="1957" y="714"/>
                    <a:pt x="1962" y="719"/>
                    <a:pt x="1969" y="719"/>
                  </a:cubicBezTo>
                  <a:cubicBezTo>
                    <a:pt x="1977" y="719"/>
                    <a:pt x="1983" y="714"/>
                    <a:pt x="1984" y="708"/>
                  </a:cubicBezTo>
                  <a:cubicBezTo>
                    <a:pt x="1985" y="703"/>
                    <a:pt x="1980" y="698"/>
                    <a:pt x="1973" y="698"/>
                  </a:cubicBezTo>
                  <a:cubicBezTo>
                    <a:pt x="1973" y="698"/>
                    <a:pt x="1973" y="698"/>
                    <a:pt x="1973" y="698"/>
                  </a:cubicBezTo>
                  <a:moveTo>
                    <a:pt x="2011" y="698"/>
                  </a:moveTo>
                  <a:cubicBezTo>
                    <a:pt x="2003" y="698"/>
                    <a:pt x="1997" y="703"/>
                    <a:pt x="1996" y="708"/>
                  </a:cubicBezTo>
                  <a:cubicBezTo>
                    <a:pt x="1995" y="714"/>
                    <a:pt x="2000" y="718"/>
                    <a:pt x="2007" y="718"/>
                  </a:cubicBezTo>
                  <a:cubicBezTo>
                    <a:pt x="2015" y="718"/>
                    <a:pt x="2022" y="714"/>
                    <a:pt x="2022" y="708"/>
                  </a:cubicBezTo>
                  <a:cubicBezTo>
                    <a:pt x="2023" y="702"/>
                    <a:pt x="2018" y="698"/>
                    <a:pt x="2011" y="698"/>
                  </a:cubicBezTo>
                  <a:cubicBezTo>
                    <a:pt x="2011" y="698"/>
                    <a:pt x="2011" y="698"/>
                    <a:pt x="2011" y="698"/>
                  </a:cubicBezTo>
                  <a:moveTo>
                    <a:pt x="2049" y="698"/>
                  </a:moveTo>
                  <a:cubicBezTo>
                    <a:pt x="2042" y="698"/>
                    <a:pt x="2035" y="702"/>
                    <a:pt x="2034" y="708"/>
                  </a:cubicBezTo>
                  <a:cubicBezTo>
                    <a:pt x="2033" y="714"/>
                    <a:pt x="2038" y="718"/>
                    <a:pt x="2046" y="718"/>
                  </a:cubicBezTo>
                  <a:cubicBezTo>
                    <a:pt x="2053" y="718"/>
                    <a:pt x="2060" y="714"/>
                    <a:pt x="2061" y="708"/>
                  </a:cubicBezTo>
                  <a:cubicBezTo>
                    <a:pt x="2062" y="702"/>
                    <a:pt x="2056" y="698"/>
                    <a:pt x="2049" y="698"/>
                  </a:cubicBezTo>
                  <a:cubicBezTo>
                    <a:pt x="2049" y="698"/>
                    <a:pt x="2049" y="698"/>
                    <a:pt x="2049" y="698"/>
                  </a:cubicBezTo>
                  <a:moveTo>
                    <a:pt x="2088" y="698"/>
                  </a:moveTo>
                  <a:cubicBezTo>
                    <a:pt x="2081" y="698"/>
                    <a:pt x="2074" y="702"/>
                    <a:pt x="2073" y="708"/>
                  </a:cubicBezTo>
                  <a:cubicBezTo>
                    <a:pt x="2073" y="713"/>
                    <a:pt x="2078" y="718"/>
                    <a:pt x="2085" y="718"/>
                  </a:cubicBezTo>
                  <a:cubicBezTo>
                    <a:pt x="2093" y="718"/>
                    <a:pt x="2099" y="713"/>
                    <a:pt x="2100" y="708"/>
                  </a:cubicBezTo>
                  <a:cubicBezTo>
                    <a:pt x="2101" y="702"/>
                    <a:pt x="2096" y="698"/>
                    <a:pt x="2088" y="698"/>
                  </a:cubicBezTo>
                  <a:cubicBezTo>
                    <a:pt x="2088" y="698"/>
                    <a:pt x="2088" y="698"/>
                    <a:pt x="2088" y="698"/>
                  </a:cubicBezTo>
                  <a:moveTo>
                    <a:pt x="2126" y="697"/>
                  </a:moveTo>
                  <a:cubicBezTo>
                    <a:pt x="2119" y="697"/>
                    <a:pt x="2112" y="702"/>
                    <a:pt x="2111" y="708"/>
                  </a:cubicBezTo>
                  <a:cubicBezTo>
                    <a:pt x="2111" y="713"/>
                    <a:pt x="2116" y="718"/>
                    <a:pt x="2124" y="718"/>
                  </a:cubicBezTo>
                  <a:cubicBezTo>
                    <a:pt x="2131" y="718"/>
                    <a:pt x="2137" y="713"/>
                    <a:pt x="2138" y="708"/>
                  </a:cubicBezTo>
                  <a:cubicBezTo>
                    <a:pt x="2139" y="702"/>
                    <a:pt x="2134" y="697"/>
                    <a:pt x="2126" y="697"/>
                  </a:cubicBezTo>
                  <a:cubicBezTo>
                    <a:pt x="2126" y="697"/>
                    <a:pt x="2126" y="697"/>
                    <a:pt x="2126" y="697"/>
                  </a:cubicBezTo>
                  <a:moveTo>
                    <a:pt x="2164" y="697"/>
                  </a:moveTo>
                  <a:cubicBezTo>
                    <a:pt x="2157" y="697"/>
                    <a:pt x="2150" y="702"/>
                    <a:pt x="2150" y="707"/>
                  </a:cubicBezTo>
                  <a:cubicBezTo>
                    <a:pt x="2149" y="713"/>
                    <a:pt x="2155" y="718"/>
                    <a:pt x="2162" y="718"/>
                  </a:cubicBezTo>
                  <a:cubicBezTo>
                    <a:pt x="2169" y="718"/>
                    <a:pt x="2176" y="713"/>
                    <a:pt x="2176" y="707"/>
                  </a:cubicBezTo>
                  <a:cubicBezTo>
                    <a:pt x="2177" y="702"/>
                    <a:pt x="2172" y="697"/>
                    <a:pt x="2164" y="697"/>
                  </a:cubicBezTo>
                  <a:cubicBezTo>
                    <a:pt x="2164" y="697"/>
                    <a:pt x="2164" y="697"/>
                    <a:pt x="2164" y="697"/>
                  </a:cubicBezTo>
                  <a:moveTo>
                    <a:pt x="2203" y="697"/>
                  </a:moveTo>
                  <a:cubicBezTo>
                    <a:pt x="2195" y="697"/>
                    <a:pt x="2189" y="702"/>
                    <a:pt x="2188" y="707"/>
                  </a:cubicBezTo>
                  <a:cubicBezTo>
                    <a:pt x="2188" y="713"/>
                    <a:pt x="2193" y="717"/>
                    <a:pt x="2201" y="717"/>
                  </a:cubicBezTo>
                  <a:cubicBezTo>
                    <a:pt x="2208" y="717"/>
                    <a:pt x="2215" y="713"/>
                    <a:pt x="2215" y="707"/>
                  </a:cubicBezTo>
                  <a:cubicBezTo>
                    <a:pt x="2216" y="701"/>
                    <a:pt x="2210" y="697"/>
                    <a:pt x="2203" y="697"/>
                  </a:cubicBezTo>
                  <a:cubicBezTo>
                    <a:pt x="2203" y="697"/>
                    <a:pt x="2203" y="697"/>
                    <a:pt x="2203" y="697"/>
                  </a:cubicBezTo>
                  <a:moveTo>
                    <a:pt x="2241" y="697"/>
                  </a:moveTo>
                  <a:cubicBezTo>
                    <a:pt x="2233" y="697"/>
                    <a:pt x="2227" y="701"/>
                    <a:pt x="2226" y="707"/>
                  </a:cubicBezTo>
                  <a:cubicBezTo>
                    <a:pt x="2226" y="713"/>
                    <a:pt x="2231" y="717"/>
                    <a:pt x="2239" y="717"/>
                  </a:cubicBezTo>
                  <a:cubicBezTo>
                    <a:pt x="2246" y="717"/>
                    <a:pt x="2253" y="713"/>
                    <a:pt x="2253" y="707"/>
                  </a:cubicBezTo>
                  <a:cubicBezTo>
                    <a:pt x="2254" y="701"/>
                    <a:pt x="2248" y="697"/>
                    <a:pt x="2241" y="697"/>
                  </a:cubicBezTo>
                  <a:cubicBezTo>
                    <a:pt x="2241" y="697"/>
                    <a:pt x="2241" y="697"/>
                    <a:pt x="2241" y="697"/>
                  </a:cubicBezTo>
                  <a:moveTo>
                    <a:pt x="2279" y="697"/>
                  </a:moveTo>
                  <a:cubicBezTo>
                    <a:pt x="2271" y="697"/>
                    <a:pt x="2265" y="701"/>
                    <a:pt x="2265" y="707"/>
                  </a:cubicBezTo>
                  <a:cubicBezTo>
                    <a:pt x="2264" y="712"/>
                    <a:pt x="2270" y="717"/>
                    <a:pt x="2277" y="717"/>
                  </a:cubicBezTo>
                  <a:cubicBezTo>
                    <a:pt x="2285" y="717"/>
                    <a:pt x="2291" y="712"/>
                    <a:pt x="2291" y="707"/>
                  </a:cubicBezTo>
                  <a:cubicBezTo>
                    <a:pt x="2292" y="701"/>
                    <a:pt x="2286" y="697"/>
                    <a:pt x="2279" y="697"/>
                  </a:cubicBezTo>
                  <a:cubicBezTo>
                    <a:pt x="2279" y="697"/>
                    <a:pt x="2279" y="697"/>
                    <a:pt x="2279" y="697"/>
                  </a:cubicBezTo>
                  <a:moveTo>
                    <a:pt x="2317" y="696"/>
                  </a:moveTo>
                  <a:cubicBezTo>
                    <a:pt x="2309" y="696"/>
                    <a:pt x="2303" y="701"/>
                    <a:pt x="2303" y="707"/>
                  </a:cubicBezTo>
                  <a:cubicBezTo>
                    <a:pt x="2302" y="712"/>
                    <a:pt x="2308" y="717"/>
                    <a:pt x="2315" y="717"/>
                  </a:cubicBezTo>
                  <a:cubicBezTo>
                    <a:pt x="2323" y="717"/>
                    <a:pt x="2329" y="712"/>
                    <a:pt x="2329" y="707"/>
                  </a:cubicBezTo>
                  <a:cubicBezTo>
                    <a:pt x="2330" y="701"/>
                    <a:pt x="2324" y="696"/>
                    <a:pt x="2317" y="696"/>
                  </a:cubicBezTo>
                  <a:cubicBezTo>
                    <a:pt x="2317" y="696"/>
                    <a:pt x="2317" y="696"/>
                    <a:pt x="2317" y="696"/>
                  </a:cubicBezTo>
                  <a:moveTo>
                    <a:pt x="2355" y="696"/>
                  </a:moveTo>
                  <a:cubicBezTo>
                    <a:pt x="2347" y="696"/>
                    <a:pt x="2341" y="701"/>
                    <a:pt x="2341" y="706"/>
                  </a:cubicBezTo>
                  <a:cubicBezTo>
                    <a:pt x="2341" y="712"/>
                    <a:pt x="2346" y="717"/>
                    <a:pt x="2354" y="717"/>
                  </a:cubicBezTo>
                  <a:cubicBezTo>
                    <a:pt x="2361" y="717"/>
                    <a:pt x="2367" y="712"/>
                    <a:pt x="2368" y="706"/>
                  </a:cubicBezTo>
                  <a:cubicBezTo>
                    <a:pt x="2368" y="701"/>
                    <a:pt x="2362" y="696"/>
                    <a:pt x="2355" y="696"/>
                  </a:cubicBezTo>
                  <a:cubicBezTo>
                    <a:pt x="2355" y="696"/>
                    <a:pt x="2355" y="696"/>
                    <a:pt x="2355" y="696"/>
                  </a:cubicBezTo>
                  <a:moveTo>
                    <a:pt x="2393" y="696"/>
                  </a:moveTo>
                  <a:cubicBezTo>
                    <a:pt x="2386" y="696"/>
                    <a:pt x="2380" y="701"/>
                    <a:pt x="2380" y="706"/>
                  </a:cubicBezTo>
                  <a:cubicBezTo>
                    <a:pt x="2379" y="712"/>
                    <a:pt x="2385" y="716"/>
                    <a:pt x="2393" y="716"/>
                  </a:cubicBezTo>
                  <a:cubicBezTo>
                    <a:pt x="2400" y="716"/>
                    <a:pt x="2406" y="712"/>
                    <a:pt x="2406" y="706"/>
                  </a:cubicBezTo>
                  <a:cubicBezTo>
                    <a:pt x="2406" y="700"/>
                    <a:pt x="2401" y="696"/>
                    <a:pt x="2393" y="696"/>
                  </a:cubicBezTo>
                  <a:cubicBezTo>
                    <a:pt x="2393" y="696"/>
                    <a:pt x="2393" y="696"/>
                    <a:pt x="2393" y="696"/>
                  </a:cubicBezTo>
                  <a:moveTo>
                    <a:pt x="2431" y="696"/>
                  </a:moveTo>
                  <a:cubicBezTo>
                    <a:pt x="2424" y="696"/>
                    <a:pt x="2418" y="700"/>
                    <a:pt x="2417" y="706"/>
                  </a:cubicBezTo>
                  <a:cubicBezTo>
                    <a:pt x="2417" y="712"/>
                    <a:pt x="2423" y="716"/>
                    <a:pt x="2431" y="716"/>
                  </a:cubicBezTo>
                  <a:cubicBezTo>
                    <a:pt x="2438" y="716"/>
                    <a:pt x="2444" y="712"/>
                    <a:pt x="2444" y="706"/>
                  </a:cubicBezTo>
                  <a:cubicBezTo>
                    <a:pt x="2444" y="700"/>
                    <a:pt x="2438" y="696"/>
                    <a:pt x="2431" y="696"/>
                  </a:cubicBezTo>
                  <a:cubicBezTo>
                    <a:pt x="2431" y="696"/>
                    <a:pt x="2431" y="696"/>
                    <a:pt x="2431" y="696"/>
                  </a:cubicBezTo>
                  <a:moveTo>
                    <a:pt x="2469" y="696"/>
                  </a:moveTo>
                  <a:cubicBezTo>
                    <a:pt x="2462" y="696"/>
                    <a:pt x="2456" y="700"/>
                    <a:pt x="2456" y="706"/>
                  </a:cubicBezTo>
                  <a:cubicBezTo>
                    <a:pt x="2456" y="711"/>
                    <a:pt x="2462" y="716"/>
                    <a:pt x="2469" y="716"/>
                  </a:cubicBezTo>
                  <a:cubicBezTo>
                    <a:pt x="2476" y="716"/>
                    <a:pt x="2482" y="711"/>
                    <a:pt x="2482" y="706"/>
                  </a:cubicBezTo>
                  <a:cubicBezTo>
                    <a:pt x="2482" y="700"/>
                    <a:pt x="2477" y="696"/>
                    <a:pt x="2469" y="696"/>
                  </a:cubicBezTo>
                  <a:cubicBezTo>
                    <a:pt x="2469" y="696"/>
                    <a:pt x="2469" y="696"/>
                    <a:pt x="2469" y="696"/>
                  </a:cubicBezTo>
                  <a:moveTo>
                    <a:pt x="2507" y="695"/>
                  </a:moveTo>
                  <a:cubicBezTo>
                    <a:pt x="2500" y="695"/>
                    <a:pt x="2494" y="700"/>
                    <a:pt x="2494" y="706"/>
                  </a:cubicBezTo>
                  <a:cubicBezTo>
                    <a:pt x="2494" y="711"/>
                    <a:pt x="2500" y="716"/>
                    <a:pt x="2507" y="716"/>
                  </a:cubicBezTo>
                  <a:cubicBezTo>
                    <a:pt x="2515" y="716"/>
                    <a:pt x="2520" y="711"/>
                    <a:pt x="2520" y="706"/>
                  </a:cubicBezTo>
                  <a:cubicBezTo>
                    <a:pt x="2520" y="700"/>
                    <a:pt x="2514" y="695"/>
                    <a:pt x="2507" y="695"/>
                  </a:cubicBezTo>
                  <a:cubicBezTo>
                    <a:pt x="2507" y="695"/>
                    <a:pt x="2507" y="695"/>
                    <a:pt x="2507" y="695"/>
                  </a:cubicBezTo>
                  <a:moveTo>
                    <a:pt x="2545" y="695"/>
                  </a:moveTo>
                  <a:cubicBezTo>
                    <a:pt x="2538" y="695"/>
                    <a:pt x="2532" y="700"/>
                    <a:pt x="2532" y="705"/>
                  </a:cubicBezTo>
                  <a:cubicBezTo>
                    <a:pt x="2532" y="711"/>
                    <a:pt x="2538" y="716"/>
                    <a:pt x="2546" y="716"/>
                  </a:cubicBezTo>
                  <a:cubicBezTo>
                    <a:pt x="2553" y="716"/>
                    <a:pt x="2559" y="711"/>
                    <a:pt x="2559" y="705"/>
                  </a:cubicBezTo>
                  <a:cubicBezTo>
                    <a:pt x="2559" y="700"/>
                    <a:pt x="2553" y="695"/>
                    <a:pt x="2545" y="695"/>
                  </a:cubicBezTo>
                  <a:cubicBezTo>
                    <a:pt x="2545" y="695"/>
                    <a:pt x="2545" y="695"/>
                    <a:pt x="2545" y="695"/>
                  </a:cubicBezTo>
                  <a:moveTo>
                    <a:pt x="2580" y="695"/>
                  </a:moveTo>
                  <a:cubicBezTo>
                    <a:pt x="2572" y="695"/>
                    <a:pt x="2566" y="700"/>
                    <a:pt x="2567" y="705"/>
                  </a:cubicBezTo>
                  <a:cubicBezTo>
                    <a:pt x="2567" y="711"/>
                    <a:pt x="2573" y="715"/>
                    <a:pt x="2580" y="715"/>
                  </a:cubicBezTo>
                  <a:cubicBezTo>
                    <a:pt x="2588" y="715"/>
                    <a:pt x="2593" y="711"/>
                    <a:pt x="2593" y="705"/>
                  </a:cubicBezTo>
                  <a:cubicBezTo>
                    <a:pt x="2593" y="699"/>
                    <a:pt x="2587" y="695"/>
                    <a:pt x="2580" y="695"/>
                  </a:cubicBezTo>
                  <a:cubicBezTo>
                    <a:pt x="2580" y="695"/>
                    <a:pt x="2580" y="695"/>
                    <a:pt x="2580" y="695"/>
                  </a:cubicBezTo>
                  <a:moveTo>
                    <a:pt x="2812" y="695"/>
                  </a:moveTo>
                  <a:cubicBezTo>
                    <a:pt x="2805" y="695"/>
                    <a:pt x="2799" y="699"/>
                    <a:pt x="2800" y="705"/>
                  </a:cubicBezTo>
                  <a:cubicBezTo>
                    <a:pt x="2800" y="711"/>
                    <a:pt x="2807" y="715"/>
                    <a:pt x="2814" y="715"/>
                  </a:cubicBezTo>
                  <a:cubicBezTo>
                    <a:pt x="2822" y="715"/>
                    <a:pt x="2827" y="711"/>
                    <a:pt x="2826" y="705"/>
                  </a:cubicBezTo>
                  <a:cubicBezTo>
                    <a:pt x="2826" y="699"/>
                    <a:pt x="2819" y="695"/>
                    <a:pt x="2812" y="695"/>
                  </a:cubicBezTo>
                  <a:cubicBezTo>
                    <a:pt x="2812" y="695"/>
                    <a:pt x="2812" y="695"/>
                    <a:pt x="2812" y="695"/>
                  </a:cubicBezTo>
                  <a:moveTo>
                    <a:pt x="2885" y="694"/>
                  </a:moveTo>
                  <a:cubicBezTo>
                    <a:pt x="2878" y="694"/>
                    <a:pt x="2873" y="698"/>
                    <a:pt x="2874" y="704"/>
                  </a:cubicBezTo>
                  <a:cubicBezTo>
                    <a:pt x="2874" y="709"/>
                    <a:pt x="2881" y="714"/>
                    <a:pt x="2888" y="714"/>
                  </a:cubicBezTo>
                  <a:cubicBezTo>
                    <a:pt x="2896" y="714"/>
                    <a:pt x="2901" y="709"/>
                    <a:pt x="2900" y="704"/>
                  </a:cubicBezTo>
                  <a:cubicBezTo>
                    <a:pt x="2899" y="698"/>
                    <a:pt x="2893" y="694"/>
                    <a:pt x="2886" y="694"/>
                  </a:cubicBezTo>
                  <a:cubicBezTo>
                    <a:pt x="2886" y="694"/>
                    <a:pt x="2886" y="694"/>
                    <a:pt x="2885" y="694"/>
                  </a:cubicBezTo>
                  <a:moveTo>
                    <a:pt x="2660" y="693"/>
                  </a:moveTo>
                  <a:cubicBezTo>
                    <a:pt x="2653" y="694"/>
                    <a:pt x="2647" y="698"/>
                    <a:pt x="2648" y="704"/>
                  </a:cubicBezTo>
                  <a:cubicBezTo>
                    <a:pt x="2648" y="709"/>
                    <a:pt x="2654" y="714"/>
                    <a:pt x="2662" y="714"/>
                  </a:cubicBezTo>
                  <a:cubicBezTo>
                    <a:pt x="2669" y="714"/>
                    <a:pt x="2675" y="709"/>
                    <a:pt x="2674" y="704"/>
                  </a:cubicBezTo>
                  <a:cubicBezTo>
                    <a:pt x="2674" y="698"/>
                    <a:pt x="2668" y="693"/>
                    <a:pt x="2660" y="693"/>
                  </a:cubicBezTo>
                  <a:cubicBezTo>
                    <a:pt x="2660" y="693"/>
                    <a:pt x="2660" y="693"/>
                    <a:pt x="2660" y="693"/>
                  </a:cubicBezTo>
                  <a:moveTo>
                    <a:pt x="2924" y="693"/>
                  </a:moveTo>
                  <a:cubicBezTo>
                    <a:pt x="2916" y="693"/>
                    <a:pt x="2911" y="698"/>
                    <a:pt x="2912" y="704"/>
                  </a:cubicBezTo>
                  <a:cubicBezTo>
                    <a:pt x="2913" y="709"/>
                    <a:pt x="2919" y="714"/>
                    <a:pt x="2927" y="714"/>
                  </a:cubicBezTo>
                  <a:cubicBezTo>
                    <a:pt x="2934" y="714"/>
                    <a:pt x="2939" y="709"/>
                    <a:pt x="2939" y="703"/>
                  </a:cubicBezTo>
                  <a:cubicBezTo>
                    <a:pt x="2938" y="698"/>
                    <a:pt x="2931" y="693"/>
                    <a:pt x="2924" y="693"/>
                  </a:cubicBezTo>
                  <a:cubicBezTo>
                    <a:pt x="2924" y="693"/>
                    <a:pt x="2924" y="693"/>
                    <a:pt x="2924" y="693"/>
                  </a:cubicBezTo>
                  <a:moveTo>
                    <a:pt x="2698" y="693"/>
                  </a:moveTo>
                  <a:cubicBezTo>
                    <a:pt x="2690" y="693"/>
                    <a:pt x="2685" y="698"/>
                    <a:pt x="2685" y="704"/>
                  </a:cubicBezTo>
                  <a:cubicBezTo>
                    <a:pt x="2686" y="709"/>
                    <a:pt x="2692" y="714"/>
                    <a:pt x="2699" y="714"/>
                  </a:cubicBezTo>
                  <a:cubicBezTo>
                    <a:pt x="2707" y="714"/>
                    <a:pt x="2712" y="709"/>
                    <a:pt x="2712" y="703"/>
                  </a:cubicBezTo>
                  <a:cubicBezTo>
                    <a:pt x="2711" y="698"/>
                    <a:pt x="2705" y="693"/>
                    <a:pt x="2698" y="693"/>
                  </a:cubicBezTo>
                  <a:cubicBezTo>
                    <a:pt x="2698" y="693"/>
                    <a:pt x="2698" y="693"/>
                    <a:pt x="2698" y="693"/>
                  </a:cubicBezTo>
                  <a:moveTo>
                    <a:pt x="2962" y="693"/>
                  </a:moveTo>
                  <a:cubicBezTo>
                    <a:pt x="2955" y="693"/>
                    <a:pt x="2949" y="698"/>
                    <a:pt x="2950" y="703"/>
                  </a:cubicBezTo>
                  <a:cubicBezTo>
                    <a:pt x="2951" y="709"/>
                    <a:pt x="2958" y="714"/>
                    <a:pt x="2965" y="714"/>
                  </a:cubicBezTo>
                  <a:cubicBezTo>
                    <a:pt x="2973" y="714"/>
                    <a:pt x="2978" y="709"/>
                    <a:pt x="2977" y="703"/>
                  </a:cubicBezTo>
                  <a:cubicBezTo>
                    <a:pt x="2976" y="698"/>
                    <a:pt x="2969" y="693"/>
                    <a:pt x="2962" y="693"/>
                  </a:cubicBezTo>
                  <a:cubicBezTo>
                    <a:pt x="2962" y="693"/>
                    <a:pt x="2962" y="693"/>
                    <a:pt x="2962" y="693"/>
                  </a:cubicBezTo>
                  <a:moveTo>
                    <a:pt x="2736" y="693"/>
                  </a:moveTo>
                  <a:cubicBezTo>
                    <a:pt x="2728" y="693"/>
                    <a:pt x="2723" y="698"/>
                    <a:pt x="2723" y="703"/>
                  </a:cubicBezTo>
                  <a:cubicBezTo>
                    <a:pt x="2724" y="709"/>
                    <a:pt x="2730" y="714"/>
                    <a:pt x="2737" y="714"/>
                  </a:cubicBezTo>
                  <a:cubicBezTo>
                    <a:pt x="2745" y="714"/>
                    <a:pt x="2750" y="709"/>
                    <a:pt x="2750" y="703"/>
                  </a:cubicBezTo>
                  <a:cubicBezTo>
                    <a:pt x="2749" y="698"/>
                    <a:pt x="2743" y="693"/>
                    <a:pt x="2736" y="693"/>
                  </a:cubicBezTo>
                  <a:cubicBezTo>
                    <a:pt x="2736" y="693"/>
                    <a:pt x="2736" y="693"/>
                    <a:pt x="2736" y="693"/>
                  </a:cubicBezTo>
                  <a:moveTo>
                    <a:pt x="3000" y="693"/>
                  </a:moveTo>
                  <a:cubicBezTo>
                    <a:pt x="2993" y="693"/>
                    <a:pt x="2987" y="698"/>
                    <a:pt x="2988" y="703"/>
                  </a:cubicBezTo>
                  <a:cubicBezTo>
                    <a:pt x="2989" y="709"/>
                    <a:pt x="2996" y="713"/>
                    <a:pt x="3004" y="713"/>
                  </a:cubicBezTo>
                  <a:cubicBezTo>
                    <a:pt x="3011" y="713"/>
                    <a:pt x="3016" y="709"/>
                    <a:pt x="3015" y="703"/>
                  </a:cubicBezTo>
                  <a:cubicBezTo>
                    <a:pt x="3014" y="697"/>
                    <a:pt x="3007" y="693"/>
                    <a:pt x="3000" y="693"/>
                  </a:cubicBezTo>
                  <a:cubicBezTo>
                    <a:pt x="3000" y="693"/>
                    <a:pt x="3000" y="693"/>
                    <a:pt x="3000" y="693"/>
                  </a:cubicBezTo>
                  <a:moveTo>
                    <a:pt x="3038" y="693"/>
                  </a:moveTo>
                  <a:cubicBezTo>
                    <a:pt x="3031" y="693"/>
                    <a:pt x="3025" y="697"/>
                    <a:pt x="3027" y="703"/>
                  </a:cubicBezTo>
                  <a:cubicBezTo>
                    <a:pt x="3028" y="709"/>
                    <a:pt x="3034" y="713"/>
                    <a:pt x="3042" y="713"/>
                  </a:cubicBezTo>
                  <a:cubicBezTo>
                    <a:pt x="3049" y="713"/>
                    <a:pt x="3054" y="709"/>
                    <a:pt x="3053" y="703"/>
                  </a:cubicBezTo>
                  <a:cubicBezTo>
                    <a:pt x="3052" y="697"/>
                    <a:pt x="3045" y="693"/>
                    <a:pt x="3038" y="693"/>
                  </a:cubicBezTo>
                  <a:cubicBezTo>
                    <a:pt x="3038" y="693"/>
                    <a:pt x="3038" y="693"/>
                    <a:pt x="3038" y="693"/>
                  </a:cubicBezTo>
                  <a:moveTo>
                    <a:pt x="3076" y="693"/>
                  </a:moveTo>
                  <a:cubicBezTo>
                    <a:pt x="3068" y="693"/>
                    <a:pt x="3063" y="697"/>
                    <a:pt x="3064" y="703"/>
                  </a:cubicBezTo>
                  <a:cubicBezTo>
                    <a:pt x="3066" y="708"/>
                    <a:pt x="3072" y="713"/>
                    <a:pt x="3080" y="713"/>
                  </a:cubicBezTo>
                  <a:cubicBezTo>
                    <a:pt x="3087" y="713"/>
                    <a:pt x="3092" y="708"/>
                    <a:pt x="3091" y="703"/>
                  </a:cubicBezTo>
                  <a:cubicBezTo>
                    <a:pt x="3090" y="697"/>
                    <a:pt x="3083" y="693"/>
                    <a:pt x="3076" y="693"/>
                  </a:cubicBezTo>
                  <a:cubicBezTo>
                    <a:pt x="3076" y="693"/>
                    <a:pt x="3076" y="693"/>
                    <a:pt x="3076" y="693"/>
                  </a:cubicBezTo>
                  <a:moveTo>
                    <a:pt x="3114" y="692"/>
                  </a:moveTo>
                  <a:cubicBezTo>
                    <a:pt x="3106" y="692"/>
                    <a:pt x="3101" y="697"/>
                    <a:pt x="3103" y="703"/>
                  </a:cubicBezTo>
                  <a:cubicBezTo>
                    <a:pt x="3104" y="708"/>
                    <a:pt x="3111" y="713"/>
                    <a:pt x="3118" y="713"/>
                  </a:cubicBezTo>
                  <a:cubicBezTo>
                    <a:pt x="3126" y="713"/>
                    <a:pt x="3131" y="708"/>
                    <a:pt x="3129" y="702"/>
                  </a:cubicBezTo>
                  <a:cubicBezTo>
                    <a:pt x="3128" y="697"/>
                    <a:pt x="3121" y="692"/>
                    <a:pt x="3114" y="692"/>
                  </a:cubicBezTo>
                  <a:cubicBezTo>
                    <a:pt x="3114" y="692"/>
                    <a:pt x="3114" y="692"/>
                    <a:pt x="3114" y="692"/>
                  </a:cubicBezTo>
                  <a:moveTo>
                    <a:pt x="3153" y="692"/>
                  </a:moveTo>
                  <a:cubicBezTo>
                    <a:pt x="3146" y="692"/>
                    <a:pt x="3141" y="697"/>
                    <a:pt x="3142" y="702"/>
                  </a:cubicBezTo>
                  <a:cubicBezTo>
                    <a:pt x="3143" y="708"/>
                    <a:pt x="3150" y="713"/>
                    <a:pt x="3158" y="713"/>
                  </a:cubicBezTo>
                  <a:cubicBezTo>
                    <a:pt x="3165" y="713"/>
                    <a:pt x="3170" y="708"/>
                    <a:pt x="3169" y="702"/>
                  </a:cubicBezTo>
                  <a:cubicBezTo>
                    <a:pt x="3167" y="697"/>
                    <a:pt x="3160" y="692"/>
                    <a:pt x="3153" y="692"/>
                  </a:cubicBezTo>
                  <a:cubicBezTo>
                    <a:pt x="3153" y="692"/>
                    <a:pt x="3153" y="692"/>
                    <a:pt x="3153" y="692"/>
                  </a:cubicBezTo>
                  <a:moveTo>
                    <a:pt x="3191" y="692"/>
                  </a:moveTo>
                  <a:cubicBezTo>
                    <a:pt x="3184" y="692"/>
                    <a:pt x="3179" y="697"/>
                    <a:pt x="3180" y="702"/>
                  </a:cubicBezTo>
                  <a:cubicBezTo>
                    <a:pt x="3181" y="708"/>
                    <a:pt x="3188" y="712"/>
                    <a:pt x="3196" y="712"/>
                  </a:cubicBezTo>
                  <a:cubicBezTo>
                    <a:pt x="3203" y="712"/>
                    <a:pt x="3208" y="708"/>
                    <a:pt x="3207" y="702"/>
                  </a:cubicBezTo>
                  <a:cubicBezTo>
                    <a:pt x="3205" y="696"/>
                    <a:pt x="3198" y="692"/>
                    <a:pt x="3191" y="692"/>
                  </a:cubicBezTo>
                  <a:cubicBezTo>
                    <a:pt x="3191" y="692"/>
                    <a:pt x="3191" y="692"/>
                    <a:pt x="3191" y="692"/>
                  </a:cubicBezTo>
                  <a:moveTo>
                    <a:pt x="3687" y="692"/>
                  </a:moveTo>
                  <a:cubicBezTo>
                    <a:pt x="3679" y="692"/>
                    <a:pt x="3675" y="696"/>
                    <a:pt x="3677" y="702"/>
                  </a:cubicBezTo>
                  <a:cubicBezTo>
                    <a:pt x="3680" y="708"/>
                    <a:pt x="3688" y="712"/>
                    <a:pt x="3695" y="712"/>
                  </a:cubicBezTo>
                  <a:cubicBezTo>
                    <a:pt x="3702" y="712"/>
                    <a:pt x="3707" y="708"/>
                    <a:pt x="3704" y="702"/>
                  </a:cubicBezTo>
                  <a:cubicBezTo>
                    <a:pt x="3702" y="696"/>
                    <a:pt x="3694" y="692"/>
                    <a:pt x="3687" y="692"/>
                  </a:cubicBezTo>
                  <a:cubicBezTo>
                    <a:pt x="3687" y="692"/>
                    <a:pt x="3687" y="692"/>
                    <a:pt x="3687" y="692"/>
                  </a:cubicBezTo>
                  <a:moveTo>
                    <a:pt x="3229" y="692"/>
                  </a:moveTo>
                  <a:cubicBezTo>
                    <a:pt x="3222" y="692"/>
                    <a:pt x="3217" y="696"/>
                    <a:pt x="3218" y="702"/>
                  </a:cubicBezTo>
                  <a:cubicBezTo>
                    <a:pt x="3220" y="708"/>
                    <a:pt x="3227" y="712"/>
                    <a:pt x="3234" y="712"/>
                  </a:cubicBezTo>
                  <a:cubicBezTo>
                    <a:pt x="3242" y="712"/>
                    <a:pt x="3246" y="708"/>
                    <a:pt x="3245" y="702"/>
                  </a:cubicBezTo>
                  <a:cubicBezTo>
                    <a:pt x="3243" y="696"/>
                    <a:pt x="3236" y="692"/>
                    <a:pt x="3229" y="692"/>
                  </a:cubicBezTo>
                  <a:cubicBezTo>
                    <a:pt x="3229" y="692"/>
                    <a:pt x="3229" y="692"/>
                    <a:pt x="3229" y="692"/>
                  </a:cubicBezTo>
                  <a:moveTo>
                    <a:pt x="3724" y="692"/>
                  </a:moveTo>
                  <a:cubicBezTo>
                    <a:pt x="3717" y="692"/>
                    <a:pt x="3713" y="696"/>
                    <a:pt x="3715" y="702"/>
                  </a:cubicBezTo>
                  <a:cubicBezTo>
                    <a:pt x="3718" y="708"/>
                    <a:pt x="3726" y="712"/>
                    <a:pt x="3733" y="712"/>
                  </a:cubicBezTo>
                  <a:cubicBezTo>
                    <a:pt x="3741" y="712"/>
                    <a:pt x="3745" y="707"/>
                    <a:pt x="3742" y="702"/>
                  </a:cubicBezTo>
                  <a:cubicBezTo>
                    <a:pt x="3740" y="696"/>
                    <a:pt x="3732" y="692"/>
                    <a:pt x="3724" y="692"/>
                  </a:cubicBezTo>
                  <a:cubicBezTo>
                    <a:pt x="3724" y="692"/>
                    <a:pt x="3724" y="692"/>
                    <a:pt x="3724" y="692"/>
                  </a:cubicBezTo>
                  <a:moveTo>
                    <a:pt x="2774" y="692"/>
                  </a:moveTo>
                  <a:cubicBezTo>
                    <a:pt x="2766" y="692"/>
                    <a:pt x="2761" y="696"/>
                    <a:pt x="2761" y="702"/>
                  </a:cubicBezTo>
                  <a:cubicBezTo>
                    <a:pt x="2762" y="708"/>
                    <a:pt x="2768" y="712"/>
                    <a:pt x="2776" y="712"/>
                  </a:cubicBezTo>
                  <a:cubicBezTo>
                    <a:pt x="2783" y="712"/>
                    <a:pt x="2789" y="707"/>
                    <a:pt x="2788" y="702"/>
                  </a:cubicBezTo>
                  <a:cubicBezTo>
                    <a:pt x="2787" y="696"/>
                    <a:pt x="2781" y="692"/>
                    <a:pt x="2774" y="692"/>
                  </a:cubicBezTo>
                  <a:cubicBezTo>
                    <a:pt x="2774" y="692"/>
                    <a:pt x="2774" y="692"/>
                    <a:pt x="2774" y="692"/>
                  </a:cubicBezTo>
                  <a:moveTo>
                    <a:pt x="3267" y="691"/>
                  </a:moveTo>
                  <a:cubicBezTo>
                    <a:pt x="3260" y="692"/>
                    <a:pt x="3255" y="696"/>
                    <a:pt x="3257" y="702"/>
                  </a:cubicBezTo>
                  <a:cubicBezTo>
                    <a:pt x="3258" y="708"/>
                    <a:pt x="3266" y="712"/>
                    <a:pt x="3273" y="712"/>
                  </a:cubicBezTo>
                  <a:cubicBezTo>
                    <a:pt x="3280" y="712"/>
                    <a:pt x="3285" y="707"/>
                    <a:pt x="3284" y="702"/>
                  </a:cubicBezTo>
                  <a:cubicBezTo>
                    <a:pt x="3282" y="696"/>
                    <a:pt x="3275" y="691"/>
                    <a:pt x="3267" y="691"/>
                  </a:cubicBezTo>
                  <a:cubicBezTo>
                    <a:pt x="3267" y="691"/>
                    <a:pt x="3267" y="691"/>
                    <a:pt x="3267" y="691"/>
                  </a:cubicBezTo>
                  <a:moveTo>
                    <a:pt x="3762" y="691"/>
                  </a:moveTo>
                  <a:cubicBezTo>
                    <a:pt x="3755" y="691"/>
                    <a:pt x="3751" y="696"/>
                    <a:pt x="3754" y="702"/>
                  </a:cubicBezTo>
                  <a:cubicBezTo>
                    <a:pt x="3756" y="707"/>
                    <a:pt x="3764" y="712"/>
                    <a:pt x="3772" y="712"/>
                  </a:cubicBezTo>
                  <a:cubicBezTo>
                    <a:pt x="3779" y="712"/>
                    <a:pt x="3783" y="707"/>
                    <a:pt x="3780" y="702"/>
                  </a:cubicBezTo>
                  <a:cubicBezTo>
                    <a:pt x="3778" y="696"/>
                    <a:pt x="3770" y="691"/>
                    <a:pt x="3763" y="691"/>
                  </a:cubicBezTo>
                  <a:cubicBezTo>
                    <a:pt x="3762" y="691"/>
                    <a:pt x="3762" y="691"/>
                    <a:pt x="3762" y="691"/>
                  </a:cubicBezTo>
                  <a:moveTo>
                    <a:pt x="3305" y="691"/>
                  </a:moveTo>
                  <a:cubicBezTo>
                    <a:pt x="3298" y="691"/>
                    <a:pt x="3293" y="696"/>
                    <a:pt x="3295" y="702"/>
                  </a:cubicBezTo>
                  <a:cubicBezTo>
                    <a:pt x="3296" y="707"/>
                    <a:pt x="3304" y="712"/>
                    <a:pt x="3311" y="712"/>
                  </a:cubicBezTo>
                  <a:cubicBezTo>
                    <a:pt x="3318" y="712"/>
                    <a:pt x="3323" y="707"/>
                    <a:pt x="3321" y="701"/>
                  </a:cubicBezTo>
                  <a:cubicBezTo>
                    <a:pt x="3320" y="696"/>
                    <a:pt x="3313" y="691"/>
                    <a:pt x="3305" y="691"/>
                  </a:cubicBezTo>
                  <a:cubicBezTo>
                    <a:pt x="3305" y="691"/>
                    <a:pt x="3305" y="691"/>
                    <a:pt x="3305" y="691"/>
                  </a:cubicBezTo>
                  <a:moveTo>
                    <a:pt x="3803" y="691"/>
                  </a:moveTo>
                  <a:cubicBezTo>
                    <a:pt x="3795" y="691"/>
                    <a:pt x="3792" y="696"/>
                    <a:pt x="3794" y="702"/>
                  </a:cubicBezTo>
                  <a:cubicBezTo>
                    <a:pt x="3797" y="707"/>
                    <a:pt x="3805" y="712"/>
                    <a:pt x="3812" y="712"/>
                  </a:cubicBezTo>
                  <a:cubicBezTo>
                    <a:pt x="3820" y="712"/>
                    <a:pt x="3823" y="707"/>
                    <a:pt x="3821" y="701"/>
                  </a:cubicBezTo>
                  <a:cubicBezTo>
                    <a:pt x="3818" y="696"/>
                    <a:pt x="3810" y="691"/>
                    <a:pt x="3803" y="691"/>
                  </a:cubicBezTo>
                  <a:cubicBezTo>
                    <a:pt x="3803" y="691"/>
                    <a:pt x="3803" y="691"/>
                    <a:pt x="3803" y="691"/>
                  </a:cubicBezTo>
                  <a:moveTo>
                    <a:pt x="3343" y="691"/>
                  </a:moveTo>
                  <a:cubicBezTo>
                    <a:pt x="3336" y="691"/>
                    <a:pt x="3331" y="696"/>
                    <a:pt x="3333" y="701"/>
                  </a:cubicBezTo>
                  <a:cubicBezTo>
                    <a:pt x="3335" y="707"/>
                    <a:pt x="3342" y="712"/>
                    <a:pt x="3349" y="712"/>
                  </a:cubicBezTo>
                  <a:cubicBezTo>
                    <a:pt x="3357" y="712"/>
                    <a:pt x="3361" y="707"/>
                    <a:pt x="3360" y="701"/>
                  </a:cubicBezTo>
                  <a:cubicBezTo>
                    <a:pt x="3358" y="696"/>
                    <a:pt x="3351" y="691"/>
                    <a:pt x="3343" y="691"/>
                  </a:cubicBezTo>
                  <a:cubicBezTo>
                    <a:pt x="3343" y="691"/>
                    <a:pt x="3343" y="691"/>
                    <a:pt x="3343" y="691"/>
                  </a:cubicBezTo>
                  <a:moveTo>
                    <a:pt x="2622" y="691"/>
                  </a:moveTo>
                  <a:cubicBezTo>
                    <a:pt x="2615" y="691"/>
                    <a:pt x="2609" y="696"/>
                    <a:pt x="2609" y="701"/>
                  </a:cubicBezTo>
                  <a:cubicBezTo>
                    <a:pt x="2610" y="707"/>
                    <a:pt x="2616" y="712"/>
                    <a:pt x="2623" y="712"/>
                  </a:cubicBezTo>
                  <a:cubicBezTo>
                    <a:pt x="2631" y="711"/>
                    <a:pt x="2636" y="707"/>
                    <a:pt x="2636" y="701"/>
                  </a:cubicBezTo>
                  <a:cubicBezTo>
                    <a:pt x="2636" y="696"/>
                    <a:pt x="2630" y="691"/>
                    <a:pt x="2622" y="691"/>
                  </a:cubicBezTo>
                  <a:cubicBezTo>
                    <a:pt x="2622" y="691"/>
                    <a:pt x="2622" y="691"/>
                    <a:pt x="2622" y="691"/>
                  </a:cubicBezTo>
                  <a:moveTo>
                    <a:pt x="3840" y="691"/>
                  </a:moveTo>
                  <a:cubicBezTo>
                    <a:pt x="3833" y="691"/>
                    <a:pt x="3829" y="696"/>
                    <a:pt x="3832" y="701"/>
                  </a:cubicBezTo>
                  <a:cubicBezTo>
                    <a:pt x="3834" y="707"/>
                    <a:pt x="3843" y="712"/>
                    <a:pt x="3850" y="712"/>
                  </a:cubicBezTo>
                  <a:cubicBezTo>
                    <a:pt x="3857" y="711"/>
                    <a:pt x="3861" y="707"/>
                    <a:pt x="3858" y="701"/>
                  </a:cubicBezTo>
                  <a:cubicBezTo>
                    <a:pt x="3856" y="696"/>
                    <a:pt x="3848" y="691"/>
                    <a:pt x="3840" y="691"/>
                  </a:cubicBezTo>
                  <a:cubicBezTo>
                    <a:pt x="3840" y="691"/>
                    <a:pt x="3840" y="691"/>
                    <a:pt x="3840" y="691"/>
                  </a:cubicBezTo>
                  <a:moveTo>
                    <a:pt x="3381" y="691"/>
                  </a:moveTo>
                  <a:cubicBezTo>
                    <a:pt x="3374" y="691"/>
                    <a:pt x="3369" y="696"/>
                    <a:pt x="3371" y="701"/>
                  </a:cubicBezTo>
                  <a:cubicBezTo>
                    <a:pt x="3373" y="707"/>
                    <a:pt x="3380" y="711"/>
                    <a:pt x="3387" y="711"/>
                  </a:cubicBezTo>
                  <a:cubicBezTo>
                    <a:pt x="3395" y="711"/>
                    <a:pt x="3399" y="707"/>
                    <a:pt x="3397" y="701"/>
                  </a:cubicBezTo>
                  <a:cubicBezTo>
                    <a:pt x="3396" y="695"/>
                    <a:pt x="3388" y="691"/>
                    <a:pt x="3381" y="691"/>
                  </a:cubicBezTo>
                  <a:cubicBezTo>
                    <a:pt x="3381" y="691"/>
                    <a:pt x="3381" y="691"/>
                    <a:pt x="3381" y="691"/>
                  </a:cubicBezTo>
                  <a:moveTo>
                    <a:pt x="3878" y="691"/>
                  </a:moveTo>
                  <a:cubicBezTo>
                    <a:pt x="3871" y="691"/>
                    <a:pt x="3867" y="695"/>
                    <a:pt x="3870" y="701"/>
                  </a:cubicBezTo>
                  <a:cubicBezTo>
                    <a:pt x="3872" y="707"/>
                    <a:pt x="3881" y="711"/>
                    <a:pt x="3888" y="711"/>
                  </a:cubicBezTo>
                  <a:cubicBezTo>
                    <a:pt x="3895" y="711"/>
                    <a:pt x="3899" y="707"/>
                    <a:pt x="3896" y="701"/>
                  </a:cubicBezTo>
                  <a:cubicBezTo>
                    <a:pt x="3894" y="695"/>
                    <a:pt x="3885" y="691"/>
                    <a:pt x="3878" y="691"/>
                  </a:cubicBezTo>
                  <a:cubicBezTo>
                    <a:pt x="3878" y="691"/>
                    <a:pt x="3878" y="691"/>
                    <a:pt x="3878" y="691"/>
                  </a:cubicBezTo>
                  <a:moveTo>
                    <a:pt x="3419" y="691"/>
                  </a:moveTo>
                  <a:cubicBezTo>
                    <a:pt x="3412" y="691"/>
                    <a:pt x="3407" y="695"/>
                    <a:pt x="3409" y="701"/>
                  </a:cubicBezTo>
                  <a:cubicBezTo>
                    <a:pt x="3411" y="707"/>
                    <a:pt x="3418" y="711"/>
                    <a:pt x="3426" y="711"/>
                  </a:cubicBezTo>
                  <a:cubicBezTo>
                    <a:pt x="3433" y="711"/>
                    <a:pt x="3438" y="707"/>
                    <a:pt x="3436" y="701"/>
                  </a:cubicBezTo>
                  <a:cubicBezTo>
                    <a:pt x="3434" y="695"/>
                    <a:pt x="3426" y="691"/>
                    <a:pt x="3419" y="691"/>
                  </a:cubicBezTo>
                  <a:cubicBezTo>
                    <a:pt x="3419" y="691"/>
                    <a:pt x="3419" y="691"/>
                    <a:pt x="3419" y="691"/>
                  </a:cubicBezTo>
                  <a:moveTo>
                    <a:pt x="3916" y="691"/>
                  </a:moveTo>
                  <a:cubicBezTo>
                    <a:pt x="3909" y="691"/>
                    <a:pt x="3905" y="695"/>
                    <a:pt x="3908" y="701"/>
                  </a:cubicBezTo>
                  <a:cubicBezTo>
                    <a:pt x="3911" y="707"/>
                    <a:pt x="3919" y="711"/>
                    <a:pt x="3926" y="711"/>
                  </a:cubicBezTo>
                  <a:cubicBezTo>
                    <a:pt x="3934" y="711"/>
                    <a:pt x="3937" y="706"/>
                    <a:pt x="3935" y="701"/>
                  </a:cubicBezTo>
                  <a:cubicBezTo>
                    <a:pt x="3932" y="695"/>
                    <a:pt x="3924" y="691"/>
                    <a:pt x="3916" y="691"/>
                  </a:cubicBezTo>
                  <a:cubicBezTo>
                    <a:pt x="3916" y="691"/>
                    <a:pt x="3916" y="691"/>
                    <a:pt x="3916" y="691"/>
                  </a:cubicBezTo>
                  <a:moveTo>
                    <a:pt x="3457" y="690"/>
                  </a:moveTo>
                  <a:cubicBezTo>
                    <a:pt x="3450" y="691"/>
                    <a:pt x="3446" y="695"/>
                    <a:pt x="3448" y="701"/>
                  </a:cubicBezTo>
                  <a:cubicBezTo>
                    <a:pt x="3449" y="707"/>
                    <a:pt x="3457" y="711"/>
                    <a:pt x="3464" y="711"/>
                  </a:cubicBezTo>
                  <a:cubicBezTo>
                    <a:pt x="3472" y="711"/>
                    <a:pt x="3476" y="706"/>
                    <a:pt x="3474" y="701"/>
                  </a:cubicBezTo>
                  <a:cubicBezTo>
                    <a:pt x="3472" y="695"/>
                    <a:pt x="3465" y="690"/>
                    <a:pt x="3458" y="690"/>
                  </a:cubicBezTo>
                  <a:cubicBezTo>
                    <a:pt x="3458" y="690"/>
                    <a:pt x="3458" y="690"/>
                    <a:pt x="3457" y="690"/>
                  </a:cubicBezTo>
                  <a:moveTo>
                    <a:pt x="3955" y="690"/>
                  </a:moveTo>
                  <a:cubicBezTo>
                    <a:pt x="3947" y="690"/>
                    <a:pt x="3944" y="695"/>
                    <a:pt x="3946" y="701"/>
                  </a:cubicBezTo>
                  <a:cubicBezTo>
                    <a:pt x="3949" y="706"/>
                    <a:pt x="3958" y="711"/>
                    <a:pt x="3965" y="711"/>
                  </a:cubicBezTo>
                  <a:cubicBezTo>
                    <a:pt x="3972" y="711"/>
                    <a:pt x="3976" y="706"/>
                    <a:pt x="3973" y="701"/>
                  </a:cubicBezTo>
                  <a:cubicBezTo>
                    <a:pt x="3970" y="695"/>
                    <a:pt x="3962" y="690"/>
                    <a:pt x="3955" y="690"/>
                  </a:cubicBezTo>
                  <a:cubicBezTo>
                    <a:pt x="3955" y="690"/>
                    <a:pt x="3955" y="690"/>
                    <a:pt x="3955" y="690"/>
                  </a:cubicBezTo>
                  <a:moveTo>
                    <a:pt x="3495" y="690"/>
                  </a:moveTo>
                  <a:cubicBezTo>
                    <a:pt x="3488" y="690"/>
                    <a:pt x="3484" y="695"/>
                    <a:pt x="3486" y="701"/>
                  </a:cubicBezTo>
                  <a:cubicBezTo>
                    <a:pt x="3487" y="706"/>
                    <a:pt x="3495" y="711"/>
                    <a:pt x="3502" y="711"/>
                  </a:cubicBezTo>
                  <a:cubicBezTo>
                    <a:pt x="3510" y="711"/>
                    <a:pt x="3514" y="706"/>
                    <a:pt x="3512" y="700"/>
                  </a:cubicBezTo>
                  <a:cubicBezTo>
                    <a:pt x="3510" y="695"/>
                    <a:pt x="3503" y="690"/>
                    <a:pt x="3495" y="690"/>
                  </a:cubicBezTo>
                  <a:cubicBezTo>
                    <a:pt x="3495" y="690"/>
                    <a:pt x="3495" y="690"/>
                    <a:pt x="3495" y="690"/>
                  </a:cubicBezTo>
                  <a:moveTo>
                    <a:pt x="3992" y="690"/>
                  </a:moveTo>
                  <a:cubicBezTo>
                    <a:pt x="3985" y="690"/>
                    <a:pt x="3981" y="695"/>
                    <a:pt x="3984" y="701"/>
                  </a:cubicBezTo>
                  <a:cubicBezTo>
                    <a:pt x="3987" y="706"/>
                    <a:pt x="3996" y="711"/>
                    <a:pt x="4003" y="711"/>
                  </a:cubicBezTo>
                  <a:cubicBezTo>
                    <a:pt x="4010" y="711"/>
                    <a:pt x="4014" y="706"/>
                    <a:pt x="4011" y="700"/>
                  </a:cubicBezTo>
                  <a:cubicBezTo>
                    <a:pt x="4008" y="695"/>
                    <a:pt x="4000" y="690"/>
                    <a:pt x="3992" y="690"/>
                  </a:cubicBezTo>
                  <a:cubicBezTo>
                    <a:pt x="3992" y="690"/>
                    <a:pt x="3992" y="690"/>
                    <a:pt x="3992" y="690"/>
                  </a:cubicBezTo>
                  <a:moveTo>
                    <a:pt x="3533" y="690"/>
                  </a:moveTo>
                  <a:cubicBezTo>
                    <a:pt x="3526" y="690"/>
                    <a:pt x="3522" y="695"/>
                    <a:pt x="3524" y="700"/>
                  </a:cubicBezTo>
                  <a:cubicBezTo>
                    <a:pt x="3526" y="706"/>
                    <a:pt x="3533" y="711"/>
                    <a:pt x="3541" y="711"/>
                  </a:cubicBezTo>
                  <a:cubicBezTo>
                    <a:pt x="3548" y="711"/>
                    <a:pt x="3552" y="706"/>
                    <a:pt x="3550" y="700"/>
                  </a:cubicBezTo>
                  <a:cubicBezTo>
                    <a:pt x="3548" y="695"/>
                    <a:pt x="3541" y="690"/>
                    <a:pt x="3533" y="690"/>
                  </a:cubicBezTo>
                  <a:cubicBezTo>
                    <a:pt x="3533" y="690"/>
                    <a:pt x="3533" y="690"/>
                    <a:pt x="3533" y="690"/>
                  </a:cubicBezTo>
                  <a:moveTo>
                    <a:pt x="4029" y="690"/>
                  </a:moveTo>
                  <a:cubicBezTo>
                    <a:pt x="4022" y="690"/>
                    <a:pt x="4018" y="695"/>
                    <a:pt x="4021" y="700"/>
                  </a:cubicBezTo>
                  <a:cubicBezTo>
                    <a:pt x="4024" y="706"/>
                    <a:pt x="4033" y="711"/>
                    <a:pt x="4040" y="711"/>
                  </a:cubicBezTo>
                  <a:cubicBezTo>
                    <a:pt x="4048" y="710"/>
                    <a:pt x="4051" y="706"/>
                    <a:pt x="4048" y="700"/>
                  </a:cubicBezTo>
                  <a:cubicBezTo>
                    <a:pt x="4045" y="695"/>
                    <a:pt x="4037" y="690"/>
                    <a:pt x="4029" y="690"/>
                  </a:cubicBezTo>
                  <a:cubicBezTo>
                    <a:pt x="4029" y="690"/>
                    <a:pt x="4029" y="690"/>
                    <a:pt x="4029" y="690"/>
                  </a:cubicBezTo>
                  <a:moveTo>
                    <a:pt x="3571" y="690"/>
                  </a:moveTo>
                  <a:cubicBezTo>
                    <a:pt x="3564" y="690"/>
                    <a:pt x="3559" y="695"/>
                    <a:pt x="3562" y="700"/>
                  </a:cubicBezTo>
                  <a:cubicBezTo>
                    <a:pt x="3564" y="706"/>
                    <a:pt x="3571" y="710"/>
                    <a:pt x="3579" y="710"/>
                  </a:cubicBezTo>
                  <a:cubicBezTo>
                    <a:pt x="3586" y="710"/>
                    <a:pt x="3590" y="706"/>
                    <a:pt x="3588" y="700"/>
                  </a:cubicBezTo>
                  <a:cubicBezTo>
                    <a:pt x="3586" y="694"/>
                    <a:pt x="3578" y="690"/>
                    <a:pt x="3571" y="690"/>
                  </a:cubicBezTo>
                  <a:cubicBezTo>
                    <a:pt x="3571" y="690"/>
                    <a:pt x="3571" y="690"/>
                    <a:pt x="3571" y="690"/>
                  </a:cubicBezTo>
                  <a:moveTo>
                    <a:pt x="4061" y="690"/>
                  </a:moveTo>
                  <a:cubicBezTo>
                    <a:pt x="4053" y="690"/>
                    <a:pt x="4050" y="694"/>
                    <a:pt x="4053" y="700"/>
                  </a:cubicBezTo>
                  <a:cubicBezTo>
                    <a:pt x="4056" y="706"/>
                    <a:pt x="4064" y="710"/>
                    <a:pt x="4072" y="710"/>
                  </a:cubicBezTo>
                  <a:cubicBezTo>
                    <a:pt x="4079" y="710"/>
                    <a:pt x="4083" y="706"/>
                    <a:pt x="4080" y="700"/>
                  </a:cubicBezTo>
                  <a:cubicBezTo>
                    <a:pt x="4076" y="694"/>
                    <a:pt x="4068" y="690"/>
                    <a:pt x="4061" y="690"/>
                  </a:cubicBezTo>
                  <a:cubicBezTo>
                    <a:pt x="4061" y="690"/>
                    <a:pt x="4061" y="690"/>
                    <a:pt x="4061" y="690"/>
                  </a:cubicBezTo>
                  <a:moveTo>
                    <a:pt x="3609" y="690"/>
                  </a:moveTo>
                  <a:cubicBezTo>
                    <a:pt x="3602" y="690"/>
                    <a:pt x="3598" y="694"/>
                    <a:pt x="3600" y="700"/>
                  </a:cubicBezTo>
                  <a:cubicBezTo>
                    <a:pt x="3602" y="706"/>
                    <a:pt x="3610" y="710"/>
                    <a:pt x="3617" y="710"/>
                  </a:cubicBezTo>
                  <a:cubicBezTo>
                    <a:pt x="3625" y="710"/>
                    <a:pt x="3629" y="706"/>
                    <a:pt x="3626" y="700"/>
                  </a:cubicBezTo>
                  <a:cubicBezTo>
                    <a:pt x="3624" y="694"/>
                    <a:pt x="3617" y="690"/>
                    <a:pt x="3609" y="690"/>
                  </a:cubicBezTo>
                  <a:cubicBezTo>
                    <a:pt x="3609" y="690"/>
                    <a:pt x="3609" y="690"/>
                    <a:pt x="3609" y="690"/>
                  </a:cubicBezTo>
                  <a:moveTo>
                    <a:pt x="3648" y="689"/>
                  </a:moveTo>
                  <a:cubicBezTo>
                    <a:pt x="3640" y="690"/>
                    <a:pt x="3636" y="694"/>
                    <a:pt x="3638" y="700"/>
                  </a:cubicBezTo>
                  <a:cubicBezTo>
                    <a:pt x="3641" y="706"/>
                    <a:pt x="3648" y="710"/>
                    <a:pt x="3656" y="710"/>
                  </a:cubicBezTo>
                  <a:cubicBezTo>
                    <a:pt x="3663" y="710"/>
                    <a:pt x="3667" y="705"/>
                    <a:pt x="3665" y="700"/>
                  </a:cubicBezTo>
                  <a:cubicBezTo>
                    <a:pt x="3663" y="694"/>
                    <a:pt x="3655" y="689"/>
                    <a:pt x="3648" y="689"/>
                  </a:cubicBezTo>
                  <a:cubicBezTo>
                    <a:pt x="3648" y="689"/>
                    <a:pt x="3648" y="689"/>
                    <a:pt x="3648" y="689"/>
                  </a:cubicBezTo>
                  <a:moveTo>
                    <a:pt x="89" y="681"/>
                  </a:moveTo>
                  <a:cubicBezTo>
                    <a:pt x="82" y="681"/>
                    <a:pt x="72" y="685"/>
                    <a:pt x="68" y="691"/>
                  </a:cubicBezTo>
                  <a:cubicBezTo>
                    <a:pt x="63" y="697"/>
                    <a:pt x="65" y="701"/>
                    <a:pt x="72" y="701"/>
                  </a:cubicBezTo>
                  <a:cubicBezTo>
                    <a:pt x="80" y="701"/>
                    <a:pt x="90" y="696"/>
                    <a:pt x="94" y="691"/>
                  </a:cubicBezTo>
                  <a:cubicBezTo>
                    <a:pt x="99" y="685"/>
                    <a:pt x="97" y="681"/>
                    <a:pt x="90" y="681"/>
                  </a:cubicBezTo>
                  <a:cubicBezTo>
                    <a:pt x="89" y="681"/>
                    <a:pt x="89" y="681"/>
                    <a:pt x="89" y="681"/>
                  </a:cubicBezTo>
                  <a:moveTo>
                    <a:pt x="127" y="681"/>
                  </a:moveTo>
                  <a:cubicBezTo>
                    <a:pt x="120" y="681"/>
                    <a:pt x="110" y="685"/>
                    <a:pt x="106" y="691"/>
                  </a:cubicBezTo>
                  <a:cubicBezTo>
                    <a:pt x="101" y="696"/>
                    <a:pt x="103" y="701"/>
                    <a:pt x="110" y="701"/>
                  </a:cubicBezTo>
                  <a:cubicBezTo>
                    <a:pt x="118" y="701"/>
                    <a:pt x="128" y="696"/>
                    <a:pt x="132" y="691"/>
                  </a:cubicBezTo>
                  <a:cubicBezTo>
                    <a:pt x="137" y="685"/>
                    <a:pt x="135" y="681"/>
                    <a:pt x="127" y="681"/>
                  </a:cubicBezTo>
                  <a:cubicBezTo>
                    <a:pt x="127" y="681"/>
                    <a:pt x="127" y="681"/>
                    <a:pt x="127" y="681"/>
                  </a:cubicBezTo>
                  <a:moveTo>
                    <a:pt x="165" y="680"/>
                  </a:moveTo>
                  <a:cubicBezTo>
                    <a:pt x="157" y="680"/>
                    <a:pt x="148" y="685"/>
                    <a:pt x="143" y="691"/>
                  </a:cubicBezTo>
                  <a:cubicBezTo>
                    <a:pt x="139" y="696"/>
                    <a:pt x="141" y="701"/>
                    <a:pt x="148" y="701"/>
                  </a:cubicBezTo>
                  <a:cubicBezTo>
                    <a:pt x="156" y="701"/>
                    <a:pt x="165" y="696"/>
                    <a:pt x="170" y="690"/>
                  </a:cubicBezTo>
                  <a:cubicBezTo>
                    <a:pt x="174" y="685"/>
                    <a:pt x="172" y="680"/>
                    <a:pt x="165" y="680"/>
                  </a:cubicBezTo>
                  <a:cubicBezTo>
                    <a:pt x="165" y="680"/>
                    <a:pt x="165" y="680"/>
                    <a:pt x="165" y="680"/>
                  </a:cubicBezTo>
                  <a:moveTo>
                    <a:pt x="203" y="680"/>
                  </a:moveTo>
                  <a:cubicBezTo>
                    <a:pt x="195" y="680"/>
                    <a:pt x="186" y="685"/>
                    <a:pt x="181" y="690"/>
                  </a:cubicBezTo>
                  <a:cubicBezTo>
                    <a:pt x="177" y="696"/>
                    <a:pt x="179" y="700"/>
                    <a:pt x="186" y="700"/>
                  </a:cubicBezTo>
                  <a:cubicBezTo>
                    <a:pt x="194" y="700"/>
                    <a:pt x="203" y="696"/>
                    <a:pt x="208" y="690"/>
                  </a:cubicBezTo>
                  <a:cubicBezTo>
                    <a:pt x="212" y="685"/>
                    <a:pt x="210" y="680"/>
                    <a:pt x="203" y="680"/>
                  </a:cubicBezTo>
                  <a:cubicBezTo>
                    <a:pt x="203" y="680"/>
                    <a:pt x="203" y="680"/>
                    <a:pt x="203" y="680"/>
                  </a:cubicBezTo>
                  <a:moveTo>
                    <a:pt x="240" y="680"/>
                  </a:moveTo>
                  <a:cubicBezTo>
                    <a:pt x="233" y="680"/>
                    <a:pt x="223" y="685"/>
                    <a:pt x="219" y="690"/>
                  </a:cubicBezTo>
                  <a:cubicBezTo>
                    <a:pt x="215" y="696"/>
                    <a:pt x="217" y="700"/>
                    <a:pt x="224" y="700"/>
                  </a:cubicBezTo>
                  <a:cubicBezTo>
                    <a:pt x="232" y="700"/>
                    <a:pt x="241" y="696"/>
                    <a:pt x="246" y="690"/>
                  </a:cubicBezTo>
                  <a:cubicBezTo>
                    <a:pt x="250" y="684"/>
                    <a:pt x="248" y="680"/>
                    <a:pt x="240" y="680"/>
                  </a:cubicBezTo>
                  <a:cubicBezTo>
                    <a:pt x="240" y="680"/>
                    <a:pt x="240" y="680"/>
                    <a:pt x="240" y="680"/>
                  </a:cubicBezTo>
                  <a:moveTo>
                    <a:pt x="278" y="680"/>
                  </a:moveTo>
                  <a:cubicBezTo>
                    <a:pt x="271" y="680"/>
                    <a:pt x="261" y="684"/>
                    <a:pt x="257" y="690"/>
                  </a:cubicBezTo>
                  <a:cubicBezTo>
                    <a:pt x="253" y="696"/>
                    <a:pt x="255" y="700"/>
                    <a:pt x="262" y="700"/>
                  </a:cubicBezTo>
                  <a:cubicBezTo>
                    <a:pt x="270" y="700"/>
                    <a:pt x="279" y="695"/>
                    <a:pt x="284" y="690"/>
                  </a:cubicBezTo>
                  <a:cubicBezTo>
                    <a:pt x="288" y="684"/>
                    <a:pt x="286" y="680"/>
                    <a:pt x="278" y="680"/>
                  </a:cubicBezTo>
                  <a:cubicBezTo>
                    <a:pt x="278" y="680"/>
                    <a:pt x="278" y="680"/>
                    <a:pt x="278" y="680"/>
                  </a:cubicBezTo>
                  <a:moveTo>
                    <a:pt x="317" y="680"/>
                  </a:moveTo>
                  <a:cubicBezTo>
                    <a:pt x="310" y="680"/>
                    <a:pt x="301" y="684"/>
                    <a:pt x="296" y="690"/>
                  </a:cubicBezTo>
                  <a:cubicBezTo>
                    <a:pt x="292" y="695"/>
                    <a:pt x="294" y="700"/>
                    <a:pt x="302" y="700"/>
                  </a:cubicBezTo>
                  <a:cubicBezTo>
                    <a:pt x="309" y="700"/>
                    <a:pt x="319" y="695"/>
                    <a:pt x="323" y="690"/>
                  </a:cubicBezTo>
                  <a:cubicBezTo>
                    <a:pt x="327" y="684"/>
                    <a:pt x="325" y="680"/>
                    <a:pt x="317" y="680"/>
                  </a:cubicBezTo>
                  <a:cubicBezTo>
                    <a:pt x="317" y="680"/>
                    <a:pt x="317" y="680"/>
                    <a:pt x="317" y="680"/>
                  </a:cubicBezTo>
                  <a:moveTo>
                    <a:pt x="355" y="679"/>
                  </a:moveTo>
                  <a:cubicBezTo>
                    <a:pt x="348" y="679"/>
                    <a:pt x="338" y="684"/>
                    <a:pt x="334" y="690"/>
                  </a:cubicBezTo>
                  <a:cubicBezTo>
                    <a:pt x="330" y="695"/>
                    <a:pt x="332" y="700"/>
                    <a:pt x="340" y="700"/>
                  </a:cubicBezTo>
                  <a:cubicBezTo>
                    <a:pt x="347" y="700"/>
                    <a:pt x="356" y="695"/>
                    <a:pt x="361" y="689"/>
                  </a:cubicBezTo>
                  <a:cubicBezTo>
                    <a:pt x="365" y="684"/>
                    <a:pt x="362" y="679"/>
                    <a:pt x="355" y="679"/>
                  </a:cubicBezTo>
                  <a:cubicBezTo>
                    <a:pt x="355" y="679"/>
                    <a:pt x="355" y="679"/>
                    <a:pt x="355" y="679"/>
                  </a:cubicBezTo>
                  <a:moveTo>
                    <a:pt x="393" y="679"/>
                  </a:moveTo>
                  <a:cubicBezTo>
                    <a:pt x="386" y="679"/>
                    <a:pt x="376" y="684"/>
                    <a:pt x="372" y="689"/>
                  </a:cubicBezTo>
                  <a:cubicBezTo>
                    <a:pt x="368" y="695"/>
                    <a:pt x="371" y="699"/>
                    <a:pt x="378" y="699"/>
                  </a:cubicBezTo>
                  <a:cubicBezTo>
                    <a:pt x="385" y="699"/>
                    <a:pt x="395" y="695"/>
                    <a:pt x="399" y="689"/>
                  </a:cubicBezTo>
                  <a:cubicBezTo>
                    <a:pt x="403" y="684"/>
                    <a:pt x="400" y="679"/>
                    <a:pt x="393" y="679"/>
                  </a:cubicBezTo>
                  <a:cubicBezTo>
                    <a:pt x="393" y="679"/>
                    <a:pt x="393" y="679"/>
                    <a:pt x="393" y="679"/>
                  </a:cubicBezTo>
                  <a:moveTo>
                    <a:pt x="431" y="679"/>
                  </a:moveTo>
                  <a:cubicBezTo>
                    <a:pt x="424" y="679"/>
                    <a:pt x="415" y="684"/>
                    <a:pt x="410" y="689"/>
                  </a:cubicBezTo>
                  <a:cubicBezTo>
                    <a:pt x="406" y="695"/>
                    <a:pt x="409" y="699"/>
                    <a:pt x="416" y="699"/>
                  </a:cubicBezTo>
                  <a:cubicBezTo>
                    <a:pt x="424" y="699"/>
                    <a:pt x="433" y="695"/>
                    <a:pt x="437" y="689"/>
                  </a:cubicBezTo>
                  <a:cubicBezTo>
                    <a:pt x="441" y="683"/>
                    <a:pt x="438" y="679"/>
                    <a:pt x="431" y="679"/>
                  </a:cubicBezTo>
                  <a:cubicBezTo>
                    <a:pt x="431" y="679"/>
                    <a:pt x="431" y="679"/>
                    <a:pt x="431" y="679"/>
                  </a:cubicBezTo>
                  <a:moveTo>
                    <a:pt x="469" y="679"/>
                  </a:moveTo>
                  <a:cubicBezTo>
                    <a:pt x="461" y="679"/>
                    <a:pt x="452" y="683"/>
                    <a:pt x="448" y="689"/>
                  </a:cubicBezTo>
                  <a:cubicBezTo>
                    <a:pt x="444" y="694"/>
                    <a:pt x="447" y="699"/>
                    <a:pt x="454" y="699"/>
                  </a:cubicBezTo>
                  <a:cubicBezTo>
                    <a:pt x="462" y="699"/>
                    <a:pt x="471" y="694"/>
                    <a:pt x="475" y="689"/>
                  </a:cubicBezTo>
                  <a:cubicBezTo>
                    <a:pt x="479" y="683"/>
                    <a:pt x="476" y="679"/>
                    <a:pt x="469" y="679"/>
                  </a:cubicBezTo>
                  <a:cubicBezTo>
                    <a:pt x="469" y="679"/>
                    <a:pt x="469" y="679"/>
                    <a:pt x="469" y="679"/>
                  </a:cubicBezTo>
                  <a:moveTo>
                    <a:pt x="507" y="678"/>
                  </a:moveTo>
                  <a:cubicBezTo>
                    <a:pt x="499" y="679"/>
                    <a:pt x="490" y="683"/>
                    <a:pt x="486" y="689"/>
                  </a:cubicBezTo>
                  <a:cubicBezTo>
                    <a:pt x="482" y="694"/>
                    <a:pt x="485" y="699"/>
                    <a:pt x="492" y="699"/>
                  </a:cubicBezTo>
                  <a:cubicBezTo>
                    <a:pt x="500" y="699"/>
                    <a:pt x="509" y="694"/>
                    <a:pt x="513" y="689"/>
                  </a:cubicBezTo>
                  <a:cubicBezTo>
                    <a:pt x="517" y="683"/>
                    <a:pt x="514" y="678"/>
                    <a:pt x="507" y="678"/>
                  </a:cubicBezTo>
                  <a:cubicBezTo>
                    <a:pt x="507" y="678"/>
                    <a:pt x="507" y="678"/>
                    <a:pt x="507" y="678"/>
                  </a:cubicBezTo>
                  <a:moveTo>
                    <a:pt x="544" y="678"/>
                  </a:moveTo>
                  <a:cubicBezTo>
                    <a:pt x="537" y="678"/>
                    <a:pt x="528" y="683"/>
                    <a:pt x="524" y="689"/>
                  </a:cubicBezTo>
                  <a:cubicBezTo>
                    <a:pt x="520" y="694"/>
                    <a:pt x="523" y="699"/>
                    <a:pt x="530" y="699"/>
                  </a:cubicBezTo>
                  <a:cubicBezTo>
                    <a:pt x="538" y="699"/>
                    <a:pt x="547" y="694"/>
                    <a:pt x="551" y="688"/>
                  </a:cubicBezTo>
                  <a:cubicBezTo>
                    <a:pt x="554" y="683"/>
                    <a:pt x="551" y="678"/>
                    <a:pt x="544" y="678"/>
                  </a:cubicBezTo>
                  <a:cubicBezTo>
                    <a:pt x="544" y="678"/>
                    <a:pt x="544" y="678"/>
                    <a:pt x="544" y="678"/>
                  </a:cubicBezTo>
                  <a:moveTo>
                    <a:pt x="582" y="678"/>
                  </a:moveTo>
                  <a:cubicBezTo>
                    <a:pt x="575" y="678"/>
                    <a:pt x="566" y="683"/>
                    <a:pt x="562" y="688"/>
                  </a:cubicBezTo>
                  <a:cubicBezTo>
                    <a:pt x="558" y="694"/>
                    <a:pt x="561" y="698"/>
                    <a:pt x="568" y="698"/>
                  </a:cubicBezTo>
                  <a:cubicBezTo>
                    <a:pt x="576" y="698"/>
                    <a:pt x="585" y="694"/>
                    <a:pt x="589" y="688"/>
                  </a:cubicBezTo>
                  <a:cubicBezTo>
                    <a:pt x="592" y="683"/>
                    <a:pt x="589" y="678"/>
                    <a:pt x="582" y="678"/>
                  </a:cubicBezTo>
                  <a:cubicBezTo>
                    <a:pt x="582" y="678"/>
                    <a:pt x="582" y="678"/>
                    <a:pt x="582" y="678"/>
                  </a:cubicBezTo>
                  <a:moveTo>
                    <a:pt x="620" y="678"/>
                  </a:moveTo>
                  <a:cubicBezTo>
                    <a:pt x="613" y="678"/>
                    <a:pt x="604" y="682"/>
                    <a:pt x="600" y="688"/>
                  </a:cubicBezTo>
                  <a:cubicBezTo>
                    <a:pt x="597" y="694"/>
                    <a:pt x="600" y="698"/>
                    <a:pt x="607" y="698"/>
                  </a:cubicBezTo>
                  <a:cubicBezTo>
                    <a:pt x="614" y="698"/>
                    <a:pt x="623" y="694"/>
                    <a:pt x="627" y="688"/>
                  </a:cubicBezTo>
                  <a:cubicBezTo>
                    <a:pt x="631" y="682"/>
                    <a:pt x="628" y="678"/>
                    <a:pt x="620" y="678"/>
                  </a:cubicBezTo>
                  <a:cubicBezTo>
                    <a:pt x="620" y="678"/>
                    <a:pt x="620" y="678"/>
                    <a:pt x="620" y="678"/>
                  </a:cubicBezTo>
                  <a:moveTo>
                    <a:pt x="658" y="678"/>
                  </a:moveTo>
                  <a:cubicBezTo>
                    <a:pt x="651" y="678"/>
                    <a:pt x="642" y="682"/>
                    <a:pt x="638" y="688"/>
                  </a:cubicBezTo>
                  <a:cubicBezTo>
                    <a:pt x="634" y="693"/>
                    <a:pt x="638" y="698"/>
                    <a:pt x="645" y="698"/>
                  </a:cubicBezTo>
                  <a:cubicBezTo>
                    <a:pt x="652" y="698"/>
                    <a:pt x="661" y="693"/>
                    <a:pt x="665" y="688"/>
                  </a:cubicBezTo>
                  <a:cubicBezTo>
                    <a:pt x="668" y="682"/>
                    <a:pt x="665" y="678"/>
                    <a:pt x="658" y="678"/>
                  </a:cubicBezTo>
                  <a:cubicBezTo>
                    <a:pt x="658" y="678"/>
                    <a:pt x="658" y="678"/>
                    <a:pt x="658" y="678"/>
                  </a:cubicBezTo>
                  <a:moveTo>
                    <a:pt x="1864" y="671"/>
                  </a:moveTo>
                  <a:cubicBezTo>
                    <a:pt x="1857" y="671"/>
                    <a:pt x="1850" y="675"/>
                    <a:pt x="1849" y="681"/>
                  </a:cubicBezTo>
                  <a:cubicBezTo>
                    <a:pt x="1848" y="687"/>
                    <a:pt x="1853" y="691"/>
                    <a:pt x="1860" y="691"/>
                  </a:cubicBezTo>
                  <a:cubicBezTo>
                    <a:pt x="1867" y="691"/>
                    <a:pt x="1874" y="686"/>
                    <a:pt x="1876" y="681"/>
                  </a:cubicBezTo>
                  <a:cubicBezTo>
                    <a:pt x="1877" y="675"/>
                    <a:pt x="1872" y="671"/>
                    <a:pt x="1865" y="671"/>
                  </a:cubicBezTo>
                  <a:cubicBezTo>
                    <a:pt x="1865" y="671"/>
                    <a:pt x="1865" y="671"/>
                    <a:pt x="1864" y="671"/>
                  </a:cubicBezTo>
                  <a:moveTo>
                    <a:pt x="1903" y="671"/>
                  </a:moveTo>
                  <a:cubicBezTo>
                    <a:pt x="1895" y="671"/>
                    <a:pt x="1888" y="675"/>
                    <a:pt x="1887" y="681"/>
                  </a:cubicBezTo>
                  <a:cubicBezTo>
                    <a:pt x="1886" y="686"/>
                    <a:pt x="1891" y="691"/>
                    <a:pt x="1898" y="691"/>
                  </a:cubicBezTo>
                  <a:cubicBezTo>
                    <a:pt x="1906" y="691"/>
                    <a:pt x="1913" y="686"/>
                    <a:pt x="1914" y="681"/>
                  </a:cubicBezTo>
                  <a:cubicBezTo>
                    <a:pt x="1915" y="675"/>
                    <a:pt x="1910" y="671"/>
                    <a:pt x="1903" y="671"/>
                  </a:cubicBezTo>
                  <a:cubicBezTo>
                    <a:pt x="1903" y="671"/>
                    <a:pt x="1903" y="671"/>
                    <a:pt x="1903" y="671"/>
                  </a:cubicBezTo>
                  <a:moveTo>
                    <a:pt x="1940" y="670"/>
                  </a:moveTo>
                  <a:cubicBezTo>
                    <a:pt x="1933" y="670"/>
                    <a:pt x="1926" y="675"/>
                    <a:pt x="1925" y="681"/>
                  </a:cubicBezTo>
                  <a:cubicBezTo>
                    <a:pt x="1924" y="686"/>
                    <a:pt x="1929" y="691"/>
                    <a:pt x="1936" y="691"/>
                  </a:cubicBezTo>
                  <a:cubicBezTo>
                    <a:pt x="1944" y="691"/>
                    <a:pt x="1950" y="686"/>
                    <a:pt x="1951" y="680"/>
                  </a:cubicBezTo>
                  <a:cubicBezTo>
                    <a:pt x="1953" y="675"/>
                    <a:pt x="1947" y="670"/>
                    <a:pt x="1940" y="670"/>
                  </a:cubicBezTo>
                  <a:cubicBezTo>
                    <a:pt x="1940" y="670"/>
                    <a:pt x="1940" y="670"/>
                    <a:pt x="1940" y="670"/>
                  </a:cubicBezTo>
                  <a:moveTo>
                    <a:pt x="1978" y="670"/>
                  </a:moveTo>
                  <a:cubicBezTo>
                    <a:pt x="1971" y="670"/>
                    <a:pt x="1964" y="675"/>
                    <a:pt x="1963" y="680"/>
                  </a:cubicBezTo>
                  <a:cubicBezTo>
                    <a:pt x="1962" y="686"/>
                    <a:pt x="1967" y="691"/>
                    <a:pt x="1974" y="690"/>
                  </a:cubicBezTo>
                  <a:cubicBezTo>
                    <a:pt x="1982" y="690"/>
                    <a:pt x="1988" y="686"/>
                    <a:pt x="1989" y="680"/>
                  </a:cubicBezTo>
                  <a:cubicBezTo>
                    <a:pt x="1990" y="675"/>
                    <a:pt x="1985" y="670"/>
                    <a:pt x="1978" y="670"/>
                  </a:cubicBezTo>
                  <a:cubicBezTo>
                    <a:pt x="1978" y="670"/>
                    <a:pt x="1978" y="670"/>
                    <a:pt x="1978" y="670"/>
                  </a:cubicBezTo>
                  <a:moveTo>
                    <a:pt x="2015" y="670"/>
                  </a:moveTo>
                  <a:cubicBezTo>
                    <a:pt x="2008" y="670"/>
                    <a:pt x="2001" y="675"/>
                    <a:pt x="2000" y="680"/>
                  </a:cubicBezTo>
                  <a:cubicBezTo>
                    <a:pt x="1999" y="686"/>
                    <a:pt x="2005" y="690"/>
                    <a:pt x="2012" y="690"/>
                  </a:cubicBezTo>
                  <a:cubicBezTo>
                    <a:pt x="2019" y="690"/>
                    <a:pt x="2026" y="686"/>
                    <a:pt x="2027" y="680"/>
                  </a:cubicBezTo>
                  <a:cubicBezTo>
                    <a:pt x="2028" y="674"/>
                    <a:pt x="2023" y="670"/>
                    <a:pt x="2015" y="670"/>
                  </a:cubicBezTo>
                  <a:cubicBezTo>
                    <a:pt x="2015" y="670"/>
                    <a:pt x="2015" y="670"/>
                    <a:pt x="2015" y="670"/>
                  </a:cubicBezTo>
                  <a:moveTo>
                    <a:pt x="2053" y="670"/>
                  </a:moveTo>
                  <a:cubicBezTo>
                    <a:pt x="2046" y="670"/>
                    <a:pt x="2039" y="674"/>
                    <a:pt x="2038" y="680"/>
                  </a:cubicBezTo>
                  <a:cubicBezTo>
                    <a:pt x="2038" y="686"/>
                    <a:pt x="2043" y="690"/>
                    <a:pt x="2050" y="690"/>
                  </a:cubicBezTo>
                  <a:cubicBezTo>
                    <a:pt x="2057" y="690"/>
                    <a:pt x="2064" y="685"/>
                    <a:pt x="2065" y="680"/>
                  </a:cubicBezTo>
                  <a:cubicBezTo>
                    <a:pt x="2066" y="674"/>
                    <a:pt x="2061" y="670"/>
                    <a:pt x="2053" y="670"/>
                  </a:cubicBezTo>
                  <a:cubicBezTo>
                    <a:pt x="2053" y="670"/>
                    <a:pt x="2053" y="670"/>
                    <a:pt x="2053" y="670"/>
                  </a:cubicBezTo>
                  <a:moveTo>
                    <a:pt x="2092" y="669"/>
                  </a:moveTo>
                  <a:cubicBezTo>
                    <a:pt x="2085" y="670"/>
                    <a:pt x="2078" y="674"/>
                    <a:pt x="2077" y="680"/>
                  </a:cubicBezTo>
                  <a:cubicBezTo>
                    <a:pt x="2077" y="685"/>
                    <a:pt x="2082" y="690"/>
                    <a:pt x="2089" y="690"/>
                  </a:cubicBezTo>
                  <a:cubicBezTo>
                    <a:pt x="2097" y="690"/>
                    <a:pt x="2103" y="685"/>
                    <a:pt x="2104" y="680"/>
                  </a:cubicBezTo>
                  <a:cubicBezTo>
                    <a:pt x="2105" y="674"/>
                    <a:pt x="2099" y="669"/>
                    <a:pt x="2092" y="669"/>
                  </a:cubicBezTo>
                  <a:cubicBezTo>
                    <a:pt x="2092" y="669"/>
                    <a:pt x="2092" y="669"/>
                    <a:pt x="2092" y="669"/>
                  </a:cubicBezTo>
                  <a:moveTo>
                    <a:pt x="2130" y="669"/>
                  </a:moveTo>
                  <a:cubicBezTo>
                    <a:pt x="2122" y="669"/>
                    <a:pt x="2116" y="674"/>
                    <a:pt x="2115" y="680"/>
                  </a:cubicBezTo>
                  <a:cubicBezTo>
                    <a:pt x="2114" y="685"/>
                    <a:pt x="2120" y="690"/>
                    <a:pt x="2127" y="690"/>
                  </a:cubicBezTo>
                  <a:cubicBezTo>
                    <a:pt x="2134" y="690"/>
                    <a:pt x="2141" y="685"/>
                    <a:pt x="2142" y="679"/>
                  </a:cubicBezTo>
                  <a:cubicBezTo>
                    <a:pt x="2142" y="674"/>
                    <a:pt x="2137" y="669"/>
                    <a:pt x="2130" y="669"/>
                  </a:cubicBezTo>
                  <a:cubicBezTo>
                    <a:pt x="2130" y="669"/>
                    <a:pt x="2130" y="669"/>
                    <a:pt x="2130" y="669"/>
                  </a:cubicBezTo>
                  <a:moveTo>
                    <a:pt x="2167" y="669"/>
                  </a:moveTo>
                  <a:cubicBezTo>
                    <a:pt x="2160" y="669"/>
                    <a:pt x="2154" y="674"/>
                    <a:pt x="2153" y="679"/>
                  </a:cubicBezTo>
                  <a:cubicBezTo>
                    <a:pt x="2152" y="685"/>
                    <a:pt x="2158" y="690"/>
                    <a:pt x="2165" y="689"/>
                  </a:cubicBezTo>
                  <a:cubicBezTo>
                    <a:pt x="2172" y="689"/>
                    <a:pt x="2179" y="685"/>
                    <a:pt x="2180" y="679"/>
                  </a:cubicBezTo>
                  <a:cubicBezTo>
                    <a:pt x="2180" y="674"/>
                    <a:pt x="2175" y="669"/>
                    <a:pt x="2168" y="669"/>
                  </a:cubicBezTo>
                  <a:cubicBezTo>
                    <a:pt x="2167" y="669"/>
                    <a:pt x="2167" y="669"/>
                    <a:pt x="2167" y="669"/>
                  </a:cubicBezTo>
                  <a:moveTo>
                    <a:pt x="2206" y="669"/>
                  </a:moveTo>
                  <a:cubicBezTo>
                    <a:pt x="2198" y="669"/>
                    <a:pt x="2192" y="673"/>
                    <a:pt x="2191" y="679"/>
                  </a:cubicBezTo>
                  <a:cubicBezTo>
                    <a:pt x="2191" y="685"/>
                    <a:pt x="2196" y="689"/>
                    <a:pt x="2204" y="689"/>
                  </a:cubicBezTo>
                  <a:cubicBezTo>
                    <a:pt x="2211" y="689"/>
                    <a:pt x="2217" y="685"/>
                    <a:pt x="2218" y="679"/>
                  </a:cubicBezTo>
                  <a:cubicBezTo>
                    <a:pt x="2218" y="673"/>
                    <a:pt x="2213" y="669"/>
                    <a:pt x="2206" y="669"/>
                  </a:cubicBezTo>
                  <a:cubicBezTo>
                    <a:pt x="2206" y="669"/>
                    <a:pt x="2206" y="669"/>
                    <a:pt x="2206" y="669"/>
                  </a:cubicBezTo>
                  <a:moveTo>
                    <a:pt x="2243" y="669"/>
                  </a:moveTo>
                  <a:cubicBezTo>
                    <a:pt x="2236" y="669"/>
                    <a:pt x="2229" y="673"/>
                    <a:pt x="2229" y="679"/>
                  </a:cubicBezTo>
                  <a:cubicBezTo>
                    <a:pt x="2228" y="685"/>
                    <a:pt x="2234" y="689"/>
                    <a:pt x="2241" y="689"/>
                  </a:cubicBezTo>
                  <a:cubicBezTo>
                    <a:pt x="2249" y="689"/>
                    <a:pt x="2255" y="684"/>
                    <a:pt x="2255" y="679"/>
                  </a:cubicBezTo>
                  <a:cubicBezTo>
                    <a:pt x="2256" y="673"/>
                    <a:pt x="2250" y="669"/>
                    <a:pt x="2243" y="669"/>
                  </a:cubicBezTo>
                  <a:cubicBezTo>
                    <a:pt x="2243" y="669"/>
                    <a:pt x="2243" y="669"/>
                    <a:pt x="2243" y="669"/>
                  </a:cubicBezTo>
                  <a:moveTo>
                    <a:pt x="2356" y="666"/>
                  </a:moveTo>
                  <a:cubicBezTo>
                    <a:pt x="2349" y="666"/>
                    <a:pt x="2343" y="670"/>
                    <a:pt x="2342" y="676"/>
                  </a:cubicBezTo>
                  <a:cubicBezTo>
                    <a:pt x="2342" y="682"/>
                    <a:pt x="2348" y="686"/>
                    <a:pt x="2355" y="686"/>
                  </a:cubicBezTo>
                  <a:cubicBezTo>
                    <a:pt x="2363" y="686"/>
                    <a:pt x="2369" y="682"/>
                    <a:pt x="2369" y="676"/>
                  </a:cubicBezTo>
                  <a:cubicBezTo>
                    <a:pt x="2369" y="670"/>
                    <a:pt x="2363" y="666"/>
                    <a:pt x="2356" y="666"/>
                  </a:cubicBezTo>
                  <a:cubicBezTo>
                    <a:pt x="2356" y="666"/>
                    <a:pt x="2356" y="666"/>
                    <a:pt x="2356" y="666"/>
                  </a:cubicBezTo>
                  <a:moveTo>
                    <a:pt x="2659" y="666"/>
                  </a:moveTo>
                  <a:cubicBezTo>
                    <a:pt x="2651" y="666"/>
                    <a:pt x="2646" y="670"/>
                    <a:pt x="2646" y="676"/>
                  </a:cubicBezTo>
                  <a:cubicBezTo>
                    <a:pt x="2646" y="682"/>
                    <a:pt x="2652" y="686"/>
                    <a:pt x="2660" y="686"/>
                  </a:cubicBezTo>
                  <a:cubicBezTo>
                    <a:pt x="2667" y="686"/>
                    <a:pt x="2673" y="681"/>
                    <a:pt x="2672" y="676"/>
                  </a:cubicBezTo>
                  <a:cubicBezTo>
                    <a:pt x="2672" y="670"/>
                    <a:pt x="2666" y="666"/>
                    <a:pt x="2659" y="666"/>
                  </a:cubicBezTo>
                  <a:cubicBezTo>
                    <a:pt x="2659" y="666"/>
                    <a:pt x="2659" y="666"/>
                    <a:pt x="2659" y="666"/>
                  </a:cubicBezTo>
                  <a:moveTo>
                    <a:pt x="2394" y="666"/>
                  </a:moveTo>
                  <a:cubicBezTo>
                    <a:pt x="2387" y="666"/>
                    <a:pt x="2381" y="670"/>
                    <a:pt x="2381" y="676"/>
                  </a:cubicBezTo>
                  <a:cubicBezTo>
                    <a:pt x="2380" y="682"/>
                    <a:pt x="2386" y="686"/>
                    <a:pt x="2394" y="686"/>
                  </a:cubicBezTo>
                  <a:cubicBezTo>
                    <a:pt x="2401" y="686"/>
                    <a:pt x="2407" y="681"/>
                    <a:pt x="2407" y="676"/>
                  </a:cubicBezTo>
                  <a:cubicBezTo>
                    <a:pt x="2407" y="670"/>
                    <a:pt x="2402" y="666"/>
                    <a:pt x="2394" y="666"/>
                  </a:cubicBezTo>
                  <a:cubicBezTo>
                    <a:pt x="2394" y="666"/>
                    <a:pt x="2394" y="666"/>
                    <a:pt x="2394" y="666"/>
                  </a:cubicBezTo>
                  <a:moveTo>
                    <a:pt x="2696" y="665"/>
                  </a:moveTo>
                  <a:cubicBezTo>
                    <a:pt x="2688" y="665"/>
                    <a:pt x="2683" y="670"/>
                    <a:pt x="2683" y="676"/>
                  </a:cubicBezTo>
                  <a:cubicBezTo>
                    <a:pt x="2684" y="681"/>
                    <a:pt x="2690" y="686"/>
                    <a:pt x="2697" y="686"/>
                  </a:cubicBezTo>
                  <a:cubicBezTo>
                    <a:pt x="2705" y="686"/>
                    <a:pt x="2710" y="681"/>
                    <a:pt x="2710" y="676"/>
                  </a:cubicBezTo>
                  <a:cubicBezTo>
                    <a:pt x="2709" y="670"/>
                    <a:pt x="2703" y="665"/>
                    <a:pt x="2696" y="665"/>
                  </a:cubicBezTo>
                  <a:cubicBezTo>
                    <a:pt x="2696" y="665"/>
                    <a:pt x="2696" y="665"/>
                    <a:pt x="2696" y="665"/>
                  </a:cubicBezTo>
                  <a:moveTo>
                    <a:pt x="2808" y="665"/>
                  </a:moveTo>
                  <a:cubicBezTo>
                    <a:pt x="2800" y="665"/>
                    <a:pt x="2795" y="670"/>
                    <a:pt x="2796" y="676"/>
                  </a:cubicBezTo>
                  <a:cubicBezTo>
                    <a:pt x="2796" y="681"/>
                    <a:pt x="2803" y="686"/>
                    <a:pt x="2810" y="686"/>
                  </a:cubicBezTo>
                  <a:cubicBezTo>
                    <a:pt x="2817" y="686"/>
                    <a:pt x="2823" y="681"/>
                    <a:pt x="2822" y="675"/>
                  </a:cubicBezTo>
                  <a:cubicBezTo>
                    <a:pt x="2821" y="670"/>
                    <a:pt x="2815" y="665"/>
                    <a:pt x="2808" y="665"/>
                  </a:cubicBezTo>
                  <a:cubicBezTo>
                    <a:pt x="2808" y="665"/>
                    <a:pt x="2808" y="665"/>
                    <a:pt x="2808" y="665"/>
                  </a:cubicBezTo>
                  <a:moveTo>
                    <a:pt x="2733" y="665"/>
                  </a:moveTo>
                  <a:cubicBezTo>
                    <a:pt x="2726" y="665"/>
                    <a:pt x="2720" y="670"/>
                    <a:pt x="2721" y="676"/>
                  </a:cubicBezTo>
                  <a:cubicBezTo>
                    <a:pt x="2721" y="681"/>
                    <a:pt x="2728" y="686"/>
                    <a:pt x="2735" y="686"/>
                  </a:cubicBezTo>
                  <a:cubicBezTo>
                    <a:pt x="2742" y="686"/>
                    <a:pt x="2748" y="681"/>
                    <a:pt x="2747" y="675"/>
                  </a:cubicBezTo>
                  <a:cubicBezTo>
                    <a:pt x="2747" y="670"/>
                    <a:pt x="2741" y="665"/>
                    <a:pt x="2733" y="665"/>
                  </a:cubicBezTo>
                  <a:cubicBezTo>
                    <a:pt x="2733" y="665"/>
                    <a:pt x="2733" y="665"/>
                    <a:pt x="2733" y="665"/>
                  </a:cubicBezTo>
                  <a:moveTo>
                    <a:pt x="2844" y="664"/>
                  </a:moveTo>
                  <a:cubicBezTo>
                    <a:pt x="2837" y="664"/>
                    <a:pt x="2831" y="669"/>
                    <a:pt x="2832" y="674"/>
                  </a:cubicBezTo>
                  <a:cubicBezTo>
                    <a:pt x="2833" y="680"/>
                    <a:pt x="2839" y="685"/>
                    <a:pt x="2847" y="685"/>
                  </a:cubicBezTo>
                  <a:cubicBezTo>
                    <a:pt x="2854" y="685"/>
                    <a:pt x="2859" y="680"/>
                    <a:pt x="2858" y="674"/>
                  </a:cubicBezTo>
                  <a:cubicBezTo>
                    <a:pt x="2858" y="669"/>
                    <a:pt x="2851" y="664"/>
                    <a:pt x="2844" y="664"/>
                  </a:cubicBezTo>
                  <a:cubicBezTo>
                    <a:pt x="2844" y="664"/>
                    <a:pt x="2844" y="664"/>
                    <a:pt x="2844" y="664"/>
                  </a:cubicBezTo>
                  <a:moveTo>
                    <a:pt x="2881" y="664"/>
                  </a:moveTo>
                  <a:cubicBezTo>
                    <a:pt x="2874" y="664"/>
                    <a:pt x="2869" y="669"/>
                    <a:pt x="2870" y="674"/>
                  </a:cubicBezTo>
                  <a:cubicBezTo>
                    <a:pt x="2870" y="680"/>
                    <a:pt x="2877" y="684"/>
                    <a:pt x="2884" y="684"/>
                  </a:cubicBezTo>
                  <a:cubicBezTo>
                    <a:pt x="2892" y="684"/>
                    <a:pt x="2897" y="680"/>
                    <a:pt x="2896" y="674"/>
                  </a:cubicBezTo>
                  <a:cubicBezTo>
                    <a:pt x="2895" y="668"/>
                    <a:pt x="2889" y="664"/>
                    <a:pt x="2881" y="664"/>
                  </a:cubicBezTo>
                  <a:cubicBezTo>
                    <a:pt x="2881" y="664"/>
                    <a:pt x="2881" y="664"/>
                    <a:pt x="2881" y="664"/>
                  </a:cubicBezTo>
                  <a:moveTo>
                    <a:pt x="2919" y="664"/>
                  </a:moveTo>
                  <a:cubicBezTo>
                    <a:pt x="2912" y="664"/>
                    <a:pt x="2907" y="668"/>
                    <a:pt x="2907" y="674"/>
                  </a:cubicBezTo>
                  <a:cubicBezTo>
                    <a:pt x="2908" y="680"/>
                    <a:pt x="2915" y="684"/>
                    <a:pt x="2922" y="684"/>
                  </a:cubicBezTo>
                  <a:cubicBezTo>
                    <a:pt x="2930" y="684"/>
                    <a:pt x="2935" y="680"/>
                    <a:pt x="2934" y="674"/>
                  </a:cubicBezTo>
                  <a:cubicBezTo>
                    <a:pt x="2933" y="668"/>
                    <a:pt x="2926" y="664"/>
                    <a:pt x="2919" y="664"/>
                  </a:cubicBezTo>
                  <a:cubicBezTo>
                    <a:pt x="2919" y="664"/>
                    <a:pt x="2919" y="664"/>
                    <a:pt x="2919" y="664"/>
                  </a:cubicBezTo>
                  <a:moveTo>
                    <a:pt x="2771" y="664"/>
                  </a:moveTo>
                  <a:cubicBezTo>
                    <a:pt x="2764" y="664"/>
                    <a:pt x="2758" y="668"/>
                    <a:pt x="2759" y="674"/>
                  </a:cubicBezTo>
                  <a:cubicBezTo>
                    <a:pt x="2759" y="680"/>
                    <a:pt x="2766" y="684"/>
                    <a:pt x="2773" y="684"/>
                  </a:cubicBezTo>
                  <a:cubicBezTo>
                    <a:pt x="2780" y="684"/>
                    <a:pt x="2786" y="680"/>
                    <a:pt x="2785" y="674"/>
                  </a:cubicBezTo>
                  <a:cubicBezTo>
                    <a:pt x="2784" y="668"/>
                    <a:pt x="2778" y="664"/>
                    <a:pt x="2771" y="664"/>
                  </a:cubicBezTo>
                  <a:cubicBezTo>
                    <a:pt x="2771" y="664"/>
                    <a:pt x="2771" y="664"/>
                    <a:pt x="2771" y="664"/>
                  </a:cubicBezTo>
                  <a:moveTo>
                    <a:pt x="2957" y="664"/>
                  </a:moveTo>
                  <a:cubicBezTo>
                    <a:pt x="2950" y="664"/>
                    <a:pt x="2945" y="668"/>
                    <a:pt x="2946" y="674"/>
                  </a:cubicBezTo>
                  <a:cubicBezTo>
                    <a:pt x="2947" y="679"/>
                    <a:pt x="2953" y="684"/>
                    <a:pt x="2961" y="684"/>
                  </a:cubicBezTo>
                  <a:cubicBezTo>
                    <a:pt x="2968" y="684"/>
                    <a:pt x="2973" y="679"/>
                    <a:pt x="2972" y="674"/>
                  </a:cubicBezTo>
                  <a:cubicBezTo>
                    <a:pt x="2971" y="668"/>
                    <a:pt x="2965" y="664"/>
                    <a:pt x="2957" y="664"/>
                  </a:cubicBezTo>
                  <a:cubicBezTo>
                    <a:pt x="2957" y="664"/>
                    <a:pt x="2957" y="664"/>
                    <a:pt x="2957" y="664"/>
                  </a:cubicBezTo>
                  <a:moveTo>
                    <a:pt x="2995" y="663"/>
                  </a:moveTo>
                  <a:cubicBezTo>
                    <a:pt x="2987" y="663"/>
                    <a:pt x="2982" y="668"/>
                    <a:pt x="2983" y="674"/>
                  </a:cubicBezTo>
                  <a:cubicBezTo>
                    <a:pt x="2984" y="679"/>
                    <a:pt x="2991" y="684"/>
                    <a:pt x="2998" y="684"/>
                  </a:cubicBezTo>
                  <a:cubicBezTo>
                    <a:pt x="3006" y="684"/>
                    <a:pt x="3011" y="679"/>
                    <a:pt x="3010" y="673"/>
                  </a:cubicBezTo>
                  <a:cubicBezTo>
                    <a:pt x="3009" y="668"/>
                    <a:pt x="3002" y="663"/>
                    <a:pt x="2995" y="663"/>
                  </a:cubicBezTo>
                  <a:cubicBezTo>
                    <a:pt x="2995" y="663"/>
                    <a:pt x="2995" y="663"/>
                    <a:pt x="2995" y="663"/>
                  </a:cubicBezTo>
                  <a:moveTo>
                    <a:pt x="2621" y="663"/>
                  </a:moveTo>
                  <a:cubicBezTo>
                    <a:pt x="2614" y="663"/>
                    <a:pt x="2608" y="668"/>
                    <a:pt x="2608" y="674"/>
                  </a:cubicBezTo>
                  <a:cubicBezTo>
                    <a:pt x="2609" y="679"/>
                    <a:pt x="2615" y="684"/>
                    <a:pt x="2622" y="684"/>
                  </a:cubicBezTo>
                  <a:cubicBezTo>
                    <a:pt x="2629" y="684"/>
                    <a:pt x="2635" y="679"/>
                    <a:pt x="2635" y="673"/>
                  </a:cubicBezTo>
                  <a:cubicBezTo>
                    <a:pt x="2634" y="668"/>
                    <a:pt x="2628" y="663"/>
                    <a:pt x="2621" y="663"/>
                  </a:cubicBezTo>
                  <a:cubicBezTo>
                    <a:pt x="2621" y="663"/>
                    <a:pt x="2621" y="663"/>
                    <a:pt x="2621" y="663"/>
                  </a:cubicBezTo>
                  <a:moveTo>
                    <a:pt x="3032" y="663"/>
                  </a:moveTo>
                  <a:cubicBezTo>
                    <a:pt x="3025" y="663"/>
                    <a:pt x="3020" y="668"/>
                    <a:pt x="3021" y="673"/>
                  </a:cubicBezTo>
                  <a:cubicBezTo>
                    <a:pt x="3022" y="679"/>
                    <a:pt x="3029" y="684"/>
                    <a:pt x="3036" y="684"/>
                  </a:cubicBezTo>
                  <a:cubicBezTo>
                    <a:pt x="3043" y="684"/>
                    <a:pt x="3049" y="679"/>
                    <a:pt x="3047" y="673"/>
                  </a:cubicBezTo>
                  <a:cubicBezTo>
                    <a:pt x="3046" y="668"/>
                    <a:pt x="3040" y="663"/>
                    <a:pt x="3032" y="663"/>
                  </a:cubicBezTo>
                  <a:cubicBezTo>
                    <a:pt x="3032" y="663"/>
                    <a:pt x="3032" y="663"/>
                    <a:pt x="3032" y="663"/>
                  </a:cubicBezTo>
                  <a:moveTo>
                    <a:pt x="3070" y="663"/>
                  </a:moveTo>
                  <a:cubicBezTo>
                    <a:pt x="3062" y="663"/>
                    <a:pt x="3057" y="668"/>
                    <a:pt x="3059" y="673"/>
                  </a:cubicBezTo>
                  <a:cubicBezTo>
                    <a:pt x="3060" y="679"/>
                    <a:pt x="3067" y="683"/>
                    <a:pt x="3074" y="683"/>
                  </a:cubicBezTo>
                  <a:cubicBezTo>
                    <a:pt x="3081" y="683"/>
                    <a:pt x="3086" y="679"/>
                    <a:pt x="3085" y="673"/>
                  </a:cubicBezTo>
                  <a:cubicBezTo>
                    <a:pt x="3084" y="667"/>
                    <a:pt x="3077" y="663"/>
                    <a:pt x="3070" y="663"/>
                  </a:cubicBezTo>
                  <a:cubicBezTo>
                    <a:pt x="3070" y="663"/>
                    <a:pt x="3070" y="663"/>
                    <a:pt x="3070" y="663"/>
                  </a:cubicBezTo>
                  <a:moveTo>
                    <a:pt x="3107" y="663"/>
                  </a:moveTo>
                  <a:cubicBezTo>
                    <a:pt x="3100" y="663"/>
                    <a:pt x="3095" y="667"/>
                    <a:pt x="3096" y="673"/>
                  </a:cubicBezTo>
                  <a:cubicBezTo>
                    <a:pt x="3098" y="679"/>
                    <a:pt x="3105" y="683"/>
                    <a:pt x="3112" y="683"/>
                  </a:cubicBezTo>
                  <a:cubicBezTo>
                    <a:pt x="3119" y="683"/>
                    <a:pt x="3124" y="679"/>
                    <a:pt x="3123" y="673"/>
                  </a:cubicBezTo>
                  <a:cubicBezTo>
                    <a:pt x="3122" y="667"/>
                    <a:pt x="3115" y="663"/>
                    <a:pt x="3107" y="663"/>
                  </a:cubicBezTo>
                  <a:cubicBezTo>
                    <a:pt x="3107" y="663"/>
                    <a:pt x="3107" y="663"/>
                    <a:pt x="3107" y="663"/>
                  </a:cubicBezTo>
                  <a:moveTo>
                    <a:pt x="3146" y="662"/>
                  </a:moveTo>
                  <a:cubicBezTo>
                    <a:pt x="3139" y="663"/>
                    <a:pt x="3134" y="667"/>
                    <a:pt x="3135" y="673"/>
                  </a:cubicBezTo>
                  <a:cubicBezTo>
                    <a:pt x="3137" y="678"/>
                    <a:pt x="3144" y="683"/>
                    <a:pt x="3151" y="683"/>
                  </a:cubicBezTo>
                  <a:cubicBezTo>
                    <a:pt x="3158" y="683"/>
                    <a:pt x="3163" y="678"/>
                    <a:pt x="3162" y="673"/>
                  </a:cubicBezTo>
                  <a:cubicBezTo>
                    <a:pt x="3160" y="667"/>
                    <a:pt x="3154" y="662"/>
                    <a:pt x="3146" y="662"/>
                  </a:cubicBezTo>
                  <a:cubicBezTo>
                    <a:pt x="3146" y="662"/>
                    <a:pt x="3146" y="662"/>
                    <a:pt x="3146" y="662"/>
                  </a:cubicBezTo>
                  <a:moveTo>
                    <a:pt x="3184" y="662"/>
                  </a:moveTo>
                  <a:cubicBezTo>
                    <a:pt x="3176" y="662"/>
                    <a:pt x="3172" y="667"/>
                    <a:pt x="3173" y="673"/>
                  </a:cubicBezTo>
                  <a:cubicBezTo>
                    <a:pt x="3174" y="678"/>
                    <a:pt x="3181" y="683"/>
                    <a:pt x="3189" y="683"/>
                  </a:cubicBezTo>
                  <a:cubicBezTo>
                    <a:pt x="3196" y="683"/>
                    <a:pt x="3201" y="678"/>
                    <a:pt x="3199" y="672"/>
                  </a:cubicBezTo>
                  <a:cubicBezTo>
                    <a:pt x="3198" y="667"/>
                    <a:pt x="3191" y="662"/>
                    <a:pt x="3184" y="662"/>
                  </a:cubicBezTo>
                  <a:cubicBezTo>
                    <a:pt x="3184" y="662"/>
                    <a:pt x="3184" y="662"/>
                    <a:pt x="3184" y="662"/>
                  </a:cubicBezTo>
                  <a:moveTo>
                    <a:pt x="3674" y="662"/>
                  </a:moveTo>
                  <a:cubicBezTo>
                    <a:pt x="3667" y="662"/>
                    <a:pt x="3663" y="667"/>
                    <a:pt x="3665" y="672"/>
                  </a:cubicBezTo>
                  <a:cubicBezTo>
                    <a:pt x="3668" y="678"/>
                    <a:pt x="3675" y="683"/>
                    <a:pt x="3683" y="683"/>
                  </a:cubicBezTo>
                  <a:cubicBezTo>
                    <a:pt x="3690" y="683"/>
                    <a:pt x="3694" y="678"/>
                    <a:pt x="3692" y="672"/>
                  </a:cubicBezTo>
                  <a:cubicBezTo>
                    <a:pt x="3689" y="667"/>
                    <a:pt x="3682" y="662"/>
                    <a:pt x="3674" y="662"/>
                  </a:cubicBezTo>
                  <a:cubicBezTo>
                    <a:pt x="3674" y="662"/>
                    <a:pt x="3674" y="662"/>
                    <a:pt x="3674" y="662"/>
                  </a:cubicBezTo>
                  <a:moveTo>
                    <a:pt x="3221" y="662"/>
                  </a:moveTo>
                  <a:cubicBezTo>
                    <a:pt x="3214" y="662"/>
                    <a:pt x="3209" y="667"/>
                    <a:pt x="3211" y="672"/>
                  </a:cubicBezTo>
                  <a:cubicBezTo>
                    <a:pt x="3212" y="678"/>
                    <a:pt x="3219" y="683"/>
                    <a:pt x="3227" y="683"/>
                  </a:cubicBezTo>
                  <a:cubicBezTo>
                    <a:pt x="3234" y="683"/>
                    <a:pt x="3239" y="678"/>
                    <a:pt x="3237" y="672"/>
                  </a:cubicBezTo>
                  <a:cubicBezTo>
                    <a:pt x="3236" y="667"/>
                    <a:pt x="3229" y="662"/>
                    <a:pt x="3221" y="662"/>
                  </a:cubicBezTo>
                  <a:cubicBezTo>
                    <a:pt x="3221" y="662"/>
                    <a:pt x="3221" y="662"/>
                    <a:pt x="3221" y="662"/>
                  </a:cubicBezTo>
                  <a:moveTo>
                    <a:pt x="3712" y="662"/>
                  </a:moveTo>
                  <a:cubicBezTo>
                    <a:pt x="3704" y="662"/>
                    <a:pt x="3700" y="667"/>
                    <a:pt x="3703" y="672"/>
                  </a:cubicBezTo>
                  <a:cubicBezTo>
                    <a:pt x="3705" y="678"/>
                    <a:pt x="3713" y="683"/>
                    <a:pt x="3720" y="682"/>
                  </a:cubicBezTo>
                  <a:cubicBezTo>
                    <a:pt x="3728" y="682"/>
                    <a:pt x="3732" y="678"/>
                    <a:pt x="3729" y="672"/>
                  </a:cubicBezTo>
                  <a:cubicBezTo>
                    <a:pt x="3727" y="666"/>
                    <a:pt x="3719" y="662"/>
                    <a:pt x="3712" y="662"/>
                  </a:cubicBezTo>
                  <a:cubicBezTo>
                    <a:pt x="3712" y="662"/>
                    <a:pt x="3712" y="662"/>
                    <a:pt x="3712" y="662"/>
                  </a:cubicBezTo>
                  <a:moveTo>
                    <a:pt x="3259" y="662"/>
                  </a:moveTo>
                  <a:cubicBezTo>
                    <a:pt x="3252" y="662"/>
                    <a:pt x="3247" y="667"/>
                    <a:pt x="3249" y="672"/>
                  </a:cubicBezTo>
                  <a:cubicBezTo>
                    <a:pt x="3250" y="678"/>
                    <a:pt x="3258" y="682"/>
                    <a:pt x="3265" y="682"/>
                  </a:cubicBezTo>
                  <a:cubicBezTo>
                    <a:pt x="3272" y="682"/>
                    <a:pt x="3277" y="678"/>
                    <a:pt x="3275" y="672"/>
                  </a:cubicBezTo>
                  <a:cubicBezTo>
                    <a:pt x="3274" y="666"/>
                    <a:pt x="3267" y="662"/>
                    <a:pt x="3259" y="662"/>
                  </a:cubicBezTo>
                  <a:cubicBezTo>
                    <a:pt x="3259" y="662"/>
                    <a:pt x="3259" y="662"/>
                    <a:pt x="3259" y="662"/>
                  </a:cubicBezTo>
                  <a:moveTo>
                    <a:pt x="3749" y="662"/>
                  </a:moveTo>
                  <a:cubicBezTo>
                    <a:pt x="3742" y="662"/>
                    <a:pt x="3738" y="666"/>
                    <a:pt x="3741" y="672"/>
                  </a:cubicBezTo>
                  <a:cubicBezTo>
                    <a:pt x="3743" y="678"/>
                    <a:pt x="3751" y="682"/>
                    <a:pt x="3758" y="682"/>
                  </a:cubicBezTo>
                  <a:cubicBezTo>
                    <a:pt x="3766" y="682"/>
                    <a:pt x="3770" y="678"/>
                    <a:pt x="3767" y="672"/>
                  </a:cubicBezTo>
                  <a:cubicBezTo>
                    <a:pt x="3765" y="666"/>
                    <a:pt x="3757" y="662"/>
                    <a:pt x="3749" y="662"/>
                  </a:cubicBezTo>
                  <a:cubicBezTo>
                    <a:pt x="3749" y="662"/>
                    <a:pt x="3749" y="662"/>
                    <a:pt x="3749" y="662"/>
                  </a:cubicBezTo>
                  <a:moveTo>
                    <a:pt x="3297" y="662"/>
                  </a:moveTo>
                  <a:cubicBezTo>
                    <a:pt x="3290" y="662"/>
                    <a:pt x="3285" y="666"/>
                    <a:pt x="3286" y="672"/>
                  </a:cubicBezTo>
                  <a:cubicBezTo>
                    <a:pt x="3288" y="678"/>
                    <a:pt x="3295" y="682"/>
                    <a:pt x="3303" y="682"/>
                  </a:cubicBezTo>
                  <a:cubicBezTo>
                    <a:pt x="3310" y="682"/>
                    <a:pt x="3315" y="677"/>
                    <a:pt x="3313" y="672"/>
                  </a:cubicBezTo>
                  <a:cubicBezTo>
                    <a:pt x="3311" y="666"/>
                    <a:pt x="3304" y="662"/>
                    <a:pt x="3297" y="662"/>
                  </a:cubicBezTo>
                  <a:cubicBezTo>
                    <a:pt x="3297" y="662"/>
                    <a:pt x="3297" y="662"/>
                    <a:pt x="3297" y="662"/>
                  </a:cubicBezTo>
                  <a:moveTo>
                    <a:pt x="3789" y="662"/>
                  </a:moveTo>
                  <a:cubicBezTo>
                    <a:pt x="3782" y="662"/>
                    <a:pt x="3778" y="666"/>
                    <a:pt x="3781" y="672"/>
                  </a:cubicBezTo>
                  <a:cubicBezTo>
                    <a:pt x="3783" y="678"/>
                    <a:pt x="3791" y="682"/>
                    <a:pt x="3799" y="682"/>
                  </a:cubicBezTo>
                  <a:cubicBezTo>
                    <a:pt x="3806" y="682"/>
                    <a:pt x="3810" y="677"/>
                    <a:pt x="3807" y="672"/>
                  </a:cubicBezTo>
                  <a:cubicBezTo>
                    <a:pt x="3805" y="666"/>
                    <a:pt x="3797" y="662"/>
                    <a:pt x="3789" y="662"/>
                  </a:cubicBezTo>
                  <a:cubicBezTo>
                    <a:pt x="3789" y="662"/>
                    <a:pt x="3789" y="662"/>
                    <a:pt x="3789" y="662"/>
                  </a:cubicBezTo>
                  <a:moveTo>
                    <a:pt x="3334" y="661"/>
                  </a:moveTo>
                  <a:cubicBezTo>
                    <a:pt x="3327" y="661"/>
                    <a:pt x="3323" y="666"/>
                    <a:pt x="3324" y="672"/>
                  </a:cubicBezTo>
                  <a:cubicBezTo>
                    <a:pt x="3326" y="677"/>
                    <a:pt x="3333" y="682"/>
                    <a:pt x="3340" y="682"/>
                  </a:cubicBezTo>
                  <a:cubicBezTo>
                    <a:pt x="3348" y="682"/>
                    <a:pt x="3352" y="677"/>
                    <a:pt x="3351" y="672"/>
                  </a:cubicBezTo>
                  <a:cubicBezTo>
                    <a:pt x="3349" y="666"/>
                    <a:pt x="3342" y="661"/>
                    <a:pt x="3334" y="661"/>
                  </a:cubicBezTo>
                  <a:cubicBezTo>
                    <a:pt x="3334" y="661"/>
                    <a:pt x="3334" y="661"/>
                    <a:pt x="3334" y="661"/>
                  </a:cubicBezTo>
                  <a:moveTo>
                    <a:pt x="3826" y="661"/>
                  </a:moveTo>
                  <a:cubicBezTo>
                    <a:pt x="3819" y="661"/>
                    <a:pt x="3815" y="666"/>
                    <a:pt x="3818" y="672"/>
                  </a:cubicBezTo>
                  <a:cubicBezTo>
                    <a:pt x="3821" y="677"/>
                    <a:pt x="3829" y="682"/>
                    <a:pt x="3836" y="682"/>
                  </a:cubicBezTo>
                  <a:cubicBezTo>
                    <a:pt x="3843" y="682"/>
                    <a:pt x="3847" y="677"/>
                    <a:pt x="3844" y="672"/>
                  </a:cubicBezTo>
                  <a:cubicBezTo>
                    <a:pt x="3842" y="666"/>
                    <a:pt x="3834" y="661"/>
                    <a:pt x="3826" y="661"/>
                  </a:cubicBezTo>
                  <a:cubicBezTo>
                    <a:pt x="3826" y="661"/>
                    <a:pt x="3826" y="661"/>
                    <a:pt x="3826" y="661"/>
                  </a:cubicBezTo>
                  <a:moveTo>
                    <a:pt x="3372" y="661"/>
                  </a:moveTo>
                  <a:cubicBezTo>
                    <a:pt x="3365" y="661"/>
                    <a:pt x="3360" y="666"/>
                    <a:pt x="3362" y="672"/>
                  </a:cubicBezTo>
                  <a:cubicBezTo>
                    <a:pt x="3363" y="677"/>
                    <a:pt x="3371" y="682"/>
                    <a:pt x="3378" y="682"/>
                  </a:cubicBezTo>
                  <a:cubicBezTo>
                    <a:pt x="3385" y="682"/>
                    <a:pt x="3390" y="677"/>
                    <a:pt x="3388" y="671"/>
                  </a:cubicBezTo>
                  <a:cubicBezTo>
                    <a:pt x="3386" y="666"/>
                    <a:pt x="3379" y="661"/>
                    <a:pt x="3372" y="661"/>
                  </a:cubicBezTo>
                  <a:cubicBezTo>
                    <a:pt x="3372" y="661"/>
                    <a:pt x="3372" y="661"/>
                    <a:pt x="3372" y="661"/>
                  </a:cubicBezTo>
                  <a:moveTo>
                    <a:pt x="3864" y="661"/>
                  </a:moveTo>
                  <a:cubicBezTo>
                    <a:pt x="3857" y="661"/>
                    <a:pt x="3853" y="666"/>
                    <a:pt x="3856" y="671"/>
                  </a:cubicBezTo>
                  <a:cubicBezTo>
                    <a:pt x="3858" y="677"/>
                    <a:pt x="3866" y="682"/>
                    <a:pt x="3874" y="682"/>
                  </a:cubicBezTo>
                  <a:cubicBezTo>
                    <a:pt x="3881" y="682"/>
                    <a:pt x="3885" y="677"/>
                    <a:pt x="3882" y="671"/>
                  </a:cubicBezTo>
                  <a:cubicBezTo>
                    <a:pt x="3879" y="666"/>
                    <a:pt x="3871" y="661"/>
                    <a:pt x="3864" y="661"/>
                  </a:cubicBezTo>
                  <a:cubicBezTo>
                    <a:pt x="3864" y="661"/>
                    <a:pt x="3864" y="661"/>
                    <a:pt x="3864" y="661"/>
                  </a:cubicBezTo>
                  <a:moveTo>
                    <a:pt x="3409" y="661"/>
                  </a:moveTo>
                  <a:cubicBezTo>
                    <a:pt x="3402" y="661"/>
                    <a:pt x="3398" y="666"/>
                    <a:pt x="3400" y="671"/>
                  </a:cubicBezTo>
                  <a:cubicBezTo>
                    <a:pt x="3401" y="677"/>
                    <a:pt x="3409" y="682"/>
                    <a:pt x="3416" y="682"/>
                  </a:cubicBezTo>
                  <a:cubicBezTo>
                    <a:pt x="3423" y="682"/>
                    <a:pt x="3428" y="677"/>
                    <a:pt x="3426" y="671"/>
                  </a:cubicBezTo>
                  <a:cubicBezTo>
                    <a:pt x="3424" y="666"/>
                    <a:pt x="3417" y="661"/>
                    <a:pt x="3410" y="661"/>
                  </a:cubicBezTo>
                  <a:cubicBezTo>
                    <a:pt x="3410" y="661"/>
                    <a:pt x="3410" y="661"/>
                    <a:pt x="3409" y="661"/>
                  </a:cubicBezTo>
                  <a:moveTo>
                    <a:pt x="3901" y="661"/>
                  </a:moveTo>
                  <a:cubicBezTo>
                    <a:pt x="3894" y="661"/>
                    <a:pt x="3891" y="666"/>
                    <a:pt x="3893" y="671"/>
                  </a:cubicBezTo>
                  <a:cubicBezTo>
                    <a:pt x="3896" y="677"/>
                    <a:pt x="3904" y="682"/>
                    <a:pt x="3912" y="681"/>
                  </a:cubicBezTo>
                  <a:cubicBezTo>
                    <a:pt x="3919" y="681"/>
                    <a:pt x="3923" y="677"/>
                    <a:pt x="3920" y="671"/>
                  </a:cubicBezTo>
                  <a:cubicBezTo>
                    <a:pt x="3917" y="665"/>
                    <a:pt x="3909" y="661"/>
                    <a:pt x="3902" y="661"/>
                  </a:cubicBezTo>
                  <a:cubicBezTo>
                    <a:pt x="3902" y="661"/>
                    <a:pt x="3902" y="661"/>
                    <a:pt x="3901" y="661"/>
                  </a:cubicBezTo>
                  <a:moveTo>
                    <a:pt x="3448" y="661"/>
                  </a:moveTo>
                  <a:cubicBezTo>
                    <a:pt x="3440" y="661"/>
                    <a:pt x="3436" y="666"/>
                    <a:pt x="3438" y="671"/>
                  </a:cubicBezTo>
                  <a:cubicBezTo>
                    <a:pt x="3440" y="677"/>
                    <a:pt x="3447" y="681"/>
                    <a:pt x="3454" y="681"/>
                  </a:cubicBezTo>
                  <a:cubicBezTo>
                    <a:pt x="3462" y="681"/>
                    <a:pt x="3466" y="677"/>
                    <a:pt x="3464" y="671"/>
                  </a:cubicBezTo>
                  <a:cubicBezTo>
                    <a:pt x="3462" y="665"/>
                    <a:pt x="3455" y="661"/>
                    <a:pt x="3448" y="661"/>
                  </a:cubicBezTo>
                  <a:cubicBezTo>
                    <a:pt x="3448" y="661"/>
                    <a:pt x="3448" y="661"/>
                    <a:pt x="3448" y="661"/>
                  </a:cubicBezTo>
                  <a:moveTo>
                    <a:pt x="3940" y="661"/>
                  </a:moveTo>
                  <a:cubicBezTo>
                    <a:pt x="3932" y="661"/>
                    <a:pt x="3929" y="665"/>
                    <a:pt x="3932" y="671"/>
                  </a:cubicBezTo>
                  <a:cubicBezTo>
                    <a:pt x="3934" y="677"/>
                    <a:pt x="3943" y="681"/>
                    <a:pt x="3950" y="681"/>
                  </a:cubicBezTo>
                  <a:cubicBezTo>
                    <a:pt x="3957" y="681"/>
                    <a:pt x="3961" y="677"/>
                    <a:pt x="3958" y="671"/>
                  </a:cubicBezTo>
                  <a:cubicBezTo>
                    <a:pt x="3955" y="665"/>
                    <a:pt x="3947" y="661"/>
                    <a:pt x="3940" y="661"/>
                  </a:cubicBezTo>
                  <a:cubicBezTo>
                    <a:pt x="3940" y="661"/>
                    <a:pt x="3940" y="661"/>
                    <a:pt x="3940" y="661"/>
                  </a:cubicBezTo>
                  <a:moveTo>
                    <a:pt x="3485" y="661"/>
                  </a:moveTo>
                  <a:cubicBezTo>
                    <a:pt x="3478" y="661"/>
                    <a:pt x="3473" y="665"/>
                    <a:pt x="3475" y="671"/>
                  </a:cubicBezTo>
                  <a:cubicBezTo>
                    <a:pt x="3477" y="677"/>
                    <a:pt x="3485" y="681"/>
                    <a:pt x="3492" y="681"/>
                  </a:cubicBezTo>
                  <a:cubicBezTo>
                    <a:pt x="3499" y="681"/>
                    <a:pt x="3504" y="676"/>
                    <a:pt x="3502" y="671"/>
                  </a:cubicBezTo>
                  <a:cubicBezTo>
                    <a:pt x="3500" y="665"/>
                    <a:pt x="3492" y="661"/>
                    <a:pt x="3485" y="661"/>
                  </a:cubicBezTo>
                  <a:cubicBezTo>
                    <a:pt x="3485" y="661"/>
                    <a:pt x="3485" y="661"/>
                    <a:pt x="3485" y="661"/>
                  </a:cubicBezTo>
                  <a:moveTo>
                    <a:pt x="3977" y="660"/>
                  </a:moveTo>
                  <a:cubicBezTo>
                    <a:pt x="3970" y="661"/>
                    <a:pt x="3966" y="665"/>
                    <a:pt x="3969" y="671"/>
                  </a:cubicBezTo>
                  <a:cubicBezTo>
                    <a:pt x="3972" y="677"/>
                    <a:pt x="3980" y="681"/>
                    <a:pt x="3988" y="681"/>
                  </a:cubicBezTo>
                  <a:cubicBezTo>
                    <a:pt x="3995" y="681"/>
                    <a:pt x="3998" y="676"/>
                    <a:pt x="3995" y="671"/>
                  </a:cubicBezTo>
                  <a:cubicBezTo>
                    <a:pt x="3992" y="665"/>
                    <a:pt x="3984" y="660"/>
                    <a:pt x="3977" y="660"/>
                  </a:cubicBezTo>
                  <a:cubicBezTo>
                    <a:pt x="3977" y="660"/>
                    <a:pt x="3977" y="660"/>
                    <a:pt x="3977" y="660"/>
                  </a:cubicBezTo>
                  <a:moveTo>
                    <a:pt x="3523" y="660"/>
                  </a:moveTo>
                  <a:cubicBezTo>
                    <a:pt x="3515" y="660"/>
                    <a:pt x="3511" y="665"/>
                    <a:pt x="3513" y="671"/>
                  </a:cubicBezTo>
                  <a:cubicBezTo>
                    <a:pt x="3515" y="676"/>
                    <a:pt x="3523" y="681"/>
                    <a:pt x="3530" y="681"/>
                  </a:cubicBezTo>
                  <a:cubicBezTo>
                    <a:pt x="3537" y="681"/>
                    <a:pt x="3541" y="676"/>
                    <a:pt x="3539" y="671"/>
                  </a:cubicBezTo>
                  <a:cubicBezTo>
                    <a:pt x="3537" y="665"/>
                    <a:pt x="3530" y="660"/>
                    <a:pt x="3523" y="660"/>
                  </a:cubicBezTo>
                  <a:cubicBezTo>
                    <a:pt x="3523" y="660"/>
                    <a:pt x="3523" y="660"/>
                    <a:pt x="3523" y="660"/>
                  </a:cubicBezTo>
                  <a:moveTo>
                    <a:pt x="4013" y="660"/>
                  </a:moveTo>
                  <a:cubicBezTo>
                    <a:pt x="4006" y="660"/>
                    <a:pt x="4003" y="665"/>
                    <a:pt x="4006" y="671"/>
                  </a:cubicBezTo>
                  <a:cubicBezTo>
                    <a:pt x="4009" y="676"/>
                    <a:pt x="4017" y="681"/>
                    <a:pt x="4024" y="681"/>
                  </a:cubicBezTo>
                  <a:cubicBezTo>
                    <a:pt x="4032" y="681"/>
                    <a:pt x="4035" y="676"/>
                    <a:pt x="4032" y="670"/>
                  </a:cubicBezTo>
                  <a:cubicBezTo>
                    <a:pt x="4029" y="665"/>
                    <a:pt x="4021" y="660"/>
                    <a:pt x="4014" y="660"/>
                  </a:cubicBezTo>
                  <a:cubicBezTo>
                    <a:pt x="4014" y="660"/>
                    <a:pt x="4013" y="660"/>
                    <a:pt x="4013" y="660"/>
                  </a:cubicBezTo>
                  <a:moveTo>
                    <a:pt x="3560" y="660"/>
                  </a:moveTo>
                  <a:cubicBezTo>
                    <a:pt x="3553" y="660"/>
                    <a:pt x="3548" y="665"/>
                    <a:pt x="3551" y="671"/>
                  </a:cubicBezTo>
                  <a:cubicBezTo>
                    <a:pt x="3553" y="676"/>
                    <a:pt x="3560" y="681"/>
                    <a:pt x="3568" y="681"/>
                  </a:cubicBezTo>
                  <a:cubicBezTo>
                    <a:pt x="3575" y="681"/>
                    <a:pt x="3579" y="676"/>
                    <a:pt x="3577" y="670"/>
                  </a:cubicBezTo>
                  <a:cubicBezTo>
                    <a:pt x="3575" y="665"/>
                    <a:pt x="3567" y="660"/>
                    <a:pt x="3560" y="660"/>
                  </a:cubicBezTo>
                  <a:cubicBezTo>
                    <a:pt x="3560" y="660"/>
                    <a:pt x="3560" y="660"/>
                    <a:pt x="3560" y="660"/>
                  </a:cubicBezTo>
                  <a:moveTo>
                    <a:pt x="3598" y="660"/>
                  </a:moveTo>
                  <a:cubicBezTo>
                    <a:pt x="3590" y="660"/>
                    <a:pt x="3586" y="665"/>
                    <a:pt x="3588" y="670"/>
                  </a:cubicBezTo>
                  <a:cubicBezTo>
                    <a:pt x="3591" y="676"/>
                    <a:pt x="3598" y="681"/>
                    <a:pt x="3606" y="681"/>
                  </a:cubicBezTo>
                  <a:cubicBezTo>
                    <a:pt x="3613" y="681"/>
                    <a:pt x="3617" y="676"/>
                    <a:pt x="3615" y="670"/>
                  </a:cubicBezTo>
                  <a:cubicBezTo>
                    <a:pt x="3613" y="665"/>
                    <a:pt x="3605" y="660"/>
                    <a:pt x="3598" y="660"/>
                  </a:cubicBezTo>
                  <a:cubicBezTo>
                    <a:pt x="3598" y="660"/>
                    <a:pt x="3598" y="660"/>
                    <a:pt x="3598" y="660"/>
                  </a:cubicBezTo>
                  <a:moveTo>
                    <a:pt x="3636" y="660"/>
                  </a:moveTo>
                  <a:cubicBezTo>
                    <a:pt x="3628" y="660"/>
                    <a:pt x="3624" y="664"/>
                    <a:pt x="3626" y="670"/>
                  </a:cubicBezTo>
                  <a:cubicBezTo>
                    <a:pt x="3629" y="676"/>
                    <a:pt x="3637" y="680"/>
                    <a:pt x="3644" y="680"/>
                  </a:cubicBezTo>
                  <a:cubicBezTo>
                    <a:pt x="3651" y="680"/>
                    <a:pt x="3655" y="676"/>
                    <a:pt x="3653" y="670"/>
                  </a:cubicBezTo>
                  <a:cubicBezTo>
                    <a:pt x="3651" y="664"/>
                    <a:pt x="3643" y="660"/>
                    <a:pt x="3636" y="660"/>
                  </a:cubicBezTo>
                  <a:cubicBezTo>
                    <a:pt x="3636" y="660"/>
                    <a:pt x="3636" y="660"/>
                    <a:pt x="3636" y="660"/>
                  </a:cubicBezTo>
                  <a:moveTo>
                    <a:pt x="75" y="652"/>
                  </a:moveTo>
                  <a:cubicBezTo>
                    <a:pt x="68" y="652"/>
                    <a:pt x="58" y="656"/>
                    <a:pt x="53" y="662"/>
                  </a:cubicBezTo>
                  <a:cubicBezTo>
                    <a:pt x="48" y="668"/>
                    <a:pt x="50" y="672"/>
                    <a:pt x="58" y="672"/>
                  </a:cubicBezTo>
                  <a:cubicBezTo>
                    <a:pt x="65" y="672"/>
                    <a:pt x="75" y="667"/>
                    <a:pt x="80" y="662"/>
                  </a:cubicBezTo>
                  <a:cubicBezTo>
                    <a:pt x="84" y="656"/>
                    <a:pt x="82" y="652"/>
                    <a:pt x="75" y="652"/>
                  </a:cubicBezTo>
                  <a:cubicBezTo>
                    <a:pt x="75" y="652"/>
                    <a:pt x="75" y="652"/>
                    <a:pt x="75" y="652"/>
                  </a:cubicBezTo>
                  <a:moveTo>
                    <a:pt x="114" y="652"/>
                  </a:moveTo>
                  <a:cubicBezTo>
                    <a:pt x="107" y="652"/>
                    <a:pt x="97" y="656"/>
                    <a:pt x="92" y="662"/>
                  </a:cubicBezTo>
                  <a:cubicBezTo>
                    <a:pt x="88" y="667"/>
                    <a:pt x="90" y="672"/>
                    <a:pt x="97" y="672"/>
                  </a:cubicBezTo>
                  <a:cubicBezTo>
                    <a:pt x="104" y="672"/>
                    <a:pt x="114" y="667"/>
                    <a:pt x="119" y="662"/>
                  </a:cubicBezTo>
                  <a:cubicBezTo>
                    <a:pt x="123" y="656"/>
                    <a:pt x="121" y="652"/>
                    <a:pt x="114" y="652"/>
                  </a:cubicBezTo>
                  <a:cubicBezTo>
                    <a:pt x="114" y="652"/>
                    <a:pt x="114" y="652"/>
                    <a:pt x="114" y="652"/>
                  </a:cubicBezTo>
                  <a:moveTo>
                    <a:pt x="151" y="651"/>
                  </a:moveTo>
                  <a:cubicBezTo>
                    <a:pt x="144" y="651"/>
                    <a:pt x="135" y="656"/>
                    <a:pt x="130" y="662"/>
                  </a:cubicBezTo>
                  <a:cubicBezTo>
                    <a:pt x="125" y="667"/>
                    <a:pt x="127" y="672"/>
                    <a:pt x="135" y="672"/>
                  </a:cubicBezTo>
                  <a:cubicBezTo>
                    <a:pt x="142" y="672"/>
                    <a:pt x="152" y="667"/>
                    <a:pt x="156" y="661"/>
                  </a:cubicBezTo>
                  <a:cubicBezTo>
                    <a:pt x="161" y="656"/>
                    <a:pt x="159" y="651"/>
                    <a:pt x="152" y="651"/>
                  </a:cubicBezTo>
                  <a:cubicBezTo>
                    <a:pt x="152" y="651"/>
                    <a:pt x="151" y="651"/>
                    <a:pt x="151" y="651"/>
                  </a:cubicBezTo>
                  <a:moveTo>
                    <a:pt x="189" y="651"/>
                  </a:moveTo>
                  <a:cubicBezTo>
                    <a:pt x="181" y="651"/>
                    <a:pt x="172" y="656"/>
                    <a:pt x="167" y="661"/>
                  </a:cubicBezTo>
                  <a:cubicBezTo>
                    <a:pt x="163" y="667"/>
                    <a:pt x="165" y="671"/>
                    <a:pt x="172" y="671"/>
                  </a:cubicBezTo>
                  <a:cubicBezTo>
                    <a:pt x="179" y="671"/>
                    <a:pt x="189" y="667"/>
                    <a:pt x="194" y="661"/>
                  </a:cubicBezTo>
                  <a:cubicBezTo>
                    <a:pt x="198" y="656"/>
                    <a:pt x="196" y="651"/>
                    <a:pt x="189" y="651"/>
                  </a:cubicBezTo>
                  <a:cubicBezTo>
                    <a:pt x="189" y="651"/>
                    <a:pt x="189" y="651"/>
                    <a:pt x="189" y="651"/>
                  </a:cubicBezTo>
                  <a:moveTo>
                    <a:pt x="226" y="651"/>
                  </a:moveTo>
                  <a:cubicBezTo>
                    <a:pt x="219" y="651"/>
                    <a:pt x="209" y="656"/>
                    <a:pt x="205" y="661"/>
                  </a:cubicBezTo>
                  <a:cubicBezTo>
                    <a:pt x="200" y="667"/>
                    <a:pt x="203" y="671"/>
                    <a:pt x="210" y="671"/>
                  </a:cubicBezTo>
                  <a:cubicBezTo>
                    <a:pt x="217" y="671"/>
                    <a:pt x="227" y="667"/>
                    <a:pt x="231" y="661"/>
                  </a:cubicBezTo>
                  <a:cubicBezTo>
                    <a:pt x="236" y="655"/>
                    <a:pt x="233" y="651"/>
                    <a:pt x="226" y="651"/>
                  </a:cubicBezTo>
                  <a:cubicBezTo>
                    <a:pt x="226" y="651"/>
                    <a:pt x="226" y="651"/>
                    <a:pt x="226" y="651"/>
                  </a:cubicBezTo>
                  <a:moveTo>
                    <a:pt x="263" y="651"/>
                  </a:moveTo>
                  <a:cubicBezTo>
                    <a:pt x="256" y="651"/>
                    <a:pt x="247" y="655"/>
                    <a:pt x="242" y="661"/>
                  </a:cubicBezTo>
                  <a:cubicBezTo>
                    <a:pt x="238" y="666"/>
                    <a:pt x="240" y="671"/>
                    <a:pt x="247" y="671"/>
                  </a:cubicBezTo>
                  <a:cubicBezTo>
                    <a:pt x="255" y="671"/>
                    <a:pt x="264" y="666"/>
                    <a:pt x="268" y="661"/>
                  </a:cubicBezTo>
                  <a:cubicBezTo>
                    <a:pt x="273" y="655"/>
                    <a:pt x="271" y="651"/>
                    <a:pt x="263" y="651"/>
                  </a:cubicBezTo>
                  <a:cubicBezTo>
                    <a:pt x="263" y="651"/>
                    <a:pt x="263" y="651"/>
                    <a:pt x="263" y="651"/>
                  </a:cubicBezTo>
                  <a:moveTo>
                    <a:pt x="301" y="650"/>
                  </a:moveTo>
                  <a:cubicBezTo>
                    <a:pt x="294" y="651"/>
                    <a:pt x="284" y="655"/>
                    <a:pt x="280" y="661"/>
                  </a:cubicBezTo>
                  <a:cubicBezTo>
                    <a:pt x="275" y="666"/>
                    <a:pt x="278" y="671"/>
                    <a:pt x="285" y="671"/>
                  </a:cubicBezTo>
                  <a:cubicBezTo>
                    <a:pt x="292" y="671"/>
                    <a:pt x="302" y="666"/>
                    <a:pt x="306" y="661"/>
                  </a:cubicBezTo>
                  <a:cubicBezTo>
                    <a:pt x="310" y="655"/>
                    <a:pt x="308" y="650"/>
                    <a:pt x="301" y="650"/>
                  </a:cubicBezTo>
                  <a:cubicBezTo>
                    <a:pt x="301" y="650"/>
                    <a:pt x="301" y="650"/>
                    <a:pt x="301" y="650"/>
                  </a:cubicBezTo>
                  <a:moveTo>
                    <a:pt x="339" y="650"/>
                  </a:moveTo>
                  <a:cubicBezTo>
                    <a:pt x="332" y="650"/>
                    <a:pt x="323" y="655"/>
                    <a:pt x="319" y="660"/>
                  </a:cubicBezTo>
                  <a:cubicBezTo>
                    <a:pt x="314" y="666"/>
                    <a:pt x="317" y="671"/>
                    <a:pt x="324" y="671"/>
                  </a:cubicBezTo>
                  <a:cubicBezTo>
                    <a:pt x="331" y="670"/>
                    <a:pt x="341" y="666"/>
                    <a:pt x="345" y="660"/>
                  </a:cubicBezTo>
                  <a:cubicBezTo>
                    <a:pt x="349" y="655"/>
                    <a:pt x="347" y="650"/>
                    <a:pt x="340" y="650"/>
                  </a:cubicBezTo>
                  <a:cubicBezTo>
                    <a:pt x="340" y="650"/>
                    <a:pt x="340" y="650"/>
                    <a:pt x="339" y="650"/>
                  </a:cubicBezTo>
                  <a:moveTo>
                    <a:pt x="377" y="650"/>
                  </a:moveTo>
                  <a:cubicBezTo>
                    <a:pt x="369" y="650"/>
                    <a:pt x="360" y="655"/>
                    <a:pt x="356" y="660"/>
                  </a:cubicBezTo>
                  <a:cubicBezTo>
                    <a:pt x="352" y="666"/>
                    <a:pt x="354" y="670"/>
                    <a:pt x="362" y="670"/>
                  </a:cubicBezTo>
                  <a:cubicBezTo>
                    <a:pt x="369" y="670"/>
                    <a:pt x="378" y="666"/>
                    <a:pt x="382" y="660"/>
                  </a:cubicBezTo>
                  <a:cubicBezTo>
                    <a:pt x="386" y="655"/>
                    <a:pt x="384" y="650"/>
                    <a:pt x="377" y="650"/>
                  </a:cubicBezTo>
                  <a:cubicBezTo>
                    <a:pt x="377" y="650"/>
                    <a:pt x="377" y="650"/>
                    <a:pt x="377" y="650"/>
                  </a:cubicBezTo>
                  <a:moveTo>
                    <a:pt x="414" y="650"/>
                  </a:moveTo>
                  <a:cubicBezTo>
                    <a:pt x="407" y="650"/>
                    <a:pt x="398" y="654"/>
                    <a:pt x="394" y="660"/>
                  </a:cubicBezTo>
                  <a:cubicBezTo>
                    <a:pt x="390" y="666"/>
                    <a:pt x="392" y="670"/>
                    <a:pt x="399" y="670"/>
                  </a:cubicBezTo>
                  <a:cubicBezTo>
                    <a:pt x="407" y="670"/>
                    <a:pt x="416" y="666"/>
                    <a:pt x="420" y="660"/>
                  </a:cubicBezTo>
                  <a:cubicBezTo>
                    <a:pt x="424" y="654"/>
                    <a:pt x="422" y="650"/>
                    <a:pt x="414" y="650"/>
                  </a:cubicBezTo>
                  <a:cubicBezTo>
                    <a:pt x="414" y="650"/>
                    <a:pt x="414" y="650"/>
                    <a:pt x="414" y="650"/>
                  </a:cubicBezTo>
                  <a:moveTo>
                    <a:pt x="452" y="650"/>
                  </a:moveTo>
                  <a:cubicBezTo>
                    <a:pt x="445" y="650"/>
                    <a:pt x="436" y="654"/>
                    <a:pt x="432" y="660"/>
                  </a:cubicBezTo>
                  <a:cubicBezTo>
                    <a:pt x="428" y="665"/>
                    <a:pt x="430" y="670"/>
                    <a:pt x="438" y="670"/>
                  </a:cubicBezTo>
                  <a:cubicBezTo>
                    <a:pt x="445" y="670"/>
                    <a:pt x="454" y="665"/>
                    <a:pt x="458" y="660"/>
                  </a:cubicBezTo>
                  <a:cubicBezTo>
                    <a:pt x="462" y="654"/>
                    <a:pt x="459" y="650"/>
                    <a:pt x="452" y="650"/>
                  </a:cubicBezTo>
                  <a:cubicBezTo>
                    <a:pt x="452" y="650"/>
                    <a:pt x="452" y="650"/>
                    <a:pt x="452" y="650"/>
                  </a:cubicBezTo>
                  <a:moveTo>
                    <a:pt x="489" y="649"/>
                  </a:moveTo>
                  <a:cubicBezTo>
                    <a:pt x="482" y="649"/>
                    <a:pt x="473" y="654"/>
                    <a:pt x="469" y="660"/>
                  </a:cubicBezTo>
                  <a:cubicBezTo>
                    <a:pt x="465" y="665"/>
                    <a:pt x="468" y="670"/>
                    <a:pt x="475" y="670"/>
                  </a:cubicBezTo>
                  <a:cubicBezTo>
                    <a:pt x="482" y="670"/>
                    <a:pt x="491" y="665"/>
                    <a:pt x="495" y="659"/>
                  </a:cubicBezTo>
                  <a:cubicBezTo>
                    <a:pt x="499" y="654"/>
                    <a:pt x="497" y="649"/>
                    <a:pt x="489" y="649"/>
                  </a:cubicBezTo>
                  <a:cubicBezTo>
                    <a:pt x="489" y="649"/>
                    <a:pt x="489" y="649"/>
                    <a:pt x="489" y="649"/>
                  </a:cubicBezTo>
                  <a:moveTo>
                    <a:pt x="527" y="649"/>
                  </a:moveTo>
                  <a:cubicBezTo>
                    <a:pt x="520" y="649"/>
                    <a:pt x="511" y="654"/>
                    <a:pt x="507" y="659"/>
                  </a:cubicBezTo>
                  <a:cubicBezTo>
                    <a:pt x="503" y="665"/>
                    <a:pt x="505" y="670"/>
                    <a:pt x="513" y="669"/>
                  </a:cubicBezTo>
                  <a:cubicBezTo>
                    <a:pt x="520" y="669"/>
                    <a:pt x="529" y="665"/>
                    <a:pt x="533" y="659"/>
                  </a:cubicBezTo>
                  <a:cubicBezTo>
                    <a:pt x="537" y="654"/>
                    <a:pt x="534" y="649"/>
                    <a:pt x="527" y="649"/>
                  </a:cubicBezTo>
                  <a:cubicBezTo>
                    <a:pt x="527" y="649"/>
                    <a:pt x="527" y="649"/>
                    <a:pt x="527" y="649"/>
                  </a:cubicBezTo>
                  <a:moveTo>
                    <a:pt x="564" y="649"/>
                  </a:moveTo>
                  <a:cubicBezTo>
                    <a:pt x="557" y="649"/>
                    <a:pt x="548" y="654"/>
                    <a:pt x="544" y="659"/>
                  </a:cubicBezTo>
                  <a:cubicBezTo>
                    <a:pt x="540" y="665"/>
                    <a:pt x="543" y="669"/>
                    <a:pt x="550" y="669"/>
                  </a:cubicBezTo>
                  <a:cubicBezTo>
                    <a:pt x="558" y="669"/>
                    <a:pt x="567" y="665"/>
                    <a:pt x="570" y="659"/>
                  </a:cubicBezTo>
                  <a:cubicBezTo>
                    <a:pt x="574" y="653"/>
                    <a:pt x="571" y="649"/>
                    <a:pt x="564" y="649"/>
                  </a:cubicBezTo>
                  <a:cubicBezTo>
                    <a:pt x="564" y="649"/>
                    <a:pt x="564" y="649"/>
                    <a:pt x="564" y="649"/>
                  </a:cubicBezTo>
                  <a:moveTo>
                    <a:pt x="602" y="649"/>
                  </a:moveTo>
                  <a:cubicBezTo>
                    <a:pt x="594" y="649"/>
                    <a:pt x="585" y="653"/>
                    <a:pt x="582" y="659"/>
                  </a:cubicBezTo>
                  <a:cubicBezTo>
                    <a:pt x="578" y="665"/>
                    <a:pt x="581" y="669"/>
                    <a:pt x="588" y="669"/>
                  </a:cubicBezTo>
                  <a:cubicBezTo>
                    <a:pt x="595" y="669"/>
                    <a:pt x="604" y="664"/>
                    <a:pt x="608" y="659"/>
                  </a:cubicBezTo>
                  <a:cubicBezTo>
                    <a:pt x="612" y="653"/>
                    <a:pt x="609" y="649"/>
                    <a:pt x="602" y="649"/>
                  </a:cubicBezTo>
                  <a:cubicBezTo>
                    <a:pt x="602" y="649"/>
                    <a:pt x="602" y="649"/>
                    <a:pt x="602" y="649"/>
                  </a:cubicBezTo>
                  <a:moveTo>
                    <a:pt x="639" y="649"/>
                  </a:moveTo>
                  <a:cubicBezTo>
                    <a:pt x="632" y="649"/>
                    <a:pt x="623" y="653"/>
                    <a:pt x="620" y="659"/>
                  </a:cubicBezTo>
                  <a:cubicBezTo>
                    <a:pt x="616" y="664"/>
                    <a:pt x="619" y="669"/>
                    <a:pt x="626" y="669"/>
                  </a:cubicBezTo>
                  <a:cubicBezTo>
                    <a:pt x="634" y="669"/>
                    <a:pt x="642" y="664"/>
                    <a:pt x="646" y="659"/>
                  </a:cubicBezTo>
                  <a:cubicBezTo>
                    <a:pt x="650" y="653"/>
                    <a:pt x="647" y="649"/>
                    <a:pt x="640" y="649"/>
                  </a:cubicBezTo>
                  <a:cubicBezTo>
                    <a:pt x="639" y="649"/>
                    <a:pt x="639" y="649"/>
                    <a:pt x="639" y="649"/>
                  </a:cubicBezTo>
                  <a:moveTo>
                    <a:pt x="677" y="648"/>
                  </a:moveTo>
                  <a:cubicBezTo>
                    <a:pt x="669" y="648"/>
                    <a:pt x="661" y="653"/>
                    <a:pt x="657" y="659"/>
                  </a:cubicBezTo>
                  <a:cubicBezTo>
                    <a:pt x="653" y="664"/>
                    <a:pt x="656" y="669"/>
                    <a:pt x="664" y="669"/>
                  </a:cubicBezTo>
                  <a:cubicBezTo>
                    <a:pt x="671" y="669"/>
                    <a:pt x="680" y="664"/>
                    <a:pt x="683" y="658"/>
                  </a:cubicBezTo>
                  <a:cubicBezTo>
                    <a:pt x="687" y="653"/>
                    <a:pt x="684" y="648"/>
                    <a:pt x="677" y="648"/>
                  </a:cubicBezTo>
                  <a:cubicBezTo>
                    <a:pt x="677" y="648"/>
                    <a:pt x="677" y="648"/>
                    <a:pt x="677" y="648"/>
                  </a:cubicBezTo>
                  <a:moveTo>
                    <a:pt x="714" y="648"/>
                  </a:moveTo>
                  <a:cubicBezTo>
                    <a:pt x="707" y="648"/>
                    <a:pt x="698" y="653"/>
                    <a:pt x="695" y="658"/>
                  </a:cubicBezTo>
                  <a:cubicBezTo>
                    <a:pt x="691" y="664"/>
                    <a:pt x="694" y="668"/>
                    <a:pt x="701" y="668"/>
                  </a:cubicBezTo>
                  <a:cubicBezTo>
                    <a:pt x="709" y="668"/>
                    <a:pt x="717" y="664"/>
                    <a:pt x="721" y="658"/>
                  </a:cubicBezTo>
                  <a:cubicBezTo>
                    <a:pt x="724" y="653"/>
                    <a:pt x="721" y="648"/>
                    <a:pt x="714" y="648"/>
                  </a:cubicBezTo>
                  <a:cubicBezTo>
                    <a:pt x="714" y="648"/>
                    <a:pt x="714" y="648"/>
                    <a:pt x="714" y="648"/>
                  </a:cubicBezTo>
                  <a:moveTo>
                    <a:pt x="1909" y="640"/>
                  </a:moveTo>
                  <a:cubicBezTo>
                    <a:pt x="1902" y="640"/>
                    <a:pt x="1895" y="644"/>
                    <a:pt x="1894" y="650"/>
                  </a:cubicBezTo>
                  <a:cubicBezTo>
                    <a:pt x="1893" y="656"/>
                    <a:pt x="1898" y="660"/>
                    <a:pt x="1905" y="660"/>
                  </a:cubicBezTo>
                  <a:cubicBezTo>
                    <a:pt x="1912" y="660"/>
                    <a:pt x="1919" y="656"/>
                    <a:pt x="1920" y="650"/>
                  </a:cubicBezTo>
                  <a:cubicBezTo>
                    <a:pt x="1921" y="644"/>
                    <a:pt x="1916" y="640"/>
                    <a:pt x="1909" y="640"/>
                  </a:cubicBezTo>
                  <a:cubicBezTo>
                    <a:pt x="1909" y="640"/>
                    <a:pt x="1909" y="640"/>
                    <a:pt x="1909" y="640"/>
                  </a:cubicBezTo>
                  <a:moveTo>
                    <a:pt x="1946" y="640"/>
                  </a:moveTo>
                  <a:cubicBezTo>
                    <a:pt x="1939" y="640"/>
                    <a:pt x="1932" y="644"/>
                    <a:pt x="1931" y="650"/>
                  </a:cubicBezTo>
                  <a:cubicBezTo>
                    <a:pt x="1930" y="655"/>
                    <a:pt x="1935" y="660"/>
                    <a:pt x="1942" y="660"/>
                  </a:cubicBezTo>
                  <a:cubicBezTo>
                    <a:pt x="1949" y="660"/>
                    <a:pt x="1956" y="655"/>
                    <a:pt x="1957" y="650"/>
                  </a:cubicBezTo>
                  <a:cubicBezTo>
                    <a:pt x="1958" y="644"/>
                    <a:pt x="1953" y="640"/>
                    <a:pt x="1946" y="640"/>
                  </a:cubicBezTo>
                  <a:cubicBezTo>
                    <a:pt x="1946" y="640"/>
                    <a:pt x="1946" y="640"/>
                    <a:pt x="1946" y="640"/>
                  </a:cubicBezTo>
                  <a:moveTo>
                    <a:pt x="1983" y="639"/>
                  </a:moveTo>
                  <a:cubicBezTo>
                    <a:pt x="1976" y="639"/>
                    <a:pt x="1969" y="644"/>
                    <a:pt x="1968" y="650"/>
                  </a:cubicBezTo>
                  <a:cubicBezTo>
                    <a:pt x="1967" y="655"/>
                    <a:pt x="1972" y="660"/>
                    <a:pt x="1980" y="660"/>
                  </a:cubicBezTo>
                  <a:cubicBezTo>
                    <a:pt x="1987" y="660"/>
                    <a:pt x="1994" y="655"/>
                    <a:pt x="1995" y="649"/>
                  </a:cubicBezTo>
                  <a:cubicBezTo>
                    <a:pt x="1996" y="644"/>
                    <a:pt x="1991" y="639"/>
                    <a:pt x="1983" y="639"/>
                  </a:cubicBezTo>
                  <a:cubicBezTo>
                    <a:pt x="1983" y="639"/>
                    <a:pt x="1983" y="639"/>
                    <a:pt x="1983" y="639"/>
                  </a:cubicBezTo>
                  <a:moveTo>
                    <a:pt x="2020" y="639"/>
                  </a:moveTo>
                  <a:cubicBezTo>
                    <a:pt x="2013" y="639"/>
                    <a:pt x="2007" y="644"/>
                    <a:pt x="2006" y="649"/>
                  </a:cubicBezTo>
                  <a:cubicBezTo>
                    <a:pt x="2005" y="655"/>
                    <a:pt x="2010" y="660"/>
                    <a:pt x="2017" y="660"/>
                  </a:cubicBezTo>
                  <a:cubicBezTo>
                    <a:pt x="2024" y="659"/>
                    <a:pt x="2031" y="655"/>
                    <a:pt x="2032" y="649"/>
                  </a:cubicBezTo>
                  <a:cubicBezTo>
                    <a:pt x="2033" y="644"/>
                    <a:pt x="2028" y="639"/>
                    <a:pt x="2021" y="639"/>
                  </a:cubicBezTo>
                  <a:cubicBezTo>
                    <a:pt x="2021" y="639"/>
                    <a:pt x="2020" y="639"/>
                    <a:pt x="2020" y="639"/>
                  </a:cubicBezTo>
                  <a:moveTo>
                    <a:pt x="2058" y="639"/>
                  </a:moveTo>
                  <a:cubicBezTo>
                    <a:pt x="2051" y="639"/>
                    <a:pt x="2044" y="644"/>
                    <a:pt x="2043" y="649"/>
                  </a:cubicBezTo>
                  <a:cubicBezTo>
                    <a:pt x="2042" y="655"/>
                    <a:pt x="2048" y="659"/>
                    <a:pt x="2055" y="659"/>
                  </a:cubicBezTo>
                  <a:cubicBezTo>
                    <a:pt x="2062" y="659"/>
                    <a:pt x="2069" y="655"/>
                    <a:pt x="2069" y="649"/>
                  </a:cubicBezTo>
                  <a:cubicBezTo>
                    <a:pt x="2070" y="643"/>
                    <a:pt x="2065" y="639"/>
                    <a:pt x="2058" y="639"/>
                  </a:cubicBezTo>
                  <a:cubicBezTo>
                    <a:pt x="2058" y="639"/>
                    <a:pt x="2058" y="639"/>
                    <a:pt x="2058" y="639"/>
                  </a:cubicBezTo>
                  <a:moveTo>
                    <a:pt x="2096" y="639"/>
                  </a:moveTo>
                  <a:cubicBezTo>
                    <a:pt x="2089" y="639"/>
                    <a:pt x="2083" y="643"/>
                    <a:pt x="2082" y="649"/>
                  </a:cubicBezTo>
                  <a:cubicBezTo>
                    <a:pt x="2081" y="655"/>
                    <a:pt x="2086" y="659"/>
                    <a:pt x="2094" y="659"/>
                  </a:cubicBezTo>
                  <a:cubicBezTo>
                    <a:pt x="2101" y="659"/>
                    <a:pt x="2107" y="654"/>
                    <a:pt x="2108" y="649"/>
                  </a:cubicBezTo>
                  <a:cubicBezTo>
                    <a:pt x="2109" y="643"/>
                    <a:pt x="2104" y="639"/>
                    <a:pt x="2096" y="639"/>
                  </a:cubicBezTo>
                  <a:cubicBezTo>
                    <a:pt x="2096" y="639"/>
                    <a:pt x="2096" y="639"/>
                    <a:pt x="2096" y="639"/>
                  </a:cubicBezTo>
                  <a:moveTo>
                    <a:pt x="2133" y="638"/>
                  </a:moveTo>
                  <a:cubicBezTo>
                    <a:pt x="2126" y="639"/>
                    <a:pt x="2120" y="643"/>
                    <a:pt x="2119" y="649"/>
                  </a:cubicBezTo>
                  <a:cubicBezTo>
                    <a:pt x="2118" y="654"/>
                    <a:pt x="2124" y="659"/>
                    <a:pt x="2131" y="659"/>
                  </a:cubicBezTo>
                  <a:cubicBezTo>
                    <a:pt x="2138" y="659"/>
                    <a:pt x="2145" y="654"/>
                    <a:pt x="2145" y="649"/>
                  </a:cubicBezTo>
                  <a:cubicBezTo>
                    <a:pt x="2146" y="643"/>
                    <a:pt x="2141" y="638"/>
                    <a:pt x="2134" y="638"/>
                  </a:cubicBezTo>
                  <a:cubicBezTo>
                    <a:pt x="2134" y="638"/>
                    <a:pt x="2134" y="638"/>
                    <a:pt x="2133" y="638"/>
                  </a:cubicBezTo>
                  <a:moveTo>
                    <a:pt x="2171" y="638"/>
                  </a:moveTo>
                  <a:cubicBezTo>
                    <a:pt x="2164" y="638"/>
                    <a:pt x="2157" y="643"/>
                    <a:pt x="2157" y="649"/>
                  </a:cubicBezTo>
                  <a:cubicBezTo>
                    <a:pt x="2156" y="654"/>
                    <a:pt x="2161" y="659"/>
                    <a:pt x="2169" y="659"/>
                  </a:cubicBezTo>
                  <a:cubicBezTo>
                    <a:pt x="2176" y="659"/>
                    <a:pt x="2182" y="654"/>
                    <a:pt x="2183" y="648"/>
                  </a:cubicBezTo>
                  <a:cubicBezTo>
                    <a:pt x="2183" y="643"/>
                    <a:pt x="2178" y="638"/>
                    <a:pt x="2171" y="638"/>
                  </a:cubicBezTo>
                  <a:cubicBezTo>
                    <a:pt x="2171" y="638"/>
                    <a:pt x="2171" y="638"/>
                    <a:pt x="2171" y="638"/>
                  </a:cubicBezTo>
                  <a:moveTo>
                    <a:pt x="2805" y="636"/>
                  </a:moveTo>
                  <a:cubicBezTo>
                    <a:pt x="2798" y="636"/>
                    <a:pt x="2793" y="641"/>
                    <a:pt x="2793" y="647"/>
                  </a:cubicBezTo>
                  <a:cubicBezTo>
                    <a:pt x="2794" y="652"/>
                    <a:pt x="2800" y="657"/>
                    <a:pt x="2808" y="657"/>
                  </a:cubicBezTo>
                  <a:cubicBezTo>
                    <a:pt x="2815" y="657"/>
                    <a:pt x="2820" y="652"/>
                    <a:pt x="2820" y="646"/>
                  </a:cubicBezTo>
                  <a:cubicBezTo>
                    <a:pt x="2819" y="641"/>
                    <a:pt x="2813" y="636"/>
                    <a:pt x="2806" y="636"/>
                  </a:cubicBezTo>
                  <a:cubicBezTo>
                    <a:pt x="2805" y="636"/>
                    <a:pt x="2805" y="636"/>
                    <a:pt x="2805" y="636"/>
                  </a:cubicBezTo>
                  <a:moveTo>
                    <a:pt x="2841" y="636"/>
                  </a:moveTo>
                  <a:cubicBezTo>
                    <a:pt x="2833" y="636"/>
                    <a:pt x="2828" y="641"/>
                    <a:pt x="2829" y="646"/>
                  </a:cubicBezTo>
                  <a:cubicBezTo>
                    <a:pt x="2829" y="652"/>
                    <a:pt x="2836" y="657"/>
                    <a:pt x="2843" y="657"/>
                  </a:cubicBezTo>
                  <a:cubicBezTo>
                    <a:pt x="2850" y="657"/>
                    <a:pt x="2856" y="652"/>
                    <a:pt x="2855" y="646"/>
                  </a:cubicBezTo>
                  <a:cubicBezTo>
                    <a:pt x="2854" y="641"/>
                    <a:pt x="2848" y="636"/>
                    <a:pt x="2841" y="636"/>
                  </a:cubicBezTo>
                  <a:cubicBezTo>
                    <a:pt x="2841" y="636"/>
                    <a:pt x="2841" y="636"/>
                    <a:pt x="2841" y="636"/>
                  </a:cubicBezTo>
                  <a:moveTo>
                    <a:pt x="2878" y="636"/>
                  </a:moveTo>
                  <a:cubicBezTo>
                    <a:pt x="2870" y="636"/>
                    <a:pt x="2865" y="641"/>
                    <a:pt x="2866" y="646"/>
                  </a:cubicBezTo>
                  <a:cubicBezTo>
                    <a:pt x="2867" y="652"/>
                    <a:pt x="2873" y="656"/>
                    <a:pt x="2880" y="656"/>
                  </a:cubicBezTo>
                  <a:cubicBezTo>
                    <a:pt x="2888" y="656"/>
                    <a:pt x="2893" y="652"/>
                    <a:pt x="2892" y="646"/>
                  </a:cubicBezTo>
                  <a:cubicBezTo>
                    <a:pt x="2891" y="640"/>
                    <a:pt x="2885" y="636"/>
                    <a:pt x="2878" y="636"/>
                  </a:cubicBezTo>
                  <a:cubicBezTo>
                    <a:pt x="2878" y="636"/>
                    <a:pt x="2878" y="636"/>
                    <a:pt x="2878" y="636"/>
                  </a:cubicBezTo>
                  <a:moveTo>
                    <a:pt x="2915" y="636"/>
                  </a:moveTo>
                  <a:cubicBezTo>
                    <a:pt x="2908" y="636"/>
                    <a:pt x="2903" y="640"/>
                    <a:pt x="2903" y="646"/>
                  </a:cubicBezTo>
                  <a:cubicBezTo>
                    <a:pt x="2904" y="652"/>
                    <a:pt x="2911" y="656"/>
                    <a:pt x="2918" y="656"/>
                  </a:cubicBezTo>
                  <a:cubicBezTo>
                    <a:pt x="2925" y="656"/>
                    <a:pt x="2930" y="652"/>
                    <a:pt x="2930" y="646"/>
                  </a:cubicBezTo>
                  <a:cubicBezTo>
                    <a:pt x="2929" y="640"/>
                    <a:pt x="2922" y="636"/>
                    <a:pt x="2915" y="636"/>
                  </a:cubicBezTo>
                  <a:cubicBezTo>
                    <a:pt x="2915" y="636"/>
                    <a:pt x="2915" y="636"/>
                    <a:pt x="2915" y="636"/>
                  </a:cubicBezTo>
                  <a:moveTo>
                    <a:pt x="2953" y="635"/>
                  </a:moveTo>
                  <a:cubicBezTo>
                    <a:pt x="2945" y="635"/>
                    <a:pt x="2940" y="640"/>
                    <a:pt x="2941" y="646"/>
                  </a:cubicBezTo>
                  <a:cubicBezTo>
                    <a:pt x="2942" y="651"/>
                    <a:pt x="2949" y="656"/>
                    <a:pt x="2956" y="656"/>
                  </a:cubicBezTo>
                  <a:cubicBezTo>
                    <a:pt x="2963" y="656"/>
                    <a:pt x="2968" y="651"/>
                    <a:pt x="2967" y="646"/>
                  </a:cubicBezTo>
                  <a:cubicBezTo>
                    <a:pt x="2966" y="640"/>
                    <a:pt x="2960" y="635"/>
                    <a:pt x="2953" y="635"/>
                  </a:cubicBezTo>
                  <a:cubicBezTo>
                    <a:pt x="2953" y="635"/>
                    <a:pt x="2953" y="635"/>
                    <a:pt x="2953" y="635"/>
                  </a:cubicBezTo>
                  <a:moveTo>
                    <a:pt x="2990" y="635"/>
                  </a:moveTo>
                  <a:cubicBezTo>
                    <a:pt x="2982" y="635"/>
                    <a:pt x="2977" y="640"/>
                    <a:pt x="2978" y="646"/>
                  </a:cubicBezTo>
                  <a:cubicBezTo>
                    <a:pt x="2979" y="651"/>
                    <a:pt x="2986" y="656"/>
                    <a:pt x="2993" y="656"/>
                  </a:cubicBezTo>
                  <a:cubicBezTo>
                    <a:pt x="3001" y="656"/>
                    <a:pt x="3006" y="651"/>
                    <a:pt x="3005" y="645"/>
                  </a:cubicBezTo>
                  <a:cubicBezTo>
                    <a:pt x="3004" y="640"/>
                    <a:pt x="2997" y="635"/>
                    <a:pt x="2990" y="635"/>
                  </a:cubicBezTo>
                  <a:cubicBezTo>
                    <a:pt x="2990" y="635"/>
                    <a:pt x="2990" y="635"/>
                    <a:pt x="2990" y="635"/>
                  </a:cubicBezTo>
                  <a:moveTo>
                    <a:pt x="3027" y="635"/>
                  </a:moveTo>
                  <a:cubicBezTo>
                    <a:pt x="3020" y="635"/>
                    <a:pt x="3015" y="640"/>
                    <a:pt x="3016" y="645"/>
                  </a:cubicBezTo>
                  <a:cubicBezTo>
                    <a:pt x="3017" y="651"/>
                    <a:pt x="3024" y="656"/>
                    <a:pt x="3031" y="656"/>
                  </a:cubicBezTo>
                  <a:cubicBezTo>
                    <a:pt x="3038" y="655"/>
                    <a:pt x="3043" y="651"/>
                    <a:pt x="3042" y="645"/>
                  </a:cubicBezTo>
                  <a:cubicBezTo>
                    <a:pt x="3041" y="640"/>
                    <a:pt x="3034" y="635"/>
                    <a:pt x="3027" y="635"/>
                  </a:cubicBezTo>
                  <a:cubicBezTo>
                    <a:pt x="3027" y="635"/>
                    <a:pt x="3027" y="635"/>
                    <a:pt x="3027" y="635"/>
                  </a:cubicBezTo>
                  <a:moveTo>
                    <a:pt x="3064" y="635"/>
                  </a:moveTo>
                  <a:cubicBezTo>
                    <a:pt x="3057" y="635"/>
                    <a:pt x="3052" y="640"/>
                    <a:pt x="3053" y="645"/>
                  </a:cubicBezTo>
                  <a:cubicBezTo>
                    <a:pt x="3054" y="651"/>
                    <a:pt x="3061" y="655"/>
                    <a:pt x="3068" y="655"/>
                  </a:cubicBezTo>
                  <a:cubicBezTo>
                    <a:pt x="3075" y="655"/>
                    <a:pt x="3080" y="651"/>
                    <a:pt x="3079" y="645"/>
                  </a:cubicBezTo>
                  <a:cubicBezTo>
                    <a:pt x="3078" y="639"/>
                    <a:pt x="3071" y="635"/>
                    <a:pt x="3064" y="635"/>
                  </a:cubicBezTo>
                  <a:cubicBezTo>
                    <a:pt x="3064" y="635"/>
                    <a:pt x="3064" y="635"/>
                    <a:pt x="3064" y="635"/>
                  </a:cubicBezTo>
                  <a:moveTo>
                    <a:pt x="3101" y="635"/>
                  </a:moveTo>
                  <a:cubicBezTo>
                    <a:pt x="3094" y="635"/>
                    <a:pt x="3089" y="639"/>
                    <a:pt x="3090" y="645"/>
                  </a:cubicBezTo>
                  <a:cubicBezTo>
                    <a:pt x="3092" y="651"/>
                    <a:pt x="3098" y="655"/>
                    <a:pt x="3106" y="655"/>
                  </a:cubicBezTo>
                  <a:cubicBezTo>
                    <a:pt x="3113" y="655"/>
                    <a:pt x="3118" y="650"/>
                    <a:pt x="3117" y="645"/>
                  </a:cubicBezTo>
                  <a:cubicBezTo>
                    <a:pt x="3115" y="639"/>
                    <a:pt x="3109" y="635"/>
                    <a:pt x="3101" y="635"/>
                  </a:cubicBezTo>
                  <a:cubicBezTo>
                    <a:pt x="3101" y="635"/>
                    <a:pt x="3101" y="635"/>
                    <a:pt x="3101" y="635"/>
                  </a:cubicBezTo>
                  <a:moveTo>
                    <a:pt x="3140" y="634"/>
                  </a:moveTo>
                  <a:cubicBezTo>
                    <a:pt x="3133" y="634"/>
                    <a:pt x="3128" y="639"/>
                    <a:pt x="3129" y="645"/>
                  </a:cubicBezTo>
                  <a:cubicBezTo>
                    <a:pt x="3130" y="650"/>
                    <a:pt x="3137" y="655"/>
                    <a:pt x="3144" y="655"/>
                  </a:cubicBezTo>
                  <a:cubicBezTo>
                    <a:pt x="3152" y="655"/>
                    <a:pt x="3157" y="650"/>
                    <a:pt x="3155" y="645"/>
                  </a:cubicBezTo>
                  <a:cubicBezTo>
                    <a:pt x="3154" y="639"/>
                    <a:pt x="3147" y="634"/>
                    <a:pt x="3140" y="634"/>
                  </a:cubicBezTo>
                  <a:cubicBezTo>
                    <a:pt x="3140" y="634"/>
                    <a:pt x="3140" y="634"/>
                    <a:pt x="3140" y="634"/>
                  </a:cubicBezTo>
                  <a:moveTo>
                    <a:pt x="2768" y="634"/>
                  </a:moveTo>
                  <a:cubicBezTo>
                    <a:pt x="2761" y="634"/>
                    <a:pt x="2755" y="639"/>
                    <a:pt x="2756" y="645"/>
                  </a:cubicBezTo>
                  <a:cubicBezTo>
                    <a:pt x="2756" y="650"/>
                    <a:pt x="2763" y="655"/>
                    <a:pt x="2770" y="655"/>
                  </a:cubicBezTo>
                  <a:cubicBezTo>
                    <a:pt x="2777" y="655"/>
                    <a:pt x="2783" y="650"/>
                    <a:pt x="2782" y="644"/>
                  </a:cubicBezTo>
                  <a:cubicBezTo>
                    <a:pt x="2781" y="639"/>
                    <a:pt x="2775" y="634"/>
                    <a:pt x="2768" y="634"/>
                  </a:cubicBezTo>
                  <a:cubicBezTo>
                    <a:pt x="2768" y="634"/>
                    <a:pt x="2768" y="634"/>
                    <a:pt x="2768" y="634"/>
                  </a:cubicBezTo>
                  <a:moveTo>
                    <a:pt x="3177" y="634"/>
                  </a:moveTo>
                  <a:cubicBezTo>
                    <a:pt x="3170" y="634"/>
                    <a:pt x="3165" y="639"/>
                    <a:pt x="3166" y="645"/>
                  </a:cubicBezTo>
                  <a:cubicBezTo>
                    <a:pt x="3168" y="650"/>
                    <a:pt x="3175" y="655"/>
                    <a:pt x="3182" y="655"/>
                  </a:cubicBezTo>
                  <a:cubicBezTo>
                    <a:pt x="3189" y="655"/>
                    <a:pt x="3194" y="650"/>
                    <a:pt x="3192" y="644"/>
                  </a:cubicBezTo>
                  <a:cubicBezTo>
                    <a:pt x="3191" y="639"/>
                    <a:pt x="3184" y="634"/>
                    <a:pt x="3177" y="634"/>
                  </a:cubicBezTo>
                  <a:cubicBezTo>
                    <a:pt x="3177" y="634"/>
                    <a:pt x="3177" y="634"/>
                    <a:pt x="3177" y="634"/>
                  </a:cubicBezTo>
                  <a:moveTo>
                    <a:pt x="2657" y="634"/>
                  </a:moveTo>
                  <a:cubicBezTo>
                    <a:pt x="2650" y="634"/>
                    <a:pt x="2644" y="639"/>
                    <a:pt x="2644" y="644"/>
                  </a:cubicBezTo>
                  <a:cubicBezTo>
                    <a:pt x="2645" y="650"/>
                    <a:pt x="2651" y="654"/>
                    <a:pt x="2658" y="654"/>
                  </a:cubicBezTo>
                  <a:cubicBezTo>
                    <a:pt x="2665" y="654"/>
                    <a:pt x="2671" y="650"/>
                    <a:pt x="2670" y="644"/>
                  </a:cubicBezTo>
                  <a:cubicBezTo>
                    <a:pt x="2670" y="639"/>
                    <a:pt x="2664" y="634"/>
                    <a:pt x="2657" y="634"/>
                  </a:cubicBezTo>
                  <a:cubicBezTo>
                    <a:pt x="2657" y="634"/>
                    <a:pt x="2657" y="634"/>
                    <a:pt x="2657" y="634"/>
                  </a:cubicBezTo>
                  <a:moveTo>
                    <a:pt x="3214" y="634"/>
                  </a:moveTo>
                  <a:cubicBezTo>
                    <a:pt x="3207" y="634"/>
                    <a:pt x="3202" y="639"/>
                    <a:pt x="3204" y="644"/>
                  </a:cubicBezTo>
                  <a:cubicBezTo>
                    <a:pt x="3205" y="650"/>
                    <a:pt x="3212" y="655"/>
                    <a:pt x="3219" y="654"/>
                  </a:cubicBezTo>
                  <a:cubicBezTo>
                    <a:pt x="3227" y="654"/>
                    <a:pt x="3231" y="650"/>
                    <a:pt x="3230" y="644"/>
                  </a:cubicBezTo>
                  <a:cubicBezTo>
                    <a:pt x="3228" y="639"/>
                    <a:pt x="3221" y="634"/>
                    <a:pt x="3214" y="634"/>
                  </a:cubicBezTo>
                  <a:cubicBezTo>
                    <a:pt x="3214" y="634"/>
                    <a:pt x="3214" y="634"/>
                    <a:pt x="3214" y="634"/>
                  </a:cubicBezTo>
                  <a:moveTo>
                    <a:pt x="2693" y="634"/>
                  </a:moveTo>
                  <a:cubicBezTo>
                    <a:pt x="2686" y="634"/>
                    <a:pt x="2681" y="638"/>
                    <a:pt x="2681" y="644"/>
                  </a:cubicBezTo>
                  <a:cubicBezTo>
                    <a:pt x="2682" y="650"/>
                    <a:pt x="2688" y="654"/>
                    <a:pt x="2695" y="654"/>
                  </a:cubicBezTo>
                  <a:cubicBezTo>
                    <a:pt x="2702" y="654"/>
                    <a:pt x="2708" y="650"/>
                    <a:pt x="2707" y="644"/>
                  </a:cubicBezTo>
                  <a:cubicBezTo>
                    <a:pt x="2707" y="638"/>
                    <a:pt x="2701" y="634"/>
                    <a:pt x="2694" y="634"/>
                  </a:cubicBezTo>
                  <a:cubicBezTo>
                    <a:pt x="2694" y="634"/>
                    <a:pt x="2694" y="634"/>
                    <a:pt x="2693" y="634"/>
                  </a:cubicBezTo>
                  <a:moveTo>
                    <a:pt x="3252" y="634"/>
                  </a:moveTo>
                  <a:cubicBezTo>
                    <a:pt x="3245" y="634"/>
                    <a:pt x="3240" y="638"/>
                    <a:pt x="3242" y="644"/>
                  </a:cubicBezTo>
                  <a:cubicBezTo>
                    <a:pt x="3243" y="650"/>
                    <a:pt x="3250" y="654"/>
                    <a:pt x="3257" y="654"/>
                  </a:cubicBezTo>
                  <a:cubicBezTo>
                    <a:pt x="3265" y="654"/>
                    <a:pt x="3269" y="650"/>
                    <a:pt x="3268" y="644"/>
                  </a:cubicBezTo>
                  <a:cubicBezTo>
                    <a:pt x="3266" y="638"/>
                    <a:pt x="3259" y="634"/>
                    <a:pt x="3252" y="634"/>
                  </a:cubicBezTo>
                  <a:cubicBezTo>
                    <a:pt x="3252" y="634"/>
                    <a:pt x="3252" y="634"/>
                    <a:pt x="3252" y="634"/>
                  </a:cubicBezTo>
                  <a:moveTo>
                    <a:pt x="2620" y="634"/>
                  </a:moveTo>
                  <a:cubicBezTo>
                    <a:pt x="2612" y="634"/>
                    <a:pt x="2607" y="638"/>
                    <a:pt x="2607" y="644"/>
                  </a:cubicBezTo>
                  <a:cubicBezTo>
                    <a:pt x="2607" y="650"/>
                    <a:pt x="2613" y="654"/>
                    <a:pt x="2621" y="654"/>
                  </a:cubicBezTo>
                  <a:cubicBezTo>
                    <a:pt x="2628" y="654"/>
                    <a:pt x="2634" y="650"/>
                    <a:pt x="2633" y="644"/>
                  </a:cubicBezTo>
                  <a:cubicBezTo>
                    <a:pt x="2633" y="638"/>
                    <a:pt x="2627" y="634"/>
                    <a:pt x="2620" y="634"/>
                  </a:cubicBezTo>
                  <a:cubicBezTo>
                    <a:pt x="2620" y="634"/>
                    <a:pt x="2620" y="634"/>
                    <a:pt x="2620" y="634"/>
                  </a:cubicBezTo>
                  <a:moveTo>
                    <a:pt x="2731" y="634"/>
                  </a:moveTo>
                  <a:cubicBezTo>
                    <a:pt x="2723" y="634"/>
                    <a:pt x="2718" y="638"/>
                    <a:pt x="2718" y="644"/>
                  </a:cubicBezTo>
                  <a:cubicBezTo>
                    <a:pt x="2719" y="650"/>
                    <a:pt x="2725" y="654"/>
                    <a:pt x="2732" y="654"/>
                  </a:cubicBezTo>
                  <a:cubicBezTo>
                    <a:pt x="2739" y="654"/>
                    <a:pt x="2745" y="649"/>
                    <a:pt x="2744" y="644"/>
                  </a:cubicBezTo>
                  <a:cubicBezTo>
                    <a:pt x="2744" y="638"/>
                    <a:pt x="2738" y="634"/>
                    <a:pt x="2731" y="634"/>
                  </a:cubicBezTo>
                  <a:cubicBezTo>
                    <a:pt x="2731" y="634"/>
                    <a:pt x="2731" y="634"/>
                    <a:pt x="2731" y="634"/>
                  </a:cubicBezTo>
                  <a:moveTo>
                    <a:pt x="3289" y="634"/>
                  </a:moveTo>
                  <a:cubicBezTo>
                    <a:pt x="3282" y="634"/>
                    <a:pt x="3277" y="638"/>
                    <a:pt x="3279" y="644"/>
                  </a:cubicBezTo>
                  <a:cubicBezTo>
                    <a:pt x="3280" y="650"/>
                    <a:pt x="3287" y="654"/>
                    <a:pt x="3295" y="654"/>
                  </a:cubicBezTo>
                  <a:cubicBezTo>
                    <a:pt x="3302" y="654"/>
                    <a:pt x="3306" y="649"/>
                    <a:pt x="3305" y="644"/>
                  </a:cubicBezTo>
                  <a:cubicBezTo>
                    <a:pt x="3303" y="638"/>
                    <a:pt x="3296" y="634"/>
                    <a:pt x="3289" y="634"/>
                  </a:cubicBezTo>
                  <a:cubicBezTo>
                    <a:pt x="3289" y="634"/>
                    <a:pt x="3289" y="634"/>
                    <a:pt x="3289" y="634"/>
                  </a:cubicBezTo>
                  <a:moveTo>
                    <a:pt x="3326" y="633"/>
                  </a:moveTo>
                  <a:cubicBezTo>
                    <a:pt x="3319" y="633"/>
                    <a:pt x="3314" y="638"/>
                    <a:pt x="3316" y="644"/>
                  </a:cubicBezTo>
                  <a:cubicBezTo>
                    <a:pt x="3318" y="649"/>
                    <a:pt x="3325" y="654"/>
                    <a:pt x="3332" y="654"/>
                  </a:cubicBezTo>
                  <a:cubicBezTo>
                    <a:pt x="3339" y="654"/>
                    <a:pt x="3344" y="649"/>
                    <a:pt x="3342" y="644"/>
                  </a:cubicBezTo>
                  <a:cubicBezTo>
                    <a:pt x="3341" y="638"/>
                    <a:pt x="3333" y="633"/>
                    <a:pt x="3326" y="633"/>
                  </a:cubicBezTo>
                  <a:cubicBezTo>
                    <a:pt x="3326" y="633"/>
                    <a:pt x="3326" y="633"/>
                    <a:pt x="3326" y="633"/>
                  </a:cubicBezTo>
                  <a:moveTo>
                    <a:pt x="3363" y="633"/>
                  </a:moveTo>
                  <a:cubicBezTo>
                    <a:pt x="3356" y="633"/>
                    <a:pt x="3351" y="638"/>
                    <a:pt x="3353" y="643"/>
                  </a:cubicBezTo>
                  <a:cubicBezTo>
                    <a:pt x="3355" y="649"/>
                    <a:pt x="3362" y="654"/>
                    <a:pt x="3369" y="654"/>
                  </a:cubicBezTo>
                  <a:cubicBezTo>
                    <a:pt x="3377" y="654"/>
                    <a:pt x="3381" y="649"/>
                    <a:pt x="3379" y="643"/>
                  </a:cubicBezTo>
                  <a:cubicBezTo>
                    <a:pt x="3378" y="638"/>
                    <a:pt x="3370" y="633"/>
                    <a:pt x="3363" y="633"/>
                  </a:cubicBezTo>
                  <a:cubicBezTo>
                    <a:pt x="3363" y="633"/>
                    <a:pt x="3363" y="633"/>
                    <a:pt x="3363" y="633"/>
                  </a:cubicBezTo>
                  <a:moveTo>
                    <a:pt x="3400" y="633"/>
                  </a:moveTo>
                  <a:cubicBezTo>
                    <a:pt x="3393" y="633"/>
                    <a:pt x="3389" y="638"/>
                    <a:pt x="3391" y="643"/>
                  </a:cubicBezTo>
                  <a:cubicBezTo>
                    <a:pt x="3392" y="649"/>
                    <a:pt x="3400" y="653"/>
                    <a:pt x="3407" y="653"/>
                  </a:cubicBezTo>
                  <a:cubicBezTo>
                    <a:pt x="3414" y="653"/>
                    <a:pt x="3419" y="649"/>
                    <a:pt x="3417" y="643"/>
                  </a:cubicBezTo>
                  <a:cubicBezTo>
                    <a:pt x="3415" y="637"/>
                    <a:pt x="3408" y="633"/>
                    <a:pt x="3401" y="633"/>
                  </a:cubicBezTo>
                  <a:cubicBezTo>
                    <a:pt x="3401" y="633"/>
                    <a:pt x="3401" y="633"/>
                    <a:pt x="3400" y="633"/>
                  </a:cubicBezTo>
                  <a:moveTo>
                    <a:pt x="3438" y="633"/>
                  </a:moveTo>
                  <a:cubicBezTo>
                    <a:pt x="3431" y="633"/>
                    <a:pt x="3427" y="637"/>
                    <a:pt x="3428" y="643"/>
                  </a:cubicBezTo>
                  <a:cubicBezTo>
                    <a:pt x="3430" y="649"/>
                    <a:pt x="3438" y="653"/>
                    <a:pt x="3445" y="653"/>
                  </a:cubicBezTo>
                  <a:cubicBezTo>
                    <a:pt x="3452" y="653"/>
                    <a:pt x="3457" y="649"/>
                    <a:pt x="3455" y="643"/>
                  </a:cubicBezTo>
                  <a:cubicBezTo>
                    <a:pt x="3453" y="637"/>
                    <a:pt x="3445" y="633"/>
                    <a:pt x="3438" y="633"/>
                  </a:cubicBezTo>
                  <a:cubicBezTo>
                    <a:pt x="3438" y="633"/>
                    <a:pt x="3438" y="633"/>
                    <a:pt x="3438" y="633"/>
                  </a:cubicBezTo>
                  <a:moveTo>
                    <a:pt x="3475" y="632"/>
                  </a:moveTo>
                  <a:cubicBezTo>
                    <a:pt x="3468" y="633"/>
                    <a:pt x="3464" y="637"/>
                    <a:pt x="3466" y="643"/>
                  </a:cubicBezTo>
                  <a:cubicBezTo>
                    <a:pt x="3468" y="649"/>
                    <a:pt x="3475" y="653"/>
                    <a:pt x="3482" y="653"/>
                  </a:cubicBezTo>
                  <a:cubicBezTo>
                    <a:pt x="3490" y="653"/>
                    <a:pt x="3494" y="648"/>
                    <a:pt x="3492" y="643"/>
                  </a:cubicBezTo>
                  <a:cubicBezTo>
                    <a:pt x="3490" y="637"/>
                    <a:pt x="3482" y="632"/>
                    <a:pt x="3475" y="632"/>
                  </a:cubicBezTo>
                  <a:cubicBezTo>
                    <a:pt x="3475" y="632"/>
                    <a:pt x="3475" y="632"/>
                    <a:pt x="3475" y="632"/>
                  </a:cubicBezTo>
                  <a:moveTo>
                    <a:pt x="3512" y="632"/>
                  </a:moveTo>
                  <a:cubicBezTo>
                    <a:pt x="3505" y="632"/>
                    <a:pt x="3501" y="637"/>
                    <a:pt x="3503" y="643"/>
                  </a:cubicBezTo>
                  <a:cubicBezTo>
                    <a:pt x="3505" y="648"/>
                    <a:pt x="3513" y="653"/>
                    <a:pt x="3520" y="653"/>
                  </a:cubicBezTo>
                  <a:cubicBezTo>
                    <a:pt x="3527" y="653"/>
                    <a:pt x="3531" y="648"/>
                    <a:pt x="3529" y="642"/>
                  </a:cubicBezTo>
                  <a:cubicBezTo>
                    <a:pt x="3527" y="637"/>
                    <a:pt x="3520" y="632"/>
                    <a:pt x="3512" y="632"/>
                  </a:cubicBezTo>
                  <a:cubicBezTo>
                    <a:pt x="3512" y="632"/>
                    <a:pt x="3512" y="632"/>
                    <a:pt x="3512" y="632"/>
                  </a:cubicBezTo>
                  <a:moveTo>
                    <a:pt x="3549" y="632"/>
                  </a:moveTo>
                  <a:cubicBezTo>
                    <a:pt x="3542" y="632"/>
                    <a:pt x="3538" y="637"/>
                    <a:pt x="3540" y="642"/>
                  </a:cubicBezTo>
                  <a:cubicBezTo>
                    <a:pt x="3542" y="648"/>
                    <a:pt x="3550" y="653"/>
                    <a:pt x="3557" y="653"/>
                  </a:cubicBezTo>
                  <a:cubicBezTo>
                    <a:pt x="3564" y="653"/>
                    <a:pt x="3568" y="648"/>
                    <a:pt x="3566" y="642"/>
                  </a:cubicBezTo>
                  <a:cubicBezTo>
                    <a:pt x="3564" y="637"/>
                    <a:pt x="3557" y="632"/>
                    <a:pt x="3549" y="632"/>
                  </a:cubicBezTo>
                  <a:cubicBezTo>
                    <a:pt x="3549" y="632"/>
                    <a:pt x="3549" y="632"/>
                    <a:pt x="3549" y="632"/>
                  </a:cubicBezTo>
                  <a:moveTo>
                    <a:pt x="3587" y="632"/>
                  </a:moveTo>
                  <a:cubicBezTo>
                    <a:pt x="3580" y="632"/>
                    <a:pt x="3575" y="637"/>
                    <a:pt x="3578" y="642"/>
                  </a:cubicBezTo>
                  <a:cubicBezTo>
                    <a:pt x="3580" y="648"/>
                    <a:pt x="3587" y="652"/>
                    <a:pt x="3595" y="652"/>
                  </a:cubicBezTo>
                  <a:cubicBezTo>
                    <a:pt x="3602" y="652"/>
                    <a:pt x="3606" y="648"/>
                    <a:pt x="3604" y="642"/>
                  </a:cubicBezTo>
                  <a:cubicBezTo>
                    <a:pt x="3602" y="636"/>
                    <a:pt x="3594" y="632"/>
                    <a:pt x="3587" y="632"/>
                  </a:cubicBezTo>
                  <a:cubicBezTo>
                    <a:pt x="3587" y="632"/>
                    <a:pt x="3587" y="632"/>
                    <a:pt x="3587" y="632"/>
                  </a:cubicBezTo>
                  <a:moveTo>
                    <a:pt x="3624" y="632"/>
                  </a:moveTo>
                  <a:cubicBezTo>
                    <a:pt x="3617" y="632"/>
                    <a:pt x="3613" y="636"/>
                    <a:pt x="3615" y="642"/>
                  </a:cubicBezTo>
                  <a:cubicBezTo>
                    <a:pt x="3618" y="648"/>
                    <a:pt x="3625" y="652"/>
                    <a:pt x="3633" y="652"/>
                  </a:cubicBezTo>
                  <a:cubicBezTo>
                    <a:pt x="3640" y="652"/>
                    <a:pt x="3644" y="648"/>
                    <a:pt x="3642" y="642"/>
                  </a:cubicBezTo>
                  <a:cubicBezTo>
                    <a:pt x="3639" y="636"/>
                    <a:pt x="3632" y="632"/>
                    <a:pt x="3624" y="632"/>
                  </a:cubicBezTo>
                  <a:cubicBezTo>
                    <a:pt x="3624" y="632"/>
                    <a:pt x="3624" y="632"/>
                    <a:pt x="3624" y="632"/>
                  </a:cubicBezTo>
                  <a:moveTo>
                    <a:pt x="3661" y="631"/>
                  </a:moveTo>
                  <a:cubicBezTo>
                    <a:pt x="3654" y="631"/>
                    <a:pt x="3650" y="636"/>
                    <a:pt x="3653" y="641"/>
                  </a:cubicBezTo>
                  <a:cubicBezTo>
                    <a:pt x="3655" y="647"/>
                    <a:pt x="3663" y="652"/>
                    <a:pt x="3670" y="652"/>
                  </a:cubicBezTo>
                  <a:cubicBezTo>
                    <a:pt x="3677" y="652"/>
                    <a:pt x="3681" y="647"/>
                    <a:pt x="3679" y="641"/>
                  </a:cubicBezTo>
                  <a:cubicBezTo>
                    <a:pt x="3676" y="636"/>
                    <a:pt x="3669" y="631"/>
                    <a:pt x="3662" y="631"/>
                  </a:cubicBezTo>
                  <a:cubicBezTo>
                    <a:pt x="3661" y="631"/>
                    <a:pt x="3661" y="631"/>
                    <a:pt x="3661" y="631"/>
                  </a:cubicBezTo>
                  <a:moveTo>
                    <a:pt x="3698" y="631"/>
                  </a:moveTo>
                  <a:cubicBezTo>
                    <a:pt x="3691" y="631"/>
                    <a:pt x="3687" y="636"/>
                    <a:pt x="3690" y="641"/>
                  </a:cubicBezTo>
                  <a:cubicBezTo>
                    <a:pt x="3692" y="647"/>
                    <a:pt x="3700" y="651"/>
                    <a:pt x="3707" y="651"/>
                  </a:cubicBezTo>
                  <a:cubicBezTo>
                    <a:pt x="3714" y="651"/>
                    <a:pt x="3718" y="647"/>
                    <a:pt x="3716" y="641"/>
                  </a:cubicBezTo>
                  <a:cubicBezTo>
                    <a:pt x="3713" y="635"/>
                    <a:pt x="3706" y="631"/>
                    <a:pt x="3698" y="631"/>
                  </a:cubicBezTo>
                  <a:cubicBezTo>
                    <a:pt x="3698" y="631"/>
                    <a:pt x="3698" y="631"/>
                    <a:pt x="3698" y="631"/>
                  </a:cubicBezTo>
                  <a:moveTo>
                    <a:pt x="3736" y="631"/>
                  </a:moveTo>
                  <a:cubicBezTo>
                    <a:pt x="3729" y="631"/>
                    <a:pt x="3725" y="635"/>
                    <a:pt x="3727" y="641"/>
                  </a:cubicBezTo>
                  <a:cubicBezTo>
                    <a:pt x="3730" y="647"/>
                    <a:pt x="3737" y="651"/>
                    <a:pt x="3745" y="651"/>
                  </a:cubicBezTo>
                  <a:cubicBezTo>
                    <a:pt x="3752" y="651"/>
                    <a:pt x="3756" y="647"/>
                    <a:pt x="3753" y="641"/>
                  </a:cubicBezTo>
                  <a:cubicBezTo>
                    <a:pt x="3751" y="635"/>
                    <a:pt x="3743" y="631"/>
                    <a:pt x="3736" y="631"/>
                  </a:cubicBezTo>
                  <a:cubicBezTo>
                    <a:pt x="3736" y="631"/>
                    <a:pt x="3736" y="631"/>
                    <a:pt x="3736" y="631"/>
                  </a:cubicBezTo>
                  <a:moveTo>
                    <a:pt x="3775" y="630"/>
                  </a:moveTo>
                  <a:cubicBezTo>
                    <a:pt x="3768" y="630"/>
                    <a:pt x="3764" y="635"/>
                    <a:pt x="3767" y="641"/>
                  </a:cubicBezTo>
                  <a:cubicBezTo>
                    <a:pt x="3769" y="646"/>
                    <a:pt x="3777" y="651"/>
                    <a:pt x="3785" y="651"/>
                  </a:cubicBezTo>
                  <a:cubicBezTo>
                    <a:pt x="3792" y="651"/>
                    <a:pt x="3796" y="646"/>
                    <a:pt x="3793" y="641"/>
                  </a:cubicBezTo>
                  <a:cubicBezTo>
                    <a:pt x="3790" y="635"/>
                    <a:pt x="3782" y="630"/>
                    <a:pt x="3775" y="630"/>
                  </a:cubicBezTo>
                  <a:cubicBezTo>
                    <a:pt x="3775" y="630"/>
                    <a:pt x="3775" y="630"/>
                    <a:pt x="3775" y="630"/>
                  </a:cubicBezTo>
                  <a:moveTo>
                    <a:pt x="3812" y="630"/>
                  </a:moveTo>
                  <a:cubicBezTo>
                    <a:pt x="3805" y="630"/>
                    <a:pt x="3801" y="635"/>
                    <a:pt x="3804" y="641"/>
                  </a:cubicBezTo>
                  <a:cubicBezTo>
                    <a:pt x="3806" y="646"/>
                    <a:pt x="3814" y="651"/>
                    <a:pt x="3821" y="651"/>
                  </a:cubicBezTo>
                  <a:cubicBezTo>
                    <a:pt x="3829" y="651"/>
                    <a:pt x="3832" y="646"/>
                    <a:pt x="3830" y="640"/>
                  </a:cubicBezTo>
                  <a:cubicBezTo>
                    <a:pt x="3827" y="635"/>
                    <a:pt x="3819" y="630"/>
                    <a:pt x="3812" y="630"/>
                  </a:cubicBezTo>
                  <a:cubicBezTo>
                    <a:pt x="3812" y="630"/>
                    <a:pt x="3812" y="630"/>
                    <a:pt x="3812" y="630"/>
                  </a:cubicBezTo>
                  <a:moveTo>
                    <a:pt x="3849" y="630"/>
                  </a:moveTo>
                  <a:cubicBezTo>
                    <a:pt x="3842" y="630"/>
                    <a:pt x="3838" y="635"/>
                    <a:pt x="3841" y="640"/>
                  </a:cubicBezTo>
                  <a:cubicBezTo>
                    <a:pt x="3843" y="646"/>
                    <a:pt x="3852" y="651"/>
                    <a:pt x="3859" y="651"/>
                  </a:cubicBezTo>
                  <a:cubicBezTo>
                    <a:pt x="3866" y="651"/>
                    <a:pt x="3870" y="646"/>
                    <a:pt x="3867" y="640"/>
                  </a:cubicBezTo>
                  <a:cubicBezTo>
                    <a:pt x="3864" y="635"/>
                    <a:pt x="3856" y="630"/>
                    <a:pt x="3849" y="630"/>
                  </a:cubicBezTo>
                  <a:cubicBezTo>
                    <a:pt x="3849" y="630"/>
                    <a:pt x="3849" y="630"/>
                    <a:pt x="3849" y="630"/>
                  </a:cubicBezTo>
                  <a:moveTo>
                    <a:pt x="3886" y="630"/>
                  </a:moveTo>
                  <a:cubicBezTo>
                    <a:pt x="3879" y="630"/>
                    <a:pt x="3875" y="634"/>
                    <a:pt x="3878" y="640"/>
                  </a:cubicBezTo>
                  <a:cubicBezTo>
                    <a:pt x="3881" y="646"/>
                    <a:pt x="3889" y="650"/>
                    <a:pt x="3896" y="650"/>
                  </a:cubicBezTo>
                  <a:cubicBezTo>
                    <a:pt x="3904" y="650"/>
                    <a:pt x="3907" y="646"/>
                    <a:pt x="3904" y="640"/>
                  </a:cubicBezTo>
                  <a:cubicBezTo>
                    <a:pt x="3902" y="634"/>
                    <a:pt x="3893" y="630"/>
                    <a:pt x="3886" y="630"/>
                  </a:cubicBezTo>
                  <a:cubicBezTo>
                    <a:pt x="3886" y="630"/>
                    <a:pt x="3886" y="630"/>
                    <a:pt x="3886" y="630"/>
                  </a:cubicBezTo>
                  <a:moveTo>
                    <a:pt x="3924" y="630"/>
                  </a:moveTo>
                  <a:cubicBezTo>
                    <a:pt x="3917" y="630"/>
                    <a:pt x="3913" y="634"/>
                    <a:pt x="3916" y="640"/>
                  </a:cubicBezTo>
                  <a:cubicBezTo>
                    <a:pt x="3919" y="646"/>
                    <a:pt x="3927" y="650"/>
                    <a:pt x="3934" y="650"/>
                  </a:cubicBezTo>
                  <a:cubicBezTo>
                    <a:pt x="3941" y="650"/>
                    <a:pt x="3945" y="646"/>
                    <a:pt x="3942" y="640"/>
                  </a:cubicBezTo>
                  <a:cubicBezTo>
                    <a:pt x="3939" y="634"/>
                    <a:pt x="3931" y="630"/>
                    <a:pt x="3924" y="630"/>
                  </a:cubicBezTo>
                  <a:cubicBezTo>
                    <a:pt x="3924" y="630"/>
                    <a:pt x="3924" y="630"/>
                    <a:pt x="3924" y="630"/>
                  </a:cubicBezTo>
                  <a:moveTo>
                    <a:pt x="3961" y="629"/>
                  </a:moveTo>
                  <a:cubicBezTo>
                    <a:pt x="3954" y="629"/>
                    <a:pt x="3950" y="634"/>
                    <a:pt x="3953" y="640"/>
                  </a:cubicBezTo>
                  <a:cubicBezTo>
                    <a:pt x="3956" y="645"/>
                    <a:pt x="3964" y="650"/>
                    <a:pt x="3971" y="650"/>
                  </a:cubicBezTo>
                  <a:cubicBezTo>
                    <a:pt x="3979" y="650"/>
                    <a:pt x="3982" y="645"/>
                    <a:pt x="3979" y="640"/>
                  </a:cubicBezTo>
                  <a:cubicBezTo>
                    <a:pt x="3976" y="634"/>
                    <a:pt x="3968" y="629"/>
                    <a:pt x="3961" y="629"/>
                  </a:cubicBezTo>
                  <a:cubicBezTo>
                    <a:pt x="3961" y="629"/>
                    <a:pt x="3961" y="629"/>
                    <a:pt x="3961" y="629"/>
                  </a:cubicBezTo>
                  <a:moveTo>
                    <a:pt x="99" y="624"/>
                  </a:moveTo>
                  <a:cubicBezTo>
                    <a:pt x="91" y="624"/>
                    <a:pt x="82" y="629"/>
                    <a:pt x="77" y="634"/>
                  </a:cubicBezTo>
                  <a:cubicBezTo>
                    <a:pt x="72" y="640"/>
                    <a:pt x="74" y="644"/>
                    <a:pt x="81" y="644"/>
                  </a:cubicBezTo>
                  <a:cubicBezTo>
                    <a:pt x="89" y="644"/>
                    <a:pt x="98" y="640"/>
                    <a:pt x="103" y="634"/>
                  </a:cubicBezTo>
                  <a:cubicBezTo>
                    <a:pt x="108" y="628"/>
                    <a:pt x="106" y="624"/>
                    <a:pt x="99" y="624"/>
                  </a:cubicBezTo>
                  <a:cubicBezTo>
                    <a:pt x="99" y="624"/>
                    <a:pt x="99" y="624"/>
                    <a:pt x="99" y="624"/>
                  </a:cubicBezTo>
                  <a:moveTo>
                    <a:pt x="136" y="624"/>
                  </a:moveTo>
                  <a:cubicBezTo>
                    <a:pt x="128" y="624"/>
                    <a:pt x="119" y="628"/>
                    <a:pt x="114" y="634"/>
                  </a:cubicBezTo>
                  <a:cubicBezTo>
                    <a:pt x="109" y="640"/>
                    <a:pt x="111" y="644"/>
                    <a:pt x="119" y="644"/>
                  </a:cubicBezTo>
                  <a:cubicBezTo>
                    <a:pt x="126" y="644"/>
                    <a:pt x="135" y="639"/>
                    <a:pt x="140" y="634"/>
                  </a:cubicBezTo>
                  <a:cubicBezTo>
                    <a:pt x="145" y="628"/>
                    <a:pt x="143" y="624"/>
                    <a:pt x="136" y="624"/>
                  </a:cubicBezTo>
                  <a:cubicBezTo>
                    <a:pt x="136" y="624"/>
                    <a:pt x="136" y="624"/>
                    <a:pt x="136" y="624"/>
                  </a:cubicBezTo>
                  <a:moveTo>
                    <a:pt x="174" y="624"/>
                  </a:moveTo>
                  <a:cubicBezTo>
                    <a:pt x="167" y="624"/>
                    <a:pt x="157" y="628"/>
                    <a:pt x="153" y="634"/>
                  </a:cubicBezTo>
                  <a:cubicBezTo>
                    <a:pt x="148" y="639"/>
                    <a:pt x="150" y="644"/>
                    <a:pt x="158" y="644"/>
                  </a:cubicBezTo>
                  <a:cubicBezTo>
                    <a:pt x="165" y="644"/>
                    <a:pt x="174" y="639"/>
                    <a:pt x="179" y="634"/>
                  </a:cubicBezTo>
                  <a:cubicBezTo>
                    <a:pt x="183" y="628"/>
                    <a:pt x="181" y="624"/>
                    <a:pt x="174" y="624"/>
                  </a:cubicBezTo>
                  <a:cubicBezTo>
                    <a:pt x="174" y="624"/>
                    <a:pt x="174" y="624"/>
                    <a:pt x="174" y="624"/>
                  </a:cubicBezTo>
                  <a:moveTo>
                    <a:pt x="211" y="623"/>
                  </a:moveTo>
                  <a:cubicBezTo>
                    <a:pt x="204" y="623"/>
                    <a:pt x="194" y="628"/>
                    <a:pt x="190" y="633"/>
                  </a:cubicBezTo>
                  <a:cubicBezTo>
                    <a:pt x="185" y="639"/>
                    <a:pt x="187" y="644"/>
                    <a:pt x="195" y="644"/>
                  </a:cubicBezTo>
                  <a:cubicBezTo>
                    <a:pt x="202" y="643"/>
                    <a:pt x="211" y="639"/>
                    <a:pt x="216" y="633"/>
                  </a:cubicBezTo>
                  <a:cubicBezTo>
                    <a:pt x="220" y="628"/>
                    <a:pt x="218" y="623"/>
                    <a:pt x="211" y="623"/>
                  </a:cubicBezTo>
                  <a:cubicBezTo>
                    <a:pt x="211" y="623"/>
                    <a:pt x="211" y="623"/>
                    <a:pt x="211" y="623"/>
                  </a:cubicBezTo>
                  <a:moveTo>
                    <a:pt x="248" y="623"/>
                  </a:moveTo>
                  <a:cubicBezTo>
                    <a:pt x="241" y="623"/>
                    <a:pt x="232" y="628"/>
                    <a:pt x="227" y="633"/>
                  </a:cubicBezTo>
                  <a:cubicBezTo>
                    <a:pt x="223" y="639"/>
                    <a:pt x="225" y="643"/>
                    <a:pt x="232" y="643"/>
                  </a:cubicBezTo>
                  <a:cubicBezTo>
                    <a:pt x="239" y="643"/>
                    <a:pt x="249" y="639"/>
                    <a:pt x="253" y="633"/>
                  </a:cubicBezTo>
                  <a:cubicBezTo>
                    <a:pt x="258" y="628"/>
                    <a:pt x="255" y="623"/>
                    <a:pt x="248" y="623"/>
                  </a:cubicBezTo>
                  <a:cubicBezTo>
                    <a:pt x="248" y="623"/>
                    <a:pt x="248" y="623"/>
                    <a:pt x="248" y="623"/>
                  </a:cubicBezTo>
                  <a:moveTo>
                    <a:pt x="285" y="623"/>
                  </a:moveTo>
                  <a:cubicBezTo>
                    <a:pt x="278" y="623"/>
                    <a:pt x="269" y="627"/>
                    <a:pt x="264" y="633"/>
                  </a:cubicBezTo>
                  <a:cubicBezTo>
                    <a:pt x="260" y="639"/>
                    <a:pt x="262" y="643"/>
                    <a:pt x="269" y="643"/>
                  </a:cubicBezTo>
                  <a:cubicBezTo>
                    <a:pt x="276" y="643"/>
                    <a:pt x="286" y="639"/>
                    <a:pt x="290" y="633"/>
                  </a:cubicBezTo>
                  <a:cubicBezTo>
                    <a:pt x="295" y="627"/>
                    <a:pt x="292" y="623"/>
                    <a:pt x="285" y="623"/>
                  </a:cubicBezTo>
                  <a:cubicBezTo>
                    <a:pt x="285" y="623"/>
                    <a:pt x="285" y="623"/>
                    <a:pt x="285" y="623"/>
                  </a:cubicBezTo>
                  <a:moveTo>
                    <a:pt x="322" y="623"/>
                  </a:moveTo>
                  <a:cubicBezTo>
                    <a:pt x="315" y="623"/>
                    <a:pt x="306" y="627"/>
                    <a:pt x="301" y="633"/>
                  </a:cubicBezTo>
                  <a:cubicBezTo>
                    <a:pt x="297" y="638"/>
                    <a:pt x="299" y="643"/>
                    <a:pt x="307" y="643"/>
                  </a:cubicBezTo>
                  <a:cubicBezTo>
                    <a:pt x="314" y="643"/>
                    <a:pt x="323" y="638"/>
                    <a:pt x="328" y="633"/>
                  </a:cubicBezTo>
                  <a:cubicBezTo>
                    <a:pt x="332" y="627"/>
                    <a:pt x="329" y="623"/>
                    <a:pt x="322" y="623"/>
                  </a:cubicBezTo>
                  <a:cubicBezTo>
                    <a:pt x="322" y="623"/>
                    <a:pt x="322" y="623"/>
                    <a:pt x="322" y="623"/>
                  </a:cubicBezTo>
                  <a:moveTo>
                    <a:pt x="361" y="622"/>
                  </a:moveTo>
                  <a:cubicBezTo>
                    <a:pt x="353" y="622"/>
                    <a:pt x="344" y="627"/>
                    <a:pt x="340" y="633"/>
                  </a:cubicBezTo>
                  <a:cubicBezTo>
                    <a:pt x="336" y="638"/>
                    <a:pt x="338" y="643"/>
                    <a:pt x="345" y="643"/>
                  </a:cubicBezTo>
                  <a:cubicBezTo>
                    <a:pt x="352" y="643"/>
                    <a:pt x="362" y="638"/>
                    <a:pt x="366" y="632"/>
                  </a:cubicBezTo>
                  <a:cubicBezTo>
                    <a:pt x="370" y="627"/>
                    <a:pt x="368" y="622"/>
                    <a:pt x="361" y="622"/>
                  </a:cubicBezTo>
                  <a:cubicBezTo>
                    <a:pt x="361" y="622"/>
                    <a:pt x="361" y="622"/>
                    <a:pt x="361" y="622"/>
                  </a:cubicBezTo>
                  <a:moveTo>
                    <a:pt x="397" y="622"/>
                  </a:moveTo>
                  <a:cubicBezTo>
                    <a:pt x="390" y="622"/>
                    <a:pt x="381" y="627"/>
                    <a:pt x="377" y="632"/>
                  </a:cubicBezTo>
                  <a:cubicBezTo>
                    <a:pt x="373" y="638"/>
                    <a:pt x="375" y="643"/>
                    <a:pt x="382" y="642"/>
                  </a:cubicBezTo>
                  <a:cubicBezTo>
                    <a:pt x="390" y="642"/>
                    <a:pt x="399" y="638"/>
                    <a:pt x="403" y="632"/>
                  </a:cubicBezTo>
                  <a:cubicBezTo>
                    <a:pt x="407" y="627"/>
                    <a:pt x="405" y="622"/>
                    <a:pt x="398" y="622"/>
                  </a:cubicBezTo>
                  <a:cubicBezTo>
                    <a:pt x="398" y="622"/>
                    <a:pt x="397" y="622"/>
                    <a:pt x="397" y="622"/>
                  </a:cubicBezTo>
                  <a:moveTo>
                    <a:pt x="435" y="622"/>
                  </a:moveTo>
                  <a:cubicBezTo>
                    <a:pt x="427" y="622"/>
                    <a:pt x="418" y="627"/>
                    <a:pt x="414" y="632"/>
                  </a:cubicBezTo>
                  <a:cubicBezTo>
                    <a:pt x="410" y="638"/>
                    <a:pt x="413" y="642"/>
                    <a:pt x="420" y="642"/>
                  </a:cubicBezTo>
                  <a:cubicBezTo>
                    <a:pt x="427" y="642"/>
                    <a:pt x="436" y="638"/>
                    <a:pt x="440" y="632"/>
                  </a:cubicBezTo>
                  <a:cubicBezTo>
                    <a:pt x="444" y="626"/>
                    <a:pt x="442" y="622"/>
                    <a:pt x="435" y="622"/>
                  </a:cubicBezTo>
                  <a:cubicBezTo>
                    <a:pt x="435" y="622"/>
                    <a:pt x="435" y="622"/>
                    <a:pt x="435" y="622"/>
                  </a:cubicBezTo>
                  <a:moveTo>
                    <a:pt x="472" y="622"/>
                  </a:moveTo>
                  <a:cubicBezTo>
                    <a:pt x="465" y="622"/>
                    <a:pt x="456" y="626"/>
                    <a:pt x="452" y="632"/>
                  </a:cubicBezTo>
                  <a:cubicBezTo>
                    <a:pt x="448" y="638"/>
                    <a:pt x="450" y="642"/>
                    <a:pt x="458" y="642"/>
                  </a:cubicBezTo>
                  <a:cubicBezTo>
                    <a:pt x="465" y="642"/>
                    <a:pt x="474" y="637"/>
                    <a:pt x="478" y="632"/>
                  </a:cubicBezTo>
                  <a:cubicBezTo>
                    <a:pt x="482" y="626"/>
                    <a:pt x="479" y="622"/>
                    <a:pt x="472" y="622"/>
                  </a:cubicBezTo>
                  <a:cubicBezTo>
                    <a:pt x="472" y="622"/>
                    <a:pt x="472" y="622"/>
                    <a:pt x="472" y="622"/>
                  </a:cubicBezTo>
                  <a:moveTo>
                    <a:pt x="509" y="622"/>
                  </a:moveTo>
                  <a:cubicBezTo>
                    <a:pt x="502" y="622"/>
                    <a:pt x="493" y="626"/>
                    <a:pt x="489" y="632"/>
                  </a:cubicBezTo>
                  <a:cubicBezTo>
                    <a:pt x="485" y="637"/>
                    <a:pt x="488" y="642"/>
                    <a:pt x="495" y="642"/>
                  </a:cubicBezTo>
                  <a:cubicBezTo>
                    <a:pt x="502" y="642"/>
                    <a:pt x="511" y="637"/>
                    <a:pt x="515" y="632"/>
                  </a:cubicBezTo>
                  <a:cubicBezTo>
                    <a:pt x="519" y="626"/>
                    <a:pt x="516" y="622"/>
                    <a:pt x="509" y="622"/>
                  </a:cubicBezTo>
                  <a:cubicBezTo>
                    <a:pt x="509" y="622"/>
                    <a:pt x="509" y="622"/>
                    <a:pt x="509" y="622"/>
                  </a:cubicBezTo>
                  <a:moveTo>
                    <a:pt x="546" y="621"/>
                  </a:moveTo>
                  <a:cubicBezTo>
                    <a:pt x="539" y="621"/>
                    <a:pt x="530" y="626"/>
                    <a:pt x="526" y="632"/>
                  </a:cubicBezTo>
                  <a:cubicBezTo>
                    <a:pt x="522" y="637"/>
                    <a:pt x="525" y="642"/>
                    <a:pt x="532" y="642"/>
                  </a:cubicBezTo>
                  <a:cubicBezTo>
                    <a:pt x="539" y="642"/>
                    <a:pt x="548" y="637"/>
                    <a:pt x="552" y="631"/>
                  </a:cubicBezTo>
                  <a:cubicBezTo>
                    <a:pt x="556" y="626"/>
                    <a:pt x="553" y="621"/>
                    <a:pt x="546" y="621"/>
                  </a:cubicBezTo>
                  <a:cubicBezTo>
                    <a:pt x="546" y="621"/>
                    <a:pt x="546" y="621"/>
                    <a:pt x="546" y="621"/>
                  </a:cubicBezTo>
                  <a:moveTo>
                    <a:pt x="583" y="621"/>
                  </a:moveTo>
                  <a:cubicBezTo>
                    <a:pt x="576" y="621"/>
                    <a:pt x="567" y="626"/>
                    <a:pt x="563" y="631"/>
                  </a:cubicBezTo>
                  <a:cubicBezTo>
                    <a:pt x="559" y="637"/>
                    <a:pt x="562" y="641"/>
                    <a:pt x="569" y="641"/>
                  </a:cubicBezTo>
                  <a:cubicBezTo>
                    <a:pt x="576" y="641"/>
                    <a:pt x="585" y="637"/>
                    <a:pt x="589" y="631"/>
                  </a:cubicBezTo>
                  <a:cubicBezTo>
                    <a:pt x="593" y="626"/>
                    <a:pt x="590" y="621"/>
                    <a:pt x="583" y="621"/>
                  </a:cubicBezTo>
                  <a:cubicBezTo>
                    <a:pt x="583" y="621"/>
                    <a:pt x="583" y="621"/>
                    <a:pt x="583" y="621"/>
                  </a:cubicBezTo>
                  <a:moveTo>
                    <a:pt x="620" y="621"/>
                  </a:moveTo>
                  <a:cubicBezTo>
                    <a:pt x="613" y="621"/>
                    <a:pt x="604" y="626"/>
                    <a:pt x="600" y="631"/>
                  </a:cubicBezTo>
                  <a:cubicBezTo>
                    <a:pt x="597" y="637"/>
                    <a:pt x="599" y="641"/>
                    <a:pt x="607" y="641"/>
                  </a:cubicBezTo>
                  <a:cubicBezTo>
                    <a:pt x="614" y="641"/>
                    <a:pt x="623" y="637"/>
                    <a:pt x="626" y="631"/>
                  </a:cubicBezTo>
                  <a:cubicBezTo>
                    <a:pt x="630" y="625"/>
                    <a:pt x="627" y="621"/>
                    <a:pt x="620" y="621"/>
                  </a:cubicBezTo>
                  <a:cubicBezTo>
                    <a:pt x="620" y="621"/>
                    <a:pt x="620" y="621"/>
                    <a:pt x="620" y="621"/>
                  </a:cubicBezTo>
                  <a:moveTo>
                    <a:pt x="658" y="621"/>
                  </a:moveTo>
                  <a:cubicBezTo>
                    <a:pt x="650" y="621"/>
                    <a:pt x="642" y="625"/>
                    <a:pt x="638" y="631"/>
                  </a:cubicBezTo>
                  <a:cubicBezTo>
                    <a:pt x="634" y="637"/>
                    <a:pt x="637" y="641"/>
                    <a:pt x="644" y="641"/>
                  </a:cubicBezTo>
                  <a:cubicBezTo>
                    <a:pt x="652" y="641"/>
                    <a:pt x="660" y="636"/>
                    <a:pt x="664" y="631"/>
                  </a:cubicBezTo>
                  <a:cubicBezTo>
                    <a:pt x="668" y="625"/>
                    <a:pt x="665" y="621"/>
                    <a:pt x="658" y="621"/>
                  </a:cubicBezTo>
                  <a:cubicBezTo>
                    <a:pt x="658" y="621"/>
                    <a:pt x="658" y="621"/>
                    <a:pt x="658" y="621"/>
                  </a:cubicBezTo>
                  <a:moveTo>
                    <a:pt x="694" y="620"/>
                  </a:moveTo>
                  <a:cubicBezTo>
                    <a:pt x="687" y="621"/>
                    <a:pt x="679" y="625"/>
                    <a:pt x="675" y="631"/>
                  </a:cubicBezTo>
                  <a:cubicBezTo>
                    <a:pt x="671" y="636"/>
                    <a:pt x="674" y="641"/>
                    <a:pt x="682" y="641"/>
                  </a:cubicBezTo>
                  <a:cubicBezTo>
                    <a:pt x="689" y="641"/>
                    <a:pt x="697" y="636"/>
                    <a:pt x="701" y="631"/>
                  </a:cubicBezTo>
                  <a:cubicBezTo>
                    <a:pt x="705" y="625"/>
                    <a:pt x="702" y="620"/>
                    <a:pt x="695" y="620"/>
                  </a:cubicBezTo>
                  <a:cubicBezTo>
                    <a:pt x="695" y="620"/>
                    <a:pt x="694" y="620"/>
                    <a:pt x="694" y="620"/>
                  </a:cubicBezTo>
                  <a:moveTo>
                    <a:pt x="732" y="620"/>
                  </a:moveTo>
                  <a:cubicBezTo>
                    <a:pt x="724" y="620"/>
                    <a:pt x="716" y="625"/>
                    <a:pt x="712" y="630"/>
                  </a:cubicBezTo>
                  <a:cubicBezTo>
                    <a:pt x="709" y="636"/>
                    <a:pt x="712" y="641"/>
                    <a:pt x="719" y="641"/>
                  </a:cubicBezTo>
                  <a:cubicBezTo>
                    <a:pt x="726" y="641"/>
                    <a:pt x="735" y="636"/>
                    <a:pt x="738" y="630"/>
                  </a:cubicBezTo>
                  <a:cubicBezTo>
                    <a:pt x="742" y="625"/>
                    <a:pt x="739" y="620"/>
                    <a:pt x="732" y="620"/>
                  </a:cubicBezTo>
                  <a:cubicBezTo>
                    <a:pt x="732" y="620"/>
                    <a:pt x="732" y="620"/>
                    <a:pt x="732" y="620"/>
                  </a:cubicBezTo>
                  <a:moveTo>
                    <a:pt x="767" y="620"/>
                  </a:moveTo>
                  <a:cubicBezTo>
                    <a:pt x="760" y="620"/>
                    <a:pt x="752" y="625"/>
                    <a:pt x="748" y="630"/>
                  </a:cubicBezTo>
                  <a:cubicBezTo>
                    <a:pt x="745" y="636"/>
                    <a:pt x="748" y="640"/>
                    <a:pt x="755" y="640"/>
                  </a:cubicBezTo>
                  <a:cubicBezTo>
                    <a:pt x="762" y="640"/>
                    <a:pt x="771" y="636"/>
                    <a:pt x="774" y="630"/>
                  </a:cubicBezTo>
                  <a:cubicBezTo>
                    <a:pt x="778" y="625"/>
                    <a:pt x="775" y="620"/>
                    <a:pt x="767" y="620"/>
                  </a:cubicBezTo>
                  <a:cubicBezTo>
                    <a:pt x="767" y="620"/>
                    <a:pt x="767" y="620"/>
                    <a:pt x="767" y="620"/>
                  </a:cubicBezTo>
                  <a:moveTo>
                    <a:pt x="2025" y="611"/>
                  </a:moveTo>
                  <a:cubicBezTo>
                    <a:pt x="2018" y="611"/>
                    <a:pt x="2011" y="616"/>
                    <a:pt x="2010" y="621"/>
                  </a:cubicBezTo>
                  <a:cubicBezTo>
                    <a:pt x="2009" y="627"/>
                    <a:pt x="2015" y="631"/>
                    <a:pt x="2022" y="631"/>
                  </a:cubicBezTo>
                  <a:cubicBezTo>
                    <a:pt x="2029" y="631"/>
                    <a:pt x="2035" y="627"/>
                    <a:pt x="2036" y="621"/>
                  </a:cubicBezTo>
                  <a:cubicBezTo>
                    <a:pt x="2037" y="616"/>
                    <a:pt x="2032" y="611"/>
                    <a:pt x="2025" y="611"/>
                  </a:cubicBezTo>
                  <a:cubicBezTo>
                    <a:pt x="2025" y="611"/>
                    <a:pt x="2025" y="611"/>
                    <a:pt x="2025" y="611"/>
                  </a:cubicBezTo>
                  <a:moveTo>
                    <a:pt x="2062" y="611"/>
                  </a:moveTo>
                  <a:cubicBezTo>
                    <a:pt x="2055" y="611"/>
                    <a:pt x="2048" y="615"/>
                    <a:pt x="2048" y="621"/>
                  </a:cubicBezTo>
                  <a:cubicBezTo>
                    <a:pt x="2047" y="627"/>
                    <a:pt x="2052" y="631"/>
                    <a:pt x="2059" y="631"/>
                  </a:cubicBezTo>
                  <a:cubicBezTo>
                    <a:pt x="2066" y="631"/>
                    <a:pt x="2073" y="627"/>
                    <a:pt x="2074" y="621"/>
                  </a:cubicBezTo>
                  <a:cubicBezTo>
                    <a:pt x="2074" y="615"/>
                    <a:pt x="2069" y="611"/>
                    <a:pt x="2062" y="611"/>
                  </a:cubicBezTo>
                  <a:cubicBezTo>
                    <a:pt x="2062" y="611"/>
                    <a:pt x="2062" y="611"/>
                    <a:pt x="2062" y="611"/>
                  </a:cubicBezTo>
                  <a:moveTo>
                    <a:pt x="2100" y="611"/>
                  </a:moveTo>
                  <a:cubicBezTo>
                    <a:pt x="2093" y="611"/>
                    <a:pt x="2087" y="615"/>
                    <a:pt x="2086" y="621"/>
                  </a:cubicBezTo>
                  <a:cubicBezTo>
                    <a:pt x="2085" y="627"/>
                    <a:pt x="2090" y="631"/>
                    <a:pt x="2097" y="631"/>
                  </a:cubicBezTo>
                  <a:cubicBezTo>
                    <a:pt x="2105" y="631"/>
                    <a:pt x="2111" y="626"/>
                    <a:pt x="2112" y="621"/>
                  </a:cubicBezTo>
                  <a:cubicBezTo>
                    <a:pt x="2113" y="615"/>
                    <a:pt x="2107" y="611"/>
                    <a:pt x="2100" y="611"/>
                  </a:cubicBezTo>
                  <a:cubicBezTo>
                    <a:pt x="2100" y="611"/>
                    <a:pt x="2100" y="611"/>
                    <a:pt x="2100" y="611"/>
                  </a:cubicBezTo>
                  <a:moveTo>
                    <a:pt x="2137" y="610"/>
                  </a:moveTo>
                  <a:cubicBezTo>
                    <a:pt x="2130" y="610"/>
                    <a:pt x="2123" y="615"/>
                    <a:pt x="2123" y="621"/>
                  </a:cubicBezTo>
                  <a:cubicBezTo>
                    <a:pt x="2122" y="626"/>
                    <a:pt x="2127" y="631"/>
                    <a:pt x="2134" y="631"/>
                  </a:cubicBezTo>
                  <a:cubicBezTo>
                    <a:pt x="2142" y="631"/>
                    <a:pt x="2148" y="626"/>
                    <a:pt x="2149" y="621"/>
                  </a:cubicBezTo>
                  <a:cubicBezTo>
                    <a:pt x="2149" y="615"/>
                    <a:pt x="2144" y="610"/>
                    <a:pt x="2137" y="610"/>
                  </a:cubicBezTo>
                  <a:cubicBezTo>
                    <a:pt x="2137" y="610"/>
                    <a:pt x="2137" y="610"/>
                    <a:pt x="2137" y="610"/>
                  </a:cubicBezTo>
                  <a:moveTo>
                    <a:pt x="2174" y="610"/>
                  </a:moveTo>
                  <a:cubicBezTo>
                    <a:pt x="2167" y="610"/>
                    <a:pt x="2161" y="615"/>
                    <a:pt x="2160" y="620"/>
                  </a:cubicBezTo>
                  <a:cubicBezTo>
                    <a:pt x="2159" y="626"/>
                    <a:pt x="2165" y="631"/>
                    <a:pt x="2172" y="631"/>
                  </a:cubicBezTo>
                  <a:cubicBezTo>
                    <a:pt x="2179" y="631"/>
                    <a:pt x="2185" y="626"/>
                    <a:pt x="2186" y="620"/>
                  </a:cubicBezTo>
                  <a:cubicBezTo>
                    <a:pt x="2186" y="615"/>
                    <a:pt x="2181" y="610"/>
                    <a:pt x="2174" y="610"/>
                  </a:cubicBezTo>
                  <a:cubicBezTo>
                    <a:pt x="2174" y="610"/>
                    <a:pt x="2174" y="610"/>
                    <a:pt x="2174" y="610"/>
                  </a:cubicBezTo>
                  <a:moveTo>
                    <a:pt x="2433" y="608"/>
                  </a:moveTo>
                  <a:cubicBezTo>
                    <a:pt x="2426" y="608"/>
                    <a:pt x="2420" y="613"/>
                    <a:pt x="2420" y="618"/>
                  </a:cubicBezTo>
                  <a:cubicBezTo>
                    <a:pt x="2419" y="624"/>
                    <a:pt x="2425" y="628"/>
                    <a:pt x="2432" y="628"/>
                  </a:cubicBezTo>
                  <a:cubicBezTo>
                    <a:pt x="2440" y="628"/>
                    <a:pt x="2445" y="624"/>
                    <a:pt x="2446" y="618"/>
                  </a:cubicBezTo>
                  <a:cubicBezTo>
                    <a:pt x="2446" y="612"/>
                    <a:pt x="2440" y="608"/>
                    <a:pt x="2433" y="608"/>
                  </a:cubicBezTo>
                  <a:cubicBezTo>
                    <a:pt x="2433" y="608"/>
                    <a:pt x="2433" y="608"/>
                    <a:pt x="2433" y="608"/>
                  </a:cubicBezTo>
                  <a:moveTo>
                    <a:pt x="2802" y="607"/>
                  </a:moveTo>
                  <a:cubicBezTo>
                    <a:pt x="2795" y="607"/>
                    <a:pt x="2790" y="611"/>
                    <a:pt x="2790" y="617"/>
                  </a:cubicBezTo>
                  <a:cubicBezTo>
                    <a:pt x="2791" y="623"/>
                    <a:pt x="2797" y="627"/>
                    <a:pt x="2804" y="627"/>
                  </a:cubicBezTo>
                  <a:cubicBezTo>
                    <a:pt x="2812" y="627"/>
                    <a:pt x="2817" y="623"/>
                    <a:pt x="2816" y="617"/>
                  </a:cubicBezTo>
                  <a:cubicBezTo>
                    <a:pt x="2816" y="611"/>
                    <a:pt x="2809" y="607"/>
                    <a:pt x="2802" y="607"/>
                  </a:cubicBezTo>
                  <a:cubicBezTo>
                    <a:pt x="2802" y="607"/>
                    <a:pt x="2802" y="607"/>
                    <a:pt x="2802" y="607"/>
                  </a:cubicBezTo>
                  <a:moveTo>
                    <a:pt x="2837" y="607"/>
                  </a:moveTo>
                  <a:cubicBezTo>
                    <a:pt x="2830" y="607"/>
                    <a:pt x="2825" y="611"/>
                    <a:pt x="2825" y="617"/>
                  </a:cubicBezTo>
                  <a:cubicBezTo>
                    <a:pt x="2826" y="622"/>
                    <a:pt x="2832" y="627"/>
                    <a:pt x="2839" y="627"/>
                  </a:cubicBezTo>
                  <a:cubicBezTo>
                    <a:pt x="2847" y="627"/>
                    <a:pt x="2852" y="622"/>
                    <a:pt x="2851" y="617"/>
                  </a:cubicBezTo>
                  <a:cubicBezTo>
                    <a:pt x="2850" y="611"/>
                    <a:pt x="2844" y="607"/>
                    <a:pt x="2837" y="607"/>
                  </a:cubicBezTo>
                  <a:cubicBezTo>
                    <a:pt x="2837" y="607"/>
                    <a:pt x="2837" y="607"/>
                    <a:pt x="2837" y="607"/>
                  </a:cubicBezTo>
                  <a:moveTo>
                    <a:pt x="2874" y="606"/>
                  </a:moveTo>
                  <a:cubicBezTo>
                    <a:pt x="2866" y="606"/>
                    <a:pt x="2861" y="611"/>
                    <a:pt x="2862" y="617"/>
                  </a:cubicBezTo>
                  <a:cubicBezTo>
                    <a:pt x="2863" y="622"/>
                    <a:pt x="2869" y="627"/>
                    <a:pt x="2876" y="627"/>
                  </a:cubicBezTo>
                  <a:cubicBezTo>
                    <a:pt x="2883" y="627"/>
                    <a:pt x="2889" y="622"/>
                    <a:pt x="2888" y="616"/>
                  </a:cubicBezTo>
                  <a:cubicBezTo>
                    <a:pt x="2887" y="611"/>
                    <a:pt x="2881" y="606"/>
                    <a:pt x="2874" y="606"/>
                  </a:cubicBezTo>
                  <a:cubicBezTo>
                    <a:pt x="2874" y="606"/>
                    <a:pt x="2874" y="606"/>
                    <a:pt x="2874" y="606"/>
                  </a:cubicBezTo>
                  <a:moveTo>
                    <a:pt x="2655" y="606"/>
                  </a:moveTo>
                  <a:cubicBezTo>
                    <a:pt x="2648" y="606"/>
                    <a:pt x="2642" y="611"/>
                    <a:pt x="2643" y="616"/>
                  </a:cubicBezTo>
                  <a:cubicBezTo>
                    <a:pt x="2643" y="622"/>
                    <a:pt x="2649" y="627"/>
                    <a:pt x="2656" y="627"/>
                  </a:cubicBezTo>
                  <a:cubicBezTo>
                    <a:pt x="2663" y="627"/>
                    <a:pt x="2669" y="622"/>
                    <a:pt x="2669" y="616"/>
                  </a:cubicBezTo>
                  <a:cubicBezTo>
                    <a:pt x="2668" y="611"/>
                    <a:pt x="2662" y="606"/>
                    <a:pt x="2655" y="606"/>
                  </a:cubicBezTo>
                  <a:cubicBezTo>
                    <a:pt x="2655" y="606"/>
                    <a:pt x="2655" y="606"/>
                    <a:pt x="2655" y="606"/>
                  </a:cubicBezTo>
                  <a:moveTo>
                    <a:pt x="2911" y="606"/>
                  </a:moveTo>
                  <a:cubicBezTo>
                    <a:pt x="2903" y="606"/>
                    <a:pt x="2898" y="611"/>
                    <a:pt x="2899" y="616"/>
                  </a:cubicBezTo>
                  <a:cubicBezTo>
                    <a:pt x="2900" y="622"/>
                    <a:pt x="2906" y="627"/>
                    <a:pt x="2914" y="627"/>
                  </a:cubicBezTo>
                  <a:cubicBezTo>
                    <a:pt x="2921" y="627"/>
                    <a:pt x="2926" y="622"/>
                    <a:pt x="2925" y="616"/>
                  </a:cubicBezTo>
                  <a:cubicBezTo>
                    <a:pt x="2924" y="611"/>
                    <a:pt x="2918" y="606"/>
                    <a:pt x="2911" y="606"/>
                  </a:cubicBezTo>
                  <a:cubicBezTo>
                    <a:pt x="2911" y="606"/>
                    <a:pt x="2911" y="606"/>
                    <a:pt x="2911" y="606"/>
                  </a:cubicBezTo>
                  <a:moveTo>
                    <a:pt x="2691" y="606"/>
                  </a:moveTo>
                  <a:cubicBezTo>
                    <a:pt x="2684" y="606"/>
                    <a:pt x="2679" y="611"/>
                    <a:pt x="2679" y="616"/>
                  </a:cubicBezTo>
                  <a:cubicBezTo>
                    <a:pt x="2680" y="622"/>
                    <a:pt x="2686" y="626"/>
                    <a:pt x="2693" y="626"/>
                  </a:cubicBezTo>
                  <a:cubicBezTo>
                    <a:pt x="2700" y="626"/>
                    <a:pt x="2706" y="622"/>
                    <a:pt x="2705" y="616"/>
                  </a:cubicBezTo>
                  <a:cubicBezTo>
                    <a:pt x="2705" y="610"/>
                    <a:pt x="2699" y="606"/>
                    <a:pt x="2692" y="606"/>
                  </a:cubicBezTo>
                  <a:cubicBezTo>
                    <a:pt x="2692" y="606"/>
                    <a:pt x="2692" y="606"/>
                    <a:pt x="2691" y="606"/>
                  </a:cubicBezTo>
                  <a:moveTo>
                    <a:pt x="2765" y="606"/>
                  </a:moveTo>
                  <a:cubicBezTo>
                    <a:pt x="2758" y="606"/>
                    <a:pt x="2753" y="611"/>
                    <a:pt x="2753" y="616"/>
                  </a:cubicBezTo>
                  <a:cubicBezTo>
                    <a:pt x="2754" y="622"/>
                    <a:pt x="2760" y="626"/>
                    <a:pt x="2767" y="626"/>
                  </a:cubicBezTo>
                  <a:cubicBezTo>
                    <a:pt x="2774" y="626"/>
                    <a:pt x="2780" y="622"/>
                    <a:pt x="2779" y="616"/>
                  </a:cubicBezTo>
                  <a:cubicBezTo>
                    <a:pt x="2779" y="610"/>
                    <a:pt x="2772" y="606"/>
                    <a:pt x="2765" y="606"/>
                  </a:cubicBezTo>
                  <a:cubicBezTo>
                    <a:pt x="2765" y="606"/>
                    <a:pt x="2765" y="606"/>
                    <a:pt x="2765" y="606"/>
                  </a:cubicBezTo>
                  <a:moveTo>
                    <a:pt x="2948" y="606"/>
                  </a:moveTo>
                  <a:cubicBezTo>
                    <a:pt x="2941" y="606"/>
                    <a:pt x="2936" y="611"/>
                    <a:pt x="2937" y="616"/>
                  </a:cubicBezTo>
                  <a:cubicBezTo>
                    <a:pt x="2937" y="622"/>
                    <a:pt x="2944" y="626"/>
                    <a:pt x="2951" y="626"/>
                  </a:cubicBezTo>
                  <a:cubicBezTo>
                    <a:pt x="2958" y="626"/>
                    <a:pt x="2963" y="622"/>
                    <a:pt x="2962" y="616"/>
                  </a:cubicBezTo>
                  <a:cubicBezTo>
                    <a:pt x="2962" y="610"/>
                    <a:pt x="2955" y="606"/>
                    <a:pt x="2948" y="606"/>
                  </a:cubicBezTo>
                  <a:cubicBezTo>
                    <a:pt x="2948" y="606"/>
                    <a:pt x="2948" y="606"/>
                    <a:pt x="2948" y="606"/>
                  </a:cubicBezTo>
                  <a:moveTo>
                    <a:pt x="2728" y="606"/>
                  </a:moveTo>
                  <a:cubicBezTo>
                    <a:pt x="2721" y="606"/>
                    <a:pt x="2716" y="610"/>
                    <a:pt x="2716" y="616"/>
                  </a:cubicBezTo>
                  <a:cubicBezTo>
                    <a:pt x="2717" y="622"/>
                    <a:pt x="2723" y="626"/>
                    <a:pt x="2730" y="626"/>
                  </a:cubicBezTo>
                  <a:cubicBezTo>
                    <a:pt x="2737" y="626"/>
                    <a:pt x="2742" y="622"/>
                    <a:pt x="2742" y="616"/>
                  </a:cubicBezTo>
                  <a:cubicBezTo>
                    <a:pt x="2741" y="610"/>
                    <a:pt x="2735" y="606"/>
                    <a:pt x="2728" y="606"/>
                  </a:cubicBezTo>
                  <a:cubicBezTo>
                    <a:pt x="2728" y="606"/>
                    <a:pt x="2728" y="606"/>
                    <a:pt x="2728" y="606"/>
                  </a:cubicBezTo>
                  <a:moveTo>
                    <a:pt x="2984" y="606"/>
                  </a:moveTo>
                  <a:cubicBezTo>
                    <a:pt x="2977" y="606"/>
                    <a:pt x="2972" y="610"/>
                    <a:pt x="2973" y="616"/>
                  </a:cubicBezTo>
                  <a:cubicBezTo>
                    <a:pt x="2974" y="622"/>
                    <a:pt x="2981" y="626"/>
                    <a:pt x="2988" y="626"/>
                  </a:cubicBezTo>
                  <a:cubicBezTo>
                    <a:pt x="2995" y="626"/>
                    <a:pt x="3000" y="621"/>
                    <a:pt x="2999" y="616"/>
                  </a:cubicBezTo>
                  <a:cubicBezTo>
                    <a:pt x="2998" y="610"/>
                    <a:pt x="2992" y="606"/>
                    <a:pt x="2985" y="606"/>
                  </a:cubicBezTo>
                  <a:cubicBezTo>
                    <a:pt x="2985" y="606"/>
                    <a:pt x="2985" y="606"/>
                    <a:pt x="2984" y="606"/>
                  </a:cubicBezTo>
                  <a:moveTo>
                    <a:pt x="2618" y="605"/>
                  </a:moveTo>
                  <a:cubicBezTo>
                    <a:pt x="2611" y="606"/>
                    <a:pt x="2606" y="610"/>
                    <a:pt x="2606" y="616"/>
                  </a:cubicBezTo>
                  <a:cubicBezTo>
                    <a:pt x="2606" y="621"/>
                    <a:pt x="2612" y="626"/>
                    <a:pt x="2619" y="626"/>
                  </a:cubicBezTo>
                  <a:cubicBezTo>
                    <a:pt x="2626" y="626"/>
                    <a:pt x="2632" y="621"/>
                    <a:pt x="2632" y="616"/>
                  </a:cubicBezTo>
                  <a:cubicBezTo>
                    <a:pt x="2632" y="610"/>
                    <a:pt x="2626" y="605"/>
                    <a:pt x="2618" y="605"/>
                  </a:cubicBezTo>
                  <a:cubicBezTo>
                    <a:pt x="2618" y="605"/>
                    <a:pt x="2618" y="605"/>
                    <a:pt x="2618" y="605"/>
                  </a:cubicBezTo>
                  <a:moveTo>
                    <a:pt x="3021" y="605"/>
                  </a:moveTo>
                  <a:cubicBezTo>
                    <a:pt x="3014" y="605"/>
                    <a:pt x="3009" y="610"/>
                    <a:pt x="3010" y="616"/>
                  </a:cubicBezTo>
                  <a:cubicBezTo>
                    <a:pt x="3011" y="621"/>
                    <a:pt x="3018" y="626"/>
                    <a:pt x="3025" y="626"/>
                  </a:cubicBezTo>
                  <a:cubicBezTo>
                    <a:pt x="3032" y="626"/>
                    <a:pt x="3037" y="621"/>
                    <a:pt x="3036" y="616"/>
                  </a:cubicBezTo>
                  <a:cubicBezTo>
                    <a:pt x="3035" y="610"/>
                    <a:pt x="3029" y="605"/>
                    <a:pt x="3021" y="605"/>
                  </a:cubicBezTo>
                  <a:cubicBezTo>
                    <a:pt x="3021" y="605"/>
                    <a:pt x="3021" y="605"/>
                    <a:pt x="3021" y="605"/>
                  </a:cubicBezTo>
                  <a:moveTo>
                    <a:pt x="3058" y="605"/>
                  </a:moveTo>
                  <a:cubicBezTo>
                    <a:pt x="3051" y="605"/>
                    <a:pt x="3046" y="610"/>
                    <a:pt x="3047" y="616"/>
                  </a:cubicBezTo>
                  <a:cubicBezTo>
                    <a:pt x="3048" y="621"/>
                    <a:pt x="3055" y="626"/>
                    <a:pt x="3062" y="626"/>
                  </a:cubicBezTo>
                  <a:cubicBezTo>
                    <a:pt x="3069" y="626"/>
                    <a:pt x="3074" y="621"/>
                    <a:pt x="3073" y="615"/>
                  </a:cubicBezTo>
                  <a:cubicBezTo>
                    <a:pt x="3072" y="610"/>
                    <a:pt x="3065" y="605"/>
                    <a:pt x="3058" y="605"/>
                  </a:cubicBezTo>
                  <a:cubicBezTo>
                    <a:pt x="3058" y="605"/>
                    <a:pt x="3058" y="605"/>
                    <a:pt x="3058" y="605"/>
                  </a:cubicBezTo>
                  <a:moveTo>
                    <a:pt x="3095" y="605"/>
                  </a:moveTo>
                  <a:cubicBezTo>
                    <a:pt x="3088" y="605"/>
                    <a:pt x="3083" y="610"/>
                    <a:pt x="3084" y="615"/>
                  </a:cubicBezTo>
                  <a:cubicBezTo>
                    <a:pt x="3085" y="621"/>
                    <a:pt x="3092" y="626"/>
                    <a:pt x="3099" y="626"/>
                  </a:cubicBezTo>
                  <a:cubicBezTo>
                    <a:pt x="3107" y="625"/>
                    <a:pt x="3111" y="621"/>
                    <a:pt x="3110" y="615"/>
                  </a:cubicBezTo>
                  <a:cubicBezTo>
                    <a:pt x="3109" y="610"/>
                    <a:pt x="3102" y="605"/>
                    <a:pt x="3095" y="605"/>
                  </a:cubicBezTo>
                  <a:cubicBezTo>
                    <a:pt x="3095" y="605"/>
                    <a:pt x="3095" y="605"/>
                    <a:pt x="3095" y="605"/>
                  </a:cubicBezTo>
                  <a:moveTo>
                    <a:pt x="3133" y="605"/>
                  </a:moveTo>
                  <a:cubicBezTo>
                    <a:pt x="3126" y="605"/>
                    <a:pt x="3121" y="609"/>
                    <a:pt x="3122" y="615"/>
                  </a:cubicBezTo>
                  <a:cubicBezTo>
                    <a:pt x="3124" y="621"/>
                    <a:pt x="3131" y="625"/>
                    <a:pt x="3138" y="625"/>
                  </a:cubicBezTo>
                  <a:cubicBezTo>
                    <a:pt x="3145" y="625"/>
                    <a:pt x="3150" y="621"/>
                    <a:pt x="3148" y="615"/>
                  </a:cubicBezTo>
                  <a:cubicBezTo>
                    <a:pt x="3147" y="609"/>
                    <a:pt x="3140" y="605"/>
                    <a:pt x="3133" y="605"/>
                  </a:cubicBezTo>
                  <a:cubicBezTo>
                    <a:pt x="3133" y="605"/>
                    <a:pt x="3133" y="605"/>
                    <a:pt x="3133" y="605"/>
                  </a:cubicBezTo>
                  <a:moveTo>
                    <a:pt x="3170" y="605"/>
                  </a:moveTo>
                  <a:cubicBezTo>
                    <a:pt x="3163" y="605"/>
                    <a:pt x="3158" y="609"/>
                    <a:pt x="3159" y="615"/>
                  </a:cubicBezTo>
                  <a:cubicBezTo>
                    <a:pt x="3161" y="621"/>
                    <a:pt x="3167" y="625"/>
                    <a:pt x="3175" y="625"/>
                  </a:cubicBezTo>
                  <a:cubicBezTo>
                    <a:pt x="3182" y="625"/>
                    <a:pt x="3187" y="620"/>
                    <a:pt x="3185" y="615"/>
                  </a:cubicBezTo>
                  <a:cubicBezTo>
                    <a:pt x="3184" y="609"/>
                    <a:pt x="3177" y="605"/>
                    <a:pt x="3170" y="605"/>
                  </a:cubicBezTo>
                  <a:cubicBezTo>
                    <a:pt x="3170" y="605"/>
                    <a:pt x="3170" y="605"/>
                    <a:pt x="3170" y="605"/>
                  </a:cubicBezTo>
                  <a:moveTo>
                    <a:pt x="3207" y="604"/>
                  </a:moveTo>
                  <a:cubicBezTo>
                    <a:pt x="3200" y="604"/>
                    <a:pt x="3195" y="609"/>
                    <a:pt x="3196" y="615"/>
                  </a:cubicBezTo>
                  <a:cubicBezTo>
                    <a:pt x="3198" y="620"/>
                    <a:pt x="3205" y="625"/>
                    <a:pt x="3212" y="625"/>
                  </a:cubicBezTo>
                  <a:cubicBezTo>
                    <a:pt x="3219" y="625"/>
                    <a:pt x="3224" y="620"/>
                    <a:pt x="3222" y="615"/>
                  </a:cubicBezTo>
                  <a:cubicBezTo>
                    <a:pt x="3221" y="609"/>
                    <a:pt x="3214" y="604"/>
                    <a:pt x="3207" y="604"/>
                  </a:cubicBezTo>
                  <a:cubicBezTo>
                    <a:pt x="3207" y="604"/>
                    <a:pt x="3207" y="604"/>
                    <a:pt x="3207" y="604"/>
                  </a:cubicBezTo>
                  <a:moveTo>
                    <a:pt x="3244" y="604"/>
                  </a:moveTo>
                  <a:cubicBezTo>
                    <a:pt x="3237" y="604"/>
                    <a:pt x="3232" y="609"/>
                    <a:pt x="3234" y="614"/>
                  </a:cubicBezTo>
                  <a:cubicBezTo>
                    <a:pt x="3235" y="620"/>
                    <a:pt x="3242" y="625"/>
                    <a:pt x="3249" y="625"/>
                  </a:cubicBezTo>
                  <a:cubicBezTo>
                    <a:pt x="3257" y="625"/>
                    <a:pt x="3261" y="620"/>
                    <a:pt x="3260" y="614"/>
                  </a:cubicBezTo>
                  <a:cubicBezTo>
                    <a:pt x="3258" y="609"/>
                    <a:pt x="3251" y="604"/>
                    <a:pt x="3244" y="604"/>
                  </a:cubicBezTo>
                  <a:cubicBezTo>
                    <a:pt x="3244" y="604"/>
                    <a:pt x="3244" y="604"/>
                    <a:pt x="3244" y="604"/>
                  </a:cubicBezTo>
                  <a:moveTo>
                    <a:pt x="3281" y="604"/>
                  </a:moveTo>
                  <a:cubicBezTo>
                    <a:pt x="3273" y="604"/>
                    <a:pt x="3269" y="609"/>
                    <a:pt x="3271" y="614"/>
                  </a:cubicBezTo>
                  <a:cubicBezTo>
                    <a:pt x="3272" y="620"/>
                    <a:pt x="3279" y="624"/>
                    <a:pt x="3286" y="624"/>
                  </a:cubicBezTo>
                  <a:cubicBezTo>
                    <a:pt x="3293" y="624"/>
                    <a:pt x="3298" y="620"/>
                    <a:pt x="3296" y="614"/>
                  </a:cubicBezTo>
                  <a:cubicBezTo>
                    <a:pt x="3295" y="608"/>
                    <a:pt x="3288" y="604"/>
                    <a:pt x="3281" y="604"/>
                  </a:cubicBezTo>
                  <a:cubicBezTo>
                    <a:pt x="3281" y="604"/>
                    <a:pt x="3281" y="604"/>
                    <a:pt x="3281" y="604"/>
                  </a:cubicBezTo>
                  <a:moveTo>
                    <a:pt x="3317" y="604"/>
                  </a:moveTo>
                  <a:cubicBezTo>
                    <a:pt x="3310" y="604"/>
                    <a:pt x="3306" y="608"/>
                    <a:pt x="3307" y="614"/>
                  </a:cubicBezTo>
                  <a:cubicBezTo>
                    <a:pt x="3309" y="620"/>
                    <a:pt x="3316" y="624"/>
                    <a:pt x="3323" y="624"/>
                  </a:cubicBezTo>
                  <a:cubicBezTo>
                    <a:pt x="3331" y="624"/>
                    <a:pt x="3335" y="620"/>
                    <a:pt x="3333" y="614"/>
                  </a:cubicBezTo>
                  <a:cubicBezTo>
                    <a:pt x="3332" y="608"/>
                    <a:pt x="3325" y="604"/>
                    <a:pt x="3318" y="604"/>
                  </a:cubicBezTo>
                  <a:cubicBezTo>
                    <a:pt x="3318" y="604"/>
                    <a:pt x="3317" y="604"/>
                    <a:pt x="3317" y="604"/>
                  </a:cubicBezTo>
                  <a:moveTo>
                    <a:pt x="3354" y="604"/>
                  </a:moveTo>
                  <a:cubicBezTo>
                    <a:pt x="3347" y="604"/>
                    <a:pt x="3343" y="608"/>
                    <a:pt x="3344" y="614"/>
                  </a:cubicBezTo>
                  <a:cubicBezTo>
                    <a:pt x="3346" y="620"/>
                    <a:pt x="3353" y="624"/>
                    <a:pt x="3360" y="624"/>
                  </a:cubicBezTo>
                  <a:cubicBezTo>
                    <a:pt x="3368" y="624"/>
                    <a:pt x="3372" y="619"/>
                    <a:pt x="3370" y="614"/>
                  </a:cubicBezTo>
                  <a:cubicBezTo>
                    <a:pt x="3368" y="608"/>
                    <a:pt x="3361" y="604"/>
                    <a:pt x="3354" y="604"/>
                  </a:cubicBezTo>
                  <a:cubicBezTo>
                    <a:pt x="3354" y="604"/>
                    <a:pt x="3354" y="604"/>
                    <a:pt x="3354" y="604"/>
                  </a:cubicBezTo>
                  <a:moveTo>
                    <a:pt x="3391" y="603"/>
                  </a:moveTo>
                  <a:cubicBezTo>
                    <a:pt x="3384" y="603"/>
                    <a:pt x="3380" y="608"/>
                    <a:pt x="3381" y="614"/>
                  </a:cubicBezTo>
                  <a:cubicBezTo>
                    <a:pt x="3383" y="619"/>
                    <a:pt x="3390" y="624"/>
                    <a:pt x="3398" y="624"/>
                  </a:cubicBezTo>
                  <a:cubicBezTo>
                    <a:pt x="3405" y="624"/>
                    <a:pt x="3409" y="619"/>
                    <a:pt x="3407" y="613"/>
                  </a:cubicBezTo>
                  <a:cubicBezTo>
                    <a:pt x="3405" y="608"/>
                    <a:pt x="3398" y="603"/>
                    <a:pt x="3391" y="603"/>
                  </a:cubicBezTo>
                  <a:cubicBezTo>
                    <a:pt x="3391" y="603"/>
                    <a:pt x="3391" y="603"/>
                    <a:pt x="3391" y="603"/>
                  </a:cubicBezTo>
                  <a:moveTo>
                    <a:pt x="3428" y="603"/>
                  </a:moveTo>
                  <a:cubicBezTo>
                    <a:pt x="3421" y="603"/>
                    <a:pt x="3417" y="608"/>
                    <a:pt x="3419" y="613"/>
                  </a:cubicBezTo>
                  <a:cubicBezTo>
                    <a:pt x="3421" y="619"/>
                    <a:pt x="3428" y="624"/>
                    <a:pt x="3435" y="624"/>
                  </a:cubicBezTo>
                  <a:cubicBezTo>
                    <a:pt x="3442" y="624"/>
                    <a:pt x="3447" y="619"/>
                    <a:pt x="3445" y="613"/>
                  </a:cubicBezTo>
                  <a:cubicBezTo>
                    <a:pt x="3443" y="608"/>
                    <a:pt x="3435" y="603"/>
                    <a:pt x="3428" y="603"/>
                  </a:cubicBezTo>
                  <a:cubicBezTo>
                    <a:pt x="3428" y="603"/>
                    <a:pt x="3428" y="603"/>
                    <a:pt x="3428" y="603"/>
                  </a:cubicBezTo>
                  <a:moveTo>
                    <a:pt x="3465" y="603"/>
                  </a:moveTo>
                  <a:cubicBezTo>
                    <a:pt x="3458" y="603"/>
                    <a:pt x="3454" y="608"/>
                    <a:pt x="3456" y="613"/>
                  </a:cubicBezTo>
                  <a:cubicBezTo>
                    <a:pt x="3457" y="619"/>
                    <a:pt x="3465" y="623"/>
                    <a:pt x="3472" y="623"/>
                  </a:cubicBezTo>
                  <a:cubicBezTo>
                    <a:pt x="3479" y="623"/>
                    <a:pt x="3483" y="619"/>
                    <a:pt x="3481" y="613"/>
                  </a:cubicBezTo>
                  <a:cubicBezTo>
                    <a:pt x="3479" y="607"/>
                    <a:pt x="3472" y="603"/>
                    <a:pt x="3465" y="603"/>
                  </a:cubicBezTo>
                  <a:cubicBezTo>
                    <a:pt x="3465" y="603"/>
                    <a:pt x="3465" y="603"/>
                    <a:pt x="3465" y="603"/>
                  </a:cubicBezTo>
                  <a:moveTo>
                    <a:pt x="3502" y="603"/>
                  </a:moveTo>
                  <a:cubicBezTo>
                    <a:pt x="3495" y="603"/>
                    <a:pt x="3490" y="607"/>
                    <a:pt x="3492" y="613"/>
                  </a:cubicBezTo>
                  <a:cubicBezTo>
                    <a:pt x="3494" y="619"/>
                    <a:pt x="3502" y="623"/>
                    <a:pt x="3509" y="623"/>
                  </a:cubicBezTo>
                  <a:cubicBezTo>
                    <a:pt x="3516" y="623"/>
                    <a:pt x="3520" y="619"/>
                    <a:pt x="3518" y="613"/>
                  </a:cubicBezTo>
                  <a:cubicBezTo>
                    <a:pt x="3516" y="607"/>
                    <a:pt x="3509" y="603"/>
                    <a:pt x="3502" y="603"/>
                  </a:cubicBezTo>
                  <a:cubicBezTo>
                    <a:pt x="3502" y="603"/>
                    <a:pt x="3502" y="603"/>
                    <a:pt x="3502" y="603"/>
                  </a:cubicBezTo>
                  <a:moveTo>
                    <a:pt x="3538" y="602"/>
                  </a:moveTo>
                  <a:cubicBezTo>
                    <a:pt x="3531" y="602"/>
                    <a:pt x="3527" y="607"/>
                    <a:pt x="3529" y="613"/>
                  </a:cubicBezTo>
                  <a:cubicBezTo>
                    <a:pt x="3531" y="618"/>
                    <a:pt x="3539" y="623"/>
                    <a:pt x="3546" y="623"/>
                  </a:cubicBezTo>
                  <a:cubicBezTo>
                    <a:pt x="3553" y="623"/>
                    <a:pt x="3557" y="618"/>
                    <a:pt x="3555" y="613"/>
                  </a:cubicBezTo>
                  <a:cubicBezTo>
                    <a:pt x="3553" y="607"/>
                    <a:pt x="3546" y="602"/>
                    <a:pt x="3538" y="602"/>
                  </a:cubicBezTo>
                  <a:cubicBezTo>
                    <a:pt x="3538" y="602"/>
                    <a:pt x="3538" y="602"/>
                    <a:pt x="3538" y="602"/>
                  </a:cubicBezTo>
                  <a:moveTo>
                    <a:pt x="3575" y="602"/>
                  </a:moveTo>
                  <a:cubicBezTo>
                    <a:pt x="3568" y="602"/>
                    <a:pt x="3564" y="607"/>
                    <a:pt x="3566" y="613"/>
                  </a:cubicBezTo>
                  <a:cubicBezTo>
                    <a:pt x="3568" y="618"/>
                    <a:pt x="3576" y="623"/>
                    <a:pt x="3583" y="623"/>
                  </a:cubicBezTo>
                  <a:cubicBezTo>
                    <a:pt x="3590" y="623"/>
                    <a:pt x="3594" y="618"/>
                    <a:pt x="3592" y="612"/>
                  </a:cubicBezTo>
                  <a:cubicBezTo>
                    <a:pt x="3590" y="607"/>
                    <a:pt x="3583" y="602"/>
                    <a:pt x="3575" y="602"/>
                  </a:cubicBezTo>
                  <a:cubicBezTo>
                    <a:pt x="3575" y="602"/>
                    <a:pt x="3575" y="602"/>
                    <a:pt x="3575" y="602"/>
                  </a:cubicBezTo>
                  <a:moveTo>
                    <a:pt x="3613" y="602"/>
                  </a:moveTo>
                  <a:cubicBezTo>
                    <a:pt x="3605" y="602"/>
                    <a:pt x="3601" y="607"/>
                    <a:pt x="3604" y="612"/>
                  </a:cubicBezTo>
                  <a:cubicBezTo>
                    <a:pt x="3606" y="618"/>
                    <a:pt x="3614" y="623"/>
                    <a:pt x="3621" y="623"/>
                  </a:cubicBezTo>
                  <a:cubicBezTo>
                    <a:pt x="3628" y="622"/>
                    <a:pt x="3632" y="618"/>
                    <a:pt x="3630" y="612"/>
                  </a:cubicBezTo>
                  <a:cubicBezTo>
                    <a:pt x="3627" y="607"/>
                    <a:pt x="3620" y="602"/>
                    <a:pt x="3613" y="602"/>
                  </a:cubicBezTo>
                  <a:cubicBezTo>
                    <a:pt x="3613" y="602"/>
                    <a:pt x="3613" y="602"/>
                    <a:pt x="3613" y="602"/>
                  </a:cubicBezTo>
                  <a:moveTo>
                    <a:pt x="3649" y="601"/>
                  </a:moveTo>
                  <a:cubicBezTo>
                    <a:pt x="3642" y="601"/>
                    <a:pt x="3638" y="606"/>
                    <a:pt x="3641" y="612"/>
                  </a:cubicBezTo>
                  <a:cubicBezTo>
                    <a:pt x="3643" y="617"/>
                    <a:pt x="3651" y="622"/>
                    <a:pt x="3658" y="622"/>
                  </a:cubicBezTo>
                  <a:cubicBezTo>
                    <a:pt x="3665" y="622"/>
                    <a:pt x="3669" y="617"/>
                    <a:pt x="3666" y="612"/>
                  </a:cubicBezTo>
                  <a:cubicBezTo>
                    <a:pt x="3664" y="606"/>
                    <a:pt x="3656" y="601"/>
                    <a:pt x="3649" y="601"/>
                  </a:cubicBezTo>
                  <a:cubicBezTo>
                    <a:pt x="3649" y="601"/>
                    <a:pt x="3649" y="601"/>
                    <a:pt x="3649" y="601"/>
                  </a:cubicBezTo>
                  <a:moveTo>
                    <a:pt x="3686" y="601"/>
                  </a:moveTo>
                  <a:cubicBezTo>
                    <a:pt x="3679" y="601"/>
                    <a:pt x="3675" y="606"/>
                    <a:pt x="3677" y="612"/>
                  </a:cubicBezTo>
                  <a:cubicBezTo>
                    <a:pt x="3680" y="617"/>
                    <a:pt x="3687" y="622"/>
                    <a:pt x="3695" y="622"/>
                  </a:cubicBezTo>
                  <a:cubicBezTo>
                    <a:pt x="3702" y="622"/>
                    <a:pt x="3706" y="617"/>
                    <a:pt x="3703" y="611"/>
                  </a:cubicBezTo>
                  <a:cubicBezTo>
                    <a:pt x="3701" y="606"/>
                    <a:pt x="3693" y="601"/>
                    <a:pt x="3686" y="601"/>
                  </a:cubicBezTo>
                  <a:cubicBezTo>
                    <a:pt x="3686" y="601"/>
                    <a:pt x="3686" y="601"/>
                    <a:pt x="3686" y="601"/>
                  </a:cubicBezTo>
                  <a:moveTo>
                    <a:pt x="3723" y="601"/>
                  </a:moveTo>
                  <a:cubicBezTo>
                    <a:pt x="3716" y="601"/>
                    <a:pt x="3712" y="606"/>
                    <a:pt x="3714" y="611"/>
                  </a:cubicBezTo>
                  <a:cubicBezTo>
                    <a:pt x="3717" y="617"/>
                    <a:pt x="3725" y="622"/>
                    <a:pt x="3732" y="622"/>
                  </a:cubicBezTo>
                  <a:cubicBezTo>
                    <a:pt x="3739" y="622"/>
                    <a:pt x="3743" y="617"/>
                    <a:pt x="3740" y="611"/>
                  </a:cubicBezTo>
                  <a:cubicBezTo>
                    <a:pt x="3738" y="606"/>
                    <a:pt x="3730" y="601"/>
                    <a:pt x="3723" y="601"/>
                  </a:cubicBezTo>
                  <a:cubicBezTo>
                    <a:pt x="3723" y="601"/>
                    <a:pt x="3723" y="601"/>
                    <a:pt x="3723" y="601"/>
                  </a:cubicBezTo>
                  <a:moveTo>
                    <a:pt x="3762" y="601"/>
                  </a:moveTo>
                  <a:cubicBezTo>
                    <a:pt x="3755" y="601"/>
                    <a:pt x="3751" y="605"/>
                    <a:pt x="3754" y="611"/>
                  </a:cubicBezTo>
                  <a:cubicBezTo>
                    <a:pt x="3756" y="617"/>
                    <a:pt x="3764" y="621"/>
                    <a:pt x="3771" y="621"/>
                  </a:cubicBezTo>
                  <a:cubicBezTo>
                    <a:pt x="3778" y="621"/>
                    <a:pt x="3782" y="617"/>
                    <a:pt x="3779" y="611"/>
                  </a:cubicBezTo>
                  <a:cubicBezTo>
                    <a:pt x="3777" y="605"/>
                    <a:pt x="3769" y="601"/>
                    <a:pt x="3762" y="601"/>
                  </a:cubicBezTo>
                  <a:cubicBezTo>
                    <a:pt x="3762" y="601"/>
                    <a:pt x="3762" y="601"/>
                    <a:pt x="3762" y="601"/>
                  </a:cubicBezTo>
                  <a:moveTo>
                    <a:pt x="3798" y="601"/>
                  </a:moveTo>
                  <a:cubicBezTo>
                    <a:pt x="3791" y="601"/>
                    <a:pt x="3787" y="605"/>
                    <a:pt x="3790" y="611"/>
                  </a:cubicBezTo>
                  <a:cubicBezTo>
                    <a:pt x="3793" y="617"/>
                    <a:pt x="3801" y="621"/>
                    <a:pt x="3808" y="621"/>
                  </a:cubicBezTo>
                  <a:cubicBezTo>
                    <a:pt x="3815" y="621"/>
                    <a:pt x="3819" y="616"/>
                    <a:pt x="3816" y="611"/>
                  </a:cubicBezTo>
                  <a:cubicBezTo>
                    <a:pt x="3813" y="605"/>
                    <a:pt x="3805" y="601"/>
                    <a:pt x="3798" y="601"/>
                  </a:cubicBezTo>
                  <a:cubicBezTo>
                    <a:pt x="3798" y="601"/>
                    <a:pt x="3798" y="601"/>
                    <a:pt x="3798" y="601"/>
                  </a:cubicBezTo>
                  <a:moveTo>
                    <a:pt x="3835" y="600"/>
                  </a:moveTo>
                  <a:cubicBezTo>
                    <a:pt x="3828" y="600"/>
                    <a:pt x="3824" y="605"/>
                    <a:pt x="3827" y="611"/>
                  </a:cubicBezTo>
                  <a:cubicBezTo>
                    <a:pt x="3829" y="616"/>
                    <a:pt x="3837" y="621"/>
                    <a:pt x="3845" y="621"/>
                  </a:cubicBezTo>
                  <a:cubicBezTo>
                    <a:pt x="3852" y="621"/>
                    <a:pt x="3855" y="616"/>
                    <a:pt x="3853" y="611"/>
                  </a:cubicBezTo>
                  <a:cubicBezTo>
                    <a:pt x="3850" y="605"/>
                    <a:pt x="3842" y="600"/>
                    <a:pt x="3835" y="600"/>
                  </a:cubicBezTo>
                  <a:cubicBezTo>
                    <a:pt x="3835" y="600"/>
                    <a:pt x="3835" y="600"/>
                    <a:pt x="3835" y="600"/>
                  </a:cubicBezTo>
                  <a:moveTo>
                    <a:pt x="3872" y="600"/>
                  </a:moveTo>
                  <a:cubicBezTo>
                    <a:pt x="3865" y="600"/>
                    <a:pt x="3861" y="605"/>
                    <a:pt x="3864" y="611"/>
                  </a:cubicBezTo>
                  <a:cubicBezTo>
                    <a:pt x="3867" y="616"/>
                    <a:pt x="3875" y="621"/>
                    <a:pt x="3882" y="621"/>
                  </a:cubicBezTo>
                  <a:cubicBezTo>
                    <a:pt x="3889" y="621"/>
                    <a:pt x="3892" y="616"/>
                    <a:pt x="3890" y="610"/>
                  </a:cubicBezTo>
                  <a:cubicBezTo>
                    <a:pt x="3887" y="605"/>
                    <a:pt x="3879" y="600"/>
                    <a:pt x="3872" y="600"/>
                  </a:cubicBezTo>
                  <a:cubicBezTo>
                    <a:pt x="3872" y="600"/>
                    <a:pt x="3872" y="600"/>
                    <a:pt x="3872" y="600"/>
                  </a:cubicBezTo>
                  <a:moveTo>
                    <a:pt x="3909" y="600"/>
                  </a:moveTo>
                  <a:cubicBezTo>
                    <a:pt x="3902" y="600"/>
                    <a:pt x="3898" y="605"/>
                    <a:pt x="3901" y="610"/>
                  </a:cubicBezTo>
                  <a:cubicBezTo>
                    <a:pt x="3904" y="616"/>
                    <a:pt x="3912" y="621"/>
                    <a:pt x="3919" y="621"/>
                  </a:cubicBezTo>
                  <a:cubicBezTo>
                    <a:pt x="3926" y="620"/>
                    <a:pt x="3930" y="616"/>
                    <a:pt x="3927" y="610"/>
                  </a:cubicBezTo>
                  <a:cubicBezTo>
                    <a:pt x="3924" y="604"/>
                    <a:pt x="3916" y="600"/>
                    <a:pt x="3909" y="600"/>
                  </a:cubicBezTo>
                  <a:cubicBezTo>
                    <a:pt x="3909" y="600"/>
                    <a:pt x="3909" y="600"/>
                    <a:pt x="3909" y="600"/>
                  </a:cubicBezTo>
                  <a:moveTo>
                    <a:pt x="3946" y="600"/>
                  </a:moveTo>
                  <a:cubicBezTo>
                    <a:pt x="3938" y="600"/>
                    <a:pt x="3935" y="604"/>
                    <a:pt x="3938" y="610"/>
                  </a:cubicBezTo>
                  <a:cubicBezTo>
                    <a:pt x="3941" y="616"/>
                    <a:pt x="3949" y="620"/>
                    <a:pt x="3956" y="620"/>
                  </a:cubicBezTo>
                  <a:cubicBezTo>
                    <a:pt x="3963" y="620"/>
                    <a:pt x="3967" y="616"/>
                    <a:pt x="3964" y="610"/>
                  </a:cubicBezTo>
                  <a:cubicBezTo>
                    <a:pt x="3961" y="604"/>
                    <a:pt x="3953" y="600"/>
                    <a:pt x="3946" y="600"/>
                  </a:cubicBezTo>
                  <a:cubicBezTo>
                    <a:pt x="3946" y="600"/>
                    <a:pt x="3946" y="600"/>
                    <a:pt x="3946" y="600"/>
                  </a:cubicBezTo>
                  <a:moveTo>
                    <a:pt x="4055" y="599"/>
                  </a:moveTo>
                  <a:cubicBezTo>
                    <a:pt x="4048" y="599"/>
                    <a:pt x="4045" y="604"/>
                    <a:pt x="4048" y="610"/>
                  </a:cubicBezTo>
                  <a:cubicBezTo>
                    <a:pt x="4051" y="615"/>
                    <a:pt x="4059" y="620"/>
                    <a:pt x="4066" y="620"/>
                  </a:cubicBezTo>
                  <a:cubicBezTo>
                    <a:pt x="4073" y="620"/>
                    <a:pt x="4077" y="615"/>
                    <a:pt x="4073" y="610"/>
                  </a:cubicBezTo>
                  <a:cubicBezTo>
                    <a:pt x="4070" y="604"/>
                    <a:pt x="4062" y="599"/>
                    <a:pt x="4055" y="599"/>
                  </a:cubicBezTo>
                  <a:cubicBezTo>
                    <a:pt x="4055" y="599"/>
                    <a:pt x="4055" y="599"/>
                    <a:pt x="4055" y="599"/>
                  </a:cubicBezTo>
                  <a:moveTo>
                    <a:pt x="4092" y="599"/>
                  </a:moveTo>
                  <a:cubicBezTo>
                    <a:pt x="4085" y="599"/>
                    <a:pt x="4081" y="604"/>
                    <a:pt x="4085" y="610"/>
                  </a:cubicBezTo>
                  <a:cubicBezTo>
                    <a:pt x="4088" y="615"/>
                    <a:pt x="4096" y="620"/>
                    <a:pt x="4103" y="620"/>
                  </a:cubicBezTo>
                  <a:cubicBezTo>
                    <a:pt x="4111" y="620"/>
                    <a:pt x="4114" y="615"/>
                    <a:pt x="4111" y="609"/>
                  </a:cubicBezTo>
                  <a:cubicBezTo>
                    <a:pt x="4107" y="604"/>
                    <a:pt x="4099" y="599"/>
                    <a:pt x="4092" y="599"/>
                  </a:cubicBezTo>
                  <a:cubicBezTo>
                    <a:pt x="4092" y="599"/>
                    <a:pt x="4092" y="599"/>
                    <a:pt x="4092" y="599"/>
                  </a:cubicBezTo>
                  <a:moveTo>
                    <a:pt x="4166" y="599"/>
                  </a:moveTo>
                  <a:cubicBezTo>
                    <a:pt x="4159" y="599"/>
                    <a:pt x="4156" y="603"/>
                    <a:pt x="4159" y="609"/>
                  </a:cubicBezTo>
                  <a:cubicBezTo>
                    <a:pt x="4163" y="615"/>
                    <a:pt x="4171" y="619"/>
                    <a:pt x="4178" y="619"/>
                  </a:cubicBezTo>
                  <a:cubicBezTo>
                    <a:pt x="4185" y="619"/>
                    <a:pt x="4188" y="615"/>
                    <a:pt x="4185" y="609"/>
                  </a:cubicBezTo>
                  <a:cubicBezTo>
                    <a:pt x="4182" y="603"/>
                    <a:pt x="4173" y="599"/>
                    <a:pt x="4166" y="599"/>
                  </a:cubicBezTo>
                  <a:cubicBezTo>
                    <a:pt x="4166" y="599"/>
                    <a:pt x="4166" y="599"/>
                    <a:pt x="4166" y="599"/>
                  </a:cubicBezTo>
                  <a:moveTo>
                    <a:pt x="4206" y="599"/>
                  </a:moveTo>
                  <a:cubicBezTo>
                    <a:pt x="4199" y="599"/>
                    <a:pt x="4196" y="603"/>
                    <a:pt x="4200" y="609"/>
                  </a:cubicBezTo>
                  <a:cubicBezTo>
                    <a:pt x="4203" y="615"/>
                    <a:pt x="4212" y="619"/>
                    <a:pt x="4219" y="619"/>
                  </a:cubicBezTo>
                  <a:cubicBezTo>
                    <a:pt x="4226" y="619"/>
                    <a:pt x="4229" y="614"/>
                    <a:pt x="4225" y="609"/>
                  </a:cubicBezTo>
                  <a:cubicBezTo>
                    <a:pt x="4222" y="603"/>
                    <a:pt x="4213" y="599"/>
                    <a:pt x="4206" y="599"/>
                  </a:cubicBezTo>
                  <a:cubicBezTo>
                    <a:pt x="4206" y="599"/>
                    <a:pt x="4206" y="599"/>
                    <a:pt x="4206" y="599"/>
                  </a:cubicBezTo>
                  <a:moveTo>
                    <a:pt x="4239" y="598"/>
                  </a:moveTo>
                  <a:cubicBezTo>
                    <a:pt x="4232" y="598"/>
                    <a:pt x="4229" y="603"/>
                    <a:pt x="4233" y="609"/>
                  </a:cubicBezTo>
                  <a:cubicBezTo>
                    <a:pt x="4236" y="614"/>
                    <a:pt x="4245" y="619"/>
                    <a:pt x="4252" y="619"/>
                  </a:cubicBezTo>
                  <a:cubicBezTo>
                    <a:pt x="4259" y="619"/>
                    <a:pt x="4262" y="614"/>
                    <a:pt x="4259" y="609"/>
                  </a:cubicBezTo>
                  <a:cubicBezTo>
                    <a:pt x="4255" y="603"/>
                    <a:pt x="4246" y="598"/>
                    <a:pt x="4239" y="598"/>
                  </a:cubicBezTo>
                  <a:cubicBezTo>
                    <a:pt x="4239" y="598"/>
                    <a:pt x="4239" y="598"/>
                    <a:pt x="4239" y="598"/>
                  </a:cubicBezTo>
                  <a:moveTo>
                    <a:pt x="123" y="595"/>
                  </a:moveTo>
                  <a:cubicBezTo>
                    <a:pt x="116" y="595"/>
                    <a:pt x="107" y="599"/>
                    <a:pt x="102" y="605"/>
                  </a:cubicBezTo>
                  <a:cubicBezTo>
                    <a:pt x="97" y="611"/>
                    <a:pt x="99" y="615"/>
                    <a:pt x="106" y="615"/>
                  </a:cubicBezTo>
                  <a:cubicBezTo>
                    <a:pt x="113" y="615"/>
                    <a:pt x="123" y="610"/>
                    <a:pt x="128" y="605"/>
                  </a:cubicBezTo>
                  <a:cubicBezTo>
                    <a:pt x="132" y="599"/>
                    <a:pt x="130" y="595"/>
                    <a:pt x="123" y="595"/>
                  </a:cubicBezTo>
                  <a:cubicBezTo>
                    <a:pt x="123" y="595"/>
                    <a:pt x="123" y="595"/>
                    <a:pt x="123" y="595"/>
                  </a:cubicBezTo>
                  <a:moveTo>
                    <a:pt x="160" y="595"/>
                  </a:moveTo>
                  <a:cubicBezTo>
                    <a:pt x="153" y="595"/>
                    <a:pt x="143" y="599"/>
                    <a:pt x="139" y="605"/>
                  </a:cubicBezTo>
                  <a:cubicBezTo>
                    <a:pt x="134" y="610"/>
                    <a:pt x="136" y="615"/>
                    <a:pt x="143" y="615"/>
                  </a:cubicBezTo>
                  <a:cubicBezTo>
                    <a:pt x="150" y="615"/>
                    <a:pt x="160" y="610"/>
                    <a:pt x="164" y="605"/>
                  </a:cubicBezTo>
                  <a:cubicBezTo>
                    <a:pt x="169" y="599"/>
                    <a:pt x="167" y="595"/>
                    <a:pt x="160" y="595"/>
                  </a:cubicBezTo>
                  <a:cubicBezTo>
                    <a:pt x="160" y="595"/>
                    <a:pt x="160" y="595"/>
                    <a:pt x="160" y="595"/>
                  </a:cubicBezTo>
                  <a:moveTo>
                    <a:pt x="198" y="594"/>
                  </a:moveTo>
                  <a:cubicBezTo>
                    <a:pt x="191" y="594"/>
                    <a:pt x="182" y="599"/>
                    <a:pt x="177" y="604"/>
                  </a:cubicBezTo>
                  <a:cubicBezTo>
                    <a:pt x="172" y="610"/>
                    <a:pt x="174" y="615"/>
                    <a:pt x="182" y="615"/>
                  </a:cubicBezTo>
                  <a:cubicBezTo>
                    <a:pt x="189" y="614"/>
                    <a:pt x="198" y="610"/>
                    <a:pt x="203" y="604"/>
                  </a:cubicBezTo>
                  <a:cubicBezTo>
                    <a:pt x="207" y="599"/>
                    <a:pt x="205" y="594"/>
                    <a:pt x="198" y="594"/>
                  </a:cubicBezTo>
                  <a:cubicBezTo>
                    <a:pt x="198" y="594"/>
                    <a:pt x="198" y="594"/>
                    <a:pt x="198" y="594"/>
                  </a:cubicBezTo>
                  <a:moveTo>
                    <a:pt x="235" y="594"/>
                  </a:moveTo>
                  <a:cubicBezTo>
                    <a:pt x="228" y="594"/>
                    <a:pt x="218" y="599"/>
                    <a:pt x="214" y="604"/>
                  </a:cubicBezTo>
                  <a:cubicBezTo>
                    <a:pt x="209" y="610"/>
                    <a:pt x="211" y="614"/>
                    <a:pt x="218" y="614"/>
                  </a:cubicBezTo>
                  <a:cubicBezTo>
                    <a:pt x="226" y="614"/>
                    <a:pt x="235" y="610"/>
                    <a:pt x="239" y="604"/>
                  </a:cubicBezTo>
                  <a:cubicBezTo>
                    <a:pt x="244" y="599"/>
                    <a:pt x="242" y="594"/>
                    <a:pt x="235" y="594"/>
                  </a:cubicBezTo>
                  <a:cubicBezTo>
                    <a:pt x="235" y="594"/>
                    <a:pt x="235" y="594"/>
                    <a:pt x="235" y="594"/>
                  </a:cubicBezTo>
                  <a:moveTo>
                    <a:pt x="271" y="594"/>
                  </a:moveTo>
                  <a:cubicBezTo>
                    <a:pt x="264" y="594"/>
                    <a:pt x="255" y="598"/>
                    <a:pt x="250" y="604"/>
                  </a:cubicBezTo>
                  <a:cubicBezTo>
                    <a:pt x="246" y="610"/>
                    <a:pt x="248" y="614"/>
                    <a:pt x="255" y="614"/>
                  </a:cubicBezTo>
                  <a:cubicBezTo>
                    <a:pt x="262" y="614"/>
                    <a:pt x="272" y="609"/>
                    <a:pt x="276" y="604"/>
                  </a:cubicBezTo>
                  <a:cubicBezTo>
                    <a:pt x="281" y="598"/>
                    <a:pt x="278" y="594"/>
                    <a:pt x="271" y="594"/>
                  </a:cubicBezTo>
                  <a:cubicBezTo>
                    <a:pt x="271" y="594"/>
                    <a:pt x="271" y="594"/>
                    <a:pt x="271" y="594"/>
                  </a:cubicBezTo>
                  <a:moveTo>
                    <a:pt x="308" y="594"/>
                  </a:moveTo>
                  <a:cubicBezTo>
                    <a:pt x="301" y="594"/>
                    <a:pt x="291" y="598"/>
                    <a:pt x="287" y="604"/>
                  </a:cubicBezTo>
                  <a:cubicBezTo>
                    <a:pt x="283" y="609"/>
                    <a:pt x="285" y="614"/>
                    <a:pt x="292" y="614"/>
                  </a:cubicBezTo>
                  <a:cubicBezTo>
                    <a:pt x="299" y="614"/>
                    <a:pt x="309" y="609"/>
                    <a:pt x="313" y="604"/>
                  </a:cubicBezTo>
                  <a:cubicBezTo>
                    <a:pt x="317" y="598"/>
                    <a:pt x="315" y="594"/>
                    <a:pt x="308" y="594"/>
                  </a:cubicBezTo>
                  <a:cubicBezTo>
                    <a:pt x="308" y="594"/>
                    <a:pt x="308" y="594"/>
                    <a:pt x="308" y="594"/>
                  </a:cubicBezTo>
                  <a:moveTo>
                    <a:pt x="345" y="593"/>
                  </a:moveTo>
                  <a:cubicBezTo>
                    <a:pt x="338" y="593"/>
                    <a:pt x="328" y="598"/>
                    <a:pt x="324" y="604"/>
                  </a:cubicBezTo>
                  <a:cubicBezTo>
                    <a:pt x="320" y="609"/>
                    <a:pt x="322" y="614"/>
                    <a:pt x="329" y="614"/>
                  </a:cubicBezTo>
                  <a:cubicBezTo>
                    <a:pt x="336" y="614"/>
                    <a:pt x="346" y="609"/>
                    <a:pt x="350" y="603"/>
                  </a:cubicBezTo>
                  <a:cubicBezTo>
                    <a:pt x="354" y="598"/>
                    <a:pt x="352" y="593"/>
                    <a:pt x="345" y="593"/>
                  </a:cubicBezTo>
                  <a:cubicBezTo>
                    <a:pt x="345" y="593"/>
                    <a:pt x="345" y="593"/>
                    <a:pt x="345" y="593"/>
                  </a:cubicBezTo>
                  <a:moveTo>
                    <a:pt x="383" y="593"/>
                  </a:moveTo>
                  <a:cubicBezTo>
                    <a:pt x="375" y="593"/>
                    <a:pt x="366" y="598"/>
                    <a:pt x="362" y="603"/>
                  </a:cubicBezTo>
                  <a:cubicBezTo>
                    <a:pt x="358" y="609"/>
                    <a:pt x="360" y="613"/>
                    <a:pt x="367" y="613"/>
                  </a:cubicBezTo>
                  <a:cubicBezTo>
                    <a:pt x="374" y="613"/>
                    <a:pt x="384" y="609"/>
                    <a:pt x="388" y="603"/>
                  </a:cubicBezTo>
                  <a:cubicBezTo>
                    <a:pt x="392" y="598"/>
                    <a:pt x="390" y="593"/>
                    <a:pt x="383" y="593"/>
                  </a:cubicBezTo>
                  <a:cubicBezTo>
                    <a:pt x="383" y="593"/>
                    <a:pt x="383" y="593"/>
                    <a:pt x="383" y="593"/>
                  </a:cubicBezTo>
                  <a:moveTo>
                    <a:pt x="419" y="593"/>
                  </a:moveTo>
                  <a:cubicBezTo>
                    <a:pt x="412" y="593"/>
                    <a:pt x="403" y="598"/>
                    <a:pt x="399" y="603"/>
                  </a:cubicBezTo>
                  <a:cubicBezTo>
                    <a:pt x="395" y="609"/>
                    <a:pt x="397" y="613"/>
                    <a:pt x="404" y="613"/>
                  </a:cubicBezTo>
                  <a:cubicBezTo>
                    <a:pt x="411" y="613"/>
                    <a:pt x="420" y="609"/>
                    <a:pt x="425" y="603"/>
                  </a:cubicBezTo>
                  <a:cubicBezTo>
                    <a:pt x="429" y="597"/>
                    <a:pt x="426" y="593"/>
                    <a:pt x="419" y="593"/>
                  </a:cubicBezTo>
                  <a:cubicBezTo>
                    <a:pt x="419" y="593"/>
                    <a:pt x="419" y="593"/>
                    <a:pt x="419" y="593"/>
                  </a:cubicBezTo>
                  <a:moveTo>
                    <a:pt x="456" y="593"/>
                  </a:moveTo>
                  <a:cubicBezTo>
                    <a:pt x="449" y="593"/>
                    <a:pt x="440" y="597"/>
                    <a:pt x="436" y="603"/>
                  </a:cubicBezTo>
                  <a:cubicBezTo>
                    <a:pt x="432" y="609"/>
                    <a:pt x="434" y="613"/>
                    <a:pt x="441" y="613"/>
                  </a:cubicBezTo>
                  <a:cubicBezTo>
                    <a:pt x="448" y="613"/>
                    <a:pt x="457" y="608"/>
                    <a:pt x="461" y="603"/>
                  </a:cubicBezTo>
                  <a:cubicBezTo>
                    <a:pt x="465" y="597"/>
                    <a:pt x="463" y="593"/>
                    <a:pt x="456" y="593"/>
                  </a:cubicBezTo>
                  <a:cubicBezTo>
                    <a:pt x="456" y="593"/>
                    <a:pt x="456" y="593"/>
                    <a:pt x="456" y="593"/>
                  </a:cubicBezTo>
                  <a:moveTo>
                    <a:pt x="493" y="593"/>
                  </a:moveTo>
                  <a:cubicBezTo>
                    <a:pt x="486" y="593"/>
                    <a:pt x="477" y="597"/>
                    <a:pt x="473" y="603"/>
                  </a:cubicBezTo>
                  <a:cubicBezTo>
                    <a:pt x="469" y="608"/>
                    <a:pt x="471" y="613"/>
                    <a:pt x="479" y="613"/>
                  </a:cubicBezTo>
                  <a:cubicBezTo>
                    <a:pt x="486" y="613"/>
                    <a:pt x="495" y="608"/>
                    <a:pt x="499" y="603"/>
                  </a:cubicBezTo>
                  <a:cubicBezTo>
                    <a:pt x="503" y="597"/>
                    <a:pt x="500" y="593"/>
                    <a:pt x="493" y="593"/>
                  </a:cubicBezTo>
                  <a:cubicBezTo>
                    <a:pt x="493" y="593"/>
                    <a:pt x="493" y="593"/>
                    <a:pt x="493" y="593"/>
                  </a:cubicBezTo>
                  <a:moveTo>
                    <a:pt x="529" y="592"/>
                  </a:moveTo>
                  <a:cubicBezTo>
                    <a:pt x="522" y="592"/>
                    <a:pt x="513" y="597"/>
                    <a:pt x="510" y="602"/>
                  </a:cubicBezTo>
                  <a:cubicBezTo>
                    <a:pt x="506" y="608"/>
                    <a:pt x="508" y="613"/>
                    <a:pt x="515" y="613"/>
                  </a:cubicBezTo>
                  <a:cubicBezTo>
                    <a:pt x="522" y="613"/>
                    <a:pt x="531" y="608"/>
                    <a:pt x="535" y="602"/>
                  </a:cubicBezTo>
                  <a:cubicBezTo>
                    <a:pt x="539" y="597"/>
                    <a:pt x="537" y="592"/>
                    <a:pt x="530" y="592"/>
                  </a:cubicBezTo>
                  <a:cubicBezTo>
                    <a:pt x="530" y="592"/>
                    <a:pt x="530" y="592"/>
                    <a:pt x="529" y="592"/>
                  </a:cubicBezTo>
                  <a:moveTo>
                    <a:pt x="566" y="592"/>
                  </a:moveTo>
                  <a:cubicBezTo>
                    <a:pt x="559" y="592"/>
                    <a:pt x="550" y="597"/>
                    <a:pt x="546" y="602"/>
                  </a:cubicBezTo>
                  <a:cubicBezTo>
                    <a:pt x="542" y="608"/>
                    <a:pt x="545" y="612"/>
                    <a:pt x="552" y="612"/>
                  </a:cubicBezTo>
                  <a:cubicBezTo>
                    <a:pt x="559" y="612"/>
                    <a:pt x="568" y="608"/>
                    <a:pt x="572" y="602"/>
                  </a:cubicBezTo>
                  <a:cubicBezTo>
                    <a:pt x="576" y="597"/>
                    <a:pt x="573" y="592"/>
                    <a:pt x="566" y="592"/>
                  </a:cubicBezTo>
                  <a:cubicBezTo>
                    <a:pt x="566" y="592"/>
                    <a:pt x="566" y="592"/>
                    <a:pt x="566" y="592"/>
                  </a:cubicBezTo>
                  <a:moveTo>
                    <a:pt x="603" y="592"/>
                  </a:moveTo>
                  <a:cubicBezTo>
                    <a:pt x="596" y="592"/>
                    <a:pt x="587" y="596"/>
                    <a:pt x="583" y="602"/>
                  </a:cubicBezTo>
                  <a:cubicBezTo>
                    <a:pt x="579" y="608"/>
                    <a:pt x="582" y="612"/>
                    <a:pt x="589" y="612"/>
                  </a:cubicBezTo>
                  <a:cubicBezTo>
                    <a:pt x="596" y="612"/>
                    <a:pt x="605" y="608"/>
                    <a:pt x="609" y="602"/>
                  </a:cubicBezTo>
                  <a:cubicBezTo>
                    <a:pt x="612" y="596"/>
                    <a:pt x="610" y="592"/>
                    <a:pt x="603" y="592"/>
                  </a:cubicBezTo>
                  <a:cubicBezTo>
                    <a:pt x="603" y="592"/>
                    <a:pt x="603" y="592"/>
                    <a:pt x="603" y="592"/>
                  </a:cubicBezTo>
                  <a:moveTo>
                    <a:pt x="639" y="592"/>
                  </a:moveTo>
                  <a:cubicBezTo>
                    <a:pt x="632" y="592"/>
                    <a:pt x="624" y="596"/>
                    <a:pt x="620" y="602"/>
                  </a:cubicBezTo>
                  <a:cubicBezTo>
                    <a:pt x="616" y="607"/>
                    <a:pt x="619" y="612"/>
                    <a:pt x="626" y="612"/>
                  </a:cubicBezTo>
                  <a:cubicBezTo>
                    <a:pt x="633" y="612"/>
                    <a:pt x="642" y="607"/>
                    <a:pt x="646" y="602"/>
                  </a:cubicBezTo>
                  <a:cubicBezTo>
                    <a:pt x="649" y="596"/>
                    <a:pt x="647" y="592"/>
                    <a:pt x="640" y="592"/>
                  </a:cubicBezTo>
                  <a:cubicBezTo>
                    <a:pt x="640" y="592"/>
                    <a:pt x="639" y="592"/>
                    <a:pt x="639" y="592"/>
                  </a:cubicBezTo>
                  <a:moveTo>
                    <a:pt x="677" y="591"/>
                  </a:moveTo>
                  <a:cubicBezTo>
                    <a:pt x="669" y="591"/>
                    <a:pt x="661" y="596"/>
                    <a:pt x="657" y="602"/>
                  </a:cubicBezTo>
                  <a:cubicBezTo>
                    <a:pt x="653" y="607"/>
                    <a:pt x="656" y="612"/>
                    <a:pt x="663" y="612"/>
                  </a:cubicBezTo>
                  <a:cubicBezTo>
                    <a:pt x="671" y="612"/>
                    <a:pt x="679" y="607"/>
                    <a:pt x="683" y="601"/>
                  </a:cubicBezTo>
                  <a:cubicBezTo>
                    <a:pt x="686" y="596"/>
                    <a:pt x="684" y="591"/>
                    <a:pt x="677" y="591"/>
                  </a:cubicBezTo>
                  <a:cubicBezTo>
                    <a:pt x="677" y="591"/>
                    <a:pt x="677" y="591"/>
                    <a:pt x="677" y="591"/>
                  </a:cubicBezTo>
                  <a:moveTo>
                    <a:pt x="713" y="591"/>
                  </a:moveTo>
                  <a:cubicBezTo>
                    <a:pt x="706" y="591"/>
                    <a:pt x="697" y="596"/>
                    <a:pt x="694" y="601"/>
                  </a:cubicBezTo>
                  <a:cubicBezTo>
                    <a:pt x="690" y="607"/>
                    <a:pt x="693" y="612"/>
                    <a:pt x="700" y="611"/>
                  </a:cubicBezTo>
                  <a:cubicBezTo>
                    <a:pt x="707" y="611"/>
                    <a:pt x="716" y="607"/>
                    <a:pt x="720" y="601"/>
                  </a:cubicBezTo>
                  <a:cubicBezTo>
                    <a:pt x="723" y="596"/>
                    <a:pt x="720" y="591"/>
                    <a:pt x="713" y="591"/>
                  </a:cubicBezTo>
                  <a:cubicBezTo>
                    <a:pt x="713" y="591"/>
                    <a:pt x="713" y="591"/>
                    <a:pt x="713" y="591"/>
                  </a:cubicBezTo>
                  <a:moveTo>
                    <a:pt x="750" y="591"/>
                  </a:moveTo>
                  <a:cubicBezTo>
                    <a:pt x="743" y="591"/>
                    <a:pt x="734" y="596"/>
                    <a:pt x="731" y="601"/>
                  </a:cubicBezTo>
                  <a:cubicBezTo>
                    <a:pt x="727" y="607"/>
                    <a:pt x="730" y="611"/>
                    <a:pt x="737" y="611"/>
                  </a:cubicBezTo>
                  <a:cubicBezTo>
                    <a:pt x="744" y="611"/>
                    <a:pt x="753" y="607"/>
                    <a:pt x="756" y="601"/>
                  </a:cubicBezTo>
                  <a:cubicBezTo>
                    <a:pt x="760" y="595"/>
                    <a:pt x="757" y="591"/>
                    <a:pt x="750" y="591"/>
                  </a:cubicBezTo>
                  <a:cubicBezTo>
                    <a:pt x="750" y="591"/>
                    <a:pt x="750" y="591"/>
                    <a:pt x="750" y="591"/>
                  </a:cubicBezTo>
                  <a:moveTo>
                    <a:pt x="785" y="591"/>
                  </a:moveTo>
                  <a:cubicBezTo>
                    <a:pt x="778" y="591"/>
                    <a:pt x="770" y="595"/>
                    <a:pt x="766" y="601"/>
                  </a:cubicBezTo>
                  <a:cubicBezTo>
                    <a:pt x="763" y="607"/>
                    <a:pt x="766" y="611"/>
                    <a:pt x="773" y="611"/>
                  </a:cubicBezTo>
                  <a:cubicBezTo>
                    <a:pt x="780" y="611"/>
                    <a:pt x="789" y="606"/>
                    <a:pt x="792" y="601"/>
                  </a:cubicBezTo>
                  <a:cubicBezTo>
                    <a:pt x="795" y="595"/>
                    <a:pt x="792" y="591"/>
                    <a:pt x="785" y="591"/>
                  </a:cubicBezTo>
                  <a:cubicBezTo>
                    <a:pt x="785" y="591"/>
                    <a:pt x="785" y="591"/>
                    <a:pt x="785" y="591"/>
                  </a:cubicBezTo>
                  <a:moveTo>
                    <a:pt x="2248" y="582"/>
                  </a:moveTo>
                  <a:cubicBezTo>
                    <a:pt x="2241" y="582"/>
                    <a:pt x="2234" y="586"/>
                    <a:pt x="2234" y="592"/>
                  </a:cubicBezTo>
                  <a:cubicBezTo>
                    <a:pt x="2233" y="598"/>
                    <a:pt x="2239" y="602"/>
                    <a:pt x="2246" y="602"/>
                  </a:cubicBezTo>
                  <a:cubicBezTo>
                    <a:pt x="2253" y="602"/>
                    <a:pt x="2259" y="597"/>
                    <a:pt x="2260" y="592"/>
                  </a:cubicBezTo>
                  <a:cubicBezTo>
                    <a:pt x="2260" y="586"/>
                    <a:pt x="2255" y="582"/>
                    <a:pt x="2248" y="582"/>
                  </a:cubicBezTo>
                  <a:cubicBezTo>
                    <a:pt x="2248" y="582"/>
                    <a:pt x="2248" y="582"/>
                    <a:pt x="2248" y="582"/>
                  </a:cubicBezTo>
                  <a:moveTo>
                    <a:pt x="1921" y="581"/>
                  </a:moveTo>
                  <a:cubicBezTo>
                    <a:pt x="1914" y="581"/>
                    <a:pt x="1907" y="586"/>
                    <a:pt x="1906" y="591"/>
                  </a:cubicBezTo>
                  <a:cubicBezTo>
                    <a:pt x="1905" y="597"/>
                    <a:pt x="1910" y="601"/>
                    <a:pt x="1917" y="601"/>
                  </a:cubicBezTo>
                  <a:cubicBezTo>
                    <a:pt x="1924" y="601"/>
                    <a:pt x="1931" y="597"/>
                    <a:pt x="1932" y="591"/>
                  </a:cubicBezTo>
                  <a:cubicBezTo>
                    <a:pt x="1933" y="585"/>
                    <a:pt x="1928" y="581"/>
                    <a:pt x="1921" y="581"/>
                  </a:cubicBezTo>
                  <a:cubicBezTo>
                    <a:pt x="1921" y="581"/>
                    <a:pt x="1921" y="581"/>
                    <a:pt x="1921" y="581"/>
                  </a:cubicBezTo>
                  <a:moveTo>
                    <a:pt x="1957" y="581"/>
                  </a:moveTo>
                  <a:cubicBezTo>
                    <a:pt x="1950" y="581"/>
                    <a:pt x="1944" y="585"/>
                    <a:pt x="1942" y="591"/>
                  </a:cubicBezTo>
                  <a:cubicBezTo>
                    <a:pt x="1941" y="597"/>
                    <a:pt x="1946" y="601"/>
                    <a:pt x="1953" y="601"/>
                  </a:cubicBezTo>
                  <a:cubicBezTo>
                    <a:pt x="1960" y="601"/>
                    <a:pt x="1967" y="596"/>
                    <a:pt x="1968" y="591"/>
                  </a:cubicBezTo>
                  <a:cubicBezTo>
                    <a:pt x="1969" y="585"/>
                    <a:pt x="1964" y="581"/>
                    <a:pt x="1957" y="581"/>
                  </a:cubicBezTo>
                  <a:cubicBezTo>
                    <a:pt x="1957" y="581"/>
                    <a:pt x="1957" y="581"/>
                    <a:pt x="1957" y="581"/>
                  </a:cubicBezTo>
                  <a:moveTo>
                    <a:pt x="1994" y="580"/>
                  </a:moveTo>
                  <a:cubicBezTo>
                    <a:pt x="1987" y="581"/>
                    <a:pt x="1980" y="585"/>
                    <a:pt x="1979" y="591"/>
                  </a:cubicBezTo>
                  <a:cubicBezTo>
                    <a:pt x="1978" y="596"/>
                    <a:pt x="1983" y="601"/>
                    <a:pt x="1990" y="601"/>
                  </a:cubicBezTo>
                  <a:cubicBezTo>
                    <a:pt x="1997" y="601"/>
                    <a:pt x="2004" y="596"/>
                    <a:pt x="2005" y="591"/>
                  </a:cubicBezTo>
                  <a:cubicBezTo>
                    <a:pt x="2006" y="585"/>
                    <a:pt x="2001" y="580"/>
                    <a:pt x="1994" y="580"/>
                  </a:cubicBezTo>
                  <a:cubicBezTo>
                    <a:pt x="1994" y="580"/>
                    <a:pt x="1994" y="580"/>
                    <a:pt x="1994" y="580"/>
                  </a:cubicBezTo>
                  <a:moveTo>
                    <a:pt x="2397" y="579"/>
                  </a:moveTo>
                  <a:cubicBezTo>
                    <a:pt x="2390" y="579"/>
                    <a:pt x="2384" y="583"/>
                    <a:pt x="2384" y="589"/>
                  </a:cubicBezTo>
                  <a:cubicBezTo>
                    <a:pt x="2384" y="595"/>
                    <a:pt x="2389" y="599"/>
                    <a:pt x="2396" y="599"/>
                  </a:cubicBezTo>
                  <a:cubicBezTo>
                    <a:pt x="2404" y="599"/>
                    <a:pt x="2409" y="594"/>
                    <a:pt x="2410" y="589"/>
                  </a:cubicBezTo>
                  <a:cubicBezTo>
                    <a:pt x="2410" y="583"/>
                    <a:pt x="2404" y="579"/>
                    <a:pt x="2397" y="579"/>
                  </a:cubicBezTo>
                  <a:cubicBezTo>
                    <a:pt x="2397" y="579"/>
                    <a:pt x="2397" y="579"/>
                    <a:pt x="2397" y="579"/>
                  </a:cubicBezTo>
                  <a:moveTo>
                    <a:pt x="2470" y="578"/>
                  </a:moveTo>
                  <a:cubicBezTo>
                    <a:pt x="2463" y="578"/>
                    <a:pt x="2457" y="583"/>
                    <a:pt x="2457" y="588"/>
                  </a:cubicBezTo>
                  <a:cubicBezTo>
                    <a:pt x="2457" y="594"/>
                    <a:pt x="2463" y="599"/>
                    <a:pt x="2470" y="599"/>
                  </a:cubicBezTo>
                  <a:cubicBezTo>
                    <a:pt x="2477" y="599"/>
                    <a:pt x="2483" y="594"/>
                    <a:pt x="2483" y="588"/>
                  </a:cubicBezTo>
                  <a:cubicBezTo>
                    <a:pt x="2483" y="583"/>
                    <a:pt x="2477" y="578"/>
                    <a:pt x="2470" y="578"/>
                  </a:cubicBezTo>
                  <a:cubicBezTo>
                    <a:pt x="2470" y="578"/>
                    <a:pt x="2470" y="578"/>
                    <a:pt x="2470" y="578"/>
                  </a:cubicBezTo>
                  <a:moveTo>
                    <a:pt x="2506" y="578"/>
                  </a:moveTo>
                  <a:cubicBezTo>
                    <a:pt x="2499" y="578"/>
                    <a:pt x="2493" y="583"/>
                    <a:pt x="2493" y="588"/>
                  </a:cubicBezTo>
                  <a:cubicBezTo>
                    <a:pt x="2493" y="594"/>
                    <a:pt x="2499" y="598"/>
                    <a:pt x="2506" y="598"/>
                  </a:cubicBezTo>
                  <a:cubicBezTo>
                    <a:pt x="2513" y="598"/>
                    <a:pt x="2519" y="594"/>
                    <a:pt x="2519" y="588"/>
                  </a:cubicBezTo>
                  <a:cubicBezTo>
                    <a:pt x="2519" y="582"/>
                    <a:pt x="2513" y="578"/>
                    <a:pt x="2506" y="578"/>
                  </a:cubicBezTo>
                  <a:cubicBezTo>
                    <a:pt x="2506" y="578"/>
                    <a:pt x="2506" y="578"/>
                    <a:pt x="2506" y="578"/>
                  </a:cubicBezTo>
                  <a:moveTo>
                    <a:pt x="2543" y="578"/>
                  </a:moveTo>
                  <a:cubicBezTo>
                    <a:pt x="2536" y="578"/>
                    <a:pt x="2530" y="582"/>
                    <a:pt x="2530" y="588"/>
                  </a:cubicBezTo>
                  <a:cubicBezTo>
                    <a:pt x="2530" y="594"/>
                    <a:pt x="2536" y="598"/>
                    <a:pt x="2543" y="598"/>
                  </a:cubicBezTo>
                  <a:cubicBezTo>
                    <a:pt x="2550" y="598"/>
                    <a:pt x="2556" y="594"/>
                    <a:pt x="2556" y="588"/>
                  </a:cubicBezTo>
                  <a:cubicBezTo>
                    <a:pt x="2556" y="582"/>
                    <a:pt x="2550" y="578"/>
                    <a:pt x="2543" y="578"/>
                  </a:cubicBezTo>
                  <a:cubicBezTo>
                    <a:pt x="2543" y="578"/>
                    <a:pt x="2543" y="578"/>
                    <a:pt x="2543" y="578"/>
                  </a:cubicBezTo>
                  <a:moveTo>
                    <a:pt x="2617" y="578"/>
                  </a:moveTo>
                  <a:cubicBezTo>
                    <a:pt x="2610" y="578"/>
                    <a:pt x="2605" y="582"/>
                    <a:pt x="2605" y="588"/>
                  </a:cubicBezTo>
                  <a:cubicBezTo>
                    <a:pt x="2605" y="594"/>
                    <a:pt x="2611" y="598"/>
                    <a:pt x="2618" y="598"/>
                  </a:cubicBezTo>
                  <a:cubicBezTo>
                    <a:pt x="2625" y="598"/>
                    <a:pt x="2631" y="593"/>
                    <a:pt x="2630" y="588"/>
                  </a:cubicBezTo>
                  <a:cubicBezTo>
                    <a:pt x="2630" y="582"/>
                    <a:pt x="2624" y="578"/>
                    <a:pt x="2617" y="578"/>
                  </a:cubicBezTo>
                  <a:cubicBezTo>
                    <a:pt x="2617" y="578"/>
                    <a:pt x="2617" y="578"/>
                    <a:pt x="2617" y="578"/>
                  </a:cubicBezTo>
                  <a:moveTo>
                    <a:pt x="2580" y="578"/>
                  </a:moveTo>
                  <a:cubicBezTo>
                    <a:pt x="2573" y="578"/>
                    <a:pt x="2567" y="582"/>
                    <a:pt x="2567" y="588"/>
                  </a:cubicBezTo>
                  <a:cubicBezTo>
                    <a:pt x="2567" y="593"/>
                    <a:pt x="2573" y="598"/>
                    <a:pt x="2580" y="598"/>
                  </a:cubicBezTo>
                  <a:cubicBezTo>
                    <a:pt x="2588" y="598"/>
                    <a:pt x="2593" y="593"/>
                    <a:pt x="2593" y="588"/>
                  </a:cubicBezTo>
                  <a:cubicBezTo>
                    <a:pt x="2593" y="582"/>
                    <a:pt x="2587" y="578"/>
                    <a:pt x="2580" y="578"/>
                  </a:cubicBezTo>
                  <a:cubicBezTo>
                    <a:pt x="2580" y="578"/>
                    <a:pt x="2580" y="578"/>
                    <a:pt x="2580" y="578"/>
                  </a:cubicBezTo>
                  <a:moveTo>
                    <a:pt x="2762" y="577"/>
                  </a:moveTo>
                  <a:cubicBezTo>
                    <a:pt x="2755" y="577"/>
                    <a:pt x="2750" y="582"/>
                    <a:pt x="2750" y="588"/>
                  </a:cubicBezTo>
                  <a:cubicBezTo>
                    <a:pt x="2751" y="593"/>
                    <a:pt x="2757" y="598"/>
                    <a:pt x="2764" y="598"/>
                  </a:cubicBezTo>
                  <a:cubicBezTo>
                    <a:pt x="2771" y="598"/>
                    <a:pt x="2776" y="593"/>
                    <a:pt x="2776" y="588"/>
                  </a:cubicBezTo>
                  <a:cubicBezTo>
                    <a:pt x="2775" y="582"/>
                    <a:pt x="2769" y="577"/>
                    <a:pt x="2762" y="577"/>
                  </a:cubicBezTo>
                  <a:cubicBezTo>
                    <a:pt x="2762" y="577"/>
                    <a:pt x="2762" y="577"/>
                    <a:pt x="2762" y="577"/>
                  </a:cubicBezTo>
                  <a:moveTo>
                    <a:pt x="2799" y="577"/>
                  </a:moveTo>
                  <a:cubicBezTo>
                    <a:pt x="2792" y="577"/>
                    <a:pt x="2787" y="582"/>
                    <a:pt x="2787" y="587"/>
                  </a:cubicBezTo>
                  <a:cubicBezTo>
                    <a:pt x="2788" y="593"/>
                    <a:pt x="2794" y="598"/>
                    <a:pt x="2801" y="598"/>
                  </a:cubicBezTo>
                  <a:cubicBezTo>
                    <a:pt x="2808" y="598"/>
                    <a:pt x="2813" y="593"/>
                    <a:pt x="2813" y="587"/>
                  </a:cubicBezTo>
                  <a:cubicBezTo>
                    <a:pt x="2812" y="582"/>
                    <a:pt x="2806" y="577"/>
                    <a:pt x="2799" y="577"/>
                  </a:cubicBezTo>
                  <a:cubicBezTo>
                    <a:pt x="2799" y="577"/>
                    <a:pt x="2799" y="577"/>
                    <a:pt x="2799" y="577"/>
                  </a:cubicBezTo>
                  <a:moveTo>
                    <a:pt x="2833" y="577"/>
                  </a:moveTo>
                  <a:cubicBezTo>
                    <a:pt x="2826" y="577"/>
                    <a:pt x="2821" y="582"/>
                    <a:pt x="2822" y="587"/>
                  </a:cubicBezTo>
                  <a:cubicBezTo>
                    <a:pt x="2822" y="593"/>
                    <a:pt x="2829" y="597"/>
                    <a:pt x="2836" y="597"/>
                  </a:cubicBezTo>
                  <a:cubicBezTo>
                    <a:pt x="2843" y="597"/>
                    <a:pt x="2848" y="593"/>
                    <a:pt x="2847" y="587"/>
                  </a:cubicBezTo>
                  <a:cubicBezTo>
                    <a:pt x="2847" y="581"/>
                    <a:pt x="2840" y="577"/>
                    <a:pt x="2833" y="577"/>
                  </a:cubicBezTo>
                  <a:cubicBezTo>
                    <a:pt x="2833" y="577"/>
                    <a:pt x="2833" y="577"/>
                    <a:pt x="2833" y="577"/>
                  </a:cubicBezTo>
                  <a:moveTo>
                    <a:pt x="2870" y="577"/>
                  </a:moveTo>
                  <a:cubicBezTo>
                    <a:pt x="2862" y="577"/>
                    <a:pt x="2857" y="581"/>
                    <a:pt x="2858" y="587"/>
                  </a:cubicBezTo>
                  <a:cubicBezTo>
                    <a:pt x="2859" y="593"/>
                    <a:pt x="2865" y="597"/>
                    <a:pt x="2872" y="597"/>
                  </a:cubicBezTo>
                  <a:cubicBezTo>
                    <a:pt x="2879" y="597"/>
                    <a:pt x="2885" y="593"/>
                    <a:pt x="2884" y="587"/>
                  </a:cubicBezTo>
                  <a:cubicBezTo>
                    <a:pt x="2883" y="581"/>
                    <a:pt x="2877" y="577"/>
                    <a:pt x="2870" y="577"/>
                  </a:cubicBezTo>
                  <a:cubicBezTo>
                    <a:pt x="2870" y="577"/>
                    <a:pt x="2870" y="577"/>
                    <a:pt x="2870" y="577"/>
                  </a:cubicBezTo>
                  <a:moveTo>
                    <a:pt x="2653" y="577"/>
                  </a:moveTo>
                  <a:cubicBezTo>
                    <a:pt x="2646" y="577"/>
                    <a:pt x="2641" y="581"/>
                    <a:pt x="2641" y="587"/>
                  </a:cubicBezTo>
                  <a:cubicBezTo>
                    <a:pt x="2641" y="593"/>
                    <a:pt x="2647" y="597"/>
                    <a:pt x="2655" y="597"/>
                  </a:cubicBezTo>
                  <a:cubicBezTo>
                    <a:pt x="2662" y="597"/>
                    <a:pt x="2667" y="592"/>
                    <a:pt x="2667" y="587"/>
                  </a:cubicBezTo>
                  <a:cubicBezTo>
                    <a:pt x="2666" y="581"/>
                    <a:pt x="2661" y="577"/>
                    <a:pt x="2653" y="577"/>
                  </a:cubicBezTo>
                  <a:cubicBezTo>
                    <a:pt x="2653" y="577"/>
                    <a:pt x="2653" y="577"/>
                    <a:pt x="2653" y="577"/>
                  </a:cubicBezTo>
                  <a:moveTo>
                    <a:pt x="2906" y="577"/>
                  </a:moveTo>
                  <a:cubicBezTo>
                    <a:pt x="2899" y="577"/>
                    <a:pt x="2894" y="581"/>
                    <a:pt x="2895" y="587"/>
                  </a:cubicBezTo>
                  <a:cubicBezTo>
                    <a:pt x="2896" y="592"/>
                    <a:pt x="2902" y="597"/>
                    <a:pt x="2909" y="597"/>
                  </a:cubicBezTo>
                  <a:cubicBezTo>
                    <a:pt x="2916" y="597"/>
                    <a:pt x="2921" y="592"/>
                    <a:pt x="2921" y="587"/>
                  </a:cubicBezTo>
                  <a:cubicBezTo>
                    <a:pt x="2920" y="581"/>
                    <a:pt x="2913" y="577"/>
                    <a:pt x="2906" y="577"/>
                  </a:cubicBezTo>
                  <a:cubicBezTo>
                    <a:pt x="2906" y="577"/>
                    <a:pt x="2906" y="577"/>
                    <a:pt x="2906" y="577"/>
                  </a:cubicBezTo>
                  <a:moveTo>
                    <a:pt x="2689" y="576"/>
                  </a:moveTo>
                  <a:cubicBezTo>
                    <a:pt x="2682" y="576"/>
                    <a:pt x="2677" y="581"/>
                    <a:pt x="2677" y="587"/>
                  </a:cubicBezTo>
                  <a:cubicBezTo>
                    <a:pt x="2678" y="592"/>
                    <a:pt x="2684" y="597"/>
                    <a:pt x="2691" y="597"/>
                  </a:cubicBezTo>
                  <a:cubicBezTo>
                    <a:pt x="2698" y="597"/>
                    <a:pt x="2703" y="592"/>
                    <a:pt x="2703" y="587"/>
                  </a:cubicBezTo>
                  <a:cubicBezTo>
                    <a:pt x="2703" y="581"/>
                    <a:pt x="2697" y="576"/>
                    <a:pt x="2689" y="576"/>
                  </a:cubicBezTo>
                  <a:cubicBezTo>
                    <a:pt x="2689" y="576"/>
                    <a:pt x="2689" y="576"/>
                    <a:pt x="2689" y="576"/>
                  </a:cubicBezTo>
                  <a:moveTo>
                    <a:pt x="2943" y="576"/>
                  </a:moveTo>
                  <a:cubicBezTo>
                    <a:pt x="2936" y="576"/>
                    <a:pt x="2931" y="581"/>
                    <a:pt x="2932" y="587"/>
                  </a:cubicBezTo>
                  <a:cubicBezTo>
                    <a:pt x="2933" y="592"/>
                    <a:pt x="2939" y="597"/>
                    <a:pt x="2946" y="597"/>
                  </a:cubicBezTo>
                  <a:cubicBezTo>
                    <a:pt x="2953" y="597"/>
                    <a:pt x="2958" y="592"/>
                    <a:pt x="2958" y="586"/>
                  </a:cubicBezTo>
                  <a:cubicBezTo>
                    <a:pt x="2957" y="581"/>
                    <a:pt x="2950" y="576"/>
                    <a:pt x="2943" y="576"/>
                  </a:cubicBezTo>
                  <a:cubicBezTo>
                    <a:pt x="2943" y="576"/>
                    <a:pt x="2943" y="576"/>
                    <a:pt x="2943" y="576"/>
                  </a:cubicBezTo>
                  <a:moveTo>
                    <a:pt x="2726" y="576"/>
                  </a:moveTo>
                  <a:cubicBezTo>
                    <a:pt x="2719" y="576"/>
                    <a:pt x="2713" y="581"/>
                    <a:pt x="2714" y="587"/>
                  </a:cubicBezTo>
                  <a:cubicBezTo>
                    <a:pt x="2714" y="592"/>
                    <a:pt x="2720" y="597"/>
                    <a:pt x="2727" y="597"/>
                  </a:cubicBezTo>
                  <a:cubicBezTo>
                    <a:pt x="2734" y="597"/>
                    <a:pt x="2740" y="592"/>
                    <a:pt x="2739" y="586"/>
                  </a:cubicBezTo>
                  <a:cubicBezTo>
                    <a:pt x="2739" y="581"/>
                    <a:pt x="2733" y="576"/>
                    <a:pt x="2726" y="576"/>
                  </a:cubicBezTo>
                  <a:cubicBezTo>
                    <a:pt x="2726" y="576"/>
                    <a:pt x="2726" y="576"/>
                    <a:pt x="2726" y="576"/>
                  </a:cubicBezTo>
                  <a:moveTo>
                    <a:pt x="2979" y="576"/>
                  </a:moveTo>
                  <a:cubicBezTo>
                    <a:pt x="2972" y="576"/>
                    <a:pt x="2967" y="581"/>
                    <a:pt x="2968" y="586"/>
                  </a:cubicBezTo>
                  <a:cubicBezTo>
                    <a:pt x="2969" y="592"/>
                    <a:pt x="2976" y="597"/>
                    <a:pt x="2983" y="597"/>
                  </a:cubicBezTo>
                  <a:cubicBezTo>
                    <a:pt x="2990" y="597"/>
                    <a:pt x="2995" y="592"/>
                    <a:pt x="2994" y="586"/>
                  </a:cubicBezTo>
                  <a:cubicBezTo>
                    <a:pt x="2993" y="581"/>
                    <a:pt x="2986" y="576"/>
                    <a:pt x="2979" y="576"/>
                  </a:cubicBezTo>
                  <a:cubicBezTo>
                    <a:pt x="2979" y="576"/>
                    <a:pt x="2979" y="576"/>
                    <a:pt x="2979" y="576"/>
                  </a:cubicBezTo>
                  <a:moveTo>
                    <a:pt x="3016" y="576"/>
                  </a:moveTo>
                  <a:cubicBezTo>
                    <a:pt x="3009" y="576"/>
                    <a:pt x="3004" y="581"/>
                    <a:pt x="3005" y="586"/>
                  </a:cubicBezTo>
                  <a:cubicBezTo>
                    <a:pt x="3006" y="592"/>
                    <a:pt x="3013" y="596"/>
                    <a:pt x="3020" y="596"/>
                  </a:cubicBezTo>
                  <a:cubicBezTo>
                    <a:pt x="3027" y="596"/>
                    <a:pt x="3032" y="592"/>
                    <a:pt x="3031" y="586"/>
                  </a:cubicBezTo>
                  <a:cubicBezTo>
                    <a:pt x="3030" y="580"/>
                    <a:pt x="3023" y="576"/>
                    <a:pt x="3016" y="576"/>
                  </a:cubicBezTo>
                  <a:cubicBezTo>
                    <a:pt x="3016" y="576"/>
                    <a:pt x="3016" y="576"/>
                    <a:pt x="3016" y="576"/>
                  </a:cubicBezTo>
                  <a:moveTo>
                    <a:pt x="3052" y="576"/>
                  </a:moveTo>
                  <a:cubicBezTo>
                    <a:pt x="3045" y="576"/>
                    <a:pt x="3040" y="580"/>
                    <a:pt x="3041" y="586"/>
                  </a:cubicBezTo>
                  <a:cubicBezTo>
                    <a:pt x="3042" y="592"/>
                    <a:pt x="3049" y="596"/>
                    <a:pt x="3056" y="596"/>
                  </a:cubicBezTo>
                  <a:cubicBezTo>
                    <a:pt x="3063" y="596"/>
                    <a:pt x="3068" y="591"/>
                    <a:pt x="3067" y="586"/>
                  </a:cubicBezTo>
                  <a:cubicBezTo>
                    <a:pt x="3066" y="580"/>
                    <a:pt x="3059" y="576"/>
                    <a:pt x="3052" y="576"/>
                  </a:cubicBezTo>
                  <a:cubicBezTo>
                    <a:pt x="3052" y="576"/>
                    <a:pt x="3052" y="576"/>
                    <a:pt x="3052" y="576"/>
                  </a:cubicBezTo>
                  <a:moveTo>
                    <a:pt x="3089" y="575"/>
                  </a:moveTo>
                  <a:cubicBezTo>
                    <a:pt x="3082" y="575"/>
                    <a:pt x="3077" y="580"/>
                    <a:pt x="3078" y="586"/>
                  </a:cubicBezTo>
                  <a:cubicBezTo>
                    <a:pt x="3079" y="591"/>
                    <a:pt x="3086" y="596"/>
                    <a:pt x="3093" y="596"/>
                  </a:cubicBezTo>
                  <a:cubicBezTo>
                    <a:pt x="3100" y="596"/>
                    <a:pt x="3105" y="591"/>
                    <a:pt x="3104" y="586"/>
                  </a:cubicBezTo>
                  <a:cubicBezTo>
                    <a:pt x="3102" y="580"/>
                    <a:pt x="3096" y="575"/>
                    <a:pt x="3089" y="575"/>
                  </a:cubicBezTo>
                  <a:cubicBezTo>
                    <a:pt x="3089" y="575"/>
                    <a:pt x="3089" y="575"/>
                    <a:pt x="3089" y="575"/>
                  </a:cubicBezTo>
                  <a:moveTo>
                    <a:pt x="3126" y="575"/>
                  </a:moveTo>
                  <a:cubicBezTo>
                    <a:pt x="3119" y="575"/>
                    <a:pt x="3115" y="580"/>
                    <a:pt x="3116" y="586"/>
                  </a:cubicBezTo>
                  <a:cubicBezTo>
                    <a:pt x="3117" y="591"/>
                    <a:pt x="3124" y="596"/>
                    <a:pt x="3131" y="596"/>
                  </a:cubicBezTo>
                  <a:cubicBezTo>
                    <a:pt x="3138" y="596"/>
                    <a:pt x="3143" y="591"/>
                    <a:pt x="3141" y="585"/>
                  </a:cubicBezTo>
                  <a:cubicBezTo>
                    <a:pt x="3140" y="580"/>
                    <a:pt x="3133" y="575"/>
                    <a:pt x="3126" y="575"/>
                  </a:cubicBezTo>
                  <a:cubicBezTo>
                    <a:pt x="3126" y="575"/>
                    <a:pt x="3126" y="575"/>
                    <a:pt x="3126" y="575"/>
                  </a:cubicBezTo>
                  <a:moveTo>
                    <a:pt x="3163" y="575"/>
                  </a:moveTo>
                  <a:cubicBezTo>
                    <a:pt x="3156" y="575"/>
                    <a:pt x="3151" y="580"/>
                    <a:pt x="3152" y="585"/>
                  </a:cubicBezTo>
                  <a:cubicBezTo>
                    <a:pt x="3154" y="591"/>
                    <a:pt x="3160" y="596"/>
                    <a:pt x="3168" y="595"/>
                  </a:cubicBezTo>
                  <a:cubicBezTo>
                    <a:pt x="3175" y="595"/>
                    <a:pt x="3179" y="591"/>
                    <a:pt x="3178" y="585"/>
                  </a:cubicBezTo>
                  <a:cubicBezTo>
                    <a:pt x="3177" y="579"/>
                    <a:pt x="3170" y="575"/>
                    <a:pt x="3163" y="575"/>
                  </a:cubicBezTo>
                  <a:cubicBezTo>
                    <a:pt x="3163" y="575"/>
                    <a:pt x="3163" y="575"/>
                    <a:pt x="3163" y="575"/>
                  </a:cubicBezTo>
                  <a:moveTo>
                    <a:pt x="3199" y="575"/>
                  </a:moveTo>
                  <a:cubicBezTo>
                    <a:pt x="3192" y="575"/>
                    <a:pt x="3188" y="579"/>
                    <a:pt x="3189" y="585"/>
                  </a:cubicBezTo>
                  <a:cubicBezTo>
                    <a:pt x="3190" y="591"/>
                    <a:pt x="3197" y="595"/>
                    <a:pt x="3204" y="595"/>
                  </a:cubicBezTo>
                  <a:cubicBezTo>
                    <a:pt x="3211" y="595"/>
                    <a:pt x="3216" y="591"/>
                    <a:pt x="3215" y="585"/>
                  </a:cubicBezTo>
                  <a:cubicBezTo>
                    <a:pt x="3213" y="579"/>
                    <a:pt x="3206" y="575"/>
                    <a:pt x="3199" y="575"/>
                  </a:cubicBezTo>
                  <a:cubicBezTo>
                    <a:pt x="3199" y="575"/>
                    <a:pt x="3199" y="575"/>
                    <a:pt x="3199" y="575"/>
                  </a:cubicBezTo>
                  <a:moveTo>
                    <a:pt x="3236" y="575"/>
                  </a:moveTo>
                  <a:cubicBezTo>
                    <a:pt x="3229" y="575"/>
                    <a:pt x="3225" y="579"/>
                    <a:pt x="3226" y="585"/>
                  </a:cubicBezTo>
                  <a:cubicBezTo>
                    <a:pt x="3227" y="591"/>
                    <a:pt x="3234" y="595"/>
                    <a:pt x="3242" y="595"/>
                  </a:cubicBezTo>
                  <a:cubicBezTo>
                    <a:pt x="3249" y="595"/>
                    <a:pt x="3253" y="590"/>
                    <a:pt x="3252" y="585"/>
                  </a:cubicBezTo>
                  <a:cubicBezTo>
                    <a:pt x="3250" y="579"/>
                    <a:pt x="3243" y="575"/>
                    <a:pt x="3236" y="575"/>
                  </a:cubicBezTo>
                  <a:cubicBezTo>
                    <a:pt x="3236" y="575"/>
                    <a:pt x="3236" y="575"/>
                    <a:pt x="3236" y="575"/>
                  </a:cubicBezTo>
                  <a:moveTo>
                    <a:pt x="3272" y="574"/>
                  </a:moveTo>
                  <a:cubicBezTo>
                    <a:pt x="3265" y="574"/>
                    <a:pt x="3261" y="579"/>
                    <a:pt x="3262" y="585"/>
                  </a:cubicBezTo>
                  <a:cubicBezTo>
                    <a:pt x="3264" y="590"/>
                    <a:pt x="3271" y="595"/>
                    <a:pt x="3278" y="595"/>
                  </a:cubicBezTo>
                  <a:cubicBezTo>
                    <a:pt x="3285" y="595"/>
                    <a:pt x="3290" y="590"/>
                    <a:pt x="3288" y="584"/>
                  </a:cubicBezTo>
                  <a:cubicBezTo>
                    <a:pt x="3286" y="579"/>
                    <a:pt x="3279" y="574"/>
                    <a:pt x="3272" y="574"/>
                  </a:cubicBezTo>
                  <a:cubicBezTo>
                    <a:pt x="3272" y="574"/>
                    <a:pt x="3272" y="574"/>
                    <a:pt x="3272" y="574"/>
                  </a:cubicBezTo>
                  <a:moveTo>
                    <a:pt x="3309" y="574"/>
                  </a:moveTo>
                  <a:cubicBezTo>
                    <a:pt x="3302" y="574"/>
                    <a:pt x="3297" y="579"/>
                    <a:pt x="3299" y="584"/>
                  </a:cubicBezTo>
                  <a:cubicBezTo>
                    <a:pt x="3301" y="590"/>
                    <a:pt x="3308" y="595"/>
                    <a:pt x="3315" y="595"/>
                  </a:cubicBezTo>
                  <a:cubicBezTo>
                    <a:pt x="3322" y="595"/>
                    <a:pt x="3326" y="590"/>
                    <a:pt x="3325" y="584"/>
                  </a:cubicBezTo>
                  <a:cubicBezTo>
                    <a:pt x="3323" y="579"/>
                    <a:pt x="3316" y="574"/>
                    <a:pt x="3309" y="574"/>
                  </a:cubicBezTo>
                  <a:cubicBezTo>
                    <a:pt x="3309" y="574"/>
                    <a:pt x="3309" y="574"/>
                    <a:pt x="3309" y="574"/>
                  </a:cubicBezTo>
                  <a:moveTo>
                    <a:pt x="3345" y="574"/>
                  </a:moveTo>
                  <a:cubicBezTo>
                    <a:pt x="3338" y="574"/>
                    <a:pt x="3334" y="579"/>
                    <a:pt x="3335" y="584"/>
                  </a:cubicBezTo>
                  <a:cubicBezTo>
                    <a:pt x="3337" y="590"/>
                    <a:pt x="3344" y="594"/>
                    <a:pt x="3351" y="594"/>
                  </a:cubicBezTo>
                  <a:cubicBezTo>
                    <a:pt x="3358" y="594"/>
                    <a:pt x="3363" y="590"/>
                    <a:pt x="3361" y="584"/>
                  </a:cubicBezTo>
                  <a:cubicBezTo>
                    <a:pt x="3359" y="578"/>
                    <a:pt x="3352" y="574"/>
                    <a:pt x="3345" y="574"/>
                  </a:cubicBezTo>
                  <a:cubicBezTo>
                    <a:pt x="3345" y="574"/>
                    <a:pt x="3345" y="574"/>
                    <a:pt x="3345" y="574"/>
                  </a:cubicBezTo>
                  <a:moveTo>
                    <a:pt x="3382" y="574"/>
                  </a:moveTo>
                  <a:cubicBezTo>
                    <a:pt x="3375" y="574"/>
                    <a:pt x="3370" y="578"/>
                    <a:pt x="3372" y="584"/>
                  </a:cubicBezTo>
                  <a:cubicBezTo>
                    <a:pt x="3374" y="590"/>
                    <a:pt x="3381" y="594"/>
                    <a:pt x="3388" y="594"/>
                  </a:cubicBezTo>
                  <a:cubicBezTo>
                    <a:pt x="3395" y="594"/>
                    <a:pt x="3400" y="589"/>
                    <a:pt x="3398" y="584"/>
                  </a:cubicBezTo>
                  <a:cubicBezTo>
                    <a:pt x="3396" y="578"/>
                    <a:pt x="3389" y="574"/>
                    <a:pt x="3382" y="574"/>
                  </a:cubicBezTo>
                  <a:cubicBezTo>
                    <a:pt x="3382" y="574"/>
                    <a:pt x="3382" y="574"/>
                    <a:pt x="3382" y="574"/>
                  </a:cubicBezTo>
                  <a:moveTo>
                    <a:pt x="3419" y="573"/>
                  </a:moveTo>
                  <a:cubicBezTo>
                    <a:pt x="3411" y="573"/>
                    <a:pt x="3407" y="578"/>
                    <a:pt x="3409" y="584"/>
                  </a:cubicBezTo>
                  <a:cubicBezTo>
                    <a:pt x="3411" y="589"/>
                    <a:pt x="3418" y="594"/>
                    <a:pt x="3425" y="594"/>
                  </a:cubicBezTo>
                  <a:cubicBezTo>
                    <a:pt x="3432" y="594"/>
                    <a:pt x="3437" y="589"/>
                    <a:pt x="3435" y="584"/>
                  </a:cubicBezTo>
                  <a:cubicBezTo>
                    <a:pt x="3433" y="578"/>
                    <a:pt x="3426" y="573"/>
                    <a:pt x="3419" y="573"/>
                  </a:cubicBezTo>
                  <a:cubicBezTo>
                    <a:pt x="3419" y="573"/>
                    <a:pt x="3419" y="573"/>
                    <a:pt x="3419" y="573"/>
                  </a:cubicBezTo>
                  <a:moveTo>
                    <a:pt x="3638" y="573"/>
                  </a:moveTo>
                  <a:cubicBezTo>
                    <a:pt x="3631" y="573"/>
                    <a:pt x="3627" y="578"/>
                    <a:pt x="3629" y="584"/>
                  </a:cubicBezTo>
                  <a:cubicBezTo>
                    <a:pt x="3631" y="589"/>
                    <a:pt x="3639" y="594"/>
                    <a:pt x="3646" y="594"/>
                  </a:cubicBezTo>
                  <a:cubicBezTo>
                    <a:pt x="3653" y="594"/>
                    <a:pt x="3657" y="589"/>
                    <a:pt x="3655" y="583"/>
                  </a:cubicBezTo>
                  <a:cubicBezTo>
                    <a:pt x="3652" y="578"/>
                    <a:pt x="3645" y="573"/>
                    <a:pt x="3638" y="573"/>
                  </a:cubicBezTo>
                  <a:cubicBezTo>
                    <a:pt x="3638" y="573"/>
                    <a:pt x="3638" y="573"/>
                    <a:pt x="3638" y="573"/>
                  </a:cubicBezTo>
                  <a:moveTo>
                    <a:pt x="3455" y="573"/>
                  </a:moveTo>
                  <a:cubicBezTo>
                    <a:pt x="3448" y="573"/>
                    <a:pt x="3444" y="578"/>
                    <a:pt x="3445" y="584"/>
                  </a:cubicBezTo>
                  <a:cubicBezTo>
                    <a:pt x="3447" y="589"/>
                    <a:pt x="3455" y="594"/>
                    <a:pt x="3462" y="594"/>
                  </a:cubicBezTo>
                  <a:cubicBezTo>
                    <a:pt x="3469" y="594"/>
                    <a:pt x="3473" y="589"/>
                    <a:pt x="3471" y="583"/>
                  </a:cubicBezTo>
                  <a:cubicBezTo>
                    <a:pt x="3469" y="578"/>
                    <a:pt x="3462" y="573"/>
                    <a:pt x="3455" y="573"/>
                  </a:cubicBezTo>
                  <a:cubicBezTo>
                    <a:pt x="3455" y="573"/>
                    <a:pt x="3455" y="573"/>
                    <a:pt x="3455" y="573"/>
                  </a:cubicBezTo>
                  <a:moveTo>
                    <a:pt x="3674" y="573"/>
                  </a:moveTo>
                  <a:cubicBezTo>
                    <a:pt x="3667" y="573"/>
                    <a:pt x="3663" y="578"/>
                    <a:pt x="3666" y="583"/>
                  </a:cubicBezTo>
                  <a:cubicBezTo>
                    <a:pt x="3668" y="589"/>
                    <a:pt x="3676" y="594"/>
                    <a:pt x="3683" y="594"/>
                  </a:cubicBezTo>
                  <a:cubicBezTo>
                    <a:pt x="3690" y="594"/>
                    <a:pt x="3694" y="589"/>
                    <a:pt x="3691" y="583"/>
                  </a:cubicBezTo>
                  <a:cubicBezTo>
                    <a:pt x="3689" y="578"/>
                    <a:pt x="3681" y="573"/>
                    <a:pt x="3674" y="573"/>
                  </a:cubicBezTo>
                  <a:cubicBezTo>
                    <a:pt x="3674" y="573"/>
                    <a:pt x="3674" y="573"/>
                    <a:pt x="3674" y="573"/>
                  </a:cubicBezTo>
                  <a:moveTo>
                    <a:pt x="3491" y="573"/>
                  </a:moveTo>
                  <a:cubicBezTo>
                    <a:pt x="3484" y="573"/>
                    <a:pt x="3480" y="578"/>
                    <a:pt x="3482" y="583"/>
                  </a:cubicBezTo>
                  <a:cubicBezTo>
                    <a:pt x="3484" y="589"/>
                    <a:pt x="3491" y="594"/>
                    <a:pt x="3499" y="594"/>
                  </a:cubicBezTo>
                  <a:cubicBezTo>
                    <a:pt x="3506" y="593"/>
                    <a:pt x="3510" y="589"/>
                    <a:pt x="3508" y="583"/>
                  </a:cubicBezTo>
                  <a:cubicBezTo>
                    <a:pt x="3506" y="578"/>
                    <a:pt x="3498" y="573"/>
                    <a:pt x="3491" y="573"/>
                  </a:cubicBezTo>
                  <a:cubicBezTo>
                    <a:pt x="3491" y="573"/>
                    <a:pt x="3491" y="573"/>
                    <a:pt x="3491" y="573"/>
                  </a:cubicBezTo>
                  <a:moveTo>
                    <a:pt x="3711" y="573"/>
                  </a:moveTo>
                  <a:cubicBezTo>
                    <a:pt x="3704" y="573"/>
                    <a:pt x="3700" y="577"/>
                    <a:pt x="3702" y="583"/>
                  </a:cubicBezTo>
                  <a:cubicBezTo>
                    <a:pt x="3705" y="589"/>
                    <a:pt x="3712" y="593"/>
                    <a:pt x="3719" y="593"/>
                  </a:cubicBezTo>
                  <a:cubicBezTo>
                    <a:pt x="3727" y="593"/>
                    <a:pt x="3730" y="589"/>
                    <a:pt x="3728" y="583"/>
                  </a:cubicBezTo>
                  <a:cubicBezTo>
                    <a:pt x="3725" y="577"/>
                    <a:pt x="3718" y="573"/>
                    <a:pt x="3711" y="573"/>
                  </a:cubicBezTo>
                  <a:cubicBezTo>
                    <a:pt x="3711" y="573"/>
                    <a:pt x="3711" y="573"/>
                    <a:pt x="3711" y="573"/>
                  </a:cubicBezTo>
                  <a:moveTo>
                    <a:pt x="3527" y="573"/>
                  </a:moveTo>
                  <a:cubicBezTo>
                    <a:pt x="3520" y="573"/>
                    <a:pt x="3516" y="577"/>
                    <a:pt x="3518" y="583"/>
                  </a:cubicBezTo>
                  <a:cubicBezTo>
                    <a:pt x="3521" y="589"/>
                    <a:pt x="3528" y="593"/>
                    <a:pt x="3535" y="593"/>
                  </a:cubicBezTo>
                  <a:cubicBezTo>
                    <a:pt x="3542" y="593"/>
                    <a:pt x="3546" y="589"/>
                    <a:pt x="3544" y="583"/>
                  </a:cubicBezTo>
                  <a:cubicBezTo>
                    <a:pt x="3542" y="577"/>
                    <a:pt x="3535" y="573"/>
                    <a:pt x="3528" y="573"/>
                  </a:cubicBezTo>
                  <a:cubicBezTo>
                    <a:pt x="3528" y="573"/>
                    <a:pt x="3527" y="573"/>
                    <a:pt x="3527" y="573"/>
                  </a:cubicBezTo>
                  <a:moveTo>
                    <a:pt x="3749" y="573"/>
                  </a:moveTo>
                  <a:cubicBezTo>
                    <a:pt x="3742" y="573"/>
                    <a:pt x="3739" y="577"/>
                    <a:pt x="3741" y="583"/>
                  </a:cubicBezTo>
                  <a:cubicBezTo>
                    <a:pt x="3744" y="589"/>
                    <a:pt x="3751" y="593"/>
                    <a:pt x="3758" y="593"/>
                  </a:cubicBezTo>
                  <a:cubicBezTo>
                    <a:pt x="3766" y="593"/>
                    <a:pt x="3769" y="588"/>
                    <a:pt x="3767" y="583"/>
                  </a:cubicBezTo>
                  <a:cubicBezTo>
                    <a:pt x="3764" y="577"/>
                    <a:pt x="3756" y="573"/>
                    <a:pt x="3749" y="573"/>
                  </a:cubicBezTo>
                  <a:cubicBezTo>
                    <a:pt x="3749" y="573"/>
                    <a:pt x="3749" y="573"/>
                    <a:pt x="3749" y="573"/>
                  </a:cubicBezTo>
                  <a:moveTo>
                    <a:pt x="3564" y="573"/>
                  </a:moveTo>
                  <a:cubicBezTo>
                    <a:pt x="3557" y="573"/>
                    <a:pt x="3553" y="577"/>
                    <a:pt x="3555" y="583"/>
                  </a:cubicBezTo>
                  <a:cubicBezTo>
                    <a:pt x="3557" y="589"/>
                    <a:pt x="3565" y="593"/>
                    <a:pt x="3572" y="593"/>
                  </a:cubicBezTo>
                  <a:cubicBezTo>
                    <a:pt x="3579" y="593"/>
                    <a:pt x="3583" y="588"/>
                    <a:pt x="3581" y="583"/>
                  </a:cubicBezTo>
                  <a:cubicBezTo>
                    <a:pt x="3579" y="577"/>
                    <a:pt x="3571" y="573"/>
                    <a:pt x="3564" y="573"/>
                  </a:cubicBezTo>
                  <a:cubicBezTo>
                    <a:pt x="3564" y="573"/>
                    <a:pt x="3564" y="573"/>
                    <a:pt x="3564" y="573"/>
                  </a:cubicBezTo>
                  <a:moveTo>
                    <a:pt x="3785" y="572"/>
                  </a:moveTo>
                  <a:cubicBezTo>
                    <a:pt x="3778" y="572"/>
                    <a:pt x="3775" y="577"/>
                    <a:pt x="3777" y="583"/>
                  </a:cubicBezTo>
                  <a:cubicBezTo>
                    <a:pt x="3780" y="588"/>
                    <a:pt x="3788" y="593"/>
                    <a:pt x="3795" y="593"/>
                  </a:cubicBezTo>
                  <a:cubicBezTo>
                    <a:pt x="3802" y="593"/>
                    <a:pt x="3805" y="588"/>
                    <a:pt x="3803" y="583"/>
                  </a:cubicBezTo>
                  <a:cubicBezTo>
                    <a:pt x="3800" y="577"/>
                    <a:pt x="3792" y="572"/>
                    <a:pt x="3785" y="572"/>
                  </a:cubicBezTo>
                  <a:cubicBezTo>
                    <a:pt x="3785" y="572"/>
                    <a:pt x="3785" y="572"/>
                    <a:pt x="3785" y="572"/>
                  </a:cubicBezTo>
                  <a:moveTo>
                    <a:pt x="3601" y="572"/>
                  </a:moveTo>
                  <a:cubicBezTo>
                    <a:pt x="3594" y="572"/>
                    <a:pt x="3590" y="577"/>
                    <a:pt x="3592" y="583"/>
                  </a:cubicBezTo>
                  <a:cubicBezTo>
                    <a:pt x="3594" y="588"/>
                    <a:pt x="3602" y="593"/>
                    <a:pt x="3609" y="593"/>
                  </a:cubicBezTo>
                  <a:cubicBezTo>
                    <a:pt x="3616" y="593"/>
                    <a:pt x="3620" y="588"/>
                    <a:pt x="3618" y="583"/>
                  </a:cubicBezTo>
                  <a:cubicBezTo>
                    <a:pt x="3615" y="577"/>
                    <a:pt x="3608" y="572"/>
                    <a:pt x="3601" y="572"/>
                  </a:cubicBezTo>
                  <a:cubicBezTo>
                    <a:pt x="3601" y="572"/>
                    <a:pt x="3601" y="572"/>
                    <a:pt x="3601" y="572"/>
                  </a:cubicBezTo>
                  <a:moveTo>
                    <a:pt x="3821" y="572"/>
                  </a:moveTo>
                  <a:cubicBezTo>
                    <a:pt x="3814" y="572"/>
                    <a:pt x="3811" y="577"/>
                    <a:pt x="3814" y="582"/>
                  </a:cubicBezTo>
                  <a:cubicBezTo>
                    <a:pt x="3816" y="588"/>
                    <a:pt x="3824" y="593"/>
                    <a:pt x="3831" y="593"/>
                  </a:cubicBezTo>
                  <a:cubicBezTo>
                    <a:pt x="3838" y="593"/>
                    <a:pt x="3842" y="588"/>
                    <a:pt x="3839" y="582"/>
                  </a:cubicBezTo>
                  <a:cubicBezTo>
                    <a:pt x="3836" y="577"/>
                    <a:pt x="3829" y="572"/>
                    <a:pt x="3822" y="572"/>
                  </a:cubicBezTo>
                  <a:cubicBezTo>
                    <a:pt x="3822" y="572"/>
                    <a:pt x="3822" y="572"/>
                    <a:pt x="3821" y="572"/>
                  </a:cubicBezTo>
                  <a:moveTo>
                    <a:pt x="3858" y="572"/>
                  </a:moveTo>
                  <a:cubicBezTo>
                    <a:pt x="3851" y="572"/>
                    <a:pt x="3847" y="577"/>
                    <a:pt x="3850" y="582"/>
                  </a:cubicBezTo>
                  <a:cubicBezTo>
                    <a:pt x="3853" y="588"/>
                    <a:pt x="3861" y="593"/>
                    <a:pt x="3868" y="592"/>
                  </a:cubicBezTo>
                  <a:cubicBezTo>
                    <a:pt x="3875" y="592"/>
                    <a:pt x="3879" y="588"/>
                    <a:pt x="3876" y="582"/>
                  </a:cubicBezTo>
                  <a:cubicBezTo>
                    <a:pt x="3873" y="576"/>
                    <a:pt x="3865" y="572"/>
                    <a:pt x="3858" y="572"/>
                  </a:cubicBezTo>
                  <a:cubicBezTo>
                    <a:pt x="3858" y="572"/>
                    <a:pt x="3858" y="572"/>
                    <a:pt x="3858" y="572"/>
                  </a:cubicBezTo>
                  <a:moveTo>
                    <a:pt x="3895" y="572"/>
                  </a:moveTo>
                  <a:cubicBezTo>
                    <a:pt x="3888" y="572"/>
                    <a:pt x="3884" y="576"/>
                    <a:pt x="3887" y="582"/>
                  </a:cubicBezTo>
                  <a:cubicBezTo>
                    <a:pt x="3890" y="588"/>
                    <a:pt x="3898" y="592"/>
                    <a:pt x="3905" y="592"/>
                  </a:cubicBezTo>
                  <a:cubicBezTo>
                    <a:pt x="3912" y="592"/>
                    <a:pt x="3916" y="588"/>
                    <a:pt x="3913" y="582"/>
                  </a:cubicBezTo>
                  <a:cubicBezTo>
                    <a:pt x="3910" y="576"/>
                    <a:pt x="3902" y="572"/>
                    <a:pt x="3895" y="572"/>
                  </a:cubicBezTo>
                  <a:cubicBezTo>
                    <a:pt x="3895" y="572"/>
                    <a:pt x="3895" y="572"/>
                    <a:pt x="3895" y="572"/>
                  </a:cubicBezTo>
                  <a:moveTo>
                    <a:pt x="3931" y="571"/>
                  </a:moveTo>
                  <a:cubicBezTo>
                    <a:pt x="3924" y="571"/>
                    <a:pt x="3921" y="576"/>
                    <a:pt x="3924" y="582"/>
                  </a:cubicBezTo>
                  <a:cubicBezTo>
                    <a:pt x="3926" y="588"/>
                    <a:pt x="3935" y="592"/>
                    <a:pt x="3942" y="592"/>
                  </a:cubicBezTo>
                  <a:cubicBezTo>
                    <a:pt x="3949" y="592"/>
                    <a:pt x="3952" y="587"/>
                    <a:pt x="3949" y="582"/>
                  </a:cubicBezTo>
                  <a:cubicBezTo>
                    <a:pt x="3946" y="576"/>
                    <a:pt x="3938" y="571"/>
                    <a:pt x="3931" y="571"/>
                  </a:cubicBezTo>
                  <a:cubicBezTo>
                    <a:pt x="3931" y="571"/>
                    <a:pt x="3931" y="571"/>
                    <a:pt x="3931" y="571"/>
                  </a:cubicBezTo>
                  <a:moveTo>
                    <a:pt x="4004" y="571"/>
                  </a:moveTo>
                  <a:cubicBezTo>
                    <a:pt x="3997" y="571"/>
                    <a:pt x="3993" y="576"/>
                    <a:pt x="3996" y="581"/>
                  </a:cubicBezTo>
                  <a:cubicBezTo>
                    <a:pt x="4000" y="587"/>
                    <a:pt x="4008" y="592"/>
                    <a:pt x="4015" y="592"/>
                  </a:cubicBezTo>
                  <a:cubicBezTo>
                    <a:pt x="4022" y="592"/>
                    <a:pt x="4025" y="587"/>
                    <a:pt x="4022" y="581"/>
                  </a:cubicBezTo>
                  <a:cubicBezTo>
                    <a:pt x="4019" y="576"/>
                    <a:pt x="4011" y="571"/>
                    <a:pt x="4004" y="571"/>
                  </a:cubicBezTo>
                  <a:cubicBezTo>
                    <a:pt x="4004" y="571"/>
                    <a:pt x="4004" y="571"/>
                    <a:pt x="4004" y="571"/>
                  </a:cubicBezTo>
                  <a:moveTo>
                    <a:pt x="4040" y="571"/>
                  </a:moveTo>
                  <a:cubicBezTo>
                    <a:pt x="4033" y="571"/>
                    <a:pt x="4030" y="575"/>
                    <a:pt x="4033" y="581"/>
                  </a:cubicBezTo>
                  <a:cubicBezTo>
                    <a:pt x="4036" y="587"/>
                    <a:pt x="4045" y="591"/>
                    <a:pt x="4052" y="591"/>
                  </a:cubicBezTo>
                  <a:cubicBezTo>
                    <a:pt x="4059" y="591"/>
                    <a:pt x="4062" y="587"/>
                    <a:pt x="4059" y="581"/>
                  </a:cubicBezTo>
                  <a:cubicBezTo>
                    <a:pt x="4056" y="575"/>
                    <a:pt x="4047" y="571"/>
                    <a:pt x="4040" y="571"/>
                  </a:cubicBezTo>
                  <a:cubicBezTo>
                    <a:pt x="4040" y="571"/>
                    <a:pt x="4040" y="571"/>
                    <a:pt x="4040" y="571"/>
                  </a:cubicBezTo>
                  <a:moveTo>
                    <a:pt x="4223" y="570"/>
                  </a:moveTo>
                  <a:cubicBezTo>
                    <a:pt x="4216" y="570"/>
                    <a:pt x="4213" y="574"/>
                    <a:pt x="4216" y="580"/>
                  </a:cubicBezTo>
                  <a:cubicBezTo>
                    <a:pt x="4220" y="586"/>
                    <a:pt x="4228" y="590"/>
                    <a:pt x="4235" y="590"/>
                  </a:cubicBezTo>
                  <a:cubicBezTo>
                    <a:pt x="4243" y="590"/>
                    <a:pt x="4245" y="586"/>
                    <a:pt x="4242" y="580"/>
                  </a:cubicBezTo>
                  <a:cubicBezTo>
                    <a:pt x="4238" y="574"/>
                    <a:pt x="4230" y="570"/>
                    <a:pt x="4223" y="570"/>
                  </a:cubicBezTo>
                  <a:cubicBezTo>
                    <a:pt x="4223" y="570"/>
                    <a:pt x="4223" y="570"/>
                    <a:pt x="4223" y="570"/>
                  </a:cubicBezTo>
                  <a:moveTo>
                    <a:pt x="114" y="564"/>
                  </a:moveTo>
                  <a:cubicBezTo>
                    <a:pt x="107" y="565"/>
                    <a:pt x="98" y="569"/>
                    <a:pt x="93" y="575"/>
                  </a:cubicBezTo>
                  <a:cubicBezTo>
                    <a:pt x="88" y="580"/>
                    <a:pt x="90" y="585"/>
                    <a:pt x="97" y="585"/>
                  </a:cubicBezTo>
                  <a:cubicBezTo>
                    <a:pt x="104" y="585"/>
                    <a:pt x="114" y="580"/>
                    <a:pt x="119" y="575"/>
                  </a:cubicBezTo>
                  <a:cubicBezTo>
                    <a:pt x="123" y="569"/>
                    <a:pt x="122" y="564"/>
                    <a:pt x="115" y="564"/>
                  </a:cubicBezTo>
                  <a:cubicBezTo>
                    <a:pt x="115" y="564"/>
                    <a:pt x="115" y="564"/>
                    <a:pt x="114" y="564"/>
                  </a:cubicBezTo>
                  <a:moveTo>
                    <a:pt x="149" y="564"/>
                  </a:moveTo>
                  <a:cubicBezTo>
                    <a:pt x="142" y="564"/>
                    <a:pt x="132" y="569"/>
                    <a:pt x="128" y="574"/>
                  </a:cubicBezTo>
                  <a:cubicBezTo>
                    <a:pt x="123" y="580"/>
                    <a:pt x="125" y="585"/>
                    <a:pt x="132" y="585"/>
                  </a:cubicBezTo>
                  <a:cubicBezTo>
                    <a:pt x="139" y="584"/>
                    <a:pt x="149" y="580"/>
                    <a:pt x="153" y="574"/>
                  </a:cubicBezTo>
                  <a:cubicBezTo>
                    <a:pt x="158" y="569"/>
                    <a:pt x="156" y="564"/>
                    <a:pt x="149" y="564"/>
                  </a:cubicBezTo>
                  <a:cubicBezTo>
                    <a:pt x="149" y="564"/>
                    <a:pt x="149" y="564"/>
                    <a:pt x="149" y="564"/>
                  </a:cubicBezTo>
                  <a:moveTo>
                    <a:pt x="185" y="564"/>
                  </a:moveTo>
                  <a:cubicBezTo>
                    <a:pt x="178" y="564"/>
                    <a:pt x="169" y="569"/>
                    <a:pt x="164" y="574"/>
                  </a:cubicBezTo>
                  <a:cubicBezTo>
                    <a:pt x="159" y="580"/>
                    <a:pt x="161" y="584"/>
                    <a:pt x="168" y="584"/>
                  </a:cubicBezTo>
                  <a:cubicBezTo>
                    <a:pt x="175" y="584"/>
                    <a:pt x="185" y="580"/>
                    <a:pt x="190" y="574"/>
                  </a:cubicBezTo>
                  <a:cubicBezTo>
                    <a:pt x="194" y="569"/>
                    <a:pt x="192" y="564"/>
                    <a:pt x="185" y="564"/>
                  </a:cubicBezTo>
                  <a:cubicBezTo>
                    <a:pt x="185" y="564"/>
                    <a:pt x="185" y="564"/>
                    <a:pt x="185" y="564"/>
                  </a:cubicBezTo>
                  <a:moveTo>
                    <a:pt x="223" y="564"/>
                  </a:moveTo>
                  <a:cubicBezTo>
                    <a:pt x="216" y="564"/>
                    <a:pt x="207" y="568"/>
                    <a:pt x="202" y="574"/>
                  </a:cubicBezTo>
                  <a:cubicBezTo>
                    <a:pt x="197" y="580"/>
                    <a:pt x="199" y="584"/>
                    <a:pt x="207" y="584"/>
                  </a:cubicBezTo>
                  <a:cubicBezTo>
                    <a:pt x="214" y="584"/>
                    <a:pt x="223" y="579"/>
                    <a:pt x="228" y="574"/>
                  </a:cubicBezTo>
                  <a:cubicBezTo>
                    <a:pt x="232" y="568"/>
                    <a:pt x="230" y="564"/>
                    <a:pt x="223" y="564"/>
                  </a:cubicBezTo>
                  <a:cubicBezTo>
                    <a:pt x="223" y="564"/>
                    <a:pt x="223" y="564"/>
                    <a:pt x="223" y="564"/>
                  </a:cubicBezTo>
                  <a:moveTo>
                    <a:pt x="259" y="564"/>
                  </a:moveTo>
                  <a:cubicBezTo>
                    <a:pt x="252" y="564"/>
                    <a:pt x="243" y="568"/>
                    <a:pt x="238" y="574"/>
                  </a:cubicBezTo>
                  <a:cubicBezTo>
                    <a:pt x="234" y="579"/>
                    <a:pt x="236" y="584"/>
                    <a:pt x="243" y="584"/>
                  </a:cubicBezTo>
                  <a:cubicBezTo>
                    <a:pt x="250" y="584"/>
                    <a:pt x="259" y="579"/>
                    <a:pt x="264" y="574"/>
                  </a:cubicBezTo>
                  <a:cubicBezTo>
                    <a:pt x="268" y="568"/>
                    <a:pt x="266" y="564"/>
                    <a:pt x="259" y="564"/>
                  </a:cubicBezTo>
                  <a:cubicBezTo>
                    <a:pt x="259" y="564"/>
                    <a:pt x="259" y="564"/>
                    <a:pt x="259" y="564"/>
                  </a:cubicBezTo>
                  <a:moveTo>
                    <a:pt x="295" y="563"/>
                  </a:moveTo>
                  <a:cubicBezTo>
                    <a:pt x="288" y="563"/>
                    <a:pt x="279" y="568"/>
                    <a:pt x="275" y="574"/>
                  </a:cubicBezTo>
                  <a:cubicBezTo>
                    <a:pt x="270" y="579"/>
                    <a:pt x="272" y="584"/>
                    <a:pt x="279" y="584"/>
                  </a:cubicBezTo>
                  <a:cubicBezTo>
                    <a:pt x="287" y="584"/>
                    <a:pt x="296" y="579"/>
                    <a:pt x="300" y="573"/>
                  </a:cubicBezTo>
                  <a:cubicBezTo>
                    <a:pt x="305" y="568"/>
                    <a:pt x="302" y="563"/>
                    <a:pt x="296" y="563"/>
                  </a:cubicBezTo>
                  <a:cubicBezTo>
                    <a:pt x="295" y="563"/>
                    <a:pt x="295" y="563"/>
                    <a:pt x="295" y="563"/>
                  </a:cubicBezTo>
                  <a:moveTo>
                    <a:pt x="332" y="563"/>
                  </a:moveTo>
                  <a:cubicBezTo>
                    <a:pt x="325" y="563"/>
                    <a:pt x="315" y="568"/>
                    <a:pt x="311" y="573"/>
                  </a:cubicBezTo>
                  <a:cubicBezTo>
                    <a:pt x="307" y="579"/>
                    <a:pt x="309" y="583"/>
                    <a:pt x="316" y="583"/>
                  </a:cubicBezTo>
                  <a:cubicBezTo>
                    <a:pt x="323" y="583"/>
                    <a:pt x="332" y="579"/>
                    <a:pt x="336" y="573"/>
                  </a:cubicBezTo>
                  <a:cubicBezTo>
                    <a:pt x="341" y="568"/>
                    <a:pt x="339" y="563"/>
                    <a:pt x="332" y="563"/>
                  </a:cubicBezTo>
                  <a:cubicBezTo>
                    <a:pt x="332" y="563"/>
                    <a:pt x="332" y="563"/>
                    <a:pt x="332" y="563"/>
                  </a:cubicBezTo>
                  <a:moveTo>
                    <a:pt x="368" y="563"/>
                  </a:moveTo>
                  <a:cubicBezTo>
                    <a:pt x="361" y="563"/>
                    <a:pt x="352" y="568"/>
                    <a:pt x="347" y="573"/>
                  </a:cubicBezTo>
                  <a:cubicBezTo>
                    <a:pt x="343" y="579"/>
                    <a:pt x="345" y="583"/>
                    <a:pt x="353" y="583"/>
                  </a:cubicBezTo>
                  <a:cubicBezTo>
                    <a:pt x="360" y="583"/>
                    <a:pt x="369" y="579"/>
                    <a:pt x="373" y="573"/>
                  </a:cubicBezTo>
                  <a:cubicBezTo>
                    <a:pt x="377" y="567"/>
                    <a:pt x="375" y="563"/>
                    <a:pt x="368" y="563"/>
                  </a:cubicBezTo>
                  <a:cubicBezTo>
                    <a:pt x="368" y="563"/>
                    <a:pt x="368" y="563"/>
                    <a:pt x="368" y="563"/>
                  </a:cubicBezTo>
                  <a:moveTo>
                    <a:pt x="405" y="563"/>
                  </a:moveTo>
                  <a:cubicBezTo>
                    <a:pt x="398" y="563"/>
                    <a:pt x="389" y="567"/>
                    <a:pt x="385" y="573"/>
                  </a:cubicBezTo>
                  <a:cubicBezTo>
                    <a:pt x="381" y="578"/>
                    <a:pt x="383" y="583"/>
                    <a:pt x="390" y="583"/>
                  </a:cubicBezTo>
                  <a:cubicBezTo>
                    <a:pt x="397" y="583"/>
                    <a:pt x="406" y="578"/>
                    <a:pt x="411" y="573"/>
                  </a:cubicBezTo>
                  <a:cubicBezTo>
                    <a:pt x="415" y="567"/>
                    <a:pt x="412" y="563"/>
                    <a:pt x="406" y="563"/>
                  </a:cubicBezTo>
                  <a:cubicBezTo>
                    <a:pt x="406" y="563"/>
                    <a:pt x="405" y="563"/>
                    <a:pt x="405" y="563"/>
                  </a:cubicBezTo>
                  <a:moveTo>
                    <a:pt x="442" y="562"/>
                  </a:moveTo>
                  <a:cubicBezTo>
                    <a:pt x="435" y="563"/>
                    <a:pt x="425" y="567"/>
                    <a:pt x="421" y="573"/>
                  </a:cubicBezTo>
                  <a:cubicBezTo>
                    <a:pt x="417" y="578"/>
                    <a:pt x="420" y="583"/>
                    <a:pt x="427" y="583"/>
                  </a:cubicBezTo>
                  <a:cubicBezTo>
                    <a:pt x="434" y="583"/>
                    <a:pt x="443" y="578"/>
                    <a:pt x="447" y="573"/>
                  </a:cubicBezTo>
                  <a:cubicBezTo>
                    <a:pt x="451" y="567"/>
                    <a:pt x="449" y="562"/>
                    <a:pt x="442" y="562"/>
                  </a:cubicBezTo>
                  <a:cubicBezTo>
                    <a:pt x="442" y="562"/>
                    <a:pt x="442" y="562"/>
                    <a:pt x="442" y="562"/>
                  </a:cubicBezTo>
                  <a:moveTo>
                    <a:pt x="478" y="562"/>
                  </a:moveTo>
                  <a:cubicBezTo>
                    <a:pt x="471" y="562"/>
                    <a:pt x="462" y="567"/>
                    <a:pt x="458" y="572"/>
                  </a:cubicBezTo>
                  <a:cubicBezTo>
                    <a:pt x="454" y="578"/>
                    <a:pt x="456" y="583"/>
                    <a:pt x="463" y="582"/>
                  </a:cubicBezTo>
                  <a:cubicBezTo>
                    <a:pt x="470" y="582"/>
                    <a:pt x="479" y="578"/>
                    <a:pt x="483" y="572"/>
                  </a:cubicBezTo>
                  <a:cubicBezTo>
                    <a:pt x="487" y="567"/>
                    <a:pt x="485" y="562"/>
                    <a:pt x="478" y="562"/>
                  </a:cubicBezTo>
                  <a:cubicBezTo>
                    <a:pt x="478" y="562"/>
                    <a:pt x="478" y="562"/>
                    <a:pt x="478" y="562"/>
                  </a:cubicBezTo>
                  <a:moveTo>
                    <a:pt x="515" y="562"/>
                  </a:moveTo>
                  <a:cubicBezTo>
                    <a:pt x="508" y="562"/>
                    <a:pt x="499" y="567"/>
                    <a:pt x="495" y="572"/>
                  </a:cubicBezTo>
                  <a:cubicBezTo>
                    <a:pt x="491" y="578"/>
                    <a:pt x="493" y="582"/>
                    <a:pt x="500" y="582"/>
                  </a:cubicBezTo>
                  <a:cubicBezTo>
                    <a:pt x="507" y="582"/>
                    <a:pt x="516" y="578"/>
                    <a:pt x="520" y="572"/>
                  </a:cubicBezTo>
                  <a:cubicBezTo>
                    <a:pt x="524" y="566"/>
                    <a:pt x="522" y="562"/>
                    <a:pt x="515" y="562"/>
                  </a:cubicBezTo>
                  <a:cubicBezTo>
                    <a:pt x="515" y="562"/>
                    <a:pt x="515" y="562"/>
                    <a:pt x="515" y="562"/>
                  </a:cubicBezTo>
                  <a:moveTo>
                    <a:pt x="551" y="562"/>
                  </a:moveTo>
                  <a:cubicBezTo>
                    <a:pt x="544" y="562"/>
                    <a:pt x="535" y="566"/>
                    <a:pt x="531" y="572"/>
                  </a:cubicBezTo>
                  <a:cubicBezTo>
                    <a:pt x="527" y="578"/>
                    <a:pt x="530" y="582"/>
                    <a:pt x="537" y="582"/>
                  </a:cubicBezTo>
                  <a:cubicBezTo>
                    <a:pt x="544" y="582"/>
                    <a:pt x="553" y="577"/>
                    <a:pt x="556" y="572"/>
                  </a:cubicBezTo>
                  <a:cubicBezTo>
                    <a:pt x="560" y="566"/>
                    <a:pt x="558" y="562"/>
                    <a:pt x="551" y="562"/>
                  </a:cubicBezTo>
                  <a:cubicBezTo>
                    <a:pt x="551" y="562"/>
                    <a:pt x="551" y="562"/>
                    <a:pt x="551" y="562"/>
                  </a:cubicBezTo>
                  <a:moveTo>
                    <a:pt x="587" y="562"/>
                  </a:moveTo>
                  <a:cubicBezTo>
                    <a:pt x="580" y="562"/>
                    <a:pt x="571" y="566"/>
                    <a:pt x="567" y="572"/>
                  </a:cubicBezTo>
                  <a:cubicBezTo>
                    <a:pt x="564" y="577"/>
                    <a:pt x="566" y="582"/>
                    <a:pt x="573" y="582"/>
                  </a:cubicBezTo>
                  <a:cubicBezTo>
                    <a:pt x="580" y="582"/>
                    <a:pt x="589" y="577"/>
                    <a:pt x="593" y="572"/>
                  </a:cubicBezTo>
                  <a:cubicBezTo>
                    <a:pt x="597" y="566"/>
                    <a:pt x="594" y="562"/>
                    <a:pt x="587" y="562"/>
                  </a:cubicBezTo>
                  <a:cubicBezTo>
                    <a:pt x="587" y="562"/>
                    <a:pt x="587" y="562"/>
                    <a:pt x="587" y="562"/>
                  </a:cubicBezTo>
                  <a:moveTo>
                    <a:pt x="623" y="561"/>
                  </a:moveTo>
                  <a:cubicBezTo>
                    <a:pt x="616" y="561"/>
                    <a:pt x="607" y="566"/>
                    <a:pt x="604" y="572"/>
                  </a:cubicBezTo>
                  <a:cubicBezTo>
                    <a:pt x="600" y="577"/>
                    <a:pt x="602" y="582"/>
                    <a:pt x="610" y="582"/>
                  </a:cubicBezTo>
                  <a:cubicBezTo>
                    <a:pt x="617" y="582"/>
                    <a:pt x="625" y="577"/>
                    <a:pt x="629" y="571"/>
                  </a:cubicBezTo>
                  <a:cubicBezTo>
                    <a:pt x="633" y="566"/>
                    <a:pt x="630" y="561"/>
                    <a:pt x="623" y="561"/>
                  </a:cubicBezTo>
                  <a:cubicBezTo>
                    <a:pt x="623" y="561"/>
                    <a:pt x="623" y="561"/>
                    <a:pt x="623" y="561"/>
                  </a:cubicBezTo>
                  <a:moveTo>
                    <a:pt x="660" y="561"/>
                  </a:moveTo>
                  <a:cubicBezTo>
                    <a:pt x="653" y="561"/>
                    <a:pt x="644" y="566"/>
                    <a:pt x="640" y="571"/>
                  </a:cubicBezTo>
                  <a:cubicBezTo>
                    <a:pt x="636" y="577"/>
                    <a:pt x="639" y="581"/>
                    <a:pt x="646" y="581"/>
                  </a:cubicBezTo>
                  <a:cubicBezTo>
                    <a:pt x="653" y="581"/>
                    <a:pt x="662" y="577"/>
                    <a:pt x="666" y="571"/>
                  </a:cubicBezTo>
                  <a:cubicBezTo>
                    <a:pt x="669" y="566"/>
                    <a:pt x="667" y="561"/>
                    <a:pt x="660" y="561"/>
                  </a:cubicBezTo>
                  <a:cubicBezTo>
                    <a:pt x="660" y="561"/>
                    <a:pt x="660" y="561"/>
                    <a:pt x="660" y="561"/>
                  </a:cubicBezTo>
                  <a:moveTo>
                    <a:pt x="696" y="561"/>
                  </a:moveTo>
                  <a:cubicBezTo>
                    <a:pt x="689" y="561"/>
                    <a:pt x="681" y="565"/>
                    <a:pt x="677" y="571"/>
                  </a:cubicBezTo>
                  <a:cubicBezTo>
                    <a:pt x="673" y="577"/>
                    <a:pt x="676" y="581"/>
                    <a:pt x="683" y="581"/>
                  </a:cubicBezTo>
                  <a:cubicBezTo>
                    <a:pt x="690" y="581"/>
                    <a:pt x="699" y="577"/>
                    <a:pt x="702" y="571"/>
                  </a:cubicBezTo>
                  <a:cubicBezTo>
                    <a:pt x="706" y="565"/>
                    <a:pt x="703" y="561"/>
                    <a:pt x="696" y="561"/>
                  </a:cubicBezTo>
                  <a:cubicBezTo>
                    <a:pt x="696" y="561"/>
                    <a:pt x="696" y="561"/>
                    <a:pt x="696" y="561"/>
                  </a:cubicBezTo>
                  <a:moveTo>
                    <a:pt x="732" y="561"/>
                  </a:moveTo>
                  <a:cubicBezTo>
                    <a:pt x="725" y="561"/>
                    <a:pt x="717" y="565"/>
                    <a:pt x="713" y="571"/>
                  </a:cubicBezTo>
                  <a:cubicBezTo>
                    <a:pt x="710" y="576"/>
                    <a:pt x="712" y="581"/>
                    <a:pt x="720" y="581"/>
                  </a:cubicBezTo>
                  <a:cubicBezTo>
                    <a:pt x="727" y="581"/>
                    <a:pt x="735" y="576"/>
                    <a:pt x="739" y="571"/>
                  </a:cubicBezTo>
                  <a:cubicBezTo>
                    <a:pt x="742" y="565"/>
                    <a:pt x="739" y="561"/>
                    <a:pt x="732" y="561"/>
                  </a:cubicBezTo>
                  <a:cubicBezTo>
                    <a:pt x="732" y="561"/>
                    <a:pt x="732" y="561"/>
                    <a:pt x="732" y="561"/>
                  </a:cubicBezTo>
                  <a:moveTo>
                    <a:pt x="769" y="560"/>
                  </a:moveTo>
                  <a:cubicBezTo>
                    <a:pt x="762" y="560"/>
                    <a:pt x="753" y="565"/>
                    <a:pt x="750" y="571"/>
                  </a:cubicBezTo>
                  <a:cubicBezTo>
                    <a:pt x="746" y="576"/>
                    <a:pt x="749" y="581"/>
                    <a:pt x="756" y="581"/>
                  </a:cubicBezTo>
                  <a:cubicBezTo>
                    <a:pt x="763" y="581"/>
                    <a:pt x="772" y="576"/>
                    <a:pt x="775" y="571"/>
                  </a:cubicBezTo>
                  <a:cubicBezTo>
                    <a:pt x="779" y="565"/>
                    <a:pt x="776" y="560"/>
                    <a:pt x="769" y="560"/>
                  </a:cubicBezTo>
                  <a:cubicBezTo>
                    <a:pt x="769" y="560"/>
                    <a:pt x="769" y="560"/>
                    <a:pt x="769" y="560"/>
                  </a:cubicBezTo>
                  <a:moveTo>
                    <a:pt x="803" y="560"/>
                  </a:moveTo>
                  <a:cubicBezTo>
                    <a:pt x="796" y="560"/>
                    <a:pt x="788" y="565"/>
                    <a:pt x="784" y="571"/>
                  </a:cubicBezTo>
                  <a:cubicBezTo>
                    <a:pt x="781" y="576"/>
                    <a:pt x="784" y="581"/>
                    <a:pt x="791" y="581"/>
                  </a:cubicBezTo>
                  <a:cubicBezTo>
                    <a:pt x="798" y="581"/>
                    <a:pt x="807" y="576"/>
                    <a:pt x="810" y="570"/>
                  </a:cubicBezTo>
                  <a:cubicBezTo>
                    <a:pt x="813" y="565"/>
                    <a:pt x="810" y="560"/>
                    <a:pt x="803" y="560"/>
                  </a:cubicBezTo>
                  <a:cubicBezTo>
                    <a:pt x="803" y="560"/>
                    <a:pt x="803" y="560"/>
                    <a:pt x="803" y="560"/>
                  </a:cubicBezTo>
                  <a:moveTo>
                    <a:pt x="839" y="560"/>
                  </a:moveTo>
                  <a:cubicBezTo>
                    <a:pt x="832" y="560"/>
                    <a:pt x="824" y="565"/>
                    <a:pt x="821" y="570"/>
                  </a:cubicBezTo>
                  <a:cubicBezTo>
                    <a:pt x="817" y="576"/>
                    <a:pt x="820" y="581"/>
                    <a:pt x="827" y="580"/>
                  </a:cubicBezTo>
                  <a:cubicBezTo>
                    <a:pt x="834" y="580"/>
                    <a:pt x="843" y="576"/>
                    <a:pt x="846" y="570"/>
                  </a:cubicBezTo>
                  <a:cubicBezTo>
                    <a:pt x="849" y="565"/>
                    <a:pt x="846" y="560"/>
                    <a:pt x="839" y="560"/>
                  </a:cubicBezTo>
                  <a:cubicBezTo>
                    <a:pt x="839" y="560"/>
                    <a:pt x="839" y="560"/>
                    <a:pt x="839" y="560"/>
                  </a:cubicBezTo>
                  <a:moveTo>
                    <a:pt x="876" y="560"/>
                  </a:moveTo>
                  <a:cubicBezTo>
                    <a:pt x="869" y="560"/>
                    <a:pt x="860" y="565"/>
                    <a:pt x="857" y="570"/>
                  </a:cubicBezTo>
                  <a:cubicBezTo>
                    <a:pt x="854" y="576"/>
                    <a:pt x="857" y="580"/>
                    <a:pt x="864" y="580"/>
                  </a:cubicBezTo>
                  <a:cubicBezTo>
                    <a:pt x="871" y="580"/>
                    <a:pt x="879" y="576"/>
                    <a:pt x="883" y="570"/>
                  </a:cubicBezTo>
                  <a:cubicBezTo>
                    <a:pt x="886" y="564"/>
                    <a:pt x="883" y="560"/>
                    <a:pt x="876" y="560"/>
                  </a:cubicBezTo>
                  <a:cubicBezTo>
                    <a:pt x="876" y="560"/>
                    <a:pt x="876" y="560"/>
                    <a:pt x="876" y="560"/>
                  </a:cubicBezTo>
                  <a:moveTo>
                    <a:pt x="1893" y="554"/>
                  </a:moveTo>
                  <a:cubicBezTo>
                    <a:pt x="1886" y="554"/>
                    <a:pt x="1879" y="559"/>
                    <a:pt x="1878" y="565"/>
                  </a:cubicBezTo>
                  <a:cubicBezTo>
                    <a:pt x="1877" y="570"/>
                    <a:pt x="1882" y="575"/>
                    <a:pt x="1889" y="575"/>
                  </a:cubicBezTo>
                  <a:cubicBezTo>
                    <a:pt x="1896" y="575"/>
                    <a:pt x="1902" y="570"/>
                    <a:pt x="1904" y="565"/>
                  </a:cubicBezTo>
                  <a:cubicBezTo>
                    <a:pt x="1905" y="559"/>
                    <a:pt x="1900" y="554"/>
                    <a:pt x="1893" y="554"/>
                  </a:cubicBezTo>
                  <a:cubicBezTo>
                    <a:pt x="1893" y="554"/>
                    <a:pt x="1893" y="554"/>
                    <a:pt x="1893" y="554"/>
                  </a:cubicBezTo>
                  <a:moveTo>
                    <a:pt x="1926" y="554"/>
                  </a:moveTo>
                  <a:cubicBezTo>
                    <a:pt x="1919" y="554"/>
                    <a:pt x="1913" y="559"/>
                    <a:pt x="1912" y="564"/>
                  </a:cubicBezTo>
                  <a:cubicBezTo>
                    <a:pt x="1910" y="570"/>
                    <a:pt x="1915" y="575"/>
                    <a:pt x="1922" y="575"/>
                  </a:cubicBezTo>
                  <a:cubicBezTo>
                    <a:pt x="1929" y="575"/>
                    <a:pt x="1936" y="570"/>
                    <a:pt x="1937" y="564"/>
                  </a:cubicBezTo>
                  <a:cubicBezTo>
                    <a:pt x="1938" y="559"/>
                    <a:pt x="1933" y="554"/>
                    <a:pt x="1926" y="554"/>
                  </a:cubicBezTo>
                  <a:cubicBezTo>
                    <a:pt x="1926" y="554"/>
                    <a:pt x="1926" y="554"/>
                    <a:pt x="1926" y="554"/>
                  </a:cubicBezTo>
                  <a:moveTo>
                    <a:pt x="1962" y="554"/>
                  </a:moveTo>
                  <a:cubicBezTo>
                    <a:pt x="1955" y="554"/>
                    <a:pt x="1949" y="559"/>
                    <a:pt x="1948" y="564"/>
                  </a:cubicBezTo>
                  <a:cubicBezTo>
                    <a:pt x="1947" y="570"/>
                    <a:pt x="1951" y="574"/>
                    <a:pt x="1958" y="574"/>
                  </a:cubicBezTo>
                  <a:cubicBezTo>
                    <a:pt x="1966" y="574"/>
                    <a:pt x="1972" y="570"/>
                    <a:pt x="1973" y="564"/>
                  </a:cubicBezTo>
                  <a:cubicBezTo>
                    <a:pt x="1974" y="558"/>
                    <a:pt x="1969" y="554"/>
                    <a:pt x="1962" y="554"/>
                  </a:cubicBezTo>
                  <a:cubicBezTo>
                    <a:pt x="1962" y="554"/>
                    <a:pt x="1962" y="554"/>
                    <a:pt x="1962" y="554"/>
                  </a:cubicBezTo>
                  <a:moveTo>
                    <a:pt x="1999" y="554"/>
                  </a:moveTo>
                  <a:cubicBezTo>
                    <a:pt x="1992" y="554"/>
                    <a:pt x="1985" y="558"/>
                    <a:pt x="1984" y="564"/>
                  </a:cubicBezTo>
                  <a:cubicBezTo>
                    <a:pt x="1983" y="570"/>
                    <a:pt x="1988" y="574"/>
                    <a:pt x="1995" y="574"/>
                  </a:cubicBezTo>
                  <a:cubicBezTo>
                    <a:pt x="2002" y="574"/>
                    <a:pt x="2008" y="569"/>
                    <a:pt x="2009" y="564"/>
                  </a:cubicBezTo>
                  <a:cubicBezTo>
                    <a:pt x="2010" y="558"/>
                    <a:pt x="2006" y="554"/>
                    <a:pt x="1999" y="554"/>
                  </a:cubicBezTo>
                  <a:cubicBezTo>
                    <a:pt x="1999" y="554"/>
                    <a:pt x="1999" y="554"/>
                    <a:pt x="1999" y="554"/>
                  </a:cubicBezTo>
                  <a:moveTo>
                    <a:pt x="2035" y="552"/>
                  </a:moveTo>
                  <a:cubicBezTo>
                    <a:pt x="2028" y="552"/>
                    <a:pt x="2021" y="557"/>
                    <a:pt x="2020" y="562"/>
                  </a:cubicBezTo>
                  <a:cubicBezTo>
                    <a:pt x="2019" y="568"/>
                    <a:pt x="2024" y="573"/>
                    <a:pt x="2031" y="573"/>
                  </a:cubicBezTo>
                  <a:cubicBezTo>
                    <a:pt x="2038" y="573"/>
                    <a:pt x="2045" y="568"/>
                    <a:pt x="2046" y="562"/>
                  </a:cubicBezTo>
                  <a:cubicBezTo>
                    <a:pt x="2047" y="557"/>
                    <a:pt x="2042" y="552"/>
                    <a:pt x="2035" y="552"/>
                  </a:cubicBezTo>
                  <a:cubicBezTo>
                    <a:pt x="2035" y="552"/>
                    <a:pt x="2035" y="552"/>
                    <a:pt x="2035" y="552"/>
                  </a:cubicBezTo>
                  <a:moveTo>
                    <a:pt x="2179" y="551"/>
                  </a:moveTo>
                  <a:cubicBezTo>
                    <a:pt x="2172" y="551"/>
                    <a:pt x="2166" y="556"/>
                    <a:pt x="2165" y="562"/>
                  </a:cubicBezTo>
                  <a:cubicBezTo>
                    <a:pt x="2164" y="567"/>
                    <a:pt x="2170" y="572"/>
                    <a:pt x="2177" y="572"/>
                  </a:cubicBezTo>
                  <a:cubicBezTo>
                    <a:pt x="2184" y="572"/>
                    <a:pt x="2190" y="567"/>
                    <a:pt x="2190" y="561"/>
                  </a:cubicBezTo>
                  <a:cubicBezTo>
                    <a:pt x="2191" y="556"/>
                    <a:pt x="2186" y="551"/>
                    <a:pt x="2179" y="551"/>
                  </a:cubicBezTo>
                  <a:cubicBezTo>
                    <a:pt x="2179" y="551"/>
                    <a:pt x="2179" y="551"/>
                    <a:pt x="2179" y="551"/>
                  </a:cubicBezTo>
                  <a:moveTo>
                    <a:pt x="2289" y="550"/>
                  </a:moveTo>
                  <a:cubicBezTo>
                    <a:pt x="2282" y="550"/>
                    <a:pt x="2276" y="554"/>
                    <a:pt x="2276" y="560"/>
                  </a:cubicBezTo>
                  <a:cubicBezTo>
                    <a:pt x="2275" y="566"/>
                    <a:pt x="2281" y="570"/>
                    <a:pt x="2288" y="570"/>
                  </a:cubicBezTo>
                  <a:cubicBezTo>
                    <a:pt x="2295" y="570"/>
                    <a:pt x="2301" y="566"/>
                    <a:pt x="2301" y="560"/>
                  </a:cubicBezTo>
                  <a:cubicBezTo>
                    <a:pt x="2302" y="554"/>
                    <a:pt x="2296" y="550"/>
                    <a:pt x="2289" y="550"/>
                  </a:cubicBezTo>
                  <a:cubicBezTo>
                    <a:pt x="2289" y="550"/>
                    <a:pt x="2289" y="550"/>
                    <a:pt x="2289" y="550"/>
                  </a:cubicBezTo>
                  <a:moveTo>
                    <a:pt x="2362" y="549"/>
                  </a:moveTo>
                  <a:cubicBezTo>
                    <a:pt x="2355" y="549"/>
                    <a:pt x="2349" y="554"/>
                    <a:pt x="2348" y="560"/>
                  </a:cubicBezTo>
                  <a:cubicBezTo>
                    <a:pt x="2348" y="565"/>
                    <a:pt x="2354" y="570"/>
                    <a:pt x="2361" y="570"/>
                  </a:cubicBezTo>
                  <a:cubicBezTo>
                    <a:pt x="2368" y="570"/>
                    <a:pt x="2374" y="565"/>
                    <a:pt x="2374" y="559"/>
                  </a:cubicBezTo>
                  <a:cubicBezTo>
                    <a:pt x="2374" y="554"/>
                    <a:pt x="2369" y="549"/>
                    <a:pt x="2362" y="549"/>
                  </a:cubicBezTo>
                  <a:cubicBezTo>
                    <a:pt x="2362" y="549"/>
                    <a:pt x="2362" y="549"/>
                    <a:pt x="2362" y="549"/>
                  </a:cubicBezTo>
                  <a:moveTo>
                    <a:pt x="2760" y="549"/>
                  </a:moveTo>
                  <a:cubicBezTo>
                    <a:pt x="2753" y="549"/>
                    <a:pt x="2747" y="554"/>
                    <a:pt x="2748" y="559"/>
                  </a:cubicBezTo>
                  <a:cubicBezTo>
                    <a:pt x="2748" y="565"/>
                    <a:pt x="2755" y="570"/>
                    <a:pt x="2762" y="569"/>
                  </a:cubicBezTo>
                  <a:cubicBezTo>
                    <a:pt x="2769" y="569"/>
                    <a:pt x="2774" y="565"/>
                    <a:pt x="2773" y="559"/>
                  </a:cubicBezTo>
                  <a:cubicBezTo>
                    <a:pt x="2773" y="554"/>
                    <a:pt x="2767" y="549"/>
                    <a:pt x="2760" y="549"/>
                  </a:cubicBezTo>
                  <a:cubicBezTo>
                    <a:pt x="2760" y="549"/>
                    <a:pt x="2760" y="549"/>
                    <a:pt x="2760" y="549"/>
                  </a:cubicBezTo>
                  <a:moveTo>
                    <a:pt x="2470" y="549"/>
                  </a:moveTo>
                  <a:cubicBezTo>
                    <a:pt x="2463" y="549"/>
                    <a:pt x="2457" y="553"/>
                    <a:pt x="2457" y="559"/>
                  </a:cubicBezTo>
                  <a:cubicBezTo>
                    <a:pt x="2457" y="565"/>
                    <a:pt x="2463" y="569"/>
                    <a:pt x="2470" y="569"/>
                  </a:cubicBezTo>
                  <a:cubicBezTo>
                    <a:pt x="2477" y="569"/>
                    <a:pt x="2483" y="564"/>
                    <a:pt x="2483" y="559"/>
                  </a:cubicBezTo>
                  <a:cubicBezTo>
                    <a:pt x="2483" y="553"/>
                    <a:pt x="2477" y="549"/>
                    <a:pt x="2470" y="549"/>
                  </a:cubicBezTo>
                  <a:cubicBezTo>
                    <a:pt x="2470" y="549"/>
                    <a:pt x="2470" y="549"/>
                    <a:pt x="2470" y="549"/>
                  </a:cubicBezTo>
                  <a:moveTo>
                    <a:pt x="2506" y="548"/>
                  </a:moveTo>
                  <a:cubicBezTo>
                    <a:pt x="2499" y="548"/>
                    <a:pt x="2493" y="553"/>
                    <a:pt x="2493" y="559"/>
                  </a:cubicBezTo>
                  <a:cubicBezTo>
                    <a:pt x="2493" y="564"/>
                    <a:pt x="2499" y="569"/>
                    <a:pt x="2506" y="569"/>
                  </a:cubicBezTo>
                  <a:cubicBezTo>
                    <a:pt x="2513" y="569"/>
                    <a:pt x="2519" y="564"/>
                    <a:pt x="2519" y="559"/>
                  </a:cubicBezTo>
                  <a:cubicBezTo>
                    <a:pt x="2519" y="553"/>
                    <a:pt x="2513" y="548"/>
                    <a:pt x="2506" y="548"/>
                  </a:cubicBezTo>
                  <a:cubicBezTo>
                    <a:pt x="2506" y="548"/>
                    <a:pt x="2506" y="548"/>
                    <a:pt x="2506" y="548"/>
                  </a:cubicBezTo>
                  <a:moveTo>
                    <a:pt x="2652" y="548"/>
                  </a:moveTo>
                  <a:cubicBezTo>
                    <a:pt x="2645" y="548"/>
                    <a:pt x="2639" y="553"/>
                    <a:pt x="2640" y="559"/>
                  </a:cubicBezTo>
                  <a:cubicBezTo>
                    <a:pt x="2640" y="564"/>
                    <a:pt x="2646" y="569"/>
                    <a:pt x="2653" y="569"/>
                  </a:cubicBezTo>
                  <a:cubicBezTo>
                    <a:pt x="2660" y="569"/>
                    <a:pt x="2665" y="564"/>
                    <a:pt x="2665" y="559"/>
                  </a:cubicBezTo>
                  <a:cubicBezTo>
                    <a:pt x="2665" y="553"/>
                    <a:pt x="2659" y="548"/>
                    <a:pt x="2652" y="548"/>
                  </a:cubicBezTo>
                  <a:cubicBezTo>
                    <a:pt x="2652" y="548"/>
                    <a:pt x="2652" y="548"/>
                    <a:pt x="2652" y="548"/>
                  </a:cubicBezTo>
                  <a:moveTo>
                    <a:pt x="2542" y="548"/>
                  </a:moveTo>
                  <a:cubicBezTo>
                    <a:pt x="2535" y="548"/>
                    <a:pt x="2530" y="553"/>
                    <a:pt x="2530" y="558"/>
                  </a:cubicBezTo>
                  <a:cubicBezTo>
                    <a:pt x="2530" y="564"/>
                    <a:pt x="2536" y="569"/>
                    <a:pt x="2543" y="569"/>
                  </a:cubicBezTo>
                  <a:cubicBezTo>
                    <a:pt x="2550" y="569"/>
                    <a:pt x="2555" y="564"/>
                    <a:pt x="2555" y="558"/>
                  </a:cubicBezTo>
                  <a:cubicBezTo>
                    <a:pt x="2555" y="553"/>
                    <a:pt x="2549" y="548"/>
                    <a:pt x="2542" y="548"/>
                  </a:cubicBezTo>
                  <a:cubicBezTo>
                    <a:pt x="2542" y="548"/>
                    <a:pt x="2542" y="548"/>
                    <a:pt x="2542" y="548"/>
                  </a:cubicBezTo>
                  <a:moveTo>
                    <a:pt x="2687" y="548"/>
                  </a:moveTo>
                  <a:cubicBezTo>
                    <a:pt x="2680" y="548"/>
                    <a:pt x="2675" y="553"/>
                    <a:pt x="2675" y="558"/>
                  </a:cubicBezTo>
                  <a:cubicBezTo>
                    <a:pt x="2676" y="564"/>
                    <a:pt x="2682" y="569"/>
                    <a:pt x="2689" y="569"/>
                  </a:cubicBezTo>
                  <a:cubicBezTo>
                    <a:pt x="2696" y="569"/>
                    <a:pt x="2701" y="564"/>
                    <a:pt x="2701" y="558"/>
                  </a:cubicBezTo>
                  <a:cubicBezTo>
                    <a:pt x="2700" y="553"/>
                    <a:pt x="2694" y="548"/>
                    <a:pt x="2688" y="548"/>
                  </a:cubicBezTo>
                  <a:cubicBezTo>
                    <a:pt x="2688" y="548"/>
                    <a:pt x="2687" y="548"/>
                    <a:pt x="2687" y="548"/>
                  </a:cubicBezTo>
                  <a:moveTo>
                    <a:pt x="2616" y="548"/>
                  </a:moveTo>
                  <a:cubicBezTo>
                    <a:pt x="2609" y="548"/>
                    <a:pt x="2603" y="553"/>
                    <a:pt x="2604" y="558"/>
                  </a:cubicBezTo>
                  <a:cubicBezTo>
                    <a:pt x="2604" y="564"/>
                    <a:pt x="2610" y="569"/>
                    <a:pt x="2617" y="569"/>
                  </a:cubicBezTo>
                  <a:cubicBezTo>
                    <a:pt x="2624" y="569"/>
                    <a:pt x="2629" y="564"/>
                    <a:pt x="2629" y="558"/>
                  </a:cubicBezTo>
                  <a:cubicBezTo>
                    <a:pt x="2629" y="553"/>
                    <a:pt x="2623" y="548"/>
                    <a:pt x="2616" y="548"/>
                  </a:cubicBezTo>
                  <a:cubicBezTo>
                    <a:pt x="2616" y="548"/>
                    <a:pt x="2616" y="548"/>
                    <a:pt x="2616" y="548"/>
                  </a:cubicBezTo>
                  <a:moveTo>
                    <a:pt x="2579" y="548"/>
                  </a:moveTo>
                  <a:cubicBezTo>
                    <a:pt x="2572" y="548"/>
                    <a:pt x="2566" y="553"/>
                    <a:pt x="2566" y="558"/>
                  </a:cubicBezTo>
                  <a:cubicBezTo>
                    <a:pt x="2567" y="564"/>
                    <a:pt x="2572" y="568"/>
                    <a:pt x="2579" y="568"/>
                  </a:cubicBezTo>
                  <a:cubicBezTo>
                    <a:pt x="2587" y="568"/>
                    <a:pt x="2592" y="564"/>
                    <a:pt x="2592" y="558"/>
                  </a:cubicBezTo>
                  <a:cubicBezTo>
                    <a:pt x="2592" y="552"/>
                    <a:pt x="2586" y="548"/>
                    <a:pt x="2579" y="548"/>
                  </a:cubicBezTo>
                  <a:cubicBezTo>
                    <a:pt x="2579" y="548"/>
                    <a:pt x="2579" y="548"/>
                    <a:pt x="2579" y="548"/>
                  </a:cubicBezTo>
                  <a:moveTo>
                    <a:pt x="2723" y="548"/>
                  </a:moveTo>
                  <a:cubicBezTo>
                    <a:pt x="2716" y="548"/>
                    <a:pt x="2711" y="553"/>
                    <a:pt x="2712" y="558"/>
                  </a:cubicBezTo>
                  <a:cubicBezTo>
                    <a:pt x="2712" y="564"/>
                    <a:pt x="2718" y="568"/>
                    <a:pt x="2725" y="568"/>
                  </a:cubicBezTo>
                  <a:cubicBezTo>
                    <a:pt x="2732" y="568"/>
                    <a:pt x="2737" y="564"/>
                    <a:pt x="2737" y="558"/>
                  </a:cubicBezTo>
                  <a:cubicBezTo>
                    <a:pt x="2736" y="552"/>
                    <a:pt x="2730" y="548"/>
                    <a:pt x="2723" y="548"/>
                  </a:cubicBezTo>
                  <a:cubicBezTo>
                    <a:pt x="2723" y="548"/>
                    <a:pt x="2723" y="548"/>
                    <a:pt x="2723" y="548"/>
                  </a:cubicBezTo>
                  <a:moveTo>
                    <a:pt x="2796" y="548"/>
                  </a:moveTo>
                  <a:cubicBezTo>
                    <a:pt x="2789" y="548"/>
                    <a:pt x="2784" y="552"/>
                    <a:pt x="2784" y="558"/>
                  </a:cubicBezTo>
                  <a:cubicBezTo>
                    <a:pt x="2785" y="564"/>
                    <a:pt x="2791" y="568"/>
                    <a:pt x="2798" y="568"/>
                  </a:cubicBezTo>
                  <a:cubicBezTo>
                    <a:pt x="2805" y="568"/>
                    <a:pt x="2810" y="563"/>
                    <a:pt x="2809" y="558"/>
                  </a:cubicBezTo>
                  <a:cubicBezTo>
                    <a:pt x="2809" y="552"/>
                    <a:pt x="2803" y="548"/>
                    <a:pt x="2796" y="548"/>
                  </a:cubicBezTo>
                  <a:cubicBezTo>
                    <a:pt x="2796" y="548"/>
                    <a:pt x="2796" y="548"/>
                    <a:pt x="2796" y="548"/>
                  </a:cubicBezTo>
                  <a:moveTo>
                    <a:pt x="2830" y="547"/>
                  </a:moveTo>
                  <a:cubicBezTo>
                    <a:pt x="2823" y="547"/>
                    <a:pt x="2818" y="552"/>
                    <a:pt x="2818" y="558"/>
                  </a:cubicBezTo>
                  <a:cubicBezTo>
                    <a:pt x="2819" y="563"/>
                    <a:pt x="2825" y="568"/>
                    <a:pt x="2832" y="568"/>
                  </a:cubicBezTo>
                  <a:cubicBezTo>
                    <a:pt x="2839" y="568"/>
                    <a:pt x="2844" y="563"/>
                    <a:pt x="2844" y="558"/>
                  </a:cubicBezTo>
                  <a:cubicBezTo>
                    <a:pt x="2843" y="552"/>
                    <a:pt x="2837" y="547"/>
                    <a:pt x="2830" y="547"/>
                  </a:cubicBezTo>
                  <a:cubicBezTo>
                    <a:pt x="2830" y="547"/>
                    <a:pt x="2830" y="547"/>
                    <a:pt x="2830" y="547"/>
                  </a:cubicBezTo>
                  <a:moveTo>
                    <a:pt x="2866" y="547"/>
                  </a:moveTo>
                  <a:cubicBezTo>
                    <a:pt x="2859" y="547"/>
                    <a:pt x="2854" y="552"/>
                    <a:pt x="2854" y="557"/>
                  </a:cubicBezTo>
                  <a:cubicBezTo>
                    <a:pt x="2855" y="563"/>
                    <a:pt x="2861" y="568"/>
                    <a:pt x="2868" y="568"/>
                  </a:cubicBezTo>
                  <a:cubicBezTo>
                    <a:pt x="2875" y="568"/>
                    <a:pt x="2880" y="563"/>
                    <a:pt x="2880" y="557"/>
                  </a:cubicBezTo>
                  <a:cubicBezTo>
                    <a:pt x="2879" y="552"/>
                    <a:pt x="2873" y="547"/>
                    <a:pt x="2866" y="547"/>
                  </a:cubicBezTo>
                  <a:cubicBezTo>
                    <a:pt x="2866" y="547"/>
                    <a:pt x="2866" y="547"/>
                    <a:pt x="2866" y="547"/>
                  </a:cubicBezTo>
                  <a:moveTo>
                    <a:pt x="2902" y="547"/>
                  </a:moveTo>
                  <a:cubicBezTo>
                    <a:pt x="2895" y="547"/>
                    <a:pt x="2890" y="552"/>
                    <a:pt x="2891" y="557"/>
                  </a:cubicBezTo>
                  <a:cubicBezTo>
                    <a:pt x="2891" y="563"/>
                    <a:pt x="2898" y="567"/>
                    <a:pt x="2905" y="567"/>
                  </a:cubicBezTo>
                  <a:cubicBezTo>
                    <a:pt x="2912" y="567"/>
                    <a:pt x="2917" y="563"/>
                    <a:pt x="2916" y="557"/>
                  </a:cubicBezTo>
                  <a:cubicBezTo>
                    <a:pt x="2915" y="551"/>
                    <a:pt x="2909" y="547"/>
                    <a:pt x="2902" y="547"/>
                  </a:cubicBezTo>
                  <a:cubicBezTo>
                    <a:pt x="2902" y="547"/>
                    <a:pt x="2902" y="547"/>
                    <a:pt x="2902" y="547"/>
                  </a:cubicBezTo>
                  <a:moveTo>
                    <a:pt x="2938" y="547"/>
                  </a:moveTo>
                  <a:cubicBezTo>
                    <a:pt x="2931" y="547"/>
                    <a:pt x="2926" y="551"/>
                    <a:pt x="2927" y="557"/>
                  </a:cubicBezTo>
                  <a:cubicBezTo>
                    <a:pt x="2928" y="563"/>
                    <a:pt x="2935" y="567"/>
                    <a:pt x="2942" y="567"/>
                  </a:cubicBezTo>
                  <a:cubicBezTo>
                    <a:pt x="2949" y="567"/>
                    <a:pt x="2954" y="563"/>
                    <a:pt x="2953" y="557"/>
                  </a:cubicBezTo>
                  <a:cubicBezTo>
                    <a:pt x="2952" y="551"/>
                    <a:pt x="2945" y="547"/>
                    <a:pt x="2938" y="547"/>
                  </a:cubicBezTo>
                  <a:cubicBezTo>
                    <a:pt x="2938" y="547"/>
                    <a:pt x="2938" y="547"/>
                    <a:pt x="2938" y="547"/>
                  </a:cubicBezTo>
                  <a:moveTo>
                    <a:pt x="2974" y="546"/>
                  </a:moveTo>
                  <a:cubicBezTo>
                    <a:pt x="2967" y="547"/>
                    <a:pt x="2962" y="551"/>
                    <a:pt x="2963" y="557"/>
                  </a:cubicBezTo>
                  <a:cubicBezTo>
                    <a:pt x="2964" y="562"/>
                    <a:pt x="2971" y="567"/>
                    <a:pt x="2978" y="567"/>
                  </a:cubicBezTo>
                  <a:cubicBezTo>
                    <a:pt x="2985" y="567"/>
                    <a:pt x="2990" y="562"/>
                    <a:pt x="2989" y="557"/>
                  </a:cubicBezTo>
                  <a:cubicBezTo>
                    <a:pt x="2988" y="551"/>
                    <a:pt x="2981" y="546"/>
                    <a:pt x="2974" y="546"/>
                  </a:cubicBezTo>
                  <a:cubicBezTo>
                    <a:pt x="2974" y="546"/>
                    <a:pt x="2974" y="546"/>
                    <a:pt x="2974" y="546"/>
                  </a:cubicBezTo>
                  <a:moveTo>
                    <a:pt x="3010" y="546"/>
                  </a:moveTo>
                  <a:cubicBezTo>
                    <a:pt x="3003" y="546"/>
                    <a:pt x="2999" y="551"/>
                    <a:pt x="3000" y="557"/>
                  </a:cubicBezTo>
                  <a:cubicBezTo>
                    <a:pt x="3001" y="562"/>
                    <a:pt x="3007" y="567"/>
                    <a:pt x="3014" y="567"/>
                  </a:cubicBezTo>
                  <a:cubicBezTo>
                    <a:pt x="3021" y="567"/>
                    <a:pt x="3026" y="562"/>
                    <a:pt x="3025" y="556"/>
                  </a:cubicBezTo>
                  <a:cubicBezTo>
                    <a:pt x="3024" y="551"/>
                    <a:pt x="3017" y="546"/>
                    <a:pt x="3010" y="546"/>
                  </a:cubicBezTo>
                  <a:cubicBezTo>
                    <a:pt x="3010" y="546"/>
                    <a:pt x="3010" y="546"/>
                    <a:pt x="3010" y="546"/>
                  </a:cubicBezTo>
                  <a:moveTo>
                    <a:pt x="3046" y="546"/>
                  </a:moveTo>
                  <a:cubicBezTo>
                    <a:pt x="3039" y="546"/>
                    <a:pt x="3035" y="551"/>
                    <a:pt x="3036" y="556"/>
                  </a:cubicBezTo>
                  <a:cubicBezTo>
                    <a:pt x="3037" y="562"/>
                    <a:pt x="3043" y="567"/>
                    <a:pt x="3050" y="567"/>
                  </a:cubicBezTo>
                  <a:cubicBezTo>
                    <a:pt x="3057" y="566"/>
                    <a:pt x="3062" y="562"/>
                    <a:pt x="3061" y="556"/>
                  </a:cubicBezTo>
                  <a:cubicBezTo>
                    <a:pt x="3060" y="551"/>
                    <a:pt x="3053" y="546"/>
                    <a:pt x="3046" y="546"/>
                  </a:cubicBezTo>
                  <a:cubicBezTo>
                    <a:pt x="3046" y="546"/>
                    <a:pt x="3046" y="546"/>
                    <a:pt x="3046" y="546"/>
                  </a:cubicBezTo>
                  <a:moveTo>
                    <a:pt x="3082" y="546"/>
                  </a:moveTo>
                  <a:cubicBezTo>
                    <a:pt x="3075" y="546"/>
                    <a:pt x="3071" y="550"/>
                    <a:pt x="3072" y="556"/>
                  </a:cubicBezTo>
                  <a:cubicBezTo>
                    <a:pt x="3073" y="562"/>
                    <a:pt x="3080" y="566"/>
                    <a:pt x="3087" y="566"/>
                  </a:cubicBezTo>
                  <a:cubicBezTo>
                    <a:pt x="3094" y="566"/>
                    <a:pt x="3099" y="562"/>
                    <a:pt x="3097" y="556"/>
                  </a:cubicBezTo>
                  <a:cubicBezTo>
                    <a:pt x="3096" y="550"/>
                    <a:pt x="3090" y="546"/>
                    <a:pt x="3083" y="546"/>
                  </a:cubicBezTo>
                  <a:cubicBezTo>
                    <a:pt x="3083" y="546"/>
                    <a:pt x="3083" y="546"/>
                    <a:pt x="3082" y="546"/>
                  </a:cubicBezTo>
                  <a:moveTo>
                    <a:pt x="3120" y="546"/>
                  </a:moveTo>
                  <a:cubicBezTo>
                    <a:pt x="3113" y="546"/>
                    <a:pt x="3108" y="550"/>
                    <a:pt x="3109" y="556"/>
                  </a:cubicBezTo>
                  <a:cubicBezTo>
                    <a:pt x="3111" y="562"/>
                    <a:pt x="3117" y="566"/>
                    <a:pt x="3124" y="566"/>
                  </a:cubicBezTo>
                  <a:cubicBezTo>
                    <a:pt x="3131" y="566"/>
                    <a:pt x="3136" y="561"/>
                    <a:pt x="3135" y="556"/>
                  </a:cubicBezTo>
                  <a:cubicBezTo>
                    <a:pt x="3133" y="550"/>
                    <a:pt x="3127" y="546"/>
                    <a:pt x="3120" y="546"/>
                  </a:cubicBezTo>
                  <a:cubicBezTo>
                    <a:pt x="3120" y="546"/>
                    <a:pt x="3120" y="546"/>
                    <a:pt x="3120" y="546"/>
                  </a:cubicBezTo>
                  <a:moveTo>
                    <a:pt x="3156" y="545"/>
                  </a:moveTo>
                  <a:cubicBezTo>
                    <a:pt x="3149" y="545"/>
                    <a:pt x="3144" y="550"/>
                    <a:pt x="3145" y="556"/>
                  </a:cubicBezTo>
                  <a:cubicBezTo>
                    <a:pt x="3147" y="561"/>
                    <a:pt x="3153" y="566"/>
                    <a:pt x="3160" y="566"/>
                  </a:cubicBezTo>
                  <a:cubicBezTo>
                    <a:pt x="3167" y="566"/>
                    <a:pt x="3172" y="561"/>
                    <a:pt x="3171" y="556"/>
                  </a:cubicBezTo>
                  <a:cubicBezTo>
                    <a:pt x="3169" y="550"/>
                    <a:pt x="3163" y="545"/>
                    <a:pt x="3156" y="545"/>
                  </a:cubicBezTo>
                  <a:cubicBezTo>
                    <a:pt x="3156" y="545"/>
                    <a:pt x="3156" y="545"/>
                    <a:pt x="3156" y="545"/>
                  </a:cubicBezTo>
                  <a:moveTo>
                    <a:pt x="3192" y="545"/>
                  </a:moveTo>
                  <a:cubicBezTo>
                    <a:pt x="3185" y="545"/>
                    <a:pt x="3180" y="550"/>
                    <a:pt x="3182" y="555"/>
                  </a:cubicBezTo>
                  <a:cubicBezTo>
                    <a:pt x="3183" y="561"/>
                    <a:pt x="3190" y="566"/>
                    <a:pt x="3197" y="566"/>
                  </a:cubicBezTo>
                  <a:cubicBezTo>
                    <a:pt x="3204" y="566"/>
                    <a:pt x="3208" y="561"/>
                    <a:pt x="3207" y="555"/>
                  </a:cubicBezTo>
                  <a:cubicBezTo>
                    <a:pt x="3206" y="550"/>
                    <a:pt x="3199" y="545"/>
                    <a:pt x="3192" y="545"/>
                  </a:cubicBezTo>
                  <a:cubicBezTo>
                    <a:pt x="3192" y="545"/>
                    <a:pt x="3192" y="545"/>
                    <a:pt x="3192" y="545"/>
                  </a:cubicBezTo>
                  <a:moveTo>
                    <a:pt x="3228" y="545"/>
                  </a:moveTo>
                  <a:cubicBezTo>
                    <a:pt x="3221" y="545"/>
                    <a:pt x="3217" y="550"/>
                    <a:pt x="3218" y="555"/>
                  </a:cubicBezTo>
                  <a:cubicBezTo>
                    <a:pt x="3220" y="561"/>
                    <a:pt x="3227" y="565"/>
                    <a:pt x="3234" y="565"/>
                  </a:cubicBezTo>
                  <a:cubicBezTo>
                    <a:pt x="3241" y="565"/>
                    <a:pt x="3245" y="561"/>
                    <a:pt x="3244" y="555"/>
                  </a:cubicBezTo>
                  <a:cubicBezTo>
                    <a:pt x="3242" y="549"/>
                    <a:pt x="3235" y="545"/>
                    <a:pt x="3228" y="545"/>
                  </a:cubicBezTo>
                  <a:cubicBezTo>
                    <a:pt x="3228" y="545"/>
                    <a:pt x="3228" y="545"/>
                    <a:pt x="3228" y="545"/>
                  </a:cubicBezTo>
                  <a:moveTo>
                    <a:pt x="3264" y="545"/>
                  </a:moveTo>
                  <a:cubicBezTo>
                    <a:pt x="3257" y="545"/>
                    <a:pt x="3253" y="549"/>
                    <a:pt x="3254" y="555"/>
                  </a:cubicBezTo>
                  <a:cubicBezTo>
                    <a:pt x="3256" y="561"/>
                    <a:pt x="3263" y="565"/>
                    <a:pt x="3270" y="565"/>
                  </a:cubicBezTo>
                  <a:cubicBezTo>
                    <a:pt x="3277" y="565"/>
                    <a:pt x="3281" y="561"/>
                    <a:pt x="3280" y="555"/>
                  </a:cubicBezTo>
                  <a:cubicBezTo>
                    <a:pt x="3278" y="549"/>
                    <a:pt x="3271" y="545"/>
                    <a:pt x="3264" y="545"/>
                  </a:cubicBezTo>
                  <a:cubicBezTo>
                    <a:pt x="3264" y="545"/>
                    <a:pt x="3264" y="545"/>
                    <a:pt x="3264" y="545"/>
                  </a:cubicBezTo>
                  <a:moveTo>
                    <a:pt x="3300" y="544"/>
                  </a:moveTo>
                  <a:cubicBezTo>
                    <a:pt x="3293" y="544"/>
                    <a:pt x="3289" y="549"/>
                    <a:pt x="3291" y="555"/>
                  </a:cubicBezTo>
                  <a:cubicBezTo>
                    <a:pt x="3292" y="560"/>
                    <a:pt x="3299" y="565"/>
                    <a:pt x="3306" y="565"/>
                  </a:cubicBezTo>
                  <a:cubicBezTo>
                    <a:pt x="3313" y="565"/>
                    <a:pt x="3318" y="560"/>
                    <a:pt x="3316" y="555"/>
                  </a:cubicBezTo>
                  <a:cubicBezTo>
                    <a:pt x="3314" y="549"/>
                    <a:pt x="3307" y="544"/>
                    <a:pt x="3300" y="544"/>
                  </a:cubicBezTo>
                  <a:cubicBezTo>
                    <a:pt x="3300" y="544"/>
                    <a:pt x="3300" y="544"/>
                    <a:pt x="3300" y="544"/>
                  </a:cubicBezTo>
                  <a:moveTo>
                    <a:pt x="3336" y="544"/>
                  </a:moveTo>
                  <a:cubicBezTo>
                    <a:pt x="3329" y="544"/>
                    <a:pt x="3325" y="549"/>
                    <a:pt x="3327" y="555"/>
                  </a:cubicBezTo>
                  <a:cubicBezTo>
                    <a:pt x="3328" y="560"/>
                    <a:pt x="3335" y="565"/>
                    <a:pt x="3342" y="565"/>
                  </a:cubicBezTo>
                  <a:cubicBezTo>
                    <a:pt x="3349" y="565"/>
                    <a:pt x="3354" y="560"/>
                    <a:pt x="3352" y="554"/>
                  </a:cubicBezTo>
                  <a:cubicBezTo>
                    <a:pt x="3350" y="549"/>
                    <a:pt x="3343" y="544"/>
                    <a:pt x="3336" y="544"/>
                  </a:cubicBezTo>
                  <a:cubicBezTo>
                    <a:pt x="3336" y="544"/>
                    <a:pt x="3336" y="544"/>
                    <a:pt x="3336" y="544"/>
                  </a:cubicBezTo>
                  <a:moveTo>
                    <a:pt x="3372" y="544"/>
                  </a:moveTo>
                  <a:cubicBezTo>
                    <a:pt x="3365" y="544"/>
                    <a:pt x="3361" y="549"/>
                    <a:pt x="3363" y="554"/>
                  </a:cubicBezTo>
                  <a:cubicBezTo>
                    <a:pt x="3365" y="560"/>
                    <a:pt x="3372" y="565"/>
                    <a:pt x="3379" y="565"/>
                  </a:cubicBezTo>
                  <a:cubicBezTo>
                    <a:pt x="3386" y="564"/>
                    <a:pt x="3390" y="560"/>
                    <a:pt x="3388" y="554"/>
                  </a:cubicBezTo>
                  <a:cubicBezTo>
                    <a:pt x="3386" y="549"/>
                    <a:pt x="3379" y="544"/>
                    <a:pt x="3372" y="544"/>
                  </a:cubicBezTo>
                  <a:cubicBezTo>
                    <a:pt x="3372" y="544"/>
                    <a:pt x="3372" y="544"/>
                    <a:pt x="3372" y="544"/>
                  </a:cubicBezTo>
                  <a:moveTo>
                    <a:pt x="3409" y="544"/>
                  </a:moveTo>
                  <a:cubicBezTo>
                    <a:pt x="3402" y="544"/>
                    <a:pt x="3398" y="548"/>
                    <a:pt x="3399" y="554"/>
                  </a:cubicBezTo>
                  <a:cubicBezTo>
                    <a:pt x="3401" y="560"/>
                    <a:pt x="3408" y="564"/>
                    <a:pt x="3416" y="564"/>
                  </a:cubicBezTo>
                  <a:cubicBezTo>
                    <a:pt x="3423" y="564"/>
                    <a:pt x="3427" y="560"/>
                    <a:pt x="3425" y="554"/>
                  </a:cubicBezTo>
                  <a:cubicBezTo>
                    <a:pt x="3423" y="548"/>
                    <a:pt x="3416" y="544"/>
                    <a:pt x="3409" y="544"/>
                  </a:cubicBezTo>
                  <a:cubicBezTo>
                    <a:pt x="3409" y="544"/>
                    <a:pt x="3409" y="544"/>
                    <a:pt x="3409" y="544"/>
                  </a:cubicBezTo>
                  <a:moveTo>
                    <a:pt x="3626" y="544"/>
                  </a:moveTo>
                  <a:cubicBezTo>
                    <a:pt x="3619" y="544"/>
                    <a:pt x="3615" y="548"/>
                    <a:pt x="3617" y="554"/>
                  </a:cubicBezTo>
                  <a:cubicBezTo>
                    <a:pt x="3620" y="560"/>
                    <a:pt x="3627" y="564"/>
                    <a:pt x="3634" y="564"/>
                  </a:cubicBezTo>
                  <a:cubicBezTo>
                    <a:pt x="3641" y="564"/>
                    <a:pt x="3645" y="559"/>
                    <a:pt x="3643" y="554"/>
                  </a:cubicBezTo>
                  <a:cubicBezTo>
                    <a:pt x="3640" y="548"/>
                    <a:pt x="3633" y="544"/>
                    <a:pt x="3626" y="544"/>
                  </a:cubicBezTo>
                  <a:cubicBezTo>
                    <a:pt x="3626" y="544"/>
                    <a:pt x="3626" y="544"/>
                    <a:pt x="3626" y="544"/>
                  </a:cubicBezTo>
                  <a:moveTo>
                    <a:pt x="3445" y="544"/>
                  </a:moveTo>
                  <a:cubicBezTo>
                    <a:pt x="3438" y="544"/>
                    <a:pt x="3434" y="548"/>
                    <a:pt x="3435" y="554"/>
                  </a:cubicBezTo>
                  <a:cubicBezTo>
                    <a:pt x="3437" y="560"/>
                    <a:pt x="3445" y="564"/>
                    <a:pt x="3452" y="564"/>
                  </a:cubicBezTo>
                  <a:cubicBezTo>
                    <a:pt x="3459" y="564"/>
                    <a:pt x="3463" y="559"/>
                    <a:pt x="3461" y="554"/>
                  </a:cubicBezTo>
                  <a:cubicBezTo>
                    <a:pt x="3459" y="548"/>
                    <a:pt x="3452" y="544"/>
                    <a:pt x="3445" y="544"/>
                  </a:cubicBezTo>
                  <a:cubicBezTo>
                    <a:pt x="3445" y="544"/>
                    <a:pt x="3445" y="544"/>
                    <a:pt x="3445" y="544"/>
                  </a:cubicBezTo>
                  <a:moveTo>
                    <a:pt x="3662" y="543"/>
                  </a:moveTo>
                  <a:cubicBezTo>
                    <a:pt x="3655" y="543"/>
                    <a:pt x="3651" y="548"/>
                    <a:pt x="3653" y="554"/>
                  </a:cubicBezTo>
                  <a:cubicBezTo>
                    <a:pt x="3656" y="559"/>
                    <a:pt x="3663" y="564"/>
                    <a:pt x="3670" y="564"/>
                  </a:cubicBezTo>
                  <a:cubicBezTo>
                    <a:pt x="3677" y="564"/>
                    <a:pt x="3681" y="559"/>
                    <a:pt x="3679" y="554"/>
                  </a:cubicBezTo>
                  <a:cubicBezTo>
                    <a:pt x="3676" y="548"/>
                    <a:pt x="3669" y="543"/>
                    <a:pt x="3662" y="543"/>
                  </a:cubicBezTo>
                  <a:cubicBezTo>
                    <a:pt x="3662" y="543"/>
                    <a:pt x="3662" y="543"/>
                    <a:pt x="3662" y="543"/>
                  </a:cubicBezTo>
                  <a:moveTo>
                    <a:pt x="3481" y="543"/>
                  </a:moveTo>
                  <a:cubicBezTo>
                    <a:pt x="3474" y="543"/>
                    <a:pt x="3470" y="548"/>
                    <a:pt x="3472" y="554"/>
                  </a:cubicBezTo>
                  <a:cubicBezTo>
                    <a:pt x="3474" y="559"/>
                    <a:pt x="3481" y="564"/>
                    <a:pt x="3488" y="564"/>
                  </a:cubicBezTo>
                  <a:cubicBezTo>
                    <a:pt x="3495" y="564"/>
                    <a:pt x="3499" y="559"/>
                    <a:pt x="3497" y="553"/>
                  </a:cubicBezTo>
                  <a:cubicBezTo>
                    <a:pt x="3495" y="548"/>
                    <a:pt x="3488" y="543"/>
                    <a:pt x="3481" y="543"/>
                  </a:cubicBezTo>
                  <a:cubicBezTo>
                    <a:pt x="3481" y="543"/>
                    <a:pt x="3481" y="543"/>
                    <a:pt x="3481" y="543"/>
                  </a:cubicBezTo>
                  <a:moveTo>
                    <a:pt x="3698" y="543"/>
                  </a:moveTo>
                  <a:cubicBezTo>
                    <a:pt x="3691" y="543"/>
                    <a:pt x="3687" y="548"/>
                    <a:pt x="3690" y="554"/>
                  </a:cubicBezTo>
                  <a:cubicBezTo>
                    <a:pt x="3692" y="559"/>
                    <a:pt x="3700" y="564"/>
                    <a:pt x="3707" y="564"/>
                  </a:cubicBezTo>
                  <a:cubicBezTo>
                    <a:pt x="3714" y="564"/>
                    <a:pt x="3717" y="559"/>
                    <a:pt x="3715" y="553"/>
                  </a:cubicBezTo>
                  <a:cubicBezTo>
                    <a:pt x="3712" y="548"/>
                    <a:pt x="3705" y="543"/>
                    <a:pt x="3698" y="543"/>
                  </a:cubicBezTo>
                  <a:cubicBezTo>
                    <a:pt x="3698" y="543"/>
                    <a:pt x="3698" y="543"/>
                    <a:pt x="3698" y="543"/>
                  </a:cubicBezTo>
                  <a:moveTo>
                    <a:pt x="3517" y="543"/>
                  </a:moveTo>
                  <a:cubicBezTo>
                    <a:pt x="3510" y="543"/>
                    <a:pt x="3506" y="548"/>
                    <a:pt x="3508" y="553"/>
                  </a:cubicBezTo>
                  <a:cubicBezTo>
                    <a:pt x="3510" y="559"/>
                    <a:pt x="3517" y="564"/>
                    <a:pt x="3524" y="564"/>
                  </a:cubicBezTo>
                  <a:cubicBezTo>
                    <a:pt x="3531" y="564"/>
                    <a:pt x="3535" y="559"/>
                    <a:pt x="3533" y="553"/>
                  </a:cubicBezTo>
                  <a:cubicBezTo>
                    <a:pt x="3531" y="548"/>
                    <a:pt x="3524" y="543"/>
                    <a:pt x="3517" y="543"/>
                  </a:cubicBezTo>
                  <a:cubicBezTo>
                    <a:pt x="3517" y="543"/>
                    <a:pt x="3517" y="543"/>
                    <a:pt x="3517" y="543"/>
                  </a:cubicBezTo>
                  <a:moveTo>
                    <a:pt x="3736" y="543"/>
                  </a:moveTo>
                  <a:cubicBezTo>
                    <a:pt x="3729" y="543"/>
                    <a:pt x="3726" y="548"/>
                    <a:pt x="3728" y="553"/>
                  </a:cubicBezTo>
                  <a:cubicBezTo>
                    <a:pt x="3731" y="559"/>
                    <a:pt x="3738" y="564"/>
                    <a:pt x="3745" y="563"/>
                  </a:cubicBezTo>
                  <a:cubicBezTo>
                    <a:pt x="3752" y="563"/>
                    <a:pt x="3756" y="559"/>
                    <a:pt x="3753" y="553"/>
                  </a:cubicBezTo>
                  <a:cubicBezTo>
                    <a:pt x="3751" y="547"/>
                    <a:pt x="3743" y="543"/>
                    <a:pt x="3736" y="543"/>
                  </a:cubicBezTo>
                  <a:cubicBezTo>
                    <a:pt x="3736" y="543"/>
                    <a:pt x="3736" y="543"/>
                    <a:pt x="3736" y="543"/>
                  </a:cubicBezTo>
                  <a:moveTo>
                    <a:pt x="3553" y="543"/>
                  </a:moveTo>
                  <a:cubicBezTo>
                    <a:pt x="3546" y="543"/>
                    <a:pt x="3542" y="548"/>
                    <a:pt x="3544" y="553"/>
                  </a:cubicBezTo>
                  <a:cubicBezTo>
                    <a:pt x="3546" y="559"/>
                    <a:pt x="3554" y="563"/>
                    <a:pt x="3561" y="563"/>
                  </a:cubicBezTo>
                  <a:cubicBezTo>
                    <a:pt x="3568" y="563"/>
                    <a:pt x="3572" y="559"/>
                    <a:pt x="3569" y="553"/>
                  </a:cubicBezTo>
                  <a:cubicBezTo>
                    <a:pt x="3567" y="547"/>
                    <a:pt x="3560" y="543"/>
                    <a:pt x="3553" y="543"/>
                  </a:cubicBezTo>
                  <a:cubicBezTo>
                    <a:pt x="3553" y="543"/>
                    <a:pt x="3553" y="543"/>
                    <a:pt x="3553" y="543"/>
                  </a:cubicBezTo>
                  <a:moveTo>
                    <a:pt x="3772" y="543"/>
                  </a:moveTo>
                  <a:cubicBezTo>
                    <a:pt x="3765" y="543"/>
                    <a:pt x="3761" y="547"/>
                    <a:pt x="3764" y="553"/>
                  </a:cubicBezTo>
                  <a:cubicBezTo>
                    <a:pt x="3766" y="559"/>
                    <a:pt x="3774" y="563"/>
                    <a:pt x="3781" y="563"/>
                  </a:cubicBezTo>
                  <a:cubicBezTo>
                    <a:pt x="3788" y="563"/>
                    <a:pt x="3792" y="559"/>
                    <a:pt x="3789" y="553"/>
                  </a:cubicBezTo>
                  <a:cubicBezTo>
                    <a:pt x="3786" y="547"/>
                    <a:pt x="3779" y="543"/>
                    <a:pt x="3772" y="543"/>
                  </a:cubicBezTo>
                  <a:cubicBezTo>
                    <a:pt x="3772" y="543"/>
                    <a:pt x="3772" y="543"/>
                    <a:pt x="3772" y="543"/>
                  </a:cubicBezTo>
                  <a:moveTo>
                    <a:pt x="3589" y="543"/>
                  </a:moveTo>
                  <a:cubicBezTo>
                    <a:pt x="3582" y="543"/>
                    <a:pt x="3578" y="547"/>
                    <a:pt x="3581" y="553"/>
                  </a:cubicBezTo>
                  <a:cubicBezTo>
                    <a:pt x="3583" y="559"/>
                    <a:pt x="3590" y="563"/>
                    <a:pt x="3597" y="563"/>
                  </a:cubicBezTo>
                  <a:cubicBezTo>
                    <a:pt x="3604" y="563"/>
                    <a:pt x="3608" y="558"/>
                    <a:pt x="3606" y="553"/>
                  </a:cubicBezTo>
                  <a:cubicBezTo>
                    <a:pt x="3604" y="547"/>
                    <a:pt x="3596" y="543"/>
                    <a:pt x="3589" y="543"/>
                  </a:cubicBezTo>
                  <a:cubicBezTo>
                    <a:pt x="3589" y="543"/>
                    <a:pt x="3589" y="543"/>
                    <a:pt x="3589" y="543"/>
                  </a:cubicBezTo>
                  <a:moveTo>
                    <a:pt x="3808" y="542"/>
                  </a:moveTo>
                  <a:cubicBezTo>
                    <a:pt x="3801" y="543"/>
                    <a:pt x="3797" y="547"/>
                    <a:pt x="3800" y="553"/>
                  </a:cubicBezTo>
                  <a:cubicBezTo>
                    <a:pt x="3802" y="559"/>
                    <a:pt x="3810" y="563"/>
                    <a:pt x="3817" y="563"/>
                  </a:cubicBezTo>
                  <a:cubicBezTo>
                    <a:pt x="3824" y="563"/>
                    <a:pt x="3828" y="558"/>
                    <a:pt x="3825" y="553"/>
                  </a:cubicBezTo>
                  <a:cubicBezTo>
                    <a:pt x="3822" y="547"/>
                    <a:pt x="3815" y="542"/>
                    <a:pt x="3808" y="542"/>
                  </a:cubicBezTo>
                  <a:cubicBezTo>
                    <a:pt x="3808" y="542"/>
                    <a:pt x="3808" y="542"/>
                    <a:pt x="3808" y="542"/>
                  </a:cubicBezTo>
                  <a:moveTo>
                    <a:pt x="3844" y="542"/>
                  </a:moveTo>
                  <a:cubicBezTo>
                    <a:pt x="3837" y="542"/>
                    <a:pt x="3833" y="547"/>
                    <a:pt x="3836" y="553"/>
                  </a:cubicBezTo>
                  <a:cubicBezTo>
                    <a:pt x="3839" y="558"/>
                    <a:pt x="3847" y="563"/>
                    <a:pt x="3854" y="563"/>
                  </a:cubicBezTo>
                  <a:cubicBezTo>
                    <a:pt x="3861" y="563"/>
                    <a:pt x="3864" y="558"/>
                    <a:pt x="3861" y="552"/>
                  </a:cubicBezTo>
                  <a:cubicBezTo>
                    <a:pt x="3859" y="547"/>
                    <a:pt x="3851" y="542"/>
                    <a:pt x="3844" y="542"/>
                  </a:cubicBezTo>
                  <a:cubicBezTo>
                    <a:pt x="3844" y="542"/>
                    <a:pt x="3844" y="542"/>
                    <a:pt x="3844" y="542"/>
                  </a:cubicBezTo>
                  <a:moveTo>
                    <a:pt x="3880" y="542"/>
                  </a:moveTo>
                  <a:cubicBezTo>
                    <a:pt x="3873" y="542"/>
                    <a:pt x="3870" y="547"/>
                    <a:pt x="3873" y="552"/>
                  </a:cubicBezTo>
                  <a:cubicBezTo>
                    <a:pt x="3875" y="558"/>
                    <a:pt x="3883" y="563"/>
                    <a:pt x="3890" y="563"/>
                  </a:cubicBezTo>
                  <a:cubicBezTo>
                    <a:pt x="3897" y="563"/>
                    <a:pt x="3901" y="558"/>
                    <a:pt x="3898" y="552"/>
                  </a:cubicBezTo>
                  <a:cubicBezTo>
                    <a:pt x="3895" y="547"/>
                    <a:pt x="3887" y="542"/>
                    <a:pt x="3880" y="542"/>
                  </a:cubicBezTo>
                  <a:cubicBezTo>
                    <a:pt x="3880" y="542"/>
                    <a:pt x="3880" y="542"/>
                    <a:pt x="3880" y="542"/>
                  </a:cubicBezTo>
                  <a:moveTo>
                    <a:pt x="3916" y="542"/>
                  </a:moveTo>
                  <a:cubicBezTo>
                    <a:pt x="3909" y="542"/>
                    <a:pt x="3906" y="546"/>
                    <a:pt x="3909" y="552"/>
                  </a:cubicBezTo>
                  <a:cubicBezTo>
                    <a:pt x="3911" y="558"/>
                    <a:pt x="3919" y="562"/>
                    <a:pt x="3926" y="562"/>
                  </a:cubicBezTo>
                  <a:cubicBezTo>
                    <a:pt x="3933" y="562"/>
                    <a:pt x="3937" y="558"/>
                    <a:pt x="3934" y="552"/>
                  </a:cubicBezTo>
                  <a:cubicBezTo>
                    <a:pt x="3931" y="546"/>
                    <a:pt x="3923" y="542"/>
                    <a:pt x="3916" y="542"/>
                  </a:cubicBezTo>
                  <a:cubicBezTo>
                    <a:pt x="3916" y="542"/>
                    <a:pt x="3916" y="542"/>
                    <a:pt x="3916" y="542"/>
                  </a:cubicBezTo>
                  <a:moveTo>
                    <a:pt x="3988" y="541"/>
                  </a:moveTo>
                  <a:cubicBezTo>
                    <a:pt x="3981" y="541"/>
                    <a:pt x="3978" y="546"/>
                    <a:pt x="3981" y="552"/>
                  </a:cubicBezTo>
                  <a:cubicBezTo>
                    <a:pt x="3984" y="557"/>
                    <a:pt x="3992" y="562"/>
                    <a:pt x="3999" y="562"/>
                  </a:cubicBezTo>
                  <a:cubicBezTo>
                    <a:pt x="4006" y="562"/>
                    <a:pt x="4009" y="557"/>
                    <a:pt x="4006" y="552"/>
                  </a:cubicBezTo>
                  <a:cubicBezTo>
                    <a:pt x="4003" y="546"/>
                    <a:pt x="3995" y="541"/>
                    <a:pt x="3988" y="541"/>
                  </a:cubicBezTo>
                  <a:cubicBezTo>
                    <a:pt x="3988" y="541"/>
                    <a:pt x="3988" y="541"/>
                    <a:pt x="3988" y="541"/>
                  </a:cubicBezTo>
                  <a:moveTo>
                    <a:pt x="4203" y="537"/>
                  </a:moveTo>
                  <a:cubicBezTo>
                    <a:pt x="4196" y="537"/>
                    <a:pt x="4193" y="541"/>
                    <a:pt x="4196" y="547"/>
                  </a:cubicBezTo>
                  <a:cubicBezTo>
                    <a:pt x="4200" y="553"/>
                    <a:pt x="4208" y="557"/>
                    <a:pt x="4215" y="557"/>
                  </a:cubicBezTo>
                  <a:cubicBezTo>
                    <a:pt x="4222" y="557"/>
                    <a:pt x="4225" y="553"/>
                    <a:pt x="4222" y="547"/>
                  </a:cubicBezTo>
                  <a:cubicBezTo>
                    <a:pt x="4218" y="541"/>
                    <a:pt x="4210" y="537"/>
                    <a:pt x="4203" y="537"/>
                  </a:cubicBezTo>
                  <a:cubicBezTo>
                    <a:pt x="4203" y="537"/>
                    <a:pt x="4203" y="537"/>
                    <a:pt x="4203" y="537"/>
                  </a:cubicBezTo>
                  <a:moveTo>
                    <a:pt x="174" y="535"/>
                  </a:moveTo>
                  <a:cubicBezTo>
                    <a:pt x="167" y="535"/>
                    <a:pt x="157" y="540"/>
                    <a:pt x="152" y="545"/>
                  </a:cubicBezTo>
                  <a:cubicBezTo>
                    <a:pt x="148" y="551"/>
                    <a:pt x="150" y="555"/>
                    <a:pt x="157" y="555"/>
                  </a:cubicBezTo>
                  <a:cubicBezTo>
                    <a:pt x="164" y="555"/>
                    <a:pt x="173" y="551"/>
                    <a:pt x="178" y="545"/>
                  </a:cubicBezTo>
                  <a:cubicBezTo>
                    <a:pt x="182" y="540"/>
                    <a:pt x="180" y="535"/>
                    <a:pt x="174" y="535"/>
                  </a:cubicBezTo>
                  <a:cubicBezTo>
                    <a:pt x="174" y="535"/>
                    <a:pt x="174" y="535"/>
                    <a:pt x="174" y="535"/>
                  </a:cubicBezTo>
                  <a:moveTo>
                    <a:pt x="209" y="535"/>
                  </a:moveTo>
                  <a:cubicBezTo>
                    <a:pt x="202" y="535"/>
                    <a:pt x="193" y="539"/>
                    <a:pt x="188" y="545"/>
                  </a:cubicBezTo>
                  <a:cubicBezTo>
                    <a:pt x="184" y="551"/>
                    <a:pt x="186" y="555"/>
                    <a:pt x="193" y="555"/>
                  </a:cubicBezTo>
                  <a:cubicBezTo>
                    <a:pt x="200" y="555"/>
                    <a:pt x="209" y="550"/>
                    <a:pt x="214" y="545"/>
                  </a:cubicBezTo>
                  <a:cubicBezTo>
                    <a:pt x="218" y="539"/>
                    <a:pt x="216" y="535"/>
                    <a:pt x="209" y="535"/>
                  </a:cubicBezTo>
                  <a:cubicBezTo>
                    <a:pt x="209" y="535"/>
                    <a:pt x="209" y="535"/>
                    <a:pt x="209" y="535"/>
                  </a:cubicBezTo>
                  <a:moveTo>
                    <a:pt x="247" y="535"/>
                  </a:moveTo>
                  <a:cubicBezTo>
                    <a:pt x="240" y="535"/>
                    <a:pt x="230" y="539"/>
                    <a:pt x="226" y="545"/>
                  </a:cubicBezTo>
                  <a:cubicBezTo>
                    <a:pt x="221" y="550"/>
                    <a:pt x="223" y="555"/>
                    <a:pt x="230" y="555"/>
                  </a:cubicBezTo>
                  <a:cubicBezTo>
                    <a:pt x="237" y="555"/>
                    <a:pt x="247" y="550"/>
                    <a:pt x="251" y="545"/>
                  </a:cubicBezTo>
                  <a:cubicBezTo>
                    <a:pt x="256" y="539"/>
                    <a:pt x="254" y="535"/>
                    <a:pt x="247" y="535"/>
                  </a:cubicBezTo>
                  <a:cubicBezTo>
                    <a:pt x="247" y="535"/>
                    <a:pt x="247" y="535"/>
                    <a:pt x="247" y="535"/>
                  </a:cubicBezTo>
                  <a:moveTo>
                    <a:pt x="282" y="534"/>
                  </a:moveTo>
                  <a:cubicBezTo>
                    <a:pt x="276" y="534"/>
                    <a:pt x="266" y="539"/>
                    <a:pt x="262" y="545"/>
                  </a:cubicBezTo>
                  <a:cubicBezTo>
                    <a:pt x="257" y="550"/>
                    <a:pt x="259" y="555"/>
                    <a:pt x="266" y="555"/>
                  </a:cubicBezTo>
                  <a:cubicBezTo>
                    <a:pt x="273" y="555"/>
                    <a:pt x="283" y="550"/>
                    <a:pt x="287" y="544"/>
                  </a:cubicBezTo>
                  <a:cubicBezTo>
                    <a:pt x="291" y="539"/>
                    <a:pt x="289" y="534"/>
                    <a:pt x="283" y="534"/>
                  </a:cubicBezTo>
                  <a:cubicBezTo>
                    <a:pt x="283" y="534"/>
                    <a:pt x="282" y="534"/>
                    <a:pt x="282" y="534"/>
                  </a:cubicBezTo>
                  <a:moveTo>
                    <a:pt x="318" y="534"/>
                  </a:moveTo>
                  <a:cubicBezTo>
                    <a:pt x="311" y="534"/>
                    <a:pt x="302" y="539"/>
                    <a:pt x="298" y="544"/>
                  </a:cubicBezTo>
                  <a:cubicBezTo>
                    <a:pt x="293" y="550"/>
                    <a:pt x="296" y="554"/>
                    <a:pt x="303" y="554"/>
                  </a:cubicBezTo>
                  <a:cubicBezTo>
                    <a:pt x="310" y="554"/>
                    <a:pt x="319" y="550"/>
                    <a:pt x="323" y="544"/>
                  </a:cubicBezTo>
                  <a:cubicBezTo>
                    <a:pt x="327" y="539"/>
                    <a:pt x="325" y="534"/>
                    <a:pt x="319" y="534"/>
                  </a:cubicBezTo>
                  <a:cubicBezTo>
                    <a:pt x="318" y="534"/>
                    <a:pt x="318" y="534"/>
                    <a:pt x="318" y="534"/>
                  </a:cubicBezTo>
                  <a:moveTo>
                    <a:pt x="354" y="534"/>
                  </a:moveTo>
                  <a:cubicBezTo>
                    <a:pt x="347" y="534"/>
                    <a:pt x="338" y="538"/>
                    <a:pt x="334" y="544"/>
                  </a:cubicBezTo>
                  <a:cubicBezTo>
                    <a:pt x="329" y="550"/>
                    <a:pt x="332" y="554"/>
                    <a:pt x="339" y="554"/>
                  </a:cubicBezTo>
                  <a:cubicBezTo>
                    <a:pt x="346" y="554"/>
                    <a:pt x="355" y="550"/>
                    <a:pt x="359" y="544"/>
                  </a:cubicBezTo>
                  <a:cubicBezTo>
                    <a:pt x="363" y="538"/>
                    <a:pt x="361" y="534"/>
                    <a:pt x="354" y="534"/>
                  </a:cubicBezTo>
                  <a:cubicBezTo>
                    <a:pt x="354" y="534"/>
                    <a:pt x="354" y="534"/>
                    <a:pt x="354" y="534"/>
                  </a:cubicBezTo>
                  <a:moveTo>
                    <a:pt x="390" y="534"/>
                  </a:moveTo>
                  <a:cubicBezTo>
                    <a:pt x="383" y="534"/>
                    <a:pt x="374" y="538"/>
                    <a:pt x="370" y="544"/>
                  </a:cubicBezTo>
                  <a:cubicBezTo>
                    <a:pt x="366" y="549"/>
                    <a:pt x="368" y="554"/>
                    <a:pt x="375" y="554"/>
                  </a:cubicBezTo>
                  <a:cubicBezTo>
                    <a:pt x="382" y="554"/>
                    <a:pt x="391" y="549"/>
                    <a:pt x="395" y="544"/>
                  </a:cubicBezTo>
                  <a:cubicBezTo>
                    <a:pt x="399" y="538"/>
                    <a:pt x="397" y="534"/>
                    <a:pt x="390" y="534"/>
                  </a:cubicBezTo>
                  <a:cubicBezTo>
                    <a:pt x="390" y="534"/>
                    <a:pt x="390" y="534"/>
                    <a:pt x="390" y="534"/>
                  </a:cubicBezTo>
                  <a:moveTo>
                    <a:pt x="427" y="533"/>
                  </a:moveTo>
                  <a:cubicBezTo>
                    <a:pt x="420" y="533"/>
                    <a:pt x="411" y="538"/>
                    <a:pt x="407" y="544"/>
                  </a:cubicBezTo>
                  <a:cubicBezTo>
                    <a:pt x="403" y="549"/>
                    <a:pt x="405" y="554"/>
                    <a:pt x="412" y="554"/>
                  </a:cubicBezTo>
                  <a:cubicBezTo>
                    <a:pt x="419" y="554"/>
                    <a:pt x="428" y="549"/>
                    <a:pt x="432" y="543"/>
                  </a:cubicBezTo>
                  <a:cubicBezTo>
                    <a:pt x="436" y="538"/>
                    <a:pt x="434" y="533"/>
                    <a:pt x="427" y="533"/>
                  </a:cubicBezTo>
                  <a:cubicBezTo>
                    <a:pt x="427" y="533"/>
                    <a:pt x="427" y="533"/>
                    <a:pt x="427" y="533"/>
                  </a:cubicBezTo>
                  <a:moveTo>
                    <a:pt x="463" y="533"/>
                  </a:moveTo>
                  <a:cubicBezTo>
                    <a:pt x="456" y="533"/>
                    <a:pt x="447" y="538"/>
                    <a:pt x="443" y="543"/>
                  </a:cubicBezTo>
                  <a:cubicBezTo>
                    <a:pt x="439" y="549"/>
                    <a:pt x="441" y="553"/>
                    <a:pt x="448" y="553"/>
                  </a:cubicBezTo>
                  <a:cubicBezTo>
                    <a:pt x="455" y="553"/>
                    <a:pt x="464" y="549"/>
                    <a:pt x="468" y="543"/>
                  </a:cubicBezTo>
                  <a:cubicBezTo>
                    <a:pt x="472" y="538"/>
                    <a:pt x="470" y="533"/>
                    <a:pt x="463" y="533"/>
                  </a:cubicBezTo>
                  <a:cubicBezTo>
                    <a:pt x="463" y="533"/>
                    <a:pt x="463" y="533"/>
                    <a:pt x="463" y="533"/>
                  </a:cubicBezTo>
                  <a:moveTo>
                    <a:pt x="499" y="533"/>
                  </a:moveTo>
                  <a:cubicBezTo>
                    <a:pt x="492" y="533"/>
                    <a:pt x="483" y="538"/>
                    <a:pt x="479" y="543"/>
                  </a:cubicBezTo>
                  <a:cubicBezTo>
                    <a:pt x="475" y="549"/>
                    <a:pt x="477" y="553"/>
                    <a:pt x="484" y="553"/>
                  </a:cubicBezTo>
                  <a:cubicBezTo>
                    <a:pt x="491" y="553"/>
                    <a:pt x="500" y="549"/>
                    <a:pt x="504" y="543"/>
                  </a:cubicBezTo>
                  <a:cubicBezTo>
                    <a:pt x="508" y="537"/>
                    <a:pt x="506" y="533"/>
                    <a:pt x="499" y="533"/>
                  </a:cubicBezTo>
                  <a:cubicBezTo>
                    <a:pt x="499" y="533"/>
                    <a:pt x="499" y="533"/>
                    <a:pt x="499" y="533"/>
                  </a:cubicBezTo>
                  <a:moveTo>
                    <a:pt x="535" y="533"/>
                  </a:moveTo>
                  <a:cubicBezTo>
                    <a:pt x="528" y="533"/>
                    <a:pt x="520" y="537"/>
                    <a:pt x="516" y="543"/>
                  </a:cubicBezTo>
                  <a:cubicBezTo>
                    <a:pt x="512" y="549"/>
                    <a:pt x="514" y="553"/>
                    <a:pt x="521" y="553"/>
                  </a:cubicBezTo>
                  <a:cubicBezTo>
                    <a:pt x="528" y="553"/>
                    <a:pt x="537" y="548"/>
                    <a:pt x="541" y="543"/>
                  </a:cubicBezTo>
                  <a:cubicBezTo>
                    <a:pt x="545" y="537"/>
                    <a:pt x="542" y="533"/>
                    <a:pt x="535" y="533"/>
                  </a:cubicBezTo>
                  <a:cubicBezTo>
                    <a:pt x="535" y="533"/>
                    <a:pt x="535" y="533"/>
                    <a:pt x="535" y="533"/>
                  </a:cubicBezTo>
                  <a:moveTo>
                    <a:pt x="571" y="532"/>
                  </a:moveTo>
                  <a:cubicBezTo>
                    <a:pt x="564" y="533"/>
                    <a:pt x="555" y="537"/>
                    <a:pt x="551" y="543"/>
                  </a:cubicBezTo>
                  <a:cubicBezTo>
                    <a:pt x="548" y="548"/>
                    <a:pt x="550" y="553"/>
                    <a:pt x="557" y="553"/>
                  </a:cubicBezTo>
                  <a:cubicBezTo>
                    <a:pt x="564" y="553"/>
                    <a:pt x="573" y="548"/>
                    <a:pt x="577" y="543"/>
                  </a:cubicBezTo>
                  <a:cubicBezTo>
                    <a:pt x="581" y="537"/>
                    <a:pt x="578" y="532"/>
                    <a:pt x="571" y="532"/>
                  </a:cubicBezTo>
                  <a:cubicBezTo>
                    <a:pt x="571" y="532"/>
                    <a:pt x="571" y="532"/>
                    <a:pt x="571" y="532"/>
                  </a:cubicBezTo>
                  <a:moveTo>
                    <a:pt x="607" y="532"/>
                  </a:moveTo>
                  <a:cubicBezTo>
                    <a:pt x="600" y="532"/>
                    <a:pt x="591" y="537"/>
                    <a:pt x="588" y="542"/>
                  </a:cubicBezTo>
                  <a:cubicBezTo>
                    <a:pt x="584" y="548"/>
                    <a:pt x="586" y="553"/>
                    <a:pt x="593" y="553"/>
                  </a:cubicBezTo>
                  <a:cubicBezTo>
                    <a:pt x="600" y="552"/>
                    <a:pt x="609" y="548"/>
                    <a:pt x="613" y="542"/>
                  </a:cubicBezTo>
                  <a:cubicBezTo>
                    <a:pt x="616" y="537"/>
                    <a:pt x="614" y="532"/>
                    <a:pt x="607" y="532"/>
                  </a:cubicBezTo>
                  <a:cubicBezTo>
                    <a:pt x="607" y="532"/>
                    <a:pt x="607" y="532"/>
                    <a:pt x="607" y="532"/>
                  </a:cubicBezTo>
                  <a:moveTo>
                    <a:pt x="643" y="532"/>
                  </a:moveTo>
                  <a:cubicBezTo>
                    <a:pt x="636" y="532"/>
                    <a:pt x="627" y="537"/>
                    <a:pt x="623" y="542"/>
                  </a:cubicBezTo>
                  <a:cubicBezTo>
                    <a:pt x="620" y="548"/>
                    <a:pt x="622" y="552"/>
                    <a:pt x="629" y="552"/>
                  </a:cubicBezTo>
                  <a:cubicBezTo>
                    <a:pt x="636" y="552"/>
                    <a:pt x="645" y="548"/>
                    <a:pt x="649" y="542"/>
                  </a:cubicBezTo>
                  <a:cubicBezTo>
                    <a:pt x="652" y="537"/>
                    <a:pt x="650" y="532"/>
                    <a:pt x="643" y="532"/>
                  </a:cubicBezTo>
                  <a:cubicBezTo>
                    <a:pt x="643" y="532"/>
                    <a:pt x="643" y="532"/>
                    <a:pt x="643" y="532"/>
                  </a:cubicBezTo>
                  <a:moveTo>
                    <a:pt x="679" y="532"/>
                  </a:moveTo>
                  <a:cubicBezTo>
                    <a:pt x="672" y="532"/>
                    <a:pt x="663" y="536"/>
                    <a:pt x="659" y="542"/>
                  </a:cubicBezTo>
                  <a:cubicBezTo>
                    <a:pt x="656" y="548"/>
                    <a:pt x="658" y="552"/>
                    <a:pt x="665" y="552"/>
                  </a:cubicBezTo>
                  <a:cubicBezTo>
                    <a:pt x="672" y="552"/>
                    <a:pt x="681" y="547"/>
                    <a:pt x="685" y="542"/>
                  </a:cubicBezTo>
                  <a:cubicBezTo>
                    <a:pt x="688" y="536"/>
                    <a:pt x="686" y="532"/>
                    <a:pt x="679" y="532"/>
                  </a:cubicBezTo>
                  <a:cubicBezTo>
                    <a:pt x="679" y="532"/>
                    <a:pt x="679" y="532"/>
                    <a:pt x="679" y="532"/>
                  </a:cubicBezTo>
                  <a:moveTo>
                    <a:pt x="715" y="532"/>
                  </a:moveTo>
                  <a:cubicBezTo>
                    <a:pt x="708" y="532"/>
                    <a:pt x="700" y="536"/>
                    <a:pt x="696" y="542"/>
                  </a:cubicBezTo>
                  <a:cubicBezTo>
                    <a:pt x="692" y="547"/>
                    <a:pt x="695" y="552"/>
                    <a:pt x="702" y="552"/>
                  </a:cubicBezTo>
                  <a:cubicBezTo>
                    <a:pt x="709" y="552"/>
                    <a:pt x="718" y="547"/>
                    <a:pt x="721" y="542"/>
                  </a:cubicBezTo>
                  <a:cubicBezTo>
                    <a:pt x="725" y="536"/>
                    <a:pt x="722" y="532"/>
                    <a:pt x="715" y="532"/>
                  </a:cubicBezTo>
                  <a:cubicBezTo>
                    <a:pt x="715" y="532"/>
                    <a:pt x="715" y="532"/>
                    <a:pt x="715" y="532"/>
                  </a:cubicBezTo>
                  <a:moveTo>
                    <a:pt x="751" y="531"/>
                  </a:moveTo>
                  <a:cubicBezTo>
                    <a:pt x="744" y="531"/>
                    <a:pt x="735" y="536"/>
                    <a:pt x="732" y="542"/>
                  </a:cubicBezTo>
                  <a:cubicBezTo>
                    <a:pt x="728" y="547"/>
                    <a:pt x="731" y="552"/>
                    <a:pt x="738" y="552"/>
                  </a:cubicBezTo>
                  <a:cubicBezTo>
                    <a:pt x="745" y="552"/>
                    <a:pt x="754" y="547"/>
                    <a:pt x="757" y="541"/>
                  </a:cubicBezTo>
                  <a:cubicBezTo>
                    <a:pt x="760" y="536"/>
                    <a:pt x="758" y="531"/>
                    <a:pt x="751" y="531"/>
                  </a:cubicBezTo>
                  <a:cubicBezTo>
                    <a:pt x="751" y="531"/>
                    <a:pt x="751" y="531"/>
                    <a:pt x="751" y="531"/>
                  </a:cubicBezTo>
                  <a:moveTo>
                    <a:pt x="785" y="531"/>
                  </a:moveTo>
                  <a:cubicBezTo>
                    <a:pt x="778" y="531"/>
                    <a:pt x="769" y="536"/>
                    <a:pt x="766" y="541"/>
                  </a:cubicBezTo>
                  <a:cubicBezTo>
                    <a:pt x="762" y="547"/>
                    <a:pt x="765" y="551"/>
                    <a:pt x="772" y="551"/>
                  </a:cubicBezTo>
                  <a:cubicBezTo>
                    <a:pt x="779" y="551"/>
                    <a:pt x="788" y="547"/>
                    <a:pt x="791" y="541"/>
                  </a:cubicBezTo>
                  <a:cubicBezTo>
                    <a:pt x="795" y="536"/>
                    <a:pt x="792" y="531"/>
                    <a:pt x="785" y="531"/>
                  </a:cubicBezTo>
                  <a:cubicBezTo>
                    <a:pt x="785" y="531"/>
                    <a:pt x="785" y="531"/>
                    <a:pt x="785" y="531"/>
                  </a:cubicBezTo>
                  <a:moveTo>
                    <a:pt x="821" y="531"/>
                  </a:moveTo>
                  <a:cubicBezTo>
                    <a:pt x="814" y="531"/>
                    <a:pt x="806" y="536"/>
                    <a:pt x="802" y="541"/>
                  </a:cubicBezTo>
                  <a:cubicBezTo>
                    <a:pt x="799" y="547"/>
                    <a:pt x="802" y="551"/>
                    <a:pt x="809" y="551"/>
                  </a:cubicBezTo>
                  <a:cubicBezTo>
                    <a:pt x="816" y="551"/>
                    <a:pt x="824" y="547"/>
                    <a:pt x="828" y="541"/>
                  </a:cubicBezTo>
                  <a:cubicBezTo>
                    <a:pt x="831" y="535"/>
                    <a:pt x="828" y="531"/>
                    <a:pt x="821" y="531"/>
                  </a:cubicBezTo>
                  <a:cubicBezTo>
                    <a:pt x="821" y="531"/>
                    <a:pt x="821" y="531"/>
                    <a:pt x="821" y="531"/>
                  </a:cubicBezTo>
                  <a:moveTo>
                    <a:pt x="857" y="531"/>
                  </a:moveTo>
                  <a:cubicBezTo>
                    <a:pt x="850" y="531"/>
                    <a:pt x="842" y="535"/>
                    <a:pt x="838" y="541"/>
                  </a:cubicBezTo>
                  <a:cubicBezTo>
                    <a:pt x="835" y="547"/>
                    <a:pt x="838" y="551"/>
                    <a:pt x="845" y="551"/>
                  </a:cubicBezTo>
                  <a:cubicBezTo>
                    <a:pt x="852" y="551"/>
                    <a:pt x="860" y="546"/>
                    <a:pt x="863" y="541"/>
                  </a:cubicBezTo>
                  <a:cubicBezTo>
                    <a:pt x="867" y="535"/>
                    <a:pt x="864" y="531"/>
                    <a:pt x="857" y="531"/>
                  </a:cubicBezTo>
                  <a:cubicBezTo>
                    <a:pt x="857" y="531"/>
                    <a:pt x="857" y="531"/>
                    <a:pt x="857" y="531"/>
                  </a:cubicBezTo>
                  <a:moveTo>
                    <a:pt x="893" y="530"/>
                  </a:moveTo>
                  <a:cubicBezTo>
                    <a:pt x="886" y="530"/>
                    <a:pt x="877" y="535"/>
                    <a:pt x="874" y="541"/>
                  </a:cubicBezTo>
                  <a:cubicBezTo>
                    <a:pt x="871" y="546"/>
                    <a:pt x="874" y="551"/>
                    <a:pt x="881" y="551"/>
                  </a:cubicBezTo>
                  <a:cubicBezTo>
                    <a:pt x="888" y="551"/>
                    <a:pt x="896" y="546"/>
                    <a:pt x="899" y="541"/>
                  </a:cubicBezTo>
                  <a:cubicBezTo>
                    <a:pt x="903" y="535"/>
                    <a:pt x="900" y="530"/>
                    <a:pt x="893" y="530"/>
                  </a:cubicBezTo>
                  <a:cubicBezTo>
                    <a:pt x="893" y="530"/>
                    <a:pt x="893" y="530"/>
                    <a:pt x="893" y="530"/>
                  </a:cubicBezTo>
                  <a:moveTo>
                    <a:pt x="928" y="530"/>
                  </a:moveTo>
                  <a:cubicBezTo>
                    <a:pt x="921" y="530"/>
                    <a:pt x="913" y="535"/>
                    <a:pt x="910" y="540"/>
                  </a:cubicBezTo>
                  <a:cubicBezTo>
                    <a:pt x="907" y="546"/>
                    <a:pt x="910" y="551"/>
                    <a:pt x="917" y="551"/>
                  </a:cubicBezTo>
                  <a:cubicBezTo>
                    <a:pt x="924" y="550"/>
                    <a:pt x="932" y="546"/>
                    <a:pt x="935" y="540"/>
                  </a:cubicBezTo>
                  <a:cubicBezTo>
                    <a:pt x="938" y="535"/>
                    <a:pt x="935" y="530"/>
                    <a:pt x="928" y="530"/>
                  </a:cubicBezTo>
                  <a:cubicBezTo>
                    <a:pt x="928" y="530"/>
                    <a:pt x="928" y="530"/>
                    <a:pt x="928" y="530"/>
                  </a:cubicBezTo>
                  <a:moveTo>
                    <a:pt x="1933" y="523"/>
                  </a:moveTo>
                  <a:cubicBezTo>
                    <a:pt x="1926" y="523"/>
                    <a:pt x="1919" y="528"/>
                    <a:pt x="1918" y="534"/>
                  </a:cubicBezTo>
                  <a:cubicBezTo>
                    <a:pt x="1917" y="539"/>
                    <a:pt x="1921" y="544"/>
                    <a:pt x="1928" y="544"/>
                  </a:cubicBezTo>
                  <a:cubicBezTo>
                    <a:pt x="1935" y="544"/>
                    <a:pt x="1942" y="539"/>
                    <a:pt x="1943" y="534"/>
                  </a:cubicBezTo>
                  <a:cubicBezTo>
                    <a:pt x="1944" y="528"/>
                    <a:pt x="1940" y="523"/>
                    <a:pt x="1933" y="523"/>
                  </a:cubicBezTo>
                  <a:cubicBezTo>
                    <a:pt x="1933" y="523"/>
                    <a:pt x="1933" y="523"/>
                    <a:pt x="1933" y="523"/>
                  </a:cubicBezTo>
                  <a:moveTo>
                    <a:pt x="1968" y="523"/>
                  </a:moveTo>
                  <a:cubicBezTo>
                    <a:pt x="1961" y="523"/>
                    <a:pt x="1955" y="528"/>
                    <a:pt x="1954" y="533"/>
                  </a:cubicBezTo>
                  <a:cubicBezTo>
                    <a:pt x="1953" y="539"/>
                    <a:pt x="1957" y="544"/>
                    <a:pt x="1964" y="544"/>
                  </a:cubicBezTo>
                  <a:cubicBezTo>
                    <a:pt x="1971" y="544"/>
                    <a:pt x="1978" y="539"/>
                    <a:pt x="1979" y="533"/>
                  </a:cubicBezTo>
                  <a:cubicBezTo>
                    <a:pt x="1980" y="528"/>
                    <a:pt x="1975" y="523"/>
                    <a:pt x="1968" y="523"/>
                  </a:cubicBezTo>
                  <a:cubicBezTo>
                    <a:pt x="1968" y="523"/>
                    <a:pt x="1968" y="523"/>
                    <a:pt x="1968" y="523"/>
                  </a:cubicBezTo>
                  <a:moveTo>
                    <a:pt x="2004" y="523"/>
                  </a:moveTo>
                  <a:cubicBezTo>
                    <a:pt x="1997" y="523"/>
                    <a:pt x="1991" y="528"/>
                    <a:pt x="1990" y="533"/>
                  </a:cubicBezTo>
                  <a:cubicBezTo>
                    <a:pt x="1989" y="539"/>
                    <a:pt x="1993" y="543"/>
                    <a:pt x="2000" y="543"/>
                  </a:cubicBezTo>
                  <a:cubicBezTo>
                    <a:pt x="2007" y="543"/>
                    <a:pt x="2014" y="539"/>
                    <a:pt x="2015" y="533"/>
                  </a:cubicBezTo>
                  <a:cubicBezTo>
                    <a:pt x="2016" y="527"/>
                    <a:pt x="2011" y="523"/>
                    <a:pt x="2004" y="523"/>
                  </a:cubicBezTo>
                  <a:cubicBezTo>
                    <a:pt x="2004" y="523"/>
                    <a:pt x="2004" y="523"/>
                    <a:pt x="2004" y="523"/>
                  </a:cubicBezTo>
                  <a:moveTo>
                    <a:pt x="2256" y="523"/>
                  </a:moveTo>
                  <a:cubicBezTo>
                    <a:pt x="2249" y="523"/>
                    <a:pt x="2243" y="527"/>
                    <a:pt x="2243" y="533"/>
                  </a:cubicBezTo>
                  <a:cubicBezTo>
                    <a:pt x="2242" y="539"/>
                    <a:pt x="2247" y="543"/>
                    <a:pt x="2254" y="543"/>
                  </a:cubicBezTo>
                  <a:cubicBezTo>
                    <a:pt x="2261" y="543"/>
                    <a:pt x="2267" y="538"/>
                    <a:pt x="2268" y="533"/>
                  </a:cubicBezTo>
                  <a:cubicBezTo>
                    <a:pt x="2268" y="527"/>
                    <a:pt x="2263" y="523"/>
                    <a:pt x="2256" y="523"/>
                  </a:cubicBezTo>
                  <a:cubicBezTo>
                    <a:pt x="2256" y="523"/>
                    <a:pt x="2256" y="523"/>
                    <a:pt x="2256" y="523"/>
                  </a:cubicBezTo>
                  <a:moveTo>
                    <a:pt x="2040" y="521"/>
                  </a:moveTo>
                  <a:cubicBezTo>
                    <a:pt x="2033" y="521"/>
                    <a:pt x="2026" y="526"/>
                    <a:pt x="2026" y="532"/>
                  </a:cubicBezTo>
                  <a:cubicBezTo>
                    <a:pt x="2025" y="537"/>
                    <a:pt x="2029" y="542"/>
                    <a:pt x="2036" y="542"/>
                  </a:cubicBezTo>
                  <a:cubicBezTo>
                    <a:pt x="2043" y="542"/>
                    <a:pt x="2050" y="537"/>
                    <a:pt x="2051" y="532"/>
                  </a:cubicBezTo>
                  <a:cubicBezTo>
                    <a:pt x="2052" y="526"/>
                    <a:pt x="2047" y="521"/>
                    <a:pt x="2040" y="521"/>
                  </a:cubicBezTo>
                  <a:cubicBezTo>
                    <a:pt x="2040" y="521"/>
                    <a:pt x="2040" y="521"/>
                    <a:pt x="2040" y="521"/>
                  </a:cubicBezTo>
                  <a:moveTo>
                    <a:pt x="2076" y="521"/>
                  </a:moveTo>
                  <a:cubicBezTo>
                    <a:pt x="2069" y="521"/>
                    <a:pt x="2063" y="526"/>
                    <a:pt x="2062" y="531"/>
                  </a:cubicBezTo>
                  <a:cubicBezTo>
                    <a:pt x="2061" y="537"/>
                    <a:pt x="2066" y="542"/>
                    <a:pt x="2073" y="542"/>
                  </a:cubicBezTo>
                  <a:cubicBezTo>
                    <a:pt x="2080" y="542"/>
                    <a:pt x="2086" y="537"/>
                    <a:pt x="2087" y="531"/>
                  </a:cubicBezTo>
                  <a:cubicBezTo>
                    <a:pt x="2088" y="526"/>
                    <a:pt x="2083" y="521"/>
                    <a:pt x="2076" y="521"/>
                  </a:cubicBezTo>
                  <a:cubicBezTo>
                    <a:pt x="2076" y="521"/>
                    <a:pt x="2076" y="521"/>
                    <a:pt x="2076" y="521"/>
                  </a:cubicBezTo>
                  <a:moveTo>
                    <a:pt x="2363" y="520"/>
                  </a:moveTo>
                  <a:cubicBezTo>
                    <a:pt x="2356" y="520"/>
                    <a:pt x="2350" y="524"/>
                    <a:pt x="2350" y="530"/>
                  </a:cubicBezTo>
                  <a:cubicBezTo>
                    <a:pt x="2350" y="536"/>
                    <a:pt x="2355" y="540"/>
                    <a:pt x="2362" y="540"/>
                  </a:cubicBezTo>
                  <a:cubicBezTo>
                    <a:pt x="2369" y="540"/>
                    <a:pt x="2375" y="536"/>
                    <a:pt x="2375" y="530"/>
                  </a:cubicBezTo>
                  <a:cubicBezTo>
                    <a:pt x="2375" y="524"/>
                    <a:pt x="2370" y="520"/>
                    <a:pt x="2363" y="520"/>
                  </a:cubicBezTo>
                  <a:cubicBezTo>
                    <a:pt x="2363" y="520"/>
                    <a:pt x="2363" y="520"/>
                    <a:pt x="2363" y="520"/>
                  </a:cubicBezTo>
                  <a:moveTo>
                    <a:pt x="2399" y="520"/>
                  </a:moveTo>
                  <a:cubicBezTo>
                    <a:pt x="2392" y="520"/>
                    <a:pt x="2386" y="524"/>
                    <a:pt x="2386" y="530"/>
                  </a:cubicBezTo>
                  <a:cubicBezTo>
                    <a:pt x="2386" y="535"/>
                    <a:pt x="2391" y="540"/>
                    <a:pt x="2398" y="540"/>
                  </a:cubicBezTo>
                  <a:cubicBezTo>
                    <a:pt x="2405" y="540"/>
                    <a:pt x="2411" y="535"/>
                    <a:pt x="2411" y="530"/>
                  </a:cubicBezTo>
                  <a:cubicBezTo>
                    <a:pt x="2411" y="524"/>
                    <a:pt x="2406" y="520"/>
                    <a:pt x="2399" y="520"/>
                  </a:cubicBezTo>
                  <a:cubicBezTo>
                    <a:pt x="2399" y="520"/>
                    <a:pt x="2399" y="520"/>
                    <a:pt x="2399" y="520"/>
                  </a:cubicBezTo>
                  <a:moveTo>
                    <a:pt x="2793" y="519"/>
                  </a:moveTo>
                  <a:cubicBezTo>
                    <a:pt x="2786" y="519"/>
                    <a:pt x="2781" y="524"/>
                    <a:pt x="2781" y="530"/>
                  </a:cubicBezTo>
                  <a:cubicBezTo>
                    <a:pt x="2782" y="535"/>
                    <a:pt x="2788" y="540"/>
                    <a:pt x="2795" y="540"/>
                  </a:cubicBezTo>
                  <a:cubicBezTo>
                    <a:pt x="2802" y="540"/>
                    <a:pt x="2807" y="535"/>
                    <a:pt x="2806" y="530"/>
                  </a:cubicBezTo>
                  <a:cubicBezTo>
                    <a:pt x="2806" y="524"/>
                    <a:pt x="2800" y="519"/>
                    <a:pt x="2793" y="519"/>
                  </a:cubicBezTo>
                  <a:cubicBezTo>
                    <a:pt x="2793" y="519"/>
                    <a:pt x="2793" y="519"/>
                    <a:pt x="2793" y="519"/>
                  </a:cubicBezTo>
                  <a:moveTo>
                    <a:pt x="2435" y="519"/>
                  </a:moveTo>
                  <a:cubicBezTo>
                    <a:pt x="2428" y="519"/>
                    <a:pt x="2422" y="524"/>
                    <a:pt x="2422" y="530"/>
                  </a:cubicBezTo>
                  <a:cubicBezTo>
                    <a:pt x="2422" y="535"/>
                    <a:pt x="2427" y="540"/>
                    <a:pt x="2434" y="540"/>
                  </a:cubicBezTo>
                  <a:cubicBezTo>
                    <a:pt x="2441" y="540"/>
                    <a:pt x="2447" y="535"/>
                    <a:pt x="2447" y="529"/>
                  </a:cubicBezTo>
                  <a:cubicBezTo>
                    <a:pt x="2447" y="524"/>
                    <a:pt x="2442" y="519"/>
                    <a:pt x="2435" y="519"/>
                  </a:cubicBezTo>
                  <a:cubicBezTo>
                    <a:pt x="2435" y="519"/>
                    <a:pt x="2435" y="519"/>
                    <a:pt x="2435" y="519"/>
                  </a:cubicBezTo>
                  <a:moveTo>
                    <a:pt x="2826" y="519"/>
                  </a:moveTo>
                  <a:cubicBezTo>
                    <a:pt x="2819" y="519"/>
                    <a:pt x="2814" y="524"/>
                    <a:pt x="2815" y="530"/>
                  </a:cubicBezTo>
                  <a:cubicBezTo>
                    <a:pt x="2816" y="535"/>
                    <a:pt x="2822" y="540"/>
                    <a:pt x="2829" y="540"/>
                  </a:cubicBezTo>
                  <a:cubicBezTo>
                    <a:pt x="2836" y="540"/>
                    <a:pt x="2841" y="535"/>
                    <a:pt x="2840" y="529"/>
                  </a:cubicBezTo>
                  <a:cubicBezTo>
                    <a:pt x="2839" y="524"/>
                    <a:pt x="2833" y="519"/>
                    <a:pt x="2826" y="519"/>
                  </a:cubicBezTo>
                  <a:cubicBezTo>
                    <a:pt x="2826" y="519"/>
                    <a:pt x="2826" y="519"/>
                    <a:pt x="2826" y="519"/>
                  </a:cubicBezTo>
                  <a:moveTo>
                    <a:pt x="2685" y="519"/>
                  </a:moveTo>
                  <a:cubicBezTo>
                    <a:pt x="2679" y="519"/>
                    <a:pt x="2673" y="524"/>
                    <a:pt x="2674" y="529"/>
                  </a:cubicBezTo>
                  <a:cubicBezTo>
                    <a:pt x="2674" y="535"/>
                    <a:pt x="2680" y="540"/>
                    <a:pt x="2687" y="540"/>
                  </a:cubicBezTo>
                  <a:cubicBezTo>
                    <a:pt x="2694" y="540"/>
                    <a:pt x="2699" y="535"/>
                    <a:pt x="2699" y="529"/>
                  </a:cubicBezTo>
                  <a:cubicBezTo>
                    <a:pt x="2698" y="524"/>
                    <a:pt x="2692" y="519"/>
                    <a:pt x="2686" y="519"/>
                  </a:cubicBezTo>
                  <a:cubicBezTo>
                    <a:pt x="2685" y="519"/>
                    <a:pt x="2685" y="519"/>
                    <a:pt x="2685" y="519"/>
                  </a:cubicBezTo>
                  <a:moveTo>
                    <a:pt x="2470" y="519"/>
                  </a:moveTo>
                  <a:cubicBezTo>
                    <a:pt x="2463" y="519"/>
                    <a:pt x="2458" y="524"/>
                    <a:pt x="2458" y="529"/>
                  </a:cubicBezTo>
                  <a:cubicBezTo>
                    <a:pt x="2458" y="535"/>
                    <a:pt x="2463" y="540"/>
                    <a:pt x="2470" y="540"/>
                  </a:cubicBezTo>
                  <a:cubicBezTo>
                    <a:pt x="2477" y="540"/>
                    <a:pt x="2483" y="535"/>
                    <a:pt x="2483" y="529"/>
                  </a:cubicBezTo>
                  <a:cubicBezTo>
                    <a:pt x="2483" y="524"/>
                    <a:pt x="2477" y="519"/>
                    <a:pt x="2471" y="519"/>
                  </a:cubicBezTo>
                  <a:cubicBezTo>
                    <a:pt x="2470" y="519"/>
                    <a:pt x="2470" y="519"/>
                    <a:pt x="2470" y="519"/>
                  </a:cubicBezTo>
                  <a:moveTo>
                    <a:pt x="2862" y="519"/>
                  </a:moveTo>
                  <a:cubicBezTo>
                    <a:pt x="2855" y="519"/>
                    <a:pt x="2850" y="524"/>
                    <a:pt x="2851" y="529"/>
                  </a:cubicBezTo>
                  <a:cubicBezTo>
                    <a:pt x="2851" y="535"/>
                    <a:pt x="2858" y="540"/>
                    <a:pt x="2865" y="539"/>
                  </a:cubicBezTo>
                  <a:cubicBezTo>
                    <a:pt x="2872" y="539"/>
                    <a:pt x="2877" y="535"/>
                    <a:pt x="2876" y="529"/>
                  </a:cubicBezTo>
                  <a:cubicBezTo>
                    <a:pt x="2875" y="524"/>
                    <a:pt x="2869" y="519"/>
                    <a:pt x="2862" y="519"/>
                  </a:cubicBezTo>
                  <a:cubicBezTo>
                    <a:pt x="2862" y="519"/>
                    <a:pt x="2862" y="519"/>
                    <a:pt x="2862" y="519"/>
                  </a:cubicBezTo>
                  <a:moveTo>
                    <a:pt x="2721" y="519"/>
                  </a:moveTo>
                  <a:cubicBezTo>
                    <a:pt x="2714" y="519"/>
                    <a:pt x="2709" y="524"/>
                    <a:pt x="2709" y="529"/>
                  </a:cubicBezTo>
                  <a:cubicBezTo>
                    <a:pt x="2710" y="535"/>
                    <a:pt x="2716" y="539"/>
                    <a:pt x="2723" y="539"/>
                  </a:cubicBezTo>
                  <a:cubicBezTo>
                    <a:pt x="2730" y="539"/>
                    <a:pt x="2735" y="535"/>
                    <a:pt x="2734" y="529"/>
                  </a:cubicBezTo>
                  <a:cubicBezTo>
                    <a:pt x="2734" y="523"/>
                    <a:pt x="2728" y="519"/>
                    <a:pt x="2721" y="519"/>
                  </a:cubicBezTo>
                  <a:cubicBezTo>
                    <a:pt x="2721" y="519"/>
                    <a:pt x="2721" y="519"/>
                    <a:pt x="2721" y="519"/>
                  </a:cubicBezTo>
                  <a:moveTo>
                    <a:pt x="2898" y="519"/>
                  </a:moveTo>
                  <a:cubicBezTo>
                    <a:pt x="2891" y="519"/>
                    <a:pt x="2886" y="523"/>
                    <a:pt x="2887" y="529"/>
                  </a:cubicBezTo>
                  <a:cubicBezTo>
                    <a:pt x="2887" y="535"/>
                    <a:pt x="2894" y="539"/>
                    <a:pt x="2901" y="539"/>
                  </a:cubicBezTo>
                  <a:cubicBezTo>
                    <a:pt x="2908" y="539"/>
                    <a:pt x="2913" y="535"/>
                    <a:pt x="2912" y="529"/>
                  </a:cubicBezTo>
                  <a:cubicBezTo>
                    <a:pt x="2911" y="523"/>
                    <a:pt x="2905" y="519"/>
                    <a:pt x="2898" y="519"/>
                  </a:cubicBezTo>
                  <a:cubicBezTo>
                    <a:pt x="2898" y="519"/>
                    <a:pt x="2898" y="519"/>
                    <a:pt x="2898" y="519"/>
                  </a:cubicBezTo>
                  <a:moveTo>
                    <a:pt x="2757" y="519"/>
                  </a:moveTo>
                  <a:cubicBezTo>
                    <a:pt x="2750" y="519"/>
                    <a:pt x="2745" y="523"/>
                    <a:pt x="2745" y="529"/>
                  </a:cubicBezTo>
                  <a:cubicBezTo>
                    <a:pt x="2746" y="535"/>
                    <a:pt x="2752" y="539"/>
                    <a:pt x="2759" y="539"/>
                  </a:cubicBezTo>
                  <a:cubicBezTo>
                    <a:pt x="2766" y="539"/>
                    <a:pt x="2771" y="534"/>
                    <a:pt x="2770" y="529"/>
                  </a:cubicBezTo>
                  <a:cubicBezTo>
                    <a:pt x="2770" y="523"/>
                    <a:pt x="2764" y="519"/>
                    <a:pt x="2757" y="519"/>
                  </a:cubicBezTo>
                  <a:cubicBezTo>
                    <a:pt x="2757" y="519"/>
                    <a:pt x="2757" y="519"/>
                    <a:pt x="2757" y="519"/>
                  </a:cubicBezTo>
                  <a:moveTo>
                    <a:pt x="2542" y="519"/>
                  </a:moveTo>
                  <a:cubicBezTo>
                    <a:pt x="2535" y="519"/>
                    <a:pt x="2529" y="523"/>
                    <a:pt x="2529" y="529"/>
                  </a:cubicBezTo>
                  <a:cubicBezTo>
                    <a:pt x="2529" y="535"/>
                    <a:pt x="2535" y="539"/>
                    <a:pt x="2542" y="539"/>
                  </a:cubicBezTo>
                  <a:cubicBezTo>
                    <a:pt x="2549" y="539"/>
                    <a:pt x="2555" y="534"/>
                    <a:pt x="2555" y="529"/>
                  </a:cubicBezTo>
                  <a:cubicBezTo>
                    <a:pt x="2554" y="523"/>
                    <a:pt x="2549" y="519"/>
                    <a:pt x="2542" y="519"/>
                  </a:cubicBezTo>
                  <a:cubicBezTo>
                    <a:pt x="2542" y="519"/>
                    <a:pt x="2542" y="519"/>
                    <a:pt x="2542" y="519"/>
                  </a:cubicBezTo>
                  <a:moveTo>
                    <a:pt x="2934" y="519"/>
                  </a:moveTo>
                  <a:cubicBezTo>
                    <a:pt x="2927" y="519"/>
                    <a:pt x="2922" y="523"/>
                    <a:pt x="2923" y="529"/>
                  </a:cubicBezTo>
                  <a:cubicBezTo>
                    <a:pt x="2924" y="535"/>
                    <a:pt x="2930" y="539"/>
                    <a:pt x="2937" y="539"/>
                  </a:cubicBezTo>
                  <a:cubicBezTo>
                    <a:pt x="2944" y="539"/>
                    <a:pt x="2949" y="534"/>
                    <a:pt x="2948" y="529"/>
                  </a:cubicBezTo>
                  <a:cubicBezTo>
                    <a:pt x="2947" y="523"/>
                    <a:pt x="2941" y="519"/>
                    <a:pt x="2934" y="519"/>
                  </a:cubicBezTo>
                  <a:cubicBezTo>
                    <a:pt x="2934" y="519"/>
                    <a:pt x="2934" y="519"/>
                    <a:pt x="2934" y="519"/>
                  </a:cubicBezTo>
                  <a:moveTo>
                    <a:pt x="2578" y="518"/>
                  </a:moveTo>
                  <a:cubicBezTo>
                    <a:pt x="2571" y="518"/>
                    <a:pt x="2566" y="523"/>
                    <a:pt x="2566" y="529"/>
                  </a:cubicBezTo>
                  <a:cubicBezTo>
                    <a:pt x="2566" y="534"/>
                    <a:pt x="2572" y="539"/>
                    <a:pt x="2579" y="539"/>
                  </a:cubicBezTo>
                  <a:cubicBezTo>
                    <a:pt x="2586" y="539"/>
                    <a:pt x="2591" y="534"/>
                    <a:pt x="2591" y="529"/>
                  </a:cubicBezTo>
                  <a:cubicBezTo>
                    <a:pt x="2591" y="523"/>
                    <a:pt x="2585" y="518"/>
                    <a:pt x="2578" y="518"/>
                  </a:cubicBezTo>
                  <a:cubicBezTo>
                    <a:pt x="2578" y="518"/>
                    <a:pt x="2578" y="518"/>
                    <a:pt x="2578" y="518"/>
                  </a:cubicBezTo>
                  <a:moveTo>
                    <a:pt x="2969" y="518"/>
                  </a:moveTo>
                  <a:cubicBezTo>
                    <a:pt x="2963" y="518"/>
                    <a:pt x="2958" y="523"/>
                    <a:pt x="2959" y="529"/>
                  </a:cubicBezTo>
                  <a:cubicBezTo>
                    <a:pt x="2960" y="534"/>
                    <a:pt x="2966" y="539"/>
                    <a:pt x="2973" y="539"/>
                  </a:cubicBezTo>
                  <a:cubicBezTo>
                    <a:pt x="2980" y="539"/>
                    <a:pt x="2985" y="534"/>
                    <a:pt x="2984" y="528"/>
                  </a:cubicBezTo>
                  <a:cubicBezTo>
                    <a:pt x="2983" y="523"/>
                    <a:pt x="2976" y="518"/>
                    <a:pt x="2970" y="518"/>
                  </a:cubicBezTo>
                  <a:cubicBezTo>
                    <a:pt x="2969" y="518"/>
                    <a:pt x="2969" y="518"/>
                    <a:pt x="2969" y="518"/>
                  </a:cubicBezTo>
                  <a:moveTo>
                    <a:pt x="3005" y="518"/>
                  </a:moveTo>
                  <a:cubicBezTo>
                    <a:pt x="2998" y="518"/>
                    <a:pt x="2993" y="523"/>
                    <a:pt x="2995" y="528"/>
                  </a:cubicBezTo>
                  <a:cubicBezTo>
                    <a:pt x="2996" y="534"/>
                    <a:pt x="3002" y="539"/>
                    <a:pt x="3009" y="539"/>
                  </a:cubicBezTo>
                  <a:cubicBezTo>
                    <a:pt x="3016" y="539"/>
                    <a:pt x="3021" y="534"/>
                    <a:pt x="3020" y="528"/>
                  </a:cubicBezTo>
                  <a:cubicBezTo>
                    <a:pt x="3019" y="523"/>
                    <a:pt x="3012" y="518"/>
                    <a:pt x="3005" y="518"/>
                  </a:cubicBezTo>
                  <a:cubicBezTo>
                    <a:pt x="3005" y="518"/>
                    <a:pt x="3005" y="518"/>
                    <a:pt x="3005" y="518"/>
                  </a:cubicBezTo>
                  <a:moveTo>
                    <a:pt x="3041" y="518"/>
                  </a:moveTo>
                  <a:cubicBezTo>
                    <a:pt x="3034" y="518"/>
                    <a:pt x="3029" y="523"/>
                    <a:pt x="3030" y="528"/>
                  </a:cubicBezTo>
                  <a:cubicBezTo>
                    <a:pt x="3031" y="534"/>
                    <a:pt x="3038" y="538"/>
                    <a:pt x="3045" y="538"/>
                  </a:cubicBezTo>
                  <a:cubicBezTo>
                    <a:pt x="3052" y="538"/>
                    <a:pt x="3056" y="534"/>
                    <a:pt x="3055" y="528"/>
                  </a:cubicBezTo>
                  <a:cubicBezTo>
                    <a:pt x="3054" y="522"/>
                    <a:pt x="3048" y="518"/>
                    <a:pt x="3041" y="518"/>
                  </a:cubicBezTo>
                  <a:cubicBezTo>
                    <a:pt x="3041" y="518"/>
                    <a:pt x="3041" y="518"/>
                    <a:pt x="3041" y="518"/>
                  </a:cubicBezTo>
                  <a:moveTo>
                    <a:pt x="3077" y="518"/>
                  </a:moveTo>
                  <a:cubicBezTo>
                    <a:pt x="3070" y="518"/>
                    <a:pt x="3065" y="522"/>
                    <a:pt x="3066" y="528"/>
                  </a:cubicBezTo>
                  <a:cubicBezTo>
                    <a:pt x="3067" y="534"/>
                    <a:pt x="3074" y="538"/>
                    <a:pt x="3081" y="538"/>
                  </a:cubicBezTo>
                  <a:cubicBezTo>
                    <a:pt x="3088" y="538"/>
                    <a:pt x="3092" y="533"/>
                    <a:pt x="3091" y="528"/>
                  </a:cubicBezTo>
                  <a:cubicBezTo>
                    <a:pt x="3090" y="522"/>
                    <a:pt x="3084" y="518"/>
                    <a:pt x="3077" y="518"/>
                  </a:cubicBezTo>
                  <a:cubicBezTo>
                    <a:pt x="3077" y="518"/>
                    <a:pt x="3077" y="518"/>
                    <a:pt x="3077" y="518"/>
                  </a:cubicBezTo>
                  <a:moveTo>
                    <a:pt x="3113" y="517"/>
                  </a:moveTo>
                  <a:cubicBezTo>
                    <a:pt x="3107" y="517"/>
                    <a:pt x="3102" y="522"/>
                    <a:pt x="3103" y="528"/>
                  </a:cubicBezTo>
                  <a:cubicBezTo>
                    <a:pt x="3104" y="533"/>
                    <a:pt x="3111" y="538"/>
                    <a:pt x="3118" y="538"/>
                  </a:cubicBezTo>
                  <a:cubicBezTo>
                    <a:pt x="3125" y="538"/>
                    <a:pt x="3130" y="533"/>
                    <a:pt x="3128" y="528"/>
                  </a:cubicBezTo>
                  <a:cubicBezTo>
                    <a:pt x="3127" y="522"/>
                    <a:pt x="3120" y="517"/>
                    <a:pt x="3114" y="517"/>
                  </a:cubicBezTo>
                  <a:cubicBezTo>
                    <a:pt x="3114" y="517"/>
                    <a:pt x="3113" y="517"/>
                    <a:pt x="3113" y="517"/>
                  </a:cubicBezTo>
                  <a:moveTo>
                    <a:pt x="3149" y="517"/>
                  </a:moveTo>
                  <a:cubicBezTo>
                    <a:pt x="3142" y="517"/>
                    <a:pt x="3138" y="522"/>
                    <a:pt x="3139" y="528"/>
                  </a:cubicBezTo>
                  <a:cubicBezTo>
                    <a:pt x="3140" y="533"/>
                    <a:pt x="3147" y="538"/>
                    <a:pt x="3154" y="538"/>
                  </a:cubicBezTo>
                  <a:cubicBezTo>
                    <a:pt x="3161" y="538"/>
                    <a:pt x="3165" y="533"/>
                    <a:pt x="3164" y="527"/>
                  </a:cubicBezTo>
                  <a:cubicBezTo>
                    <a:pt x="3163" y="522"/>
                    <a:pt x="3156" y="517"/>
                    <a:pt x="3149" y="517"/>
                  </a:cubicBezTo>
                  <a:cubicBezTo>
                    <a:pt x="3149" y="517"/>
                    <a:pt x="3149" y="517"/>
                    <a:pt x="3149" y="517"/>
                  </a:cubicBezTo>
                  <a:moveTo>
                    <a:pt x="3185" y="517"/>
                  </a:moveTo>
                  <a:cubicBezTo>
                    <a:pt x="3178" y="517"/>
                    <a:pt x="3173" y="522"/>
                    <a:pt x="3175" y="527"/>
                  </a:cubicBezTo>
                  <a:cubicBezTo>
                    <a:pt x="3176" y="533"/>
                    <a:pt x="3183" y="537"/>
                    <a:pt x="3190" y="537"/>
                  </a:cubicBezTo>
                  <a:cubicBezTo>
                    <a:pt x="3197" y="537"/>
                    <a:pt x="3201" y="533"/>
                    <a:pt x="3200" y="527"/>
                  </a:cubicBezTo>
                  <a:cubicBezTo>
                    <a:pt x="3198" y="521"/>
                    <a:pt x="3192" y="517"/>
                    <a:pt x="3185" y="517"/>
                  </a:cubicBezTo>
                  <a:cubicBezTo>
                    <a:pt x="3185" y="517"/>
                    <a:pt x="3185" y="517"/>
                    <a:pt x="3185" y="517"/>
                  </a:cubicBezTo>
                  <a:moveTo>
                    <a:pt x="3221" y="517"/>
                  </a:moveTo>
                  <a:cubicBezTo>
                    <a:pt x="3214" y="517"/>
                    <a:pt x="3210" y="521"/>
                    <a:pt x="3211" y="527"/>
                  </a:cubicBezTo>
                  <a:cubicBezTo>
                    <a:pt x="3213" y="533"/>
                    <a:pt x="3219" y="537"/>
                    <a:pt x="3226" y="537"/>
                  </a:cubicBezTo>
                  <a:cubicBezTo>
                    <a:pt x="3233" y="537"/>
                    <a:pt x="3238" y="533"/>
                    <a:pt x="3236" y="527"/>
                  </a:cubicBezTo>
                  <a:cubicBezTo>
                    <a:pt x="3235" y="521"/>
                    <a:pt x="3228" y="517"/>
                    <a:pt x="3221" y="517"/>
                  </a:cubicBezTo>
                  <a:cubicBezTo>
                    <a:pt x="3221" y="517"/>
                    <a:pt x="3221" y="517"/>
                    <a:pt x="3221" y="517"/>
                  </a:cubicBezTo>
                  <a:moveTo>
                    <a:pt x="3256" y="516"/>
                  </a:moveTo>
                  <a:cubicBezTo>
                    <a:pt x="3250" y="516"/>
                    <a:pt x="3245" y="521"/>
                    <a:pt x="3247" y="527"/>
                  </a:cubicBezTo>
                  <a:cubicBezTo>
                    <a:pt x="3248" y="532"/>
                    <a:pt x="3255" y="537"/>
                    <a:pt x="3262" y="537"/>
                  </a:cubicBezTo>
                  <a:cubicBezTo>
                    <a:pt x="3269" y="537"/>
                    <a:pt x="3273" y="532"/>
                    <a:pt x="3272" y="527"/>
                  </a:cubicBezTo>
                  <a:cubicBezTo>
                    <a:pt x="3270" y="521"/>
                    <a:pt x="3263" y="516"/>
                    <a:pt x="3257" y="516"/>
                  </a:cubicBezTo>
                  <a:cubicBezTo>
                    <a:pt x="3257" y="516"/>
                    <a:pt x="3256" y="516"/>
                    <a:pt x="3256" y="516"/>
                  </a:cubicBezTo>
                  <a:moveTo>
                    <a:pt x="3292" y="516"/>
                  </a:moveTo>
                  <a:cubicBezTo>
                    <a:pt x="3285" y="516"/>
                    <a:pt x="3281" y="521"/>
                    <a:pt x="3283" y="527"/>
                  </a:cubicBezTo>
                  <a:cubicBezTo>
                    <a:pt x="3284" y="532"/>
                    <a:pt x="3291" y="537"/>
                    <a:pt x="3298" y="537"/>
                  </a:cubicBezTo>
                  <a:cubicBezTo>
                    <a:pt x="3305" y="537"/>
                    <a:pt x="3309" y="532"/>
                    <a:pt x="3308" y="526"/>
                  </a:cubicBezTo>
                  <a:cubicBezTo>
                    <a:pt x="3306" y="521"/>
                    <a:pt x="3299" y="516"/>
                    <a:pt x="3292" y="516"/>
                  </a:cubicBezTo>
                  <a:cubicBezTo>
                    <a:pt x="3292" y="516"/>
                    <a:pt x="3292" y="516"/>
                    <a:pt x="3292" y="516"/>
                  </a:cubicBezTo>
                  <a:moveTo>
                    <a:pt x="3328" y="516"/>
                  </a:moveTo>
                  <a:cubicBezTo>
                    <a:pt x="3321" y="516"/>
                    <a:pt x="3317" y="521"/>
                    <a:pt x="3318" y="526"/>
                  </a:cubicBezTo>
                  <a:cubicBezTo>
                    <a:pt x="3320" y="532"/>
                    <a:pt x="3327" y="537"/>
                    <a:pt x="3334" y="537"/>
                  </a:cubicBezTo>
                  <a:cubicBezTo>
                    <a:pt x="3341" y="536"/>
                    <a:pt x="3345" y="532"/>
                    <a:pt x="3343" y="526"/>
                  </a:cubicBezTo>
                  <a:cubicBezTo>
                    <a:pt x="3342" y="521"/>
                    <a:pt x="3335" y="516"/>
                    <a:pt x="3328" y="516"/>
                  </a:cubicBezTo>
                  <a:cubicBezTo>
                    <a:pt x="3328" y="516"/>
                    <a:pt x="3328" y="516"/>
                    <a:pt x="3328" y="516"/>
                  </a:cubicBezTo>
                  <a:moveTo>
                    <a:pt x="3364" y="516"/>
                  </a:moveTo>
                  <a:cubicBezTo>
                    <a:pt x="3357" y="516"/>
                    <a:pt x="3352" y="520"/>
                    <a:pt x="3354" y="526"/>
                  </a:cubicBezTo>
                  <a:cubicBezTo>
                    <a:pt x="3356" y="532"/>
                    <a:pt x="3363" y="536"/>
                    <a:pt x="3370" y="536"/>
                  </a:cubicBezTo>
                  <a:cubicBezTo>
                    <a:pt x="3377" y="536"/>
                    <a:pt x="3381" y="532"/>
                    <a:pt x="3379" y="526"/>
                  </a:cubicBezTo>
                  <a:cubicBezTo>
                    <a:pt x="3377" y="520"/>
                    <a:pt x="3370" y="516"/>
                    <a:pt x="3364" y="516"/>
                  </a:cubicBezTo>
                  <a:cubicBezTo>
                    <a:pt x="3364" y="516"/>
                    <a:pt x="3364" y="516"/>
                    <a:pt x="3364" y="516"/>
                  </a:cubicBezTo>
                  <a:moveTo>
                    <a:pt x="3400" y="516"/>
                  </a:moveTo>
                  <a:cubicBezTo>
                    <a:pt x="3393" y="516"/>
                    <a:pt x="3389" y="520"/>
                    <a:pt x="3390" y="526"/>
                  </a:cubicBezTo>
                  <a:cubicBezTo>
                    <a:pt x="3392" y="532"/>
                    <a:pt x="3399" y="536"/>
                    <a:pt x="3406" y="536"/>
                  </a:cubicBezTo>
                  <a:cubicBezTo>
                    <a:pt x="3413" y="536"/>
                    <a:pt x="3417" y="531"/>
                    <a:pt x="3416" y="526"/>
                  </a:cubicBezTo>
                  <a:cubicBezTo>
                    <a:pt x="3414" y="520"/>
                    <a:pt x="3407" y="516"/>
                    <a:pt x="3400" y="516"/>
                  </a:cubicBezTo>
                  <a:cubicBezTo>
                    <a:pt x="3400" y="516"/>
                    <a:pt x="3400" y="516"/>
                    <a:pt x="3400" y="516"/>
                  </a:cubicBezTo>
                  <a:moveTo>
                    <a:pt x="3435" y="515"/>
                  </a:moveTo>
                  <a:cubicBezTo>
                    <a:pt x="3428" y="515"/>
                    <a:pt x="3424" y="520"/>
                    <a:pt x="3426" y="526"/>
                  </a:cubicBezTo>
                  <a:cubicBezTo>
                    <a:pt x="3428" y="531"/>
                    <a:pt x="3435" y="536"/>
                    <a:pt x="3442" y="536"/>
                  </a:cubicBezTo>
                  <a:cubicBezTo>
                    <a:pt x="3449" y="536"/>
                    <a:pt x="3453" y="531"/>
                    <a:pt x="3451" y="526"/>
                  </a:cubicBezTo>
                  <a:cubicBezTo>
                    <a:pt x="3449" y="520"/>
                    <a:pt x="3442" y="515"/>
                    <a:pt x="3435" y="515"/>
                  </a:cubicBezTo>
                  <a:cubicBezTo>
                    <a:pt x="3435" y="515"/>
                    <a:pt x="3435" y="515"/>
                    <a:pt x="3435" y="515"/>
                  </a:cubicBezTo>
                  <a:moveTo>
                    <a:pt x="3471" y="515"/>
                  </a:moveTo>
                  <a:cubicBezTo>
                    <a:pt x="3464" y="515"/>
                    <a:pt x="3460" y="520"/>
                    <a:pt x="3462" y="525"/>
                  </a:cubicBezTo>
                  <a:cubicBezTo>
                    <a:pt x="3464" y="531"/>
                    <a:pt x="3471" y="536"/>
                    <a:pt x="3478" y="536"/>
                  </a:cubicBezTo>
                  <a:cubicBezTo>
                    <a:pt x="3485" y="536"/>
                    <a:pt x="3489" y="531"/>
                    <a:pt x="3487" y="525"/>
                  </a:cubicBezTo>
                  <a:cubicBezTo>
                    <a:pt x="3485" y="520"/>
                    <a:pt x="3478" y="515"/>
                    <a:pt x="3471" y="515"/>
                  </a:cubicBezTo>
                  <a:cubicBezTo>
                    <a:pt x="3471" y="515"/>
                    <a:pt x="3471" y="515"/>
                    <a:pt x="3471" y="515"/>
                  </a:cubicBezTo>
                  <a:moveTo>
                    <a:pt x="3506" y="515"/>
                  </a:moveTo>
                  <a:cubicBezTo>
                    <a:pt x="3499" y="515"/>
                    <a:pt x="3495" y="520"/>
                    <a:pt x="3498" y="525"/>
                  </a:cubicBezTo>
                  <a:cubicBezTo>
                    <a:pt x="3500" y="531"/>
                    <a:pt x="3507" y="535"/>
                    <a:pt x="3514" y="535"/>
                  </a:cubicBezTo>
                  <a:cubicBezTo>
                    <a:pt x="3521" y="535"/>
                    <a:pt x="3525" y="531"/>
                    <a:pt x="3523" y="525"/>
                  </a:cubicBezTo>
                  <a:cubicBezTo>
                    <a:pt x="3521" y="519"/>
                    <a:pt x="3513" y="515"/>
                    <a:pt x="3506" y="515"/>
                  </a:cubicBezTo>
                  <a:cubicBezTo>
                    <a:pt x="3506" y="515"/>
                    <a:pt x="3506" y="515"/>
                    <a:pt x="3506" y="515"/>
                  </a:cubicBezTo>
                  <a:moveTo>
                    <a:pt x="3542" y="515"/>
                  </a:moveTo>
                  <a:cubicBezTo>
                    <a:pt x="3535" y="515"/>
                    <a:pt x="3531" y="519"/>
                    <a:pt x="3533" y="525"/>
                  </a:cubicBezTo>
                  <a:cubicBezTo>
                    <a:pt x="3536" y="531"/>
                    <a:pt x="3543" y="535"/>
                    <a:pt x="3550" y="535"/>
                  </a:cubicBezTo>
                  <a:cubicBezTo>
                    <a:pt x="3557" y="535"/>
                    <a:pt x="3561" y="530"/>
                    <a:pt x="3559" y="525"/>
                  </a:cubicBezTo>
                  <a:cubicBezTo>
                    <a:pt x="3556" y="519"/>
                    <a:pt x="3549" y="515"/>
                    <a:pt x="3542" y="515"/>
                  </a:cubicBezTo>
                  <a:cubicBezTo>
                    <a:pt x="3542" y="515"/>
                    <a:pt x="3542" y="515"/>
                    <a:pt x="3542" y="515"/>
                  </a:cubicBezTo>
                  <a:moveTo>
                    <a:pt x="3578" y="514"/>
                  </a:moveTo>
                  <a:cubicBezTo>
                    <a:pt x="3571" y="514"/>
                    <a:pt x="3568" y="519"/>
                    <a:pt x="3570" y="525"/>
                  </a:cubicBezTo>
                  <a:cubicBezTo>
                    <a:pt x="3572" y="530"/>
                    <a:pt x="3579" y="535"/>
                    <a:pt x="3586" y="535"/>
                  </a:cubicBezTo>
                  <a:cubicBezTo>
                    <a:pt x="3593" y="535"/>
                    <a:pt x="3597" y="530"/>
                    <a:pt x="3595" y="525"/>
                  </a:cubicBezTo>
                  <a:cubicBezTo>
                    <a:pt x="3593" y="519"/>
                    <a:pt x="3585" y="514"/>
                    <a:pt x="3578" y="514"/>
                  </a:cubicBezTo>
                  <a:cubicBezTo>
                    <a:pt x="3578" y="514"/>
                    <a:pt x="3578" y="514"/>
                    <a:pt x="3578" y="514"/>
                  </a:cubicBezTo>
                  <a:moveTo>
                    <a:pt x="3614" y="514"/>
                  </a:moveTo>
                  <a:cubicBezTo>
                    <a:pt x="3607" y="514"/>
                    <a:pt x="3603" y="519"/>
                    <a:pt x="3605" y="524"/>
                  </a:cubicBezTo>
                  <a:cubicBezTo>
                    <a:pt x="3608" y="530"/>
                    <a:pt x="3615" y="535"/>
                    <a:pt x="3622" y="535"/>
                  </a:cubicBezTo>
                  <a:cubicBezTo>
                    <a:pt x="3629" y="534"/>
                    <a:pt x="3633" y="530"/>
                    <a:pt x="3631" y="524"/>
                  </a:cubicBezTo>
                  <a:cubicBezTo>
                    <a:pt x="3628" y="519"/>
                    <a:pt x="3621" y="514"/>
                    <a:pt x="3614" y="514"/>
                  </a:cubicBezTo>
                  <a:cubicBezTo>
                    <a:pt x="3614" y="514"/>
                    <a:pt x="3614" y="514"/>
                    <a:pt x="3614" y="514"/>
                  </a:cubicBezTo>
                  <a:moveTo>
                    <a:pt x="3649" y="514"/>
                  </a:moveTo>
                  <a:cubicBezTo>
                    <a:pt x="3642" y="514"/>
                    <a:pt x="3639" y="518"/>
                    <a:pt x="3641" y="524"/>
                  </a:cubicBezTo>
                  <a:cubicBezTo>
                    <a:pt x="3643" y="530"/>
                    <a:pt x="3651" y="534"/>
                    <a:pt x="3658" y="534"/>
                  </a:cubicBezTo>
                  <a:cubicBezTo>
                    <a:pt x="3665" y="534"/>
                    <a:pt x="3669" y="530"/>
                    <a:pt x="3666" y="524"/>
                  </a:cubicBezTo>
                  <a:cubicBezTo>
                    <a:pt x="3664" y="518"/>
                    <a:pt x="3656" y="514"/>
                    <a:pt x="3649" y="514"/>
                  </a:cubicBezTo>
                  <a:cubicBezTo>
                    <a:pt x="3649" y="514"/>
                    <a:pt x="3649" y="514"/>
                    <a:pt x="3649" y="514"/>
                  </a:cubicBezTo>
                  <a:moveTo>
                    <a:pt x="3685" y="514"/>
                  </a:moveTo>
                  <a:cubicBezTo>
                    <a:pt x="3678" y="514"/>
                    <a:pt x="3675" y="518"/>
                    <a:pt x="3677" y="524"/>
                  </a:cubicBezTo>
                  <a:cubicBezTo>
                    <a:pt x="3679" y="530"/>
                    <a:pt x="3687" y="534"/>
                    <a:pt x="3694" y="534"/>
                  </a:cubicBezTo>
                  <a:cubicBezTo>
                    <a:pt x="3701" y="534"/>
                    <a:pt x="3705" y="529"/>
                    <a:pt x="3702" y="524"/>
                  </a:cubicBezTo>
                  <a:cubicBezTo>
                    <a:pt x="3700" y="518"/>
                    <a:pt x="3692" y="514"/>
                    <a:pt x="3685" y="514"/>
                  </a:cubicBezTo>
                  <a:cubicBezTo>
                    <a:pt x="3685" y="514"/>
                    <a:pt x="3685" y="514"/>
                    <a:pt x="3685" y="514"/>
                  </a:cubicBezTo>
                  <a:moveTo>
                    <a:pt x="3723" y="513"/>
                  </a:moveTo>
                  <a:cubicBezTo>
                    <a:pt x="3716" y="513"/>
                    <a:pt x="3713" y="518"/>
                    <a:pt x="3715" y="524"/>
                  </a:cubicBezTo>
                  <a:cubicBezTo>
                    <a:pt x="3718" y="529"/>
                    <a:pt x="3725" y="534"/>
                    <a:pt x="3732" y="534"/>
                  </a:cubicBezTo>
                  <a:cubicBezTo>
                    <a:pt x="3739" y="534"/>
                    <a:pt x="3743" y="529"/>
                    <a:pt x="3740" y="523"/>
                  </a:cubicBezTo>
                  <a:cubicBezTo>
                    <a:pt x="3738" y="518"/>
                    <a:pt x="3730" y="513"/>
                    <a:pt x="3723" y="513"/>
                  </a:cubicBezTo>
                  <a:cubicBezTo>
                    <a:pt x="3723" y="513"/>
                    <a:pt x="3723" y="513"/>
                    <a:pt x="3723" y="513"/>
                  </a:cubicBezTo>
                  <a:moveTo>
                    <a:pt x="3758" y="513"/>
                  </a:moveTo>
                  <a:cubicBezTo>
                    <a:pt x="3751" y="513"/>
                    <a:pt x="3748" y="518"/>
                    <a:pt x="3750" y="523"/>
                  </a:cubicBezTo>
                  <a:cubicBezTo>
                    <a:pt x="3753" y="529"/>
                    <a:pt x="3761" y="534"/>
                    <a:pt x="3768" y="534"/>
                  </a:cubicBezTo>
                  <a:cubicBezTo>
                    <a:pt x="3775" y="534"/>
                    <a:pt x="3778" y="529"/>
                    <a:pt x="3775" y="523"/>
                  </a:cubicBezTo>
                  <a:cubicBezTo>
                    <a:pt x="3773" y="518"/>
                    <a:pt x="3765" y="513"/>
                    <a:pt x="3758" y="513"/>
                  </a:cubicBezTo>
                  <a:cubicBezTo>
                    <a:pt x="3758" y="513"/>
                    <a:pt x="3758" y="513"/>
                    <a:pt x="3758" y="513"/>
                  </a:cubicBezTo>
                  <a:moveTo>
                    <a:pt x="3794" y="513"/>
                  </a:moveTo>
                  <a:cubicBezTo>
                    <a:pt x="3787" y="513"/>
                    <a:pt x="3783" y="518"/>
                    <a:pt x="3786" y="523"/>
                  </a:cubicBezTo>
                  <a:cubicBezTo>
                    <a:pt x="3789" y="529"/>
                    <a:pt x="3796" y="533"/>
                    <a:pt x="3803" y="533"/>
                  </a:cubicBezTo>
                  <a:cubicBezTo>
                    <a:pt x="3810" y="533"/>
                    <a:pt x="3814" y="529"/>
                    <a:pt x="3811" y="523"/>
                  </a:cubicBezTo>
                  <a:cubicBezTo>
                    <a:pt x="3808" y="517"/>
                    <a:pt x="3801" y="513"/>
                    <a:pt x="3794" y="513"/>
                  </a:cubicBezTo>
                  <a:cubicBezTo>
                    <a:pt x="3794" y="513"/>
                    <a:pt x="3794" y="513"/>
                    <a:pt x="3794" y="513"/>
                  </a:cubicBezTo>
                  <a:moveTo>
                    <a:pt x="3830" y="513"/>
                  </a:moveTo>
                  <a:cubicBezTo>
                    <a:pt x="3823" y="513"/>
                    <a:pt x="3819" y="517"/>
                    <a:pt x="3822" y="523"/>
                  </a:cubicBezTo>
                  <a:cubicBezTo>
                    <a:pt x="3825" y="529"/>
                    <a:pt x="3832" y="533"/>
                    <a:pt x="3839" y="533"/>
                  </a:cubicBezTo>
                  <a:cubicBezTo>
                    <a:pt x="3846" y="533"/>
                    <a:pt x="3850" y="528"/>
                    <a:pt x="3847" y="523"/>
                  </a:cubicBezTo>
                  <a:cubicBezTo>
                    <a:pt x="3844" y="517"/>
                    <a:pt x="3836" y="513"/>
                    <a:pt x="3830" y="513"/>
                  </a:cubicBezTo>
                  <a:cubicBezTo>
                    <a:pt x="3830" y="513"/>
                    <a:pt x="3830" y="513"/>
                    <a:pt x="3830" y="513"/>
                  </a:cubicBezTo>
                  <a:moveTo>
                    <a:pt x="3866" y="512"/>
                  </a:moveTo>
                  <a:cubicBezTo>
                    <a:pt x="3859" y="512"/>
                    <a:pt x="3855" y="517"/>
                    <a:pt x="3858" y="523"/>
                  </a:cubicBezTo>
                  <a:cubicBezTo>
                    <a:pt x="3861" y="528"/>
                    <a:pt x="3869" y="533"/>
                    <a:pt x="3876" y="533"/>
                  </a:cubicBezTo>
                  <a:cubicBezTo>
                    <a:pt x="3883" y="533"/>
                    <a:pt x="3886" y="528"/>
                    <a:pt x="3883" y="523"/>
                  </a:cubicBezTo>
                  <a:cubicBezTo>
                    <a:pt x="3880" y="517"/>
                    <a:pt x="3873" y="512"/>
                    <a:pt x="3866" y="512"/>
                  </a:cubicBezTo>
                  <a:cubicBezTo>
                    <a:pt x="3866" y="512"/>
                    <a:pt x="3866" y="512"/>
                    <a:pt x="3866" y="512"/>
                  </a:cubicBezTo>
                  <a:moveTo>
                    <a:pt x="3901" y="512"/>
                  </a:moveTo>
                  <a:cubicBezTo>
                    <a:pt x="3894" y="512"/>
                    <a:pt x="3891" y="517"/>
                    <a:pt x="3894" y="522"/>
                  </a:cubicBezTo>
                  <a:cubicBezTo>
                    <a:pt x="3897" y="528"/>
                    <a:pt x="3904" y="533"/>
                    <a:pt x="3911" y="533"/>
                  </a:cubicBezTo>
                  <a:cubicBezTo>
                    <a:pt x="3918" y="533"/>
                    <a:pt x="3922" y="528"/>
                    <a:pt x="3919" y="522"/>
                  </a:cubicBezTo>
                  <a:cubicBezTo>
                    <a:pt x="3916" y="517"/>
                    <a:pt x="3908" y="512"/>
                    <a:pt x="3901" y="512"/>
                  </a:cubicBezTo>
                  <a:cubicBezTo>
                    <a:pt x="3901" y="512"/>
                    <a:pt x="3901" y="512"/>
                    <a:pt x="3901" y="512"/>
                  </a:cubicBezTo>
                  <a:moveTo>
                    <a:pt x="3937" y="512"/>
                  </a:moveTo>
                  <a:cubicBezTo>
                    <a:pt x="3930" y="512"/>
                    <a:pt x="3927" y="517"/>
                    <a:pt x="3930" y="522"/>
                  </a:cubicBezTo>
                  <a:cubicBezTo>
                    <a:pt x="3932" y="528"/>
                    <a:pt x="3940" y="533"/>
                    <a:pt x="3947" y="532"/>
                  </a:cubicBezTo>
                  <a:cubicBezTo>
                    <a:pt x="3954" y="532"/>
                    <a:pt x="3958" y="528"/>
                    <a:pt x="3955" y="522"/>
                  </a:cubicBezTo>
                  <a:cubicBezTo>
                    <a:pt x="3952" y="516"/>
                    <a:pt x="3944" y="512"/>
                    <a:pt x="3937" y="512"/>
                  </a:cubicBezTo>
                  <a:cubicBezTo>
                    <a:pt x="3937" y="512"/>
                    <a:pt x="3937" y="512"/>
                    <a:pt x="3937" y="512"/>
                  </a:cubicBezTo>
                  <a:moveTo>
                    <a:pt x="3972" y="512"/>
                  </a:moveTo>
                  <a:cubicBezTo>
                    <a:pt x="3965" y="512"/>
                    <a:pt x="3962" y="516"/>
                    <a:pt x="3965" y="522"/>
                  </a:cubicBezTo>
                  <a:cubicBezTo>
                    <a:pt x="3968" y="528"/>
                    <a:pt x="3976" y="532"/>
                    <a:pt x="3983" y="532"/>
                  </a:cubicBezTo>
                  <a:cubicBezTo>
                    <a:pt x="3990" y="532"/>
                    <a:pt x="3993" y="528"/>
                    <a:pt x="3990" y="522"/>
                  </a:cubicBezTo>
                  <a:cubicBezTo>
                    <a:pt x="3987" y="516"/>
                    <a:pt x="3979" y="512"/>
                    <a:pt x="3972" y="512"/>
                  </a:cubicBezTo>
                  <a:cubicBezTo>
                    <a:pt x="3972" y="512"/>
                    <a:pt x="3972" y="512"/>
                    <a:pt x="3972" y="512"/>
                  </a:cubicBezTo>
                  <a:moveTo>
                    <a:pt x="4008" y="511"/>
                  </a:moveTo>
                  <a:cubicBezTo>
                    <a:pt x="4001" y="511"/>
                    <a:pt x="3998" y="516"/>
                    <a:pt x="4001" y="522"/>
                  </a:cubicBezTo>
                  <a:cubicBezTo>
                    <a:pt x="4004" y="527"/>
                    <a:pt x="4012" y="532"/>
                    <a:pt x="4019" y="532"/>
                  </a:cubicBezTo>
                  <a:cubicBezTo>
                    <a:pt x="4026" y="532"/>
                    <a:pt x="4029" y="527"/>
                    <a:pt x="4026" y="522"/>
                  </a:cubicBezTo>
                  <a:cubicBezTo>
                    <a:pt x="4023" y="516"/>
                    <a:pt x="4015" y="511"/>
                    <a:pt x="4008" y="511"/>
                  </a:cubicBezTo>
                  <a:cubicBezTo>
                    <a:pt x="4008" y="511"/>
                    <a:pt x="4008" y="511"/>
                    <a:pt x="4008" y="511"/>
                  </a:cubicBezTo>
                  <a:moveTo>
                    <a:pt x="199" y="506"/>
                  </a:moveTo>
                  <a:cubicBezTo>
                    <a:pt x="192" y="506"/>
                    <a:pt x="183" y="511"/>
                    <a:pt x="178" y="516"/>
                  </a:cubicBezTo>
                  <a:cubicBezTo>
                    <a:pt x="174" y="522"/>
                    <a:pt x="175" y="527"/>
                    <a:pt x="182" y="526"/>
                  </a:cubicBezTo>
                  <a:cubicBezTo>
                    <a:pt x="189" y="526"/>
                    <a:pt x="199" y="522"/>
                    <a:pt x="203" y="516"/>
                  </a:cubicBezTo>
                  <a:cubicBezTo>
                    <a:pt x="208" y="511"/>
                    <a:pt x="206" y="506"/>
                    <a:pt x="199" y="506"/>
                  </a:cubicBezTo>
                  <a:cubicBezTo>
                    <a:pt x="199" y="506"/>
                    <a:pt x="199" y="506"/>
                    <a:pt x="199" y="506"/>
                  </a:cubicBezTo>
                  <a:moveTo>
                    <a:pt x="235" y="506"/>
                  </a:moveTo>
                  <a:cubicBezTo>
                    <a:pt x="228" y="506"/>
                    <a:pt x="218" y="511"/>
                    <a:pt x="214" y="516"/>
                  </a:cubicBezTo>
                  <a:cubicBezTo>
                    <a:pt x="209" y="522"/>
                    <a:pt x="211" y="526"/>
                    <a:pt x="218" y="526"/>
                  </a:cubicBezTo>
                  <a:cubicBezTo>
                    <a:pt x="225" y="526"/>
                    <a:pt x="234" y="522"/>
                    <a:pt x="239" y="516"/>
                  </a:cubicBezTo>
                  <a:cubicBezTo>
                    <a:pt x="243" y="510"/>
                    <a:pt x="241" y="506"/>
                    <a:pt x="235" y="506"/>
                  </a:cubicBezTo>
                  <a:cubicBezTo>
                    <a:pt x="235" y="506"/>
                    <a:pt x="235" y="506"/>
                    <a:pt x="235" y="506"/>
                  </a:cubicBezTo>
                  <a:moveTo>
                    <a:pt x="270" y="506"/>
                  </a:moveTo>
                  <a:cubicBezTo>
                    <a:pt x="263" y="506"/>
                    <a:pt x="254" y="510"/>
                    <a:pt x="249" y="516"/>
                  </a:cubicBezTo>
                  <a:cubicBezTo>
                    <a:pt x="245" y="522"/>
                    <a:pt x="247" y="526"/>
                    <a:pt x="254" y="526"/>
                  </a:cubicBezTo>
                  <a:cubicBezTo>
                    <a:pt x="261" y="526"/>
                    <a:pt x="270" y="521"/>
                    <a:pt x="274" y="516"/>
                  </a:cubicBezTo>
                  <a:cubicBezTo>
                    <a:pt x="279" y="510"/>
                    <a:pt x="277" y="506"/>
                    <a:pt x="270" y="506"/>
                  </a:cubicBezTo>
                  <a:cubicBezTo>
                    <a:pt x="270" y="506"/>
                    <a:pt x="270" y="506"/>
                    <a:pt x="270" y="506"/>
                  </a:cubicBezTo>
                  <a:moveTo>
                    <a:pt x="305" y="506"/>
                  </a:moveTo>
                  <a:cubicBezTo>
                    <a:pt x="298" y="506"/>
                    <a:pt x="289" y="510"/>
                    <a:pt x="285" y="516"/>
                  </a:cubicBezTo>
                  <a:cubicBezTo>
                    <a:pt x="280" y="521"/>
                    <a:pt x="282" y="526"/>
                    <a:pt x="289" y="526"/>
                  </a:cubicBezTo>
                  <a:cubicBezTo>
                    <a:pt x="296" y="526"/>
                    <a:pt x="305" y="521"/>
                    <a:pt x="310" y="516"/>
                  </a:cubicBezTo>
                  <a:cubicBezTo>
                    <a:pt x="314" y="510"/>
                    <a:pt x="312" y="506"/>
                    <a:pt x="305" y="506"/>
                  </a:cubicBezTo>
                  <a:cubicBezTo>
                    <a:pt x="305" y="506"/>
                    <a:pt x="305" y="506"/>
                    <a:pt x="305" y="506"/>
                  </a:cubicBezTo>
                  <a:moveTo>
                    <a:pt x="341" y="505"/>
                  </a:moveTo>
                  <a:cubicBezTo>
                    <a:pt x="334" y="505"/>
                    <a:pt x="325" y="510"/>
                    <a:pt x="321" y="515"/>
                  </a:cubicBezTo>
                  <a:cubicBezTo>
                    <a:pt x="316" y="521"/>
                    <a:pt x="318" y="526"/>
                    <a:pt x="325" y="526"/>
                  </a:cubicBezTo>
                  <a:cubicBezTo>
                    <a:pt x="332" y="526"/>
                    <a:pt x="341" y="521"/>
                    <a:pt x="346" y="515"/>
                  </a:cubicBezTo>
                  <a:cubicBezTo>
                    <a:pt x="350" y="510"/>
                    <a:pt x="348" y="505"/>
                    <a:pt x="341" y="505"/>
                  </a:cubicBezTo>
                  <a:cubicBezTo>
                    <a:pt x="341" y="505"/>
                    <a:pt x="341" y="505"/>
                    <a:pt x="341" y="505"/>
                  </a:cubicBezTo>
                  <a:moveTo>
                    <a:pt x="376" y="505"/>
                  </a:moveTo>
                  <a:cubicBezTo>
                    <a:pt x="369" y="505"/>
                    <a:pt x="360" y="510"/>
                    <a:pt x="356" y="515"/>
                  </a:cubicBezTo>
                  <a:cubicBezTo>
                    <a:pt x="352" y="521"/>
                    <a:pt x="354" y="525"/>
                    <a:pt x="361" y="525"/>
                  </a:cubicBezTo>
                  <a:cubicBezTo>
                    <a:pt x="368" y="525"/>
                    <a:pt x="377" y="521"/>
                    <a:pt x="381" y="515"/>
                  </a:cubicBezTo>
                  <a:cubicBezTo>
                    <a:pt x="385" y="510"/>
                    <a:pt x="383" y="505"/>
                    <a:pt x="376" y="505"/>
                  </a:cubicBezTo>
                  <a:cubicBezTo>
                    <a:pt x="376" y="505"/>
                    <a:pt x="376" y="505"/>
                    <a:pt x="376" y="505"/>
                  </a:cubicBezTo>
                  <a:moveTo>
                    <a:pt x="412" y="505"/>
                  </a:moveTo>
                  <a:cubicBezTo>
                    <a:pt x="405" y="505"/>
                    <a:pt x="396" y="509"/>
                    <a:pt x="392" y="515"/>
                  </a:cubicBezTo>
                  <a:cubicBezTo>
                    <a:pt x="388" y="521"/>
                    <a:pt x="390" y="525"/>
                    <a:pt x="397" y="525"/>
                  </a:cubicBezTo>
                  <a:cubicBezTo>
                    <a:pt x="404" y="525"/>
                    <a:pt x="413" y="520"/>
                    <a:pt x="417" y="515"/>
                  </a:cubicBezTo>
                  <a:cubicBezTo>
                    <a:pt x="421" y="509"/>
                    <a:pt x="419" y="505"/>
                    <a:pt x="412" y="505"/>
                  </a:cubicBezTo>
                  <a:cubicBezTo>
                    <a:pt x="412" y="505"/>
                    <a:pt x="412" y="505"/>
                    <a:pt x="412" y="505"/>
                  </a:cubicBezTo>
                  <a:moveTo>
                    <a:pt x="449" y="505"/>
                  </a:moveTo>
                  <a:cubicBezTo>
                    <a:pt x="442" y="505"/>
                    <a:pt x="433" y="509"/>
                    <a:pt x="429" y="515"/>
                  </a:cubicBezTo>
                  <a:cubicBezTo>
                    <a:pt x="424" y="520"/>
                    <a:pt x="427" y="525"/>
                    <a:pt x="434" y="525"/>
                  </a:cubicBezTo>
                  <a:cubicBezTo>
                    <a:pt x="441" y="525"/>
                    <a:pt x="450" y="520"/>
                    <a:pt x="454" y="515"/>
                  </a:cubicBezTo>
                  <a:cubicBezTo>
                    <a:pt x="458" y="509"/>
                    <a:pt x="456" y="505"/>
                    <a:pt x="449" y="505"/>
                  </a:cubicBezTo>
                  <a:cubicBezTo>
                    <a:pt x="449" y="505"/>
                    <a:pt x="449" y="505"/>
                    <a:pt x="449" y="505"/>
                  </a:cubicBezTo>
                  <a:moveTo>
                    <a:pt x="484" y="504"/>
                  </a:moveTo>
                  <a:cubicBezTo>
                    <a:pt x="477" y="504"/>
                    <a:pt x="468" y="509"/>
                    <a:pt x="464" y="515"/>
                  </a:cubicBezTo>
                  <a:cubicBezTo>
                    <a:pt x="460" y="520"/>
                    <a:pt x="462" y="525"/>
                    <a:pt x="469" y="525"/>
                  </a:cubicBezTo>
                  <a:cubicBezTo>
                    <a:pt x="476" y="525"/>
                    <a:pt x="485" y="520"/>
                    <a:pt x="489" y="514"/>
                  </a:cubicBezTo>
                  <a:cubicBezTo>
                    <a:pt x="493" y="509"/>
                    <a:pt x="491" y="504"/>
                    <a:pt x="484" y="504"/>
                  </a:cubicBezTo>
                  <a:cubicBezTo>
                    <a:pt x="484" y="504"/>
                    <a:pt x="484" y="504"/>
                    <a:pt x="484" y="504"/>
                  </a:cubicBezTo>
                  <a:moveTo>
                    <a:pt x="520" y="504"/>
                  </a:moveTo>
                  <a:cubicBezTo>
                    <a:pt x="513" y="504"/>
                    <a:pt x="504" y="509"/>
                    <a:pt x="500" y="514"/>
                  </a:cubicBezTo>
                  <a:cubicBezTo>
                    <a:pt x="496" y="520"/>
                    <a:pt x="498" y="524"/>
                    <a:pt x="505" y="524"/>
                  </a:cubicBezTo>
                  <a:cubicBezTo>
                    <a:pt x="512" y="524"/>
                    <a:pt x="521" y="520"/>
                    <a:pt x="525" y="514"/>
                  </a:cubicBezTo>
                  <a:cubicBezTo>
                    <a:pt x="529" y="509"/>
                    <a:pt x="527" y="504"/>
                    <a:pt x="520" y="504"/>
                  </a:cubicBezTo>
                  <a:cubicBezTo>
                    <a:pt x="520" y="504"/>
                    <a:pt x="520" y="504"/>
                    <a:pt x="520" y="504"/>
                  </a:cubicBezTo>
                  <a:moveTo>
                    <a:pt x="556" y="504"/>
                  </a:moveTo>
                  <a:cubicBezTo>
                    <a:pt x="549" y="504"/>
                    <a:pt x="540" y="509"/>
                    <a:pt x="536" y="514"/>
                  </a:cubicBezTo>
                  <a:cubicBezTo>
                    <a:pt x="532" y="520"/>
                    <a:pt x="534" y="524"/>
                    <a:pt x="541" y="524"/>
                  </a:cubicBezTo>
                  <a:cubicBezTo>
                    <a:pt x="548" y="524"/>
                    <a:pt x="557" y="520"/>
                    <a:pt x="561" y="514"/>
                  </a:cubicBezTo>
                  <a:cubicBezTo>
                    <a:pt x="565" y="508"/>
                    <a:pt x="563" y="504"/>
                    <a:pt x="556" y="504"/>
                  </a:cubicBezTo>
                  <a:cubicBezTo>
                    <a:pt x="556" y="504"/>
                    <a:pt x="556" y="504"/>
                    <a:pt x="556" y="504"/>
                  </a:cubicBezTo>
                  <a:moveTo>
                    <a:pt x="591" y="504"/>
                  </a:moveTo>
                  <a:cubicBezTo>
                    <a:pt x="584" y="504"/>
                    <a:pt x="575" y="508"/>
                    <a:pt x="572" y="514"/>
                  </a:cubicBezTo>
                  <a:cubicBezTo>
                    <a:pt x="568" y="519"/>
                    <a:pt x="570" y="524"/>
                    <a:pt x="577" y="524"/>
                  </a:cubicBezTo>
                  <a:cubicBezTo>
                    <a:pt x="584" y="524"/>
                    <a:pt x="593" y="519"/>
                    <a:pt x="597" y="514"/>
                  </a:cubicBezTo>
                  <a:cubicBezTo>
                    <a:pt x="600" y="508"/>
                    <a:pt x="598" y="504"/>
                    <a:pt x="591" y="504"/>
                  </a:cubicBezTo>
                  <a:cubicBezTo>
                    <a:pt x="591" y="504"/>
                    <a:pt x="591" y="504"/>
                    <a:pt x="591" y="504"/>
                  </a:cubicBezTo>
                  <a:moveTo>
                    <a:pt x="627" y="503"/>
                  </a:moveTo>
                  <a:cubicBezTo>
                    <a:pt x="620" y="503"/>
                    <a:pt x="611" y="508"/>
                    <a:pt x="607" y="514"/>
                  </a:cubicBezTo>
                  <a:cubicBezTo>
                    <a:pt x="603" y="519"/>
                    <a:pt x="606" y="524"/>
                    <a:pt x="613" y="524"/>
                  </a:cubicBezTo>
                  <a:cubicBezTo>
                    <a:pt x="620" y="524"/>
                    <a:pt x="628" y="519"/>
                    <a:pt x="632" y="513"/>
                  </a:cubicBezTo>
                  <a:cubicBezTo>
                    <a:pt x="636" y="508"/>
                    <a:pt x="633" y="503"/>
                    <a:pt x="627" y="503"/>
                  </a:cubicBezTo>
                  <a:cubicBezTo>
                    <a:pt x="627" y="503"/>
                    <a:pt x="627" y="503"/>
                    <a:pt x="627" y="503"/>
                  </a:cubicBezTo>
                  <a:moveTo>
                    <a:pt x="662" y="503"/>
                  </a:moveTo>
                  <a:cubicBezTo>
                    <a:pt x="655" y="503"/>
                    <a:pt x="646" y="508"/>
                    <a:pt x="643" y="513"/>
                  </a:cubicBezTo>
                  <a:cubicBezTo>
                    <a:pt x="639" y="519"/>
                    <a:pt x="641" y="524"/>
                    <a:pt x="648" y="523"/>
                  </a:cubicBezTo>
                  <a:cubicBezTo>
                    <a:pt x="655" y="523"/>
                    <a:pt x="664" y="519"/>
                    <a:pt x="668" y="513"/>
                  </a:cubicBezTo>
                  <a:cubicBezTo>
                    <a:pt x="671" y="508"/>
                    <a:pt x="669" y="503"/>
                    <a:pt x="662" y="503"/>
                  </a:cubicBezTo>
                  <a:cubicBezTo>
                    <a:pt x="662" y="503"/>
                    <a:pt x="662" y="503"/>
                    <a:pt x="662" y="503"/>
                  </a:cubicBezTo>
                  <a:moveTo>
                    <a:pt x="698" y="503"/>
                  </a:moveTo>
                  <a:cubicBezTo>
                    <a:pt x="691" y="503"/>
                    <a:pt x="682" y="508"/>
                    <a:pt x="678" y="513"/>
                  </a:cubicBezTo>
                  <a:cubicBezTo>
                    <a:pt x="675" y="519"/>
                    <a:pt x="677" y="523"/>
                    <a:pt x="684" y="523"/>
                  </a:cubicBezTo>
                  <a:cubicBezTo>
                    <a:pt x="691" y="523"/>
                    <a:pt x="700" y="519"/>
                    <a:pt x="703" y="513"/>
                  </a:cubicBezTo>
                  <a:cubicBezTo>
                    <a:pt x="707" y="507"/>
                    <a:pt x="704" y="503"/>
                    <a:pt x="698" y="503"/>
                  </a:cubicBezTo>
                  <a:cubicBezTo>
                    <a:pt x="698" y="503"/>
                    <a:pt x="698" y="503"/>
                    <a:pt x="698" y="503"/>
                  </a:cubicBezTo>
                  <a:moveTo>
                    <a:pt x="733" y="503"/>
                  </a:moveTo>
                  <a:cubicBezTo>
                    <a:pt x="727" y="503"/>
                    <a:pt x="718" y="507"/>
                    <a:pt x="715" y="513"/>
                  </a:cubicBezTo>
                  <a:cubicBezTo>
                    <a:pt x="711" y="519"/>
                    <a:pt x="714" y="523"/>
                    <a:pt x="721" y="523"/>
                  </a:cubicBezTo>
                  <a:cubicBezTo>
                    <a:pt x="727" y="523"/>
                    <a:pt x="736" y="518"/>
                    <a:pt x="740" y="513"/>
                  </a:cubicBezTo>
                  <a:cubicBezTo>
                    <a:pt x="743" y="507"/>
                    <a:pt x="740" y="503"/>
                    <a:pt x="734" y="503"/>
                  </a:cubicBezTo>
                  <a:cubicBezTo>
                    <a:pt x="734" y="503"/>
                    <a:pt x="734" y="503"/>
                    <a:pt x="733" y="503"/>
                  </a:cubicBezTo>
                  <a:moveTo>
                    <a:pt x="769" y="502"/>
                  </a:moveTo>
                  <a:cubicBezTo>
                    <a:pt x="762" y="503"/>
                    <a:pt x="754" y="507"/>
                    <a:pt x="750" y="513"/>
                  </a:cubicBezTo>
                  <a:cubicBezTo>
                    <a:pt x="746" y="518"/>
                    <a:pt x="749" y="523"/>
                    <a:pt x="756" y="523"/>
                  </a:cubicBezTo>
                  <a:cubicBezTo>
                    <a:pt x="763" y="523"/>
                    <a:pt x="771" y="518"/>
                    <a:pt x="775" y="513"/>
                  </a:cubicBezTo>
                  <a:cubicBezTo>
                    <a:pt x="778" y="507"/>
                    <a:pt x="776" y="502"/>
                    <a:pt x="769" y="502"/>
                  </a:cubicBezTo>
                  <a:cubicBezTo>
                    <a:pt x="769" y="502"/>
                    <a:pt x="769" y="502"/>
                    <a:pt x="769" y="502"/>
                  </a:cubicBezTo>
                  <a:moveTo>
                    <a:pt x="802" y="502"/>
                  </a:moveTo>
                  <a:cubicBezTo>
                    <a:pt x="796" y="502"/>
                    <a:pt x="787" y="507"/>
                    <a:pt x="784" y="512"/>
                  </a:cubicBezTo>
                  <a:cubicBezTo>
                    <a:pt x="780" y="518"/>
                    <a:pt x="783" y="523"/>
                    <a:pt x="790" y="523"/>
                  </a:cubicBezTo>
                  <a:cubicBezTo>
                    <a:pt x="797" y="523"/>
                    <a:pt x="805" y="518"/>
                    <a:pt x="809" y="512"/>
                  </a:cubicBezTo>
                  <a:cubicBezTo>
                    <a:pt x="812" y="507"/>
                    <a:pt x="809" y="502"/>
                    <a:pt x="803" y="502"/>
                  </a:cubicBezTo>
                  <a:cubicBezTo>
                    <a:pt x="803" y="502"/>
                    <a:pt x="803" y="502"/>
                    <a:pt x="802" y="502"/>
                  </a:cubicBezTo>
                  <a:moveTo>
                    <a:pt x="838" y="502"/>
                  </a:moveTo>
                  <a:cubicBezTo>
                    <a:pt x="832" y="502"/>
                    <a:pt x="823" y="507"/>
                    <a:pt x="820" y="512"/>
                  </a:cubicBezTo>
                  <a:cubicBezTo>
                    <a:pt x="816" y="518"/>
                    <a:pt x="819" y="522"/>
                    <a:pt x="826" y="522"/>
                  </a:cubicBezTo>
                  <a:cubicBezTo>
                    <a:pt x="833" y="522"/>
                    <a:pt x="841" y="518"/>
                    <a:pt x="845" y="512"/>
                  </a:cubicBezTo>
                  <a:cubicBezTo>
                    <a:pt x="848" y="507"/>
                    <a:pt x="845" y="502"/>
                    <a:pt x="839" y="502"/>
                  </a:cubicBezTo>
                  <a:cubicBezTo>
                    <a:pt x="839" y="502"/>
                    <a:pt x="838" y="502"/>
                    <a:pt x="838" y="502"/>
                  </a:cubicBezTo>
                  <a:moveTo>
                    <a:pt x="874" y="502"/>
                  </a:moveTo>
                  <a:cubicBezTo>
                    <a:pt x="867" y="502"/>
                    <a:pt x="859" y="506"/>
                    <a:pt x="855" y="512"/>
                  </a:cubicBezTo>
                  <a:cubicBezTo>
                    <a:pt x="852" y="518"/>
                    <a:pt x="855" y="522"/>
                    <a:pt x="862" y="522"/>
                  </a:cubicBezTo>
                  <a:cubicBezTo>
                    <a:pt x="869" y="522"/>
                    <a:pt x="877" y="517"/>
                    <a:pt x="880" y="512"/>
                  </a:cubicBezTo>
                  <a:cubicBezTo>
                    <a:pt x="884" y="506"/>
                    <a:pt x="881" y="502"/>
                    <a:pt x="874" y="502"/>
                  </a:cubicBezTo>
                  <a:cubicBezTo>
                    <a:pt x="874" y="502"/>
                    <a:pt x="874" y="502"/>
                    <a:pt x="874" y="502"/>
                  </a:cubicBezTo>
                  <a:moveTo>
                    <a:pt x="909" y="502"/>
                  </a:moveTo>
                  <a:cubicBezTo>
                    <a:pt x="902" y="502"/>
                    <a:pt x="894" y="506"/>
                    <a:pt x="891" y="512"/>
                  </a:cubicBezTo>
                  <a:cubicBezTo>
                    <a:pt x="888" y="517"/>
                    <a:pt x="891" y="522"/>
                    <a:pt x="898" y="522"/>
                  </a:cubicBezTo>
                  <a:cubicBezTo>
                    <a:pt x="905" y="522"/>
                    <a:pt x="913" y="517"/>
                    <a:pt x="916" y="512"/>
                  </a:cubicBezTo>
                  <a:cubicBezTo>
                    <a:pt x="919" y="506"/>
                    <a:pt x="916" y="502"/>
                    <a:pt x="909" y="502"/>
                  </a:cubicBezTo>
                  <a:cubicBezTo>
                    <a:pt x="909" y="502"/>
                    <a:pt x="909" y="502"/>
                    <a:pt x="909" y="502"/>
                  </a:cubicBezTo>
                  <a:moveTo>
                    <a:pt x="945" y="501"/>
                  </a:moveTo>
                  <a:cubicBezTo>
                    <a:pt x="938" y="501"/>
                    <a:pt x="930" y="506"/>
                    <a:pt x="926" y="512"/>
                  </a:cubicBezTo>
                  <a:cubicBezTo>
                    <a:pt x="923" y="517"/>
                    <a:pt x="926" y="522"/>
                    <a:pt x="933" y="522"/>
                  </a:cubicBezTo>
                  <a:cubicBezTo>
                    <a:pt x="940" y="522"/>
                    <a:pt x="948" y="517"/>
                    <a:pt x="951" y="511"/>
                  </a:cubicBezTo>
                  <a:cubicBezTo>
                    <a:pt x="954" y="506"/>
                    <a:pt x="952" y="501"/>
                    <a:pt x="945" y="501"/>
                  </a:cubicBezTo>
                  <a:cubicBezTo>
                    <a:pt x="945" y="501"/>
                    <a:pt x="945" y="501"/>
                    <a:pt x="945" y="501"/>
                  </a:cubicBezTo>
                  <a:moveTo>
                    <a:pt x="980" y="501"/>
                  </a:moveTo>
                  <a:cubicBezTo>
                    <a:pt x="973" y="501"/>
                    <a:pt x="965" y="506"/>
                    <a:pt x="962" y="511"/>
                  </a:cubicBezTo>
                  <a:cubicBezTo>
                    <a:pt x="959" y="517"/>
                    <a:pt x="962" y="521"/>
                    <a:pt x="969" y="521"/>
                  </a:cubicBezTo>
                  <a:cubicBezTo>
                    <a:pt x="976" y="521"/>
                    <a:pt x="984" y="517"/>
                    <a:pt x="987" y="511"/>
                  </a:cubicBezTo>
                  <a:cubicBezTo>
                    <a:pt x="990" y="506"/>
                    <a:pt x="987" y="501"/>
                    <a:pt x="980" y="501"/>
                  </a:cubicBezTo>
                  <a:cubicBezTo>
                    <a:pt x="980" y="501"/>
                    <a:pt x="980" y="501"/>
                    <a:pt x="980" y="501"/>
                  </a:cubicBezTo>
                  <a:moveTo>
                    <a:pt x="1938" y="498"/>
                  </a:moveTo>
                  <a:cubicBezTo>
                    <a:pt x="1931" y="498"/>
                    <a:pt x="1924" y="503"/>
                    <a:pt x="1923" y="508"/>
                  </a:cubicBezTo>
                  <a:cubicBezTo>
                    <a:pt x="1922" y="514"/>
                    <a:pt x="1927" y="518"/>
                    <a:pt x="1934" y="518"/>
                  </a:cubicBezTo>
                  <a:cubicBezTo>
                    <a:pt x="1940" y="518"/>
                    <a:pt x="1947" y="514"/>
                    <a:pt x="1948" y="508"/>
                  </a:cubicBezTo>
                  <a:cubicBezTo>
                    <a:pt x="1949" y="503"/>
                    <a:pt x="1945" y="498"/>
                    <a:pt x="1938" y="498"/>
                  </a:cubicBezTo>
                  <a:cubicBezTo>
                    <a:pt x="1938" y="498"/>
                    <a:pt x="1938" y="498"/>
                    <a:pt x="1938" y="498"/>
                  </a:cubicBezTo>
                  <a:moveTo>
                    <a:pt x="1973" y="498"/>
                  </a:moveTo>
                  <a:cubicBezTo>
                    <a:pt x="1966" y="498"/>
                    <a:pt x="1960" y="502"/>
                    <a:pt x="1959" y="508"/>
                  </a:cubicBezTo>
                  <a:cubicBezTo>
                    <a:pt x="1957" y="514"/>
                    <a:pt x="1962" y="518"/>
                    <a:pt x="1969" y="518"/>
                  </a:cubicBezTo>
                  <a:cubicBezTo>
                    <a:pt x="1976" y="518"/>
                    <a:pt x="1982" y="514"/>
                    <a:pt x="1983" y="508"/>
                  </a:cubicBezTo>
                  <a:cubicBezTo>
                    <a:pt x="1985" y="502"/>
                    <a:pt x="1980" y="498"/>
                    <a:pt x="1973" y="498"/>
                  </a:cubicBezTo>
                  <a:cubicBezTo>
                    <a:pt x="1973" y="498"/>
                    <a:pt x="1973" y="498"/>
                    <a:pt x="1973" y="498"/>
                  </a:cubicBezTo>
                  <a:moveTo>
                    <a:pt x="2044" y="493"/>
                  </a:moveTo>
                  <a:cubicBezTo>
                    <a:pt x="2037" y="493"/>
                    <a:pt x="2031" y="498"/>
                    <a:pt x="2030" y="504"/>
                  </a:cubicBezTo>
                  <a:cubicBezTo>
                    <a:pt x="2029" y="509"/>
                    <a:pt x="2034" y="514"/>
                    <a:pt x="2041" y="514"/>
                  </a:cubicBezTo>
                  <a:cubicBezTo>
                    <a:pt x="2048" y="514"/>
                    <a:pt x="2054" y="509"/>
                    <a:pt x="2055" y="503"/>
                  </a:cubicBezTo>
                  <a:cubicBezTo>
                    <a:pt x="2056" y="498"/>
                    <a:pt x="2051" y="493"/>
                    <a:pt x="2044" y="493"/>
                  </a:cubicBezTo>
                  <a:cubicBezTo>
                    <a:pt x="2044" y="493"/>
                    <a:pt x="2044" y="493"/>
                    <a:pt x="2044" y="493"/>
                  </a:cubicBezTo>
                  <a:moveTo>
                    <a:pt x="2080" y="493"/>
                  </a:moveTo>
                  <a:cubicBezTo>
                    <a:pt x="2073" y="493"/>
                    <a:pt x="2067" y="498"/>
                    <a:pt x="2066" y="503"/>
                  </a:cubicBezTo>
                  <a:cubicBezTo>
                    <a:pt x="2065" y="509"/>
                    <a:pt x="2070" y="514"/>
                    <a:pt x="2077" y="514"/>
                  </a:cubicBezTo>
                  <a:cubicBezTo>
                    <a:pt x="2084" y="513"/>
                    <a:pt x="2090" y="509"/>
                    <a:pt x="2091" y="503"/>
                  </a:cubicBezTo>
                  <a:cubicBezTo>
                    <a:pt x="2092" y="498"/>
                    <a:pt x="2087" y="493"/>
                    <a:pt x="2080" y="493"/>
                  </a:cubicBezTo>
                  <a:cubicBezTo>
                    <a:pt x="2080" y="493"/>
                    <a:pt x="2080" y="493"/>
                    <a:pt x="2080" y="493"/>
                  </a:cubicBezTo>
                  <a:moveTo>
                    <a:pt x="2114" y="493"/>
                  </a:moveTo>
                  <a:cubicBezTo>
                    <a:pt x="2107" y="493"/>
                    <a:pt x="2101" y="498"/>
                    <a:pt x="2100" y="503"/>
                  </a:cubicBezTo>
                  <a:cubicBezTo>
                    <a:pt x="2099" y="509"/>
                    <a:pt x="2104" y="513"/>
                    <a:pt x="2111" y="513"/>
                  </a:cubicBezTo>
                  <a:cubicBezTo>
                    <a:pt x="2118" y="513"/>
                    <a:pt x="2124" y="509"/>
                    <a:pt x="2125" y="503"/>
                  </a:cubicBezTo>
                  <a:cubicBezTo>
                    <a:pt x="2126" y="497"/>
                    <a:pt x="2121" y="493"/>
                    <a:pt x="2114" y="493"/>
                  </a:cubicBezTo>
                  <a:cubicBezTo>
                    <a:pt x="2114" y="493"/>
                    <a:pt x="2114" y="493"/>
                    <a:pt x="2114" y="493"/>
                  </a:cubicBezTo>
                  <a:moveTo>
                    <a:pt x="2223" y="493"/>
                  </a:moveTo>
                  <a:cubicBezTo>
                    <a:pt x="2217" y="493"/>
                    <a:pt x="2211" y="497"/>
                    <a:pt x="2210" y="503"/>
                  </a:cubicBezTo>
                  <a:cubicBezTo>
                    <a:pt x="2209" y="509"/>
                    <a:pt x="2214" y="513"/>
                    <a:pt x="2221" y="513"/>
                  </a:cubicBezTo>
                  <a:cubicBezTo>
                    <a:pt x="2228" y="513"/>
                    <a:pt x="2234" y="508"/>
                    <a:pt x="2235" y="503"/>
                  </a:cubicBezTo>
                  <a:cubicBezTo>
                    <a:pt x="2235" y="497"/>
                    <a:pt x="2230" y="493"/>
                    <a:pt x="2223" y="493"/>
                  </a:cubicBezTo>
                  <a:cubicBezTo>
                    <a:pt x="2223" y="493"/>
                    <a:pt x="2223" y="493"/>
                    <a:pt x="2223" y="493"/>
                  </a:cubicBezTo>
                  <a:moveTo>
                    <a:pt x="2150" y="493"/>
                  </a:moveTo>
                  <a:cubicBezTo>
                    <a:pt x="2143" y="493"/>
                    <a:pt x="2137" y="497"/>
                    <a:pt x="2136" y="503"/>
                  </a:cubicBezTo>
                  <a:cubicBezTo>
                    <a:pt x="2135" y="509"/>
                    <a:pt x="2140" y="513"/>
                    <a:pt x="2147" y="513"/>
                  </a:cubicBezTo>
                  <a:cubicBezTo>
                    <a:pt x="2154" y="513"/>
                    <a:pt x="2160" y="508"/>
                    <a:pt x="2161" y="503"/>
                  </a:cubicBezTo>
                  <a:cubicBezTo>
                    <a:pt x="2162" y="497"/>
                    <a:pt x="2157" y="493"/>
                    <a:pt x="2150" y="493"/>
                  </a:cubicBezTo>
                  <a:cubicBezTo>
                    <a:pt x="2150" y="493"/>
                    <a:pt x="2150" y="493"/>
                    <a:pt x="2150" y="493"/>
                  </a:cubicBezTo>
                  <a:moveTo>
                    <a:pt x="2294" y="492"/>
                  </a:moveTo>
                  <a:cubicBezTo>
                    <a:pt x="2287" y="492"/>
                    <a:pt x="2281" y="497"/>
                    <a:pt x="2280" y="502"/>
                  </a:cubicBezTo>
                  <a:cubicBezTo>
                    <a:pt x="2280" y="508"/>
                    <a:pt x="2285" y="513"/>
                    <a:pt x="2292" y="513"/>
                  </a:cubicBezTo>
                  <a:cubicBezTo>
                    <a:pt x="2299" y="513"/>
                    <a:pt x="2305" y="508"/>
                    <a:pt x="2305" y="502"/>
                  </a:cubicBezTo>
                  <a:cubicBezTo>
                    <a:pt x="2306" y="497"/>
                    <a:pt x="2300" y="492"/>
                    <a:pt x="2294" y="492"/>
                  </a:cubicBezTo>
                  <a:cubicBezTo>
                    <a:pt x="2294" y="492"/>
                    <a:pt x="2294" y="492"/>
                    <a:pt x="2294" y="492"/>
                  </a:cubicBezTo>
                  <a:moveTo>
                    <a:pt x="2329" y="492"/>
                  </a:moveTo>
                  <a:cubicBezTo>
                    <a:pt x="2322" y="492"/>
                    <a:pt x="2316" y="497"/>
                    <a:pt x="2316" y="502"/>
                  </a:cubicBezTo>
                  <a:cubicBezTo>
                    <a:pt x="2315" y="508"/>
                    <a:pt x="2321" y="512"/>
                    <a:pt x="2328" y="512"/>
                  </a:cubicBezTo>
                  <a:cubicBezTo>
                    <a:pt x="2334" y="512"/>
                    <a:pt x="2340" y="508"/>
                    <a:pt x="2341" y="502"/>
                  </a:cubicBezTo>
                  <a:cubicBezTo>
                    <a:pt x="2341" y="496"/>
                    <a:pt x="2336" y="492"/>
                    <a:pt x="2329" y="492"/>
                  </a:cubicBezTo>
                  <a:cubicBezTo>
                    <a:pt x="2329" y="492"/>
                    <a:pt x="2329" y="492"/>
                    <a:pt x="2329" y="492"/>
                  </a:cubicBezTo>
                  <a:moveTo>
                    <a:pt x="2364" y="492"/>
                  </a:moveTo>
                  <a:cubicBezTo>
                    <a:pt x="2357" y="492"/>
                    <a:pt x="2352" y="496"/>
                    <a:pt x="2351" y="502"/>
                  </a:cubicBezTo>
                  <a:cubicBezTo>
                    <a:pt x="2351" y="508"/>
                    <a:pt x="2356" y="512"/>
                    <a:pt x="2363" y="512"/>
                  </a:cubicBezTo>
                  <a:cubicBezTo>
                    <a:pt x="2370" y="512"/>
                    <a:pt x="2376" y="507"/>
                    <a:pt x="2376" y="502"/>
                  </a:cubicBezTo>
                  <a:cubicBezTo>
                    <a:pt x="2376" y="496"/>
                    <a:pt x="2371" y="492"/>
                    <a:pt x="2364" y="492"/>
                  </a:cubicBezTo>
                  <a:cubicBezTo>
                    <a:pt x="2364" y="492"/>
                    <a:pt x="2364" y="492"/>
                    <a:pt x="2364" y="492"/>
                  </a:cubicBezTo>
                  <a:moveTo>
                    <a:pt x="2649" y="492"/>
                  </a:moveTo>
                  <a:cubicBezTo>
                    <a:pt x="2642" y="492"/>
                    <a:pt x="2636" y="496"/>
                    <a:pt x="2637" y="502"/>
                  </a:cubicBezTo>
                  <a:cubicBezTo>
                    <a:pt x="2637" y="507"/>
                    <a:pt x="2643" y="512"/>
                    <a:pt x="2650" y="512"/>
                  </a:cubicBezTo>
                  <a:cubicBezTo>
                    <a:pt x="2657" y="512"/>
                    <a:pt x="2662" y="507"/>
                    <a:pt x="2662" y="502"/>
                  </a:cubicBezTo>
                  <a:cubicBezTo>
                    <a:pt x="2661" y="496"/>
                    <a:pt x="2656" y="492"/>
                    <a:pt x="2649" y="492"/>
                  </a:cubicBezTo>
                  <a:cubicBezTo>
                    <a:pt x="2649" y="492"/>
                    <a:pt x="2649" y="492"/>
                    <a:pt x="2649" y="492"/>
                  </a:cubicBezTo>
                  <a:moveTo>
                    <a:pt x="2400" y="491"/>
                  </a:moveTo>
                  <a:cubicBezTo>
                    <a:pt x="2393" y="492"/>
                    <a:pt x="2387" y="496"/>
                    <a:pt x="2387" y="502"/>
                  </a:cubicBezTo>
                  <a:cubicBezTo>
                    <a:pt x="2387" y="507"/>
                    <a:pt x="2392" y="512"/>
                    <a:pt x="2399" y="512"/>
                  </a:cubicBezTo>
                  <a:cubicBezTo>
                    <a:pt x="2406" y="512"/>
                    <a:pt x="2412" y="507"/>
                    <a:pt x="2412" y="502"/>
                  </a:cubicBezTo>
                  <a:cubicBezTo>
                    <a:pt x="2412" y="496"/>
                    <a:pt x="2407" y="491"/>
                    <a:pt x="2400" y="491"/>
                  </a:cubicBezTo>
                  <a:cubicBezTo>
                    <a:pt x="2400" y="491"/>
                    <a:pt x="2400" y="491"/>
                    <a:pt x="2400" y="491"/>
                  </a:cubicBezTo>
                  <a:moveTo>
                    <a:pt x="2684" y="491"/>
                  </a:moveTo>
                  <a:cubicBezTo>
                    <a:pt x="2677" y="491"/>
                    <a:pt x="2671" y="496"/>
                    <a:pt x="2672" y="502"/>
                  </a:cubicBezTo>
                  <a:cubicBezTo>
                    <a:pt x="2672" y="507"/>
                    <a:pt x="2678" y="512"/>
                    <a:pt x="2685" y="512"/>
                  </a:cubicBezTo>
                  <a:cubicBezTo>
                    <a:pt x="2692" y="512"/>
                    <a:pt x="2697" y="507"/>
                    <a:pt x="2697" y="501"/>
                  </a:cubicBezTo>
                  <a:cubicBezTo>
                    <a:pt x="2696" y="496"/>
                    <a:pt x="2690" y="491"/>
                    <a:pt x="2684" y="491"/>
                  </a:cubicBezTo>
                  <a:cubicBezTo>
                    <a:pt x="2684" y="491"/>
                    <a:pt x="2684" y="491"/>
                    <a:pt x="2684" y="491"/>
                  </a:cubicBezTo>
                  <a:moveTo>
                    <a:pt x="2435" y="491"/>
                  </a:moveTo>
                  <a:cubicBezTo>
                    <a:pt x="2428" y="491"/>
                    <a:pt x="2423" y="496"/>
                    <a:pt x="2423" y="502"/>
                  </a:cubicBezTo>
                  <a:cubicBezTo>
                    <a:pt x="2422" y="507"/>
                    <a:pt x="2428" y="512"/>
                    <a:pt x="2435" y="512"/>
                  </a:cubicBezTo>
                  <a:cubicBezTo>
                    <a:pt x="2442" y="512"/>
                    <a:pt x="2447" y="507"/>
                    <a:pt x="2447" y="501"/>
                  </a:cubicBezTo>
                  <a:cubicBezTo>
                    <a:pt x="2448" y="496"/>
                    <a:pt x="2442" y="491"/>
                    <a:pt x="2435" y="491"/>
                  </a:cubicBezTo>
                  <a:cubicBezTo>
                    <a:pt x="2435" y="491"/>
                    <a:pt x="2435" y="491"/>
                    <a:pt x="2435" y="491"/>
                  </a:cubicBezTo>
                  <a:moveTo>
                    <a:pt x="2719" y="491"/>
                  </a:moveTo>
                  <a:cubicBezTo>
                    <a:pt x="2712" y="491"/>
                    <a:pt x="2707" y="496"/>
                    <a:pt x="2707" y="501"/>
                  </a:cubicBezTo>
                  <a:cubicBezTo>
                    <a:pt x="2708" y="507"/>
                    <a:pt x="2713" y="512"/>
                    <a:pt x="2720" y="512"/>
                  </a:cubicBezTo>
                  <a:cubicBezTo>
                    <a:pt x="2727" y="511"/>
                    <a:pt x="2732" y="507"/>
                    <a:pt x="2732" y="501"/>
                  </a:cubicBezTo>
                  <a:cubicBezTo>
                    <a:pt x="2732" y="496"/>
                    <a:pt x="2726" y="491"/>
                    <a:pt x="2719" y="491"/>
                  </a:cubicBezTo>
                  <a:cubicBezTo>
                    <a:pt x="2719" y="491"/>
                    <a:pt x="2719" y="491"/>
                    <a:pt x="2719" y="491"/>
                  </a:cubicBezTo>
                  <a:moveTo>
                    <a:pt x="2471" y="491"/>
                  </a:moveTo>
                  <a:cubicBezTo>
                    <a:pt x="2464" y="491"/>
                    <a:pt x="2458" y="496"/>
                    <a:pt x="2458" y="501"/>
                  </a:cubicBezTo>
                  <a:cubicBezTo>
                    <a:pt x="2458" y="507"/>
                    <a:pt x="2464" y="512"/>
                    <a:pt x="2470" y="511"/>
                  </a:cubicBezTo>
                  <a:cubicBezTo>
                    <a:pt x="2477" y="511"/>
                    <a:pt x="2483" y="507"/>
                    <a:pt x="2483" y="501"/>
                  </a:cubicBezTo>
                  <a:cubicBezTo>
                    <a:pt x="2483" y="496"/>
                    <a:pt x="2478" y="491"/>
                    <a:pt x="2471" y="491"/>
                  </a:cubicBezTo>
                  <a:cubicBezTo>
                    <a:pt x="2471" y="491"/>
                    <a:pt x="2471" y="491"/>
                    <a:pt x="2471" y="491"/>
                  </a:cubicBezTo>
                  <a:moveTo>
                    <a:pt x="2754" y="491"/>
                  </a:moveTo>
                  <a:cubicBezTo>
                    <a:pt x="2747" y="491"/>
                    <a:pt x="2742" y="496"/>
                    <a:pt x="2743" y="501"/>
                  </a:cubicBezTo>
                  <a:cubicBezTo>
                    <a:pt x="2743" y="507"/>
                    <a:pt x="2749" y="511"/>
                    <a:pt x="2756" y="511"/>
                  </a:cubicBezTo>
                  <a:cubicBezTo>
                    <a:pt x="2763" y="511"/>
                    <a:pt x="2768" y="507"/>
                    <a:pt x="2768" y="501"/>
                  </a:cubicBezTo>
                  <a:cubicBezTo>
                    <a:pt x="2767" y="495"/>
                    <a:pt x="2761" y="491"/>
                    <a:pt x="2754" y="491"/>
                  </a:cubicBezTo>
                  <a:cubicBezTo>
                    <a:pt x="2754" y="491"/>
                    <a:pt x="2754" y="491"/>
                    <a:pt x="2754" y="491"/>
                  </a:cubicBezTo>
                  <a:moveTo>
                    <a:pt x="2790" y="490"/>
                  </a:moveTo>
                  <a:cubicBezTo>
                    <a:pt x="2783" y="490"/>
                    <a:pt x="2778" y="495"/>
                    <a:pt x="2778" y="500"/>
                  </a:cubicBezTo>
                  <a:cubicBezTo>
                    <a:pt x="2779" y="506"/>
                    <a:pt x="2785" y="510"/>
                    <a:pt x="2792" y="510"/>
                  </a:cubicBezTo>
                  <a:cubicBezTo>
                    <a:pt x="2799" y="510"/>
                    <a:pt x="2804" y="506"/>
                    <a:pt x="2803" y="500"/>
                  </a:cubicBezTo>
                  <a:cubicBezTo>
                    <a:pt x="2802" y="494"/>
                    <a:pt x="2796" y="490"/>
                    <a:pt x="2790" y="490"/>
                  </a:cubicBezTo>
                  <a:cubicBezTo>
                    <a:pt x="2790" y="490"/>
                    <a:pt x="2790" y="490"/>
                    <a:pt x="2790" y="490"/>
                  </a:cubicBezTo>
                  <a:moveTo>
                    <a:pt x="2823" y="490"/>
                  </a:moveTo>
                  <a:cubicBezTo>
                    <a:pt x="2816" y="490"/>
                    <a:pt x="2811" y="494"/>
                    <a:pt x="2812" y="500"/>
                  </a:cubicBezTo>
                  <a:cubicBezTo>
                    <a:pt x="2812" y="506"/>
                    <a:pt x="2818" y="510"/>
                    <a:pt x="2825" y="510"/>
                  </a:cubicBezTo>
                  <a:cubicBezTo>
                    <a:pt x="2832" y="510"/>
                    <a:pt x="2837" y="505"/>
                    <a:pt x="2836" y="500"/>
                  </a:cubicBezTo>
                  <a:cubicBezTo>
                    <a:pt x="2836" y="494"/>
                    <a:pt x="2830" y="490"/>
                    <a:pt x="2823" y="490"/>
                  </a:cubicBezTo>
                  <a:cubicBezTo>
                    <a:pt x="2823" y="490"/>
                    <a:pt x="2823" y="490"/>
                    <a:pt x="2823" y="490"/>
                  </a:cubicBezTo>
                  <a:moveTo>
                    <a:pt x="2858" y="489"/>
                  </a:moveTo>
                  <a:cubicBezTo>
                    <a:pt x="2851" y="489"/>
                    <a:pt x="2846" y="494"/>
                    <a:pt x="2847" y="500"/>
                  </a:cubicBezTo>
                  <a:cubicBezTo>
                    <a:pt x="2848" y="505"/>
                    <a:pt x="2854" y="510"/>
                    <a:pt x="2861" y="510"/>
                  </a:cubicBezTo>
                  <a:cubicBezTo>
                    <a:pt x="2868" y="510"/>
                    <a:pt x="2873" y="505"/>
                    <a:pt x="2872" y="500"/>
                  </a:cubicBezTo>
                  <a:cubicBezTo>
                    <a:pt x="2871" y="494"/>
                    <a:pt x="2865" y="489"/>
                    <a:pt x="2858" y="489"/>
                  </a:cubicBezTo>
                  <a:cubicBezTo>
                    <a:pt x="2858" y="489"/>
                    <a:pt x="2858" y="489"/>
                    <a:pt x="2858" y="489"/>
                  </a:cubicBezTo>
                  <a:moveTo>
                    <a:pt x="2893" y="489"/>
                  </a:moveTo>
                  <a:cubicBezTo>
                    <a:pt x="2887" y="489"/>
                    <a:pt x="2882" y="494"/>
                    <a:pt x="2883" y="500"/>
                  </a:cubicBezTo>
                  <a:cubicBezTo>
                    <a:pt x="2883" y="505"/>
                    <a:pt x="2890" y="510"/>
                    <a:pt x="2896" y="510"/>
                  </a:cubicBezTo>
                  <a:cubicBezTo>
                    <a:pt x="2903" y="510"/>
                    <a:pt x="2908" y="505"/>
                    <a:pt x="2907" y="499"/>
                  </a:cubicBezTo>
                  <a:cubicBezTo>
                    <a:pt x="2907" y="494"/>
                    <a:pt x="2900" y="489"/>
                    <a:pt x="2894" y="489"/>
                  </a:cubicBezTo>
                  <a:cubicBezTo>
                    <a:pt x="2894" y="489"/>
                    <a:pt x="2894" y="489"/>
                    <a:pt x="2893" y="489"/>
                  </a:cubicBezTo>
                  <a:moveTo>
                    <a:pt x="2929" y="489"/>
                  </a:moveTo>
                  <a:cubicBezTo>
                    <a:pt x="2922" y="489"/>
                    <a:pt x="2918" y="494"/>
                    <a:pt x="2918" y="499"/>
                  </a:cubicBezTo>
                  <a:cubicBezTo>
                    <a:pt x="2919" y="505"/>
                    <a:pt x="2926" y="509"/>
                    <a:pt x="2932" y="509"/>
                  </a:cubicBezTo>
                  <a:cubicBezTo>
                    <a:pt x="2939" y="509"/>
                    <a:pt x="2944" y="505"/>
                    <a:pt x="2943" y="499"/>
                  </a:cubicBezTo>
                  <a:cubicBezTo>
                    <a:pt x="2942" y="493"/>
                    <a:pt x="2936" y="489"/>
                    <a:pt x="2929" y="489"/>
                  </a:cubicBezTo>
                  <a:cubicBezTo>
                    <a:pt x="2929" y="489"/>
                    <a:pt x="2929" y="489"/>
                    <a:pt x="2929" y="489"/>
                  </a:cubicBezTo>
                  <a:moveTo>
                    <a:pt x="2964" y="489"/>
                  </a:moveTo>
                  <a:cubicBezTo>
                    <a:pt x="2958" y="489"/>
                    <a:pt x="2953" y="493"/>
                    <a:pt x="2954" y="499"/>
                  </a:cubicBezTo>
                  <a:cubicBezTo>
                    <a:pt x="2955" y="505"/>
                    <a:pt x="2961" y="509"/>
                    <a:pt x="2968" y="509"/>
                  </a:cubicBezTo>
                  <a:cubicBezTo>
                    <a:pt x="2975" y="509"/>
                    <a:pt x="2980" y="505"/>
                    <a:pt x="2979" y="499"/>
                  </a:cubicBezTo>
                  <a:cubicBezTo>
                    <a:pt x="2978" y="493"/>
                    <a:pt x="2971" y="489"/>
                    <a:pt x="2965" y="489"/>
                  </a:cubicBezTo>
                  <a:cubicBezTo>
                    <a:pt x="2964" y="489"/>
                    <a:pt x="2964" y="489"/>
                    <a:pt x="2964" y="489"/>
                  </a:cubicBezTo>
                  <a:moveTo>
                    <a:pt x="3000" y="488"/>
                  </a:moveTo>
                  <a:cubicBezTo>
                    <a:pt x="2993" y="489"/>
                    <a:pt x="2988" y="493"/>
                    <a:pt x="2989" y="499"/>
                  </a:cubicBezTo>
                  <a:cubicBezTo>
                    <a:pt x="2990" y="504"/>
                    <a:pt x="2997" y="509"/>
                    <a:pt x="3004" y="509"/>
                  </a:cubicBezTo>
                  <a:cubicBezTo>
                    <a:pt x="3010" y="509"/>
                    <a:pt x="3015" y="504"/>
                    <a:pt x="3014" y="499"/>
                  </a:cubicBezTo>
                  <a:cubicBezTo>
                    <a:pt x="3013" y="493"/>
                    <a:pt x="3007" y="488"/>
                    <a:pt x="3000" y="488"/>
                  </a:cubicBezTo>
                  <a:cubicBezTo>
                    <a:pt x="3000" y="488"/>
                    <a:pt x="3000" y="488"/>
                    <a:pt x="3000" y="488"/>
                  </a:cubicBezTo>
                  <a:moveTo>
                    <a:pt x="3035" y="488"/>
                  </a:moveTo>
                  <a:cubicBezTo>
                    <a:pt x="3028" y="488"/>
                    <a:pt x="3023" y="493"/>
                    <a:pt x="3025" y="499"/>
                  </a:cubicBezTo>
                  <a:cubicBezTo>
                    <a:pt x="3026" y="504"/>
                    <a:pt x="3032" y="509"/>
                    <a:pt x="3039" y="509"/>
                  </a:cubicBezTo>
                  <a:cubicBezTo>
                    <a:pt x="3046" y="509"/>
                    <a:pt x="3050" y="504"/>
                    <a:pt x="3049" y="498"/>
                  </a:cubicBezTo>
                  <a:cubicBezTo>
                    <a:pt x="3048" y="493"/>
                    <a:pt x="3042" y="488"/>
                    <a:pt x="3035" y="488"/>
                  </a:cubicBezTo>
                  <a:cubicBezTo>
                    <a:pt x="3035" y="488"/>
                    <a:pt x="3035" y="488"/>
                    <a:pt x="3035" y="488"/>
                  </a:cubicBezTo>
                  <a:moveTo>
                    <a:pt x="3070" y="488"/>
                  </a:moveTo>
                  <a:cubicBezTo>
                    <a:pt x="3064" y="488"/>
                    <a:pt x="3059" y="493"/>
                    <a:pt x="3060" y="498"/>
                  </a:cubicBezTo>
                  <a:cubicBezTo>
                    <a:pt x="3061" y="504"/>
                    <a:pt x="3068" y="509"/>
                    <a:pt x="3075" y="509"/>
                  </a:cubicBezTo>
                  <a:cubicBezTo>
                    <a:pt x="3082" y="508"/>
                    <a:pt x="3086" y="504"/>
                    <a:pt x="3085" y="498"/>
                  </a:cubicBezTo>
                  <a:cubicBezTo>
                    <a:pt x="3084" y="493"/>
                    <a:pt x="3077" y="488"/>
                    <a:pt x="3071" y="488"/>
                  </a:cubicBezTo>
                  <a:cubicBezTo>
                    <a:pt x="3070" y="488"/>
                    <a:pt x="3070" y="488"/>
                    <a:pt x="3070" y="488"/>
                  </a:cubicBezTo>
                  <a:moveTo>
                    <a:pt x="3107" y="488"/>
                  </a:moveTo>
                  <a:cubicBezTo>
                    <a:pt x="3100" y="488"/>
                    <a:pt x="3096" y="492"/>
                    <a:pt x="3097" y="498"/>
                  </a:cubicBezTo>
                  <a:cubicBezTo>
                    <a:pt x="3098" y="504"/>
                    <a:pt x="3105" y="508"/>
                    <a:pt x="3111" y="508"/>
                  </a:cubicBezTo>
                  <a:cubicBezTo>
                    <a:pt x="3118" y="508"/>
                    <a:pt x="3123" y="504"/>
                    <a:pt x="3122" y="498"/>
                  </a:cubicBezTo>
                  <a:cubicBezTo>
                    <a:pt x="3120" y="492"/>
                    <a:pt x="3114" y="488"/>
                    <a:pt x="3107" y="488"/>
                  </a:cubicBezTo>
                  <a:cubicBezTo>
                    <a:pt x="3107" y="488"/>
                    <a:pt x="3107" y="488"/>
                    <a:pt x="3107" y="488"/>
                  </a:cubicBezTo>
                  <a:moveTo>
                    <a:pt x="3142" y="488"/>
                  </a:moveTo>
                  <a:cubicBezTo>
                    <a:pt x="3135" y="488"/>
                    <a:pt x="3131" y="492"/>
                    <a:pt x="3132" y="498"/>
                  </a:cubicBezTo>
                  <a:cubicBezTo>
                    <a:pt x="3133" y="504"/>
                    <a:pt x="3140" y="508"/>
                    <a:pt x="3147" y="508"/>
                  </a:cubicBezTo>
                  <a:cubicBezTo>
                    <a:pt x="3154" y="508"/>
                    <a:pt x="3158" y="503"/>
                    <a:pt x="3157" y="498"/>
                  </a:cubicBezTo>
                  <a:cubicBezTo>
                    <a:pt x="3156" y="492"/>
                    <a:pt x="3149" y="488"/>
                    <a:pt x="3142" y="488"/>
                  </a:cubicBezTo>
                  <a:cubicBezTo>
                    <a:pt x="3142" y="488"/>
                    <a:pt x="3142" y="488"/>
                    <a:pt x="3142" y="488"/>
                  </a:cubicBezTo>
                  <a:moveTo>
                    <a:pt x="3177" y="487"/>
                  </a:moveTo>
                  <a:cubicBezTo>
                    <a:pt x="3171" y="487"/>
                    <a:pt x="3166" y="492"/>
                    <a:pt x="3168" y="498"/>
                  </a:cubicBezTo>
                  <a:cubicBezTo>
                    <a:pt x="3169" y="503"/>
                    <a:pt x="3176" y="508"/>
                    <a:pt x="3183" y="508"/>
                  </a:cubicBezTo>
                  <a:cubicBezTo>
                    <a:pt x="3189" y="508"/>
                    <a:pt x="3194" y="503"/>
                    <a:pt x="3192" y="497"/>
                  </a:cubicBezTo>
                  <a:cubicBezTo>
                    <a:pt x="3191" y="492"/>
                    <a:pt x="3184" y="487"/>
                    <a:pt x="3178" y="487"/>
                  </a:cubicBezTo>
                  <a:cubicBezTo>
                    <a:pt x="3178" y="487"/>
                    <a:pt x="3178" y="487"/>
                    <a:pt x="3177" y="487"/>
                  </a:cubicBezTo>
                  <a:moveTo>
                    <a:pt x="3213" y="487"/>
                  </a:moveTo>
                  <a:cubicBezTo>
                    <a:pt x="3206" y="487"/>
                    <a:pt x="3202" y="492"/>
                    <a:pt x="3203" y="497"/>
                  </a:cubicBezTo>
                  <a:cubicBezTo>
                    <a:pt x="3205" y="503"/>
                    <a:pt x="3212" y="508"/>
                    <a:pt x="3219" y="508"/>
                  </a:cubicBezTo>
                  <a:cubicBezTo>
                    <a:pt x="3225" y="508"/>
                    <a:pt x="3230" y="503"/>
                    <a:pt x="3228" y="497"/>
                  </a:cubicBezTo>
                  <a:cubicBezTo>
                    <a:pt x="3227" y="492"/>
                    <a:pt x="3220" y="487"/>
                    <a:pt x="3213" y="487"/>
                  </a:cubicBezTo>
                  <a:cubicBezTo>
                    <a:pt x="3213" y="487"/>
                    <a:pt x="3213" y="487"/>
                    <a:pt x="3213" y="487"/>
                  </a:cubicBezTo>
                  <a:moveTo>
                    <a:pt x="3248" y="487"/>
                  </a:moveTo>
                  <a:cubicBezTo>
                    <a:pt x="3242" y="487"/>
                    <a:pt x="3237" y="492"/>
                    <a:pt x="3239" y="497"/>
                  </a:cubicBezTo>
                  <a:cubicBezTo>
                    <a:pt x="3240" y="503"/>
                    <a:pt x="3247" y="507"/>
                    <a:pt x="3254" y="507"/>
                  </a:cubicBezTo>
                  <a:cubicBezTo>
                    <a:pt x="3261" y="507"/>
                    <a:pt x="3265" y="503"/>
                    <a:pt x="3264" y="497"/>
                  </a:cubicBezTo>
                  <a:cubicBezTo>
                    <a:pt x="3262" y="491"/>
                    <a:pt x="3255" y="487"/>
                    <a:pt x="3248" y="487"/>
                  </a:cubicBezTo>
                  <a:cubicBezTo>
                    <a:pt x="3248" y="487"/>
                    <a:pt x="3248" y="487"/>
                    <a:pt x="3248" y="487"/>
                  </a:cubicBezTo>
                  <a:moveTo>
                    <a:pt x="3284" y="487"/>
                  </a:moveTo>
                  <a:cubicBezTo>
                    <a:pt x="3277" y="487"/>
                    <a:pt x="3273" y="491"/>
                    <a:pt x="3274" y="497"/>
                  </a:cubicBezTo>
                  <a:cubicBezTo>
                    <a:pt x="3276" y="503"/>
                    <a:pt x="3283" y="507"/>
                    <a:pt x="3290" y="507"/>
                  </a:cubicBezTo>
                  <a:cubicBezTo>
                    <a:pt x="3296" y="507"/>
                    <a:pt x="3301" y="502"/>
                    <a:pt x="3299" y="497"/>
                  </a:cubicBezTo>
                  <a:cubicBezTo>
                    <a:pt x="3297" y="491"/>
                    <a:pt x="3291" y="487"/>
                    <a:pt x="3284" y="487"/>
                  </a:cubicBezTo>
                  <a:cubicBezTo>
                    <a:pt x="3284" y="487"/>
                    <a:pt x="3284" y="487"/>
                    <a:pt x="3284" y="487"/>
                  </a:cubicBezTo>
                  <a:moveTo>
                    <a:pt x="3319" y="486"/>
                  </a:moveTo>
                  <a:cubicBezTo>
                    <a:pt x="3312" y="486"/>
                    <a:pt x="3308" y="491"/>
                    <a:pt x="3310" y="497"/>
                  </a:cubicBezTo>
                  <a:cubicBezTo>
                    <a:pt x="3311" y="502"/>
                    <a:pt x="3318" y="507"/>
                    <a:pt x="3325" y="507"/>
                  </a:cubicBezTo>
                  <a:cubicBezTo>
                    <a:pt x="3332" y="507"/>
                    <a:pt x="3336" y="502"/>
                    <a:pt x="3334" y="497"/>
                  </a:cubicBezTo>
                  <a:cubicBezTo>
                    <a:pt x="3333" y="491"/>
                    <a:pt x="3326" y="486"/>
                    <a:pt x="3319" y="486"/>
                  </a:cubicBezTo>
                  <a:cubicBezTo>
                    <a:pt x="3319" y="486"/>
                    <a:pt x="3319" y="486"/>
                    <a:pt x="3319" y="486"/>
                  </a:cubicBezTo>
                  <a:moveTo>
                    <a:pt x="3354" y="486"/>
                  </a:moveTo>
                  <a:cubicBezTo>
                    <a:pt x="3347" y="486"/>
                    <a:pt x="3343" y="491"/>
                    <a:pt x="3345" y="496"/>
                  </a:cubicBezTo>
                  <a:cubicBezTo>
                    <a:pt x="3347" y="502"/>
                    <a:pt x="3354" y="507"/>
                    <a:pt x="3361" y="507"/>
                  </a:cubicBezTo>
                  <a:cubicBezTo>
                    <a:pt x="3368" y="507"/>
                    <a:pt x="3372" y="502"/>
                    <a:pt x="3370" y="496"/>
                  </a:cubicBezTo>
                  <a:cubicBezTo>
                    <a:pt x="3368" y="491"/>
                    <a:pt x="3361" y="486"/>
                    <a:pt x="3354" y="486"/>
                  </a:cubicBezTo>
                  <a:cubicBezTo>
                    <a:pt x="3354" y="486"/>
                    <a:pt x="3354" y="486"/>
                    <a:pt x="3354" y="486"/>
                  </a:cubicBezTo>
                  <a:moveTo>
                    <a:pt x="3390" y="486"/>
                  </a:moveTo>
                  <a:cubicBezTo>
                    <a:pt x="3383" y="486"/>
                    <a:pt x="3379" y="491"/>
                    <a:pt x="3381" y="496"/>
                  </a:cubicBezTo>
                  <a:cubicBezTo>
                    <a:pt x="3383" y="502"/>
                    <a:pt x="3390" y="506"/>
                    <a:pt x="3397" y="506"/>
                  </a:cubicBezTo>
                  <a:cubicBezTo>
                    <a:pt x="3404" y="506"/>
                    <a:pt x="3408" y="502"/>
                    <a:pt x="3406" y="496"/>
                  </a:cubicBezTo>
                  <a:cubicBezTo>
                    <a:pt x="3404" y="490"/>
                    <a:pt x="3397" y="486"/>
                    <a:pt x="3390" y="486"/>
                  </a:cubicBezTo>
                  <a:cubicBezTo>
                    <a:pt x="3390" y="486"/>
                    <a:pt x="3390" y="486"/>
                    <a:pt x="3390" y="486"/>
                  </a:cubicBezTo>
                  <a:moveTo>
                    <a:pt x="3425" y="486"/>
                  </a:moveTo>
                  <a:cubicBezTo>
                    <a:pt x="3418" y="486"/>
                    <a:pt x="3414" y="490"/>
                    <a:pt x="3416" y="496"/>
                  </a:cubicBezTo>
                  <a:cubicBezTo>
                    <a:pt x="3418" y="502"/>
                    <a:pt x="3425" y="506"/>
                    <a:pt x="3432" y="506"/>
                  </a:cubicBezTo>
                  <a:cubicBezTo>
                    <a:pt x="3439" y="506"/>
                    <a:pt x="3443" y="502"/>
                    <a:pt x="3441" y="496"/>
                  </a:cubicBezTo>
                  <a:cubicBezTo>
                    <a:pt x="3439" y="490"/>
                    <a:pt x="3432" y="486"/>
                    <a:pt x="3425" y="486"/>
                  </a:cubicBezTo>
                  <a:cubicBezTo>
                    <a:pt x="3425" y="486"/>
                    <a:pt x="3425" y="486"/>
                    <a:pt x="3425" y="486"/>
                  </a:cubicBezTo>
                  <a:moveTo>
                    <a:pt x="3461" y="485"/>
                  </a:moveTo>
                  <a:cubicBezTo>
                    <a:pt x="3454" y="485"/>
                    <a:pt x="3450" y="490"/>
                    <a:pt x="3452" y="496"/>
                  </a:cubicBezTo>
                  <a:cubicBezTo>
                    <a:pt x="3454" y="501"/>
                    <a:pt x="3461" y="506"/>
                    <a:pt x="3468" y="506"/>
                  </a:cubicBezTo>
                  <a:cubicBezTo>
                    <a:pt x="3475" y="506"/>
                    <a:pt x="3478" y="501"/>
                    <a:pt x="3476" y="496"/>
                  </a:cubicBezTo>
                  <a:cubicBezTo>
                    <a:pt x="3474" y="490"/>
                    <a:pt x="3467" y="485"/>
                    <a:pt x="3461" y="485"/>
                  </a:cubicBezTo>
                  <a:cubicBezTo>
                    <a:pt x="3461" y="485"/>
                    <a:pt x="3461" y="485"/>
                    <a:pt x="3461" y="485"/>
                  </a:cubicBezTo>
                  <a:moveTo>
                    <a:pt x="3496" y="485"/>
                  </a:moveTo>
                  <a:cubicBezTo>
                    <a:pt x="3489" y="485"/>
                    <a:pt x="3485" y="490"/>
                    <a:pt x="3487" y="496"/>
                  </a:cubicBezTo>
                  <a:cubicBezTo>
                    <a:pt x="3489" y="501"/>
                    <a:pt x="3496" y="506"/>
                    <a:pt x="3503" y="506"/>
                  </a:cubicBezTo>
                  <a:cubicBezTo>
                    <a:pt x="3510" y="506"/>
                    <a:pt x="3514" y="501"/>
                    <a:pt x="3512" y="495"/>
                  </a:cubicBezTo>
                  <a:cubicBezTo>
                    <a:pt x="3510" y="490"/>
                    <a:pt x="3503" y="485"/>
                    <a:pt x="3496" y="485"/>
                  </a:cubicBezTo>
                  <a:cubicBezTo>
                    <a:pt x="3496" y="485"/>
                    <a:pt x="3496" y="485"/>
                    <a:pt x="3496" y="485"/>
                  </a:cubicBezTo>
                  <a:moveTo>
                    <a:pt x="3531" y="485"/>
                  </a:moveTo>
                  <a:cubicBezTo>
                    <a:pt x="3524" y="485"/>
                    <a:pt x="3520" y="490"/>
                    <a:pt x="3522" y="495"/>
                  </a:cubicBezTo>
                  <a:cubicBezTo>
                    <a:pt x="3525" y="501"/>
                    <a:pt x="3532" y="506"/>
                    <a:pt x="3539" y="505"/>
                  </a:cubicBezTo>
                  <a:cubicBezTo>
                    <a:pt x="3546" y="505"/>
                    <a:pt x="3549" y="501"/>
                    <a:pt x="3547" y="495"/>
                  </a:cubicBezTo>
                  <a:cubicBezTo>
                    <a:pt x="3545" y="490"/>
                    <a:pt x="3538" y="485"/>
                    <a:pt x="3531" y="485"/>
                  </a:cubicBezTo>
                  <a:cubicBezTo>
                    <a:pt x="3531" y="485"/>
                    <a:pt x="3531" y="485"/>
                    <a:pt x="3531" y="485"/>
                  </a:cubicBezTo>
                  <a:moveTo>
                    <a:pt x="3567" y="485"/>
                  </a:moveTo>
                  <a:cubicBezTo>
                    <a:pt x="3560" y="485"/>
                    <a:pt x="3556" y="489"/>
                    <a:pt x="3558" y="495"/>
                  </a:cubicBezTo>
                  <a:cubicBezTo>
                    <a:pt x="3560" y="501"/>
                    <a:pt x="3568" y="505"/>
                    <a:pt x="3575" y="505"/>
                  </a:cubicBezTo>
                  <a:cubicBezTo>
                    <a:pt x="3582" y="505"/>
                    <a:pt x="3585" y="501"/>
                    <a:pt x="3583" y="495"/>
                  </a:cubicBezTo>
                  <a:cubicBezTo>
                    <a:pt x="3581" y="489"/>
                    <a:pt x="3574" y="485"/>
                    <a:pt x="3567" y="485"/>
                  </a:cubicBezTo>
                  <a:cubicBezTo>
                    <a:pt x="3567" y="485"/>
                    <a:pt x="3567" y="485"/>
                    <a:pt x="3567" y="485"/>
                  </a:cubicBezTo>
                  <a:moveTo>
                    <a:pt x="3602" y="484"/>
                  </a:moveTo>
                  <a:cubicBezTo>
                    <a:pt x="3595" y="484"/>
                    <a:pt x="3591" y="489"/>
                    <a:pt x="3594" y="495"/>
                  </a:cubicBezTo>
                  <a:cubicBezTo>
                    <a:pt x="3596" y="500"/>
                    <a:pt x="3603" y="505"/>
                    <a:pt x="3610" y="505"/>
                  </a:cubicBezTo>
                  <a:cubicBezTo>
                    <a:pt x="3617" y="505"/>
                    <a:pt x="3621" y="500"/>
                    <a:pt x="3619" y="495"/>
                  </a:cubicBezTo>
                  <a:cubicBezTo>
                    <a:pt x="3616" y="489"/>
                    <a:pt x="3609" y="484"/>
                    <a:pt x="3602" y="484"/>
                  </a:cubicBezTo>
                  <a:cubicBezTo>
                    <a:pt x="3602" y="484"/>
                    <a:pt x="3602" y="484"/>
                    <a:pt x="3602" y="484"/>
                  </a:cubicBezTo>
                  <a:moveTo>
                    <a:pt x="3637" y="484"/>
                  </a:moveTo>
                  <a:cubicBezTo>
                    <a:pt x="3630" y="484"/>
                    <a:pt x="3627" y="489"/>
                    <a:pt x="3629" y="494"/>
                  </a:cubicBezTo>
                  <a:cubicBezTo>
                    <a:pt x="3631" y="500"/>
                    <a:pt x="3639" y="505"/>
                    <a:pt x="3646" y="505"/>
                  </a:cubicBezTo>
                  <a:cubicBezTo>
                    <a:pt x="3652" y="505"/>
                    <a:pt x="3656" y="500"/>
                    <a:pt x="3654" y="494"/>
                  </a:cubicBezTo>
                  <a:cubicBezTo>
                    <a:pt x="3651" y="489"/>
                    <a:pt x="3644" y="484"/>
                    <a:pt x="3637" y="484"/>
                  </a:cubicBezTo>
                  <a:cubicBezTo>
                    <a:pt x="3637" y="484"/>
                    <a:pt x="3637" y="484"/>
                    <a:pt x="3637" y="484"/>
                  </a:cubicBezTo>
                  <a:moveTo>
                    <a:pt x="3673" y="484"/>
                  </a:moveTo>
                  <a:cubicBezTo>
                    <a:pt x="3666" y="484"/>
                    <a:pt x="3662" y="489"/>
                    <a:pt x="3664" y="494"/>
                  </a:cubicBezTo>
                  <a:cubicBezTo>
                    <a:pt x="3667" y="500"/>
                    <a:pt x="3674" y="504"/>
                    <a:pt x="3681" y="504"/>
                  </a:cubicBezTo>
                  <a:cubicBezTo>
                    <a:pt x="3688" y="504"/>
                    <a:pt x="3692" y="500"/>
                    <a:pt x="3689" y="494"/>
                  </a:cubicBezTo>
                  <a:cubicBezTo>
                    <a:pt x="3687" y="488"/>
                    <a:pt x="3679" y="484"/>
                    <a:pt x="3673" y="484"/>
                  </a:cubicBezTo>
                  <a:cubicBezTo>
                    <a:pt x="3673" y="484"/>
                    <a:pt x="3673" y="484"/>
                    <a:pt x="3673" y="484"/>
                  </a:cubicBezTo>
                  <a:moveTo>
                    <a:pt x="3710" y="484"/>
                  </a:moveTo>
                  <a:cubicBezTo>
                    <a:pt x="3703" y="484"/>
                    <a:pt x="3700" y="488"/>
                    <a:pt x="3702" y="494"/>
                  </a:cubicBezTo>
                  <a:cubicBezTo>
                    <a:pt x="3705" y="500"/>
                    <a:pt x="3712" y="504"/>
                    <a:pt x="3719" y="504"/>
                  </a:cubicBezTo>
                  <a:cubicBezTo>
                    <a:pt x="3726" y="504"/>
                    <a:pt x="3729" y="500"/>
                    <a:pt x="3727" y="494"/>
                  </a:cubicBezTo>
                  <a:cubicBezTo>
                    <a:pt x="3724" y="488"/>
                    <a:pt x="3717" y="484"/>
                    <a:pt x="3710" y="484"/>
                  </a:cubicBezTo>
                  <a:cubicBezTo>
                    <a:pt x="3710" y="484"/>
                    <a:pt x="3710" y="484"/>
                    <a:pt x="3710" y="484"/>
                  </a:cubicBezTo>
                  <a:moveTo>
                    <a:pt x="3745" y="483"/>
                  </a:moveTo>
                  <a:cubicBezTo>
                    <a:pt x="3738" y="483"/>
                    <a:pt x="3735" y="488"/>
                    <a:pt x="3737" y="494"/>
                  </a:cubicBezTo>
                  <a:cubicBezTo>
                    <a:pt x="3740" y="499"/>
                    <a:pt x="3747" y="504"/>
                    <a:pt x="3754" y="504"/>
                  </a:cubicBezTo>
                  <a:cubicBezTo>
                    <a:pt x="3761" y="504"/>
                    <a:pt x="3765" y="499"/>
                    <a:pt x="3762" y="494"/>
                  </a:cubicBezTo>
                  <a:cubicBezTo>
                    <a:pt x="3759" y="488"/>
                    <a:pt x="3752" y="483"/>
                    <a:pt x="3745" y="483"/>
                  </a:cubicBezTo>
                  <a:cubicBezTo>
                    <a:pt x="3745" y="483"/>
                    <a:pt x="3745" y="483"/>
                    <a:pt x="3745" y="483"/>
                  </a:cubicBezTo>
                  <a:moveTo>
                    <a:pt x="3780" y="483"/>
                  </a:moveTo>
                  <a:cubicBezTo>
                    <a:pt x="3773" y="483"/>
                    <a:pt x="3770" y="488"/>
                    <a:pt x="3772" y="494"/>
                  </a:cubicBezTo>
                  <a:cubicBezTo>
                    <a:pt x="3775" y="499"/>
                    <a:pt x="3783" y="504"/>
                    <a:pt x="3789" y="504"/>
                  </a:cubicBezTo>
                  <a:cubicBezTo>
                    <a:pt x="3796" y="504"/>
                    <a:pt x="3800" y="499"/>
                    <a:pt x="3797" y="493"/>
                  </a:cubicBezTo>
                  <a:cubicBezTo>
                    <a:pt x="3795" y="488"/>
                    <a:pt x="3787" y="483"/>
                    <a:pt x="3780" y="483"/>
                  </a:cubicBezTo>
                  <a:cubicBezTo>
                    <a:pt x="3780" y="483"/>
                    <a:pt x="3780" y="483"/>
                    <a:pt x="3780" y="483"/>
                  </a:cubicBezTo>
                  <a:moveTo>
                    <a:pt x="3815" y="483"/>
                  </a:moveTo>
                  <a:cubicBezTo>
                    <a:pt x="3809" y="483"/>
                    <a:pt x="3805" y="488"/>
                    <a:pt x="3808" y="493"/>
                  </a:cubicBezTo>
                  <a:cubicBezTo>
                    <a:pt x="3811" y="499"/>
                    <a:pt x="3818" y="504"/>
                    <a:pt x="3825" y="503"/>
                  </a:cubicBezTo>
                  <a:cubicBezTo>
                    <a:pt x="3832" y="503"/>
                    <a:pt x="3835" y="499"/>
                    <a:pt x="3833" y="493"/>
                  </a:cubicBezTo>
                  <a:cubicBezTo>
                    <a:pt x="3830" y="487"/>
                    <a:pt x="3822" y="483"/>
                    <a:pt x="3815" y="483"/>
                  </a:cubicBezTo>
                  <a:cubicBezTo>
                    <a:pt x="3815" y="483"/>
                    <a:pt x="3815" y="483"/>
                    <a:pt x="3815" y="483"/>
                  </a:cubicBezTo>
                  <a:moveTo>
                    <a:pt x="3851" y="483"/>
                  </a:moveTo>
                  <a:cubicBezTo>
                    <a:pt x="3844" y="483"/>
                    <a:pt x="3841" y="487"/>
                    <a:pt x="3844" y="493"/>
                  </a:cubicBezTo>
                  <a:cubicBezTo>
                    <a:pt x="3846" y="499"/>
                    <a:pt x="3854" y="503"/>
                    <a:pt x="3861" y="503"/>
                  </a:cubicBezTo>
                  <a:cubicBezTo>
                    <a:pt x="3868" y="503"/>
                    <a:pt x="3871" y="499"/>
                    <a:pt x="3869" y="493"/>
                  </a:cubicBezTo>
                  <a:cubicBezTo>
                    <a:pt x="3866" y="487"/>
                    <a:pt x="3858" y="483"/>
                    <a:pt x="3851" y="483"/>
                  </a:cubicBezTo>
                  <a:cubicBezTo>
                    <a:pt x="3851" y="483"/>
                    <a:pt x="3851" y="483"/>
                    <a:pt x="3851" y="483"/>
                  </a:cubicBezTo>
                  <a:moveTo>
                    <a:pt x="3886" y="482"/>
                  </a:moveTo>
                  <a:cubicBezTo>
                    <a:pt x="3879" y="482"/>
                    <a:pt x="3876" y="487"/>
                    <a:pt x="3879" y="493"/>
                  </a:cubicBezTo>
                  <a:cubicBezTo>
                    <a:pt x="3882" y="499"/>
                    <a:pt x="3890" y="503"/>
                    <a:pt x="3896" y="503"/>
                  </a:cubicBezTo>
                  <a:cubicBezTo>
                    <a:pt x="3903" y="503"/>
                    <a:pt x="3907" y="498"/>
                    <a:pt x="3904" y="493"/>
                  </a:cubicBezTo>
                  <a:cubicBezTo>
                    <a:pt x="3901" y="487"/>
                    <a:pt x="3893" y="482"/>
                    <a:pt x="3886" y="482"/>
                  </a:cubicBezTo>
                  <a:cubicBezTo>
                    <a:pt x="3886" y="482"/>
                    <a:pt x="3886" y="482"/>
                    <a:pt x="3886" y="482"/>
                  </a:cubicBezTo>
                  <a:moveTo>
                    <a:pt x="3921" y="482"/>
                  </a:moveTo>
                  <a:cubicBezTo>
                    <a:pt x="3915" y="482"/>
                    <a:pt x="3911" y="487"/>
                    <a:pt x="3914" y="493"/>
                  </a:cubicBezTo>
                  <a:cubicBezTo>
                    <a:pt x="3917" y="498"/>
                    <a:pt x="3925" y="503"/>
                    <a:pt x="3932" y="503"/>
                  </a:cubicBezTo>
                  <a:cubicBezTo>
                    <a:pt x="3939" y="503"/>
                    <a:pt x="3942" y="498"/>
                    <a:pt x="3939" y="492"/>
                  </a:cubicBezTo>
                  <a:cubicBezTo>
                    <a:pt x="3936" y="487"/>
                    <a:pt x="3928" y="482"/>
                    <a:pt x="3922" y="482"/>
                  </a:cubicBezTo>
                  <a:cubicBezTo>
                    <a:pt x="3922" y="482"/>
                    <a:pt x="3921" y="482"/>
                    <a:pt x="3921" y="482"/>
                  </a:cubicBezTo>
                  <a:moveTo>
                    <a:pt x="3957" y="482"/>
                  </a:moveTo>
                  <a:cubicBezTo>
                    <a:pt x="3950" y="482"/>
                    <a:pt x="3947" y="487"/>
                    <a:pt x="3950" y="492"/>
                  </a:cubicBezTo>
                  <a:cubicBezTo>
                    <a:pt x="3953" y="498"/>
                    <a:pt x="3960" y="503"/>
                    <a:pt x="3967" y="503"/>
                  </a:cubicBezTo>
                  <a:cubicBezTo>
                    <a:pt x="3974" y="503"/>
                    <a:pt x="3977" y="498"/>
                    <a:pt x="3974" y="492"/>
                  </a:cubicBezTo>
                  <a:cubicBezTo>
                    <a:pt x="3971" y="487"/>
                    <a:pt x="3963" y="482"/>
                    <a:pt x="3957" y="482"/>
                  </a:cubicBezTo>
                  <a:cubicBezTo>
                    <a:pt x="3957" y="482"/>
                    <a:pt x="3957" y="482"/>
                    <a:pt x="3957" y="482"/>
                  </a:cubicBezTo>
                  <a:moveTo>
                    <a:pt x="3992" y="482"/>
                  </a:moveTo>
                  <a:cubicBezTo>
                    <a:pt x="3985" y="482"/>
                    <a:pt x="3982" y="486"/>
                    <a:pt x="3985" y="492"/>
                  </a:cubicBezTo>
                  <a:cubicBezTo>
                    <a:pt x="3988" y="498"/>
                    <a:pt x="3996" y="502"/>
                    <a:pt x="4003" y="502"/>
                  </a:cubicBezTo>
                  <a:cubicBezTo>
                    <a:pt x="4010" y="502"/>
                    <a:pt x="4013" y="498"/>
                    <a:pt x="4010" y="492"/>
                  </a:cubicBezTo>
                  <a:cubicBezTo>
                    <a:pt x="4007" y="486"/>
                    <a:pt x="3999" y="482"/>
                    <a:pt x="3992" y="482"/>
                  </a:cubicBezTo>
                  <a:cubicBezTo>
                    <a:pt x="3992" y="482"/>
                    <a:pt x="3992" y="482"/>
                    <a:pt x="3992" y="482"/>
                  </a:cubicBezTo>
                  <a:moveTo>
                    <a:pt x="4026" y="482"/>
                  </a:moveTo>
                  <a:cubicBezTo>
                    <a:pt x="4019" y="482"/>
                    <a:pt x="4016" y="486"/>
                    <a:pt x="4019" y="492"/>
                  </a:cubicBezTo>
                  <a:cubicBezTo>
                    <a:pt x="4023" y="498"/>
                    <a:pt x="4031" y="502"/>
                    <a:pt x="4038" y="502"/>
                  </a:cubicBezTo>
                  <a:cubicBezTo>
                    <a:pt x="4044" y="502"/>
                    <a:pt x="4047" y="497"/>
                    <a:pt x="4044" y="492"/>
                  </a:cubicBezTo>
                  <a:cubicBezTo>
                    <a:pt x="4041" y="486"/>
                    <a:pt x="4033" y="482"/>
                    <a:pt x="4026" y="482"/>
                  </a:cubicBezTo>
                  <a:cubicBezTo>
                    <a:pt x="4026" y="482"/>
                    <a:pt x="4026" y="482"/>
                    <a:pt x="4026" y="482"/>
                  </a:cubicBezTo>
                  <a:moveTo>
                    <a:pt x="4134" y="481"/>
                  </a:moveTo>
                  <a:cubicBezTo>
                    <a:pt x="4128" y="481"/>
                    <a:pt x="4125" y="486"/>
                    <a:pt x="4128" y="491"/>
                  </a:cubicBezTo>
                  <a:cubicBezTo>
                    <a:pt x="4131" y="497"/>
                    <a:pt x="4140" y="501"/>
                    <a:pt x="4147" y="501"/>
                  </a:cubicBezTo>
                  <a:cubicBezTo>
                    <a:pt x="4153" y="501"/>
                    <a:pt x="4156" y="497"/>
                    <a:pt x="4153" y="491"/>
                  </a:cubicBezTo>
                  <a:cubicBezTo>
                    <a:pt x="4149" y="485"/>
                    <a:pt x="4141" y="481"/>
                    <a:pt x="4134" y="481"/>
                  </a:cubicBezTo>
                  <a:cubicBezTo>
                    <a:pt x="4134" y="481"/>
                    <a:pt x="4134" y="481"/>
                    <a:pt x="4134" y="481"/>
                  </a:cubicBezTo>
                  <a:moveTo>
                    <a:pt x="4169" y="481"/>
                  </a:moveTo>
                  <a:cubicBezTo>
                    <a:pt x="4162" y="481"/>
                    <a:pt x="4159" y="485"/>
                    <a:pt x="4162" y="491"/>
                  </a:cubicBezTo>
                  <a:cubicBezTo>
                    <a:pt x="4166" y="497"/>
                    <a:pt x="4174" y="501"/>
                    <a:pt x="4181" y="501"/>
                  </a:cubicBezTo>
                  <a:cubicBezTo>
                    <a:pt x="4188" y="501"/>
                    <a:pt x="4191" y="496"/>
                    <a:pt x="4187" y="491"/>
                  </a:cubicBezTo>
                  <a:cubicBezTo>
                    <a:pt x="4184" y="485"/>
                    <a:pt x="4176" y="481"/>
                    <a:pt x="4169" y="481"/>
                  </a:cubicBezTo>
                  <a:cubicBezTo>
                    <a:pt x="4169" y="481"/>
                    <a:pt x="4169" y="481"/>
                    <a:pt x="4169" y="481"/>
                  </a:cubicBezTo>
                  <a:moveTo>
                    <a:pt x="258" y="477"/>
                  </a:moveTo>
                  <a:cubicBezTo>
                    <a:pt x="252" y="477"/>
                    <a:pt x="242" y="481"/>
                    <a:pt x="238" y="487"/>
                  </a:cubicBezTo>
                  <a:cubicBezTo>
                    <a:pt x="233" y="493"/>
                    <a:pt x="235" y="497"/>
                    <a:pt x="242" y="497"/>
                  </a:cubicBezTo>
                  <a:cubicBezTo>
                    <a:pt x="249" y="497"/>
                    <a:pt x="258" y="492"/>
                    <a:pt x="263" y="487"/>
                  </a:cubicBezTo>
                  <a:cubicBezTo>
                    <a:pt x="267" y="481"/>
                    <a:pt x="265" y="477"/>
                    <a:pt x="258" y="477"/>
                  </a:cubicBezTo>
                  <a:cubicBezTo>
                    <a:pt x="258" y="477"/>
                    <a:pt x="258" y="477"/>
                    <a:pt x="258" y="477"/>
                  </a:cubicBezTo>
                  <a:moveTo>
                    <a:pt x="294" y="477"/>
                  </a:moveTo>
                  <a:cubicBezTo>
                    <a:pt x="287" y="477"/>
                    <a:pt x="278" y="481"/>
                    <a:pt x="273" y="487"/>
                  </a:cubicBezTo>
                  <a:cubicBezTo>
                    <a:pt x="269" y="492"/>
                    <a:pt x="270" y="497"/>
                    <a:pt x="277" y="497"/>
                  </a:cubicBezTo>
                  <a:cubicBezTo>
                    <a:pt x="284" y="497"/>
                    <a:pt x="293" y="492"/>
                    <a:pt x="298" y="487"/>
                  </a:cubicBezTo>
                  <a:cubicBezTo>
                    <a:pt x="302" y="481"/>
                    <a:pt x="300" y="477"/>
                    <a:pt x="294" y="477"/>
                  </a:cubicBezTo>
                  <a:cubicBezTo>
                    <a:pt x="294" y="477"/>
                    <a:pt x="294" y="477"/>
                    <a:pt x="294" y="477"/>
                  </a:cubicBezTo>
                  <a:moveTo>
                    <a:pt x="328" y="476"/>
                  </a:moveTo>
                  <a:cubicBezTo>
                    <a:pt x="322" y="476"/>
                    <a:pt x="313" y="481"/>
                    <a:pt x="308" y="486"/>
                  </a:cubicBezTo>
                  <a:cubicBezTo>
                    <a:pt x="304" y="492"/>
                    <a:pt x="306" y="497"/>
                    <a:pt x="312" y="497"/>
                  </a:cubicBezTo>
                  <a:cubicBezTo>
                    <a:pt x="319" y="496"/>
                    <a:pt x="328" y="492"/>
                    <a:pt x="333" y="486"/>
                  </a:cubicBezTo>
                  <a:cubicBezTo>
                    <a:pt x="337" y="481"/>
                    <a:pt x="335" y="476"/>
                    <a:pt x="329" y="476"/>
                  </a:cubicBezTo>
                  <a:cubicBezTo>
                    <a:pt x="329" y="476"/>
                    <a:pt x="329" y="476"/>
                    <a:pt x="328" y="476"/>
                  </a:cubicBezTo>
                  <a:moveTo>
                    <a:pt x="364" y="476"/>
                  </a:moveTo>
                  <a:cubicBezTo>
                    <a:pt x="357" y="476"/>
                    <a:pt x="348" y="481"/>
                    <a:pt x="343" y="486"/>
                  </a:cubicBezTo>
                  <a:cubicBezTo>
                    <a:pt x="339" y="492"/>
                    <a:pt x="341" y="496"/>
                    <a:pt x="348" y="496"/>
                  </a:cubicBezTo>
                  <a:cubicBezTo>
                    <a:pt x="355" y="496"/>
                    <a:pt x="364" y="492"/>
                    <a:pt x="368" y="486"/>
                  </a:cubicBezTo>
                  <a:cubicBezTo>
                    <a:pt x="372" y="481"/>
                    <a:pt x="371" y="476"/>
                    <a:pt x="364" y="476"/>
                  </a:cubicBezTo>
                  <a:cubicBezTo>
                    <a:pt x="364" y="476"/>
                    <a:pt x="364" y="476"/>
                    <a:pt x="364" y="476"/>
                  </a:cubicBezTo>
                  <a:moveTo>
                    <a:pt x="399" y="476"/>
                  </a:moveTo>
                  <a:cubicBezTo>
                    <a:pt x="392" y="476"/>
                    <a:pt x="383" y="480"/>
                    <a:pt x="379" y="486"/>
                  </a:cubicBezTo>
                  <a:cubicBezTo>
                    <a:pt x="374" y="492"/>
                    <a:pt x="376" y="496"/>
                    <a:pt x="383" y="496"/>
                  </a:cubicBezTo>
                  <a:cubicBezTo>
                    <a:pt x="390" y="496"/>
                    <a:pt x="399" y="491"/>
                    <a:pt x="403" y="486"/>
                  </a:cubicBezTo>
                  <a:cubicBezTo>
                    <a:pt x="408" y="480"/>
                    <a:pt x="406" y="476"/>
                    <a:pt x="399" y="476"/>
                  </a:cubicBezTo>
                  <a:cubicBezTo>
                    <a:pt x="399" y="476"/>
                    <a:pt x="399" y="476"/>
                    <a:pt x="399" y="476"/>
                  </a:cubicBezTo>
                  <a:moveTo>
                    <a:pt x="434" y="476"/>
                  </a:moveTo>
                  <a:cubicBezTo>
                    <a:pt x="427" y="476"/>
                    <a:pt x="418" y="480"/>
                    <a:pt x="414" y="486"/>
                  </a:cubicBezTo>
                  <a:cubicBezTo>
                    <a:pt x="410" y="491"/>
                    <a:pt x="412" y="496"/>
                    <a:pt x="419" y="496"/>
                  </a:cubicBezTo>
                  <a:cubicBezTo>
                    <a:pt x="426" y="496"/>
                    <a:pt x="435" y="491"/>
                    <a:pt x="439" y="486"/>
                  </a:cubicBezTo>
                  <a:cubicBezTo>
                    <a:pt x="443" y="480"/>
                    <a:pt x="441" y="476"/>
                    <a:pt x="434" y="476"/>
                  </a:cubicBezTo>
                  <a:cubicBezTo>
                    <a:pt x="434" y="476"/>
                    <a:pt x="434" y="476"/>
                    <a:pt x="434" y="476"/>
                  </a:cubicBezTo>
                  <a:moveTo>
                    <a:pt x="470" y="475"/>
                  </a:moveTo>
                  <a:cubicBezTo>
                    <a:pt x="463" y="475"/>
                    <a:pt x="455" y="480"/>
                    <a:pt x="450" y="486"/>
                  </a:cubicBezTo>
                  <a:cubicBezTo>
                    <a:pt x="446" y="491"/>
                    <a:pt x="448" y="496"/>
                    <a:pt x="455" y="496"/>
                  </a:cubicBezTo>
                  <a:cubicBezTo>
                    <a:pt x="462" y="496"/>
                    <a:pt x="471" y="491"/>
                    <a:pt x="475" y="485"/>
                  </a:cubicBezTo>
                  <a:cubicBezTo>
                    <a:pt x="479" y="480"/>
                    <a:pt x="477" y="475"/>
                    <a:pt x="470" y="475"/>
                  </a:cubicBezTo>
                  <a:cubicBezTo>
                    <a:pt x="470" y="475"/>
                    <a:pt x="470" y="475"/>
                    <a:pt x="470" y="475"/>
                  </a:cubicBezTo>
                  <a:moveTo>
                    <a:pt x="505" y="475"/>
                  </a:moveTo>
                  <a:cubicBezTo>
                    <a:pt x="498" y="475"/>
                    <a:pt x="490" y="480"/>
                    <a:pt x="486" y="485"/>
                  </a:cubicBezTo>
                  <a:cubicBezTo>
                    <a:pt x="482" y="491"/>
                    <a:pt x="484" y="495"/>
                    <a:pt x="491" y="495"/>
                  </a:cubicBezTo>
                  <a:cubicBezTo>
                    <a:pt x="497" y="495"/>
                    <a:pt x="506" y="491"/>
                    <a:pt x="510" y="485"/>
                  </a:cubicBezTo>
                  <a:cubicBezTo>
                    <a:pt x="514" y="480"/>
                    <a:pt x="512" y="475"/>
                    <a:pt x="505" y="475"/>
                  </a:cubicBezTo>
                  <a:cubicBezTo>
                    <a:pt x="505" y="475"/>
                    <a:pt x="505" y="475"/>
                    <a:pt x="505" y="475"/>
                  </a:cubicBezTo>
                  <a:moveTo>
                    <a:pt x="541" y="475"/>
                  </a:moveTo>
                  <a:cubicBezTo>
                    <a:pt x="534" y="475"/>
                    <a:pt x="525" y="479"/>
                    <a:pt x="521" y="485"/>
                  </a:cubicBezTo>
                  <a:cubicBezTo>
                    <a:pt x="517" y="491"/>
                    <a:pt x="519" y="495"/>
                    <a:pt x="526" y="495"/>
                  </a:cubicBezTo>
                  <a:cubicBezTo>
                    <a:pt x="533" y="495"/>
                    <a:pt x="542" y="490"/>
                    <a:pt x="546" y="485"/>
                  </a:cubicBezTo>
                  <a:cubicBezTo>
                    <a:pt x="550" y="479"/>
                    <a:pt x="547" y="475"/>
                    <a:pt x="541" y="475"/>
                  </a:cubicBezTo>
                  <a:cubicBezTo>
                    <a:pt x="541" y="475"/>
                    <a:pt x="541" y="475"/>
                    <a:pt x="541" y="475"/>
                  </a:cubicBezTo>
                  <a:moveTo>
                    <a:pt x="576" y="475"/>
                  </a:moveTo>
                  <a:cubicBezTo>
                    <a:pt x="569" y="475"/>
                    <a:pt x="561" y="479"/>
                    <a:pt x="557" y="485"/>
                  </a:cubicBezTo>
                  <a:cubicBezTo>
                    <a:pt x="553" y="490"/>
                    <a:pt x="555" y="495"/>
                    <a:pt x="562" y="495"/>
                  </a:cubicBezTo>
                  <a:cubicBezTo>
                    <a:pt x="569" y="495"/>
                    <a:pt x="578" y="490"/>
                    <a:pt x="581" y="485"/>
                  </a:cubicBezTo>
                  <a:cubicBezTo>
                    <a:pt x="585" y="479"/>
                    <a:pt x="583" y="475"/>
                    <a:pt x="576" y="475"/>
                  </a:cubicBezTo>
                  <a:cubicBezTo>
                    <a:pt x="576" y="475"/>
                    <a:pt x="576" y="475"/>
                    <a:pt x="576" y="475"/>
                  </a:cubicBezTo>
                  <a:moveTo>
                    <a:pt x="611" y="474"/>
                  </a:moveTo>
                  <a:cubicBezTo>
                    <a:pt x="604" y="474"/>
                    <a:pt x="596" y="479"/>
                    <a:pt x="592" y="485"/>
                  </a:cubicBezTo>
                  <a:cubicBezTo>
                    <a:pt x="588" y="490"/>
                    <a:pt x="590" y="495"/>
                    <a:pt x="597" y="495"/>
                  </a:cubicBezTo>
                  <a:cubicBezTo>
                    <a:pt x="604" y="495"/>
                    <a:pt x="613" y="490"/>
                    <a:pt x="617" y="484"/>
                  </a:cubicBezTo>
                  <a:cubicBezTo>
                    <a:pt x="620" y="479"/>
                    <a:pt x="618" y="474"/>
                    <a:pt x="611" y="474"/>
                  </a:cubicBezTo>
                  <a:cubicBezTo>
                    <a:pt x="611" y="474"/>
                    <a:pt x="611" y="474"/>
                    <a:pt x="611" y="474"/>
                  </a:cubicBezTo>
                  <a:moveTo>
                    <a:pt x="646" y="474"/>
                  </a:moveTo>
                  <a:cubicBezTo>
                    <a:pt x="640" y="474"/>
                    <a:pt x="631" y="479"/>
                    <a:pt x="627" y="484"/>
                  </a:cubicBezTo>
                  <a:cubicBezTo>
                    <a:pt x="623" y="490"/>
                    <a:pt x="626" y="494"/>
                    <a:pt x="633" y="494"/>
                  </a:cubicBezTo>
                  <a:cubicBezTo>
                    <a:pt x="640" y="494"/>
                    <a:pt x="648" y="490"/>
                    <a:pt x="652" y="484"/>
                  </a:cubicBezTo>
                  <a:cubicBezTo>
                    <a:pt x="656" y="479"/>
                    <a:pt x="653" y="474"/>
                    <a:pt x="646" y="474"/>
                  </a:cubicBezTo>
                  <a:cubicBezTo>
                    <a:pt x="646" y="474"/>
                    <a:pt x="646" y="474"/>
                    <a:pt x="646" y="474"/>
                  </a:cubicBezTo>
                  <a:moveTo>
                    <a:pt x="681" y="474"/>
                  </a:moveTo>
                  <a:cubicBezTo>
                    <a:pt x="674" y="474"/>
                    <a:pt x="666" y="479"/>
                    <a:pt x="662" y="484"/>
                  </a:cubicBezTo>
                  <a:cubicBezTo>
                    <a:pt x="659" y="490"/>
                    <a:pt x="661" y="494"/>
                    <a:pt x="668" y="494"/>
                  </a:cubicBezTo>
                  <a:cubicBezTo>
                    <a:pt x="675" y="494"/>
                    <a:pt x="683" y="490"/>
                    <a:pt x="687" y="484"/>
                  </a:cubicBezTo>
                  <a:cubicBezTo>
                    <a:pt x="691" y="478"/>
                    <a:pt x="688" y="474"/>
                    <a:pt x="681" y="474"/>
                  </a:cubicBezTo>
                  <a:cubicBezTo>
                    <a:pt x="681" y="474"/>
                    <a:pt x="681" y="474"/>
                    <a:pt x="681" y="474"/>
                  </a:cubicBezTo>
                  <a:moveTo>
                    <a:pt x="717" y="474"/>
                  </a:moveTo>
                  <a:cubicBezTo>
                    <a:pt x="710" y="474"/>
                    <a:pt x="701" y="478"/>
                    <a:pt x="698" y="484"/>
                  </a:cubicBezTo>
                  <a:cubicBezTo>
                    <a:pt x="694" y="489"/>
                    <a:pt x="697" y="494"/>
                    <a:pt x="703" y="494"/>
                  </a:cubicBezTo>
                  <a:cubicBezTo>
                    <a:pt x="710" y="494"/>
                    <a:pt x="719" y="489"/>
                    <a:pt x="722" y="484"/>
                  </a:cubicBezTo>
                  <a:cubicBezTo>
                    <a:pt x="726" y="478"/>
                    <a:pt x="723" y="474"/>
                    <a:pt x="717" y="474"/>
                  </a:cubicBezTo>
                  <a:cubicBezTo>
                    <a:pt x="717" y="474"/>
                    <a:pt x="717" y="474"/>
                    <a:pt x="717" y="474"/>
                  </a:cubicBezTo>
                  <a:moveTo>
                    <a:pt x="752" y="473"/>
                  </a:moveTo>
                  <a:cubicBezTo>
                    <a:pt x="745" y="473"/>
                    <a:pt x="737" y="478"/>
                    <a:pt x="733" y="484"/>
                  </a:cubicBezTo>
                  <a:cubicBezTo>
                    <a:pt x="730" y="489"/>
                    <a:pt x="732" y="494"/>
                    <a:pt x="739" y="494"/>
                  </a:cubicBezTo>
                  <a:cubicBezTo>
                    <a:pt x="746" y="494"/>
                    <a:pt x="755" y="489"/>
                    <a:pt x="758" y="483"/>
                  </a:cubicBezTo>
                  <a:cubicBezTo>
                    <a:pt x="762" y="478"/>
                    <a:pt x="759" y="473"/>
                    <a:pt x="752" y="473"/>
                  </a:cubicBezTo>
                  <a:cubicBezTo>
                    <a:pt x="752" y="473"/>
                    <a:pt x="752" y="473"/>
                    <a:pt x="752" y="473"/>
                  </a:cubicBezTo>
                  <a:moveTo>
                    <a:pt x="787" y="473"/>
                  </a:moveTo>
                  <a:cubicBezTo>
                    <a:pt x="780" y="473"/>
                    <a:pt x="772" y="478"/>
                    <a:pt x="768" y="483"/>
                  </a:cubicBezTo>
                  <a:cubicBezTo>
                    <a:pt x="765" y="489"/>
                    <a:pt x="768" y="493"/>
                    <a:pt x="774" y="493"/>
                  </a:cubicBezTo>
                  <a:cubicBezTo>
                    <a:pt x="781" y="493"/>
                    <a:pt x="790" y="489"/>
                    <a:pt x="793" y="483"/>
                  </a:cubicBezTo>
                  <a:cubicBezTo>
                    <a:pt x="797" y="478"/>
                    <a:pt x="794" y="473"/>
                    <a:pt x="787" y="473"/>
                  </a:cubicBezTo>
                  <a:cubicBezTo>
                    <a:pt x="787" y="473"/>
                    <a:pt x="787" y="473"/>
                    <a:pt x="787" y="473"/>
                  </a:cubicBezTo>
                  <a:moveTo>
                    <a:pt x="820" y="473"/>
                  </a:moveTo>
                  <a:cubicBezTo>
                    <a:pt x="814" y="473"/>
                    <a:pt x="805" y="478"/>
                    <a:pt x="802" y="483"/>
                  </a:cubicBezTo>
                  <a:cubicBezTo>
                    <a:pt x="798" y="489"/>
                    <a:pt x="801" y="493"/>
                    <a:pt x="808" y="493"/>
                  </a:cubicBezTo>
                  <a:cubicBezTo>
                    <a:pt x="815" y="493"/>
                    <a:pt x="823" y="489"/>
                    <a:pt x="827" y="483"/>
                  </a:cubicBezTo>
                  <a:cubicBezTo>
                    <a:pt x="830" y="477"/>
                    <a:pt x="827" y="473"/>
                    <a:pt x="820" y="473"/>
                  </a:cubicBezTo>
                  <a:cubicBezTo>
                    <a:pt x="820" y="473"/>
                    <a:pt x="820" y="473"/>
                    <a:pt x="820" y="473"/>
                  </a:cubicBezTo>
                  <a:moveTo>
                    <a:pt x="856" y="473"/>
                  </a:moveTo>
                  <a:cubicBezTo>
                    <a:pt x="849" y="473"/>
                    <a:pt x="841" y="477"/>
                    <a:pt x="838" y="483"/>
                  </a:cubicBezTo>
                  <a:cubicBezTo>
                    <a:pt x="834" y="489"/>
                    <a:pt x="837" y="493"/>
                    <a:pt x="844" y="493"/>
                  </a:cubicBezTo>
                  <a:cubicBezTo>
                    <a:pt x="851" y="493"/>
                    <a:pt x="859" y="488"/>
                    <a:pt x="862" y="483"/>
                  </a:cubicBezTo>
                  <a:cubicBezTo>
                    <a:pt x="866" y="477"/>
                    <a:pt x="863" y="473"/>
                    <a:pt x="856" y="473"/>
                  </a:cubicBezTo>
                  <a:cubicBezTo>
                    <a:pt x="856" y="473"/>
                    <a:pt x="856" y="473"/>
                    <a:pt x="856" y="473"/>
                  </a:cubicBezTo>
                  <a:moveTo>
                    <a:pt x="891" y="472"/>
                  </a:moveTo>
                  <a:cubicBezTo>
                    <a:pt x="884" y="473"/>
                    <a:pt x="876" y="477"/>
                    <a:pt x="873" y="483"/>
                  </a:cubicBezTo>
                  <a:cubicBezTo>
                    <a:pt x="869" y="488"/>
                    <a:pt x="872" y="493"/>
                    <a:pt x="879" y="493"/>
                  </a:cubicBezTo>
                  <a:cubicBezTo>
                    <a:pt x="886" y="493"/>
                    <a:pt x="894" y="488"/>
                    <a:pt x="897" y="483"/>
                  </a:cubicBezTo>
                  <a:cubicBezTo>
                    <a:pt x="901" y="477"/>
                    <a:pt x="898" y="472"/>
                    <a:pt x="891" y="472"/>
                  </a:cubicBezTo>
                  <a:cubicBezTo>
                    <a:pt x="891" y="472"/>
                    <a:pt x="891" y="472"/>
                    <a:pt x="891" y="472"/>
                  </a:cubicBezTo>
                  <a:moveTo>
                    <a:pt x="926" y="472"/>
                  </a:moveTo>
                  <a:cubicBezTo>
                    <a:pt x="919" y="472"/>
                    <a:pt x="911" y="477"/>
                    <a:pt x="908" y="482"/>
                  </a:cubicBezTo>
                  <a:cubicBezTo>
                    <a:pt x="905" y="488"/>
                    <a:pt x="908" y="493"/>
                    <a:pt x="914" y="493"/>
                  </a:cubicBezTo>
                  <a:cubicBezTo>
                    <a:pt x="921" y="492"/>
                    <a:pt x="929" y="488"/>
                    <a:pt x="933" y="482"/>
                  </a:cubicBezTo>
                  <a:cubicBezTo>
                    <a:pt x="936" y="477"/>
                    <a:pt x="933" y="472"/>
                    <a:pt x="926" y="472"/>
                  </a:cubicBezTo>
                  <a:cubicBezTo>
                    <a:pt x="926" y="472"/>
                    <a:pt x="926" y="472"/>
                    <a:pt x="926" y="472"/>
                  </a:cubicBezTo>
                  <a:moveTo>
                    <a:pt x="961" y="472"/>
                  </a:moveTo>
                  <a:cubicBezTo>
                    <a:pt x="954" y="472"/>
                    <a:pt x="946" y="477"/>
                    <a:pt x="943" y="482"/>
                  </a:cubicBezTo>
                  <a:cubicBezTo>
                    <a:pt x="940" y="488"/>
                    <a:pt x="943" y="492"/>
                    <a:pt x="950" y="492"/>
                  </a:cubicBezTo>
                  <a:cubicBezTo>
                    <a:pt x="957" y="492"/>
                    <a:pt x="965" y="488"/>
                    <a:pt x="968" y="482"/>
                  </a:cubicBezTo>
                  <a:cubicBezTo>
                    <a:pt x="971" y="476"/>
                    <a:pt x="968" y="472"/>
                    <a:pt x="961" y="472"/>
                  </a:cubicBezTo>
                  <a:cubicBezTo>
                    <a:pt x="961" y="472"/>
                    <a:pt x="961" y="472"/>
                    <a:pt x="961" y="472"/>
                  </a:cubicBezTo>
                  <a:moveTo>
                    <a:pt x="996" y="472"/>
                  </a:moveTo>
                  <a:cubicBezTo>
                    <a:pt x="989" y="472"/>
                    <a:pt x="981" y="476"/>
                    <a:pt x="978" y="482"/>
                  </a:cubicBezTo>
                  <a:cubicBezTo>
                    <a:pt x="975" y="488"/>
                    <a:pt x="978" y="492"/>
                    <a:pt x="985" y="492"/>
                  </a:cubicBezTo>
                  <a:cubicBezTo>
                    <a:pt x="992" y="492"/>
                    <a:pt x="1000" y="487"/>
                    <a:pt x="1003" y="482"/>
                  </a:cubicBezTo>
                  <a:cubicBezTo>
                    <a:pt x="1006" y="476"/>
                    <a:pt x="1003" y="472"/>
                    <a:pt x="996" y="472"/>
                  </a:cubicBezTo>
                  <a:cubicBezTo>
                    <a:pt x="996" y="472"/>
                    <a:pt x="996" y="472"/>
                    <a:pt x="996" y="472"/>
                  </a:cubicBezTo>
                  <a:moveTo>
                    <a:pt x="1032" y="471"/>
                  </a:moveTo>
                  <a:cubicBezTo>
                    <a:pt x="1025" y="472"/>
                    <a:pt x="1017" y="476"/>
                    <a:pt x="1014" y="482"/>
                  </a:cubicBezTo>
                  <a:cubicBezTo>
                    <a:pt x="1011" y="487"/>
                    <a:pt x="1014" y="492"/>
                    <a:pt x="1021" y="492"/>
                  </a:cubicBezTo>
                  <a:cubicBezTo>
                    <a:pt x="1028" y="492"/>
                    <a:pt x="1036" y="487"/>
                    <a:pt x="1039" y="482"/>
                  </a:cubicBezTo>
                  <a:cubicBezTo>
                    <a:pt x="1042" y="476"/>
                    <a:pt x="1039" y="471"/>
                    <a:pt x="1032" y="471"/>
                  </a:cubicBezTo>
                  <a:cubicBezTo>
                    <a:pt x="1032" y="471"/>
                    <a:pt x="1032" y="471"/>
                    <a:pt x="1032" y="471"/>
                  </a:cubicBezTo>
                  <a:moveTo>
                    <a:pt x="1067" y="471"/>
                  </a:moveTo>
                  <a:cubicBezTo>
                    <a:pt x="1060" y="471"/>
                    <a:pt x="1052" y="476"/>
                    <a:pt x="1049" y="482"/>
                  </a:cubicBezTo>
                  <a:cubicBezTo>
                    <a:pt x="1046" y="487"/>
                    <a:pt x="1049" y="492"/>
                    <a:pt x="1056" y="492"/>
                  </a:cubicBezTo>
                  <a:cubicBezTo>
                    <a:pt x="1063" y="492"/>
                    <a:pt x="1071" y="487"/>
                    <a:pt x="1074" y="481"/>
                  </a:cubicBezTo>
                  <a:cubicBezTo>
                    <a:pt x="1077" y="476"/>
                    <a:pt x="1074" y="471"/>
                    <a:pt x="1067" y="471"/>
                  </a:cubicBezTo>
                  <a:cubicBezTo>
                    <a:pt x="1067" y="471"/>
                    <a:pt x="1067" y="471"/>
                    <a:pt x="1067" y="471"/>
                  </a:cubicBezTo>
                  <a:moveTo>
                    <a:pt x="1101" y="471"/>
                  </a:moveTo>
                  <a:cubicBezTo>
                    <a:pt x="1094" y="471"/>
                    <a:pt x="1087" y="476"/>
                    <a:pt x="1084" y="481"/>
                  </a:cubicBezTo>
                  <a:cubicBezTo>
                    <a:pt x="1081" y="487"/>
                    <a:pt x="1084" y="491"/>
                    <a:pt x="1091" y="491"/>
                  </a:cubicBezTo>
                  <a:cubicBezTo>
                    <a:pt x="1098" y="491"/>
                    <a:pt x="1106" y="487"/>
                    <a:pt x="1108" y="481"/>
                  </a:cubicBezTo>
                  <a:cubicBezTo>
                    <a:pt x="1111" y="476"/>
                    <a:pt x="1108" y="471"/>
                    <a:pt x="1101" y="471"/>
                  </a:cubicBezTo>
                  <a:cubicBezTo>
                    <a:pt x="1101" y="471"/>
                    <a:pt x="1101" y="471"/>
                    <a:pt x="1101" y="471"/>
                  </a:cubicBezTo>
                  <a:moveTo>
                    <a:pt x="1137" y="471"/>
                  </a:moveTo>
                  <a:cubicBezTo>
                    <a:pt x="1130" y="471"/>
                    <a:pt x="1122" y="475"/>
                    <a:pt x="1119" y="481"/>
                  </a:cubicBezTo>
                  <a:cubicBezTo>
                    <a:pt x="1117" y="487"/>
                    <a:pt x="1120" y="491"/>
                    <a:pt x="1127" y="491"/>
                  </a:cubicBezTo>
                  <a:cubicBezTo>
                    <a:pt x="1134" y="491"/>
                    <a:pt x="1141" y="486"/>
                    <a:pt x="1144" y="481"/>
                  </a:cubicBezTo>
                  <a:cubicBezTo>
                    <a:pt x="1147" y="475"/>
                    <a:pt x="1144" y="471"/>
                    <a:pt x="1137" y="471"/>
                  </a:cubicBezTo>
                  <a:cubicBezTo>
                    <a:pt x="1137" y="471"/>
                    <a:pt x="1137" y="471"/>
                    <a:pt x="1137" y="471"/>
                  </a:cubicBezTo>
                  <a:moveTo>
                    <a:pt x="2049" y="465"/>
                  </a:moveTo>
                  <a:cubicBezTo>
                    <a:pt x="2042" y="465"/>
                    <a:pt x="2036" y="470"/>
                    <a:pt x="2035" y="476"/>
                  </a:cubicBezTo>
                  <a:cubicBezTo>
                    <a:pt x="2034" y="481"/>
                    <a:pt x="2039" y="486"/>
                    <a:pt x="2046" y="486"/>
                  </a:cubicBezTo>
                  <a:cubicBezTo>
                    <a:pt x="2052" y="486"/>
                    <a:pt x="2059" y="481"/>
                    <a:pt x="2060" y="475"/>
                  </a:cubicBezTo>
                  <a:cubicBezTo>
                    <a:pt x="2060" y="470"/>
                    <a:pt x="2056" y="465"/>
                    <a:pt x="2049" y="465"/>
                  </a:cubicBezTo>
                  <a:cubicBezTo>
                    <a:pt x="2049" y="465"/>
                    <a:pt x="2049" y="465"/>
                    <a:pt x="2049" y="465"/>
                  </a:cubicBezTo>
                  <a:moveTo>
                    <a:pt x="2084" y="465"/>
                  </a:moveTo>
                  <a:cubicBezTo>
                    <a:pt x="2078" y="465"/>
                    <a:pt x="2071" y="470"/>
                    <a:pt x="2070" y="475"/>
                  </a:cubicBezTo>
                  <a:cubicBezTo>
                    <a:pt x="2070" y="481"/>
                    <a:pt x="2074" y="485"/>
                    <a:pt x="2081" y="485"/>
                  </a:cubicBezTo>
                  <a:cubicBezTo>
                    <a:pt x="2088" y="485"/>
                    <a:pt x="2094" y="481"/>
                    <a:pt x="2095" y="475"/>
                  </a:cubicBezTo>
                  <a:cubicBezTo>
                    <a:pt x="2096" y="470"/>
                    <a:pt x="2091" y="465"/>
                    <a:pt x="2084" y="465"/>
                  </a:cubicBezTo>
                  <a:cubicBezTo>
                    <a:pt x="2084" y="465"/>
                    <a:pt x="2084" y="465"/>
                    <a:pt x="2084" y="465"/>
                  </a:cubicBezTo>
                  <a:moveTo>
                    <a:pt x="2118" y="465"/>
                  </a:moveTo>
                  <a:cubicBezTo>
                    <a:pt x="2111" y="465"/>
                    <a:pt x="2105" y="469"/>
                    <a:pt x="2104" y="475"/>
                  </a:cubicBezTo>
                  <a:cubicBezTo>
                    <a:pt x="2103" y="481"/>
                    <a:pt x="2108" y="485"/>
                    <a:pt x="2115" y="485"/>
                  </a:cubicBezTo>
                  <a:cubicBezTo>
                    <a:pt x="2122" y="485"/>
                    <a:pt x="2128" y="481"/>
                    <a:pt x="2129" y="475"/>
                  </a:cubicBezTo>
                  <a:cubicBezTo>
                    <a:pt x="2129" y="469"/>
                    <a:pt x="2125" y="465"/>
                    <a:pt x="2118" y="465"/>
                  </a:cubicBezTo>
                  <a:cubicBezTo>
                    <a:pt x="2118" y="465"/>
                    <a:pt x="2118" y="465"/>
                    <a:pt x="2118" y="465"/>
                  </a:cubicBezTo>
                  <a:moveTo>
                    <a:pt x="2153" y="465"/>
                  </a:moveTo>
                  <a:cubicBezTo>
                    <a:pt x="2146" y="465"/>
                    <a:pt x="2140" y="469"/>
                    <a:pt x="2140" y="475"/>
                  </a:cubicBezTo>
                  <a:cubicBezTo>
                    <a:pt x="2139" y="480"/>
                    <a:pt x="2144" y="485"/>
                    <a:pt x="2151" y="485"/>
                  </a:cubicBezTo>
                  <a:cubicBezTo>
                    <a:pt x="2158" y="485"/>
                    <a:pt x="2164" y="480"/>
                    <a:pt x="2164" y="475"/>
                  </a:cubicBezTo>
                  <a:cubicBezTo>
                    <a:pt x="2165" y="469"/>
                    <a:pt x="2160" y="465"/>
                    <a:pt x="2153" y="465"/>
                  </a:cubicBezTo>
                  <a:cubicBezTo>
                    <a:pt x="2153" y="465"/>
                    <a:pt x="2153" y="465"/>
                    <a:pt x="2153" y="465"/>
                  </a:cubicBezTo>
                  <a:moveTo>
                    <a:pt x="2190" y="463"/>
                  </a:moveTo>
                  <a:cubicBezTo>
                    <a:pt x="2184" y="463"/>
                    <a:pt x="2178" y="468"/>
                    <a:pt x="2177" y="474"/>
                  </a:cubicBezTo>
                  <a:cubicBezTo>
                    <a:pt x="2176" y="479"/>
                    <a:pt x="2181" y="484"/>
                    <a:pt x="2188" y="484"/>
                  </a:cubicBezTo>
                  <a:cubicBezTo>
                    <a:pt x="2195" y="484"/>
                    <a:pt x="2201" y="479"/>
                    <a:pt x="2202" y="474"/>
                  </a:cubicBezTo>
                  <a:cubicBezTo>
                    <a:pt x="2202" y="468"/>
                    <a:pt x="2197" y="463"/>
                    <a:pt x="2190" y="463"/>
                  </a:cubicBezTo>
                  <a:cubicBezTo>
                    <a:pt x="2190" y="463"/>
                    <a:pt x="2190" y="463"/>
                    <a:pt x="2190" y="463"/>
                  </a:cubicBezTo>
                  <a:moveTo>
                    <a:pt x="2226" y="463"/>
                  </a:moveTo>
                  <a:cubicBezTo>
                    <a:pt x="2219" y="463"/>
                    <a:pt x="2214" y="468"/>
                    <a:pt x="2213" y="473"/>
                  </a:cubicBezTo>
                  <a:cubicBezTo>
                    <a:pt x="2212" y="479"/>
                    <a:pt x="2217" y="484"/>
                    <a:pt x="2224" y="484"/>
                  </a:cubicBezTo>
                  <a:cubicBezTo>
                    <a:pt x="2231" y="484"/>
                    <a:pt x="2237" y="479"/>
                    <a:pt x="2238" y="473"/>
                  </a:cubicBezTo>
                  <a:cubicBezTo>
                    <a:pt x="2238" y="468"/>
                    <a:pt x="2233" y="463"/>
                    <a:pt x="2226" y="463"/>
                  </a:cubicBezTo>
                  <a:cubicBezTo>
                    <a:pt x="2226" y="463"/>
                    <a:pt x="2226" y="463"/>
                    <a:pt x="2226" y="463"/>
                  </a:cubicBezTo>
                  <a:moveTo>
                    <a:pt x="2261" y="463"/>
                  </a:moveTo>
                  <a:cubicBezTo>
                    <a:pt x="2254" y="463"/>
                    <a:pt x="2248" y="468"/>
                    <a:pt x="2248" y="473"/>
                  </a:cubicBezTo>
                  <a:cubicBezTo>
                    <a:pt x="2247" y="479"/>
                    <a:pt x="2253" y="483"/>
                    <a:pt x="2259" y="483"/>
                  </a:cubicBezTo>
                  <a:cubicBezTo>
                    <a:pt x="2266" y="483"/>
                    <a:pt x="2272" y="479"/>
                    <a:pt x="2273" y="473"/>
                  </a:cubicBezTo>
                  <a:cubicBezTo>
                    <a:pt x="2273" y="467"/>
                    <a:pt x="2268" y="463"/>
                    <a:pt x="2261" y="463"/>
                  </a:cubicBezTo>
                  <a:cubicBezTo>
                    <a:pt x="2261" y="463"/>
                    <a:pt x="2261" y="463"/>
                    <a:pt x="2261" y="463"/>
                  </a:cubicBezTo>
                  <a:moveTo>
                    <a:pt x="2296" y="463"/>
                  </a:moveTo>
                  <a:cubicBezTo>
                    <a:pt x="2289" y="463"/>
                    <a:pt x="2283" y="467"/>
                    <a:pt x="2283" y="473"/>
                  </a:cubicBezTo>
                  <a:cubicBezTo>
                    <a:pt x="2282" y="479"/>
                    <a:pt x="2287" y="483"/>
                    <a:pt x="2294" y="483"/>
                  </a:cubicBezTo>
                  <a:cubicBezTo>
                    <a:pt x="2301" y="483"/>
                    <a:pt x="2307" y="478"/>
                    <a:pt x="2307" y="473"/>
                  </a:cubicBezTo>
                  <a:cubicBezTo>
                    <a:pt x="2308" y="467"/>
                    <a:pt x="2303" y="463"/>
                    <a:pt x="2296" y="463"/>
                  </a:cubicBezTo>
                  <a:cubicBezTo>
                    <a:pt x="2296" y="463"/>
                    <a:pt x="2296" y="463"/>
                    <a:pt x="2296" y="463"/>
                  </a:cubicBezTo>
                  <a:moveTo>
                    <a:pt x="2331" y="462"/>
                  </a:moveTo>
                  <a:cubicBezTo>
                    <a:pt x="2324" y="462"/>
                    <a:pt x="2318" y="467"/>
                    <a:pt x="2318" y="473"/>
                  </a:cubicBezTo>
                  <a:cubicBezTo>
                    <a:pt x="2317" y="478"/>
                    <a:pt x="2322" y="483"/>
                    <a:pt x="2329" y="483"/>
                  </a:cubicBezTo>
                  <a:cubicBezTo>
                    <a:pt x="2336" y="483"/>
                    <a:pt x="2342" y="478"/>
                    <a:pt x="2342" y="473"/>
                  </a:cubicBezTo>
                  <a:cubicBezTo>
                    <a:pt x="2343" y="467"/>
                    <a:pt x="2337" y="462"/>
                    <a:pt x="2331" y="462"/>
                  </a:cubicBezTo>
                  <a:cubicBezTo>
                    <a:pt x="2331" y="462"/>
                    <a:pt x="2331" y="462"/>
                    <a:pt x="2331" y="462"/>
                  </a:cubicBezTo>
                  <a:moveTo>
                    <a:pt x="2366" y="462"/>
                  </a:moveTo>
                  <a:cubicBezTo>
                    <a:pt x="2359" y="462"/>
                    <a:pt x="2353" y="467"/>
                    <a:pt x="2353" y="472"/>
                  </a:cubicBezTo>
                  <a:cubicBezTo>
                    <a:pt x="2353" y="478"/>
                    <a:pt x="2358" y="483"/>
                    <a:pt x="2365" y="483"/>
                  </a:cubicBezTo>
                  <a:cubicBezTo>
                    <a:pt x="2371" y="483"/>
                    <a:pt x="2377" y="478"/>
                    <a:pt x="2377" y="472"/>
                  </a:cubicBezTo>
                  <a:cubicBezTo>
                    <a:pt x="2378" y="467"/>
                    <a:pt x="2372" y="462"/>
                    <a:pt x="2366" y="462"/>
                  </a:cubicBezTo>
                  <a:cubicBezTo>
                    <a:pt x="2366" y="462"/>
                    <a:pt x="2366" y="462"/>
                    <a:pt x="2366" y="462"/>
                  </a:cubicBezTo>
                  <a:moveTo>
                    <a:pt x="2401" y="462"/>
                  </a:moveTo>
                  <a:cubicBezTo>
                    <a:pt x="2394" y="462"/>
                    <a:pt x="2389" y="467"/>
                    <a:pt x="2388" y="472"/>
                  </a:cubicBezTo>
                  <a:cubicBezTo>
                    <a:pt x="2388" y="478"/>
                    <a:pt x="2394" y="482"/>
                    <a:pt x="2400" y="482"/>
                  </a:cubicBezTo>
                  <a:cubicBezTo>
                    <a:pt x="2407" y="482"/>
                    <a:pt x="2413" y="478"/>
                    <a:pt x="2413" y="472"/>
                  </a:cubicBezTo>
                  <a:cubicBezTo>
                    <a:pt x="2413" y="466"/>
                    <a:pt x="2408" y="462"/>
                    <a:pt x="2401" y="462"/>
                  </a:cubicBezTo>
                  <a:cubicBezTo>
                    <a:pt x="2401" y="462"/>
                    <a:pt x="2401" y="462"/>
                    <a:pt x="2401" y="462"/>
                  </a:cubicBezTo>
                  <a:moveTo>
                    <a:pt x="2436" y="462"/>
                  </a:moveTo>
                  <a:cubicBezTo>
                    <a:pt x="2429" y="462"/>
                    <a:pt x="2424" y="466"/>
                    <a:pt x="2423" y="472"/>
                  </a:cubicBezTo>
                  <a:cubicBezTo>
                    <a:pt x="2423" y="478"/>
                    <a:pt x="2429" y="482"/>
                    <a:pt x="2435" y="482"/>
                  </a:cubicBezTo>
                  <a:cubicBezTo>
                    <a:pt x="2442" y="482"/>
                    <a:pt x="2448" y="477"/>
                    <a:pt x="2448" y="472"/>
                  </a:cubicBezTo>
                  <a:cubicBezTo>
                    <a:pt x="2448" y="466"/>
                    <a:pt x="2443" y="462"/>
                    <a:pt x="2436" y="462"/>
                  </a:cubicBezTo>
                  <a:cubicBezTo>
                    <a:pt x="2436" y="462"/>
                    <a:pt x="2436" y="462"/>
                    <a:pt x="2436" y="462"/>
                  </a:cubicBezTo>
                  <a:moveTo>
                    <a:pt x="2471" y="461"/>
                  </a:moveTo>
                  <a:cubicBezTo>
                    <a:pt x="2464" y="462"/>
                    <a:pt x="2459" y="466"/>
                    <a:pt x="2459" y="472"/>
                  </a:cubicBezTo>
                  <a:cubicBezTo>
                    <a:pt x="2458" y="477"/>
                    <a:pt x="2464" y="482"/>
                    <a:pt x="2471" y="482"/>
                  </a:cubicBezTo>
                  <a:cubicBezTo>
                    <a:pt x="2478" y="482"/>
                    <a:pt x="2483" y="477"/>
                    <a:pt x="2483" y="472"/>
                  </a:cubicBezTo>
                  <a:cubicBezTo>
                    <a:pt x="2483" y="466"/>
                    <a:pt x="2478" y="461"/>
                    <a:pt x="2471" y="461"/>
                  </a:cubicBezTo>
                  <a:cubicBezTo>
                    <a:pt x="2471" y="461"/>
                    <a:pt x="2471" y="461"/>
                    <a:pt x="2471" y="461"/>
                  </a:cubicBezTo>
                  <a:moveTo>
                    <a:pt x="2541" y="461"/>
                  </a:moveTo>
                  <a:cubicBezTo>
                    <a:pt x="2534" y="461"/>
                    <a:pt x="2529" y="466"/>
                    <a:pt x="2529" y="471"/>
                  </a:cubicBezTo>
                  <a:cubicBezTo>
                    <a:pt x="2529" y="477"/>
                    <a:pt x="2534" y="481"/>
                    <a:pt x="2541" y="481"/>
                  </a:cubicBezTo>
                  <a:cubicBezTo>
                    <a:pt x="2548" y="481"/>
                    <a:pt x="2553" y="477"/>
                    <a:pt x="2553" y="471"/>
                  </a:cubicBezTo>
                  <a:cubicBezTo>
                    <a:pt x="2553" y="466"/>
                    <a:pt x="2548" y="461"/>
                    <a:pt x="2541" y="461"/>
                  </a:cubicBezTo>
                  <a:cubicBezTo>
                    <a:pt x="2541" y="461"/>
                    <a:pt x="2541" y="461"/>
                    <a:pt x="2541" y="461"/>
                  </a:cubicBezTo>
                  <a:moveTo>
                    <a:pt x="2612" y="461"/>
                  </a:moveTo>
                  <a:cubicBezTo>
                    <a:pt x="2605" y="461"/>
                    <a:pt x="2600" y="466"/>
                    <a:pt x="2600" y="471"/>
                  </a:cubicBezTo>
                  <a:cubicBezTo>
                    <a:pt x="2600" y="477"/>
                    <a:pt x="2606" y="482"/>
                    <a:pt x="2613" y="481"/>
                  </a:cubicBezTo>
                  <a:cubicBezTo>
                    <a:pt x="2620" y="481"/>
                    <a:pt x="2625" y="477"/>
                    <a:pt x="2625" y="471"/>
                  </a:cubicBezTo>
                  <a:cubicBezTo>
                    <a:pt x="2625" y="466"/>
                    <a:pt x="2619" y="461"/>
                    <a:pt x="2612" y="461"/>
                  </a:cubicBezTo>
                  <a:cubicBezTo>
                    <a:pt x="2612" y="461"/>
                    <a:pt x="2612" y="461"/>
                    <a:pt x="2612" y="461"/>
                  </a:cubicBezTo>
                  <a:moveTo>
                    <a:pt x="2647" y="461"/>
                  </a:moveTo>
                  <a:cubicBezTo>
                    <a:pt x="2640" y="461"/>
                    <a:pt x="2635" y="465"/>
                    <a:pt x="2635" y="471"/>
                  </a:cubicBezTo>
                  <a:cubicBezTo>
                    <a:pt x="2635" y="477"/>
                    <a:pt x="2641" y="481"/>
                    <a:pt x="2648" y="481"/>
                  </a:cubicBezTo>
                  <a:cubicBezTo>
                    <a:pt x="2655" y="481"/>
                    <a:pt x="2660" y="477"/>
                    <a:pt x="2660" y="471"/>
                  </a:cubicBezTo>
                  <a:cubicBezTo>
                    <a:pt x="2659" y="465"/>
                    <a:pt x="2654" y="461"/>
                    <a:pt x="2647" y="461"/>
                  </a:cubicBezTo>
                  <a:cubicBezTo>
                    <a:pt x="2647" y="461"/>
                    <a:pt x="2647" y="461"/>
                    <a:pt x="2647" y="461"/>
                  </a:cubicBezTo>
                  <a:moveTo>
                    <a:pt x="2681" y="461"/>
                  </a:moveTo>
                  <a:cubicBezTo>
                    <a:pt x="2675" y="461"/>
                    <a:pt x="2669" y="465"/>
                    <a:pt x="2670" y="471"/>
                  </a:cubicBezTo>
                  <a:cubicBezTo>
                    <a:pt x="2670" y="476"/>
                    <a:pt x="2676" y="481"/>
                    <a:pt x="2683" y="481"/>
                  </a:cubicBezTo>
                  <a:cubicBezTo>
                    <a:pt x="2690" y="481"/>
                    <a:pt x="2695" y="476"/>
                    <a:pt x="2694" y="471"/>
                  </a:cubicBezTo>
                  <a:cubicBezTo>
                    <a:pt x="2694" y="465"/>
                    <a:pt x="2688" y="461"/>
                    <a:pt x="2682" y="461"/>
                  </a:cubicBezTo>
                  <a:cubicBezTo>
                    <a:pt x="2681" y="461"/>
                    <a:pt x="2681" y="461"/>
                    <a:pt x="2681" y="461"/>
                  </a:cubicBezTo>
                  <a:moveTo>
                    <a:pt x="2716" y="460"/>
                  </a:moveTo>
                  <a:cubicBezTo>
                    <a:pt x="2709" y="460"/>
                    <a:pt x="2704" y="465"/>
                    <a:pt x="2705" y="471"/>
                  </a:cubicBezTo>
                  <a:cubicBezTo>
                    <a:pt x="2705" y="476"/>
                    <a:pt x="2711" y="481"/>
                    <a:pt x="2718" y="481"/>
                  </a:cubicBezTo>
                  <a:cubicBezTo>
                    <a:pt x="2725" y="481"/>
                    <a:pt x="2730" y="476"/>
                    <a:pt x="2729" y="470"/>
                  </a:cubicBezTo>
                  <a:cubicBezTo>
                    <a:pt x="2729" y="465"/>
                    <a:pt x="2723" y="460"/>
                    <a:pt x="2716" y="460"/>
                  </a:cubicBezTo>
                  <a:cubicBezTo>
                    <a:pt x="2716" y="460"/>
                    <a:pt x="2716" y="460"/>
                    <a:pt x="2716" y="460"/>
                  </a:cubicBezTo>
                  <a:moveTo>
                    <a:pt x="2751" y="460"/>
                  </a:moveTo>
                  <a:cubicBezTo>
                    <a:pt x="2745" y="460"/>
                    <a:pt x="2740" y="465"/>
                    <a:pt x="2740" y="470"/>
                  </a:cubicBezTo>
                  <a:cubicBezTo>
                    <a:pt x="2740" y="476"/>
                    <a:pt x="2746" y="481"/>
                    <a:pt x="2753" y="481"/>
                  </a:cubicBezTo>
                  <a:cubicBezTo>
                    <a:pt x="2760" y="480"/>
                    <a:pt x="2765" y="476"/>
                    <a:pt x="2765" y="470"/>
                  </a:cubicBezTo>
                  <a:cubicBezTo>
                    <a:pt x="2764" y="465"/>
                    <a:pt x="2758" y="460"/>
                    <a:pt x="2751" y="460"/>
                  </a:cubicBezTo>
                  <a:cubicBezTo>
                    <a:pt x="2751" y="460"/>
                    <a:pt x="2751" y="460"/>
                    <a:pt x="2751" y="460"/>
                  </a:cubicBezTo>
                  <a:moveTo>
                    <a:pt x="2786" y="459"/>
                  </a:moveTo>
                  <a:cubicBezTo>
                    <a:pt x="2779" y="459"/>
                    <a:pt x="2774" y="464"/>
                    <a:pt x="2775" y="469"/>
                  </a:cubicBezTo>
                  <a:cubicBezTo>
                    <a:pt x="2776" y="475"/>
                    <a:pt x="2782" y="480"/>
                    <a:pt x="2788" y="480"/>
                  </a:cubicBezTo>
                  <a:cubicBezTo>
                    <a:pt x="2795" y="479"/>
                    <a:pt x="2800" y="475"/>
                    <a:pt x="2800" y="469"/>
                  </a:cubicBezTo>
                  <a:cubicBezTo>
                    <a:pt x="2799" y="464"/>
                    <a:pt x="2793" y="459"/>
                    <a:pt x="2786" y="459"/>
                  </a:cubicBezTo>
                  <a:cubicBezTo>
                    <a:pt x="2786" y="459"/>
                    <a:pt x="2786" y="459"/>
                    <a:pt x="2786" y="459"/>
                  </a:cubicBezTo>
                  <a:moveTo>
                    <a:pt x="2819" y="459"/>
                  </a:moveTo>
                  <a:cubicBezTo>
                    <a:pt x="2812" y="459"/>
                    <a:pt x="2807" y="463"/>
                    <a:pt x="2808" y="469"/>
                  </a:cubicBezTo>
                  <a:cubicBezTo>
                    <a:pt x="2809" y="475"/>
                    <a:pt x="2815" y="479"/>
                    <a:pt x="2822" y="479"/>
                  </a:cubicBezTo>
                  <a:cubicBezTo>
                    <a:pt x="2828" y="479"/>
                    <a:pt x="2833" y="475"/>
                    <a:pt x="2833" y="469"/>
                  </a:cubicBezTo>
                  <a:cubicBezTo>
                    <a:pt x="2832" y="463"/>
                    <a:pt x="2826" y="459"/>
                    <a:pt x="2819" y="459"/>
                  </a:cubicBezTo>
                  <a:cubicBezTo>
                    <a:pt x="2819" y="459"/>
                    <a:pt x="2819" y="459"/>
                    <a:pt x="2819" y="459"/>
                  </a:cubicBezTo>
                  <a:moveTo>
                    <a:pt x="2854" y="459"/>
                  </a:moveTo>
                  <a:cubicBezTo>
                    <a:pt x="2847" y="459"/>
                    <a:pt x="2842" y="463"/>
                    <a:pt x="2843" y="469"/>
                  </a:cubicBezTo>
                  <a:cubicBezTo>
                    <a:pt x="2844" y="475"/>
                    <a:pt x="2850" y="479"/>
                    <a:pt x="2857" y="479"/>
                  </a:cubicBezTo>
                  <a:cubicBezTo>
                    <a:pt x="2863" y="479"/>
                    <a:pt x="2868" y="474"/>
                    <a:pt x="2868" y="469"/>
                  </a:cubicBezTo>
                  <a:cubicBezTo>
                    <a:pt x="2867" y="463"/>
                    <a:pt x="2861" y="459"/>
                    <a:pt x="2854" y="459"/>
                  </a:cubicBezTo>
                  <a:cubicBezTo>
                    <a:pt x="2854" y="459"/>
                    <a:pt x="2854" y="459"/>
                    <a:pt x="2854" y="459"/>
                  </a:cubicBezTo>
                  <a:moveTo>
                    <a:pt x="2889" y="458"/>
                  </a:moveTo>
                  <a:cubicBezTo>
                    <a:pt x="2882" y="458"/>
                    <a:pt x="2877" y="463"/>
                    <a:pt x="2878" y="469"/>
                  </a:cubicBezTo>
                  <a:cubicBezTo>
                    <a:pt x="2879" y="474"/>
                    <a:pt x="2885" y="479"/>
                    <a:pt x="2892" y="479"/>
                  </a:cubicBezTo>
                  <a:cubicBezTo>
                    <a:pt x="2899" y="479"/>
                    <a:pt x="2904" y="474"/>
                    <a:pt x="2903" y="469"/>
                  </a:cubicBezTo>
                  <a:cubicBezTo>
                    <a:pt x="2902" y="463"/>
                    <a:pt x="2896" y="458"/>
                    <a:pt x="2889" y="458"/>
                  </a:cubicBezTo>
                  <a:cubicBezTo>
                    <a:pt x="2889" y="458"/>
                    <a:pt x="2889" y="458"/>
                    <a:pt x="2889" y="458"/>
                  </a:cubicBezTo>
                  <a:moveTo>
                    <a:pt x="2924" y="458"/>
                  </a:moveTo>
                  <a:cubicBezTo>
                    <a:pt x="2918" y="458"/>
                    <a:pt x="2913" y="463"/>
                    <a:pt x="2914" y="468"/>
                  </a:cubicBezTo>
                  <a:cubicBezTo>
                    <a:pt x="2915" y="474"/>
                    <a:pt x="2921" y="479"/>
                    <a:pt x="2928" y="479"/>
                  </a:cubicBezTo>
                  <a:cubicBezTo>
                    <a:pt x="2934" y="479"/>
                    <a:pt x="2939" y="474"/>
                    <a:pt x="2938" y="468"/>
                  </a:cubicBezTo>
                  <a:cubicBezTo>
                    <a:pt x="2937" y="463"/>
                    <a:pt x="2931" y="458"/>
                    <a:pt x="2925" y="458"/>
                  </a:cubicBezTo>
                  <a:cubicBezTo>
                    <a:pt x="2925" y="458"/>
                    <a:pt x="2924" y="458"/>
                    <a:pt x="2924" y="458"/>
                  </a:cubicBezTo>
                  <a:moveTo>
                    <a:pt x="2959" y="458"/>
                  </a:moveTo>
                  <a:cubicBezTo>
                    <a:pt x="2952" y="458"/>
                    <a:pt x="2948" y="463"/>
                    <a:pt x="2949" y="468"/>
                  </a:cubicBezTo>
                  <a:cubicBezTo>
                    <a:pt x="2950" y="474"/>
                    <a:pt x="2956" y="478"/>
                    <a:pt x="2963" y="478"/>
                  </a:cubicBezTo>
                  <a:cubicBezTo>
                    <a:pt x="2969" y="478"/>
                    <a:pt x="2974" y="474"/>
                    <a:pt x="2973" y="468"/>
                  </a:cubicBezTo>
                  <a:cubicBezTo>
                    <a:pt x="2972" y="462"/>
                    <a:pt x="2966" y="458"/>
                    <a:pt x="2959" y="458"/>
                  </a:cubicBezTo>
                  <a:cubicBezTo>
                    <a:pt x="2959" y="458"/>
                    <a:pt x="2959" y="458"/>
                    <a:pt x="2959" y="458"/>
                  </a:cubicBezTo>
                  <a:moveTo>
                    <a:pt x="2994" y="458"/>
                  </a:moveTo>
                  <a:cubicBezTo>
                    <a:pt x="2987" y="458"/>
                    <a:pt x="2983" y="462"/>
                    <a:pt x="2984" y="468"/>
                  </a:cubicBezTo>
                  <a:cubicBezTo>
                    <a:pt x="2985" y="474"/>
                    <a:pt x="2991" y="478"/>
                    <a:pt x="2998" y="478"/>
                  </a:cubicBezTo>
                  <a:cubicBezTo>
                    <a:pt x="3005" y="478"/>
                    <a:pt x="3009" y="473"/>
                    <a:pt x="3008" y="468"/>
                  </a:cubicBezTo>
                  <a:cubicBezTo>
                    <a:pt x="3007" y="462"/>
                    <a:pt x="3001" y="458"/>
                    <a:pt x="2994" y="458"/>
                  </a:cubicBezTo>
                  <a:cubicBezTo>
                    <a:pt x="2994" y="458"/>
                    <a:pt x="2994" y="458"/>
                    <a:pt x="2994" y="458"/>
                  </a:cubicBezTo>
                  <a:moveTo>
                    <a:pt x="3029" y="457"/>
                  </a:moveTo>
                  <a:cubicBezTo>
                    <a:pt x="3022" y="457"/>
                    <a:pt x="3018" y="462"/>
                    <a:pt x="3019" y="468"/>
                  </a:cubicBezTo>
                  <a:cubicBezTo>
                    <a:pt x="3020" y="473"/>
                    <a:pt x="3026" y="478"/>
                    <a:pt x="3033" y="478"/>
                  </a:cubicBezTo>
                  <a:cubicBezTo>
                    <a:pt x="3040" y="478"/>
                    <a:pt x="3044" y="473"/>
                    <a:pt x="3043" y="468"/>
                  </a:cubicBezTo>
                  <a:cubicBezTo>
                    <a:pt x="3042" y="462"/>
                    <a:pt x="3036" y="457"/>
                    <a:pt x="3029" y="457"/>
                  </a:cubicBezTo>
                  <a:cubicBezTo>
                    <a:pt x="3029" y="457"/>
                    <a:pt x="3029" y="457"/>
                    <a:pt x="3029" y="457"/>
                  </a:cubicBezTo>
                  <a:moveTo>
                    <a:pt x="3064" y="457"/>
                  </a:moveTo>
                  <a:cubicBezTo>
                    <a:pt x="3057" y="457"/>
                    <a:pt x="3053" y="462"/>
                    <a:pt x="3054" y="467"/>
                  </a:cubicBezTo>
                  <a:cubicBezTo>
                    <a:pt x="3055" y="473"/>
                    <a:pt x="3061" y="478"/>
                    <a:pt x="3068" y="478"/>
                  </a:cubicBezTo>
                  <a:cubicBezTo>
                    <a:pt x="3075" y="478"/>
                    <a:pt x="3080" y="473"/>
                    <a:pt x="3078" y="467"/>
                  </a:cubicBezTo>
                  <a:cubicBezTo>
                    <a:pt x="3077" y="462"/>
                    <a:pt x="3071" y="457"/>
                    <a:pt x="3064" y="457"/>
                  </a:cubicBezTo>
                  <a:cubicBezTo>
                    <a:pt x="3064" y="457"/>
                    <a:pt x="3064" y="457"/>
                    <a:pt x="3064" y="457"/>
                  </a:cubicBezTo>
                  <a:moveTo>
                    <a:pt x="3100" y="457"/>
                  </a:moveTo>
                  <a:cubicBezTo>
                    <a:pt x="3093" y="457"/>
                    <a:pt x="3089" y="462"/>
                    <a:pt x="3090" y="467"/>
                  </a:cubicBezTo>
                  <a:cubicBezTo>
                    <a:pt x="3091" y="473"/>
                    <a:pt x="3098" y="477"/>
                    <a:pt x="3105" y="477"/>
                  </a:cubicBezTo>
                  <a:cubicBezTo>
                    <a:pt x="3111" y="477"/>
                    <a:pt x="3116" y="473"/>
                    <a:pt x="3115" y="467"/>
                  </a:cubicBezTo>
                  <a:cubicBezTo>
                    <a:pt x="3113" y="461"/>
                    <a:pt x="3107" y="457"/>
                    <a:pt x="3100" y="457"/>
                  </a:cubicBezTo>
                  <a:cubicBezTo>
                    <a:pt x="3100" y="457"/>
                    <a:pt x="3100" y="457"/>
                    <a:pt x="3100" y="457"/>
                  </a:cubicBezTo>
                  <a:moveTo>
                    <a:pt x="3135" y="457"/>
                  </a:moveTo>
                  <a:cubicBezTo>
                    <a:pt x="3128" y="457"/>
                    <a:pt x="3124" y="461"/>
                    <a:pt x="3125" y="467"/>
                  </a:cubicBezTo>
                  <a:cubicBezTo>
                    <a:pt x="3126" y="473"/>
                    <a:pt x="3133" y="477"/>
                    <a:pt x="3140" y="477"/>
                  </a:cubicBezTo>
                  <a:cubicBezTo>
                    <a:pt x="3146" y="477"/>
                    <a:pt x="3151" y="472"/>
                    <a:pt x="3150" y="467"/>
                  </a:cubicBezTo>
                  <a:cubicBezTo>
                    <a:pt x="3148" y="461"/>
                    <a:pt x="3142" y="457"/>
                    <a:pt x="3135" y="457"/>
                  </a:cubicBezTo>
                  <a:cubicBezTo>
                    <a:pt x="3135" y="457"/>
                    <a:pt x="3135" y="457"/>
                    <a:pt x="3135" y="457"/>
                  </a:cubicBezTo>
                  <a:moveTo>
                    <a:pt x="3170" y="456"/>
                  </a:moveTo>
                  <a:cubicBezTo>
                    <a:pt x="3163" y="456"/>
                    <a:pt x="3159" y="461"/>
                    <a:pt x="3160" y="467"/>
                  </a:cubicBezTo>
                  <a:cubicBezTo>
                    <a:pt x="3162" y="472"/>
                    <a:pt x="3168" y="477"/>
                    <a:pt x="3175" y="477"/>
                  </a:cubicBezTo>
                  <a:cubicBezTo>
                    <a:pt x="3182" y="477"/>
                    <a:pt x="3186" y="472"/>
                    <a:pt x="3185" y="467"/>
                  </a:cubicBezTo>
                  <a:cubicBezTo>
                    <a:pt x="3183" y="461"/>
                    <a:pt x="3177" y="456"/>
                    <a:pt x="3170" y="456"/>
                  </a:cubicBezTo>
                  <a:cubicBezTo>
                    <a:pt x="3170" y="456"/>
                    <a:pt x="3170" y="456"/>
                    <a:pt x="3170" y="456"/>
                  </a:cubicBezTo>
                  <a:moveTo>
                    <a:pt x="3205" y="456"/>
                  </a:moveTo>
                  <a:cubicBezTo>
                    <a:pt x="3199" y="456"/>
                    <a:pt x="3194" y="461"/>
                    <a:pt x="3196" y="467"/>
                  </a:cubicBezTo>
                  <a:cubicBezTo>
                    <a:pt x="3197" y="472"/>
                    <a:pt x="3204" y="477"/>
                    <a:pt x="3211" y="477"/>
                  </a:cubicBezTo>
                  <a:cubicBezTo>
                    <a:pt x="3217" y="477"/>
                    <a:pt x="3222" y="472"/>
                    <a:pt x="3220" y="466"/>
                  </a:cubicBezTo>
                  <a:cubicBezTo>
                    <a:pt x="3219" y="461"/>
                    <a:pt x="3212" y="456"/>
                    <a:pt x="3205" y="456"/>
                  </a:cubicBezTo>
                  <a:cubicBezTo>
                    <a:pt x="3205" y="456"/>
                    <a:pt x="3205" y="456"/>
                    <a:pt x="3205" y="456"/>
                  </a:cubicBezTo>
                  <a:moveTo>
                    <a:pt x="3240" y="456"/>
                  </a:moveTo>
                  <a:cubicBezTo>
                    <a:pt x="3233" y="456"/>
                    <a:pt x="3229" y="461"/>
                    <a:pt x="3231" y="466"/>
                  </a:cubicBezTo>
                  <a:cubicBezTo>
                    <a:pt x="3232" y="472"/>
                    <a:pt x="3239" y="477"/>
                    <a:pt x="3246" y="476"/>
                  </a:cubicBezTo>
                  <a:cubicBezTo>
                    <a:pt x="3252" y="476"/>
                    <a:pt x="3257" y="472"/>
                    <a:pt x="3255" y="466"/>
                  </a:cubicBezTo>
                  <a:cubicBezTo>
                    <a:pt x="3254" y="460"/>
                    <a:pt x="3247" y="456"/>
                    <a:pt x="3240" y="456"/>
                  </a:cubicBezTo>
                  <a:cubicBezTo>
                    <a:pt x="3240" y="456"/>
                    <a:pt x="3240" y="456"/>
                    <a:pt x="3240" y="456"/>
                  </a:cubicBezTo>
                  <a:moveTo>
                    <a:pt x="3275" y="456"/>
                  </a:moveTo>
                  <a:cubicBezTo>
                    <a:pt x="3268" y="456"/>
                    <a:pt x="3264" y="460"/>
                    <a:pt x="3266" y="466"/>
                  </a:cubicBezTo>
                  <a:cubicBezTo>
                    <a:pt x="3267" y="472"/>
                    <a:pt x="3274" y="476"/>
                    <a:pt x="3281" y="476"/>
                  </a:cubicBezTo>
                  <a:cubicBezTo>
                    <a:pt x="3288" y="476"/>
                    <a:pt x="3292" y="472"/>
                    <a:pt x="3290" y="466"/>
                  </a:cubicBezTo>
                  <a:cubicBezTo>
                    <a:pt x="3289" y="460"/>
                    <a:pt x="3282" y="456"/>
                    <a:pt x="3275" y="456"/>
                  </a:cubicBezTo>
                  <a:cubicBezTo>
                    <a:pt x="3275" y="456"/>
                    <a:pt x="3275" y="456"/>
                    <a:pt x="3275" y="456"/>
                  </a:cubicBezTo>
                  <a:moveTo>
                    <a:pt x="3310" y="455"/>
                  </a:moveTo>
                  <a:cubicBezTo>
                    <a:pt x="3303" y="456"/>
                    <a:pt x="3299" y="460"/>
                    <a:pt x="3300" y="466"/>
                  </a:cubicBezTo>
                  <a:cubicBezTo>
                    <a:pt x="3302" y="471"/>
                    <a:pt x="3309" y="476"/>
                    <a:pt x="3316" y="476"/>
                  </a:cubicBezTo>
                  <a:cubicBezTo>
                    <a:pt x="3323" y="476"/>
                    <a:pt x="3327" y="471"/>
                    <a:pt x="3325" y="466"/>
                  </a:cubicBezTo>
                  <a:cubicBezTo>
                    <a:pt x="3323" y="460"/>
                    <a:pt x="3317" y="455"/>
                    <a:pt x="3310" y="455"/>
                  </a:cubicBezTo>
                  <a:cubicBezTo>
                    <a:pt x="3310" y="455"/>
                    <a:pt x="3310" y="455"/>
                    <a:pt x="3310" y="455"/>
                  </a:cubicBezTo>
                  <a:moveTo>
                    <a:pt x="3345" y="455"/>
                  </a:moveTo>
                  <a:cubicBezTo>
                    <a:pt x="3338" y="455"/>
                    <a:pt x="3334" y="460"/>
                    <a:pt x="3336" y="466"/>
                  </a:cubicBezTo>
                  <a:cubicBezTo>
                    <a:pt x="3337" y="471"/>
                    <a:pt x="3344" y="476"/>
                    <a:pt x="3351" y="476"/>
                  </a:cubicBezTo>
                  <a:cubicBezTo>
                    <a:pt x="3358" y="476"/>
                    <a:pt x="3362" y="471"/>
                    <a:pt x="3360" y="465"/>
                  </a:cubicBezTo>
                  <a:cubicBezTo>
                    <a:pt x="3358" y="460"/>
                    <a:pt x="3352" y="455"/>
                    <a:pt x="3345" y="455"/>
                  </a:cubicBezTo>
                  <a:cubicBezTo>
                    <a:pt x="3345" y="455"/>
                    <a:pt x="3345" y="455"/>
                    <a:pt x="3345" y="455"/>
                  </a:cubicBezTo>
                  <a:moveTo>
                    <a:pt x="3380" y="455"/>
                  </a:moveTo>
                  <a:cubicBezTo>
                    <a:pt x="3373" y="455"/>
                    <a:pt x="3369" y="460"/>
                    <a:pt x="3371" y="465"/>
                  </a:cubicBezTo>
                  <a:cubicBezTo>
                    <a:pt x="3373" y="471"/>
                    <a:pt x="3380" y="476"/>
                    <a:pt x="3387" y="476"/>
                  </a:cubicBezTo>
                  <a:cubicBezTo>
                    <a:pt x="3394" y="475"/>
                    <a:pt x="3398" y="471"/>
                    <a:pt x="3396" y="465"/>
                  </a:cubicBezTo>
                  <a:cubicBezTo>
                    <a:pt x="3394" y="460"/>
                    <a:pt x="3387" y="455"/>
                    <a:pt x="3380" y="455"/>
                  </a:cubicBezTo>
                  <a:cubicBezTo>
                    <a:pt x="3380" y="455"/>
                    <a:pt x="3380" y="455"/>
                    <a:pt x="3380" y="455"/>
                  </a:cubicBezTo>
                  <a:moveTo>
                    <a:pt x="3415" y="455"/>
                  </a:moveTo>
                  <a:cubicBezTo>
                    <a:pt x="3408" y="455"/>
                    <a:pt x="3404" y="459"/>
                    <a:pt x="3406" y="465"/>
                  </a:cubicBezTo>
                  <a:cubicBezTo>
                    <a:pt x="3408" y="471"/>
                    <a:pt x="3415" y="475"/>
                    <a:pt x="3422" y="475"/>
                  </a:cubicBezTo>
                  <a:cubicBezTo>
                    <a:pt x="3429" y="475"/>
                    <a:pt x="3432" y="471"/>
                    <a:pt x="3431" y="465"/>
                  </a:cubicBezTo>
                  <a:cubicBezTo>
                    <a:pt x="3429" y="459"/>
                    <a:pt x="3422" y="455"/>
                    <a:pt x="3415" y="455"/>
                  </a:cubicBezTo>
                  <a:cubicBezTo>
                    <a:pt x="3415" y="455"/>
                    <a:pt x="3415" y="455"/>
                    <a:pt x="3415" y="455"/>
                  </a:cubicBezTo>
                  <a:moveTo>
                    <a:pt x="3450" y="455"/>
                  </a:moveTo>
                  <a:cubicBezTo>
                    <a:pt x="3443" y="455"/>
                    <a:pt x="3439" y="459"/>
                    <a:pt x="3441" y="465"/>
                  </a:cubicBezTo>
                  <a:cubicBezTo>
                    <a:pt x="3443" y="471"/>
                    <a:pt x="3450" y="475"/>
                    <a:pt x="3457" y="475"/>
                  </a:cubicBezTo>
                  <a:cubicBezTo>
                    <a:pt x="3464" y="475"/>
                    <a:pt x="3468" y="470"/>
                    <a:pt x="3466" y="465"/>
                  </a:cubicBezTo>
                  <a:cubicBezTo>
                    <a:pt x="3464" y="459"/>
                    <a:pt x="3457" y="455"/>
                    <a:pt x="3450" y="455"/>
                  </a:cubicBezTo>
                  <a:cubicBezTo>
                    <a:pt x="3450" y="455"/>
                    <a:pt x="3450" y="455"/>
                    <a:pt x="3450" y="455"/>
                  </a:cubicBezTo>
                  <a:moveTo>
                    <a:pt x="3485" y="454"/>
                  </a:moveTo>
                  <a:cubicBezTo>
                    <a:pt x="3478" y="454"/>
                    <a:pt x="3474" y="459"/>
                    <a:pt x="3476" y="465"/>
                  </a:cubicBezTo>
                  <a:cubicBezTo>
                    <a:pt x="3478" y="470"/>
                    <a:pt x="3485" y="475"/>
                    <a:pt x="3492" y="475"/>
                  </a:cubicBezTo>
                  <a:cubicBezTo>
                    <a:pt x="3499" y="475"/>
                    <a:pt x="3503" y="470"/>
                    <a:pt x="3500" y="464"/>
                  </a:cubicBezTo>
                  <a:cubicBezTo>
                    <a:pt x="3498" y="459"/>
                    <a:pt x="3491" y="454"/>
                    <a:pt x="3485" y="454"/>
                  </a:cubicBezTo>
                  <a:cubicBezTo>
                    <a:pt x="3485" y="454"/>
                    <a:pt x="3485" y="454"/>
                    <a:pt x="3485" y="454"/>
                  </a:cubicBezTo>
                  <a:moveTo>
                    <a:pt x="3520" y="454"/>
                  </a:moveTo>
                  <a:cubicBezTo>
                    <a:pt x="3513" y="454"/>
                    <a:pt x="3509" y="459"/>
                    <a:pt x="3511" y="464"/>
                  </a:cubicBezTo>
                  <a:cubicBezTo>
                    <a:pt x="3513" y="470"/>
                    <a:pt x="3520" y="475"/>
                    <a:pt x="3527" y="475"/>
                  </a:cubicBezTo>
                  <a:cubicBezTo>
                    <a:pt x="3534" y="475"/>
                    <a:pt x="3538" y="470"/>
                    <a:pt x="3536" y="464"/>
                  </a:cubicBezTo>
                  <a:cubicBezTo>
                    <a:pt x="3534" y="459"/>
                    <a:pt x="3526" y="454"/>
                    <a:pt x="3520" y="454"/>
                  </a:cubicBezTo>
                  <a:cubicBezTo>
                    <a:pt x="3520" y="454"/>
                    <a:pt x="3520" y="454"/>
                    <a:pt x="3520" y="454"/>
                  </a:cubicBezTo>
                  <a:moveTo>
                    <a:pt x="3555" y="454"/>
                  </a:moveTo>
                  <a:cubicBezTo>
                    <a:pt x="3548" y="454"/>
                    <a:pt x="3544" y="458"/>
                    <a:pt x="3547" y="464"/>
                  </a:cubicBezTo>
                  <a:cubicBezTo>
                    <a:pt x="3549" y="470"/>
                    <a:pt x="3556" y="474"/>
                    <a:pt x="3563" y="474"/>
                  </a:cubicBezTo>
                  <a:cubicBezTo>
                    <a:pt x="3570" y="474"/>
                    <a:pt x="3573" y="470"/>
                    <a:pt x="3571" y="464"/>
                  </a:cubicBezTo>
                  <a:cubicBezTo>
                    <a:pt x="3569" y="458"/>
                    <a:pt x="3562" y="454"/>
                    <a:pt x="3555" y="454"/>
                  </a:cubicBezTo>
                  <a:cubicBezTo>
                    <a:pt x="3555" y="454"/>
                    <a:pt x="3555" y="454"/>
                    <a:pt x="3555" y="454"/>
                  </a:cubicBezTo>
                  <a:moveTo>
                    <a:pt x="3590" y="453"/>
                  </a:moveTo>
                  <a:cubicBezTo>
                    <a:pt x="3583" y="453"/>
                    <a:pt x="3579" y="458"/>
                    <a:pt x="3581" y="464"/>
                  </a:cubicBezTo>
                  <a:cubicBezTo>
                    <a:pt x="3584" y="469"/>
                    <a:pt x="3591" y="474"/>
                    <a:pt x="3598" y="474"/>
                  </a:cubicBezTo>
                  <a:cubicBezTo>
                    <a:pt x="3605" y="474"/>
                    <a:pt x="3608" y="469"/>
                    <a:pt x="3606" y="463"/>
                  </a:cubicBezTo>
                  <a:cubicBezTo>
                    <a:pt x="3604" y="458"/>
                    <a:pt x="3597" y="453"/>
                    <a:pt x="3590" y="453"/>
                  </a:cubicBezTo>
                  <a:cubicBezTo>
                    <a:pt x="3590" y="453"/>
                    <a:pt x="3590" y="453"/>
                    <a:pt x="3590" y="453"/>
                  </a:cubicBezTo>
                  <a:moveTo>
                    <a:pt x="3624" y="453"/>
                  </a:moveTo>
                  <a:cubicBezTo>
                    <a:pt x="3618" y="453"/>
                    <a:pt x="3614" y="458"/>
                    <a:pt x="3616" y="463"/>
                  </a:cubicBezTo>
                  <a:cubicBezTo>
                    <a:pt x="3619" y="469"/>
                    <a:pt x="3626" y="474"/>
                    <a:pt x="3633" y="474"/>
                  </a:cubicBezTo>
                  <a:cubicBezTo>
                    <a:pt x="3640" y="474"/>
                    <a:pt x="3643" y="469"/>
                    <a:pt x="3641" y="463"/>
                  </a:cubicBezTo>
                  <a:cubicBezTo>
                    <a:pt x="3639" y="458"/>
                    <a:pt x="3631" y="453"/>
                    <a:pt x="3625" y="453"/>
                  </a:cubicBezTo>
                  <a:cubicBezTo>
                    <a:pt x="3624" y="453"/>
                    <a:pt x="3624" y="453"/>
                    <a:pt x="3624" y="453"/>
                  </a:cubicBezTo>
                  <a:moveTo>
                    <a:pt x="3659" y="453"/>
                  </a:moveTo>
                  <a:cubicBezTo>
                    <a:pt x="3653" y="453"/>
                    <a:pt x="3649" y="458"/>
                    <a:pt x="3651" y="463"/>
                  </a:cubicBezTo>
                  <a:cubicBezTo>
                    <a:pt x="3654" y="469"/>
                    <a:pt x="3661" y="473"/>
                    <a:pt x="3668" y="473"/>
                  </a:cubicBezTo>
                  <a:cubicBezTo>
                    <a:pt x="3675" y="473"/>
                    <a:pt x="3678" y="469"/>
                    <a:pt x="3676" y="463"/>
                  </a:cubicBezTo>
                  <a:cubicBezTo>
                    <a:pt x="3674" y="457"/>
                    <a:pt x="3666" y="453"/>
                    <a:pt x="3660" y="453"/>
                  </a:cubicBezTo>
                  <a:cubicBezTo>
                    <a:pt x="3659" y="453"/>
                    <a:pt x="3659" y="453"/>
                    <a:pt x="3659" y="453"/>
                  </a:cubicBezTo>
                  <a:moveTo>
                    <a:pt x="3697" y="453"/>
                  </a:moveTo>
                  <a:cubicBezTo>
                    <a:pt x="3690" y="453"/>
                    <a:pt x="3686" y="457"/>
                    <a:pt x="3689" y="463"/>
                  </a:cubicBezTo>
                  <a:cubicBezTo>
                    <a:pt x="3691" y="469"/>
                    <a:pt x="3699" y="473"/>
                    <a:pt x="3705" y="473"/>
                  </a:cubicBezTo>
                  <a:cubicBezTo>
                    <a:pt x="3712" y="473"/>
                    <a:pt x="3716" y="468"/>
                    <a:pt x="3713" y="463"/>
                  </a:cubicBezTo>
                  <a:cubicBezTo>
                    <a:pt x="3711" y="457"/>
                    <a:pt x="3703" y="453"/>
                    <a:pt x="3697" y="453"/>
                  </a:cubicBezTo>
                  <a:cubicBezTo>
                    <a:pt x="3697" y="453"/>
                    <a:pt x="3697" y="453"/>
                    <a:pt x="3697" y="453"/>
                  </a:cubicBezTo>
                  <a:moveTo>
                    <a:pt x="3731" y="452"/>
                  </a:moveTo>
                  <a:cubicBezTo>
                    <a:pt x="3724" y="452"/>
                    <a:pt x="3721" y="457"/>
                    <a:pt x="3723" y="463"/>
                  </a:cubicBezTo>
                  <a:cubicBezTo>
                    <a:pt x="3726" y="468"/>
                    <a:pt x="3733" y="473"/>
                    <a:pt x="3740" y="473"/>
                  </a:cubicBezTo>
                  <a:cubicBezTo>
                    <a:pt x="3747" y="473"/>
                    <a:pt x="3750" y="468"/>
                    <a:pt x="3748" y="463"/>
                  </a:cubicBezTo>
                  <a:cubicBezTo>
                    <a:pt x="3745" y="457"/>
                    <a:pt x="3738" y="452"/>
                    <a:pt x="3731" y="452"/>
                  </a:cubicBezTo>
                  <a:cubicBezTo>
                    <a:pt x="3731" y="452"/>
                    <a:pt x="3731" y="452"/>
                    <a:pt x="3731" y="452"/>
                  </a:cubicBezTo>
                  <a:moveTo>
                    <a:pt x="3766" y="452"/>
                  </a:moveTo>
                  <a:cubicBezTo>
                    <a:pt x="3759" y="452"/>
                    <a:pt x="3756" y="457"/>
                    <a:pt x="3758" y="462"/>
                  </a:cubicBezTo>
                  <a:cubicBezTo>
                    <a:pt x="3761" y="468"/>
                    <a:pt x="3768" y="473"/>
                    <a:pt x="3775" y="473"/>
                  </a:cubicBezTo>
                  <a:cubicBezTo>
                    <a:pt x="3782" y="473"/>
                    <a:pt x="3785" y="468"/>
                    <a:pt x="3783" y="462"/>
                  </a:cubicBezTo>
                  <a:cubicBezTo>
                    <a:pt x="3780" y="457"/>
                    <a:pt x="3772" y="452"/>
                    <a:pt x="3766" y="452"/>
                  </a:cubicBezTo>
                  <a:cubicBezTo>
                    <a:pt x="3766" y="452"/>
                    <a:pt x="3766" y="452"/>
                    <a:pt x="3766" y="452"/>
                  </a:cubicBezTo>
                  <a:moveTo>
                    <a:pt x="3801" y="452"/>
                  </a:moveTo>
                  <a:cubicBezTo>
                    <a:pt x="3794" y="452"/>
                    <a:pt x="3791" y="457"/>
                    <a:pt x="3793" y="462"/>
                  </a:cubicBezTo>
                  <a:cubicBezTo>
                    <a:pt x="3796" y="468"/>
                    <a:pt x="3804" y="472"/>
                    <a:pt x="3810" y="472"/>
                  </a:cubicBezTo>
                  <a:cubicBezTo>
                    <a:pt x="3817" y="472"/>
                    <a:pt x="3820" y="468"/>
                    <a:pt x="3818" y="462"/>
                  </a:cubicBezTo>
                  <a:cubicBezTo>
                    <a:pt x="3815" y="456"/>
                    <a:pt x="3807" y="452"/>
                    <a:pt x="3801" y="452"/>
                  </a:cubicBezTo>
                  <a:cubicBezTo>
                    <a:pt x="3801" y="452"/>
                    <a:pt x="3801" y="452"/>
                    <a:pt x="3801" y="452"/>
                  </a:cubicBezTo>
                  <a:moveTo>
                    <a:pt x="3836" y="452"/>
                  </a:moveTo>
                  <a:cubicBezTo>
                    <a:pt x="3829" y="452"/>
                    <a:pt x="3826" y="456"/>
                    <a:pt x="3829" y="462"/>
                  </a:cubicBezTo>
                  <a:cubicBezTo>
                    <a:pt x="3831" y="468"/>
                    <a:pt x="3839" y="472"/>
                    <a:pt x="3846" y="472"/>
                  </a:cubicBezTo>
                  <a:cubicBezTo>
                    <a:pt x="3853" y="472"/>
                    <a:pt x="3856" y="467"/>
                    <a:pt x="3853" y="462"/>
                  </a:cubicBezTo>
                  <a:cubicBezTo>
                    <a:pt x="3850" y="456"/>
                    <a:pt x="3843" y="452"/>
                    <a:pt x="3836" y="452"/>
                  </a:cubicBezTo>
                  <a:cubicBezTo>
                    <a:pt x="3836" y="452"/>
                    <a:pt x="3836" y="452"/>
                    <a:pt x="3836" y="452"/>
                  </a:cubicBezTo>
                  <a:moveTo>
                    <a:pt x="3871" y="451"/>
                  </a:moveTo>
                  <a:cubicBezTo>
                    <a:pt x="3864" y="451"/>
                    <a:pt x="3861" y="456"/>
                    <a:pt x="3863" y="462"/>
                  </a:cubicBezTo>
                  <a:cubicBezTo>
                    <a:pt x="3866" y="467"/>
                    <a:pt x="3874" y="472"/>
                    <a:pt x="3881" y="472"/>
                  </a:cubicBezTo>
                  <a:cubicBezTo>
                    <a:pt x="3888" y="472"/>
                    <a:pt x="3891" y="467"/>
                    <a:pt x="3888" y="462"/>
                  </a:cubicBezTo>
                  <a:cubicBezTo>
                    <a:pt x="3885" y="456"/>
                    <a:pt x="3877" y="451"/>
                    <a:pt x="3871" y="451"/>
                  </a:cubicBezTo>
                  <a:cubicBezTo>
                    <a:pt x="3871" y="451"/>
                    <a:pt x="3871" y="451"/>
                    <a:pt x="3871" y="451"/>
                  </a:cubicBezTo>
                  <a:moveTo>
                    <a:pt x="3906" y="451"/>
                  </a:moveTo>
                  <a:cubicBezTo>
                    <a:pt x="3899" y="451"/>
                    <a:pt x="3896" y="456"/>
                    <a:pt x="3899" y="462"/>
                  </a:cubicBezTo>
                  <a:cubicBezTo>
                    <a:pt x="3901" y="467"/>
                    <a:pt x="3909" y="472"/>
                    <a:pt x="3916" y="472"/>
                  </a:cubicBezTo>
                  <a:cubicBezTo>
                    <a:pt x="3923" y="472"/>
                    <a:pt x="3926" y="467"/>
                    <a:pt x="3923" y="461"/>
                  </a:cubicBezTo>
                  <a:cubicBezTo>
                    <a:pt x="3920" y="456"/>
                    <a:pt x="3912" y="451"/>
                    <a:pt x="3906" y="451"/>
                  </a:cubicBezTo>
                  <a:cubicBezTo>
                    <a:pt x="3906" y="451"/>
                    <a:pt x="3906" y="451"/>
                    <a:pt x="3906" y="451"/>
                  </a:cubicBezTo>
                  <a:moveTo>
                    <a:pt x="3940" y="451"/>
                  </a:moveTo>
                  <a:cubicBezTo>
                    <a:pt x="3933" y="451"/>
                    <a:pt x="3930" y="456"/>
                    <a:pt x="3933" y="461"/>
                  </a:cubicBezTo>
                  <a:cubicBezTo>
                    <a:pt x="3936" y="467"/>
                    <a:pt x="3944" y="472"/>
                    <a:pt x="3951" y="471"/>
                  </a:cubicBezTo>
                  <a:cubicBezTo>
                    <a:pt x="3958" y="471"/>
                    <a:pt x="3961" y="467"/>
                    <a:pt x="3958" y="461"/>
                  </a:cubicBezTo>
                  <a:cubicBezTo>
                    <a:pt x="3955" y="455"/>
                    <a:pt x="3947" y="451"/>
                    <a:pt x="3940" y="451"/>
                  </a:cubicBezTo>
                  <a:cubicBezTo>
                    <a:pt x="3940" y="451"/>
                    <a:pt x="3940" y="451"/>
                    <a:pt x="3940" y="451"/>
                  </a:cubicBezTo>
                  <a:moveTo>
                    <a:pt x="3975" y="451"/>
                  </a:moveTo>
                  <a:cubicBezTo>
                    <a:pt x="3968" y="451"/>
                    <a:pt x="3965" y="455"/>
                    <a:pt x="3968" y="461"/>
                  </a:cubicBezTo>
                  <a:cubicBezTo>
                    <a:pt x="3971" y="467"/>
                    <a:pt x="3979" y="471"/>
                    <a:pt x="3986" y="471"/>
                  </a:cubicBezTo>
                  <a:cubicBezTo>
                    <a:pt x="3993" y="471"/>
                    <a:pt x="3996" y="467"/>
                    <a:pt x="3993" y="461"/>
                  </a:cubicBezTo>
                  <a:cubicBezTo>
                    <a:pt x="3990" y="455"/>
                    <a:pt x="3982" y="451"/>
                    <a:pt x="3975" y="451"/>
                  </a:cubicBezTo>
                  <a:cubicBezTo>
                    <a:pt x="3975" y="451"/>
                    <a:pt x="3975" y="451"/>
                    <a:pt x="3975" y="451"/>
                  </a:cubicBezTo>
                  <a:moveTo>
                    <a:pt x="4009" y="450"/>
                  </a:moveTo>
                  <a:cubicBezTo>
                    <a:pt x="4002" y="450"/>
                    <a:pt x="3999" y="455"/>
                    <a:pt x="4003" y="461"/>
                  </a:cubicBezTo>
                  <a:cubicBezTo>
                    <a:pt x="4006" y="466"/>
                    <a:pt x="4014" y="471"/>
                    <a:pt x="4020" y="471"/>
                  </a:cubicBezTo>
                  <a:cubicBezTo>
                    <a:pt x="4027" y="471"/>
                    <a:pt x="4030" y="466"/>
                    <a:pt x="4027" y="461"/>
                  </a:cubicBezTo>
                  <a:cubicBezTo>
                    <a:pt x="4024" y="455"/>
                    <a:pt x="4016" y="450"/>
                    <a:pt x="4009" y="450"/>
                  </a:cubicBezTo>
                  <a:cubicBezTo>
                    <a:pt x="4009" y="450"/>
                    <a:pt x="4009" y="450"/>
                    <a:pt x="4009" y="450"/>
                  </a:cubicBezTo>
                  <a:moveTo>
                    <a:pt x="316" y="449"/>
                  </a:moveTo>
                  <a:cubicBezTo>
                    <a:pt x="309" y="449"/>
                    <a:pt x="300" y="453"/>
                    <a:pt x="295" y="459"/>
                  </a:cubicBezTo>
                  <a:cubicBezTo>
                    <a:pt x="291" y="465"/>
                    <a:pt x="293" y="469"/>
                    <a:pt x="300" y="469"/>
                  </a:cubicBezTo>
                  <a:cubicBezTo>
                    <a:pt x="306" y="469"/>
                    <a:pt x="315" y="464"/>
                    <a:pt x="320" y="459"/>
                  </a:cubicBezTo>
                  <a:cubicBezTo>
                    <a:pt x="324" y="453"/>
                    <a:pt x="322" y="449"/>
                    <a:pt x="316" y="449"/>
                  </a:cubicBezTo>
                  <a:cubicBezTo>
                    <a:pt x="316" y="449"/>
                    <a:pt x="316" y="449"/>
                    <a:pt x="316" y="449"/>
                  </a:cubicBezTo>
                  <a:moveTo>
                    <a:pt x="350" y="448"/>
                  </a:moveTo>
                  <a:cubicBezTo>
                    <a:pt x="344" y="449"/>
                    <a:pt x="335" y="453"/>
                    <a:pt x="330" y="459"/>
                  </a:cubicBezTo>
                  <a:cubicBezTo>
                    <a:pt x="326" y="464"/>
                    <a:pt x="328" y="469"/>
                    <a:pt x="334" y="469"/>
                  </a:cubicBezTo>
                  <a:cubicBezTo>
                    <a:pt x="341" y="469"/>
                    <a:pt x="350" y="464"/>
                    <a:pt x="355" y="459"/>
                  </a:cubicBezTo>
                  <a:cubicBezTo>
                    <a:pt x="359" y="453"/>
                    <a:pt x="357" y="448"/>
                    <a:pt x="350" y="448"/>
                  </a:cubicBezTo>
                  <a:cubicBezTo>
                    <a:pt x="350" y="448"/>
                    <a:pt x="350" y="448"/>
                    <a:pt x="350" y="448"/>
                  </a:cubicBezTo>
                  <a:moveTo>
                    <a:pt x="385" y="448"/>
                  </a:moveTo>
                  <a:cubicBezTo>
                    <a:pt x="378" y="448"/>
                    <a:pt x="370" y="453"/>
                    <a:pt x="365" y="458"/>
                  </a:cubicBezTo>
                  <a:cubicBezTo>
                    <a:pt x="361" y="464"/>
                    <a:pt x="363" y="469"/>
                    <a:pt x="370" y="468"/>
                  </a:cubicBezTo>
                  <a:cubicBezTo>
                    <a:pt x="376" y="468"/>
                    <a:pt x="385" y="464"/>
                    <a:pt x="390" y="458"/>
                  </a:cubicBezTo>
                  <a:cubicBezTo>
                    <a:pt x="394" y="453"/>
                    <a:pt x="392" y="448"/>
                    <a:pt x="385" y="448"/>
                  </a:cubicBezTo>
                  <a:cubicBezTo>
                    <a:pt x="385" y="448"/>
                    <a:pt x="385" y="448"/>
                    <a:pt x="385" y="448"/>
                  </a:cubicBezTo>
                  <a:moveTo>
                    <a:pt x="420" y="448"/>
                  </a:moveTo>
                  <a:cubicBezTo>
                    <a:pt x="413" y="448"/>
                    <a:pt x="404" y="453"/>
                    <a:pt x="400" y="458"/>
                  </a:cubicBezTo>
                  <a:cubicBezTo>
                    <a:pt x="396" y="464"/>
                    <a:pt x="398" y="468"/>
                    <a:pt x="404" y="468"/>
                  </a:cubicBezTo>
                  <a:cubicBezTo>
                    <a:pt x="411" y="468"/>
                    <a:pt x="420" y="464"/>
                    <a:pt x="424" y="458"/>
                  </a:cubicBezTo>
                  <a:cubicBezTo>
                    <a:pt x="429" y="452"/>
                    <a:pt x="427" y="448"/>
                    <a:pt x="420" y="448"/>
                  </a:cubicBezTo>
                  <a:cubicBezTo>
                    <a:pt x="420" y="448"/>
                    <a:pt x="420" y="448"/>
                    <a:pt x="420" y="448"/>
                  </a:cubicBezTo>
                  <a:moveTo>
                    <a:pt x="455" y="448"/>
                  </a:moveTo>
                  <a:cubicBezTo>
                    <a:pt x="448" y="448"/>
                    <a:pt x="439" y="452"/>
                    <a:pt x="435" y="458"/>
                  </a:cubicBezTo>
                  <a:cubicBezTo>
                    <a:pt x="431" y="464"/>
                    <a:pt x="433" y="468"/>
                    <a:pt x="440" y="468"/>
                  </a:cubicBezTo>
                  <a:cubicBezTo>
                    <a:pt x="446" y="468"/>
                    <a:pt x="455" y="463"/>
                    <a:pt x="459" y="458"/>
                  </a:cubicBezTo>
                  <a:cubicBezTo>
                    <a:pt x="464" y="452"/>
                    <a:pt x="462" y="448"/>
                    <a:pt x="455" y="448"/>
                  </a:cubicBezTo>
                  <a:cubicBezTo>
                    <a:pt x="455" y="448"/>
                    <a:pt x="455" y="448"/>
                    <a:pt x="455" y="448"/>
                  </a:cubicBezTo>
                  <a:moveTo>
                    <a:pt x="491" y="447"/>
                  </a:moveTo>
                  <a:cubicBezTo>
                    <a:pt x="484" y="448"/>
                    <a:pt x="475" y="452"/>
                    <a:pt x="471" y="458"/>
                  </a:cubicBezTo>
                  <a:cubicBezTo>
                    <a:pt x="467" y="463"/>
                    <a:pt x="469" y="468"/>
                    <a:pt x="476" y="468"/>
                  </a:cubicBezTo>
                  <a:cubicBezTo>
                    <a:pt x="483" y="468"/>
                    <a:pt x="491" y="463"/>
                    <a:pt x="496" y="458"/>
                  </a:cubicBezTo>
                  <a:cubicBezTo>
                    <a:pt x="500" y="452"/>
                    <a:pt x="498" y="447"/>
                    <a:pt x="491" y="447"/>
                  </a:cubicBezTo>
                  <a:cubicBezTo>
                    <a:pt x="491" y="447"/>
                    <a:pt x="491" y="447"/>
                    <a:pt x="491" y="447"/>
                  </a:cubicBezTo>
                  <a:moveTo>
                    <a:pt x="525" y="447"/>
                  </a:moveTo>
                  <a:cubicBezTo>
                    <a:pt x="519" y="447"/>
                    <a:pt x="510" y="452"/>
                    <a:pt x="506" y="457"/>
                  </a:cubicBezTo>
                  <a:cubicBezTo>
                    <a:pt x="502" y="463"/>
                    <a:pt x="504" y="468"/>
                    <a:pt x="511" y="468"/>
                  </a:cubicBezTo>
                  <a:cubicBezTo>
                    <a:pt x="518" y="467"/>
                    <a:pt x="526" y="463"/>
                    <a:pt x="530" y="457"/>
                  </a:cubicBezTo>
                  <a:cubicBezTo>
                    <a:pt x="534" y="452"/>
                    <a:pt x="532" y="447"/>
                    <a:pt x="526" y="447"/>
                  </a:cubicBezTo>
                  <a:cubicBezTo>
                    <a:pt x="525" y="447"/>
                    <a:pt x="525" y="447"/>
                    <a:pt x="525" y="447"/>
                  </a:cubicBezTo>
                  <a:moveTo>
                    <a:pt x="560" y="447"/>
                  </a:moveTo>
                  <a:cubicBezTo>
                    <a:pt x="554" y="447"/>
                    <a:pt x="545" y="452"/>
                    <a:pt x="541" y="457"/>
                  </a:cubicBezTo>
                  <a:cubicBezTo>
                    <a:pt x="537" y="463"/>
                    <a:pt x="539" y="467"/>
                    <a:pt x="546" y="467"/>
                  </a:cubicBezTo>
                  <a:cubicBezTo>
                    <a:pt x="553" y="467"/>
                    <a:pt x="561" y="463"/>
                    <a:pt x="565" y="457"/>
                  </a:cubicBezTo>
                  <a:cubicBezTo>
                    <a:pt x="569" y="451"/>
                    <a:pt x="567" y="447"/>
                    <a:pt x="560" y="447"/>
                  </a:cubicBezTo>
                  <a:cubicBezTo>
                    <a:pt x="560" y="447"/>
                    <a:pt x="560" y="447"/>
                    <a:pt x="560" y="447"/>
                  </a:cubicBezTo>
                  <a:moveTo>
                    <a:pt x="596" y="447"/>
                  </a:moveTo>
                  <a:cubicBezTo>
                    <a:pt x="589" y="447"/>
                    <a:pt x="580" y="451"/>
                    <a:pt x="576" y="457"/>
                  </a:cubicBezTo>
                  <a:cubicBezTo>
                    <a:pt x="572" y="463"/>
                    <a:pt x="575" y="467"/>
                    <a:pt x="581" y="467"/>
                  </a:cubicBezTo>
                  <a:cubicBezTo>
                    <a:pt x="588" y="467"/>
                    <a:pt x="597" y="462"/>
                    <a:pt x="601" y="457"/>
                  </a:cubicBezTo>
                  <a:cubicBezTo>
                    <a:pt x="605" y="451"/>
                    <a:pt x="602" y="447"/>
                    <a:pt x="596" y="447"/>
                  </a:cubicBezTo>
                  <a:cubicBezTo>
                    <a:pt x="596" y="447"/>
                    <a:pt x="596" y="447"/>
                    <a:pt x="596" y="447"/>
                  </a:cubicBezTo>
                  <a:moveTo>
                    <a:pt x="630" y="447"/>
                  </a:moveTo>
                  <a:cubicBezTo>
                    <a:pt x="623" y="447"/>
                    <a:pt x="615" y="451"/>
                    <a:pt x="611" y="457"/>
                  </a:cubicBezTo>
                  <a:cubicBezTo>
                    <a:pt x="607" y="462"/>
                    <a:pt x="610" y="467"/>
                    <a:pt x="616" y="467"/>
                  </a:cubicBezTo>
                  <a:cubicBezTo>
                    <a:pt x="623" y="467"/>
                    <a:pt x="632" y="462"/>
                    <a:pt x="635" y="457"/>
                  </a:cubicBezTo>
                  <a:cubicBezTo>
                    <a:pt x="639" y="451"/>
                    <a:pt x="637" y="447"/>
                    <a:pt x="630" y="447"/>
                  </a:cubicBezTo>
                  <a:cubicBezTo>
                    <a:pt x="630" y="447"/>
                    <a:pt x="630" y="447"/>
                    <a:pt x="630" y="447"/>
                  </a:cubicBezTo>
                  <a:moveTo>
                    <a:pt x="665" y="446"/>
                  </a:moveTo>
                  <a:cubicBezTo>
                    <a:pt x="658" y="446"/>
                    <a:pt x="650" y="451"/>
                    <a:pt x="646" y="456"/>
                  </a:cubicBezTo>
                  <a:cubicBezTo>
                    <a:pt x="642" y="462"/>
                    <a:pt x="645" y="467"/>
                    <a:pt x="651" y="467"/>
                  </a:cubicBezTo>
                  <a:cubicBezTo>
                    <a:pt x="658" y="466"/>
                    <a:pt x="667" y="462"/>
                    <a:pt x="670" y="456"/>
                  </a:cubicBezTo>
                  <a:cubicBezTo>
                    <a:pt x="674" y="451"/>
                    <a:pt x="672" y="446"/>
                    <a:pt x="665" y="446"/>
                  </a:cubicBezTo>
                  <a:cubicBezTo>
                    <a:pt x="665" y="446"/>
                    <a:pt x="665" y="446"/>
                    <a:pt x="665" y="446"/>
                  </a:cubicBezTo>
                  <a:moveTo>
                    <a:pt x="700" y="446"/>
                  </a:moveTo>
                  <a:cubicBezTo>
                    <a:pt x="693" y="446"/>
                    <a:pt x="684" y="451"/>
                    <a:pt x="681" y="456"/>
                  </a:cubicBezTo>
                  <a:cubicBezTo>
                    <a:pt x="677" y="462"/>
                    <a:pt x="679" y="466"/>
                    <a:pt x="686" y="466"/>
                  </a:cubicBezTo>
                  <a:cubicBezTo>
                    <a:pt x="693" y="466"/>
                    <a:pt x="702" y="462"/>
                    <a:pt x="705" y="456"/>
                  </a:cubicBezTo>
                  <a:cubicBezTo>
                    <a:pt x="709" y="451"/>
                    <a:pt x="706" y="446"/>
                    <a:pt x="700" y="446"/>
                  </a:cubicBezTo>
                  <a:cubicBezTo>
                    <a:pt x="700" y="446"/>
                    <a:pt x="700" y="446"/>
                    <a:pt x="700" y="446"/>
                  </a:cubicBezTo>
                  <a:moveTo>
                    <a:pt x="735" y="446"/>
                  </a:moveTo>
                  <a:cubicBezTo>
                    <a:pt x="728" y="446"/>
                    <a:pt x="719" y="450"/>
                    <a:pt x="716" y="456"/>
                  </a:cubicBezTo>
                  <a:cubicBezTo>
                    <a:pt x="712" y="462"/>
                    <a:pt x="715" y="466"/>
                    <a:pt x="721" y="466"/>
                  </a:cubicBezTo>
                  <a:cubicBezTo>
                    <a:pt x="728" y="466"/>
                    <a:pt x="737" y="461"/>
                    <a:pt x="740" y="456"/>
                  </a:cubicBezTo>
                  <a:cubicBezTo>
                    <a:pt x="744" y="450"/>
                    <a:pt x="741" y="446"/>
                    <a:pt x="735" y="446"/>
                  </a:cubicBezTo>
                  <a:cubicBezTo>
                    <a:pt x="735" y="446"/>
                    <a:pt x="735" y="446"/>
                    <a:pt x="735" y="446"/>
                  </a:cubicBezTo>
                  <a:moveTo>
                    <a:pt x="770" y="446"/>
                  </a:moveTo>
                  <a:cubicBezTo>
                    <a:pt x="763" y="446"/>
                    <a:pt x="755" y="450"/>
                    <a:pt x="751" y="456"/>
                  </a:cubicBezTo>
                  <a:cubicBezTo>
                    <a:pt x="748" y="461"/>
                    <a:pt x="750" y="466"/>
                    <a:pt x="757" y="466"/>
                  </a:cubicBezTo>
                  <a:cubicBezTo>
                    <a:pt x="764" y="466"/>
                    <a:pt x="772" y="461"/>
                    <a:pt x="776" y="456"/>
                  </a:cubicBezTo>
                  <a:cubicBezTo>
                    <a:pt x="779" y="450"/>
                    <a:pt x="777" y="446"/>
                    <a:pt x="770" y="446"/>
                  </a:cubicBezTo>
                  <a:cubicBezTo>
                    <a:pt x="770" y="446"/>
                    <a:pt x="770" y="446"/>
                    <a:pt x="770" y="446"/>
                  </a:cubicBezTo>
                  <a:moveTo>
                    <a:pt x="804" y="445"/>
                  </a:moveTo>
                  <a:cubicBezTo>
                    <a:pt x="798" y="445"/>
                    <a:pt x="789" y="450"/>
                    <a:pt x="786" y="456"/>
                  </a:cubicBezTo>
                  <a:cubicBezTo>
                    <a:pt x="782" y="461"/>
                    <a:pt x="785" y="466"/>
                    <a:pt x="792" y="466"/>
                  </a:cubicBezTo>
                  <a:cubicBezTo>
                    <a:pt x="799" y="466"/>
                    <a:pt x="807" y="461"/>
                    <a:pt x="810" y="455"/>
                  </a:cubicBezTo>
                  <a:cubicBezTo>
                    <a:pt x="814" y="450"/>
                    <a:pt x="811" y="445"/>
                    <a:pt x="804" y="445"/>
                  </a:cubicBezTo>
                  <a:cubicBezTo>
                    <a:pt x="804" y="445"/>
                    <a:pt x="804" y="445"/>
                    <a:pt x="804" y="445"/>
                  </a:cubicBezTo>
                  <a:moveTo>
                    <a:pt x="837" y="445"/>
                  </a:moveTo>
                  <a:cubicBezTo>
                    <a:pt x="831" y="445"/>
                    <a:pt x="822" y="450"/>
                    <a:pt x="819" y="455"/>
                  </a:cubicBezTo>
                  <a:cubicBezTo>
                    <a:pt x="816" y="461"/>
                    <a:pt x="818" y="465"/>
                    <a:pt x="825" y="465"/>
                  </a:cubicBezTo>
                  <a:cubicBezTo>
                    <a:pt x="832" y="465"/>
                    <a:pt x="840" y="461"/>
                    <a:pt x="843" y="455"/>
                  </a:cubicBezTo>
                  <a:cubicBezTo>
                    <a:pt x="847" y="450"/>
                    <a:pt x="844" y="445"/>
                    <a:pt x="837" y="445"/>
                  </a:cubicBezTo>
                  <a:cubicBezTo>
                    <a:pt x="837" y="445"/>
                    <a:pt x="837" y="445"/>
                    <a:pt x="837" y="445"/>
                  </a:cubicBezTo>
                  <a:moveTo>
                    <a:pt x="873" y="445"/>
                  </a:moveTo>
                  <a:cubicBezTo>
                    <a:pt x="866" y="445"/>
                    <a:pt x="858" y="449"/>
                    <a:pt x="854" y="455"/>
                  </a:cubicBezTo>
                  <a:cubicBezTo>
                    <a:pt x="851" y="461"/>
                    <a:pt x="854" y="465"/>
                    <a:pt x="860" y="465"/>
                  </a:cubicBezTo>
                  <a:cubicBezTo>
                    <a:pt x="867" y="465"/>
                    <a:pt x="875" y="460"/>
                    <a:pt x="879" y="455"/>
                  </a:cubicBezTo>
                  <a:cubicBezTo>
                    <a:pt x="882" y="449"/>
                    <a:pt x="879" y="445"/>
                    <a:pt x="873" y="445"/>
                  </a:cubicBezTo>
                  <a:cubicBezTo>
                    <a:pt x="873" y="445"/>
                    <a:pt x="873" y="445"/>
                    <a:pt x="873" y="445"/>
                  </a:cubicBezTo>
                  <a:moveTo>
                    <a:pt x="907" y="445"/>
                  </a:moveTo>
                  <a:cubicBezTo>
                    <a:pt x="900" y="445"/>
                    <a:pt x="892" y="449"/>
                    <a:pt x="889" y="455"/>
                  </a:cubicBezTo>
                  <a:cubicBezTo>
                    <a:pt x="886" y="460"/>
                    <a:pt x="889" y="465"/>
                    <a:pt x="895" y="465"/>
                  </a:cubicBezTo>
                  <a:cubicBezTo>
                    <a:pt x="902" y="465"/>
                    <a:pt x="910" y="460"/>
                    <a:pt x="913" y="455"/>
                  </a:cubicBezTo>
                  <a:cubicBezTo>
                    <a:pt x="917" y="449"/>
                    <a:pt x="914" y="445"/>
                    <a:pt x="907" y="445"/>
                  </a:cubicBezTo>
                  <a:cubicBezTo>
                    <a:pt x="907" y="445"/>
                    <a:pt x="907" y="445"/>
                    <a:pt x="907" y="445"/>
                  </a:cubicBezTo>
                  <a:moveTo>
                    <a:pt x="942" y="444"/>
                  </a:moveTo>
                  <a:cubicBezTo>
                    <a:pt x="935" y="444"/>
                    <a:pt x="927" y="449"/>
                    <a:pt x="924" y="455"/>
                  </a:cubicBezTo>
                  <a:cubicBezTo>
                    <a:pt x="921" y="460"/>
                    <a:pt x="924" y="465"/>
                    <a:pt x="930" y="465"/>
                  </a:cubicBezTo>
                  <a:cubicBezTo>
                    <a:pt x="937" y="465"/>
                    <a:pt x="945" y="460"/>
                    <a:pt x="948" y="454"/>
                  </a:cubicBezTo>
                  <a:cubicBezTo>
                    <a:pt x="952" y="449"/>
                    <a:pt x="949" y="444"/>
                    <a:pt x="942" y="444"/>
                  </a:cubicBezTo>
                  <a:cubicBezTo>
                    <a:pt x="942" y="444"/>
                    <a:pt x="942" y="444"/>
                    <a:pt x="942" y="444"/>
                  </a:cubicBezTo>
                  <a:moveTo>
                    <a:pt x="977" y="444"/>
                  </a:moveTo>
                  <a:cubicBezTo>
                    <a:pt x="970" y="444"/>
                    <a:pt x="962" y="449"/>
                    <a:pt x="959" y="454"/>
                  </a:cubicBezTo>
                  <a:cubicBezTo>
                    <a:pt x="956" y="460"/>
                    <a:pt x="958" y="464"/>
                    <a:pt x="965" y="464"/>
                  </a:cubicBezTo>
                  <a:cubicBezTo>
                    <a:pt x="972" y="464"/>
                    <a:pt x="980" y="460"/>
                    <a:pt x="983" y="454"/>
                  </a:cubicBezTo>
                  <a:cubicBezTo>
                    <a:pt x="986" y="449"/>
                    <a:pt x="983" y="444"/>
                    <a:pt x="977" y="444"/>
                  </a:cubicBezTo>
                  <a:cubicBezTo>
                    <a:pt x="977" y="444"/>
                    <a:pt x="977" y="444"/>
                    <a:pt x="977" y="444"/>
                  </a:cubicBezTo>
                  <a:moveTo>
                    <a:pt x="1011" y="444"/>
                  </a:moveTo>
                  <a:cubicBezTo>
                    <a:pt x="1005" y="444"/>
                    <a:pt x="997" y="448"/>
                    <a:pt x="994" y="454"/>
                  </a:cubicBezTo>
                  <a:cubicBezTo>
                    <a:pt x="991" y="460"/>
                    <a:pt x="994" y="464"/>
                    <a:pt x="1000" y="464"/>
                  </a:cubicBezTo>
                  <a:cubicBezTo>
                    <a:pt x="1007" y="464"/>
                    <a:pt x="1015" y="460"/>
                    <a:pt x="1018" y="454"/>
                  </a:cubicBezTo>
                  <a:cubicBezTo>
                    <a:pt x="1021" y="448"/>
                    <a:pt x="1018" y="444"/>
                    <a:pt x="1012" y="444"/>
                  </a:cubicBezTo>
                  <a:cubicBezTo>
                    <a:pt x="1012" y="444"/>
                    <a:pt x="1011" y="444"/>
                    <a:pt x="1011" y="444"/>
                  </a:cubicBezTo>
                  <a:moveTo>
                    <a:pt x="1047" y="444"/>
                  </a:moveTo>
                  <a:cubicBezTo>
                    <a:pt x="1040" y="444"/>
                    <a:pt x="1032" y="448"/>
                    <a:pt x="1029" y="454"/>
                  </a:cubicBezTo>
                  <a:cubicBezTo>
                    <a:pt x="1026" y="459"/>
                    <a:pt x="1029" y="464"/>
                    <a:pt x="1036" y="464"/>
                  </a:cubicBezTo>
                  <a:cubicBezTo>
                    <a:pt x="1043" y="464"/>
                    <a:pt x="1051" y="459"/>
                    <a:pt x="1053" y="454"/>
                  </a:cubicBezTo>
                  <a:cubicBezTo>
                    <a:pt x="1056" y="448"/>
                    <a:pt x="1053" y="444"/>
                    <a:pt x="1047" y="444"/>
                  </a:cubicBezTo>
                  <a:cubicBezTo>
                    <a:pt x="1047" y="444"/>
                    <a:pt x="1047" y="444"/>
                    <a:pt x="1047" y="444"/>
                  </a:cubicBezTo>
                  <a:moveTo>
                    <a:pt x="1081" y="443"/>
                  </a:moveTo>
                  <a:cubicBezTo>
                    <a:pt x="1074" y="443"/>
                    <a:pt x="1067" y="448"/>
                    <a:pt x="1064" y="454"/>
                  </a:cubicBezTo>
                  <a:cubicBezTo>
                    <a:pt x="1061" y="459"/>
                    <a:pt x="1064" y="464"/>
                    <a:pt x="1071" y="464"/>
                  </a:cubicBezTo>
                  <a:cubicBezTo>
                    <a:pt x="1077" y="464"/>
                    <a:pt x="1085" y="459"/>
                    <a:pt x="1088" y="453"/>
                  </a:cubicBezTo>
                  <a:cubicBezTo>
                    <a:pt x="1091" y="448"/>
                    <a:pt x="1088" y="443"/>
                    <a:pt x="1081" y="443"/>
                  </a:cubicBezTo>
                  <a:cubicBezTo>
                    <a:pt x="1081" y="443"/>
                    <a:pt x="1081" y="443"/>
                    <a:pt x="1081" y="443"/>
                  </a:cubicBezTo>
                  <a:moveTo>
                    <a:pt x="1115" y="443"/>
                  </a:moveTo>
                  <a:cubicBezTo>
                    <a:pt x="1109" y="443"/>
                    <a:pt x="1101" y="448"/>
                    <a:pt x="1098" y="453"/>
                  </a:cubicBezTo>
                  <a:cubicBezTo>
                    <a:pt x="1095" y="459"/>
                    <a:pt x="1098" y="463"/>
                    <a:pt x="1105" y="463"/>
                  </a:cubicBezTo>
                  <a:cubicBezTo>
                    <a:pt x="1112" y="463"/>
                    <a:pt x="1120" y="459"/>
                    <a:pt x="1122" y="453"/>
                  </a:cubicBezTo>
                  <a:cubicBezTo>
                    <a:pt x="1125" y="448"/>
                    <a:pt x="1122" y="443"/>
                    <a:pt x="1115" y="443"/>
                  </a:cubicBezTo>
                  <a:cubicBezTo>
                    <a:pt x="1115" y="443"/>
                    <a:pt x="1115" y="443"/>
                    <a:pt x="1115" y="443"/>
                  </a:cubicBezTo>
                  <a:moveTo>
                    <a:pt x="1256" y="442"/>
                  </a:moveTo>
                  <a:cubicBezTo>
                    <a:pt x="1249" y="442"/>
                    <a:pt x="1242" y="447"/>
                    <a:pt x="1239" y="452"/>
                  </a:cubicBezTo>
                  <a:cubicBezTo>
                    <a:pt x="1237" y="458"/>
                    <a:pt x="1240" y="463"/>
                    <a:pt x="1247" y="462"/>
                  </a:cubicBezTo>
                  <a:cubicBezTo>
                    <a:pt x="1253" y="462"/>
                    <a:pt x="1261" y="458"/>
                    <a:pt x="1264" y="452"/>
                  </a:cubicBezTo>
                  <a:cubicBezTo>
                    <a:pt x="1266" y="447"/>
                    <a:pt x="1263" y="442"/>
                    <a:pt x="1256" y="442"/>
                  </a:cubicBezTo>
                  <a:cubicBezTo>
                    <a:pt x="1256" y="442"/>
                    <a:pt x="1256" y="442"/>
                    <a:pt x="1256" y="442"/>
                  </a:cubicBezTo>
                  <a:moveTo>
                    <a:pt x="1291" y="442"/>
                  </a:moveTo>
                  <a:cubicBezTo>
                    <a:pt x="1284" y="442"/>
                    <a:pt x="1276" y="447"/>
                    <a:pt x="1274" y="452"/>
                  </a:cubicBezTo>
                  <a:cubicBezTo>
                    <a:pt x="1271" y="458"/>
                    <a:pt x="1275" y="462"/>
                    <a:pt x="1282" y="462"/>
                  </a:cubicBezTo>
                  <a:cubicBezTo>
                    <a:pt x="1288" y="462"/>
                    <a:pt x="1296" y="458"/>
                    <a:pt x="1298" y="452"/>
                  </a:cubicBezTo>
                  <a:cubicBezTo>
                    <a:pt x="1301" y="446"/>
                    <a:pt x="1297" y="442"/>
                    <a:pt x="1291" y="442"/>
                  </a:cubicBezTo>
                  <a:cubicBezTo>
                    <a:pt x="1291" y="442"/>
                    <a:pt x="1291" y="442"/>
                    <a:pt x="1291" y="442"/>
                  </a:cubicBezTo>
                  <a:moveTo>
                    <a:pt x="2018" y="437"/>
                  </a:moveTo>
                  <a:cubicBezTo>
                    <a:pt x="2012" y="437"/>
                    <a:pt x="2005" y="442"/>
                    <a:pt x="2004" y="448"/>
                  </a:cubicBezTo>
                  <a:cubicBezTo>
                    <a:pt x="2003" y="453"/>
                    <a:pt x="2008" y="458"/>
                    <a:pt x="2015" y="458"/>
                  </a:cubicBezTo>
                  <a:cubicBezTo>
                    <a:pt x="2022" y="458"/>
                    <a:pt x="2028" y="453"/>
                    <a:pt x="2029" y="448"/>
                  </a:cubicBezTo>
                  <a:cubicBezTo>
                    <a:pt x="2030" y="442"/>
                    <a:pt x="2025" y="437"/>
                    <a:pt x="2018" y="437"/>
                  </a:cubicBezTo>
                  <a:cubicBezTo>
                    <a:pt x="2018" y="437"/>
                    <a:pt x="2018" y="437"/>
                    <a:pt x="2018" y="437"/>
                  </a:cubicBezTo>
                  <a:moveTo>
                    <a:pt x="2053" y="437"/>
                  </a:moveTo>
                  <a:cubicBezTo>
                    <a:pt x="2047" y="437"/>
                    <a:pt x="2041" y="442"/>
                    <a:pt x="2040" y="447"/>
                  </a:cubicBezTo>
                  <a:cubicBezTo>
                    <a:pt x="2039" y="453"/>
                    <a:pt x="2043" y="458"/>
                    <a:pt x="2050" y="458"/>
                  </a:cubicBezTo>
                  <a:cubicBezTo>
                    <a:pt x="2057" y="458"/>
                    <a:pt x="2063" y="453"/>
                    <a:pt x="2064" y="447"/>
                  </a:cubicBezTo>
                  <a:cubicBezTo>
                    <a:pt x="2065" y="442"/>
                    <a:pt x="2060" y="437"/>
                    <a:pt x="2054" y="437"/>
                  </a:cubicBezTo>
                  <a:cubicBezTo>
                    <a:pt x="2054" y="437"/>
                    <a:pt x="2053" y="437"/>
                    <a:pt x="2053" y="437"/>
                  </a:cubicBezTo>
                  <a:moveTo>
                    <a:pt x="2088" y="437"/>
                  </a:moveTo>
                  <a:cubicBezTo>
                    <a:pt x="2082" y="437"/>
                    <a:pt x="2076" y="442"/>
                    <a:pt x="2075" y="447"/>
                  </a:cubicBezTo>
                  <a:cubicBezTo>
                    <a:pt x="2074" y="453"/>
                    <a:pt x="2079" y="457"/>
                    <a:pt x="2085" y="457"/>
                  </a:cubicBezTo>
                  <a:cubicBezTo>
                    <a:pt x="2092" y="457"/>
                    <a:pt x="2098" y="453"/>
                    <a:pt x="2099" y="447"/>
                  </a:cubicBezTo>
                  <a:cubicBezTo>
                    <a:pt x="2100" y="441"/>
                    <a:pt x="2095" y="437"/>
                    <a:pt x="2089" y="437"/>
                  </a:cubicBezTo>
                  <a:cubicBezTo>
                    <a:pt x="2089" y="437"/>
                    <a:pt x="2089" y="437"/>
                    <a:pt x="2088" y="437"/>
                  </a:cubicBezTo>
                  <a:moveTo>
                    <a:pt x="2122" y="437"/>
                  </a:moveTo>
                  <a:cubicBezTo>
                    <a:pt x="2115" y="437"/>
                    <a:pt x="2109" y="441"/>
                    <a:pt x="2108" y="447"/>
                  </a:cubicBezTo>
                  <a:cubicBezTo>
                    <a:pt x="2107" y="453"/>
                    <a:pt x="2112" y="457"/>
                    <a:pt x="2119" y="457"/>
                  </a:cubicBezTo>
                  <a:cubicBezTo>
                    <a:pt x="2126" y="457"/>
                    <a:pt x="2132" y="452"/>
                    <a:pt x="2132" y="447"/>
                  </a:cubicBezTo>
                  <a:cubicBezTo>
                    <a:pt x="2133" y="441"/>
                    <a:pt x="2128" y="437"/>
                    <a:pt x="2122" y="437"/>
                  </a:cubicBezTo>
                  <a:cubicBezTo>
                    <a:pt x="2122" y="437"/>
                    <a:pt x="2122" y="437"/>
                    <a:pt x="2122" y="437"/>
                  </a:cubicBezTo>
                  <a:moveTo>
                    <a:pt x="2157" y="436"/>
                  </a:moveTo>
                  <a:cubicBezTo>
                    <a:pt x="2150" y="436"/>
                    <a:pt x="2144" y="441"/>
                    <a:pt x="2143" y="447"/>
                  </a:cubicBezTo>
                  <a:cubicBezTo>
                    <a:pt x="2143" y="452"/>
                    <a:pt x="2147" y="457"/>
                    <a:pt x="2154" y="457"/>
                  </a:cubicBezTo>
                  <a:cubicBezTo>
                    <a:pt x="2161" y="457"/>
                    <a:pt x="2167" y="452"/>
                    <a:pt x="2168" y="447"/>
                  </a:cubicBezTo>
                  <a:cubicBezTo>
                    <a:pt x="2168" y="441"/>
                    <a:pt x="2163" y="436"/>
                    <a:pt x="2157" y="436"/>
                  </a:cubicBezTo>
                  <a:cubicBezTo>
                    <a:pt x="2157" y="436"/>
                    <a:pt x="2157" y="436"/>
                    <a:pt x="2157" y="436"/>
                  </a:cubicBezTo>
                  <a:moveTo>
                    <a:pt x="2576" y="433"/>
                  </a:moveTo>
                  <a:cubicBezTo>
                    <a:pt x="2569" y="433"/>
                    <a:pt x="2564" y="438"/>
                    <a:pt x="2564" y="444"/>
                  </a:cubicBezTo>
                  <a:cubicBezTo>
                    <a:pt x="2564" y="449"/>
                    <a:pt x="2569" y="454"/>
                    <a:pt x="2576" y="454"/>
                  </a:cubicBezTo>
                  <a:cubicBezTo>
                    <a:pt x="2583" y="454"/>
                    <a:pt x="2588" y="449"/>
                    <a:pt x="2588" y="444"/>
                  </a:cubicBezTo>
                  <a:cubicBezTo>
                    <a:pt x="2588" y="438"/>
                    <a:pt x="2582" y="433"/>
                    <a:pt x="2576" y="433"/>
                  </a:cubicBezTo>
                  <a:cubicBezTo>
                    <a:pt x="2576" y="433"/>
                    <a:pt x="2576" y="433"/>
                    <a:pt x="2576" y="433"/>
                  </a:cubicBezTo>
                  <a:moveTo>
                    <a:pt x="2611" y="433"/>
                  </a:moveTo>
                  <a:cubicBezTo>
                    <a:pt x="2604" y="433"/>
                    <a:pt x="2599" y="438"/>
                    <a:pt x="2599" y="443"/>
                  </a:cubicBezTo>
                  <a:cubicBezTo>
                    <a:pt x="2599" y="449"/>
                    <a:pt x="2605" y="454"/>
                    <a:pt x="2612" y="454"/>
                  </a:cubicBezTo>
                  <a:cubicBezTo>
                    <a:pt x="2619" y="454"/>
                    <a:pt x="2624" y="449"/>
                    <a:pt x="2624" y="443"/>
                  </a:cubicBezTo>
                  <a:cubicBezTo>
                    <a:pt x="2623" y="438"/>
                    <a:pt x="2618" y="433"/>
                    <a:pt x="2611" y="433"/>
                  </a:cubicBezTo>
                  <a:cubicBezTo>
                    <a:pt x="2611" y="433"/>
                    <a:pt x="2611" y="433"/>
                    <a:pt x="2611" y="433"/>
                  </a:cubicBezTo>
                  <a:moveTo>
                    <a:pt x="2645" y="433"/>
                  </a:moveTo>
                  <a:cubicBezTo>
                    <a:pt x="2639" y="433"/>
                    <a:pt x="2633" y="438"/>
                    <a:pt x="2634" y="443"/>
                  </a:cubicBezTo>
                  <a:cubicBezTo>
                    <a:pt x="2634" y="449"/>
                    <a:pt x="2640" y="453"/>
                    <a:pt x="2646" y="453"/>
                  </a:cubicBezTo>
                  <a:cubicBezTo>
                    <a:pt x="2653" y="453"/>
                    <a:pt x="2658" y="449"/>
                    <a:pt x="2658" y="443"/>
                  </a:cubicBezTo>
                  <a:cubicBezTo>
                    <a:pt x="2658" y="437"/>
                    <a:pt x="2652" y="433"/>
                    <a:pt x="2645" y="433"/>
                  </a:cubicBezTo>
                  <a:cubicBezTo>
                    <a:pt x="2645" y="433"/>
                    <a:pt x="2645" y="433"/>
                    <a:pt x="2645" y="433"/>
                  </a:cubicBezTo>
                  <a:moveTo>
                    <a:pt x="2680" y="433"/>
                  </a:moveTo>
                  <a:cubicBezTo>
                    <a:pt x="2673" y="433"/>
                    <a:pt x="2668" y="437"/>
                    <a:pt x="2668" y="443"/>
                  </a:cubicBezTo>
                  <a:cubicBezTo>
                    <a:pt x="2668" y="449"/>
                    <a:pt x="2674" y="453"/>
                    <a:pt x="2681" y="453"/>
                  </a:cubicBezTo>
                  <a:cubicBezTo>
                    <a:pt x="2688" y="453"/>
                    <a:pt x="2693" y="448"/>
                    <a:pt x="2692" y="443"/>
                  </a:cubicBezTo>
                  <a:cubicBezTo>
                    <a:pt x="2692" y="437"/>
                    <a:pt x="2686" y="433"/>
                    <a:pt x="2680" y="433"/>
                  </a:cubicBezTo>
                  <a:cubicBezTo>
                    <a:pt x="2680" y="433"/>
                    <a:pt x="2680" y="433"/>
                    <a:pt x="2680" y="433"/>
                  </a:cubicBezTo>
                  <a:moveTo>
                    <a:pt x="2194" y="433"/>
                  </a:moveTo>
                  <a:cubicBezTo>
                    <a:pt x="2187" y="433"/>
                    <a:pt x="2181" y="437"/>
                    <a:pt x="2180" y="443"/>
                  </a:cubicBezTo>
                  <a:cubicBezTo>
                    <a:pt x="2180" y="449"/>
                    <a:pt x="2185" y="453"/>
                    <a:pt x="2191" y="453"/>
                  </a:cubicBezTo>
                  <a:cubicBezTo>
                    <a:pt x="2198" y="453"/>
                    <a:pt x="2204" y="448"/>
                    <a:pt x="2205" y="443"/>
                  </a:cubicBezTo>
                  <a:cubicBezTo>
                    <a:pt x="2205" y="437"/>
                    <a:pt x="2200" y="433"/>
                    <a:pt x="2194" y="433"/>
                  </a:cubicBezTo>
                  <a:cubicBezTo>
                    <a:pt x="2194" y="433"/>
                    <a:pt x="2194" y="433"/>
                    <a:pt x="2194" y="433"/>
                  </a:cubicBezTo>
                  <a:moveTo>
                    <a:pt x="2714" y="432"/>
                  </a:moveTo>
                  <a:cubicBezTo>
                    <a:pt x="2707" y="433"/>
                    <a:pt x="2702" y="437"/>
                    <a:pt x="2703" y="443"/>
                  </a:cubicBezTo>
                  <a:cubicBezTo>
                    <a:pt x="2703" y="448"/>
                    <a:pt x="2709" y="453"/>
                    <a:pt x="2716" y="453"/>
                  </a:cubicBezTo>
                  <a:cubicBezTo>
                    <a:pt x="2722" y="453"/>
                    <a:pt x="2727" y="448"/>
                    <a:pt x="2727" y="443"/>
                  </a:cubicBezTo>
                  <a:cubicBezTo>
                    <a:pt x="2727" y="437"/>
                    <a:pt x="2721" y="432"/>
                    <a:pt x="2714" y="432"/>
                  </a:cubicBezTo>
                  <a:cubicBezTo>
                    <a:pt x="2714" y="432"/>
                    <a:pt x="2714" y="432"/>
                    <a:pt x="2714" y="432"/>
                  </a:cubicBezTo>
                  <a:moveTo>
                    <a:pt x="2229" y="432"/>
                  </a:moveTo>
                  <a:cubicBezTo>
                    <a:pt x="2223" y="432"/>
                    <a:pt x="2217" y="437"/>
                    <a:pt x="2216" y="443"/>
                  </a:cubicBezTo>
                  <a:cubicBezTo>
                    <a:pt x="2216" y="448"/>
                    <a:pt x="2221" y="453"/>
                    <a:pt x="2227" y="453"/>
                  </a:cubicBezTo>
                  <a:cubicBezTo>
                    <a:pt x="2234" y="453"/>
                    <a:pt x="2240" y="448"/>
                    <a:pt x="2240" y="443"/>
                  </a:cubicBezTo>
                  <a:cubicBezTo>
                    <a:pt x="2241" y="437"/>
                    <a:pt x="2236" y="432"/>
                    <a:pt x="2229" y="432"/>
                  </a:cubicBezTo>
                  <a:cubicBezTo>
                    <a:pt x="2229" y="432"/>
                    <a:pt x="2229" y="432"/>
                    <a:pt x="2229" y="432"/>
                  </a:cubicBezTo>
                  <a:moveTo>
                    <a:pt x="2749" y="432"/>
                  </a:moveTo>
                  <a:cubicBezTo>
                    <a:pt x="2742" y="432"/>
                    <a:pt x="2737" y="437"/>
                    <a:pt x="2738" y="443"/>
                  </a:cubicBezTo>
                  <a:cubicBezTo>
                    <a:pt x="2738" y="448"/>
                    <a:pt x="2744" y="453"/>
                    <a:pt x="2751" y="453"/>
                  </a:cubicBezTo>
                  <a:cubicBezTo>
                    <a:pt x="2757" y="453"/>
                    <a:pt x="2762" y="448"/>
                    <a:pt x="2762" y="442"/>
                  </a:cubicBezTo>
                  <a:cubicBezTo>
                    <a:pt x="2761" y="437"/>
                    <a:pt x="2756" y="432"/>
                    <a:pt x="2749" y="432"/>
                  </a:cubicBezTo>
                  <a:cubicBezTo>
                    <a:pt x="2749" y="432"/>
                    <a:pt x="2749" y="432"/>
                    <a:pt x="2749" y="432"/>
                  </a:cubicBezTo>
                  <a:moveTo>
                    <a:pt x="2264" y="432"/>
                  </a:moveTo>
                  <a:cubicBezTo>
                    <a:pt x="2257" y="432"/>
                    <a:pt x="2251" y="437"/>
                    <a:pt x="2251" y="442"/>
                  </a:cubicBezTo>
                  <a:cubicBezTo>
                    <a:pt x="2250" y="448"/>
                    <a:pt x="2255" y="453"/>
                    <a:pt x="2262" y="453"/>
                  </a:cubicBezTo>
                  <a:cubicBezTo>
                    <a:pt x="2269" y="453"/>
                    <a:pt x="2275" y="448"/>
                    <a:pt x="2275" y="442"/>
                  </a:cubicBezTo>
                  <a:cubicBezTo>
                    <a:pt x="2275" y="437"/>
                    <a:pt x="2270" y="432"/>
                    <a:pt x="2264" y="432"/>
                  </a:cubicBezTo>
                  <a:cubicBezTo>
                    <a:pt x="2264" y="432"/>
                    <a:pt x="2264" y="432"/>
                    <a:pt x="2264" y="432"/>
                  </a:cubicBezTo>
                  <a:moveTo>
                    <a:pt x="2298" y="432"/>
                  </a:moveTo>
                  <a:cubicBezTo>
                    <a:pt x="2291" y="432"/>
                    <a:pt x="2285" y="437"/>
                    <a:pt x="2285" y="442"/>
                  </a:cubicBezTo>
                  <a:cubicBezTo>
                    <a:pt x="2285" y="448"/>
                    <a:pt x="2290" y="452"/>
                    <a:pt x="2296" y="452"/>
                  </a:cubicBezTo>
                  <a:cubicBezTo>
                    <a:pt x="2303" y="452"/>
                    <a:pt x="2309" y="448"/>
                    <a:pt x="2309" y="442"/>
                  </a:cubicBezTo>
                  <a:cubicBezTo>
                    <a:pt x="2310" y="436"/>
                    <a:pt x="2305" y="432"/>
                    <a:pt x="2298" y="432"/>
                  </a:cubicBezTo>
                  <a:cubicBezTo>
                    <a:pt x="2298" y="432"/>
                    <a:pt x="2298" y="432"/>
                    <a:pt x="2298" y="432"/>
                  </a:cubicBezTo>
                  <a:moveTo>
                    <a:pt x="2332" y="432"/>
                  </a:moveTo>
                  <a:cubicBezTo>
                    <a:pt x="2326" y="432"/>
                    <a:pt x="2320" y="436"/>
                    <a:pt x="2320" y="442"/>
                  </a:cubicBezTo>
                  <a:cubicBezTo>
                    <a:pt x="2319" y="448"/>
                    <a:pt x="2324" y="452"/>
                    <a:pt x="2331" y="452"/>
                  </a:cubicBezTo>
                  <a:cubicBezTo>
                    <a:pt x="2338" y="452"/>
                    <a:pt x="2344" y="447"/>
                    <a:pt x="2344" y="442"/>
                  </a:cubicBezTo>
                  <a:cubicBezTo>
                    <a:pt x="2344" y="436"/>
                    <a:pt x="2339" y="432"/>
                    <a:pt x="2332" y="432"/>
                  </a:cubicBezTo>
                  <a:cubicBezTo>
                    <a:pt x="2332" y="432"/>
                    <a:pt x="2332" y="432"/>
                    <a:pt x="2332" y="432"/>
                  </a:cubicBezTo>
                  <a:moveTo>
                    <a:pt x="2367" y="431"/>
                  </a:moveTo>
                  <a:cubicBezTo>
                    <a:pt x="2360" y="431"/>
                    <a:pt x="2355" y="436"/>
                    <a:pt x="2354" y="442"/>
                  </a:cubicBezTo>
                  <a:cubicBezTo>
                    <a:pt x="2354" y="447"/>
                    <a:pt x="2359" y="452"/>
                    <a:pt x="2366" y="452"/>
                  </a:cubicBezTo>
                  <a:cubicBezTo>
                    <a:pt x="2373" y="452"/>
                    <a:pt x="2379" y="447"/>
                    <a:pt x="2379" y="442"/>
                  </a:cubicBezTo>
                  <a:cubicBezTo>
                    <a:pt x="2379" y="436"/>
                    <a:pt x="2374" y="431"/>
                    <a:pt x="2367" y="431"/>
                  </a:cubicBezTo>
                  <a:cubicBezTo>
                    <a:pt x="2367" y="431"/>
                    <a:pt x="2367" y="431"/>
                    <a:pt x="2367" y="431"/>
                  </a:cubicBezTo>
                  <a:moveTo>
                    <a:pt x="2402" y="431"/>
                  </a:moveTo>
                  <a:cubicBezTo>
                    <a:pt x="2395" y="431"/>
                    <a:pt x="2390" y="436"/>
                    <a:pt x="2390" y="441"/>
                  </a:cubicBezTo>
                  <a:cubicBezTo>
                    <a:pt x="2389" y="447"/>
                    <a:pt x="2395" y="452"/>
                    <a:pt x="2401" y="452"/>
                  </a:cubicBezTo>
                  <a:cubicBezTo>
                    <a:pt x="2408" y="452"/>
                    <a:pt x="2414" y="447"/>
                    <a:pt x="2414" y="441"/>
                  </a:cubicBezTo>
                  <a:cubicBezTo>
                    <a:pt x="2414" y="436"/>
                    <a:pt x="2409" y="431"/>
                    <a:pt x="2402" y="431"/>
                  </a:cubicBezTo>
                  <a:cubicBezTo>
                    <a:pt x="2402" y="431"/>
                    <a:pt x="2402" y="431"/>
                    <a:pt x="2402" y="431"/>
                  </a:cubicBezTo>
                  <a:moveTo>
                    <a:pt x="2437" y="431"/>
                  </a:moveTo>
                  <a:cubicBezTo>
                    <a:pt x="2430" y="431"/>
                    <a:pt x="2424" y="436"/>
                    <a:pt x="2424" y="441"/>
                  </a:cubicBezTo>
                  <a:cubicBezTo>
                    <a:pt x="2424" y="447"/>
                    <a:pt x="2429" y="451"/>
                    <a:pt x="2436" y="451"/>
                  </a:cubicBezTo>
                  <a:cubicBezTo>
                    <a:pt x="2443" y="451"/>
                    <a:pt x="2448" y="447"/>
                    <a:pt x="2449" y="441"/>
                  </a:cubicBezTo>
                  <a:cubicBezTo>
                    <a:pt x="2449" y="435"/>
                    <a:pt x="2443" y="431"/>
                    <a:pt x="2437" y="431"/>
                  </a:cubicBezTo>
                  <a:cubicBezTo>
                    <a:pt x="2437" y="431"/>
                    <a:pt x="2437" y="431"/>
                    <a:pt x="2437" y="431"/>
                  </a:cubicBezTo>
                  <a:moveTo>
                    <a:pt x="2471" y="431"/>
                  </a:moveTo>
                  <a:cubicBezTo>
                    <a:pt x="2464" y="431"/>
                    <a:pt x="2459" y="435"/>
                    <a:pt x="2459" y="441"/>
                  </a:cubicBezTo>
                  <a:cubicBezTo>
                    <a:pt x="2459" y="447"/>
                    <a:pt x="2464" y="451"/>
                    <a:pt x="2471" y="451"/>
                  </a:cubicBezTo>
                  <a:cubicBezTo>
                    <a:pt x="2478" y="451"/>
                    <a:pt x="2483" y="446"/>
                    <a:pt x="2483" y="441"/>
                  </a:cubicBezTo>
                  <a:cubicBezTo>
                    <a:pt x="2483" y="435"/>
                    <a:pt x="2478" y="431"/>
                    <a:pt x="2471" y="431"/>
                  </a:cubicBezTo>
                  <a:cubicBezTo>
                    <a:pt x="2471" y="431"/>
                    <a:pt x="2471" y="431"/>
                    <a:pt x="2471" y="431"/>
                  </a:cubicBezTo>
                  <a:moveTo>
                    <a:pt x="2506" y="430"/>
                  </a:moveTo>
                  <a:cubicBezTo>
                    <a:pt x="2499" y="431"/>
                    <a:pt x="2494" y="435"/>
                    <a:pt x="2493" y="441"/>
                  </a:cubicBezTo>
                  <a:cubicBezTo>
                    <a:pt x="2493" y="446"/>
                    <a:pt x="2499" y="451"/>
                    <a:pt x="2506" y="451"/>
                  </a:cubicBezTo>
                  <a:cubicBezTo>
                    <a:pt x="2512" y="451"/>
                    <a:pt x="2518" y="446"/>
                    <a:pt x="2518" y="441"/>
                  </a:cubicBezTo>
                  <a:cubicBezTo>
                    <a:pt x="2518" y="435"/>
                    <a:pt x="2512" y="430"/>
                    <a:pt x="2506" y="430"/>
                  </a:cubicBezTo>
                  <a:cubicBezTo>
                    <a:pt x="2506" y="430"/>
                    <a:pt x="2506" y="430"/>
                    <a:pt x="2506" y="430"/>
                  </a:cubicBezTo>
                  <a:moveTo>
                    <a:pt x="2540" y="430"/>
                  </a:moveTo>
                  <a:cubicBezTo>
                    <a:pt x="2534" y="430"/>
                    <a:pt x="2528" y="435"/>
                    <a:pt x="2528" y="441"/>
                  </a:cubicBezTo>
                  <a:cubicBezTo>
                    <a:pt x="2528" y="446"/>
                    <a:pt x="2534" y="451"/>
                    <a:pt x="2541" y="451"/>
                  </a:cubicBezTo>
                  <a:cubicBezTo>
                    <a:pt x="2547" y="451"/>
                    <a:pt x="2553" y="446"/>
                    <a:pt x="2553" y="440"/>
                  </a:cubicBezTo>
                  <a:cubicBezTo>
                    <a:pt x="2553" y="435"/>
                    <a:pt x="2547" y="430"/>
                    <a:pt x="2540" y="430"/>
                  </a:cubicBezTo>
                  <a:cubicBezTo>
                    <a:pt x="2540" y="430"/>
                    <a:pt x="2540" y="430"/>
                    <a:pt x="2540" y="430"/>
                  </a:cubicBezTo>
                  <a:moveTo>
                    <a:pt x="2782" y="429"/>
                  </a:moveTo>
                  <a:cubicBezTo>
                    <a:pt x="2776" y="430"/>
                    <a:pt x="2771" y="434"/>
                    <a:pt x="2771" y="440"/>
                  </a:cubicBezTo>
                  <a:cubicBezTo>
                    <a:pt x="2772" y="445"/>
                    <a:pt x="2778" y="450"/>
                    <a:pt x="2784" y="450"/>
                  </a:cubicBezTo>
                  <a:cubicBezTo>
                    <a:pt x="2791" y="450"/>
                    <a:pt x="2796" y="445"/>
                    <a:pt x="2796" y="440"/>
                  </a:cubicBezTo>
                  <a:cubicBezTo>
                    <a:pt x="2795" y="434"/>
                    <a:pt x="2789" y="429"/>
                    <a:pt x="2782" y="429"/>
                  </a:cubicBezTo>
                  <a:cubicBezTo>
                    <a:pt x="2782" y="429"/>
                    <a:pt x="2782" y="429"/>
                    <a:pt x="2782" y="429"/>
                  </a:cubicBezTo>
                  <a:moveTo>
                    <a:pt x="2816" y="429"/>
                  </a:moveTo>
                  <a:cubicBezTo>
                    <a:pt x="2809" y="429"/>
                    <a:pt x="2804" y="434"/>
                    <a:pt x="2805" y="440"/>
                  </a:cubicBezTo>
                  <a:cubicBezTo>
                    <a:pt x="2805" y="445"/>
                    <a:pt x="2811" y="450"/>
                    <a:pt x="2818" y="450"/>
                  </a:cubicBezTo>
                  <a:cubicBezTo>
                    <a:pt x="2825" y="450"/>
                    <a:pt x="2830" y="445"/>
                    <a:pt x="2829" y="439"/>
                  </a:cubicBezTo>
                  <a:cubicBezTo>
                    <a:pt x="2828" y="434"/>
                    <a:pt x="2823" y="429"/>
                    <a:pt x="2816" y="429"/>
                  </a:cubicBezTo>
                  <a:cubicBezTo>
                    <a:pt x="2816" y="429"/>
                    <a:pt x="2816" y="429"/>
                    <a:pt x="2816" y="429"/>
                  </a:cubicBezTo>
                  <a:moveTo>
                    <a:pt x="2850" y="429"/>
                  </a:moveTo>
                  <a:cubicBezTo>
                    <a:pt x="2843" y="429"/>
                    <a:pt x="2839" y="434"/>
                    <a:pt x="2839" y="439"/>
                  </a:cubicBezTo>
                  <a:cubicBezTo>
                    <a:pt x="2840" y="445"/>
                    <a:pt x="2846" y="450"/>
                    <a:pt x="2853" y="449"/>
                  </a:cubicBezTo>
                  <a:cubicBezTo>
                    <a:pt x="2860" y="449"/>
                    <a:pt x="2864" y="445"/>
                    <a:pt x="2864" y="439"/>
                  </a:cubicBezTo>
                  <a:cubicBezTo>
                    <a:pt x="2863" y="434"/>
                    <a:pt x="2857" y="429"/>
                    <a:pt x="2850" y="429"/>
                  </a:cubicBezTo>
                  <a:cubicBezTo>
                    <a:pt x="2850" y="429"/>
                    <a:pt x="2850" y="429"/>
                    <a:pt x="2850" y="429"/>
                  </a:cubicBezTo>
                  <a:moveTo>
                    <a:pt x="2885" y="429"/>
                  </a:moveTo>
                  <a:cubicBezTo>
                    <a:pt x="2878" y="429"/>
                    <a:pt x="2873" y="433"/>
                    <a:pt x="2874" y="439"/>
                  </a:cubicBezTo>
                  <a:cubicBezTo>
                    <a:pt x="2875" y="445"/>
                    <a:pt x="2881" y="449"/>
                    <a:pt x="2888" y="449"/>
                  </a:cubicBezTo>
                  <a:cubicBezTo>
                    <a:pt x="2894" y="449"/>
                    <a:pt x="2899" y="445"/>
                    <a:pt x="2898" y="439"/>
                  </a:cubicBezTo>
                  <a:cubicBezTo>
                    <a:pt x="2898" y="433"/>
                    <a:pt x="2892" y="429"/>
                    <a:pt x="2885" y="429"/>
                  </a:cubicBezTo>
                  <a:cubicBezTo>
                    <a:pt x="2885" y="429"/>
                    <a:pt x="2885" y="429"/>
                    <a:pt x="2885" y="429"/>
                  </a:cubicBezTo>
                  <a:moveTo>
                    <a:pt x="2920" y="429"/>
                  </a:moveTo>
                  <a:cubicBezTo>
                    <a:pt x="2913" y="429"/>
                    <a:pt x="2908" y="433"/>
                    <a:pt x="2909" y="439"/>
                  </a:cubicBezTo>
                  <a:cubicBezTo>
                    <a:pt x="2910" y="444"/>
                    <a:pt x="2916" y="449"/>
                    <a:pt x="2923" y="449"/>
                  </a:cubicBezTo>
                  <a:cubicBezTo>
                    <a:pt x="2930" y="449"/>
                    <a:pt x="2935" y="444"/>
                    <a:pt x="2934" y="439"/>
                  </a:cubicBezTo>
                  <a:cubicBezTo>
                    <a:pt x="2933" y="433"/>
                    <a:pt x="2927" y="429"/>
                    <a:pt x="2920" y="429"/>
                  </a:cubicBezTo>
                  <a:cubicBezTo>
                    <a:pt x="2920" y="429"/>
                    <a:pt x="2920" y="429"/>
                    <a:pt x="2920" y="429"/>
                  </a:cubicBezTo>
                  <a:moveTo>
                    <a:pt x="2954" y="428"/>
                  </a:moveTo>
                  <a:cubicBezTo>
                    <a:pt x="2948" y="428"/>
                    <a:pt x="2943" y="433"/>
                    <a:pt x="2944" y="439"/>
                  </a:cubicBezTo>
                  <a:cubicBezTo>
                    <a:pt x="2945" y="444"/>
                    <a:pt x="2951" y="449"/>
                    <a:pt x="2958" y="449"/>
                  </a:cubicBezTo>
                  <a:cubicBezTo>
                    <a:pt x="2964" y="449"/>
                    <a:pt x="2969" y="444"/>
                    <a:pt x="2968" y="438"/>
                  </a:cubicBezTo>
                  <a:cubicBezTo>
                    <a:pt x="2967" y="433"/>
                    <a:pt x="2961" y="428"/>
                    <a:pt x="2954" y="428"/>
                  </a:cubicBezTo>
                  <a:cubicBezTo>
                    <a:pt x="2954" y="428"/>
                    <a:pt x="2954" y="428"/>
                    <a:pt x="2954" y="428"/>
                  </a:cubicBezTo>
                  <a:moveTo>
                    <a:pt x="2989" y="428"/>
                  </a:moveTo>
                  <a:cubicBezTo>
                    <a:pt x="2982" y="428"/>
                    <a:pt x="2978" y="433"/>
                    <a:pt x="2979" y="438"/>
                  </a:cubicBezTo>
                  <a:cubicBezTo>
                    <a:pt x="2980" y="444"/>
                    <a:pt x="2986" y="449"/>
                    <a:pt x="2993" y="449"/>
                  </a:cubicBezTo>
                  <a:cubicBezTo>
                    <a:pt x="2999" y="448"/>
                    <a:pt x="3004" y="444"/>
                    <a:pt x="3003" y="438"/>
                  </a:cubicBezTo>
                  <a:cubicBezTo>
                    <a:pt x="3002" y="433"/>
                    <a:pt x="2996" y="428"/>
                    <a:pt x="2989" y="428"/>
                  </a:cubicBezTo>
                  <a:cubicBezTo>
                    <a:pt x="2989" y="428"/>
                    <a:pt x="2989" y="428"/>
                    <a:pt x="2989" y="428"/>
                  </a:cubicBezTo>
                  <a:moveTo>
                    <a:pt x="3023" y="428"/>
                  </a:moveTo>
                  <a:cubicBezTo>
                    <a:pt x="3017" y="428"/>
                    <a:pt x="3012" y="432"/>
                    <a:pt x="3013" y="438"/>
                  </a:cubicBezTo>
                  <a:cubicBezTo>
                    <a:pt x="3014" y="444"/>
                    <a:pt x="3020" y="448"/>
                    <a:pt x="3027" y="448"/>
                  </a:cubicBezTo>
                  <a:cubicBezTo>
                    <a:pt x="3034" y="448"/>
                    <a:pt x="3038" y="444"/>
                    <a:pt x="3037" y="438"/>
                  </a:cubicBezTo>
                  <a:cubicBezTo>
                    <a:pt x="3036" y="432"/>
                    <a:pt x="3030" y="428"/>
                    <a:pt x="3023" y="428"/>
                  </a:cubicBezTo>
                  <a:cubicBezTo>
                    <a:pt x="3023" y="428"/>
                    <a:pt x="3023" y="428"/>
                    <a:pt x="3023" y="428"/>
                  </a:cubicBezTo>
                  <a:moveTo>
                    <a:pt x="3058" y="428"/>
                  </a:moveTo>
                  <a:cubicBezTo>
                    <a:pt x="3051" y="428"/>
                    <a:pt x="3047" y="432"/>
                    <a:pt x="3048" y="438"/>
                  </a:cubicBezTo>
                  <a:cubicBezTo>
                    <a:pt x="3049" y="444"/>
                    <a:pt x="3055" y="448"/>
                    <a:pt x="3062" y="448"/>
                  </a:cubicBezTo>
                  <a:cubicBezTo>
                    <a:pt x="3069" y="448"/>
                    <a:pt x="3073" y="443"/>
                    <a:pt x="3072" y="438"/>
                  </a:cubicBezTo>
                  <a:cubicBezTo>
                    <a:pt x="3071" y="432"/>
                    <a:pt x="3065" y="428"/>
                    <a:pt x="3058" y="428"/>
                  </a:cubicBezTo>
                  <a:cubicBezTo>
                    <a:pt x="3058" y="428"/>
                    <a:pt x="3058" y="428"/>
                    <a:pt x="3058" y="428"/>
                  </a:cubicBezTo>
                  <a:moveTo>
                    <a:pt x="3094" y="427"/>
                  </a:moveTo>
                  <a:cubicBezTo>
                    <a:pt x="3087" y="427"/>
                    <a:pt x="3083" y="432"/>
                    <a:pt x="3084" y="438"/>
                  </a:cubicBezTo>
                  <a:cubicBezTo>
                    <a:pt x="3085" y="443"/>
                    <a:pt x="3091" y="448"/>
                    <a:pt x="3098" y="448"/>
                  </a:cubicBezTo>
                  <a:cubicBezTo>
                    <a:pt x="3105" y="448"/>
                    <a:pt x="3109" y="443"/>
                    <a:pt x="3108" y="437"/>
                  </a:cubicBezTo>
                  <a:cubicBezTo>
                    <a:pt x="3107" y="432"/>
                    <a:pt x="3100" y="427"/>
                    <a:pt x="3094" y="427"/>
                  </a:cubicBezTo>
                  <a:cubicBezTo>
                    <a:pt x="3094" y="427"/>
                    <a:pt x="3094" y="427"/>
                    <a:pt x="3094" y="427"/>
                  </a:cubicBezTo>
                  <a:moveTo>
                    <a:pt x="3128" y="427"/>
                  </a:moveTo>
                  <a:cubicBezTo>
                    <a:pt x="3121" y="427"/>
                    <a:pt x="3117" y="432"/>
                    <a:pt x="3118" y="437"/>
                  </a:cubicBezTo>
                  <a:cubicBezTo>
                    <a:pt x="3120" y="443"/>
                    <a:pt x="3126" y="448"/>
                    <a:pt x="3133" y="448"/>
                  </a:cubicBezTo>
                  <a:cubicBezTo>
                    <a:pt x="3139" y="447"/>
                    <a:pt x="3144" y="443"/>
                    <a:pt x="3143" y="437"/>
                  </a:cubicBezTo>
                  <a:cubicBezTo>
                    <a:pt x="3141" y="432"/>
                    <a:pt x="3135" y="427"/>
                    <a:pt x="3128" y="427"/>
                  </a:cubicBezTo>
                  <a:cubicBezTo>
                    <a:pt x="3128" y="427"/>
                    <a:pt x="3128" y="427"/>
                    <a:pt x="3128" y="427"/>
                  </a:cubicBezTo>
                  <a:moveTo>
                    <a:pt x="3163" y="427"/>
                  </a:moveTo>
                  <a:cubicBezTo>
                    <a:pt x="3156" y="427"/>
                    <a:pt x="3152" y="431"/>
                    <a:pt x="3153" y="437"/>
                  </a:cubicBezTo>
                  <a:cubicBezTo>
                    <a:pt x="3154" y="443"/>
                    <a:pt x="3161" y="447"/>
                    <a:pt x="3168" y="447"/>
                  </a:cubicBezTo>
                  <a:cubicBezTo>
                    <a:pt x="3174" y="447"/>
                    <a:pt x="3179" y="443"/>
                    <a:pt x="3177" y="437"/>
                  </a:cubicBezTo>
                  <a:cubicBezTo>
                    <a:pt x="3176" y="431"/>
                    <a:pt x="3169" y="427"/>
                    <a:pt x="3163" y="427"/>
                  </a:cubicBezTo>
                  <a:cubicBezTo>
                    <a:pt x="3163" y="427"/>
                    <a:pt x="3163" y="427"/>
                    <a:pt x="3163" y="427"/>
                  </a:cubicBezTo>
                  <a:moveTo>
                    <a:pt x="3198" y="427"/>
                  </a:moveTo>
                  <a:cubicBezTo>
                    <a:pt x="3191" y="427"/>
                    <a:pt x="3187" y="431"/>
                    <a:pt x="3188" y="437"/>
                  </a:cubicBezTo>
                  <a:cubicBezTo>
                    <a:pt x="3190" y="443"/>
                    <a:pt x="3196" y="447"/>
                    <a:pt x="3203" y="447"/>
                  </a:cubicBezTo>
                  <a:cubicBezTo>
                    <a:pt x="3210" y="447"/>
                    <a:pt x="3214" y="442"/>
                    <a:pt x="3212" y="437"/>
                  </a:cubicBezTo>
                  <a:cubicBezTo>
                    <a:pt x="3211" y="431"/>
                    <a:pt x="3204" y="427"/>
                    <a:pt x="3198" y="427"/>
                  </a:cubicBezTo>
                  <a:cubicBezTo>
                    <a:pt x="3198" y="427"/>
                    <a:pt x="3198" y="427"/>
                    <a:pt x="3198" y="427"/>
                  </a:cubicBezTo>
                  <a:moveTo>
                    <a:pt x="3232" y="426"/>
                  </a:moveTo>
                  <a:cubicBezTo>
                    <a:pt x="3225" y="426"/>
                    <a:pt x="3221" y="431"/>
                    <a:pt x="3223" y="437"/>
                  </a:cubicBezTo>
                  <a:cubicBezTo>
                    <a:pt x="3224" y="442"/>
                    <a:pt x="3231" y="447"/>
                    <a:pt x="3238" y="447"/>
                  </a:cubicBezTo>
                  <a:cubicBezTo>
                    <a:pt x="3244" y="447"/>
                    <a:pt x="3249" y="442"/>
                    <a:pt x="3247" y="436"/>
                  </a:cubicBezTo>
                  <a:cubicBezTo>
                    <a:pt x="3245" y="431"/>
                    <a:pt x="3239" y="426"/>
                    <a:pt x="3232" y="426"/>
                  </a:cubicBezTo>
                  <a:cubicBezTo>
                    <a:pt x="3232" y="426"/>
                    <a:pt x="3232" y="426"/>
                    <a:pt x="3232" y="426"/>
                  </a:cubicBezTo>
                  <a:moveTo>
                    <a:pt x="3267" y="426"/>
                  </a:moveTo>
                  <a:cubicBezTo>
                    <a:pt x="3260" y="426"/>
                    <a:pt x="3256" y="431"/>
                    <a:pt x="3257" y="436"/>
                  </a:cubicBezTo>
                  <a:cubicBezTo>
                    <a:pt x="3259" y="442"/>
                    <a:pt x="3266" y="447"/>
                    <a:pt x="3272" y="447"/>
                  </a:cubicBezTo>
                  <a:cubicBezTo>
                    <a:pt x="3279" y="447"/>
                    <a:pt x="3283" y="442"/>
                    <a:pt x="3282" y="436"/>
                  </a:cubicBezTo>
                  <a:cubicBezTo>
                    <a:pt x="3280" y="431"/>
                    <a:pt x="3273" y="426"/>
                    <a:pt x="3267" y="426"/>
                  </a:cubicBezTo>
                  <a:cubicBezTo>
                    <a:pt x="3267" y="426"/>
                    <a:pt x="3267" y="426"/>
                    <a:pt x="3267" y="426"/>
                  </a:cubicBezTo>
                  <a:moveTo>
                    <a:pt x="3301" y="426"/>
                  </a:moveTo>
                  <a:cubicBezTo>
                    <a:pt x="3294" y="426"/>
                    <a:pt x="3290" y="430"/>
                    <a:pt x="3292" y="436"/>
                  </a:cubicBezTo>
                  <a:cubicBezTo>
                    <a:pt x="3294" y="442"/>
                    <a:pt x="3300" y="446"/>
                    <a:pt x="3307" y="446"/>
                  </a:cubicBezTo>
                  <a:cubicBezTo>
                    <a:pt x="3314" y="446"/>
                    <a:pt x="3318" y="442"/>
                    <a:pt x="3316" y="436"/>
                  </a:cubicBezTo>
                  <a:cubicBezTo>
                    <a:pt x="3315" y="430"/>
                    <a:pt x="3308" y="426"/>
                    <a:pt x="3301" y="426"/>
                  </a:cubicBezTo>
                  <a:cubicBezTo>
                    <a:pt x="3301" y="426"/>
                    <a:pt x="3301" y="426"/>
                    <a:pt x="3301" y="426"/>
                  </a:cubicBezTo>
                  <a:moveTo>
                    <a:pt x="3336" y="426"/>
                  </a:moveTo>
                  <a:cubicBezTo>
                    <a:pt x="3329" y="426"/>
                    <a:pt x="3325" y="430"/>
                    <a:pt x="3327" y="436"/>
                  </a:cubicBezTo>
                  <a:cubicBezTo>
                    <a:pt x="3328" y="442"/>
                    <a:pt x="3335" y="446"/>
                    <a:pt x="3342" y="446"/>
                  </a:cubicBezTo>
                  <a:cubicBezTo>
                    <a:pt x="3349" y="446"/>
                    <a:pt x="3353" y="441"/>
                    <a:pt x="3351" y="436"/>
                  </a:cubicBezTo>
                  <a:cubicBezTo>
                    <a:pt x="3349" y="430"/>
                    <a:pt x="3342" y="426"/>
                    <a:pt x="3336" y="426"/>
                  </a:cubicBezTo>
                  <a:cubicBezTo>
                    <a:pt x="3336" y="426"/>
                    <a:pt x="3336" y="426"/>
                    <a:pt x="3336" y="426"/>
                  </a:cubicBezTo>
                  <a:moveTo>
                    <a:pt x="3371" y="425"/>
                  </a:moveTo>
                  <a:cubicBezTo>
                    <a:pt x="3364" y="425"/>
                    <a:pt x="3360" y="430"/>
                    <a:pt x="3362" y="436"/>
                  </a:cubicBezTo>
                  <a:cubicBezTo>
                    <a:pt x="3364" y="441"/>
                    <a:pt x="3370" y="446"/>
                    <a:pt x="3377" y="446"/>
                  </a:cubicBezTo>
                  <a:cubicBezTo>
                    <a:pt x="3384" y="446"/>
                    <a:pt x="3388" y="441"/>
                    <a:pt x="3386" y="436"/>
                  </a:cubicBezTo>
                  <a:cubicBezTo>
                    <a:pt x="3384" y="430"/>
                    <a:pt x="3377" y="425"/>
                    <a:pt x="3371" y="425"/>
                  </a:cubicBezTo>
                  <a:cubicBezTo>
                    <a:pt x="3371" y="425"/>
                    <a:pt x="3371" y="425"/>
                    <a:pt x="3371" y="425"/>
                  </a:cubicBezTo>
                  <a:moveTo>
                    <a:pt x="3405" y="425"/>
                  </a:moveTo>
                  <a:cubicBezTo>
                    <a:pt x="3398" y="425"/>
                    <a:pt x="3394" y="430"/>
                    <a:pt x="3396" y="435"/>
                  </a:cubicBezTo>
                  <a:cubicBezTo>
                    <a:pt x="3398" y="441"/>
                    <a:pt x="3405" y="446"/>
                    <a:pt x="3412" y="446"/>
                  </a:cubicBezTo>
                  <a:cubicBezTo>
                    <a:pt x="3419" y="446"/>
                    <a:pt x="3422" y="441"/>
                    <a:pt x="3421" y="435"/>
                  </a:cubicBezTo>
                  <a:cubicBezTo>
                    <a:pt x="3419" y="430"/>
                    <a:pt x="3412" y="425"/>
                    <a:pt x="3405" y="425"/>
                  </a:cubicBezTo>
                  <a:cubicBezTo>
                    <a:pt x="3405" y="425"/>
                    <a:pt x="3405" y="425"/>
                    <a:pt x="3405" y="425"/>
                  </a:cubicBezTo>
                  <a:moveTo>
                    <a:pt x="3440" y="425"/>
                  </a:moveTo>
                  <a:cubicBezTo>
                    <a:pt x="3433" y="425"/>
                    <a:pt x="3429" y="430"/>
                    <a:pt x="3431" y="435"/>
                  </a:cubicBezTo>
                  <a:cubicBezTo>
                    <a:pt x="3433" y="441"/>
                    <a:pt x="3440" y="445"/>
                    <a:pt x="3447" y="445"/>
                  </a:cubicBezTo>
                  <a:cubicBezTo>
                    <a:pt x="3453" y="445"/>
                    <a:pt x="3457" y="441"/>
                    <a:pt x="3455" y="435"/>
                  </a:cubicBezTo>
                  <a:cubicBezTo>
                    <a:pt x="3453" y="429"/>
                    <a:pt x="3446" y="425"/>
                    <a:pt x="3440" y="425"/>
                  </a:cubicBezTo>
                  <a:cubicBezTo>
                    <a:pt x="3440" y="425"/>
                    <a:pt x="3440" y="425"/>
                    <a:pt x="3440" y="425"/>
                  </a:cubicBezTo>
                  <a:moveTo>
                    <a:pt x="3474" y="425"/>
                  </a:moveTo>
                  <a:cubicBezTo>
                    <a:pt x="3467" y="425"/>
                    <a:pt x="3463" y="429"/>
                    <a:pt x="3465" y="435"/>
                  </a:cubicBezTo>
                  <a:cubicBezTo>
                    <a:pt x="3467" y="441"/>
                    <a:pt x="3475" y="445"/>
                    <a:pt x="3481" y="445"/>
                  </a:cubicBezTo>
                  <a:cubicBezTo>
                    <a:pt x="3488" y="445"/>
                    <a:pt x="3492" y="440"/>
                    <a:pt x="3490" y="435"/>
                  </a:cubicBezTo>
                  <a:cubicBezTo>
                    <a:pt x="3488" y="429"/>
                    <a:pt x="3481" y="425"/>
                    <a:pt x="3474" y="425"/>
                  </a:cubicBezTo>
                  <a:cubicBezTo>
                    <a:pt x="3474" y="425"/>
                    <a:pt x="3474" y="425"/>
                    <a:pt x="3474" y="425"/>
                  </a:cubicBezTo>
                  <a:moveTo>
                    <a:pt x="3509" y="424"/>
                  </a:moveTo>
                  <a:cubicBezTo>
                    <a:pt x="3502" y="424"/>
                    <a:pt x="3498" y="429"/>
                    <a:pt x="3500" y="435"/>
                  </a:cubicBezTo>
                  <a:cubicBezTo>
                    <a:pt x="3502" y="440"/>
                    <a:pt x="3509" y="445"/>
                    <a:pt x="3516" y="445"/>
                  </a:cubicBezTo>
                  <a:cubicBezTo>
                    <a:pt x="3523" y="445"/>
                    <a:pt x="3527" y="440"/>
                    <a:pt x="3525" y="435"/>
                  </a:cubicBezTo>
                  <a:cubicBezTo>
                    <a:pt x="3522" y="429"/>
                    <a:pt x="3515" y="424"/>
                    <a:pt x="3509" y="424"/>
                  </a:cubicBezTo>
                  <a:cubicBezTo>
                    <a:pt x="3509" y="424"/>
                    <a:pt x="3509" y="424"/>
                    <a:pt x="3509" y="424"/>
                  </a:cubicBezTo>
                  <a:moveTo>
                    <a:pt x="3544" y="424"/>
                  </a:moveTo>
                  <a:cubicBezTo>
                    <a:pt x="3537" y="424"/>
                    <a:pt x="3533" y="429"/>
                    <a:pt x="3535" y="434"/>
                  </a:cubicBezTo>
                  <a:cubicBezTo>
                    <a:pt x="3537" y="440"/>
                    <a:pt x="3545" y="445"/>
                    <a:pt x="3551" y="445"/>
                  </a:cubicBezTo>
                  <a:cubicBezTo>
                    <a:pt x="3558" y="445"/>
                    <a:pt x="3562" y="440"/>
                    <a:pt x="3560" y="434"/>
                  </a:cubicBezTo>
                  <a:cubicBezTo>
                    <a:pt x="3557" y="429"/>
                    <a:pt x="3550" y="424"/>
                    <a:pt x="3544" y="424"/>
                  </a:cubicBezTo>
                  <a:cubicBezTo>
                    <a:pt x="3544" y="424"/>
                    <a:pt x="3544" y="424"/>
                    <a:pt x="3544" y="424"/>
                  </a:cubicBezTo>
                  <a:moveTo>
                    <a:pt x="3578" y="424"/>
                  </a:moveTo>
                  <a:cubicBezTo>
                    <a:pt x="3571" y="424"/>
                    <a:pt x="3568" y="428"/>
                    <a:pt x="3570" y="434"/>
                  </a:cubicBezTo>
                  <a:cubicBezTo>
                    <a:pt x="3572" y="440"/>
                    <a:pt x="3579" y="444"/>
                    <a:pt x="3586" y="444"/>
                  </a:cubicBezTo>
                  <a:cubicBezTo>
                    <a:pt x="3593" y="444"/>
                    <a:pt x="3596" y="440"/>
                    <a:pt x="3594" y="434"/>
                  </a:cubicBezTo>
                  <a:cubicBezTo>
                    <a:pt x="3592" y="428"/>
                    <a:pt x="3585" y="424"/>
                    <a:pt x="3578" y="424"/>
                  </a:cubicBezTo>
                  <a:cubicBezTo>
                    <a:pt x="3578" y="424"/>
                    <a:pt x="3578" y="424"/>
                    <a:pt x="3578" y="424"/>
                  </a:cubicBezTo>
                  <a:moveTo>
                    <a:pt x="3612" y="423"/>
                  </a:moveTo>
                  <a:cubicBezTo>
                    <a:pt x="3606" y="423"/>
                    <a:pt x="3602" y="428"/>
                    <a:pt x="3604" y="434"/>
                  </a:cubicBezTo>
                  <a:cubicBezTo>
                    <a:pt x="3607" y="439"/>
                    <a:pt x="3614" y="444"/>
                    <a:pt x="3621" y="444"/>
                  </a:cubicBezTo>
                  <a:cubicBezTo>
                    <a:pt x="3627" y="444"/>
                    <a:pt x="3631" y="439"/>
                    <a:pt x="3629" y="434"/>
                  </a:cubicBezTo>
                  <a:cubicBezTo>
                    <a:pt x="3626" y="428"/>
                    <a:pt x="3619" y="423"/>
                    <a:pt x="3612" y="423"/>
                  </a:cubicBezTo>
                  <a:cubicBezTo>
                    <a:pt x="3612" y="423"/>
                    <a:pt x="3612" y="423"/>
                    <a:pt x="3612" y="423"/>
                  </a:cubicBezTo>
                  <a:moveTo>
                    <a:pt x="3647" y="423"/>
                  </a:moveTo>
                  <a:cubicBezTo>
                    <a:pt x="3640" y="423"/>
                    <a:pt x="3637" y="428"/>
                    <a:pt x="3639" y="434"/>
                  </a:cubicBezTo>
                  <a:cubicBezTo>
                    <a:pt x="3641" y="439"/>
                    <a:pt x="3649" y="444"/>
                    <a:pt x="3656" y="444"/>
                  </a:cubicBezTo>
                  <a:cubicBezTo>
                    <a:pt x="3662" y="444"/>
                    <a:pt x="3666" y="439"/>
                    <a:pt x="3663" y="433"/>
                  </a:cubicBezTo>
                  <a:cubicBezTo>
                    <a:pt x="3661" y="428"/>
                    <a:pt x="3654" y="423"/>
                    <a:pt x="3647" y="423"/>
                  </a:cubicBezTo>
                  <a:cubicBezTo>
                    <a:pt x="3647" y="423"/>
                    <a:pt x="3647" y="423"/>
                    <a:pt x="3647" y="423"/>
                  </a:cubicBezTo>
                  <a:moveTo>
                    <a:pt x="3684" y="423"/>
                  </a:moveTo>
                  <a:cubicBezTo>
                    <a:pt x="3677" y="423"/>
                    <a:pt x="3674" y="428"/>
                    <a:pt x="3676" y="433"/>
                  </a:cubicBezTo>
                  <a:cubicBezTo>
                    <a:pt x="3678" y="439"/>
                    <a:pt x="3686" y="444"/>
                    <a:pt x="3693" y="443"/>
                  </a:cubicBezTo>
                  <a:cubicBezTo>
                    <a:pt x="3699" y="443"/>
                    <a:pt x="3703" y="439"/>
                    <a:pt x="3700" y="433"/>
                  </a:cubicBezTo>
                  <a:cubicBezTo>
                    <a:pt x="3698" y="427"/>
                    <a:pt x="3690" y="423"/>
                    <a:pt x="3684" y="423"/>
                  </a:cubicBezTo>
                  <a:cubicBezTo>
                    <a:pt x="3684" y="423"/>
                    <a:pt x="3684" y="423"/>
                    <a:pt x="3684" y="423"/>
                  </a:cubicBezTo>
                  <a:moveTo>
                    <a:pt x="3718" y="423"/>
                  </a:moveTo>
                  <a:cubicBezTo>
                    <a:pt x="3711" y="423"/>
                    <a:pt x="3708" y="427"/>
                    <a:pt x="3710" y="433"/>
                  </a:cubicBezTo>
                  <a:cubicBezTo>
                    <a:pt x="3713" y="439"/>
                    <a:pt x="3720" y="443"/>
                    <a:pt x="3727" y="443"/>
                  </a:cubicBezTo>
                  <a:cubicBezTo>
                    <a:pt x="3734" y="443"/>
                    <a:pt x="3737" y="439"/>
                    <a:pt x="3734" y="433"/>
                  </a:cubicBezTo>
                  <a:cubicBezTo>
                    <a:pt x="3732" y="427"/>
                    <a:pt x="3725" y="423"/>
                    <a:pt x="3718" y="423"/>
                  </a:cubicBezTo>
                  <a:cubicBezTo>
                    <a:pt x="3718" y="423"/>
                    <a:pt x="3718" y="423"/>
                    <a:pt x="3718" y="423"/>
                  </a:cubicBezTo>
                  <a:moveTo>
                    <a:pt x="3752" y="422"/>
                  </a:moveTo>
                  <a:cubicBezTo>
                    <a:pt x="3745" y="422"/>
                    <a:pt x="3742" y="427"/>
                    <a:pt x="3745" y="433"/>
                  </a:cubicBezTo>
                  <a:cubicBezTo>
                    <a:pt x="3747" y="438"/>
                    <a:pt x="3755" y="443"/>
                    <a:pt x="3761" y="443"/>
                  </a:cubicBezTo>
                  <a:cubicBezTo>
                    <a:pt x="3768" y="443"/>
                    <a:pt x="3772" y="438"/>
                    <a:pt x="3769" y="433"/>
                  </a:cubicBezTo>
                  <a:cubicBezTo>
                    <a:pt x="3766" y="427"/>
                    <a:pt x="3759" y="422"/>
                    <a:pt x="3752" y="422"/>
                  </a:cubicBezTo>
                  <a:cubicBezTo>
                    <a:pt x="3752" y="422"/>
                    <a:pt x="3752" y="422"/>
                    <a:pt x="3752" y="422"/>
                  </a:cubicBezTo>
                  <a:moveTo>
                    <a:pt x="3787" y="422"/>
                  </a:moveTo>
                  <a:cubicBezTo>
                    <a:pt x="3780" y="422"/>
                    <a:pt x="3777" y="427"/>
                    <a:pt x="3779" y="433"/>
                  </a:cubicBezTo>
                  <a:cubicBezTo>
                    <a:pt x="3782" y="438"/>
                    <a:pt x="3790" y="443"/>
                    <a:pt x="3796" y="443"/>
                  </a:cubicBezTo>
                  <a:cubicBezTo>
                    <a:pt x="3803" y="443"/>
                    <a:pt x="3806" y="438"/>
                    <a:pt x="3804" y="432"/>
                  </a:cubicBezTo>
                  <a:cubicBezTo>
                    <a:pt x="3801" y="427"/>
                    <a:pt x="3793" y="422"/>
                    <a:pt x="3787" y="422"/>
                  </a:cubicBezTo>
                  <a:cubicBezTo>
                    <a:pt x="3787" y="422"/>
                    <a:pt x="3787" y="422"/>
                    <a:pt x="3787" y="422"/>
                  </a:cubicBezTo>
                  <a:moveTo>
                    <a:pt x="3822" y="422"/>
                  </a:moveTo>
                  <a:cubicBezTo>
                    <a:pt x="3815" y="422"/>
                    <a:pt x="3812" y="427"/>
                    <a:pt x="3814" y="432"/>
                  </a:cubicBezTo>
                  <a:cubicBezTo>
                    <a:pt x="3817" y="438"/>
                    <a:pt x="3825" y="443"/>
                    <a:pt x="3832" y="443"/>
                  </a:cubicBezTo>
                  <a:cubicBezTo>
                    <a:pt x="3838" y="442"/>
                    <a:pt x="3841" y="438"/>
                    <a:pt x="3839" y="432"/>
                  </a:cubicBezTo>
                  <a:cubicBezTo>
                    <a:pt x="3836" y="426"/>
                    <a:pt x="3828" y="422"/>
                    <a:pt x="3822" y="422"/>
                  </a:cubicBezTo>
                  <a:cubicBezTo>
                    <a:pt x="3822" y="422"/>
                    <a:pt x="3822" y="422"/>
                    <a:pt x="3822" y="422"/>
                  </a:cubicBezTo>
                  <a:moveTo>
                    <a:pt x="3856" y="422"/>
                  </a:moveTo>
                  <a:cubicBezTo>
                    <a:pt x="3849" y="422"/>
                    <a:pt x="3846" y="426"/>
                    <a:pt x="3849" y="432"/>
                  </a:cubicBezTo>
                  <a:cubicBezTo>
                    <a:pt x="3852" y="438"/>
                    <a:pt x="3859" y="442"/>
                    <a:pt x="3866" y="442"/>
                  </a:cubicBezTo>
                  <a:cubicBezTo>
                    <a:pt x="3873" y="442"/>
                    <a:pt x="3876" y="438"/>
                    <a:pt x="3873" y="432"/>
                  </a:cubicBezTo>
                  <a:cubicBezTo>
                    <a:pt x="3870" y="426"/>
                    <a:pt x="3863" y="422"/>
                    <a:pt x="3856" y="422"/>
                  </a:cubicBezTo>
                  <a:cubicBezTo>
                    <a:pt x="3856" y="422"/>
                    <a:pt x="3856" y="422"/>
                    <a:pt x="3856" y="422"/>
                  </a:cubicBezTo>
                  <a:moveTo>
                    <a:pt x="3890" y="421"/>
                  </a:moveTo>
                  <a:cubicBezTo>
                    <a:pt x="3884" y="422"/>
                    <a:pt x="3881" y="426"/>
                    <a:pt x="3884" y="432"/>
                  </a:cubicBezTo>
                  <a:cubicBezTo>
                    <a:pt x="3886" y="438"/>
                    <a:pt x="3894" y="442"/>
                    <a:pt x="3901" y="442"/>
                  </a:cubicBezTo>
                  <a:cubicBezTo>
                    <a:pt x="3908" y="442"/>
                    <a:pt x="3911" y="437"/>
                    <a:pt x="3908" y="432"/>
                  </a:cubicBezTo>
                  <a:cubicBezTo>
                    <a:pt x="3905" y="426"/>
                    <a:pt x="3897" y="421"/>
                    <a:pt x="3891" y="421"/>
                  </a:cubicBezTo>
                  <a:cubicBezTo>
                    <a:pt x="3891" y="421"/>
                    <a:pt x="3891" y="421"/>
                    <a:pt x="3890" y="421"/>
                  </a:cubicBezTo>
                  <a:moveTo>
                    <a:pt x="3925" y="421"/>
                  </a:moveTo>
                  <a:cubicBezTo>
                    <a:pt x="3918" y="421"/>
                    <a:pt x="3915" y="426"/>
                    <a:pt x="3918" y="432"/>
                  </a:cubicBezTo>
                  <a:cubicBezTo>
                    <a:pt x="3921" y="437"/>
                    <a:pt x="3929" y="442"/>
                    <a:pt x="3935" y="442"/>
                  </a:cubicBezTo>
                  <a:cubicBezTo>
                    <a:pt x="3942" y="442"/>
                    <a:pt x="3945" y="437"/>
                    <a:pt x="3942" y="431"/>
                  </a:cubicBezTo>
                  <a:cubicBezTo>
                    <a:pt x="3939" y="426"/>
                    <a:pt x="3932" y="421"/>
                    <a:pt x="3925" y="421"/>
                  </a:cubicBezTo>
                  <a:cubicBezTo>
                    <a:pt x="3925" y="421"/>
                    <a:pt x="3925" y="421"/>
                    <a:pt x="3925" y="421"/>
                  </a:cubicBezTo>
                  <a:moveTo>
                    <a:pt x="3959" y="421"/>
                  </a:moveTo>
                  <a:cubicBezTo>
                    <a:pt x="3953" y="421"/>
                    <a:pt x="3950" y="426"/>
                    <a:pt x="3953" y="431"/>
                  </a:cubicBezTo>
                  <a:cubicBezTo>
                    <a:pt x="3956" y="437"/>
                    <a:pt x="3964" y="442"/>
                    <a:pt x="3970" y="442"/>
                  </a:cubicBezTo>
                  <a:cubicBezTo>
                    <a:pt x="3977" y="442"/>
                    <a:pt x="3980" y="437"/>
                    <a:pt x="3977" y="431"/>
                  </a:cubicBezTo>
                  <a:cubicBezTo>
                    <a:pt x="3974" y="426"/>
                    <a:pt x="3966" y="421"/>
                    <a:pt x="3959" y="421"/>
                  </a:cubicBezTo>
                  <a:cubicBezTo>
                    <a:pt x="3959" y="421"/>
                    <a:pt x="3959" y="421"/>
                    <a:pt x="3959" y="421"/>
                  </a:cubicBezTo>
                  <a:moveTo>
                    <a:pt x="3993" y="421"/>
                  </a:moveTo>
                  <a:cubicBezTo>
                    <a:pt x="3986" y="421"/>
                    <a:pt x="3983" y="425"/>
                    <a:pt x="3986" y="431"/>
                  </a:cubicBezTo>
                  <a:cubicBezTo>
                    <a:pt x="3989" y="437"/>
                    <a:pt x="3997" y="441"/>
                    <a:pt x="4004" y="441"/>
                  </a:cubicBezTo>
                  <a:cubicBezTo>
                    <a:pt x="4011" y="441"/>
                    <a:pt x="4014" y="437"/>
                    <a:pt x="4011" y="431"/>
                  </a:cubicBezTo>
                  <a:cubicBezTo>
                    <a:pt x="4008" y="425"/>
                    <a:pt x="4000" y="421"/>
                    <a:pt x="3993" y="421"/>
                  </a:cubicBezTo>
                  <a:cubicBezTo>
                    <a:pt x="3993" y="421"/>
                    <a:pt x="3993" y="421"/>
                    <a:pt x="3993" y="421"/>
                  </a:cubicBezTo>
                  <a:moveTo>
                    <a:pt x="4028" y="420"/>
                  </a:moveTo>
                  <a:cubicBezTo>
                    <a:pt x="4021" y="421"/>
                    <a:pt x="4018" y="425"/>
                    <a:pt x="4021" y="431"/>
                  </a:cubicBezTo>
                  <a:cubicBezTo>
                    <a:pt x="4025" y="437"/>
                    <a:pt x="4033" y="441"/>
                    <a:pt x="4039" y="441"/>
                  </a:cubicBezTo>
                  <a:cubicBezTo>
                    <a:pt x="4046" y="441"/>
                    <a:pt x="4049" y="436"/>
                    <a:pt x="4046" y="431"/>
                  </a:cubicBezTo>
                  <a:cubicBezTo>
                    <a:pt x="4042" y="425"/>
                    <a:pt x="4035" y="420"/>
                    <a:pt x="4028" y="420"/>
                  </a:cubicBezTo>
                  <a:cubicBezTo>
                    <a:pt x="4028" y="420"/>
                    <a:pt x="4028" y="420"/>
                    <a:pt x="4028" y="420"/>
                  </a:cubicBezTo>
                  <a:moveTo>
                    <a:pt x="4063" y="420"/>
                  </a:moveTo>
                  <a:cubicBezTo>
                    <a:pt x="4056" y="420"/>
                    <a:pt x="4053" y="425"/>
                    <a:pt x="4056" y="431"/>
                  </a:cubicBezTo>
                  <a:cubicBezTo>
                    <a:pt x="4060" y="436"/>
                    <a:pt x="4068" y="441"/>
                    <a:pt x="4074" y="441"/>
                  </a:cubicBezTo>
                  <a:cubicBezTo>
                    <a:pt x="4081" y="441"/>
                    <a:pt x="4084" y="436"/>
                    <a:pt x="4081" y="430"/>
                  </a:cubicBezTo>
                  <a:cubicBezTo>
                    <a:pt x="4077" y="425"/>
                    <a:pt x="4069" y="420"/>
                    <a:pt x="4063" y="420"/>
                  </a:cubicBezTo>
                  <a:cubicBezTo>
                    <a:pt x="4063" y="420"/>
                    <a:pt x="4063" y="420"/>
                    <a:pt x="4063" y="420"/>
                  </a:cubicBezTo>
                  <a:moveTo>
                    <a:pt x="339" y="419"/>
                  </a:moveTo>
                  <a:cubicBezTo>
                    <a:pt x="332" y="420"/>
                    <a:pt x="323" y="424"/>
                    <a:pt x="319" y="430"/>
                  </a:cubicBezTo>
                  <a:cubicBezTo>
                    <a:pt x="314" y="435"/>
                    <a:pt x="316" y="440"/>
                    <a:pt x="323" y="440"/>
                  </a:cubicBezTo>
                  <a:cubicBezTo>
                    <a:pt x="330" y="440"/>
                    <a:pt x="339" y="435"/>
                    <a:pt x="343" y="430"/>
                  </a:cubicBezTo>
                  <a:cubicBezTo>
                    <a:pt x="347" y="424"/>
                    <a:pt x="346" y="419"/>
                    <a:pt x="339" y="419"/>
                  </a:cubicBezTo>
                  <a:cubicBezTo>
                    <a:pt x="339" y="419"/>
                    <a:pt x="339" y="419"/>
                    <a:pt x="339" y="419"/>
                  </a:cubicBezTo>
                  <a:moveTo>
                    <a:pt x="373" y="419"/>
                  </a:moveTo>
                  <a:cubicBezTo>
                    <a:pt x="367" y="419"/>
                    <a:pt x="358" y="424"/>
                    <a:pt x="353" y="429"/>
                  </a:cubicBezTo>
                  <a:cubicBezTo>
                    <a:pt x="349" y="435"/>
                    <a:pt x="351" y="440"/>
                    <a:pt x="357" y="439"/>
                  </a:cubicBezTo>
                  <a:cubicBezTo>
                    <a:pt x="364" y="439"/>
                    <a:pt x="373" y="435"/>
                    <a:pt x="377" y="429"/>
                  </a:cubicBezTo>
                  <a:cubicBezTo>
                    <a:pt x="382" y="424"/>
                    <a:pt x="380" y="419"/>
                    <a:pt x="373" y="419"/>
                  </a:cubicBezTo>
                  <a:cubicBezTo>
                    <a:pt x="373" y="419"/>
                    <a:pt x="373" y="419"/>
                    <a:pt x="373" y="419"/>
                  </a:cubicBezTo>
                  <a:moveTo>
                    <a:pt x="408" y="419"/>
                  </a:moveTo>
                  <a:cubicBezTo>
                    <a:pt x="401" y="419"/>
                    <a:pt x="392" y="424"/>
                    <a:pt x="388" y="429"/>
                  </a:cubicBezTo>
                  <a:cubicBezTo>
                    <a:pt x="384" y="435"/>
                    <a:pt x="385" y="439"/>
                    <a:pt x="392" y="439"/>
                  </a:cubicBezTo>
                  <a:cubicBezTo>
                    <a:pt x="399" y="439"/>
                    <a:pt x="408" y="435"/>
                    <a:pt x="412" y="429"/>
                  </a:cubicBezTo>
                  <a:cubicBezTo>
                    <a:pt x="416" y="423"/>
                    <a:pt x="414" y="419"/>
                    <a:pt x="408" y="419"/>
                  </a:cubicBezTo>
                  <a:cubicBezTo>
                    <a:pt x="408" y="419"/>
                    <a:pt x="408" y="419"/>
                    <a:pt x="408" y="419"/>
                  </a:cubicBezTo>
                  <a:moveTo>
                    <a:pt x="442" y="419"/>
                  </a:moveTo>
                  <a:cubicBezTo>
                    <a:pt x="435" y="419"/>
                    <a:pt x="427" y="423"/>
                    <a:pt x="422" y="429"/>
                  </a:cubicBezTo>
                  <a:cubicBezTo>
                    <a:pt x="418" y="435"/>
                    <a:pt x="420" y="439"/>
                    <a:pt x="427" y="439"/>
                  </a:cubicBezTo>
                  <a:cubicBezTo>
                    <a:pt x="433" y="439"/>
                    <a:pt x="442" y="434"/>
                    <a:pt x="447" y="429"/>
                  </a:cubicBezTo>
                  <a:cubicBezTo>
                    <a:pt x="451" y="423"/>
                    <a:pt x="449" y="419"/>
                    <a:pt x="442" y="419"/>
                  </a:cubicBezTo>
                  <a:cubicBezTo>
                    <a:pt x="442" y="419"/>
                    <a:pt x="442" y="419"/>
                    <a:pt x="442" y="419"/>
                  </a:cubicBezTo>
                  <a:moveTo>
                    <a:pt x="477" y="418"/>
                  </a:moveTo>
                  <a:cubicBezTo>
                    <a:pt x="470" y="419"/>
                    <a:pt x="461" y="423"/>
                    <a:pt x="457" y="429"/>
                  </a:cubicBezTo>
                  <a:cubicBezTo>
                    <a:pt x="453" y="434"/>
                    <a:pt x="455" y="439"/>
                    <a:pt x="462" y="439"/>
                  </a:cubicBezTo>
                  <a:cubicBezTo>
                    <a:pt x="468" y="439"/>
                    <a:pt x="477" y="434"/>
                    <a:pt x="481" y="429"/>
                  </a:cubicBezTo>
                  <a:cubicBezTo>
                    <a:pt x="485" y="423"/>
                    <a:pt x="483" y="418"/>
                    <a:pt x="477" y="418"/>
                  </a:cubicBezTo>
                  <a:cubicBezTo>
                    <a:pt x="477" y="418"/>
                    <a:pt x="477" y="418"/>
                    <a:pt x="477" y="418"/>
                  </a:cubicBezTo>
                  <a:moveTo>
                    <a:pt x="512" y="418"/>
                  </a:moveTo>
                  <a:cubicBezTo>
                    <a:pt x="506" y="418"/>
                    <a:pt x="497" y="423"/>
                    <a:pt x="493" y="428"/>
                  </a:cubicBezTo>
                  <a:cubicBezTo>
                    <a:pt x="489" y="434"/>
                    <a:pt x="491" y="439"/>
                    <a:pt x="497" y="438"/>
                  </a:cubicBezTo>
                  <a:cubicBezTo>
                    <a:pt x="504" y="438"/>
                    <a:pt x="513" y="434"/>
                    <a:pt x="517" y="428"/>
                  </a:cubicBezTo>
                  <a:cubicBezTo>
                    <a:pt x="521" y="423"/>
                    <a:pt x="519" y="418"/>
                    <a:pt x="512" y="418"/>
                  </a:cubicBezTo>
                  <a:cubicBezTo>
                    <a:pt x="512" y="418"/>
                    <a:pt x="512" y="418"/>
                    <a:pt x="512" y="418"/>
                  </a:cubicBezTo>
                  <a:moveTo>
                    <a:pt x="546" y="418"/>
                  </a:moveTo>
                  <a:cubicBezTo>
                    <a:pt x="540" y="418"/>
                    <a:pt x="531" y="423"/>
                    <a:pt x="527" y="428"/>
                  </a:cubicBezTo>
                  <a:cubicBezTo>
                    <a:pt x="523" y="434"/>
                    <a:pt x="525" y="438"/>
                    <a:pt x="532" y="438"/>
                  </a:cubicBezTo>
                  <a:cubicBezTo>
                    <a:pt x="539" y="438"/>
                    <a:pt x="547" y="434"/>
                    <a:pt x="551" y="428"/>
                  </a:cubicBezTo>
                  <a:cubicBezTo>
                    <a:pt x="555" y="422"/>
                    <a:pt x="553" y="418"/>
                    <a:pt x="547" y="418"/>
                  </a:cubicBezTo>
                  <a:cubicBezTo>
                    <a:pt x="547" y="418"/>
                    <a:pt x="547" y="418"/>
                    <a:pt x="546" y="418"/>
                  </a:cubicBezTo>
                  <a:moveTo>
                    <a:pt x="581" y="418"/>
                  </a:moveTo>
                  <a:cubicBezTo>
                    <a:pt x="574" y="418"/>
                    <a:pt x="566" y="422"/>
                    <a:pt x="562" y="428"/>
                  </a:cubicBezTo>
                  <a:cubicBezTo>
                    <a:pt x="558" y="434"/>
                    <a:pt x="560" y="438"/>
                    <a:pt x="567" y="438"/>
                  </a:cubicBezTo>
                  <a:cubicBezTo>
                    <a:pt x="573" y="438"/>
                    <a:pt x="582" y="433"/>
                    <a:pt x="586" y="428"/>
                  </a:cubicBezTo>
                  <a:cubicBezTo>
                    <a:pt x="590" y="422"/>
                    <a:pt x="588" y="418"/>
                    <a:pt x="581" y="418"/>
                  </a:cubicBezTo>
                  <a:cubicBezTo>
                    <a:pt x="581" y="418"/>
                    <a:pt x="581" y="418"/>
                    <a:pt x="581" y="418"/>
                  </a:cubicBezTo>
                  <a:moveTo>
                    <a:pt x="616" y="417"/>
                  </a:moveTo>
                  <a:cubicBezTo>
                    <a:pt x="609" y="418"/>
                    <a:pt x="601" y="422"/>
                    <a:pt x="597" y="428"/>
                  </a:cubicBezTo>
                  <a:cubicBezTo>
                    <a:pt x="593" y="433"/>
                    <a:pt x="595" y="438"/>
                    <a:pt x="602" y="438"/>
                  </a:cubicBezTo>
                  <a:cubicBezTo>
                    <a:pt x="609" y="438"/>
                    <a:pt x="617" y="433"/>
                    <a:pt x="621" y="428"/>
                  </a:cubicBezTo>
                  <a:cubicBezTo>
                    <a:pt x="625" y="422"/>
                    <a:pt x="623" y="417"/>
                    <a:pt x="616" y="417"/>
                  </a:cubicBezTo>
                  <a:cubicBezTo>
                    <a:pt x="616" y="417"/>
                    <a:pt x="616" y="417"/>
                    <a:pt x="616" y="417"/>
                  </a:cubicBezTo>
                  <a:moveTo>
                    <a:pt x="650" y="417"/>
                  </a:moveTo>
                  <a:cubicBezTo>
                    <a:pt x="643" y="417"/>
                    <a:pt x="635" y="422"/>
                    <a:pt x="631" y="427"/>
                  </a:cubicBezTo>
                  <a:cubicBezTo>
                    <a:pt x="627" y="433"/>
                    <a:pt x="630" y="438"/>
                    <a:pt x="636" y="437"/>
                  </a:cubicBezTo>
                  <a:cubicBezTo>
                    <a:pt x="643" y="437"/>
                    <a:pt x="652" y="433"/>
                    <a:pt x="655" y="427"/>
                  </a:cubicBezTo>
                  <a:cubicBezTo>
                    <a:pt x="659" y="422"/>
                    <a:pt x="657" y="417"/>
                    <a:pt x="650" y="417"/>
                  </a:cubicBezTo>
                  <a:cubicBezTo>
                    <a:pt x="650" y="417"/>
                    <a:pt x="650" y="417"/>
                    <a:pt x="650" y="417"/>
                  </a:cubicBezTo>
                  <a:moveTo>
                    <a:pt x="685" y="417"/>
                  </a:moveTo>
                  <a:cubicBezTo>
                    <a:pt x="678" y="417"/>
                    <a:pt x="669" y="422"/>
                    <a:pt x="666" y="427"/>
                  </a:cubicBezTo>
                  <a:cubicBezTo>
                    <a:pt x="662" y="433"/>
                    <a:pt x="664" y="437"/>
                    <a:pt x="671" y="437"/>
                  </a:cubicBezTo>
                  <a:cubicBezTo>
                    <a:pt x="678" y="437"/>
                    <a:pt x="686" y="433"/>
                    <a:pt x="690" y="427"/>
                  </a:cubicBezTo>
                  <a:cubicBezTo>
                    <a:pt x="694" y="421"/>
                    <a:pt x="691" y="417"/>
                    <a:pt x="685" y="417"/>
                  </a:cubicBezTo>
                  <a:cubicBezTo>
                    <a:pt x="685" y="417"/>
                    <a:pt x="685" y="417"/>
                    <a:pt x="685" y="417"/>
                  </a:cubicBezTo>
                  <a:moveTo>
                    <a:pt x="719" y="417"/>
                  </a:moveTo>
                  <a:cubicBezTo>
                    <a:pt x="712" y="417"/>
                    <a:pt x="704" y="421"/>
                    <a:pt x="700" y="427"/>
                  </a:cubicBezTo>
                  <a:cubicBezTo>
                    <a:pt x="696" y="433"/>
                    <a:pt x="699" y="437"/>
                    <a:pt x="706" y="437"/>
                  </a:cubicBezTo>
                  <a:cubicBezTo>
                    <a:pt x="712" y="437"/>
                    <a:pt x="721" y="432"/>
                    <a:pt x="724" y="427"/>
                  </a:cubicBezTo>
                  <a:cubicBezTo>
                    <a:pt x="728" y="421"/>
                    <a:pt x="726" y="417"/>
                    <a:pt x="719" y="417"/>
                  </a:cubicBezTo>
                  <a:cubicBezTo>
                    <a:pt x="719" y="417"/>
                    <a:pt x="719" y="417"/>
                    <a:pt x="719" y="417"/>
                  </a:cubicBezTo>
                  <a:moveTo>
                    <a:pt x="753" y="416"/>
                  </a:moveTo>
                  <a:cubicBezTo>
                    <a:pt x="747" y="417"/>
                    <a:pt x="738" y="421"/>
                    <a:pt x="735" y="427"/>
                  </a:cubicBezTo>
                  <a:cubicBezTo>
                    <a:pt x="731" y="432"/>
                    <a:pt x="734" y="437"/>
                    <a:pt x="740" y="437"/>
                  </a:cubicBezTo>
                  <a:cubicBezTo>
                    <a:pt x="747" y="437"/>
                    <a:pt x="755" y="432"/>
                    <a:pt x="759" y="427"/>
                  </a:cubicBezTo>
                  <a:cubicBezTo>
                    <a:pt x="763" y="421"/>
                    <a:pt x="760" y="416"/>
                    <a:pt x="753" y="416"/>
                  </a:cubicBezTo>
                  <a:cubicBezTo>
                    <a:pt x="753" y="416"/>
                    <a:pt x="753" y="416"/>
                    <a:pt x="753" y="416"/>
                  </a:cubicBezTo>
                  <a:moveTo>
                    <a:pt x="788" y="416"/>
                  </a:moveTo>
                  <a:cubicBezTo>
                    <a:pt x="782" y="416"/>
                    <a:pt x="773" y="421"/>
                    <a:pt x="770" y="426"/>
                  </a:cubicBezTo>
                  <a:cubicBezTo>
                    <a:pt x="766" y="432"/>
                    <a:pt x="769" y="437"/>
                    <a:pt x="775" y="437"/>
                  </a:cubicBezTo>
                  <a:cubicBezTo>
                    <a:pt x="782" y="436"/>
                    <a:pt x="790" y="432"/>
                    <a:pt x="794" y="426"/>
                  </a:cubicBezTo>
                  <a:cubicBezTo>
                    <a:pt x="797" y="421"/>
                    <a:pt x="795" y="416"/>
                    <a:pt x="788" y="416"/>
                  </a:cubicBezTo>
                  <a:cubicBezTo>
                    <a:pt x="788" y="416"/>
                    <a:pt x="788" y="416"/>
                    <a:pt x="788" y="416"/>
                  </a:cubicBezTo>
                  <a:moveTo>
                    <a:pt x="822" y="416"/>
                  </a:moveTo>
                  <a:cubicBezTo>
                    <a:pt x="816" y="416"/>
                    <a:pt x="808" y="421"/>
                    <a:pt x="804" y="426"/>
                  </a:cubicBezTo>
                  <a:cubicBezTo>
                    <a:pt x="801" y="432"/>
                    <a:pt x="803" y="436"/>
                    <a:pt x="810" y="436"/>
                  </a:cubicBezTo>
                  <a:cubicBezTo>
                    <a:pt x="817" y="436"/>
                    <a:pt x="825" y="432"/>
                    <a:pt x="828" y="426"/>
                  </a:cubicBezTo>
                  <a:cubicBezTo>
                    <a:pt x="832" y="420"/>
                    <a:pt x="829" y="416"/>
                    <a:pt x="823" y="416"/>
                  </a:cubicBezTo>
                  <a:cubicBezTo>
                    <a:pt x="823" y="416"/>
                    <a:pt x="822" y="416"/>
                    <a:pt x="822" y="416"/>
                  </a:cubicBezTo>
                  <a:moveTo>
                    <a:pt x="855" y="416"/>
                  </a:moveTo>
                  <a:cubicBezTo>
                    <a:pt x="848" y="416"/>
                    <a:pt x="840" y="420"/>
                    <a:pt x="837" y="426"/>
                  </a:cubicBezTo>
                  <a:cubicBezTo>
                    <a:pt x="833" y="432"/>
                    <a:pt x="836" y="436"/>
                    <a:pt x="843" y="436"/>
                  </a:cubicBezTo>
                  <a:cubicBezTo>
                    <a:pt x="850" y="436"/>
                    <a:pt x="858" y="431"/>
                    <a:pt x="861" y="426"/>
                  </a:cubicBezTo>
                  <a:cubicBezTo>
                    <a:pt x="864" y="420"/>
                    <a:pt x="862" y="416"/>
                    <a:pt x="855" y="416"/>
                  </a:cubicBezTo>
                  <a:cubicBezTo>
                    <a:pt x="855" y="416"/>
                    <a:pt x="855" y="416"/>
                    <a:pt x="855" y="416"/>
                  </a:cubicBezTo>
                  <a:moveTo>
                    <a:pt x="890" y="415"/>
                  </a:moveTo>
                  <a:cubicBezTo>
                    <a:pt x="883" y="416"/>
                    <a:pt x="875" y="420"/>
                    <a:pt x="872" y="426"/>
                  </a:cubicBezTo>
                  <a:cubicBezTo>
                    <a:pt x="868" y="431"/>
                    <a:pt x="871" y="436"/>
                    <a:pt x="878" y="436"/>
                  </a:cubicBezTo>
                  <a:cubicBezTo>
                    <a:pt x="885" y="436"/>
                    <a:pt x="893" y="431"/>
                    <a:pt x="896" y="426"/>
                  </a:cubicBezTo>
                  <a:cubicBezTo>
                    <a:pt x="899" y="420"/>
                    <a:pt x="897" y="415"/>
                    <a:pt x="890" y="415"/>
                  </a:cubicBezTo>
                  <a:cubicBezTo>
                    <a:pt x="890" y="415"/>
                    <a:pt x="890" y="415"/>
                    <a:pt x="890" y="415"/>
                  </a:cubicBezTo>
                  <a:moveTo>
                    <a:pt x="924" y="415"/>
                  </a:moveTo>
                  <a:cubicBezTo>
                    <a:pt x="917" y="415"/>
                    <a:pt x="909" y="420"/>
                    <a:pt x="906" y="425"/>
                  </a:cubicBezTo>
                  <a:cubicBezTo>
                    <a:pt x="903" y="431"/>
                    <a:pt x="906" y="436"/>
                    <a:pt x="912" y="436"/>
                  </a:cubicBezTo>
                  <a:cubicBezTo>
                    <a:pt x="919" y="435"/>
                    <a:pt x="927" y="431"/>
                    <a:pt x="930" y="425"/>
                  </a:cubicBezTo>
                  <a:cubicBezTo>
                    <a:pt x="934" y="420"/>
                    <a:pt x="931" y="415"/>
                    <a:pt x="924" y="415"/>
                  </a:cubicBezTo>
                  <a:cubicBezTo>
                    <a:pt x="924" y="415"/>
                    <a:pt x="924" y="415"/>
                    <a:pt x="924" y="415"/>
                  </a:cubicBezTo>
                  <a:moveTo>
                    <a:pt x="959" y="415"/>
                  </a:moveTo>
                  <a:cubicBezTo>
                    <a:pt x="952" y="415"/>
                    <a:pt x="944" y="420"/>
                    <a:pt x="941" y="425"/>
                  </a:cubicBezTo>
                  <a:cubicBezTo>
                    <a:pt x="938" y="431"/>
                    <a:pt x="940" y="435"/>
                    <a:pt x="947" y="435"/>
                  </a:cubicBezTo>
                  <a:cubicBezTo>
                    <a:pt x="954" y="435"/>
                    <a:pt x="962" y="431"/>
                    <a:pt x="965" y="425"/>
                  </a:cubicBezTo>
                  <a:cubicBezTo>
                    <a:pt x="968" y="419"/>
                    <a:pt x="965" y="415"/>
                    <a:pt x="959" y="415"/>
                  </a:cubicBezTo>
                  <a:cubicBezTo>
                    <a:pt x="959" y="415"/>
                    <a:pt x="959" y="415"/>
                    <a:pt x="959" y="415"/>
                  </a:cubicBezTo>
                  <a:moveTo>
                    <a:pt x="993" y="415"/>
                  </a:moveTo>
                  <a:cubicBezTo>
                    <a:pt x="986" y="415"/>
                    <a:pt x="978" y="419"/>
                    <a:pt x="975" y="425"/>
                  </a:cubicBezTo>
                  <a:cubicBezTo>
                    <a:pt x="972" y="431"/>
                    <a:pt x="975" y="435"/>
                    <a:pt x="982" y="435"/>
                  </a:cubicBezTo>
                  <a:cubicBezTo>
                    <a:pt x="988" y="435"/>
                    <a:pt x="996" y="430"/>
                    <a:pt x="999" y="425"/>
                  </a:cubicBezTo>
                  <a:cubicBezTo>
                    <a:pt x="1002" y="419"/>
                    <a:pt x="999" y="415"/>
                    <a:pt x="993" y="415"/>
                  </a:cubicBezTo>
                  <a:cubicBezTo>
                    <a:pt x="993" y="415"/>
                    <a:pt x="993" y="415"/>
                    <a:pt x="993" y="415"/>
                  </a:cubicBezTo>
                  <a:moveTo>
                    <a:pt x="1027" y="415"/>
                  </a:moveTo>
                  <a:cubicBezTo>
                    <a:pt x="1021" y="415"/>
                    <a:pt x="1013" y="419"/>
                    <a:pt x="1010" y="425"/>
                  </a:cubicBezTo>
                  <a:cubicBezTo>
                    <a:pt x="1007" y="430"/>
                    <a:pt x="1010" y="435"/>
                    <a:pt x="1016" y="435"/>
                  </a:cubicBezTo>
                  <a:cubicBezTo>
                    <a:pt x="1023" y="435"/>
                    <a:pt x="1031" y="430"/>
                    <a:pt x="1034" y="425"/>
                  </a:cubicBezTo>
                  <a:cubicBezTo>
                    <a:pt x="1037" y="419"/>
                    <a:pt x="1034" y="415"/>
                    <a:pt x="1027" y="415"/>
                  </a:cubicBezTo>
                  <a:cubicBezTo>
                    <a:pt x="1027" y="415"/>
                    <a:pt x="1027" y="415"/>
                    <a:pt x="1027" y="415"/>
                  </a:cubicBezTo>
                  <a:moveTo>
                    <a:pt x="1062" y="414"/>
                  </a:moveTo>
                  <a:cubicBezTo>
                    <a:pt x="1055" y="414"/>
                    <a:pt x="1048" y="419"/>
                    <a:pt x="1045" y="424"/>
                  </a:cubicBezTo>
                  <a:cubicBezTo>
                    <a:pt x="1042" y="430"/>
                    <a:pt x="1045" y="435"/>
                    <a:pt x="1051" y="435"/>
                  </a:cubicBezTo>
                  <a:cubicBezTo>
                    <a:pt x="1058" y="435"/>
                    <a:pt x="1066" y="430"/>
                    <a:pt x="1069" y="424"/>
                  </a:cubicBezTo>
                  <a:cubicBezTo>
                    <a:pt x="1072" y="419"/>
                    <a:pt x="1069" y="414"/>
                    <a:pt x="1062" y="414"/>
                  </a:cubicBezTo>
                  <a:cubicBezTo>
                    <a:pt x="1062" y="414"/>
                    <a:pt x="1062" y="414"/>
                    <a:pt x="1062" y="414"/>
                  </a:cubicBezTo>
                  <a:moveTo>
                    <a:pt x="1096" y="414"/>
                  </a:moveTo>
                  <a:cubicBezTo>
                    <a:pt x="1090" y="414"/>
                    <a:pt x="1082" y="419"/>
                    <a:pt x="1079" y="424"/>
                  </a:cubicBezTo>
                  <a:cubicBezTo>
                    <a:pt x="1076" y="430"/>
                    <a:pt x="1079" y="434"/>
                    <a:pt x="1086" y="434"/>
                  </a:cubicBezTo>
                  <a:cubicBezTo>
                    <a:pt x="1093" y="434"/>
                    <a:pt x="1100" y="430"/>
                    <a:pt x="1103" y="424"/>
                  </a:cubicBezTo>
                  <a:cubicBezTo>
                    <a:pt x="1106" y="419"/>
                    <a:pt x="1103" y="414"/>
                    <a:pt x="1096" y="414"/>
                  </a:cubicBezTo>
                  <a:cubicBezTo>
                    <a:pt x="1096" y="414"/>
                    <a:pt x="1096" y="414"/>
                    <a:pt x="1096" y="414"/>
                  </a:cubicBezTo>
                  <a:moveTo>
                    <a:pt x="1130" y="414"/>
                  </a:moveTo>
                  <a:cubicBezTo>
                    <a:pt x="1123" y="414"/>
                    <a:pt x="1116" y="418"/>
                    <a:pt x="1113" y="424"/>
                  </a:cubicBezTo>
                  <a:cubicBezTo>
                    <a:pt x="1110" y="430"/>
                    <a:pt x="1113" y="434"/>
                    <a:pt x="1120" y="434"/>
                  </a:cubicBezTo>
                  <a:cubicBezTo>
                    <a:pt x="1127" y="434"/>
                    <a:pt x="1134" y="429"/>
                    <a:pt x="1137" y="424"/>
                  </a:cubicBezTo>
                  <a:cubicBezTo>
                    <a:pt x="1140" y="418"/>
                    <a:pt x="1137" y="414"/>
                    <a:pt x="1130" y="414"/>
                  </a:cubicBezTo>
                  <a:cubicBezTo>
                    <a:pt x="1130" y="414"/>
                    <a:pt x="1130" y="414"/>
                    <a:pt x="1130" y="414"/>
                  </a:cubicBezTo>
                  <a:moveTo>
                    <a:pt x="1269" y="413"/>
                  </a:moveTo>
                  <a:cubicBezTo>
                    <a:pt x="1263" y="413"/>
                    <a:pt x="1255" y="417"/>
                    <a:pt x="1253" y="423"/>
                  </a:cubicBezTo>
                  <a:cubicBezTo>
                    <a:pt x="1250" y="429"/>
                    <a:pt x="1253" y="433"/>
                    <a:pt x="1260" y="433"/>
                  </a:cubicBezTo>
                  <a:cubicBezTo>
                    <a:pt x="1267" y="433"/>
                    <a:pt x="1274" y="428"/>
                    <a:pt x="1277" y="423"/>
                  </a:cubicBezTo>
                  <a:cubicBezTo>
                    <a:pt x="1279" y="417"/>
                    <a:pt x="1276" y="413"/>
                    <a:pt x="1269" y="413"/>
                  </a:cubicBezTo>
                  <a:cubicBezTo>
                    <a:pt x="1269" y="413"/>
                    <a:pt x="1269" y="413"/>
                    <a:pt x="1269" y="413"/>
                  </a:cubicBezTo>
                  <a:moveTo>
                    <a:pt x="2093" y="407"/>
                  </a:moveTo>
                  <a:cubicBezTo>
                    <a:pt x="2086" y="408"/>
                    <a:pt x="2080" y="412"/>
                    <a:pt x="2079" y="418"/>
                  </a:cubicBezTo>
                  <a:cubicBezTo>
                    <a:pt x="2078" y="423"/>
                    <a:pt x="2083" y="428"/>
                    <a:pt x="2090" y="428"/>
                  </a:cubicBezTo>
                  <a:cubicBezTo>
                    <a:pt x="2097" y="428"/>
                    <a:pt x="2103" y="423"/>
                    <a:pt x="2103" y="418"/>
                  </a:cubicBezTo>
                  <a:cubicBezTo>
                    <a:pt x="2104" y="412"/>
                    <a:pt x="2100" y="407"/>
                    <a:pt x="2093" y="407"/>
                  </a:cubicBezTo>
                  <a:cubicBezTo>
                    <a:pt x="2093" y="407"/>
                    <a:pt x="2093" y="407"/>
                    <a:pt x="2093" y="407"/>
                  </a:cubicBezTo>
                  <a:moveTo>
                    <a:pt x="2126" y="407"/>
                  </a:moveTo>
                  <a:cubicBezTo>
                    <a:pt x="2119" y="407"/>
                    <a:pt x="2113" y="412"/>
                    <a:pt x="2112" y="418"/>
                  </a:cubicBezTo>
                  <a:cubicBezTo>
                    <a:pt x="2111" y="423"/>
                    <a:pt x="2116" y="428"/>
                    <a:pt x="2123" y="428"/>
                  </a:cubicBezTo>
                  <a:cubicBezTo>
                    <a:pt x="2130" y="428"/>
                    <a:pt x="2136" y="423"/>
                    <a:pt x="2136" y="417"/>
                  </a:cubicBezTo>
                  <a:cubicBezTo>
                    <a:pt x="2137" y="412"/>
                    <a:pt x="2132" y="407"/>
                    <a:pt x="2126" y="407"/>
                  </a:cubicBezTo>
                  <a:cubicBezTo>
                    <a:pt x="2126" y="407"/>
                    <a:pt x="2126" y="407"/>
                    <a:pt x="2126" y="407"/>
                  </a:cubicBezTo>
                  <a:moveTo>
                    <a:pt x="2160" y="407"/>
                  </a:moveTo>
                  <a:cubicBezTo>
                    <a:pt x="2154" y="407"/>
                    <a:pt x="2148" y="412"/>
                    <a:pt x="2147" y="417"/>
                  </a:cubicBezTo>
                  <a:cubicBezTo>
                    <a:pt x="2146" y="423"/>
                    <a:pt x="2151" y="427"/>
                    <a:pt x="2158" y="427"/>
                  </a:cubicBezTo>
                  <a:cubicBezTo>
                    <a:pt x="2165" y="427"/>
                    <a:pt x="2171" y="423"/>
                    <a:pt x="2171" y="417"/>
                  </a:cubicBezTo>
                  <a:cubicBezTo>
                    <a:pt x="2172" y="412"/>
                    <a:pt x="2167" y="407"/>
                    <a:pt x="2160" y="407"/>
                  </a:cubicBezTo>
                  <a:cubicBezTo>
                    <a:pt x="2160" y="407"/>
                    <a:pt x="2160" y="407"/>
                    <a:pt x="2160" y="407"/>
                  </a:cubicBezTo>
                  <a:moveTo>
                    <a:pt x="2197" y="403"/>
                  </a:moveTo>
                  <a:cubicBezTo>
                    <a:pt x="2190" y="403"/>
                    <a:pt x="2184" y="408"/>
                    <a:pt x="2184" y="413"/>
                  </a:cubicBezTo>
                  <a:cubicBezTo>
                    <a:pt x="2183" y="419"/>
                    <a:pt x="2188" y="424"/>
                    <a:pt x="2195" y="424"/>
                  </a:cubicBezTo>
                  <a:cubicBezTo>
                    <a:pt x="2201" y="424"/>
                    <a:pt x="2207" y="419"/>
                    <a:pt x="2208" y="413"/>
                  </a:cubicBezTo>
                  <a:cubicBezTo>
                    <a:pt x="2209" y="408"/>
                    <a:pt x="2204" y="403"/>
                    <a:pt x="2197" y="403"/>
                  </a:cubicBezTo>
                  <a:cubicBezTo>
                    <a:pt x="2197" y="403"/>
                    <a:pt x="2197" y="403"/>
                    <a:pt x="2197" y="403"/>
                  </a:cubicBezTo>
                  <a:moveTo>
                    <a:pt x="2232" y="403"/>
                  </a:moveTo>
                  <a:cubicBezTo>
                    <a:pt x="2226" y="403"/>
                    <a:pt x="2220" y="408"/>
                    <a:pt x="2219" y="413"/>
                  </a:cubicBezTo>
                  <a:cubicBezTo>
                    <a:pt x="2219" y="419"/>
                    <a:pt x="2223" y="423"/>
                    <a:pt x="2230" y="423"/>
                  </a:cubicBezTo>
                  <a:cubicBezTo>
                    <a:pt x="2237" y="423"/>
                    <a:pt x="2243" y="419"/>
                    <a:pt x="2243" y="413"/>
                  </a:cubicBezTo>
                  <a:cubicBezTo>
                    <a:pt x="2244" y="407"/>
                    <a:pt x="2239" y="403"/>
                    <a:pt x="2232" y="403"/>
                  </a:cubicBezTo>
                  <a:cubicBezTo>
                    <a:pt x="2232" y="403"/>
                    <a:pt x="2232" y="403"/>
                    <a:pt x="2232" y="403"/>
                  </a:cubicBezTo>
                  <a:moveTo>
                    <a:pt x="2266" y="403"/>
                  </a:moveTo>
                  <a:cubicBezTo>
                    <a:pt x="2260" y="403"/>
                    <a:pt x="2254" y="407"/>
                    <a:pt x="2253" y="413"/>
                  </a:cubicBezTo>
                  <a:cubicBezTo>
                    <a:pt x="2253" y="419"/>
                    <a:pt x="2258" y="423"/>
                    <a:pt x="2264" y="423"/>
                  </a:cubicBezTo>
                  <a:cubicBezTo>
                    <a:pt x="2271" y="423"/>
                    <a:pt x="2277" y="418"/>
                    <a:pt x="2277" y="413"/>
                  </a:cubicBezTo>
                  <a:cubicBezTo>
                    <a:pt x="2278" y="407"/>
                    <a:pt x="2273" y="403"/>
                    <a:pt x="2266" y="403"/>
                  </a:cubicBezTo>
                  <a:cubicBezTo>
                    <a:pt x="2266" y="403"/>
                    <a:pt x="2266" y="403"/>
                    <a:pt x="2266" y="403"/>
                  </a:cubicBezTo>
                  <a:moveTo>
                    <a:pt x="2300" y="402"/>
                  </a:moveTo>
                  <a:cubicBezTo>
                    <a:pt x="2293" y="402"/>
                    <a:pt x="2288" y="407"/>
                    <a:pt x="2287" y="413"/>
                  </a:cubicBezTo>
                  <a:cubicBezTo>
                    <a:pt x="2287" y="418"/>
                    <a:pt x="2292" y="423"/>
                    <a:pt x="2299" y="423"/>
                  </a:cubicBezTo>
                  <a:cubicBezTo>
                    <a:pt x="2305" y="423"/>
                    <a:pt x="2311" y="418"/>
                    <a:pt x="2311" y="413"/>
                  </a:cubicBezTo>
                  <a:cubicBezTo>
                    <a:pt x="2312" y="407"/>
                    <a:pt x="2307" y="402"/>
                    <a:pt x="2300" y="402"/>
                  </a:cubicBezTo>
                  <a:cubicBezTo>
                    <a:pt x="2300" y="402"/>
                    <a:pt x="2300" y="402"/>
                    <a:pt x="2300" y="402"/>
                  </a:cubicBezTo>
                  <a:moveTo>
                    <a:pt x="2334" y="402"/>
                  </a:moveTo>
                  <a:cubicBezTo>
                    <a:pt x="2327" y="402"/>
                    <a:pt x="2322" y="407"/>
                    <a:pt x="2321" y="412"/>
                  </a:cubicBezTo>
                  <a:cubicBezTo>
                    <a:pt x="2321" y="418"/>
                    <a:pt x="2326" y="423"/>
                    <a:pt x="2333" y="423"/>
                  </a:cubicBezTo>
                  <a:cubicBezTo>
                    <a:pt x="2340" y="423"/>
                    <a:pt x="2345" y="418"/>
                    <a:pt x="2346" y="412"/>
                  </a:cubicBezTo>
                  <a:cubicBezTo>
                    <a:pt x="2346" y="407"/>
                    <a:pt x="2341" y="402"/>
                    <a:pt x="2334" y="402"/>
                  </a:cubicBezTo>
                  <a:cubicBezTo>
                    <a:pt x="2334" y="402"/>
                    <a:pt x="2334" y="402"/>
                    <a:pt x="2334" y="402"/>
                  </a:cubicBezTo>
                  <a:moveTo>
                    <a:pt x="2369" y="402"/>
                  </a:moveTo>
                  <a:cubicBezTo>
                    <a:pt x="2362" y="402"/>
                    <a:pt x="2356" y="407"/>
                    <a:pt x="2356" y="412"/>
                  </a:cubicBezTo>
                  <a:cubicBezTo>
                    <a:pt x="2356" y="418"/>
                    <a:pt x="2361" y="422"/>
                    <a:pt x="2368" y="422"/>
                  </a:cubicBezTo>
                  <a:cubicBezTo>
                    <a:pt x="2374" y="422"/>
                    <a:pt x="2380" y="418"/>
                    <a:pt x="2380" y="412"/>
                  </a:cubicBezTo>
                  <a:cubicBezTo>
                    <a:pt x="2380" y="406"/>
                    <a:pt x="2375" y="402"/>
                    <a:pt x="2369" y="402"/>
                  </a:cubicBezTo>
                  <a:cubicBezTo>
                    <a:pt x="2369" y="402"/>
                    <a:pt x="2369" y="402"/>
                    <a:pt x="2369" y="402"/>
                  </a:cubicBezTo>
                  <a:moveTo>
                    <a:pt x="2575" y="402"/>
                  </a:moveTo>
                  <a:cubicBezTo>
                    <a:pt x="2568" y="402"/>
                    <a:pt x="2563" y="406"/>
                    <a:pt x="2563" y="412"/>
                  </a:cubicBezTo>
                  <a:cubicBezTo>
                    <a:pt x="2563" y="418"/>
                    <a:pt x="2569" y="422"/>
                    <a:pt x="2575" y="422"/>
                  </a:cubicBezTo>
                  <a:cubicBezTo>
                    <a:pt x="2582" y="422"/>
                    <a:pt x="2587" y="418"/>
                    <a:pt x="2587" y="412"/>
                  </a:cubicBezTo>
                  <a:cubicBezTo>
                    <a:pt x="2587" y="406"/>
                    <a:pt x="2581" y="402"/>
                    <a:pt x="2575" y="402"/>
                  </a:cubicBezTo>
                  <a:cubicBezTo>
                    <a:pt x="2575" y="402"/>
                    <a:pt x="2575" y="402"/>
                    <a:pt x="2575" y="402"/>
                  </a:cubicBezTo>
                  <a:moveTo>
                    <a:pt x="2403" y="402"/>
                  </a:moveTo>
                  <a:cubicBezTo>
                    <a:pt x="2397" y="402"/>
                    <a:pt x="2391" y="406"/>
                    <a:pt x="2391" y="412"/>
                  </a:cubicBezTo>
                  <a:cubicBezTo>
                    <a:pt x="2391" y="418"/>
                    <a:pt x="2396" y="422"/>
                    <a:pt x="2402" y="422"/>
                  </a:cubicBezTo>
                  <a:cubicBezTo>
                    <a:pt x="2409" y="422"/>
                    <a:pt x="2415" y="417"/>
                    <a:pt x="2415" y="412"/>
                  </a:cubicBezTo>
                  <a:cubicBezTo>
                    <a:pt x="2415" y="406"/>
                    <a:pt x="2410" y="402"/>
                    <a:pt x="2403" y="402"/>
                  </a:cubicBezTo>
                  <a:cubicBezTo>
                    <a:pt x="2403" y="402"/>
                    <a:pt x="2403" y="402"/>
                    <a:pt x="2403" y="402"/>
                  </a:cubicBezTo>
                  <a:moveTo>
                    <a:pt x="2610" y="402"/>
                  </a:moveTo>
                  <a:cubicBezTo>
                    <a:pt x="2603" y="402"/>
                    <a:pt x="2598" y="406"/>
                    <a:pt x="2598" y="412"/>
                  </a:cubicBezTo>
                  <a:cubicBezTo>
                    <a:pt x="2598" y="417"/>
                    <a:pt x="2604" y="422"/>
                    <a:pt x="2610" y="422"/>
                  </a:cubicBezTo>
                  <a:cubicBezTo>
                    <a:pt x="2617" y="422"/>
                    <a:pt x="2622" y="417"/>
                    <a:pt x="2622" y="412"/>
                  </a:cubicBezTo>
                  <a:cubicBezTo>
                    <a:pt x="2622" y="406"/>
                    <a:pt x="2616" y="402"/>
                    <a:pt x="2610" y="402"/>
                  </a:cubicBezTo>
                  <a:cubicBezTo>
                    <a:pt x="2610" y="402"/>
                    <a:pt x="2610" y="402"/>
                    <a:pt x="2610" y="402"/>
                  </a:cubicBezTo>
                  <a:moveTo>
                    <a:pt x="2437" y="401"/>
                  </a:moveTo>
                  <a:cubicBezTo>
                    <a:pt x="2431" y="401"/>
                    <a:pt x="2425" y="406"/>
                    <a:pt x="2425" y="412"/>
                  </a:cubicBezTo>
                  <a:cubicBezTo>
                    <a:pt x="2425" y="417"/>
                    <a:pt x="2430" y="422"/>
                    <a:pt x="2437" y="422"/>
                  </a:cubicBezTo>
                  <a:cubicBezTo>
                    <a:pt x="2443" y="422"/>
                    <a:pt x="2449" y="417"/>
                    <a:pt x="2449" y="412"/>
                  </a:cubicBezTo>
                  <a:cubicBezTo>
                    <a:pt x="2449" y="406"/>
                    <a:pt x="2444" y="401"/>
                    <a:pt x="2437" y="401"/>
                  </a:cubicBezTo>
                  <a:cubicBezTo>
                    <a:pt x="2437" y="401"/>
                    <a:pt x="2437" y="401"/>
                    <a:pt x="2437" y="401"/>
                  </a:cubicBezTo>
                  <a:moveTo>
                    <a:pt x="2644" y="401"/>
                  </a:moveTo>
                  <a:cubicBezTo>
                    <a:pt x="2637" y="401"/>
                    <a:pt x="2632" y="406"/>
                    <a:pt x="2632" y="412"/>
                  </a:cubicBezTo>
                  <a:cubicBezTo>
                    <a:pt x="2632" y="417"/>
                    <a:pt x="2638" y="422"/>
                    <a:pt x="2645" y="422"/>
                  </a:cubicBezTo>
                  <a:cubicBezTo>
                    <a:pt x="2651" y="422"/>
                    <a:pt x="2657" y="417"/>
                    <a:pt x="2656" y="411"/>
                  </a:cubicBezTo>
                  <a:cubicBezTo>
                    <a:pt x="2656" y="406"/>
                    <a:pt x="2650" y="401"/>
                    <a:pt x="2644" y="401"/>
                  </a:cubicBezTo>
                  <a:cubicBezTo>
                    <a:pt x="2644" y="401"/>
                    <a:pt x="2644" y="401"/>
                    <a:pt x="2644" y="401"/>
                  </a:cubicBezTo>
                  <a:moveTo>
                    <a:pt x="2471" y="401"/>
                  </a:moveTo>
                  <a:cubicBezTo>
                    <a:pt x="2465" y="401"/>
                    <a:pt x="2459" y="406"/>
                    <a:pt x="2459" y="411"/>
                  </a:cubicBezTo>
                  <a:cubicBezTo>
                    <a:pt x="2459" y="417"/>
                    <a:pt x="2465" y="422"/>
                    <a:pt x="2471" y="422"/>
                  </a:cubicBezTo>
                  <a:cubicBezTo>
                    <a:pt x="2478" y="422"/>
                    <a:pt x="2483" y="417"/>
                    <a:pt x="2483" y="411"/>
                  </a:cubicBezTo>
                  <a:cubicBezTo>
                    <a:pt x="2483" y="406"/>
                    <a:pt x="2478" y="401"/>
                    <a:pt x="2472" y="401"/>
                  </a:cubicBezTo>
                  <a:cubicBezTo>
                    <a:pt x="2472" y="401"/>
                    <a:pt x="2472" y="401"/>
                    <a:pt x="2471" y="401"/>
                  </a:cubicBezTo>
                  <a:moveTo>
                    <a:pt x="2677" y="401"/>
                  </a:moveTo>
                  <a:cubicBezTo>
                    <a:pt x="2671" y="401"/>
                    <a:pt x="2666" y="406"/>
                    <a:pt x="2666" y="411"/>
                  </a:cubicBezTo>
                  <a:cubicBezTo>
                    <a:pt x="2666" y="417"/>
                    <a:pt x="2672" y="422"/>
                    <a:pt x="2679" y="421"/>
                  </a:cubicBezTo>
                  <a:cubicBezTo>
                    <a:pt x="2686" y="421"/>
                    <a:pt x="2691" y="417"/>
                    <a:pt x="2690" y="411"/>
                  </a:cubicBezTo>
                  <a:cubicBezTo>
                    <a:pt x="2690" y="406"/>
                    <a:pt x="2684" y="401"/>
                    <a:pt x="2678" y="401"/>
                  </a:cubicBezTo>
                  <a:cubicBezTo>
                    <a:pt x="2678" y="401"/>
                    <a:pt x="2678" y="401"/>
                    <a:pt x="2677" y="401"/>
                  </a:cubicBezTo>
                  <a:moveTo>
                    <a:pt x="2506" y="401"/>
                  </a:moveTo>
                  <a:cubicBezTo>
                    <a:pt x="2499" y="401"/>
                    <a:pt x="2494" y="406"/>
                    <a:pt x="2494" y="411"/>
                  </a:cubicBezTo>
                  <a:cubicBezTo>
                    <a:pt x="2494" y="417"/>
                    <a:pt x="2499" y="421"/>
                    <a:pt x="2506" y="421"/>
                  </a:cubicBezTo>
                  <a:cubicBezTo>
                    <a:pt x="2512" y="421"/>
                    <a:pt x="2518" y="417"/>
                    <a:pt x="2518" y="411"/>
                  </a:cubicBezTo>
                  <a:cubicBezTo>
                    <a:pt x="2518" y="405"/>
                    <a:pt x="2512" y="401"/>
                    <a:pt x="2506" y="401"/>
                  </a:cubicBezTo>
                  <a:cubicBezTo>
                    <a:pt x="2506" y="401"/>
                    <a:pt x="2506" y="401"/>
                    <a:pt x="2506" y="401"/>
                  </a:cubicBezTo>
                  <a:moveTo>
                    <a:pt x="2712" y="401"/>
                  </a:moveTo>
                  <a:cubicBezTo>
                    <a:pt x="2705" y="401"/>
                    <a:pt x="2700" y="405"/>
                    <a:pt x="2700" y="411"/>
                  </a:cubicBezTo>
                  <a:cubicBezTo>
                    <a:pt x="2701" y="417"/>
                    <a:pt x="2706" y="421"/>
                    <a:pt x="2713" y="421"/>
                  </a:cubicBezTo>
                  <a:cubicBezTo>
                    <a:pt x="2720" y="421"/>
                    <a:pt x="2725" y="417"/>
                    <a:pt x="2724" y="411"/>
                  </a:cubicBezTo>
                  <a:cubicBezTo>
                    <a:pt x="2724" y="405"/>
                    <a:pt x="2718" y="401"/>
                    <a:pt x="2712" y="401"/>
                  </a:cubicBezTo>
                  <a:cubicBezTo>
                    <a:pt x="2712" y="401"/>
                    <a:pt x="2712" y="401"/>
                    <a:pt x="2712" y="401"/>
                  </a:cubicBezTo>
                  <a:moveTo>
                    <a:pt x="2540" y="401"/>
                  </a:moveTo>
                  <a:cubicBezTo>
                    <a:pt x="2533" y="401"/>
                    <a:pt x="2528" y="405"/>
                    <a:pt x="2528" y="411"/>
                  </a:cubicBezTo>
                  <a:cubicBezTo>
                    <a:pt x="2528" y="417"/>
                    <a:pt x="2534" y="421"/>
                    <a:pt x="2540" y="421"/>
                  </a:cubicBezTo>
                  <a:cubicBezTo>
                    <a:pt x="2547" y="421"/>
                    <a:pt x="2552" y="416"/>
                    <a:pt x="2552" y="411"/>
                  </a:cubicBezTo>
                  <a:cubicBezTo>
                    <a:pt x="2552" y="405"/>
                    <a:pt x="2547" y="401"/>
                    <a:pt x="2540" y="401"/>
                  </a:cubicBezTo>
                  <a:cubicBezTo>
                    <a:pt x="2540" y="401"/>
                    <a:pt x="2540" y="401"/>
                    <a:pt x="2540" y="401"/>
                  </a:cubicBezTo>
                  <a:moveTo>
                    <a:pt x="2746" y="401"/>
                  </a:moveTo>
                  <a:cubicBezTo>
                    <a:pt x="2739" y="401"/>
                    <a:pt x="2734" y="405"/>
                    <a:pt x="2735" y="411"/>
                  </a:cubicBezTo>
                  <a:cubicBezTo>
                    <a:pt x="2735" y="416"/>
                    <a:pt x="2741" y="421"/>
                    <a:pt x="2748" y="421"/>
                  </a:cubicBezTo>
                  <a:cubicBezTo>
                    <a:pt x="2754" y="421"/>
                    <a:pt x="2759" y="416"/>
                    <a:pt x="2759" y="411"/>
                  </a:cubicBezTo>
                  <a:cubicBezTo>
                    <a:pt x="2758" y="405"/>
                    <a:pt x="2753" y="401"/>
                    <a:pt x="2746" y="401"/>
                  </a:cubicBezTo>
                  <a:cubicBezTo>
                    <a:pt x="2746" y="401"/>
                    <a:pt x="2746" y="401"/>
                    <a:pt x="2746" y="401"/>
                  </a:cubicBezTo>
                  <a:moveTo>
                    <a:pt x="2781" y="400"/>
                  </a:moveTo>
                  <a:cubicBezTo>
                    <a:pt x="2774" y="400"/>
                    <a:pt x="2769" y="405"/>
                    <a:pt x="2770" y="411"/>
                  </a:cubicBezTo>
                  <a:cubicBezTo>
                    <a:pt x="2770" y="416"/>
                    <a:pt x="2776" y="421"/>
                    <a:pt x="2783" y="421"/>
                  </a:cubicBezTo>
                  <a:cubicBezTo>
                    <a:pt x="2789" y="421"/>
                    <a:pt x="2794" y="416"/>
                    <a:pt x="2794" y="410"/>
                  </a:cubicBezTo>
                  <a:cubicBezTo>
                    <a:pt x="2793" y="405"/>
                    <a:pt x="2787" y="400"/>
                    <a:pt x="2781" y="400"/>
                  </a:cubicBezTo>
                  <a:cubicBezTo>
                    <a:pt x="2781" y="400"/>
                    <a:pt x="2781" y="400"/>
                    <a:pt x="2781" y="400"/>
                  </a:cubicBezTo>
                  <a:moveTo>
                    <a:pt x="2815" y="400"/>
                  </a:moveTo>
                  <a:cubicBezTo>
                    <a:pt x="2808" y="400"/>
                    <a:pt x="2803" y="405"/>
                    <a:pt x="2804" y="410"/>
                  </a:cubicBezTo>
                  <a:cubicBezTo>
                    <a:pt x="2804" y="416"/>
                    <a:pt x="2810" y="421"/>
                    <a:pt x="2817" y="421"/>
                  </a:cubicBezTo>
                  <a:cubicBezTo>
                    <a:pt x="2824" y="420"/>
                    <a:pt x="2828" y="416"/>
                    <a:pt x="2828" y="410"/>
                  </a:cubicBezTo>
                  <a:cubicBezTo>
                    <a:pt x="2827" y="405"/>
                    <a:pt x="2821" y="400"/>
                    <a:pt x="2815" y="400"/>
                  </a:cubicBezTo>
                  <a:cubicBezTo>
                    <a:pt x="2815" y="400"/>
                    <a:pt x="2815" y="400"/>
                    <a:pt x="2815" y="400"/>
                  </a:cubicBezTo>
                  <a:moveTo>
                    <a:pt x="2849" y="400"/>
                  </a:moveTo>
                  <a:cubicBezTo>
                    <a:pt x="2842" y="400"/>
                    <a:pt x="2837" y="404"/>
                    <a:pt x="2838" y="410"/>
                  </a:cubicBezTo>
                  <a:cubicBezTo>
                    <a:pt x="2839" y="416"/>
                    <a:pt x="2845" y="420"/>
                    <a:pt x="2851" y="420"/>
                  </a:cubicBezTo>
                  <a:cubicBezTo>
                    <a:pt x="2858" y="420"/>
                    <a:pt x="2863" y="416"/>
                    <a:pt x="2862" y="410"/>
                  </a:cubicBezTo>
                  <a:cubicBezTo>
                    <a:pt x="2861" y="404"/>
                    <a:pt x="2856" y="400"/>
                    <a:pt x="2849" y="400"/>
                  </a:cubicBezTo>
                  <a:cubicBezTo>
                    <a:pt x="2849" y="400"/>
                    <a:pt x="2849" y="400"/>
                    <a:pt x="2849" y="400"/>
                  </a:cubicBezTo>
                  <a:moveTo>
                    <a:pt x="2883" y="400"/>
                  </a:moveTo>
                  <a:cubicBezTo>
                    <a:pt x="2876" y="400"/>
                    <a:pt x="2872" y="404"/>
                    <a:pt x="2872" y="410"/>
                  </a:cubicBezTo>
                  <a:cubicBezTo>
                    <a:pt x="2873" y="416"/>
                    <a:pt x="2879" y="420"/>
                    <a:pt x="2886" y="420"/>
                  </a:cubicBezTo>
                  <a:cubicBezTo>
                    <a:pt x="2892" y="420"/>
                    <a:pt x="2897" y="415"/>
                    <a:pt x="2896" y="410"/>
                  </a:cubicBezTo>
                  <a:cubicBezTo>
                    <a:pt x="2896" y="404"/>
                    <a:pt x="2890" y="400"/>
                    <a:pt x="2883" y="400"/>
                  </a:cubicBezTo>
                  <a:cubicBezTo>
                    <a:pt x="2883" y="400"/>
                    <a:pt x="2883" y="400"/>
                    <a:pt x="2883" y="400"/>
                  </a:cubicBezTo>
                  <a:moveTo>
                    <a:pt x="2917" y="399"/>
                  </a:moveTo>
                  <a:cubicBezTo>
                    <a:pt x="2911" y="399"/>
                    <a:pt x="2906" y="404"/>
                    <a:pt x="2907" y="410"/>
                  </a:cubicBezTo>
                  <a:cubicBezTo>
                    <a:pt x="2908" y="415"/>
                    <a:pt x="2914" y="420"/>
                    <a:pt x="2920" y="420"/>
                  </a:cubicBezTo>
                  <a:cubicBezTo>
                    <a:pt x="2927" y="420"/>
                    <a:pt x="2932" y="415"/>
                    <a:pt x="2931" y="409"/>
                  </a:cubicBezTo>
                  <a:cubicBezTo>
                    <a:pt x="2930" y="404"/>
                    <a:pt x="2924" y="399"/>
                    <a:pt x="2917" y="399"/>
                  </a:cubicBezTo>
                  <a:cubicBezTo>
                    <a:pt x="2917" y="399"/>
                    <a:pt x="2917" y="399"/>
                    <a:pt x="2917" y="399"/>
                  </a:cubicBezTo>
                  <a:moveTo>
                    <a:pt x="2952" y="399"/>
                  </a:moveTo>
                  <a:cubicBezTo>
                    <a:pt x="2945" y="399"/>
                    <a:pt x="2941" y="404"/>
                    <a:pt x="2942" y="409"/>
                  </a:cubicBezTo>
                  <a:cubicBezTo>
                    <a:pt x="2942" y="415"/>
                    <a:pt x="2949" y="420"/>
                    <a:pt x="2955" y="420"/>
                  </a:cubicBezTo>
                  <a:cubicBezTo>
                    <a:pt x="2962" y="419"/>
                    <a:pt x="2967" y="415"/>
                    <a:pt x="2966" y="409"/>
                  </a:cubicBezTo>
                  <a:cubicBezTo>
                    <a:pt x="2965" y="404"/>
                    <a:pt x="2959" y="399"/>
                    <a:pt x="2952" y="399"/>
                  </a:cubicBezTo>
                  <a:cubicBezTo>
                    <a:pt x="2952" y="399"/>
                    <a:pt x="2952" y="399"/>
                    <a:pt x="2952" y="399"/>
                  </a:cubicBezTo>
                  <a:moveTo>
                    <a:pt x="2985" y="399"/>
                  </a:moveTo>
                  <a:cubicBezTo>
                    <a:pt x="2978" y="399"/>
                    <a:pt x="2974" y="403"/>
                    <a:pt x="2975" y="409"/>
                  </a:cubicBezTo>
                  <a:cubicBezTo>
                    <a:pt x="2976" y="415"/>
                    <a:pt x="2982" y="419"/>
                    <a:pt x="2989" y="419"/>
                  </a:cubicBezTo>
                  <a:cubicBezTo>
                    <a:pt x="2995" y="419"/>
                    <a:pt x="3000" y="415"/>
                    <a:pt x="2999" y="409"/>
                  </a:cubicBezTo>
                  <a:cubicBezTo>
                    <a:pt x="2998" y="403"/>
                    <a:pt x="2992" y="399"/>
                    <a:pt x="2985" y="399"/>
                  </a:cubicBezTo>
                  <a:cubicBezTo>
                    <a:pt x="2985" y="399"/>
                    <a:pt x="2985" y="399"/>
                    <a:pt x="2985" y="399"/>
                  </a:cubicBezTo>
                  <a:moveTo>
                    <a:pt x="3019" y="399"/>
                  </a:moveTo>
                  <a:cubicBezTo>
                    <a:pt x="3012" y="399"/>
                    <a:pt x="3008" y="403"/>
                    <a:pt x="3009" y="409"/>
                  </a:cubicBezTo>
                  <a:cubicBezTo>
                    <a:pt x="3010" y="415"/>
                    <a:pt x="3016" y="419"/>
                    <a:pt x="3023" y="419"/>
                  </a:cubicBezTo>
                  <a:cubicBezTo>
                    <a:pt x="3030" y="419"/>
                    <a:pt x="3034" y="414"/>
                    <a:pt x="3033" y="409"/>
                  </a:cubicBezTo>
                  <a:cubicBezTo>
                    <a:pt x="3032" y="403"/>
                    <a:pt x="3026" y="399"/>
                    <a:pt x="3019" y="399"/>
                  </a:cubicBezTo>
                  <a:cubicBezTo>
                    <a:pt x="3019" y="399"/>
                    <a:pt x="3019" y="399"/>
                    <a:pt x="3019" y="399"/>
                  </a:cubicBezTo>
                  <a:moveTo>
                    <a:pt x="3053" y="398"/>
                  </a:moveTo>
                  <a:cubicBezTo>
                    <a:pt x="3046" y="398"/>
                    <a:pt x="3042" y="403"/>
                    <a:pt x="3043" y="409"/>
                  </a:cubicBezTo>
                  <a:cubicBezTo>
                    <a:pt x="3044" y="414"/>
                    <a:pt x="3050" y="419"/>
                    <a:pt x="3057" y="419"/>
                  </a:cubicBezTo>
                  <a:cubicBezTo>
                    <a:pt x="3064" y="419"/>
                    <a:pt x="3068" y="414"/>
                    <a:pt x="3067" y="408"/>
                  </a:cubicBezTo>
                  <a:cubicBezTo>
                    <a:pt x="3066" y="403"/>
                    <a:pt x="3059" y="398"/>
                    <a:pt x="3053" y="398"/>
                  </a:cubicBezTo>
                  <a:cubicBezTo>
                    <a:pt x="3053" y="398"/>
                    <a:pt x="3053" y="398"/>
                    <a:pt x="3053" y="398"/>
                  </a:cubicBezTo>
                  <a:moveTo>
                    <a:pt x="3087" y="398"/>
                  </a:moveTo>
                  <a:cubicBezTo>
                    <a:pt x="3080" y="398"/>
                    <a:pt x="3076" y="403"/>
                    <a:pt x="3077" y="408"/>
                  </a:cubicBezTo>
                  <a:cubicBezTo>
                    <a:pt x="3078" y="414"/>
                    <a:pt x="3085" y="419"/>
                    <a:pt x="3091" y="419"/>
                  </a:cubicBezTo>
                  <a:cubicBezTo>
                    <a:pt x="3098" y="419"/>
                    <a:pt x="3102" y="414"/>
                    <a:pt x="3101" y="408"/>
                  </a:cubicBezTo>
                  <a:cubicBezTo>
                    <a:pt x="3100" y="403"/>
                    <a:pt x="3093" y="398"/>
                    <a:pt x="3087" y="398"/>
                  </a:cubicBezTo>
                  <a:cubicBezTo>
                    <a:pt x="3087" y="398"/>
                    <a:pt x="3087" y="398"/>
                    <a:pt x="3087" y="398"/>
                  </a:cubicBezTo>
                  <a:moveTo>
                    <a:pt x="3121" y="398"/>
                  </a:moveTo>
                  <a:cubicBezTo>
                    <a:pt x="3114" y="398"/>
                    <a:pt x="3110" y="402"/>
                    <a:pt x="3111" y="408"/>
                  </a:cubicBezTo>
                  <a:cubicBezTo>
                    <a:pt x="3113" y="414"/>
                    <a:pt x="3119" y="418"/>
                    <a:pt x="3126" y="418"/>
                  </a:cubicBezTo>
                  <a:cubicBezTo>
                    <a:pt x="3132" y="418"/>
                    <a:pt x="3137" y="414"/>
                    <a:pt x="3135" y="408"/>
                  </a:cubicBezTo>
                  <a:cubicBezTo>
                    <a:pt x="3134" y="402"/>
                    <a:pt x="3128" y="398"/>
                    <a:pt x="3121" y="398"/>
                  </a:cubicBezTo>
                  <a:cubicBezTo>
                    <a:pt x="3121" y="398"/>
                    <a:pt x="3121" y="398"/>
                    <a:pt x="3121" y="398"/>
                  </a:cubicBezTo>
                  <a:moveTo>
                    <a:pt x="3362" y="398"/>
                  </a:moveTo>
                  <a:cubicBezTo>
                    <a:pt x="3356" y="398"/>
                    <a:pt x="3352" y="402"/>
                    <a:pt x="3354" y="408"/>
                  </a:cubicBezTo>
                  <a:cubicBezTo>
                    <a:pt x="3355" y="414"/>
                    <a:pt x="3362" y="418"/>
                    <a:pt x="3369" y="418"/>
                  </a:cubicBezTo>
                  <a:cubicBezTo>
                    <a:pt x="3376" y="418"/>
                    <a:pt x="3379" y="414"/>
                    <a:pt x="3378" y="408"/>
                  </a:cubicBezTo>
                  <a:cubicBezTo>
                    <a:pt x="3376" y="402"/>
                    <a:pt x="3369" y="398"/>
                    <a:pt x="3362" y="398"/>
                  </a:cubicBezTo>
                  <a:cubicBezTo>
                    <a:pt x="3362" y="398"/>
                    <a:pt x="3362" y="398"/>
                    <a:pt x="3362" y="398"/>
                  </a:cubicBezTo>
                  <a:moveTo>
                    <a:pt x="3156" y="398"/>
                  </a:moveTo>
                  <a:cubicBezTo>
                    <a:pt x="3149" y="398"/>
                    <a:pt x="3145" y="402"/>
                    <a:pt x="3146" y="408"/>
                  </a:cubicBezTo>
                  <a:cubicBezTo>
                    <a:pt x="3147" y="414"/>
                    <a:pt x="3154" y="418"/>
                    <a:pt x="3161" y="418"/>
                  </a:cubicBezTo>
                  <a:cubicBezTo>
                    <a:pt x="3167" y="418"/>
                    <a:pt x="3172" y="413"/>
                    <a:pt x="3170" y="408"/>
                  </a:cubicBezTo>
                  <a:cubicBezTo>
                    <a:pt x="3169" y="402"/>
                    <a:pt x="3162" y="398"/>
                    <a:pt x="3156" y="398"/>
                  </a:cubicBezTo>
                  <a:cubicBezTo>
                    <a:pt x="3156" y="398"/>
                    <a:pt x="3156" y="398"/>
                    <a:pt x="3156" y="398"/>
                  </a:cubicBezTo>
                  <a:moveTo>
                    <a:pt x="3396" y="397"/>
                  </a:moveTo>
                  <a:cubicBezTo>
                    <a:pt x="3390" y="398"/>
                    <a:pt x="3386" y="402"/>
                    <a:pt x="3387" y="408"/>
                  </a:cubicBezTo>
                  <a:cubicBezTo>
                    <a:pt x="3389" y="413"/>
                    <a:pt x="3396" y="418"/>
                    <a:pt x="3403" y="418"/>
                  </a:cubicBezTo>
                  <a:cubicBezTo>
                    <a:pt x="3410" y="418"/>
                    <a:pt x="3413" y="413"/>
                    <a:pt x="3412" y="408"/>
                  </a:cubicBezTo>
                  <a:cubicBezTo>
                    <a:pt x="3410" y="402"/>
                    <a:pt x="3403" y="397"/>
                    <a:pt x="3396" y="397"/>
                  </a:cubicBezTo>
                  <a:cubicBezTo>
                    <a:pt x="3396" y="397"/>
                    <a:pt x="3396" y="397"/>
                    <a:pt x="3396" y="397"/>
                  </a:cubicBezTo>
                  <a:moveTo>
                    <a:pt x="3190" y="397"/>
                  </a:moveTo>
                  <a:cubicBezTo>
                    <a:pt x="3183" y="397"/>
                    <a:pt x="3179" y="402"/>
                    <a:pt x="3180" y="408"/>
                  </a:cubicBezTo>
                  <a:cubicBezTo>
                    <a:pt x="3182" y="413"/>
                    <a:pt x="3188" y="418"/>
                    <a:pt x="3195" y="418"/>
                  </a:cubicBezTo>
                  <a:cubicBezTo>
                    <a:pt x="3202" y="418"/>
                    <a:pt x="3206" y="413"/>
                    <a:pt x="3204" y="407"/>
                  </a:cubicBezTo>
                  <a:cubicBezTo>
                    <a:pt x="3203" y="402"/>
                    <a:pt x="3196" y="397"/>
                    <a:pt x="3190" y="397"/>
                  </a:cubicBezTo>
                  <a:cubicBezTo>
                    <a:pt x="3190" y="397"/>
                    <a:pt x="3190" y="397"/>
                    <a:pt x="3190" y="397"/>
                  </a:cubicBezTo>
                  <a:moveTo>
                    <a:pt x="3430" y="397"/>
                  </a:moveTo>
                  <a:cubicBezTo>
                    <a:pt x="3424" y="397"/>
                    <a:pt x="3420" y="402"/>
                    <a:pt x="3422" y="408"/>
                  </a:cubicBezTo>
                  <a:cubicBezTo>
                    <a:pt x="3424" y="413"/>
                    <a:pt x="3430" y="418"/>
                    <a:pt x="3437" y="418"/>
                  </a:cubicBezTo>
                  <a:cubicBezTo>
                    <a:pt x="3444" y="418"/>
                    <a:pt x="3448" y="413"/>
                    <a:pt x="3446" y="407"/>
                  </a:cubicBezTo>
                  <a:cubicBezTo>
                    <a:pt x="3444" y="402"/>
                    <a:pt x="3437" y="397"/>
                    <a:pt x="3430" y="397"/>
                  </a:cubicBezTo>
                  <a:cubicBezTo>
                    <a:pt x="3430" y="397"/>
                    <a:pt x="3430" y="397"/>
                    <a:pt x="3430" y="397"/>
                  </a:cubicBezTo>
                  <a:moveTo>
                    <a:pt x="3224" y="397"/>
                  </a:moveTo>
                  <a:cubicBezTo>
                    <a:pt x="3217" y="397"/>
                    <a:pt x="3213" y="402"/>
                    <a:pt x="3215" y="407"/>
                  </a:cubicBezTo>
                  <a:cubicBezTo>
                    <a:pt x="3216" y="413"/>
                    <a:pt x="3223" y="418"/>
                    <a:pt x="3229" y="418"/>
                  </a:cubicBezTo>
                  <a:cubicBezTo>
                    <a:pt x="3236" y="418"/>
                    <a:pt x="3240" y="413"/>
                    <a:pt x="3239" y="407"/>
                  </a:cubicBezTo>
                  <a:cubicBezTo>
                    <a:pt x="3237" y="402"/>
                    <a:pt x="3231" y="397"/>
                    <a:pt x="3224" y="397"/>
                  </a:cubicBezTo>
                  <a:cubicBezTo>
                    <a:pt x="3224" y="397"/>
                    <a:pt x="3224" y="397"/>
                    <a:pt x="3224" y="397"/>
                  </a:cubicBezTo>
                  <a:moveTo>
                    <a:pt x="3464" y="397"/>
                  </a:moveTo>
                  <a:cubicBezTo>
                    <a:pt x="3458" y="397"/>
                    <a:pt x="3454" y="402"/>
                    <a:pt x="3456" y="407"/>
                  </a:cubicBezTo>
                  <a:cubicBezTo>
                    <a:pt x="3458" y="413"/>
                    <a:pt x="3465" y="418"/>
                    <a:pt x="3472" y="418"/>
                  </a:cubicBezTo>
                  <a:cubicBezTo>
                    <a:pt x="3478" y="417"/>
                    <a:pt x="3482" y="413"/>
                    <a:pt x="3480" y="407"/>
                  </a:cubicBezTo>
                  <a:cubicBezTo>
                    <a:pt x="3478" y="402"/>
                    <a:pt x="3471" y="397"/>
                    <a:pt x="3465" y="397"/>
                  </a:cubicBezTo>
                  <a:cubicBezTo>
                    <a:pt x="3464" y="397"/>
                    <a:pt x="3464" y="397"/>
                    <a:pt x="3464" y="397"/>
                  </a:cubicBezTo>
                  <a:moveTo>
                    <a:pt x="3258" y="397"/>
                  </a:moveTo>
                  <a:cubicBezTo>
                    <a:pt x="3251" y="397"/>
                    <a:pt x="3247" y="401"/>
                    <a:pt x="3249" y="407"/>
                  </a:cubicBezTo>
                  <a:cubicBezTo>
                    <a:pt x="3250" y="413"/>
                    <a:pt x="3257" y="417"/>
                    <a:pt x="3264" y="417"/>
                  </a:cubicBezTo>
                  <a:cubicBezTo>
                    <a:pt x="3270" y="417"/>
                    <a:pt x="3274" y="413"/>
                    <a:pt x="3273" y="407"/>
                  </a:cubicBezTo>
                  <a:cubicBezTo>
                    <a:pt x="3271" y="401"/>
                    <a:pt x="3265" y="397"/>
                    <a:pt x="3258" y="397"/>
                  </a:cubicBezTo>
                  <a:cubicBezTo>
                    <a:pt x="3258" y="397"/>
                    <a:pt x="3258" y="397"/>
                    <a:pt x="3258" y="397"/>
                  </a:cubicBezTo>
                  <a:moveTo>
                    <a:pt x="3499" y="397"/>
                  </a:moveTo>
                  <a:cubicBezTo>
                    <a:pt x="3492" y="397"/>
                    <a:pt x="3489" y="401"/>
                    <a:pt x="3491" y="407"/>
                  </a:cubicBezTo>
                  <a:cubicBezTo>
                    <a:pt x="3493" y="413"/>
                    <a:pt x="3500" y="417"/>
                    <a:pt x="3507" y="417"/>
                  </a:cubicBezTo>
                  <a:cubicBezTo>
                    <a:pt x="3513" y="417"/>
                    <a:pt x="3517" y="413"/>
                    <a:pt x="3515" y="407"/>
                  </a:cubicBezTo>
                  <a:cubicBezTo>
                    <a:pt x="3513" y="401"/>
                    <a:pt x="3506" y="397"/>
                    <a:pt x="3499" y="397"/>
                  </a:cubicBezTo>
                  <a:cubicBezTo>
                    <a:pt x="3499" y="397"/>
                    <a:pt x="3499" y="397"/>
                    <a:pt x="3499" y="397"/>
                  </a:cubicBezTo>
                  <a:moveTo>
                    <a:pt x="3292" y="397"/>
                  </a:moveTo>
                  <a:cubicBezTo>
                    <a:pt x="3286" y="397"/>
                    <a:pt x="3282" y="401"/>
                    <a:pt x="3283" y="407"/>
                  </a:cubicBezTo>
                  <a:cubicBezTo>
                    <a:pt x="3285" y="413"/>
                    <a:pt x="3292" y="417"/>
                    <a:pt x="3298" y="417"/>
                  </a:cubicBezTo>
                  <a:cubicBezTo>
                    <a:pt x="3305" y="417"/>
                    <a:pt x="3309" y="412"/>
                    <a:pt x="3307" y="407"/>
                  </a:cubicBezTo>
                  <a:cubicBezTo>
                    <a:pt x="3306" y="401"/>
                    <a:pt x="3299" y="397"/>
                    <a:pt x="3292" y="397"/>
                  </a:cubicBezTo>
                  <a:cubicBezTo>
                    <a:pt x="3292" y="397"/>
                    <a:pt x="3292" y="397"/>
                    <a:pt x="3292" y="397"/>
                  </a:cubicBezTo>
                  <a:moveTo>
                    <a:pt x="3533" y="396"/>
                  </a:moveTo>
                  <a:cubicBezTo>
                    <a:pt x="3526" y="397"/>
                    <a:pt x="3523" y="401"/>
                    <a:pt x="3525" y="407"/>
                  </a:cubicBezTo>
                  <a:cubicBezTo>
                    <a:pt x="3527" y="413"/>
                    <a:pt x="3534" y="417"/>
                    <a:pt x="3541" y="417"/>
                  </a:cubicBezTo>
                  <a:cubicBezTo>
                    <a:pt x="3547" y="417"/>
                    <a:pt x="3551" y="412"/>
                    <a:pt x="3549" y="407"/>
                  </a:cubicBezTo>
                  <a:cubicBezTo>
                    <a:pt x="3547" y="401"/>
                    <a:pt x="3540" y="396"/>
                    <a:pt x="3533" y="396"/>
                  </a:cubicBezTo>
                  <a:cubicBezTo>
                    <a:pt x="3533" y="396"/>
                    <a:pt x="3533" y="396"/>
                    <a:pt x="3533" y="396"/>
                  </a:cubicBezTo>
                  <a:moveTo>
                    <a:pt x="3327" y="396"/>
                  </a:moveTo>
                  <a:cubicBezTo>
                    <a:pt x="3320" y="396"/>
                    <a:pt x="3316" y="401"/>
                    <a:pt x="3318" y="407"/>
                  </a:cubicBezTo>
                  <a:cubicBezTo>
                    <a:pt x="3320" y="412"/>
                    <a:pt x="3326" y="417"/>
                    <a:pt x="3333" y="417"/>
                  </a:cubicBezTo>
                  <a:cubicBezTo>
                    <a:pt x="3340" y="417"/>
                    <a:pt x="3344" y="412"/>
                    <a:pt x="3342" y="406"/>
                  </a:cubicBezTo>
                  <a:cubicBezTo>
                    <a:pt x="3340" y="401"/>
                    <a:pt x="3333" y="396"/>
                    <a:pt x="3327" y="396"/>
                  </a:cubicBezTo>
                  <a:cubicBezTo>
                    <a:pt x="3327" y="396"/>
                    <a:pt x="3327" y="396"/>
                    <a:pt x="3327" y="396"/>
                  </a:cubicBezTo>
                  <a:moveTo>
                    <a:pt x="3567" y="395"/>
                  </a:moveTo>
                  <a:cubicBezTo>
                    <a:pt x="3561" y="395"/>
                    <a:pt x="3557" y="400"/>
                    <a:pt x="3559" y="406"/>
                  </a:cubicBezTo>
                  <a:cubicBezTo>
                    <a:pt x="3561" y="411"/>
                    <a:pt x="3569" y="416"/>
                    <a:pt x="3575" y="416"/>
                  </a:cubicBezTo>
                  <a:cubicBezTo>
                    <a:pt x="3582" y="416"/>
                    <a:pt x="3586" y="411"/>
                    <a:pt x="3583" y="406"/>
                  </a:cubicBezTo>
                  <a:cubicBezTo>
                    <a:pt x="3581" y="400"/>
                    <a:pt x="3574" y="395"/>
                    <a:pt x="3567" y="395"/>
                  </a:cubicBezTo>
                  <a:cubicBezTo>
                    <a:pt x="3567" y="395"/>
                    <a:pt x="3567" y="395"/>
                    <a:pt x="3567" y="395"/>
                  </a:cubicBezTo>
                  <a:moveTo>
                    <a:pt x="3601" y="395"/>
                  </a:moveTo>
                  <a:cubicBezTo>
                    <a:pt x="3595" y="395"/>
                    <a:pt x="3591" y="400"/>
                    <a:pt x="3594" y="406"/>
                  </a:cubicBezTo>
                  <a:cubicBezTo>
                    <a:pt x="3596" y="411"/>
                    <a:pt x="3603" y="416"/>
                    <a:pt x="3610" y="416"/>
                  </a:cubicBezTo>
                  <a:cubicBezTo>
                    <a:pt x="3616" y="416"/>
                    <a:pt x="3620" y="411"/>
                    <a:pt x="3618" y="405"/>
                  </a:cubicBezTo>
                  <a:cubicBezTo>
                    <a:pt x="3615" y="400"/>
                    <a:pt x="3608" y="395"/>
                    <a:pt x="3602" y="395"/>
                  </a:cubicBezTo>
                  <a:cubicBezTo>
                    <a:pt x="3602" y="395"/>
                    <a:pt x="3601" y="395"/>
                    <a:pt x="3601" y="395"/>
                  </a:cubicBezTo>
                  <a:moveTo>
                    <a:pt x="3635" y="395"/>
                  </a:moveTo>
                  <a:cubicBezTo>
                    <a:pt x="3629" y="395"/>
                    <a:pt x="3625" y="400"/>
                    <a:pt x="3628" y="405"/>
                  </a:cubicBezTo>
                  <a:cubicBezTo>
                    <a:pt x="3630" y="411"/>
                    <a:pt x="3637" y="416"/>
                    <a:pt x="3644" y="415"/>
                  </a:cubicBezTo>
                  <a:cubicBezTo>
                    <a:pt x="3651" y="415"/>
                    <a:pt x="3654" y="411"/>
                    <a:pt x="3652" y="405"/>
                  </a:cubicBezTo>
                  <a:cubicBezTo>
                    <a:pt x="3649" y="399"/>
                    <a:pt x="3642" y="395"/>
                    <a:pt x="3636" y="395"/>
                  </a:cubicBezTo>
                  <a:cubicBezTo>
                    <a:pt x="3636" y="395"/>
                    <a:pt x="3635" y="395"/>
                    <a:pt x="3635" y="395"/>
                  </a:cubicBezTo>
                  <a:moveTo>
                    <a:pt x="3670" y="395"/>
                  </a:moveTo>
                  <a:cubicBezTo>
                    <a:pt x="3664" y="395"/>
                    <a:pt x="3660" y="399"/>
                    <a:pt x="3663" y="405"/>
                  </a:cubicBezTo>
                  <a:cubicBezTo>
                    <a:pt x="3665" y="411"/>
                    <a:pt x="3672" y="415"/>
                    <a:pt x="3679" y="415"/>
                  </a:cubicBezTo>
                  <a:cubicBezTo>
                    <a:pt x="3686" y="415"/>
                    <a:pt x="3689" y="411"/>
                    <a:pt x="3687" y="405"/>
                  </a:cubicBezTo>
                  <a:cubicBezTo>
                    <a:pt x="3684" y="399"/>
                    <a:pt x="3677" y="395"/>
                    <a:pt x="3670" y="395"/>
                  </a:cubicBezTo>
                  <a:cubicBezTo>
                    <a:pt x="3670" y="395"/>
                    <a:pt x="3670" y="395"/>
                    <a:pt x="3670" y="395"/>
                  </a:cubicBezTo>
                  <a:moveTo>
                    <a:pt x="3704" y="394"/>
                  </a:moveTo>
                  <a:cubicBezTo>
                    <a:pt x="3698" y="394"/>
                    <a:pt x="3695" y="399"/>
                    <a:pt x="3697" y="405"/>
                  </a:cubicBezTo>
                  <a:cubicBezTo>
                    <a:pt x="3700" y="410"/>
                    <a:pt x="3707" y="415"/>
                    <a:pt x="3714" y="415"/>
                  </a:cubicBezTo>
                  <a:cubicBezTo>
                    <a:pt x="3720" y="415"/>
                    <a:pt x="3724" y="410"/>
                    <a:pt x="3721" y="405"/>
                  </a:cubicBezTo>
                  <a:cubicBezTo>
                    <a:pt x="3719" y="399"/>
                    <a:pt x="3711" y="394"/>
                    <a:pt x="3705" y="394"/>
                  </a:cubicBezTo>
                  <a:cubicBezTo>
                    <a:pt x="3705" y="394"/>
                    <a:pt x="3705" y="394"/>
                    <a:pt x="3704" y="394"/>
                  </a:cubicBezTo>
                  <a:moveTo>
                    <a:pt x="3740" y="394"/>
                  </a:moveTo>
                  <a:cubicBezTo>
                    <a:pt x="3733" y="394"/>
                    <a:pt x="3730" y="399"/>
                    <a:pt x="3732" y="405"/>
                  </a:cubicBezTo>
                  <a:cubicBezTo>
                    <a:pt x="3735" y="410"/>
                    <a:pt x="3742" y="415"/>
                    <a:pt x="3749" y="415"/>
                  </a:cubicBezTo>
                  <a:cubicBezTo>
                    <a:pt x="3756" y="415"/>
                    <a:pt x="3759" y="410"/>
                    <a:pt x="3756" y="404"/>
                  </a:cubicBezTo>
                  <a:cubicBezTo>
                    <a:pt x="3754" y="399"/>
                    <a:pt x="3746" y="394"/>
                    <a:pt x="3740" y="394"/>
                  </a:cubicBezTo>
                  <a:cubicBezTo>
                    <a:pt x="3740" y="394"/>
                    <a:pt x="3740" y="394"/>
                    <a:pt x="3740" y="394"/>
                  </a:cubicBezTo>
                  <a:moveTo>
                    <a:pt x="3774" y="394"/>
                  </a:moveTo>
                  <a:cubicBezTo>
                    <a:pt x="3767" y="394"/>
                    <a:pt x="3764" y="399"/>
                    <a:pt x="3767" y="404"/>
                  </a:cubicBezTo>
                  <a:cubicBezTo>
                    <a:pt x="3769" y="410"/>
                    <a:pt x="3777" y="415"/>
                    <a:pt x="3783" y="414"/>
                  </a:cubicBezTo>
                  <a:cubicBezTo>
                    <a:pt x="3790" y="414"/>
                    <a:pt x="3793" y="410"/>
                    <a:pt x="3791" y="404"/>
                  </a:cubicBezTo>
                  <a:cubicBezTo>
                    <a:pt x="3788" y="398"/>
                    <a:pt x="3780" y="394"/>
                    <a:pt x="3774" y="394"/>
                  </a:cubicBezTo>
                  <a:cubicBezTo>
                    <a:pt x="3774" y="394"/>
                    <a:pt x="3774" y="394"/>
                    <a:pt x="3774" y="394"/>
                  </a:cubicBezTo>
                  <a:moveTo>
                    <a:pt x="3808" y="394"/>
                  </a:moveTo>
                  <a:cubicBezTo>
                    <a:pt x="3801" y="394"/>
                    <a:pt x="3798" y="398"/>
                    <a:pt x="3801" y="404"/>
                  </a:cubicBezTo>
                  <a:cubicBezTo>
                    <a:pt x="3804" y="410"/>
                    <a:pt x="3811" y="414"/>
                    <a:pt x="3818" y="414"/>
                  </a:cubicBezTo>
                  <a:cubicBezTo>
                    <a:pt x="3825" y="414"/>
                    <a:pt x="3828" y="410"/>
                    <a:pt x="3825" y="404"/>
                  </a:cubicBezTo>
                  <a:cubicBezTo>
                    <a:pt x="3822" y="398"/>
                    <a:pt x="3815" y="394"/>
                    <a:pt x="3808" y="394"/>
                  </a:cubicBezTo>
                  <a:cubicBezTo>
                    <a:pt x="3808" y="394"/>
                    <a:pt x="3808" y="394"/>
                    <a:pt x="3808" y="394"/>
                  </a:cubicBezTo>
                  <a:moveTo>
                    <a:pt x="3843" y="393"/>
                  </a:moveTo>
                  <a:cubicBezTo>
                    <a:pt x="3836" y="393"/>
                    <a:pt x="3833" y="398"/>
                    <a:pt x="3836" y="404"/>
                  </a:cubicBezTo>
                  <a:cubicBezTo>
                    <a:pt x="3838" y="409"/>
                    <a:pt x="3846" y="414"/>
                    <a:pt x="3853" y="414"/>
                  </a:cubicBezTo>
                  <a:cubicBezTo>
                    <a:pt x="3859" y="414"/>
                    <a:pt x="3862" y="409"/>
                    <a:pt x="3860" y="404"/>
                  </a:cubicBezTo>
                  <a:cubicBezTo>
                    <a:pt x="3857" y="398"/>
                    <a:pt x="3849" y="393"/>
                    <a:pt x="3843" y="393"/>
                  </a:cubicBezTo>
                  <a:cubicBezTo>
                    <a:pt x="3843" y="393"/>
                    <a:pt x="3843" y="393"/>
                    <a:pt x="3843" y="393"/>
                  </a:cubicBezTo>
                  <a:moveTo>
                    <a:pt x="3877" y="393"/>
                  </a:moveTo>
                  <a:cubicBezTo>
                    <a:pt x="3870" y="393"/>
                    <a:pt x="3867" y="398"/>
                    <a:pt x="3870" y="404"/>
                  </a:cubicBezTo>
                  <a:cubicBezTo>
                    <a:pt x="3873" y="409"/>
                    <a:pt x="3880" y="414"/>
                    <a:pt x="3887" y="414"/>
                  </a:cubicBezTo>
                  <a:cubicBezTo>
                    <a:pt x="3894" y="414"/>
                    <a:pt x="3897" y="409"/>
                    <a:pt x="3894" y="403"/>
                  </a:cubicBezTo>
                  <a:cubicBezTo>
                    <a:pt x="3891" y="398"/>
                    <a:pt x="3883" y="393"/>
                    <a:pt x="3877" y="393"/>
                  </a:cubicBezTo>
                  <a:cubicBezTo>
                    <a:pt x="3877" y="393"/>
                    <a:pt x="3877" y="393"/>
                    <a:pt x="3877" y="393"/>
                  </a:cubicBezTo>
                  <a:moveTo>
                    <a:pt x="3909" y="392"/>
                  </a:moveTo>
                  <a:cubicBezTo>
                    <a:pt x="3903" y="392"/>
                    <a:pt x="3900" y="396"/>
                    <a:pt x="3903" y="402"/>
                  </a:cubicBezTo>
                  <a:cubicBezTo>
                    <a:pt x="3906" y="408"/>
                    <a:pt x="3913" y="412"/>
                    <a:pt x="3920" y="412"/>
                  </a:cubicBezTo>
                  <a:cubicBezTo>
                    <a:pt x="3927" y="412"/>
                    <a:pt x="3930" y="407"/>
                    <a:pt x="3927" y="402"/>
                  </a:cubicBezTo>
                  <a:cubicBezTo>
                    <a:pt x="3924" y="396"/>
                    <a:pt x="3916" y="392"/>
                    <a:pt x="3910" y="392"/>
                  </a:cubicBezTo>
                  <a:cubicBezTo>
                    <a:pt x="3910" y="392"/>
                    <a:pt x="3909" y="392"/>
                    <a:pt x="3909" y="392"/>
                  </a:cubicBezTo>
                  <a:moveTo>
                    <a:pt x="3944" y="391"/>
                  </a:moveTo>
                  <a:cubicBezTo>
                    <a:pt x="3937" y="391"/>
                    <a:pt x="3934" y="396"/>
                    <a:pt x="3937" y="402"/>
                  </a:cubicBezTo>
                  <a:cubicBezTo>
                    <a:pt x="3940" y="407"/>
                    <a:pt x="3948" y="412"/>
                    <a:pt x="3955" y="412"/>
                  </a:cubicBezTo>
                  <a:cubicBezTo>
                    <a:pt x="3961" y="412"/>
                    <a:pt x="3964" y="407"/>
                    <a:pt x="3961" y="401"/>
                  </a:cubicBezTo>
                  <a:cubicBezTo>
                    <a:pt x="3958" y="396"/>
                    <a:pt x="3950" y="391"/>
                    <a:pt x="3944" y="391"/>
                  </a:cubicBezTo>
                  <a:cubicBezTo>
                    <a:pt x="3944" y="391"/>
                    <a:pt x="3944" y="391"/>
                    <a:pt x="3944" y="391"/>
                  </a:cubicBezTo>
                  <a:moveTo>
                    <a:pt x="3977" y="391"/>
                  </a:moveTo>
                  <a:cubicBezTo>
                    <a:pt x="3970" y="391"/>
                    <a:pt x="3967" y="396"/>
                    <a:pt x="3970" y="401"/>
                  </a:cubicBezTo>
                  <a:cubicBezTo>
                    <a:pt x="3973" y="407"/>
                    <a:pt x="3981" y="412"/>
                    <a:pt x="3988" y="412"/>
                  </a:cubicBezTo>
                  <a:cubicBezTo>
                    <a:pt x="3995" y="412"/>
                    <a:pt x="3998" y="407"/>
                    <a:pt x="3994" y="401"/>
                  </a:cubicBezTo>
                  <a:cubicBezTo>
                    <a:pt x="3991" y="396"/>
                    <a:pt x="3984" y="391"/>
                    <a:pt x="3977" y="391"/>
                  </a:cubicBezTo>
                  <a:cubicBezTo>
                    <a:pt x="3977" y="391"/>
                    <a:pt x="3977" y="391"/>
                    <a:pt x="3977" y="391"/>
                  </a:cubicBezTo>
                  <a:moveTo>
                    <a:pt x="4046" y="391"/>
                  </a:moveTo>
                  <a:cubicBezTo>
                    <a:pt x="4039" y="391"/>
                    <a:pt x="4036" y="395"/>
                    <a:pt x="4040" y="401"/>
                  </a:cubicBezTo>
                  <a:cubicBezTo>
                    <a:pt x="4043" y="407"/>
                    <a:pt x="4051" y="411"/>
                    <a:pt x="4057" y="411"/>
                  </a:cubicBezTo>
                  <a:cubicBezTo>
                    <a:pt x="4064" y="411"/>
                    <a:pt x="4067" y="406"/>
                    <a:pt x="4064" y="401"/>
                  </a:cubicBezTo>
                  <a:cubicBezTo>
                    <a:pt x="4060" y="395"/>
                    <a:pt x="4052" y="391"/>
                    <a:pt x="4046" y="391"/>
                  </a:cubicBezTo>
                  <a:cubicBezTo>
                    <a:pt x="4046" y="391"/>
                    <a:pt x="4046" y="391"/>
                    <a:pt x="4046" y="391"/>
                  </a:cubicBezTo>
                  <a:moveTo>
                    <a:pt x="363" y="389"/>
                  </a:moveTo>
                  <a:cubicBezTo>
                    <a:pt x="357" y="389"/>
                    <a:pt x="348" y="394"/>
                    <a:pt x="343" y="399"/>
                  </a:cubicBezTo>
                  <a:cubicBezTo>
                    <a:pt x="339" y="405"/>
                    <a:pt x="340" y="409"/>
                    <a:pt x="347" y="409"/>
                  </a:cubicBezTo>
                  <a:cubicBezTo>
                    <a:pt x="354" y="409"/>
                    <a:pt x="363" y="405"/>
                    <a:pt x="367" y="399"/>
                  </a:cubicBezTo>
                  <a:cubicBezTo>
                    <a:pt x="371" y="393"/>
                    <a:pt x="370" y="389"/>
                    <a:pt x="363" y="389"/>
                  </a:cubicBezTo>
                  <a:cubicBezTo>
                    <a:pt x="363" y="389"/>
                    <a:pt x="363" y="389"/>
                    <a:pt x="363" y="389"/>
                  </a:cubicBezTo>
                  <a:moveTo>
                    <a:pt x="397" y="389"/>
                  </a:moveTo>
                  <a:cubicBezTo>
                    <a:pt x="390" y="389"/>
                    <a:pt x="382" y="393"/>
                    <a:pt x="377" y="399"/>
                  </a:cubicBezTo>
                  <a:cubicBezTo>
                    <a:pt x="373" y="405"/>
                    <a:pt x="375" y="409"/>
                    <a:pt x="381" y="409"/>
                  </a:cubicBezTo>
                  <a:cubicBezTo>
                    <a:pt x="388" y="409"/>
                    <a:pt x="397" y="404"/>
                    <a:pt x="401" y="399"/>
                  </a:cubicBezTo>
                  <a:cubicBezTo>
                    <a:pt x="405" y="393"/>
                    <a:pt x="404" y="389"/>
                    <a:pt x="397" y="389"/>
                  </a:cubicBezTo>
                  <a:cubicBezTo>
                    <a:pt x="397" y="389"/>
                    <a:pt x="397" y="389"/>
                    <a:pt x="397" y="389"/>
                  </a:cubicBezTo>
                  <a:moveTo>
                    <a:pt x="431" y="389"/>
                  </a:moveTo>
                  <a:cubicBezTo>
                    <a:pt x="425" y="389"/>
                    <a:pt x="416" y="393"/>
                    <a:pt x="411" y="399"/>
                  </a:cubicBezTo>
                  <a:cubicBezTo>
                    <a:pt x="407" y="404"/>
                    <a:pt x="409" y="409"/>
                    <a:pt x="416" y="409"/>
                  </a:cubicBezTo>
                  <a:cubicBezTo>
                    <a:pt x="422" y="409"/>
                    <a:pt x="431" y="404"/>
                    <a:pt x="435" y="399"/>
                  </a:cubicBezTo>
                  <a:cubicBezTo>
                    <a:pt x="440" y="393"/>
                    <a:pt x="438" y="389"/>
                    <a:pt x="431" y="389"/>
                  </a:cubicBezTo>
                  <a:cubicBezTo>
                    <a:pt x="431" y="389"/>
                    <a:pt x="431" y="389"/>
                    <a:pt x="431" y="389"/>
                  </a:cubicBezTo>
                  <a:moveTo>
                    <a:pt x="465" y="388"/>
                  </a:moveTo>
                  <a:cubicBezTo>
                    <a:pt x="458" y="388"/>
                    <a:pt x="450" y="393"/>
                    <a:pt x="445" y="398"/>
                  </a:cubicBezTo>
                  <a:cubicBezTo>
                    <a:pt x="441" y="404"/>
                    <a:pt x="443" y="409"/>
                    <a:pt x="450" y="409"/>
                  </a:cubicBezTo>
                  <a:cubicBezTo>
                    <a:pt x="456" y="408"/>
                    <a:pt x="465" y="404"/>
                    <a:pt x="469" y="398"/>
                  </a:cubicBezTo>
                  <a:cubicBezTo>
                    <a:pt x="474" y="393"/>
                    <a:pt x="472" y="388"/>
                    <a:pt x="465" y="388"/>
                  </a:cubicBezTo>
                  <a:cubicBezTo>
                    <a:pt x="465" y="388"/>
                    <a:pt x="465" y="388"/>
                    <a:pt x="465" y="388"/>
                  </a:cubicBezTo>
                  <a:moveTo>
                    <a:pt x="499" y="388"/>
                  </a:moveTo>
                  <a:cubicBezTo>
                    <a:pt x="493" y="388"/>
                    <a:pt x="484" y="393"/>
                    <a:pt x="480" y="398"/>
                  </a:cubicBezTo>
                  <a:cubicBezTo>
                    <a:pt x="476" y="404"/>
                    <a:pt x="478" y="408"/>
                    <a:pt x="484" y="408"/>
                  </a:cubicBezTo>
                  <a:cubicBezTo>
                    <a:pt x="491" y="408"/>
                    <a:pt x="500" y="404"/>
                    <a:pt x="504" y="398"/>
                  </a:cubicBezTo>
                  <a:cubicBezTo>
                    <a:pt x="508" y="392"/>
                    <a:pt x="506" y="388"/>
                    <a:pt x="499" y="388"/>
                  </a:cubicBezTo>
                  <a:cubicBezTo>
                    <a:pt x="499" y="388"/>
                    <a:pt x="499" y="388"/>
                    <a:pt x="499" y="388"/>
                  </a:cubicBezTo>
                  <a:moveTo>
                    <a:pt x="534" y="388"/>
                  </a:moveTo>
                  <a:cubicBezTo>
                    <a:pt x="528" y="388"/>
                    <a:pt x="519" y="392"/>
                    <a:pt x="515" y="398"/>
                  </a:cubicBezTo>
                  <a:cubicBezTo>
                    <a:pt x="511" y="404"/>
                    <a:pt x="513" y="408"/>
                    <a:pt x="520" y="408"/>
                  </a:cubicBezTo>
                  <a:cubicBezTo>
                    <a:pt x="526" y="408"/>
                    <a:pt x="535" y="403"/>
                    <a:pt x="539" y="398"/>
                  </a:cubicBezTo>
                  <a:cubicBezTo>
                    <a:pt x="543" y="392"/>
                    <a:pt x="541" y="388"/>
                    <a:pt x="535" y="388"/>
                  </a:cubicBezTo>
                  <a:cubicBezTo>
                    <a:pt x="534" y="388"/>
                    <a:pt x="534" y="388"/>
                    <a:pt x="534" y="388"/>
                  </a:cubicBezTo>
                  <a:moveTo>
                    <a:pt x="568" y="387"/>
                  </a:moveTo>
                  <a:cubicBezTo>
                    <a:pt x="562" y="388"/>
                    <a:pt x="553" y="392"/>
                    <a:pt x="549" y="398"/>
                  </a:cubicBezTo>
                  <a:cubicBezTo>
                    <a:pt x="545" y="403"/>
                    <a:pt x="547" y="408"/>
                    <a:pt x="554" y="408"/>
                  </a:cubicBezTo>
                  <a:cubicBezTo>
                    <a:pt x="560" y="408"/>
                    <a:pt x="569" y="403"/>
                    <a:pt x="573" y="398"/>
                  </a:cubicBezTo>
                  <a:cubicBezTo>
                    <a:pt x="577" y="392"/>
                    <a:pt x="575" y="387"/>
                    <a:pt x="568" y="387"/>
                  </a:cubicBezTo>
                  <a:cubicBezTo>
                    <a:pt x="568" y="387"/>
                    <a:pt x="568" y="387"/>
                    <a:pt x="568" y="387"/>
                  </a:cubicBezTo>
                  <a:moveTo>
                    <a:pt x="602" y="387"/>
                  </a:moveTo>
                  <a:cubicBezTo>
                    <a:pt x="596" y="387"/>
                    <a:pt x="587" y="392"/>
                    <a:pt x="583" y="397"/>
                  </a:cubicBezTo>
                  <a:cubicBezTo>
                    <a:pt x="579" y="403"/>
                    <a:pt x="582" y="408"/>
                    <a:pt x="588" y="407"/>
                  </a:cubicBezTo>
                  <a:cubicBezTo>
                    <a:pt x="595" y="407"/>
                    <a:pt x="603" y="403"/>
                    <a:pt x="607" y="397"/>
                  </a:cubicBezTo>
                  <a:cubicBezTo>
                    <a:pt x="611" y="392"/>
                    <a:pt x="609" y="387"/>
                    <a:pt x="603" y="387"/>
                  </a:cubicBezTo>
                  <a:cubicBezTo>
                    <a:pt x="603" y="387"/>
                    <a:pt x="602" y="387"/>
                    <a:pt x="602" y="387"/>
                  </a:cubicBezTo>
                  <a:moveTo>
                    <a:pt x="637" y="387"/>
                  </a:moveTo>
                  <a:cubicBezTo>
                    <a:pt x="630" y="387"/>
                    <a:pt x="622" y="392"/>
                    <a:pt x="618" y="397"/>
                  </a:cubicBezTo>
                  <a:cubicBezTo>
                    <a:pt x="614" y="403"/>
                    <a:pt x="616" y="407"/>
                    <a:pt x="623" y="407"/>
                  </a:cubicBezTo>
                  <a:cubicBezTo>
                    <a:pt x="630" y="407"/>
                    <a:pt x="638" y="403"/>
                    <a:pt x="642" y="397"/>
                  </a:cubicBezTo>
                  <a:cubicBezTo>
                    <a:pt x="646" y="391"/>
                    <a:pt x="644" y="387"/>
                    <a:pt x="637" y="387"/>
                  </a:cubicBezTo>
                  <a:cubicBezTo>
                    <a:pt x="637" y="387"/>
                    <a:pt x="637" y="387"/>
                    <a:pt x="637" y="387"/>
                  </a:cubicBezTo>
                  <a:moveTo>
                    <a:pt x="671" y="387"/>
                  </a:moveTo>
                  <a:cubicBezTo>
                    <a:pt x="664" y="387"/>
                    <a:pt x="656" y="391"/>
                    <a:pt x="652" y="397"/>
                  </a:cubicBezTo>
                  <a:cubicBezTo>
                    <a:pt x="648" y="403"/>
                    <a:pt x="650" y="407"/>
                    <a:pt x="657" y="407"/>
                  </a:cubicBezTo>
                  <a:cubicBezTo>
                    <a:pt x="664" y="407"/>
                    <a:pt x="672" y="402"/>
                    <a:pt x="676" y="397"/>
                  </a:cubicBezTo>
                  <a:cubicBezTo>
                    <a:pt x="680" y="391"/>
                    <a:pt x="677" y="387"/>
                    <a:pt x="671" y="387"/>
                  </a:cubicBezTo>
                  <a:cubicBezTo>
                    <a:pt x="671" y="387"/>
                    <a:pt x="671" y="387"/>
                    <a:pt x="671" y="387"/>
                  </a:cubicBezTo>
                  <a:moveTo>
                    <a:pt x="705" y="386"/>
                  </a:moveTo>
                  <a:cubicBezTo>
                    <a:pt x="698" y="387"/>
                    <a:pt x="690" y="391"/>
                    <a:pt x="686" y="397"/>
                  </a:cubicBezTo>
                  <a:cubicBezTo>
                    <a:pt x="682" y="402"/>
                    <a:pt x="685" y="407"/>
                    <a:pt x="691" y="407"/>
                  </a:cubicBezTo>
                  <a:cubicBezTo>
                    <a:pt x="698" y="407"/>
                    <a:pt x="706" y="402"/>
                    <a:pt x="710" y="397"/>
                  </a:cubicBezTo>
                  <a:cubicBezTo>
                    <a:pt x="714" y="391"/>
                    <a:pt x="711" y="386"/>
                    <a:pt x="705" y="386"/>
                  </a:cubicBezTo>
                  <a:cubicBezTo>
                    <a:pt x="705" y="386"/>
                    <a:pt x="705" y="386"/>
                    <a:pt x="705" y="386"/>
                  </a:cubicBezTo>
                  <a:moveTo>
                    <a:pt x="739" y="386"/>
                  </a:moveTo>
                  <a:cubicBezTo>
                    <a:pt x="732" y="386"/>
                    <a:pt x="724" y="391"/>
                    <a:pt x="720" y="396"/>
                  </a:cubicBezTo>
                  <a:cubicBezTo>
                    <a:pt x="716" y="402"/>
                    <a:pt x="719" y="407"/>
                    <a:pt x="726" y="406"/>
                  </a:cubicBezTo>
                  <a:cubicBezTo>
                    <a:pt x="732" y="406"/>
                    <a:pt x="740" y="402"/>
                    <a:pt x="744" y="396"/>
                  </a:cubicBezTo>
                  <a:cubicBezTo>
                    <a:pt x="748" y="391"/>
                    <a:pt x="745" y="386"/>
                    <a:pt x="739" y="386"/>
                  </a:cubicBezTo>
                  <a:cubicBezTo>
                    <a:pt x="739" y="386"/>
                    <a:pt x="739" y="386"/>
                    <a:pt x="739" y="386"/>
                  </a:cubicBezTo>
                  <a:moveTo>
                    <a:pt x="773" y="386"/>
                  </a:moveTo>
                  <a:cubicBezTo>
                    <a:pt x="766" y="386"/>
                    <a:pt x="758" y="391"/>
                    <a:pt x="754" y="396"/>
                  </a:cubicBezTo>
                  <a:cubicBezTo>
                    <a:pt x="751" y="402"/>
                    <a:pt x="753" y="406"/>
                    <a:pt x="760" y="406"/>
                  </a:cubicBezTo>
                  <a:cubicBezTo>
                    <a:pt x="767" y="406"/>
                    <a:pt x="775" y="402"/>
                    <a:pt x="778" y="396"/>
                  </a:cubicBezTo>
                  <a:cubicBezTo>
                    <a:pt x="782" y="390"/>
                    <a:pt x="780" y="386"/>
                    <a:pt x="773" y="386"/>
                  </a:cubicBezTo>
                  <a:cubicBezTo>
                    <a:pt x="773" y="386"/>
                    <a:pt x="773" y="386"/>
                    <a:pt x="773" y="386"/>
                  </a:cubicBezTo>
                  <a:moveTo>
                    <a:pt x="807" y="386"/>
                  </a:moveTo>
                  <a:cubicBezTo>
                    <a:pt x="801" y="386"/>
                    <a:pt x="793" y="390"/>
                    <a:pt x="789" y="396"/>
                  </a:cubicBezTo>
                  <a:cubicBezTo>
                    <a:pt x="786" y="402"/>
                    <a:pt x="788" y="406"/>
                    <a:pt x="795" y="406"/>
                  </a:cubicBezTo>
                  <a:cubicBezTo>
                    <a:pt x="801" y="406"/>
                    <a:pt x="809" y="401"/>
                    <a:pt x="813" y="396"/>
                  </a:cubicBezTo>
                  <a:cubicBezTo>
                    <a:pt x="816" y="390"/>
                    <a:pt x="814" y="386"/>
                    <a:pt x="807" y="386"/>
                  </a:cubicBezTo>
                  <a:cubicBezTo>
                    <a:pt x="807" y="386"/>
                    <a:pt x="807" y="386"/>
                    <a:pt x="807" y="386"/>
                  </a:cubicBezTo>
                  <a:moveTo>
                    <a:pt x="841" y="385"/>
                  </a:moveTo>
                  <a:cubicBezTo>
                    <a:pt x="835" y="386"/>
                    <a:pt x="826" y="390"/>
                    <a:pt x="823" y="396"/>
                  </a:cubicBezTo>
                  <a:cubicBezTo>
                    <a:pt x="820" y="401"/>
                    <a:pt x="822" y="406"/>
                    <a:pt x="829" y="406"/>
                  </a:cubicBezTo>
                  <a:cubicBezTo>
                    <a:pt x="835" y="406"/>
                    <a:pt x="844" y="401"/>
                    <a:pt x="847" y="396"/>
                  </a:cubicBezTo>
                  <a:cubicBezTo>
                    <a:pt x="850" y="390"/>
                    <a:pt x="848" y="385"/>
                    <a:pt x="841" y="385"/>
                  </a:cubicBezTo>
                  <a:cubicBezTo>
                    <a:pt x="841" y="385"/>
                    <a:pt x="841" y="385"/>
                    <a:pt x="841" y="385"/>
                  </a:cubicBezTo>
                  <a:moveTo>
                    <a:pt x="873" y="385"/>
                  </a:moveTo>
                  <a:cubicBezTo>
                    <a:pt x="867" y="385"/>
                    <a:pt x="859" y="390"/>
                    <a:pt x="855" y="395"/>
                  </a:cubicBezTo>
                  <a:cubicBezTo>
                    <a:pt x="852" y="401"/>
                    <a:pt x="855" y="406"/>
                    <a:pt x="861" y="406"/>
                  </a:cubicBezTo>
                  <a:cubicBezTo>
                    <a:pt x="868" y="405"/>
                    <a:pt x="876" y="401"/>
                    <a:pt x="879" y="395"/>
                  </a:cubicBezTo>
                  <a:cubicBezTo>
                    <a:pt x="883" y="390"/>
                    <a:pt x="880" y="385"/>
                    <a:pt x="874" y="385"/>
                  </a:cubicBezTo>
                  <a:cubicBezTo>
                    <a:pt x="874" y="385"/>
                    <a:pt x="874" y="385"/>
                    <a:pt x="873" y="385"/>
                  </a:cubicBezTo>
                  <a:moveTo>
                    <a:pt x="908" y="385"/>
                  </a:moveTo>
                  <a:cubicBezTo>
                    <a:pt x="901" y="385"/>
                    <a:pt x="893" y="390"/>
                    <a:pt x="890" y="395"/>
                  </a:cubicBezTo>
                  <a:cubicBezTo>
                    <a:pt x="887" y="401"/>
                    <a:pt x="889" y="405"/>
                    <a:pt x="896" y="405"/>
                  </a:cubicBezTo>
                  <a:cubicBezTo>
                    <a:pt x="903" y="405"/>
                    <a:pt x="911" y="401"/>
                    <a:pt x="914" y="395"/>
                  </a:cubicBezTo>
                  <a:cubicBezTo>
                    <a:pt x="917" y="389"/>
                    <a:pt x="915" y="385"/>
                    <a:pt x="908" y="385"/>
                  </a:cubicBezTo>
                  <a:cubicBezTo>
                    <a:pt x="908" y="385"/>
                    <a:pt x="908" y="385"/>
                    <a:pt x="908" y="385"/>
                  </a:cubicBezTo>
                  <a:moveTo>
                    <a:pt x="942" y="385"/>
                  </a:moveTo>
                  <a:cubicBezTo>
                    <a:pt x="935" y="385"/>
                    <a:pt x="927" y="389"/>
                    <a:pt x="924" y="395"/>
                  </a:cubicBezTo>
                  <a:cubicBezTo>
                    <a:pt x="921" y="401"/>
                    <a:pt x="923" y="405"/>
                    <a:pt x="930" y="405"/>
                  </a:cubicBezTo>
                  <a:cubicBezTo>
                    <a:pt x="937" y="405"/>
                    <a:pt x="945" y="400"/>
                    <a:pt x="948" y="395"/>
                  </a:cubicBezTo>
                  <a:cubicBezTo>
                    <a:pt x="951" y="389"/>
                    <a:pt x="948" y="385"/>
                    <a:pt x="942" y="385"/>
                  </a:cubicBezTo>
                  <a:cubicBezTo>
                    <a:pt x="942" y="385"/>
                    <a:pt x="942" y="385"/>
                    <a:pt x="942" y="385"/>
                  </a:cubicBezTo>
                  <a:moveTo>
                    <a:pt x="1044" y="384"/>
                  </a:moveTo>
                  <a:cubicBezTo>
                    <a:pt x="1037" y="384"/>
                    <a:pt x="1029" y="389"/>
                    <a:pt x="1026" y="394"/>
                  </a:cubicBezTo>
                  <a:cubicBezTo>
                    <a:pt x="1023" y="400"/>
                    <a:pt x="1026" y="404"/>
                    <a:pt x="1033" y="404"/>
                  </a:cubicBezTo>
                  <a:cubicBezTo>
                    <a:pt x="1039" y="404"/>
                    <a:pt x="1047" y="400"/>
                    <a:pt x="1050" y="394"/>
                  </a:cubicBezTo>
                  <a:cubicBezTo>
                    <a:pt x="1053" y="388"/>
                    <a:pt x="1050" y="384"/>
                    <a:pt x="1044" y="384"/>
                  </a:cubicBezTo>
                  <a:cubicBezTo>
                    <a:pt x="1044" y="384"/>
                    <a:pt x="1044" y="384"/>
                    <a:pt x="1044" y="384"/>
                  </a:cubicBezTo>
                  <a:moveTo>
                    <a:pt x="1078" y="384"/>
                  </a:moveTo>
                  <a:cubicBezTo>
                    <a:pt x="1072" y="384"/>
                    <a:pt x="1064" y="388"/>
                    <a:pt x="1061" y="394"/>
                  </a:cubicBezTo>
                  <a:cubicBezTo>
                    <a:pt x="1058" y="400"/>
                    <a:pt x="1061" y="404"/>
                    <a:pt x="1068" y="404"/>
                  </a:cubicBezTo>
                  <a:cubicBezTo>
                    <a:pt x="1074" y="404"/>
                    <a:pt x="1082" y="399"/>
                    <a:pt x="1085" y="394"/>
                  </a:cubicBezTo>
                  <a:cubicBezTo>
                    <a:pt x="1088" y="388"/>
                    <a:pt x="1085" y="384"/>
                    <a:pt x="1078" y="384"/>
                  </a:cubicBezTo>
                  <a:cubicBezTo>
                    <a:pt x="1078" y="384"/>
                    <a:pt x="1078" y="384"/>
                    <a:pt x="1078" y="384"/>
                  </a:cubicBezTo>
                  <a:moveTo>
                    <a:pt x="1112" y="383"/>
                  </a:moveTo>
                  <a:cubicBezTo>
                    <a:pt x="1105" y="383"/>
                    <a:pt x="1098" y="388"/>
                    <a:pt x="1095" y="394"/>
                  </a:cubicBezTo>
                  <a:cubicBezTo>
                    <a:pt x="1092" y="399"/>
                    <a:pt x="1095" y="404"/>
                    <a:pt x="1102" y="404"/>
                  </a:cubicBezTo>
                  <a:cubicBezTo>
                    <a:pt x="1108" y="404"/>
                    <a:pt x="1116" y="399"/>
                    <a:pt x="1119" y="394"/>
                  </a:cubicBezTo>
                  <a:cubicBezTo>
                    <a:pt x="1122" y="388"/>
                    <a:pt x="1119" y="383"/>
                    <a:pt x="1112" y="383"/>
                  </a:cubicBezTo>
                  <a:cubicBezTo>
                    <a:pt x="1112" y="383"/>
                    <a:pt x="1112" y="383"/>
                    <a:pt x="1112" y="383"/>
                  </a:cubicBezTo>
                  <a:moveTo>
                    <a:pt x="1145" y="383"/>
                  </a:moveTo>
                  <a:cubicBezTo>
                    <a:pt x="1139" y="383"/>
                    <a:pt x="1131" y="388"/>
                    <a:pt x="1128" y="393"/>
                  </a:cubicBezTo>
                  <a:cubicBezTo>
                    <a:pt x="1126" y="399"/>
                    <a:pt x="1129" y="404"/>
                    <a:pt x="1135" y="404"/>
                  </a:cubicBezTo>
                  <a:cubicBezTo>
                    <a:pt x="1142" y="403"/>
                    <a:pt x="1150" y="399"/>
                    <a:pt x="1152" y="393"/>
                  </a:cubicBezTo>
                  <a:cubicBezTo>
                    <a:pt x="1155" y="388"/>
                    <a:pt x="1152" y="383"/>
                    <a:pt x="1146" y="383"/>
                  </a:cubicBezTo>
                  <a:cubicBezTo>
                    <a:pt x="1146" y="383"/>
                    <a:pt x="1145" y="383"/>
                    <a:pt x="1145" y="383"/>
                  </a:cubicBezTo>
                  <a:moveTo>
                    <a:pt x="1180" y="383"/>
                  </a:moveTo>
                  <a:cubicBezTo>
                    <a:pt x="1173" y="383"/>
                    <a:pt x="1166" y="388"/>
                    <a:pt x="1163" y="393"/>
                  </a:cubicBezTo>
                  <a:cubicBezTo>
                    <a:pt x="1160" y="399"/>
                    <a:pt x="1163" y="403"/>
                    <a:pt x="1170" y="403"/>
                  </a:cubicBezTo>
                  <a:cubicBezTo>
                    <a:pt x="1177" y="403"/>
                    <a:pt x="1184" y="399"/>
                    <a:pt x="1187" y="393"/>
                  </a:cubicBezTo>
                  <a:cubicBezTo>
                    <a:pt x="1190" y="387"/>
                    <a:pt x="1186" y="383"/>
                    <a:pt x="1180" y="383"/>
                  </a:cubicBezTo>
                  <a:cubicBezTo>
                    <a:pt x="1180" y="383"/>
                    <a:pt x="1180" y="383"/>
                    <a:pt x="1180" y="383"/>
                  </a:cubicBezTo>
                  <a:moveTo>
                    <a:pt x="1214" y="383"/>
                  </a:moveTo>
                  <a:cubicBezTo>
                    <a:pt x="1207" y="383"/>
                    <a:pt x="1200" y="387"/>
                    <a:pt x="1197" y="393"/>
                  </a:cubicBezTo>
                  <a:cubicBezTo>
                    <a:pt x="1194" y="399"/>
                    <a:pt x="1197" y="403"/>
                    <a:pt x="1204" y="403"/>
                  </a:cubicBezTo>
                  <a:cubicBezTo>
                    <a:pt x="1211" y="403"/>
                    <a:pt x="1218" y="398"/>
                    <a:pt x="1221" y="393"/>
                  </a:cubicBezTo>
                  <a:cubicBezTo>
                    <a:pt x="1223" y="387"/>
                    <a:pt x="1220" y="383"/>
                    <a:pt x="1214" y="383"/>
                  </a:cubicBezTo>
                  <a:cubicBezTo>
                    <a:pt x="1214" y="383"/>
                    <a:pt x="1214" y="383"/>
                    <a:pt x="1214" y="383"/>
                  </a:cubicBezTo>
                  <a:moveTo>
                    <a:pt x="1249" y="382"/>
                  </a:moveTo>
                  <a:cubicBezTo>
                    <a:pt x="1242" y="382"/>
                    <a:pt x="1235" y="387"/>
                    <a:pt x="1232" y="393"/>
                  </a:cubicBezTo>
                  <a:cubicBezTo>
                    <a:pt x="1229" y="398"/>
                    <a:pt x="1233" y="403"/>
                    <a:pt x="1239" y="403"/>
                  </a:cubicBezTo>
                  <a:cubicBezTo>
                    <a:pt x="1246" y="403"/>
                    <a:pt x="1253" y="398"/>
                    <a:pt x="1256" y="392"/>
                  </a:cubicBezTo>
                  <a:cubicBezTo>
                    <a:pt x="1258" y="387"/>
                    <a:pt x="1255" y="382"/>
                    <a:pt x="1249" y="382"/>
                  </a:cubicBezTo>
                  <a:cubicBezTo>
                    <a:pt x="1249" y="382"/>
                    <a:pt x="1249" y="382"/>
                    <a:pt x="1249" y="382"/>
                  </a:cubicBezTo>
                  <a:moveTo>
                    <a:pt x="1283" y="382"/>
                  </a:moveTo>
                  <a:cubicBezTo>
                    <a:pt x="1276" y="382"/>
                    <a:pt x="1269" y="387"/>
                    <a:pt x="1266" y="392"/>
                  </a:cubicBezTo>
                  <a:cubicBezTo>
                    <a:pt x="1264" y="398"/>
                    <a:pt x="1267" y="403"/>
                    <a:pt x="1274" y="402"/>
                  </a:cubicBezTo>
                  <a:cubicBezTo>
                    <a:pt x="1280" y="402"/>
                    <a:pt x="1288" y="398"/>
                    <a:pt x="1290" y="392"/>
                  </a:cubicBezTo>
                  <a:cubicBezTo>
                    <a:pt x="1293" y="387"/>
                    <a:pt x="1290" y="382"/>
                    <a:pt x="1283" y="382"/>
                  </a:cubicBezTo>
                  <a:cubicBezTo>
                    <a:pt x="1283" y="382"/>
                    <a:pt x="1283" y="382"/>
                    <a:pt x="1283" y="382"/>
                  </a:cubicBezTo>
                  <a:moveTo>
                    <a:pt x="1317" y="382"/>
                  </a:moveTo>
                  <a:cubicBezTo>
                    <a:pt x="1310" y="382"/>
                    <a:pt x="1303" y="387"/>
                    <a:pt x="1300" y="392"/>
                  </a:cubicBezTo>
                  <a:cubicBezTo>
                    <a:pt x="1298" y="398"/>
                    <a:pt x="1301" y="402"/>
                    <a:pt x="1308" y="402"/>
                  </a:cubicBezTo>
                  <a:cubicBezTo>
                    <a:pt x="1315" y="402"/>
                    <a:pt x="1322" y="398"/>
                    <a:pt x="1324" y="392"/>
                  </a:cubicBezTo>
                  <a:cubicBezTo>
                    <a:pt x="1327" y="386"/>
                    <a:pt x="1323" y="382"/>
                    <a:pt x="1317" y="382"/>
                  </a:cubicBezTo>
                  <a:cubicBezTo>
                    <a:pt x="1317" y="382"/>
                    <a:pt x="1317" y="382"/>
                    <a:pt x="1317" y="382"/>
                  </a:cubicBezTo>
                  <a:moveTo>
                    <a:pt x="1960" y="378"/>
                  </a:moveTo>
                  <a:cubicBezTo>
                    <a:pt x="1954" y="378"/>
                    <a:pt x="1947" y="382"/>
                    <a:pt x="1946" y="388"/>
                  </a:cubicBezTo>
                  <a:cubicBezTo>
                    <a:pt x="1945" y="394"/>
                    <a:pt x="1950" y="398"/>
                    <a:pt x="1956" y="398"/>
                  </a:cubicBezTo>
                  <a:cubicBezTo>
                    <a:pt x="1963" y="398"/>
                    <a:pt x="1969" y="393"/>
                    <a:pt x="1970" y="388"/>
                  </a:cubicBezTo>
                  <a:cubicBezTo>
                    <a:pt x="1971" y="382"/>
                    <a:pt x="1967" y="378"/>
                    <a:pt x="1960" y="378"/>
                  </a:cubicBezTo>
                  <a:cubicBezTo>
                    <a:pt x="1960" y="378"/>
                    <a:pt x="1960" y="378"/>
                    <a:pt x="1960" y="378"/>
                  </a:cubicBezTo>
                  <a:moveTo>
                    <a:pt x="2029" y="377"/>
                  </a:moveTo>
                  <a:cubicBezTo>
                    <a:pt x="2022" y="377"/>
                    <a:pt x="2016" y="382"/>
                    <a:pt x="2015" y="388"/>
                  </a:cubicBezTo>
                  <a:cubicBezTo>
                    <a:pt x="2014" y="393"/>
                    <a:pt x="2019" y="398"/>
                    <a:pt x="2025" y="398"/>
                  </a:cubicBezTo>
                  <a:cubicBezTo>
                    <a:pt x="2032" y="398"/>
                    <a:pt x="2038" y="393"/>
                    <a:pt x="2039" y="387"/>
                  </a:cubicBezTo>
                  <a:cubicBezTo>
                    <a:pt x="2040" y="382"/>
                    <a:pt x="2035" y="377"/>
                    <a:pt x="2029" y="377"/>
                  </a:cubicBezTo>
                  <a:cubicBezTo>
                    <a:pt x="2029" y="377"/>
                    <a:pt x="2029" y="377"/>
                    <a:pt x="2029" y="377"/>
                  </a:cubicBezTo>
                  <a:moveTo>
                    <a:pt x="2063" y="377"/>
                  </a:moveTo>
                  <a:cubicBezTo>
                    <a:pt x="2057" y="377"/>
                    <a:pt x="2051" y="382"/>
                    <a:pt x="2050" y="387"/>
                  </a:cubicBezTo>
                  <a:cubicBezTo>
                    <a:pt x="2049" y="393"/>
                    <a:pt x="2053" y="397"/>
                    <a:pt x="2060" y="397"/>
                  </a:cubicBezTo>
                  <a:cubicBezTo>
                    <a:pt x="2066" y="397"/>
                    <a:pt x="2073" y="393"/>
                    <a:pt x="2073" y="387"/>
                  </a:cubicBezTo>
                  <a:cubicBezTo>
                    <a:pt x="2074" y="381"/>
                    <a:pt x="2070" y="377"/>
                    <a:pt x="2063" y="377"/>
                  </a:cubicBezTo>
                  <a:cubicBezTo>
                    <a:pt x="2063" y="377"/>
                    <a:pt x="2063" y="377"/>
                    <a:pt x="2063" y="377"/>
                  </a:cubicBezTo>
                  <a:moveTo>
                    <a:pt x="2132" y="376"/>
                  </a:moveTo>
                  <a:cubicBezTo>
                    <a:pt x="2125" y="376"/>
                    <a:pt x="2119" y="381"/>
                    <a:pt x="2118" y="386"/>
                  </a:cubicBezTo>
                  <a:cubicBezTo>
                    <a:pt x="2117" y="392"/>
                    <a:pt x="2122" y="396"/>
                    <a:pt x="2129" y="396"/>
                  </a:cubicBezTo>
                  <a:cubicBezTo>
                    <a:pt x="2135" y="396"/>
                    <a:pt x="2141" y="392"/>
                    <a:pt x="2142" y="386"/>
                  </a:cubicBezTo>
                  <a:cubicBezTo>
                    <a:pt x="2143" y="380"/>
                    <a:pt x="2138" y="376"/>
                    <a:pt x="2132" y="376"/>
                  </a:cubicBezTo>
                  <a:cubicBezTo>
                    <a:pt x="2132" y="376"/>
                    <a:pt x="2132" y="376"/>
                    <a:pt x="2132" y="376"/>
                  </a:cubicBezTo>
                  <a:moveTo>
                    <a:pt x="2166" y="376"/>
                  </a:moveTo>
                  <a:cubicBezTo>
                    <a:pt x="2160" y="376"/>
                    <a:pt x="2154" y="380"/>
                    <a:pt x="2153" y="386"/>
                  </a:cubicBezTo>
                  <a:cubicBezTo>
                    <a:pt x="2152" y="392"/>
                    <a:pt x="2157" y="396"/>
                    <a:pt x="2164" y="396"/>
                  </a:cubicBezTo>
                  <a:cubicBezTo>
                    <a:pt x="2170" y="396"/>
                    <a:pt x="2176" y="391"/>
                    <a:pt x="2177" y="386"/>
                  </a:cubicBezTo>
                  <a:cubicBezTo>
                    <a:pt x="2178" y="380"/>
                    <a:pt x="2173" y="376"/>
                    <a:pt x="2166" y="376"/>
                  </a:cubicBezTo>
                  <a:cubicBezTo>
                    <a:pt x="2166" y="376"/>
                    <a:pt x="2166" y="376"/>
                    <a:pt x="2166" y="376"/>
                  </a:cubicBezTo>
                  <a:moveTo>
                    <a:pt x="2200" y="375"/>
                  </a:moveTo>
                  <a:cubicBezTo>
                    <a:pt x="2194" y="375"/>
                    <a:pt x="2188" y="380"/>
                    <a:pt x="2187" y="386"/>
                  </a:cubicBezTo>
                  <a:cubicBezTo>
                    <a:pt x="2186" y="391"/>
                    <a:pt x="2191" y="396"/>
                    <a:pt x="2198" y="396"/>
                  </a:cubicBezTo>
                  <a:cubicBezTo>
                    <a:pt x="2204" y="396"/>
                    <a:pt x="2210" y="391"/>
                    <a:pt x="2211" y="386"/>
                  </a:cubicBezTo>
                  <a:cubicBezTo>
                    <a:pt x="2211" y="380"/>
                    <a:pt x="2207" y="375"/>
                    <a:pt x="2200" y="375"/>
                  </a:cubicBezTo>
                  <a:cubicBezTo>
                    <a:pt x="2200" y="375"/>
                    <a:pt x="2200" y="375"/>
                    <a:pt x="2200" y="375"/>
                  </a:cubicBezTo>
                  <a:moveTo>
                    <a:pt x="2235" y="375"/>
                  </a:moveTo>
                  <a:cubicBezTo>
                    <a:pt x="2228" y="375"/>
                    <a:pt x="2223" y="380"/>
                    <a:pt x="2222" y="385"/>
                  </a:cubicBezTo>
                  <a:cubicBezTo>
                    <a:pt x="2221" y="391"/>
                    <a:pt x="2226" y="396"/>
                    <a:pt x="2233" y="396"/>
                  </a:cubicBezTo>
                  <a:cubicBezTo>
                    <a:pt x="2239" y="396"/>
                    <a:pt x="2245" y="391"/>
                    <a:pt x="2246" y="385"/>
                  </a:cubicBezTo>
                  <a:cubicBezTo>
                    <a:pt x="2246" y="380"/>
                    <a:pt x="2241" y="375"/>
                    <a:pt x="2235" y="375"/>
                  </a:cubicBezTo>
                  <a:cubicBezTo>
                    <a:pt x="2235" y="375"/>
                    <a:pt x="2235" y="375"/>
                    <a:pt x="2235" y="375"/>
                  </a:cubicBezTo>
                  <a:moveTo>
                    <a:pt x="2269" y="375"/>
                  </a:moveTo>
                  <a:cubicBezTo>
                    <a:pt x="2262" y="375"/>
                    <a:pt x="2256" y="380"/>
                    <a:pt x="2256" y="385"/>
                  </a:cubicBezTo>
                  <a:cubicBezTo>
                    <a:pt x="2255" y="391"/>
                    <a:pt x="2260" y="395"/>
                    <a:pt x="2267" y="395"/>
                  </a:cubicBezTo>
                  <a:cubicBezTo>
                    <a:pt x="2273" y="395"/>
                    <a:pt x="2279" y="391"/>
                    <a:pt x="2280" y="385"/>
                  </a:cubicBezTo>
                  <a:cubicBezTo>
                    <a:pt x="2280" y="379"/>
                    <a:pt x="2275" y="375"/>
                    <a:pt x="2269" y="375"/>
                  </a:cubicBezTo>
                  <a:cubicBezTo>
                    <a:pt x="2269" y="375"/>
                    <a:pt x="2269" y="375"/>
                    <a:pt x="2269" y="375"/>
                  </a:cubicBezTo>
                  <a:moveTo>
                    <a:pt x="2574" y="375"/>
                  </a:moveTo>
                  <a:cubicBezTo>
                    <a:pt x="2567" y="375"/>
                    <a:pt x="2562" y="379"/>
                    <a:pt x="2562" y="385"/>
                  </a:cubicBezTo>
                  <a:cubicBezTo>
                    <a:pt x="2562" y="391"/>
                    <a:pt x="2568" y="395"/>
                    <a:pt x="2574" y="395"/>
                  </a:cubicBezTo>
                  <a:cubicBezTo>
                    <a:pt x="2581" y="395"/>
                    <a:pt x="2586" y="391"/>
                    <a:pt x="2586" y="385"/>
                  </a:cubicBezTo>
                  <a:cubicBezTo>
                    <a:pt x="2586" y="379"/>
                    <a:pt x="2580" y="375"/>
                    <a:pt x="2574" y="375"/>
                  </a:cubicBezTo>
                  <a:cubicBezTo>
                    <a:pt x="2574" y="375"/>
                    <a:pt x="2574" y="375"/>
                    <a:pt x="2574" y="375"/>
                  </a:cubicBezTo>
                  <a:moveTo>
                    <a:pt x="2302" y="375"/>
                  </a:moveTo>
                  <a:cubicBezTo>
                    <a:pt x="2296" y="375"/>
                    <a:pt x="2290" y="379"/>
                    <a:pt x="2289" y="385"/>
                  </a:cubicBezTo>
                  <a:cubicBezTo>
                    <a:pt x="2289" y="391"/>
                    <a:pt x="2294" y="395"/>
                    <a:pt x="2301" y="395"/>
                  </a:cubicBezTo>
                  <a:cubicBezTo>
                    <a:pt x="2307" y="395"/>
                    <a:pt x="2313" y="390"/>
                    <a:pt x="2313" y="385"/>
                  </a:cubicBezTo>
                  <a:cubicBezTo>
                    <a:pt x="2314" y="379"/>
                    <a:pt x="2309" y="375"/>
                    <a:pt x="2302" y="375"/>
                  </a:cubicBezTo>
                  <a:cubicBezTo>
                    <a:pt x="2302" y="375"/>
                    <a:pt x="2302" y="375"/>
                    <a:pt x="2302" y="375"/>
                  </a:cubicBezTo>
                  <a:moveTo>
                    <a:pt x="2336" y="374"/>
                  </a:moveTo>
                  <a:cubicBezTo>
                    <a:pt x="2329" y="374"/>
                    <a:pt x="2324" y="379"/>
                    <a:pt x="2323" y="385"/>
                  </a:cubicBezTo>
                  <a:cubicBezTo>
                    <a:pt x="2323" y="390"/>
                    <a:pt x="2328" y="395"/>
                    <a:pt x="2335" y="395"/>
                  </a:cubicBezTo>
                  <a:cubicBezTo>
                    <a:pt x="2341" y="395"/>
                    <a:pt x="2347" y="390"/>
                    <a:pt x="2347" y="385"/>
                  </a:cubicBezTo>
                  <a:cubicBezTo>
                    <a:pt x="2347" y="379"/>
                    <a:pt x="2342" y="374"/>
                    <a:pt x="2336" y="374"/>
                  </a:cubicBezTo>
                  <a:cubicBezTo>
                    <a:pt x="2336" y="374"/>
                    <a:pt x="2336" y="374"/>
                    <a:pt x="2336" y="374"/>
                  </a:cubicBezTo>
                  <a:moveTo>
                    <a:pt x="2370" y="374"/>
                  </a:moveTo>
                  <a:cubicBezTo>
                    <a:pt x="2363" y="374"/>
                    <a:pt x="2358" y="379"/>
                    <a:pt x="2357" y="384"/>
                  </a:cubicBezTo>
                  <a:cubicBezTo>
                    <a:pt x="2357" y="390"/>
                    <a:pt x="2362" y="395"/>
                    <a:pt x="2369" y="395"/>
                  </a:cubicBezTo>
                  <a:cubicBezTo>
                    <a:pt x="2375" y="395"/>
                    <a:pt x="2381" y="390"/>
                    <a:pt x="2381" y="384"/>
                  </a:cubicBezTo>
                  <a:cubicBezTo>
                    <a:pt x="2381" y="379"/>
                    <a:pt x="2376" y="374"/>
                    <a:pt x="2370" y="374"/>
                  </a:cubicBezTo>
                  <a:cubicBezTo>
                    <a:pt x="2370" y="374"/>
                    <a:pt x="2370" y="374"/>
                    <a:pt x="2370" y="374"/>
                  </a:cubicBezTo>
                  <a:moveTo>
                    <a:pt x="2404" y="374"/>
                  </a:moveTo>
                  <a:cubicBezTo>
                    <a:pt x="2398" y="374"/>
                    <a:pt x="2392" y="379"/>
                    <a:pt x="2392" y="384"/>
                  </a:cubicBezTo>
                  <a:cubicBezTo>
                    <a:pt x="2392" y="390"/>
                    <a:pt x="2397" y="394"/>
                    <a:pt x="2403" y="394"/>
                  </a:cubicBezTo>
                  <a:cubicBezTo>
                    <a:pt x="2410" y="394"/>
                    <a:pt x="2416" y="390"/>
                    <a:pt x="2416" y="384"/>
                  </a:cubicBezTo>
                  <a:cubicBezTo>
                    <a:pt x="2416" y="378"/>
                    <a:pt x="2411" y="374"/>
                    <a:pt x="2404" y="374"/>
                  </a:cubicBezTo>
                  <a:cubicBezTo>
                    <a:pt x="2404" y="374"/>
                    <a:pt x="2404" y="374"/>
                    <a:pt x="2404" y="374"/>
                  </a:cubicBezTo>
                  <a:moveTo>
                    <a:pt x="2608" y="374"/>
                  </a:moveTo>
                  <a:cubicBezTo>
                    <a:pt x="2602" y="374"/>
                    <a:pt x="2597" y="378"/>
                    <a:pt x="2597" y="384"/>
                  </a:cubicBezTo>
                  <a:cubicBezTo>
                    <a:pt x="2597" y="390"/>
                    <a:pt x="2603" y="394"/>
                    <a:pt x="2609" y="394"/>
                  </a:cubicBezTo>
                  <a:cubicBezTo>
                    <a:pt x="2616" y="394"/>
                    <a:pt x="2621" y="389"/>
                    <a:pt x="2621" y="384"/>
                  </a:cubicBezTo>
                  <a:cubicBezTo>
                    <a:pt x="2621" y="378"/>
                    <a:pt x="2615" y="374"/>
                    <a:pt x="2609" y="374"/>
                  </a:cubicBezTo>
                  <a:cubicBezTo>
                    <a:pt x="2609" y="374"/>
                    <a:pt x="2609" y="374"/>
                    <a:pt x="2608" y="374"/>
                  </a:cubicBezTo>
                  <a:moveTo>
                    <a:pt x="2438" y="374"/>
                  </a:moveTo>
                  <a:cubicBezTo>
                    <a:pt x="2431" y="374"/>
                    <a:pt x="2426" y="378"/>
                    <a:pt x="2426" y="384"/>
                  </a:cubicBezTo>
                  <a:cubicBezTo>
                    <a:pt x="2426" y="390"/>
                    <a:pt x="2431" y="394"/>
                    <a:pt x="2437" y="394"/>
                  </a:cubicBezTo>
                  <a:cubicBezTo>
                    <a:pt x="2444" y="394"/>
                    <a:pt x="2449" y="389"/>
                    <a:pt x="2450" y="384"/>
                  </a:cubicBezTo>
                  <a:cubicBezTo>
                    <a:pt x="2450" y="378"/>
                    <a:pt x="2444" y="374"/>
                    <a:pt x="2438" y="374"/>
                  </a:cubicBezTo>
                  <a:cubicBezTo>
                    <a:pt x="2438" y="374"/>
                    <a:pt x="2438" y="374"/>
                    <a:pt x="2438" y="374"/>
                  </a:cubicBezTo>
                  <a:moveTo>
                    <a:pt x="2642" y="373"/>
                  </a:moveTo>
                  <a:cubicBezTo>
                    <a:pt x="2636" y="373"/>
                    <a:pt x="2631" y="378"/>
                    <a:pt x="2631" y="384"/>
                  </a:cubicBezTo>
                  <a:cubicBezTo>
                    <a:pt x="2631" y="389"/>
                    <a:pt x="2637" y="394"/>
                    <a:pt x="2643" y="394"/>
                  </a:cubicBezTo>
                  <a:cubicBezTo>
                    <a:pt x="2650" y="394"/>
                    <a:pt x="2655" y="389"/>
                    <a:pt x="2655" y="384"/>
                  </a:cubicBezTo>
                  <a:cubicBezTo>
                    <a:pt x="2654" y="378"/>
                    <a:pt x="2649" y="373"/>
                    <a:pt x="2642" y="373"/>
                  </a:cubicBezTo>
                  <a:cubicBezTo>
                    <a:pt x="2642" y="373"/>
                    <a:pt x="2642" y="373"/>
                    <a:pt x="2642" y="373"/>
                  </a:cubicBezTo>
                  <a:moveTo>
                    <a:pt x="2472" y="373"/>
                  </a:moveTo>
                  <a:cubicBezTo>
                    <a:pt x="2465" y="373"/>
                    <a:pt x="2460" y="378"/>
                    <a:pt x="2460" y="384"/>
                  </a:cubicBezTo>
                  <a:cubicBezTo>
                    <a:pt x="2460" y="389"/>
                    <a:pt x="2465" y="394"/>
                    <a:pt x="2472" y="394"/>
                  </a:cubicBezTo>
                  <a:cubicBezTo>
                    <a:pt x="2478" y="394"/>
                    <a:pt x="2484" y="389"/>
                    <a:pt x="2484" y="384"/>
                  </a:cubicBezTo>
                  <a:cubicBezTo>
                    <a:pt x="2484" y="378"/>
                    <a:pt x="2478" y="373"/>
                    <a:pt x="2472" y="373"/>
                  </a:cubicBezTo>
                  <a:cubicBezTo>
                    <a:pt x="2472" y="373"/>
                    <a:pt x="2472" y="373"/>
                    <a:pt x="2472" y="373"/>
                  </a:cubicBezTo>
                  <a:moveTo>
                    <a:pt x="2676" y="373"/>
                  </a:moveTo>
                  <a:cubicBezTo>
                    <a:pt x="2669" y="373"/>
                    <a:pt x="2664" y="378"/>
                    <a:pt x="2664" y="384"/>
                  </a:cubicBezTo>
                  <a:cubicBezTo>
                    <a:pt x="2665" y="389"/>
                    <a:pt x="2670" y="394"/>
                    <a:pt x="2677" y="394"/>
                  </a:cubicBezTo>
                  <a:cubicBezTo>
                    <a:pt x="2684" y="394"/>
                    <a:pt x="2689" y="389"/>
                    <a:pt x="2688" y="383"/>
                  </a:cubicBezTo>
                  <a:cubicBezTo>
                    <a:pt x="2688" y="378"/>
                    <a:pt x="2682" y="373"/>
                    <a:pt x="2676" y="373"/>
                  </a:cubicBezTo>
                  <a:cubicBezTo>
                    <a:pt x="2676" y="373"/>
                    <a:pt x="2676" y="373"/>
                    <a:pt x="2676" y="373"/>
                  </a:cubicBezTo>
                  <a:moveTo>
                    <a:pt x="2505" y="373"/>
                  </a:moveTo>
                  <a:cubicBezTo>
                    <a:pt x="2499" y="373"/>
                    <a:pt x="2494" y="378"/>
                    <a:pt x="2494" y="383"/>
                  </a:cubicBezTo>
                  <a:cubicBezTo>
                    <a:pt x="2494" y="389"/>
                    <a:pt x="2499" y="394"/>
                    <a:pt x="2506" y="394"/>
                  </a:cubicBezTo>
                  <a:cubicBezTo>
                    <a:pt x="2512" y="394"/>
                    <a:pt x="2517" y="389"/>
                    <a:pt x="2517" y="383"/>
                  </a:cubicBezTo>
                  <a:cubicBezTo>
                    <a:pt x="2517" y="378"/>
                    <a:pt x="2512" y="373"/>
                    <a:pt x="2506" y="373"/>
                  </a:cubicBezTo>
                  <a:cubicBezTo>
                    <a:pt x="2506" y="373"/>
                    <a:pt x="2506" y="373"/>
                    <a:pt x="2505" y="373"/>
                  </a:cubicBezTo>
                  <a:moveTo>
                    <a:pt x="2709" y="373"/>
                  </a:moveTo>
                  <a:cubicBezTo>
                    <a:pt x="2703" y="373"/>
                    <a:pt x="2698" y="378"/>
                    <a:pt x="2698" y="383"/>
                  </a:cubicBezTo>
                  <a:cubicBezTo>
                    <a:pt x="2699" y="389"/>
                    <a:pt x="2704" y="393"/>
                    <a:pt x="2711" y="393"/>
                  </a:cubicBezTo>
                  <a:cubicBezTo>
                    <a:pt x="2718" y="393"/>
                    <a:pt x="2723" y="389"/>
                    <a:pt x="2722" y="383"/>
                  </a:cubicBezTo>
                  <a:cubicBezTo>
                    <a:pt x="2722" y="377"/>
                    <a:pt x="2716" y="373"/>
                    <a:pt x="2709" y="373"/>
                  </a:cubicBezTo>
                  <a:cubicBezTo>
                    <a:pt x="2709" y="373"/>
                    <a:pt x="2709" y="373"/>
                    <a:pt x="2709" y="373"/>
                  </a:cubicBezTo>
                  <a:moveTo>
                    <a:pt x="2539" y="373"/>
                  </a:moveTo>
                  <a:cubicBezTo>
                    <a:pt x="2533" y="373"/>
                    <a:pt x="2528" y="378"/>
                    <a:pt x="2528" y="383"/>
                  </a:cubicBezTo>
                  <a:cubicBezTo>
                    <a:pt x="2528" y="389"/>
                    <a:pt x="2533" y="393"/>
                    <a:pt x="2540" y="393"/>
                  </a:cubicBezTo>
                  <a:cubicBezTo>
                    <a:pt x="2546" y="393"/>
                    <a:pt x="2552" y="389"/>
                    <a:pt x="2552" y="383"/>
                  </a:cubicBezTo>
                  <a:cubicBezTo>
                    <a:pt x="2551" y="377"/>
                    <a:pt x="2546" y="373"/>
                    <a:pt x="2540" y="373"/>
                  </a:cubicBezTo>
                  <a:cubicBezTo>
                    <a:pt x="2540" y="373"/>
                    <a:pt x="2539" y="373"/>
                    <a:pt x="2539" y="373"/>
                  </a:cubicBezTo>
                  <a:moveTo>
                    <a:pt x="2743" y="373"/>
                  </a:moveTo>
                  <a:cubicBezTo>
                    <a:pt x="2737" y="373"/>
                    <a:pt x="2732" y="377"/>
                    <a:pt x="2732" y="383"/>
                  </a:cubicBezTo>
                  <a:cubicBezTo>
                    <a:pt x="2733" y="389"/>
                    <a:pt x="2739" y="393"/>
                    <a:pt x="2745" y="393"/>
                  </a:cubicBezTo>
                  <a:cubicBezTo>
                    <a:pt x="2752" y="393"/>
                    <a:pt x="2757" y="388"/>
                    <a:pt x="2756" y="383"/>
                  </a:cubicBezTo>
                  <a:cubicBezTo>
                    <a:pt x="2756" y="377"/>
                    <a:pt x="2750" y="373"/>
                    <a:pt x="2743" y="373"/>
                  </a:cubicBezTo>
                  <a:cubicBezTo>
                    <a:pt x="2743" y="373"/>
                    <a:pt x="2743" y="373"/>
                    <a:pt x="2743" y="373"/>
                  </a:cubicBezTo>
                  <a:moveTo>
                    <a:pt x="2778" y="372"/>
                  </a:moveTo>
                  <a:cubicBezTo>
                    <a:pt x="2771" y="372"/>
                    <a:pt x="2766" y="377"/>
                    <a:pt x="2767" y="383"/>
                  </a:cubicBezTo>
                  <a:cubicBezTo>
                    <a:pt x="2767" y="388"/>
                    <a:pt x="2773" y="393"/>
                    <a:pt x="2780" y="393"/>
                  </a:cubicBezTo>
                  <a:cubicBezTo>
                    <a:pt x="2786" y="393"/>
                    <a:pt x="2791" y="388"/>
                    <a:pt x="2791" y="383"/>
                  </a:cubicBezTo>
                  <a:cubicBezTo>
                    <a:pt x="2790" y="377"/>
                    <a:pt x="2784" y="372"/>
                    <a:pt x="2778" y="372"/>
                  </a:cubicBezTo>
                  <a:cubicBezTo>
                    <a:pt x="2778" y="372"/>
                    <a:pt x="2778" y="372"/>
                    <a:pt x="2778" y="372"/>
                  </a:cubicBezTo>
                  <a:moveTo>
                    <a:pt x="2811" y="372"/>
                  </a:moveTo>
                  <a:cubicBezTo>
                    <a:pt x="2805" y="372"/>
                    <a:pt x="2800" y="377"/>
                    <a:pt x="2801" y="382"/>
                  </a:cubicBezTo>
                  <a:cubicBezTo>
                    <a:pt x="2801" y="388"/>
                    <a:pt x="2807" y="393"/>
                    <a:pt x="2814" y="393"/>
                  </a:cubicBezTo>
                  <a:cubicBezTo>
                    <a:pt x="2820" y="393"/>
                    <a:pt x="2825" y="388"/>
                    <a:pt x="2824" y="382"/>
                  </a:cubicBezTo>
                  <a:cubicBezTo>
                    <a:pt x="2824" y="377"/>
                    <a:pt x="2818" y="372"/>
                    <a:pt x="2811" y="372"/>
                  </a:cubicBezTo>
                  <a:cubicBezTo>
                    <a:pt x="2811" y="372"/>
                    <a:pt x="2811" y="372"/>
                    <a:pt x="2811" y="372"/>
                  </a:cubicBezTo>
                  <a:moveTo>
                    <a:pt x="2845" y="372"/>
                  </a:moveTo>
                  <a:cubicBezTo>
                    <a:pt x="2839" y="372"/>
                    <a:pt x="2834" y="377"/>
                    <a:pt x="2835" y="382"/>
                  </a:cubicBezTo>
                  <a:cubicBezTo>
                    <a:pt x="2835" y="388"/>
                    <a:pt x="2841" y="392"/>
                    <a:pt x="2848" y="392"/>
                  </a:cubicBezTo>
                  <a:cubicBezTo>
                    <a:pt x="2854" y="392"/>
                    <a:pt x="2859" y="388"/>
                    <a:pt x="2858" y="382"/>
                  </a:cubicBezTo>
                  <a:cubicBezTo>
                    <a:pt x="2858" y="376"/>
                    <a:pt x="2852" y="372"/>
                    <a:pt x="2845" y="372"/>
                  </a:cubicBezTo>
                  <a:cubicBezTo>
                    <a:pt x="2845" y="372"/>
                    <a:pt x="2845" y="372"/>
                    <a:pt x="2845" y="372"/>
                  </a:cubicBezTo>
                  <a:moveTo>
                    <a:pt x="2879" y="372"/>
                  </a:moveTo>
                  <a:cubicBezTo>
                    <a:pt x="2872" y="372"/>
                    <a:pt x="2868" y="376"/>
                    <a:pt x="2868" y="382"/>
                  </a:cubicBezTo>
                  <a:cubicBezTo>
                    <a:pt x="2869" y="388"/>
                    <a:pt x="2875" y="392"/>
                    <a:pt x="2882" y="392"/>
                  </a:cubicBezTo>
                  <a:cubicBezTo>
                    <a:pt x="2888" y="392"/>
                    <a:pt x="2893" y="387"/>
                    <a:pt x="2892" y="382"/>
                  </a:cubicBezTo>
                  <a:cubicBezTo>
                    <a:pt x="2891" y="376"/>
                    <a:pt x="2886" y="372"/>
                    <a:pt x="2879" y="372"/>
                  </a:cubicBezTo>
                  <a:cubicBezTo>
                    <a:pt x="2879" y="372"/>
                    <a:pt x="2879" y="372"/>
                    <a:pt x="2879" y="372"/>
                  </a:cubicBezTo>
                  <a:moveTo>
                    <a:pt x="2913" y="371"/>
                  </a:moveTo>
                  <a:cubicBezTo>
                    <a:pt x="2906" y="371"/>
                    <a:pt x="2902" y="376"/>
                    <a:pt x="2903" y="382"/>
                  </a:cubicBezTo>
                  <a:cubicBezTo>
                    <a:pt x="2903" y="387"/>
                    <a:pt x="2909" y="392"/>
                    <a:pt x="2916" y="392"/>
                  </a:cubicBezTo>
                  <a:cubicBezTo>
                    <a:pt x="2923" y="392"/>
                    <a:pt x="2927" y="387"/>
                    <a:pt x="2926" y="382"/>
                  </a:cubicBezTo>
                  <a:cubicBezTo>
                    <a:pt x="2926" y="376"/>
                    <a:pt x="2920" y="371"/>
                    <a:pt x="2913" y="371"/>
                  </a:cubicBezTo>
                  <a:cubicBezTo>
                    <a:pt x="2913" y="371"/>
                    <a:pt x="2913" y="371"/>
                    <a:pt x="2913" y="371"/>
                  </a:cubicBezTo>
                  <a:moveTo>
                    <a:pt x="2945" y="371"/>
                  </a:moveTo>
                  <a:cubicBezTo>
                    <a:pt x="2939" y="371"/>
                    <a:pt x="2935" y="375"/>
                    <a:pt x="2935" y="381"/>
                  </a:cubicBezTo>
                  <a:cubicBezTo>
                    <a:pt x="2936" y="386"/>
                    <a:pt x="2942" y="390"/>
                    <a:pt x="2948" y="390"/>
                  </a:cubicBezTo>
                  <a:cubicBezTo>
                    <a:pt x="2955" y="390"/>
                    <a:pt x="2959" y="386"/>
                    <a:pt x="2958" y="381"/>
                  </a:cubicBezTo>
                  <a:cubicBezTo>
                    <a:pt x="2957" y="375"/>
                    <a:pt x="2951" y="371"/>
                    <a:pt x="2945" y="371"/>
                  </a:cubicBezTo>
                  <a:cubicBezTo>
                    <a:pt x="2945" y="371"/>
                    <a:pt x="2945" y="371"/>
                    <a:pt x="2945" y="371"/>
                  </a:cubicBezTo>
                  <a:moveTo>
                    <a:pt x="2980" y="371"/>
                  </a:moveTo>
                  <a:cubicBezTo>
                    <a:pt x="2974" y="371"/>
                    <a:pt x="2969" y="375"/>
                    <a:pt x="2970" y="380"/>
                  </a:cubicBezTo>
                  <a:cubicBezTo>
                    <a:pt x="2971" y="386"/>
                    <a:pt x="2977" y="390"/>
                    <a:pt x="2983" y="390"/>
                  </a:cubicBezTo>
                  <a:cubicBezTo>
                    <a:pt x="2990" y="390"/>
                    <a:pt x="2994" y="386"/>
                    <a:pt x="2993" y="380"/>
                  </a:cubicBezTo>
                  <a:cubicBezTo>
                    <a:pt x="2992" y="375"/>
                    <a:pt x="2986" y="371"/>
                    <a:pt x="2980" y="371"/>
                  </a:cubicBezTo>
                  <a:cubicBezTo>
                    <a:pt x="2980" y="371"/>
                    <a:pt x="2980" y="371"/>
                    <a:pt x="2980" y="371"/>
                  </a:cubicBezTo>
                  <a:moveTo>
                    <a:pt x="3014" y="371"/>
                  </a:moveTo>
                  <a:cubicBezTo>
                    <a:pt x="3007" y="371"/>
                    <a:pt x="3003" y="375"/>
                    <a:pt x="3004" y="381"/>
                  </a:cubicBezTo>
                  <a:cubicBezTo>
                    <a:pt x="3005" y="387"/>
                    <a:pt x="3011" y="391"/>
                    <a:pt x="3018" y="391"/>
                  </a:cubicBezTo>
                  <a:cubicBezTo>
                    <a:pt x="3024" y="391"/>
                    <a:pt x="3029" y="386"/>
                    <a:pt x="3028" y="381"/>
                  </a:cubicBezTo>
                  <a:cubicBezTo>
                    <a:pt x="3026" y="375"/>
                    <a:pt x="3020" y="371"/>
                    <a:pt x="3014" y="371"/>
                  </a:cubicBezTo>
                  <a:cubicBezTo>
                    <a:pt x="3014" y="371"/>
                    <a:pt x="3014" y="371"/>
                    <a:pt x="3014" y="371"/>
                  </a:cubicBezTo>
                  <a:moveTo>
                    <a:pt x="3047" y="370"/>
                  </a:moveTo>
                  <a:cubicBezTo>
                    <a:pt x="3041" y="370"/>
                    <a:pt x="3036" y="375"/>
                    <a:pt x="3037" y="381"/>
                  </a:cubicBezTo>
                  <a:cubicBezTo>
                    <a:pt x="3038" y="386"/>
                    <a:pt x="3045" y="391"/>
                    <a:pt x="3051" y="391"/>
                  </a:cubicBezTo>
                  <a:cubicBezTo>
                    <a:pt x="3058" y="391"/>
                    <a:pt x="3062" y="386"/>
                    <a:pt x="3061" y="381"/>
                  </a:cubicBezTo>
                  <a:cubicBezTo>
                    <a:pt x="3060" y="375"/>
                    <a:pt x="3054" y="370"/>
                    <a:pt x="3047" y="370"/>
                  </a:cubicBezTo>
                  <a:cubicBezTo>
                    <a:pt x="3047" y="370"/>
                    <a:pt x="3047" y="370"/>
                    <a:pt x="3047" y="370"/>
                  </a:cubicBezTo>
                  <a:moveTo>
                    <a:pt x="3081" y="370"/>
                  </a:moveTo>
                  <a:cubicBezTo>
                    <a:pt x="3074" y="370"/>
                    <a:pt x="3070" y="375"/>
                    <a:pt x="3071" y="380"/>
                  </a:cubicBezTo>
                  <a:cubicBezTo>
                    <a:pt x="3072" y="386"/>
                    <a:pt x="3079" y="391"/>
                    <a:pt x="3085" y="391"/>
                  </a:cubicBezTo>
                  <a:cubicBezTo>
                    <a:pt x="3092" y="391"/>
                    <a:pt x="3096" y="386"/>
                    <a:pt x="3095" y="380"/>
                  </a:cubicBezTo>
                  <a:cubicBezTo>
                    <a:pt x="3094" y="375"/>
                    <a:pt x="3087" y="370"/>
                    <a:pt x="3081" y="370"/>
                  </a:cubicBezTo>
                  <a:cubicBezTo>
                    <a:pt x="3081" y="370"/>
                    <a:pt x="3081" y="370"/>
                    <a:pt x="3081" y="370"/>
                  </a:cubicBezTo>
                  <a:moveTo>
                    <a:pt x="3115" y="370"/>
                  </a:moveTo>
                  <a:cubicBezTo>
                    <a:pt x="3108" y="370"/>
                    <a:pt x="3104" y="375"/>
                    <a:pt x="3105" y="380"/>
                  </a:cubicBezTo>
                  <a:cubicBezTo>
                    <a:pt x="3106" y="386"/>
                    <a:pt x="3113" y="390"/>
                    <a:pt x="3119" y="390"/>
                  </a:cubicBezTo>
                  <a:cubicBezTo>
                    <a:pt x="3126" y="390"/>
                    <a:pt x="3130" y="386"/>
                    <a:pt x="3129" y="380"/>
                  </a:cubicBezTo>
                  <a:cubicBezTo>
                    <a:pt x="3128" y="374"/>
                    <a:pt x="3121" y="370"/>
                    <a:pt x="3115" y="370"/>
                  </a:cubicBezTo>
                  <a:cubicBezTo>
                    <a:pt x="3115" y="370"/>
                    <a:pt x="3115" y="370"/>
                    <a:pt x="3115" y="370"/>
                  </a:cubicBezTo>
                  <a:moveTo>
                    <a:pt x="3149" y="370"/>
                  </a:moveTo>
                  <a:cubicBezTo>
                    <a:pt x="3142" y="370"/>
                    <a:pt x="3138" y="374"/>
                    <a:pt x="3140" y="380"/>
                  </a:cubicBezTo>
                  <a:cubicBezTo>
                    <a:pt x="3141" y="386"/>
                    <a:pt x="3147" y="390"/>
                    <a:pt x="3154" y="390"/>
                  </a:cubicBezTo>
                  <a:cubicBezTo>
                    <a:pt x="3161" y="390"/>
                    <a:pt x="3165" y="385"/>
                    <a:pt x="3163" y="380"/>
                  </a:cubicBezTo>
                  <a:cubicBezTo>
                    <a:pt x="3162" y="374"/>
                    <a:pt x="3156" y="370"/>
                    <a:pt x="3149" y="370"/>
                  </a:cubicBezTo>
                  <a:cubicBezTo>
                    <a:pt x="3149" y="370"/>
                    <a:pt x="3149" y="370"/>
                    <a:pt x="3149" y="370"/>
                  </a:cubicBezTo>
                  <a:moveTo>
                    <a:pt x="3183" y="369"/>
                  </a:moveTo>
                  <a:cubicBezTo>
                    <a:pt x="3176" y="369"/>
                    <a:pt x="3172" y="374"/>
                    <a:pt x="3173" y="380"/>
                  </a:cubicBezTo>
                  <a:cubicBezTo>
                    <a:pt x="3175" y="385"/>
                    <a:pt x="3181" y="390"/>
                    <a:pt x="3188" y="390"/>
                  </a:cubicBezTo>
                  <a:cubicBezTo>
                    <a:pt x="3194" y="390"/>
                    <a:pt x="3199" y="385"/>
                    <a:pt x="3197" y="380"/>
                  </a:cubicBezTo>
                  <a:cubicBezTo>
                    <a:pt x="3196" y="374"/>
                    <a:pt x="3189" y="369"/>
                    <a:pt x="3183" y="369"/>
                  </a:cubicBezTo>
                  <a:cubicBezTo>
                    <a:pt x="3183" y="369"/>
                    <a:pt x="3183" y="369"/>
                    <a:pt x="3183" y="369"/>
                  </a:cubicBezTo>
                  <a:moveTo>
                    <a:pt x="3217" y="369"/>
                  </a:moveTo>
                  <a:cubicBezTo>
                    <a:pt x="3210" y="369"/>
                    <a:pt x="3206" y="374"/>
                    <a:pt x="3207" y="379"/>
                  </a:cubicBezTo>
                  <a:cubicBezTo>
                    <a:pt x="3209" y="385"/>
                    <a:pt x="3215" y="390"/>
                    <a:pt x="3222" y="390"/>
                  </a:cubicBezTo>
                  <a:cubicBezTo>
                    <a:pt x="3229" y="390"/>
                    <a:pt x="3233" y="385"/>
                    <a:pt x="3231" y="379"/>
                  </a:cubicBezTo>
                  <a:cubicBezTo>
                    <a:pt x="3230" y="374"/>
                    <a:pt x="3223" y="369"/>
                    <a:pt x="3217" y="369"/>
                  </a:cubicBezTo>
                  <a:cubicBezTo>
                    <a:pt x="3217" y="369"/>
                    <a:pt x="3217" y="369"/>
                    <a:pt x="3217" y="369"/>
                  </a:cubicBezTo>
                  <a:moveTo>
                    <a:pt x="3250" y="369"/>
                  </a:moveTo>
                  <a:cubicBezTo>
                    <a:pt x="3244" y="369"/>
                    <a:pt x="3240" y="374"/>
                    <a:pt x="3241" y="379"/>
                  </a:cubicBezTo>
                  <a:cubicBezTo>
                    <a:pt x="3243" y="385"/>
                    <a:pt x="3249" y="389"/>
                    <a:pt x="3256" y="389"/>
                  </a:cubicBezTo>
                  <a:cubicBezTo>
                    <a:pt x="3262" y="389"/>
                    <a:pt x="3267" y="385"/>
                    <a:pt x="3265" y="379"/>
                  </a:cubicBezTo>
                  <a:cubicBezTo>
                    <a:pt x="3263" y="373"/>
                    <a:pt x="3257" y="369"/>
                    <a:pt x="3250" y="369"/>
                  </a:cubicBezTo>
                  <a:cubicBezTo>
                    <a:pt x="3250" y="369"/>
                    <a:pt x="3250" y="369"/>
                    <a:pt x="3250" y="369"/>
                  </a:cubicBezTo>
                  <a:moveTo>
                    <a:pt x="3284" y="369"/>
                  </a:moveTo>
                  <a:cubicBezTo>
                    <a:pt x="3278" y="369"/>
                    <a:pt x="3274" y="373"/>
                    <a:pt x="3275" y="379"/>
                  </a:cubicBezTo>
                  <a:cubicBezTo>
                    <a:pt x="3277" y="385"/>
                    <a:pt x="3283" y="389"/>
                    <a:pt x="3290" y="389"/>
                  </a:cubicBezTo>
                  <a:cubicBezTo>
                    <a:pt x="3297" y="389"/>
                    <a:pt x="3301" y="384"/>
                    <a:pt x="3299" y="379"/>
                  </a:cubicBezTo>
                  <a:cubicBezTo>
                    <a:pt x="3297" y="373"/>
                    <a:pt x="3291" y="369"/>
                    <a:pt x="3284" y="369"/>
                  </a:cubicBezTo>
                  <a:cubicBezTo>
                    <a:pt x="3284" y="369"/>
                    <a:pt x="3284" y="369"/>
                    <a:pt x="3284" y="369"/>
                  </a:cubicBezTo>
                  <a:moveTo>
                    <a:pt x="3319" y="368"/>
                  </a:moveTo>
                  <a:cubicBezTo>
                    <a:pt x="3313" y="368"/>
                    <a:pt x="3309" y="373"/>
                    <a:pt x="3311" y="379"/>
                  </a:cubicBezTo>
                  <a:cubicBezTo>
                    <a:pt x="3312" y="384"/>
                    <a:pt x="3319" y="389"/>
                    <a:pt x="3326" y="389"/>
                  </a:cubicBezTo>
                  <a:cubicBezTo>
                    <a:pt x="3332" y="389"/>
                    <a:pt x="3336" y="384"/>
                    <a:pt x="3334" y="379"/>
                  </a:cubicBezTo>
                  <a:cubicBezTo>
                    <a:pt x="3333" y="373"/>
                    <a:pt x="3326" y="368"/>
                    <a:pt x="3319" y="368"/>
                  </a:cubicBezTo>
                  <a:cubicBezTo>
                    <a:pt x="3319" y="368"/>
                    <a:pt x="3319" y="368"/>
                    <a:pt x="3319" y="368"/>
                  </a:cubicBezTo>
                  <a:moveTo>
                    <a:pt x="3353" y="368"/>
                  </a:moveTo>
                  <a:cubicBezTo>
                    <a:pt x="3346" y="368"/>
                    <a:pt x="3343" y="373"/>
                    <a:pt x="3344" y="378"/>
                  </a:cubicBezTo>
                  <a:cubicBezTo>
                    <a:pt x="3346" y="384"/>
                    <a:pt x="3353" y="389"/>
                    <a:pt x="3359" y="389"/>
                  </a:cubicBezTo>
                  <a:cubicBezTo>
                    <a:pt x="3366" y="389"/>
                    <a:pt x="3370" y="384"/>
                    <a:pt x="3368" y="378"/>
                  </a:cubicBezTo>
                  <a:cubicBezTo>
                    <a:pt x="3366" y="373"/>
                    <a:pt x="3360" y="368"/>
                    <a:pt x="3353" y="368"/>
                  </a:cubicBezTo>
                  <a:cubicBezTo>
                    <a:pt x="3353" y="368"/>
                    <a:pt x="3353" y="368"/>
                    <a:pt x="3353" y="368"/>
                  </a:cubicBezTo>
                  <a:moveTo>
                    <a:pt x="3386" y="368"/>
                  </a:moveTo>
                  <a:cubicBezTo>
                    <a:pt x="3380" y="368"/>
                    <a:pt x="3376" y="373"/>
                    <a:pt x="3378" y="378"/>
                  </a:cubicBezTo>
                  <a:cubicBezTo>
                    <a:pt x="3380" y="384"/>
                    <a:pt x="3387" y="388"/>
                    <a:pt x="3393" y="388"/>
                  </a:cubicBezTo>
                  <a:cubicBezTo>
                    <a:pt x="3400" y="388"/>
                    <a:pt x="3404" y="384"/>
                    <a:pt x="3402" y="378"/>
                  </a:cubicBezTo>
                  <a:cubicBezTo>
                    <a:pt x="3400" y="372"/>
                    <a:pt x="3393" y="368"/>
                    <a:pt x="3387" y="368"/>
                  </a:cubicBezTo>
                  <a:cubicBezTo>
                    <a:pt x="3386" y="368"/>
                    <a:pt x="3386" y="368"/>
                    <a:pt x="3386" y="368"/>
                  </a:cubicBezTo>
                  <a:moveTo>
                    <a:pt x="3420" y="368"/>
                  </a:moveTo>
                  <a:cubicBezTo>
                    <a:pt x="3414" y="368"/>
                    <a:pt x="3410" y="372"/>
                    <a:pt x="3412" y="378"/>
                  </a:cubicBezTo>
                  <a:cubicBezTo>
                    <a:pt x="3414" y="384"/>
                    <a:pt x="3420" y="388"/>
                    <a:pt x="3427" y="388"/>
                  </a:cubicBezTo>
                  <a:cubicBezTo>
                    <a:pt x="3434" y="388"/>
                    <a:pt x="3437" y="383"/>
                    <a:pt x="3435" y="378"/>
                  </a:cubicBezTo>
                  <a:cubicBezTo>
                    <a:pt x="3433" y="372"/>
                    <a:pt x="3427" y="368"/>
                    <a:pt x="3420" y="368"/>
                  </a:cubicBezTo>
                  <a:cubicBezTo>
                    <a:pt x="3420" y="368"/>
                    <a:pt x="3420" y="368"/>
                    <a:pt x="3420" y="368"/>
                  </a:cubicBezTo>
                  <a:moveTo>
                    <a:pt x="3454" y="367"/>
                  </a:moveTo>
                  <a:cubicBezTo>
                    <a:pt x="3447" y="367"/>
                    <a:pt x="3444" y="372"/>
                    <a:pt x="3446" y="378"/>
                  </a:cubicBezTo>
                  <a:cubicBezTo>
                    <a:pt x="3448" y="383"/>
                    <a:pt x="3455" y="388"/>
                    <a:pt x="3461" y="388"/>
                  </a:cubicBezTo>
                  <a:cubicBezTo>
                    <a:pt x="3468" y="388"/>
                    <a:pt x="3472" y="383"/>
                    <a:pt x="3470" y="378"/>
                  </a:cubicBezTo>
                  <a:cubicBezTo>
                    <a:pt x="3468" y="372"/>
                    <a:pt x="3461" y="367"/>
                    <a:pt x="3454" y="367"/>
                  </a:cubicBezTo>
                  <a:cubicBezTo>
                    <a:pt x="3454" y="367"/>
                    <a:pt x="3454" y="367"/>
                    <a:pt x="3454" y="367"/>
                  </a:cubicBezTo>
                  <a:moveTo>
                    <a:pt x="3488" y="367"/>
                  </a:moveTo>
                  <a:cubicBezTo>
                    <a:pt x="3482" y="367"/>
                    <a:pt x="3478" y="372"/>
                    <a:pt x="3480" y="377"/>
                  </a:cubicBezTo>
                  <a:cubicBezTo>
                    <a:pt x="3482" y="383"/>
                    <a:pt x="3489" y="388"/>
                    <a:pt x="3496" y="388"/>
                  </a:cubicBezTo>
                  <a:cubicBezTo>
                    <a:pt x="3502" y="388"/>
                    <a:pt x="3506" y="383"/>
                    <a:pt x="3504" y="377"/>
                  </a:cubicBezTo>
                  <a:cubicBezTo>
                    <a:pt x="3502" y="372"/>
                    <a:pt x="3495" y="367"/>
                    <a:pt x="3488" y="367"/>
                  </a:cubicBezTo>
                  <a:cubicBezTo>
                    <a:pt x="3488" y="367"/>
                    <a:pt x="3488" y="367"/>
                    <a:pt x="3488" y="367"/>
                  </a:cubicBezTo>
                  <a:moveTo>
                    <a:pt x="3522" y="367"/>
                  </a:moveTo>
                  <a:cubicBezTo>
                    <a:pt x="3515" y="367"/>
                    <a:pt x="3512" y="372"/>
                    <a:pt x="3514" y="377"/>
                  </a:cubicBezTo>
                  <a:cubicBezTo>
                    <a:pt x="3516" y="383"/>
                    <a:pt x="3523" y="387"/>
                    <a:pt x="3530" y="387"/>
                  </a:cubicBezTo>
                  <a:cubicBezTo>
                    <a:pt x="3536" y="387"/>
                    <a:pt x="3540" y="383"/>
                    <a:pt x="3538" y="377"/>
                  </a:cubicBezTo>
                  <a:cubicBezTo>
                    <a:pt x="3535" y="371"/>
                    <a:pt x="3528" y="367"/>
                    <a:pt x="3522" y="367"/>
                  </a:cubicBezTo>
                  <a:cubicBezTo>
                    <a:pt x="3522" y="367"/>
                    <a:pt x="3522" y="367"/>
                    <a:pt x="3522" y="367"/>
                  </a:cubicBezTo>
                  <a:moveTo>
                    <a:pt x="3556" y="367"/>
                  </a:moveTo>
                  <a:cubicBezTo>
                    <a:pt x="3549" y="367"/>
                    <a:pt x="3546" y="371"/>
                    <a:pt x="3548" y="377"/>
                  </a:cubicBezTo>
                  <a:cubicBezTo>
                    <a:pt x="3550" y="383"/>
                    <a:pt x="3557" y="387"/>
                    <a:pt x="3564" y="387"/>
                  </a:cubicBezTo>
                  <a:cubicBezTo>
                    <a:pt x="3570" y="387"/>
                    <a:pt x="3574" y="382"/>
                    <a:pt x="3572" y="377"/>
                  </a:cubicBezTo>
                  <a:cubicBezTo>
                    <a:pt x="3569" y="371"/>
                    <a:pt x="3562" y="367"/>
                    <a:pt x="3556" y="367"/>
                  </a:cubicBezTo>
                  <a:cubicBezTo>
                    <a:pt x="3556" y="367"/>
                    <a:pt x="3556" y="367"/>
                    <a:pt x="3556" y="367"/>
                  </a:cubicBezTo>
                  <a:moveTo>
                    <a:pt x="3589" y="366"/>
                  </a:moveTo>
                  <a:cubicBezTo>
                    <a:pt x="3583" y="366"/>
                    <a:pt x="3579" y="371"/>
                    <a:pt x="3582" y="377"/>
                  </a:cubicBezTo>
                  <a:cubicBezTo>
                    <a:pt x="3584" y="382"/>
                    <a:pt x="3591" y="387"/>
                    <a:pt x="3598" y="387"/>
                  </a:cubicBezTo>
                  <a:cubicBezTo>
                    <a:pt x="3604" y="387"/>
                    <a:pt x="3608" y="382"/>
                    <a:pt x="3605" y="377"/>
                  </a:cubicBezTo>
                  <a:cubicBezTo>
                    <a:pt x="3603" y="371"/>
                    <a:pt x="3596" y="366"/>
                    <a:pt x="3589" y="366"/>
                  </a:cubicBezTo>
                  <a:cubicBezTo>
                    <a:pt x="3589" y="366"/>
                    <a:pt x="3589" y="366"/>
                    <a:pt x="3589" y="366"/>
                  </a:cubicBezTo>
                  <a:moveTo>
                    <a:pt x="3623" y="366"/>
                  </a:moveTo>
                  <a:cubicBezTo>
                    <a:pt x="3617" y="366"/>
                    <a:pt x="3613" y="371"/>
                    <a:pt x="3616" y="376"/>
                  </a:cubicBezTo>
                  <a:cubicBezTo>
                    <a:pt x="3618" y="382"/>
                    <a:pt x="3625" y="387"/>
                    <a:pt x="3632" y="387"/>
                  </a:cubicBezTo>
                  <a:cubicBezTo>
                    <a:pt x="3638" y="387"/>
                    <a:pt x="3642" y="382"/>
                    <a:pt x="3639" y="376"/>
                  </a:cubicBezTo>
                  <a:cubicBezTo>
                    <a:pt x="3637" y="371"/>
                    <a:pt x="3630" y="366"/>
                    <a:pt x="3623" y="366"/>
                  </a:cubicBezTo>
                  <a:cubicBezTo>
                    <a:pt x="3623" y="366"/>
                    <a:pt x="3623" y="366"/>
                    <a:pt x="3623" y="366"/>
                  </a:cubicBezTo>
                  <a:moveTo>
                    <a:pt x="3659" y="366"/>
                  </a:moveTo>
                  <a:cubicBezTo>
                    <a:pt x="3653" y="366"/>
                    <a:pt x="3649" y="371"/>
                    <a:pt x="3652" y="376"/>
                  </a:cubicBezTo>
                  <a:cubicBezTo>
                    <a:pt x="3654" y="382"/>
                    <a:pt x="3661" y="386"/>
                    <a:pt x="3668" y="386"/>
                  </a:cubicBezTo>
                  <a:cubicBezTo>
                    <a:pt x="3675" y="386"/>
                    <a:pt x="3678" y="382"/>
                    <a:pt x="3675" y="376"/>
                  </a:cubicBezTo>
                  <a:cubicBezTo>
                    <a:pt x="3673" y="370"/>
                    <a:pt x="3666" y="366"/>
                    <a:pt x="3659" y="366"/>
                  </a:cubicBezTo>
                  <a:cubicBezTo>
                    <a:pt x="3659" y="366"/>
                    <a:pt x="3659" y="366"/>
                    <a:pt x="3659" y="366"/>
                  </a:cubicBezTo>
                  <a:moveTo>
                    <a:pt x="3693" y="366"/>
                  </a:moveTo>
                  <a:cubicBezTo>
                    <a:pt x="3686" y="366"/>
                    <a:pt x="3683" y="370"/>
                    <a:pt x="3685" y="376"/>
                  </a:cubicBezTo>
                  <a:cubicBezTo>
                    <a:pt x="3688" y="382"/>
                    <a:pt x="3695" y="386"/>
                    <a:pt x="3702" y="386"/>
                  </a:cubicBezTo>
                  <a:cubicBezTo>
                    <a:pt x="3708" y="386"/>
                    <a:pt x="3711" y="381"/>
                    <a:pt x="3709" y="376"/>
                  </a:cubicBezTo>
                  <a:cubicBezTo>
                    <a:pt x="3706" y="370"/>
                    <a:pt x="3699" y="366"/>
                    <a:pt x="3693" y="366"/>
                  </a:cubicBezTo>
                  <a:cubicBezTo>
                    <a:pt x="3693" y="366"/>
                    <a:pt x="3693" y="366"/>
                    <a:pt x="3693" y="366"/>
                  </a:cubicBezTo>
                  <a:moveTo>
                    <a:pt x="3726" y="365"/>
                  </a:moveTo>
                  <a:cubicBezTo>
                    <a:pt x="3720" y="365"/>
                    <a:pt x="3716" y="370"/>
                    <a:pt x="3719" y="376"/>
                  </a:cubicBezTo>
                  <a:cubicBezTo>
                    <a:pt x="3721" y="381"/>
                    <a:pt x="3729" y="386"/>
                    <a:pt x="3735" y="386"/>
                  </a:cubicBezTo>
                  <a:cubicBezTo>
                    <a:pt x="3742" y="386"/>
                    <a:pt x="3745" y="381"/>
                    <a:pt x="3743" y="376"/>
                  </a:cubicBezTo>
                  <a:cubicBezTo>
                    <a:pt x="3740" y="370"/>
                    <a:pt x="3733" y="365"/>
                    <a:pt x="3726" y="365"/>
                  </a:cubicBezTo>
                  <a:cubicBezTo>
                    <a:pt x="3726" y="365"/>
                    <a:pt x="3726" y="365"/>
                    <a:pt x="3726" y="365"/>
                  </a:cubicBezTo>
                  <a:moveTo>
                    <a:pt x="3760" y="365"/>
                  </a:moveTo>
                  <a:cubicBezTo>
                    <a:pt x="3754" y="365"/>
                    <a:pt x="3750" y="370"/>
                    <a:pt x="3753" y="375"/>
                  </a:cubicBezTo>
                  <a:cubicBezTo>
                    <a:pt x="3756" y="381"/>
                    <a:pt x="3763" y="386"/>
                    <a:pt x="3770" y="386"/>
                  </a:cubicBezTo>
                  <a:cubicBezTo>
                    <a:pt x="3776" y="386"/>
                    <a:pt x="3779" y="381"/>
                    <a:pt x="3777" y="375"/>
                  </a:cubicBezTo>
                  <a:cubicBezTo>
                    <a:pt x="3774" y="370"/>
                    <a:pt x="3767" y="365"/>
                    <a:pt x="3760" y="365"/>
                  </a:cubicBezTo>
                  <a:cubicBezTo>
                    <a:pt x="3760" y="365"/>
                    <a:pt x="3760" y="365"/>
                    <a:pt x="3760" y="365"/>
                  </a:cubicBezTo>
                  <a:moveTo>
                    <a:pt x="3794" y="365"/>
                  </a:moveTo>
                  <a:cubicBezTo>
                    <a:pt x="3788" y="365"/>
                    <a:pt x="3785" y="370"/>
                    <a:pt x="3787" y="375"/>
                  </a:cubicBezTo>
                  <a:cubicBezTo>
                    <a:pt x="3790" y="381"/>
                    <a:pt x="3798" y="385"/>
                    <a:pt x="3804" y="385"/>
                  </a:cubicBezTo>
                  <a:cubicBezTo>
                    <a:pt x="3811" y="385"/>
                    <a:pt x="3814" y="381"/>
                    <a:pt x="3811" y="375"/>
                  </a:cubicBezTo>
                  <a:cubicBezTo>
                    <a:pt x="3808" y="369"/>
                    <a:pt x="3801" y="365"/>
                    <a:pt x="3794" y="365"/>
                  </a:cubicBezTo>
                  <a:cubicBezTo>
                    <a:pt x="3794" y="365"/>
                    <a:pt x="3794" y="365"/>
                    <a:pt x="3794" y="365"/>
                  </a:cubicBezTo>
                  <a:moveTo>
                    <a:pt x="3828" y="365"/>
                  </a:moveTo>
                  <a:cubicBezTo>
                    <a:pt x="3821" y="365"/>
                    <a:pt x="3818" y="369"/>
                    <a:pt x="3821" y="375"/>
                  </a:cubicBezTo>
                  <a:cubicBezTo>
                    <a:pt x="3824" y="381"/>
                    <a:pt x="3831" y="385"/>
                    <a:pt x="3838" y="385"/>
                  </a:cubicBezTo>
                  <a:cubicBezTo>
                    <a:pt x="3845" y="385"/>
                    <a:pt x="3848" y="380"/>
                    <a:pt x="3845" y="375"/>
                  </a:cubicBezTo>
                  <a:cubicBezTo>
                    <a:pt x="3842" y="369"/>
                    <a:pt x="3834" y="365"/>
                    <a:pt x="3828" y="365"/>
                  </a:cubicBezTo>
                  <a:cubicBezTo>
                    <a:pt x="3828" y="365"/>
                    <a:pt x="3828" y="365"/>
                    <a:pt x="3828" y="365"/>
                  </a:cubicBezTo>
                  <a:moveTo>
                    <a:pt x="3862" y="364"/>
                  </a:moveTo>
                  <a:cubicBezTo>
                    <a:pt x="3855" y="364"/>
                    <a:pt x="3852" y="369"/>
                    <a:pt x="3855" y="375"/>
                  </a:cubicBezTo>
                  <a:cubicBezTo>
                    <a:pt x="3858" y="380"/>
                    <a:pt x="3865" y="385"/>
                    <a:pt x="3872" y="385"/>
                  </a:cubicBezTo>
                  <a:cubicBezTo>
                    <a:pt x="3879" y="385"/>
                    <a:pt x="3882" y="380"/>
                    <a:pt x="3879" y="375"/>
                  </a:cubicBezTo>
                  <a:cubicBezTo>
                    <a:pt x="3876" y="369"/>
                    <a:pt x="3868" y="364"/>
                    <a:pt x="3862" y="364"/>
                  </a:cubicBezTo>
                  <a:cubicBezTo>
                    <a:pt x="3862" y="364"/>
                    <a:pt x="3862" y="364"/>
                    <a:pt x="3862" y="364"/>
                  </a:cubicBezTo>
                  <a:moveTo>
                    <a:pt x="3895" y="364"/>
                  </a:moveTo>
                  <a:cubicBezTo>
                    <a:pt x="3889" y="364"/>
                    <a:pt x="3886" y="369"/>
                    <a:pt x="3889" y="374"/>
                  </a:cubicBezTo>
                  <a:cubicBezTo>
                    <a:pt x="3892" y="380"/>
                    <a:pt x="3899" y="385"/>
                    <a:pt x="3906" y="385"/>
                  </a:cubicBezTo>
                  <a:cubicBezTo>
                    <a:pt x="3912" y="385"/>
                    <a:pt x="3915" y="380"/>
                    <a:pt x="3912" y="374"/>
                  </a:cubicBezTo>
                  <a:cubicBezTo>
                    <a:pt x="3910" y="369"/>
                    <a:pt x="3902" y="364"/>
                    <a:pt x="3895" y="364"/>
                  </a:cubicBezTo>
                  <a:cubicBezTo>
                    <a:pt x="3895" y="364"/>
                    <a:pt x="3895" y="364"/>
                    <a:pt x="3895" y="364"/>
                  </a:cubicBezTo>
                  <a:moveTo>
                    <a:pt x="3995" y="364"/>
                  </a:moveTo>
                  <a:cubicBezTo>
                    <a:pt x="3988" y="364"/>
                    <a:pt x="3986" y="369"/>
                    <a:pt x="3989" y="374"/>
                  </a:cubicBezTo>
                  <a:cubicBezTo>
                    <a:pt x="3992" y="380"/>
                    <a:pt x="4000" y="385"/>
                    <a:pt x="4006" y="385"/>
                  </a:cubicBezTo>
                  <a:cubicBezTo>
                    <a:pt x="4013" y="385"/>
                    <a:pt x="4016" y="380"/>
                    <a:pt x="4013" y="374"/>
                  </a:cubicBezTo>
                  <a:cubicBezTo>
                    <a:pt x="4009" y="369"/>
                    <a:pt x="4002" y="364"/>
                    <a:pt x="3995" y="364"/>
                  </a:cubicBezTo>
                  <a:cubicBezTo>
                    <a:pt x="3995" y="364"/>
                    <a:pt x="3995" y="364"/>
                    <a:pt x="3995" y="364"/>
                  </a:cubicBezTo>
                  <a:moveTo>
                    <a:pt x="3929" y="364"/>
                  </a:moveTo>
                  <a:cubicBezTo>
                    <a:pt x="3923" y="364"/>
                    <a:pt x="3920" y="369"/>
                    <a:pt x="3923" y="374"/>
                  </a:cubicBezTo>
                  <a:cubicBezTo>
                    <a:pt x="3926" y="380"/>
                    <a:pt x="3933" y="384"/>
                    <a:pt x="3940" y="384"/>
                  </a:cubicBezTo>
                  <a:cubicBezTo>
                    <a:pt x="3947" y="384"/>
                    <a:pt x="3949" y="380"/>
                    <a:pt x="3946" y="374"/>
                  </a:cubicBezTo>
                  <a:cubicBezTo>
                    <a:pt x="3943" y="368"/>
                    <a:pt x="3936" y="364"/>
                    <a:pt x="3929" y="364"/>
                  </a:cubicBezTo>
                  <a:cubicBezTo>
                    <a:pt x="3929" y="364"/>
                    <a:pt x="3929" y="364"/>
                    <a:pt x="3929" y="364"/>
                  </a:cubicBezTo>
                  <a:moveTo>
                    <a:pt x="3962" y="364"/>
                  </a:moveTo>
                  <a:cubicBezTo>
                    <a:pt x="3956" y="364"/>
                    <a:pt x="3953" y="368"/>
                    <a:pt x="3956" y="374"/>
                  </a:cubicBezTo>
                  <a:cubicBezTo>
                    <a:pt x="3959" y="380"/>
                    <a:pt x="3967" y="384"/>
                    <a:pt x="3973" y="384"/>
                  </a:cubicBezTo>
                  <a:cubicBezTo>
                    <a:pt x="3980" y="384"/>
                    <a:pt x="3983" y="379"/>
                    <a:pt x="3979" y="374"/>
                  </a:cubicBezTo>
                  <a:cubicBezTo>
                    <a:pt x="3976" y="368"/>
                    <a:pt x="3969" y="364"/>
                    <a:pt x="3962" y="364"/>
                  </a:cubicBezTo>
                  <a:cubicBezTo>
                    <a:pt x="3962" y="364"/>
                    <a:pt x="3962" y="364"/>
                    <a:pt x="3962" y="364"/>
                  </a:cubicBezTo>
                  <a:moveTo>
                    <a:pt x="386" y="360"/>
                  </a:moveTo>
                  <a:cubicBezTo>
                    <a:pt x="380" y="360"/>
                    <a:pt x="371" y="364"/>
                    <a:pt x="366" y="370"/>
                  </a:cubicBezTo>
                  <a:cubicBezTo>
                    <a:pt x="362" y="376"/>
                    <a:pt x="364" y="380"/>
                    <a:pt x="370" y="380"/>
                  </a:cubicBezTo>
                  <a:cubicBezTo>
                    <a:pt x="377" y="380"/>
                    <a:pt x="386" y="375"/>
                    <a:pt x="390" y="370"/>
                  </a:cubicBezTo>
                  <a:cubicBezTo>
                    <a:pt x="394" y="364"/>
                    <a:pt x="393" y="360"/>
                    <a:pt x="386" y="360"/>
                  </a:cubicBezTo>
                  <a:cubicBezTo>
                    <a:pt x="386" y="360"/>
                    <a:pt x="386" y="360"/>
                    <a:pt x="386" y="360"/>
                  </a:cubicBezTo>
                  <a:moveTo>
                    <a:pt x="420" y="360"/>
                  </a:moveTo>
                  <a:cubicBezTo>
                    <a:pt x="413" y="360"/>
                    <a:pt x="404" y="364"/>
                    <a:pt x="400" y="370"/>
                  </a:cubicBezTo>
                  <a:cubicBezTo>
                    <a:pt x="396" y="375"/>
                    <a:pt x="397" y="380"/>
                    <a:pt x="404" y="380"/>
                  </a:cubicBezTo>
                  <a:cubicBezTo>
                    <a:pt x="411" y="380"/>
                    <a:pt x="419" y="375"/>
                    <a:pt x="424" y="370"/>
                  </a:cubicBezTo>
                  <a:cubicBezTo>
                    <a:pt x="428" y="364"/>
                    <a:pt x="426" y="360"/>
                    <a:pt x="420" y="360"/>
                  </a:cubicBezTo>
                  <a:cubicBezTo>
                    <a:pt x="420" y="360"/>
                    <a:pt x="420" y="360"/>
                    <a:pt x="420" y="360"/>
                  </a:cubicBezTo>
                  <a:moveTo>
                    <a:pt x="453" y="359"/>
                  </a:moveTo>
                  <a:cubicBezTo>
                    <a:pt x="447" y="359"/>
                    <a:pt x="438" y="364"/>
                    <a:pt x="434" y="369"/>
                  </a:cubicBezTo>
                  <a:cubicBezTo>
                    <a:pt x="430" y="375"/>
                    <a:pt x="431" y="380"/>
                    <a:pt x="438" y="380"/>
                  </a:cubicBezTo>
                  <a:cubicBezTo>
                    <a:pt x="445" y="379"/>
                    <a:pt x="453" y="375"/>
                    <a:pt x="458" y="369"/>
                  </a:cubicBezTo>
                  <a:cubicBezTo>
                    <a:pt x="462" y="364"/>
                    <a:pt x="460" y="359"/>
                    <a:pt x="454" y="359"/>
                  </a:cubicBezTo>
                  <a:cubicBezTo>
                    <a:pt x="454" y="359"/>
                    <a:pt x="453" y="359"/>
                    <a:pt x="453" y="359"/>
                  </a:cubicBezTo>
                  <a:moveTo>
                    <a:pt x="487" y="359"/>
                  </a:moveTo>
                  <a:cubicBezTo>
                    <a:pt x="480" y="359"/>
                    <a:pt x="472" y="364"/>
                    <a:pt x="468" y="369"/>
                  </a:cubicBezTo>
                  <a:cubicBezTo>
                    <a:pt x="463" y="375"/>
                    <a:pt x="465" y="379"/>
                    <a:pt x="472" y="379"/>
                  </a:cubicBezTo>
                  <a:cubicBezTo>
                    <a:pt x="478" y="379"/>
                    <a:pt x="487" y="375"/>
                    <a:pt x="491" y="369"/>
                  </a:cubicBezTo>
                  <a:cubicBezTo>
                    <a:pt x="495" y="363"/>
                    <a:pt x="494" y="359"/>
                    <a:pt x="487" y="359"/>
                  </a:cubicBezTo>
                  <a:cubicBezTo>
                    <a:pt x="487" y="359"/>
                    <a:pt x="487" y="359"/>
                    <a:pt x="487" y="359"/>
                  </a:cubicBezTo>
                  <a:moveTo>
                    <a:pt x="521" y="359"/>
                  </a:moveTo>
                  <a:cubicBezTo>
                    <a:pt x="514" y="359"/>
                    <a:pt x="506" y="363"/>
                    <a:pt x="501" y="369"/>
                  </a:cubicBezTo>
                  <a:cubicBezTo>
                    <a:pt x="497" y="375"/>
                    <a:pt x="499" y="379"/>
                    <a:pt x="506" y="379"/>
                  </a:cubicBezTo>
                  <a:cubicBezTo>
                    <a:pt x="512" y="379"/>
                    <a:pt x="521" y="374"/>
                    <a:pt x="525" y="369"/>
                  </a:cubicBezTo>
                  <a:cubicBezTo>
                    <a:pt x="529" y="363"/>
                    <a:pt x="527" y="359"/>
                    <a:pt x="521" y="359"/>
                  </a:cubicBezTo>
                  <a:cubicBezTo>
                    <a:pt x="521" y="359"/>
                    <a:pt x="521" y="359"/>
                    <a:pt x="521" y="359"/>
                  </a:cubicBezTo>
                  <a:moveTo>
                    <a:pt x="556" y="358"/>
                  </a:moveTo>
                  <a:cubicBezTo>
                    <a:pt x="549" y="359"/>
                    <a:pt x="541" y="363"/>
                    <a:pt x="536" y="369"/>
                  </a:cubicBezTo>
                  <a:cubicBezTo>
                    <a:pt x="532" y="374"/>
                    <a:pt x="534" y="379"/>
                    <a:pt x="541" y="379"/>
                  </a:cubicBezTo>
                  <a:cubicBezTo>
                    <a:pt x="548" y="379"/>
                    <a:pt x="556" y="374"/>
                    <a:pt x="560" y="369"/>
                  </a:cubicBezTo>
                  <a:cubicBezTo>
                    <a:pt x="564" y="363"/>
                    <a:pt x="562" y="358"/>
                    <a:pt x="556" y="358"/>
                  </a:cubicBezTo>
                  <a:cubicBezTo>
                    <a:pt x="556" y="358"/>
                    <a:pt x="556" y="358"/>
                    <a:pt x="556" y="358"/>
                  </a:cubicBezTo>
                  <a:moveTo>
                    <a:pt x="589" y="358"/>
                  </a:moveTo>
                  <a:cubicBezTo>
                    <a:pt x="583" y="358"/>
                    <a:pt x="574" y="363"/>
                    <a:pt x="570" y="368"/>
                  </a:cubicBezTo>
                  <a:cubicBezTo>
                    <a:pt x="566" y="374"/>
                    <a:pt x="568" y="379"/>
                    <a:pt x="575" y="378"/>
                  </a:cubicBezTo>
                  <a:cubicBezTo>
                    <a:pt x="581" y="378"/>
                    <a:pt x="590" y="374"/>
                    <a:pt x="594" y="368"/>
                  </a:cubicBezTo>
                  <a:cubicBezTo>
                    <a:pt x="598" y="363"/>
                    <a:pt x="596" y="358"/>
                    <a:pt x="589" y="358"/>
                  </a:cubicBezTo>
                  <a:cubicBezTo>
                    <a:pt x="589" y="358"/>
                    <a:pt x="589" y="358"/>
                    <a:pt x="589" y="358"/>
                  </a:cubicBezTo>
                  <a:moveTo>
                    <a:pt x="623" y="358"/>
                  </a:moveTo>
                  <a:cubicBezTo>
                    <a:pt x="616" y="358"/>
                    <a:pt x="608" y="363"/>
                    <a:pt x="604" y="368"/>
                  </a:cubicBezTo>
                  <a:cubicBezTo>
                    <a:pt x="600" y="374"/>
                    <a:pt x="602" y="378"/>
                    <a:pt x="609" y="378"/>
                  </a:cubicBezTo>
                  <a:cubicBezTo>
                    <a:pt x="615" y="378"/>
                    <a:pt x="624" y="374"/>
                    <a:pt x="628" y="368"/>
                  </a:cubicBezTo>
                  <a:cubicBezTo>
                    <a:pt x="632" y="362"/>
                    <a:pt x="629" y="358"/>
                    <a:pt x="623" y="358"/>
                  </a:cubicBezTo>
                  <a:cubicBezTo>
                    <a:pt x="623" y="358"/>
                    <a:pt x="623" y="358"/>
                    <a:pt x="623" y="358"/>
                  </a:cubicBezTo>
                  <a:moveTo>
                    <a:pt x="657" y="358"/>
                  </a:moveTo>
                  <a:cubicBezTo>
                    <a:pt x="651" y="358"/>
                    <a:pt x="642" y="362"/>
                    <a:pt x="638" y="368"/>
                  </a:cubicBezTo>
                  <a:cubicBezTo>
                    <a:pt x="634" y="374"/>
                    <a:pt x="637" y="378"/>
                    <a:pt x="643" y="378"/>
                  </a:cubicBezTo>
                  <a:cubicBezTo>
                    <a:pt x="650" y="378"/>
                    <a:pt x="658" y="373"/>
                    <a:pt x="662" y="368"/>
                  </a:cubicBezTo>
                  <a:cubicBezTo>
                    <a:pt x="666" y="362"/>
                    <a:pt x="664" y="358"/>
                    <a:pt x="657" y="358"/>
                  </a:cubicBezTo>
                  <a:cubicBezTo>
                    <a:pt x="657" y="358"/>
                    <a:pt x="657" y="358"/>
                    <a:pt x="657" y="358"/>
                  </a:cubicBezTo>
                  <a:moveTo>
                    <a:pt x="691" y="357"/>
                  </a:moveTo>
                  <a:cubicBezTo>
                    <a:pt x="684" y="357"/>
                    <a:pt x="676" y="362"/>
                    <a:pt x="672" y="368"/>
                  </a:cubicBezTo>
                  <a:cubicBezTo>
                    <a:pt x="668" y="373"/>
                    <a:pt x="670" y="378"/>
                    <a:pt x="677" y="378"/>
                  </a:cubicBezTo>
                  <a:cubicBezTo>
                    <a:pt x="683" y="378"/>
                    <a:pt x="692" y="373"/>
                    <a:pt x="696" y="367"/>
                  </a:cubicBezTo>
                  <a:cubicBezTo>
                    <a:pt x="699" y="362"/>
                    <a:pt x="697" y="357"/>
                    <a:pt x="691" y="357"/>
                  </a:cubicBezTo>
                  <a:cubicBezTo>
                    <a:pt x="691" y="357"/>
                    <a:pt x="691" y="357"/>
                    <a:pt x="691" y="357"/>
                  </a:cubicBezTo>
                  <a:moveTo>
                    <a:pt x="724" y="357"/>
                  </a:moveTo>
                  <a:cubicBezTo>
                    <a:pt x="718" y="357"/>
                    <a:pt x="709" y="362"/>
                    <a:pt x="706" y="367"/>
                  </a:cubicBezTo>
                  <a:cubicBezTo>
                    <a:pt x="702" y="373"/>
                    <a:pt x="704" y="378"/>
                    <a:pt x="711" y="377"/>
                  </a:cubicBezTo>
                  <a:cubicBezTo>
                    <a:pt x="717" y="377"/>
                    <a:pt x="726" y="373"/>
                    <a:pt x="729" y="367"/>
                  </a:cubicBezTo>
                  <a:cubicBezTo>
                    <a:pt x="733" y="362"/>
                    <a:pt x="731" y="357"/>
                    <a:pt x="724" y="357"/>
                  </a:cubicBezTo>
                  <a:cubicBezTo>
                    <a:pt x="724" y="357"/>
                    <a:pt x="724" y="357"/>
                    <a:pt x="724" y="357"/>
                  </a:cubicBezTo>
                  <a:moveTo>
                    <a:pt x="758" y="357"/>
                  </a:moveTo>
                  <a:cubicBezTo>
                    <a:pt x="751" y="357"/>
                    <a:pt x="743" y="362"/>
                    <a:pt x="739" y="367"/>
                  </a:cubicBezTo>
                  <a:cubicBezTo>
                    <a:pt x="736" y="373"/>
                    <a:pt x="738" y="377"/>
                    <a:pt x="745" y="377"/>
                  </a:cubicBezTo>
                  <a:cubicBezTo>
                    <a:pt x="751" y="377"/>
                    <a:pt x="759" y="373"/>
                    <a:pt x="763" y="367"/>
                  </a:cubicBezTo>
                  <a:cubicBezTo>
                    <a:pt x="767" y="361"/>
                    <a:pt x="764" y="357"/>
                    <a:pt x="758" y="357"/>
                  </a:cubicBezTo>
                  <a:cubicBezTo>
                    <a:pt x="758" y="357"/>
                    <a:pt x="758" y="357"/>
                    <a:pt x="758" y="357"/>
                  </a:cubicBezTo>
                  <a:moveTo>
                    <a:pt x="792" y="357"/>
                  </a:moveTo>
                  <a:cubicBezTo>
                    <a:pt x="785" y="357"/>
                    <a:pt x="777" y="361"/>
                    <a:pt x="773" y="367"/>
                  </a:cubicBezTo>
                  <a:cubicBezTo>
                    <a:pt x="770" y="372"/>
                    <a:pt x="772" y="377"/>
                    <a:pt x="779" y="377"/>
                  </a:cubicBezTo>
                  <a:cubicBezTo>
                    <a:pt x="785" y="377"/>
                    <a:pt x="793" y="372"/>
                    <a:pt x="797" y="367"/>
                  </a:cubicBezTo>
                  <a:cubicBezTo>
                    <a:pt x="800" y="361"/>
                    <a:pt x="798" y="357"/>
                    <a:pt x="792" y="357"/>
                  </a:cubicBezTo>
                  <a:cubicBezTo>
                    <a:pt x="792" y="357"/>
                    <a:pt x="792" y="357"/>
                    <a:pt x="792" y="357"/>
                  </a:cubicBezTo>
                  <a:moveTo>
                    <a:pt x="826" y="356"/>
                  </a:moveTo>
                  <a:cubicBezTo>
                    <a:pt x="819" y="356"/>
                    <a:pt x="811" y="361"/>
                    <a:pt x="807" y="367"/>
                  </a:cubicBezTo>
                  <a:cubicBezTo>
                    <a:pt x="804" y="372"/>
                    <a:pt x="806" y="377"/>
                    <a:pt x="813" y="377"/>
                  </a:cubicBezTo>
                  <a:cubicBezTo>
                    <a:pt x="820" y="377"/>
                    <a:pt x="828" y="372"/>
                    <a:pt x="831" y="366"/>
                  </a:cubicBezTo>
                  <a:cubicBezTo>
                    <a:pt x="835" y="361"/>
                    <a:pt x="832" y="356"/>
                    <a:pt x="826" y="356"/>
                  </a:cubicBezTo>
                  <a:cubicBezTo>
                    <a:pt x="826" y="356"/>
                    <a:pt x="826" y="356"/>
                    <a:pt x="826" y="356"/>
                  </a:cubicBezTo>
                  <a:moveTo>
                    <a:pt x="859" y="356"/>
                  </a:moveTo>
                  <a:cubicBezTo>
                    <a:pt x="853" y="356"/>
                    <a:pt x="845" y="361"/>
                    <a:pt x="841" y="366"/>
                  </a:cubicBezTo>
                  <a:cubicBezTo>
                    <a:pt x="838" y="372"/>
                    <a:pt x="840" y="376"/>
                    <a:pt x="847" y="376"/>
                  </a:cubicBezTo>
                  <a:cubicBezTo>
                    <a:pt x="853" y="376"/>
                    <a:pt x="861" y="372"/>
                    <a:pt x="865" y="366"/>
                  </a:cubicBezTo>
                  <a:cubicBezTo>
                    <a:pt x="868" y="361"/>
                    <a:pt x="866" y="356"/>
                    <a:pt x="859" y="356"/>
                  </a:cubicBezTo>
                  <a:cubicBezTo>
                    <a:pt x="859" y="356"/>
                    <a:pt x="859" y="356"/>
                    <a:pt x="859" y="356"/>
                  </a:cubicBezTo>
                  <a:moveTo>
                    <a:pt x="891" y="356"/>
                  </a:moveTo>
                  <a:cubicBezTo>
                    <a:pt x="885" y="356"/>
                    <a:pt x="877" y="361"/>
                    <a:pt x="873" y="366"/>
                  </a:cubicBezTo>
                  <a:cubicBezTo>
                    <a:pt x="870" y="372"/>
                    <a:pt x="872" y="376"/>
                    <a:pt x="879" y="376"/>
                  </a:cubicBezTo>
                  <a:cubicBezTo>
                    <a:pt x="885" y="376"/>
                    <a:pt x="893" y="372"/>
                    <a:pt x="897" y="366"/>
                  </a:cubicBezTo>
                  <a:cubicBezTo>
                    <a:pt x="900" y="360"/>
                    <a:pt x="898" y="356"/>
                    <a:pt x="891" y="356"/>
                  </a:cubicBezTo>
                  <a:cubicBezTo>
                    <a:pt x="891" y="356"/>
                    <a:pt x="891" y="356"/>
                    <a:pt x="891" y="356"/>
                  </a:cubicBezTo>
                  <a:moveTo>
                    <a:pt x="925" y="356"/>
                  </a:moveTo>
                  <a:cubicBezTo>
                    <a:pt x="919" y="356"/>
                    <a:pt x="911" y="360"/>
                    <a:pt x="907" y="366"/>
                  </a:cubicBezTo>
                  <a:cubicBezTo>
                    <a:pt x="904" y="371"/>
                    <a:pt x="907" y="376"/>
                    <a:pt x="913" y="376"/>
                  </a:cubicBezTo>
                  <a:cubicBezTo>
                    <a:pt x="920" y="376"/>
                    <a:pt x="928" y="371"/>
                    <a:pt x="931" y="366"/>
                  </a:cubicBezTo>
                  <a:cubicBezTo>
                    <a:pt x="934" y="360"/>
                    <a:pt x="932" y="356"/>
                    <a:pt x="925" y="356"/>
                  </a:cubicBezTo>
                  <a:cubicBezTo>
                    <a:pt x="925" y="356"/>
                    <a:pt x="925" y="356"/>
                    <a:pt x="925" y="356"/>
                  </a:cubicBezTo>
                  <a:moveTo>
                    <a:pt x="959" y="355"/>
                  </a:moveTo>
                  <a:cubicBezTo>
                    <a:pt x="952" y="355"/>
                    <a:pt x="944" y="360"/>
                    <a:pt x="941" y="366"/>
                  </a:cubicBezTo>
                  <a:cubicBezTo>
                    <a:pt x="938" y="371"/>
                    <a:pt x="940" y="376"/>
                    <a:pt x="947" y="376"/>
                  </a:cubicBezTo>
                  <a:cubicBezTo>
                    <a:pt x="954" y="376"/>
                    <a:pt x="961" y="371"/>
                    <a:pt x="965" y="365"/>
                  </a:cubicBezTo>
                  <a:cubicBezTo>
                    <a:pt x="968" y="360"/>
                    <a:pt x="965" y="355"/>
                    <a:pt x="959" y="355"/>
                  </a:cubicBezTo>
                  <a:cubicBezTo>
                    <a:pt x="959" y="355"/>
                    <a:pt x="959" y="355"/>
                    <a:pt x="959" y="355"/>
                  </a:cubicBezTo>
                  <a:moveTo>
                    <a:pt x="1060" y="355"/>
                  </a:moveTo>
                  <a:cubicBezTo>
                    <a:pt x="1053" y="355"/>
                    <a:pt x="1045" y="359"/>
                    <a:pt x="1042" y="365"/>
                  </a:cubicBezTo>
                  <a:cubicBezTo>
                    <a:pt x="1039" y="370"/>
                    <a:pt x="1042" y="375"/>
                    <a:pt x="1049" y="375"/>
                  </a:cubicBezTo>
                  <a:cubicBezTo>
                    <a:pt x="1055" y="375"/>
                    <a:pt x="1063" y="370"/>
                    <a:pt x="1066" y="365"/>
                  </a:cubicBezTo>
                  <a:cubicBezTo>
                    <a:pt x="1069" y="359"/>
                    <a:pt x="1066" y="355"/>
                    <a:pt x="1060" y="355"/>
                  </a:cubicBezTo>
                  <a:cubicBezTo>
                    <a:pt x="1060" y="355"/>
                    <a:pt x="1060" y="355"/>
                    <a:pt x="1060" y="355"/>
                  </a:cubicBezTo>
                  <a:moveTo>
                    <a:pt x="1094" y="354"/>
                  </a:moveTo>
                  <a:cubicBezTo>
                    <a:pt x="1087" y="354"/>
                    <a:pt x="1079" y="359"/>
                    <a:pt x="1076" y="365"/>
                  </a:cubicBezTo>
                  <a:cubicBezTo>
                    <a:pt x="1073" y="370"/>
                    <a:pt x="1076" y="375"/>
                    <a:pt x="1083" y="375"/>
                  </a:cubicBezTo>
                  <a:cubicBezTo>
                    <a:pt x="1090" y="375"/>
                    <a:pt x="1097" y="370"/>
                    <a:pt x="1100" y="364"/>
                  </a:cubicBezTo>
                  <a:cubicBezTo>
                    <a:pt x="1103" y="359"/>
                    <a:pt x="1100" y="354"/>
                    <a:pt x="1094" y="354"/>
                  </a:cubicBezTo>
                  <a:cubicBezTo>
                    <a:pt x="1094" y="354"/>
                    <a:pt x="1094" y="354"/>
                    <a:pt x="1094" y="354"/>
                  </a:cubicBezTo>
                  <a:moveTo>
                    <a:pt x="1127" y="354"/>
                  </a:moveTo>
                  <a:cubicBezTo>
                    <a:pt x="1121" y="354"/>
                    <a:pt x="1113" y="359"/>
                    <a:pt x="1110" y="364"/>
                  </a:cubicBezTo>
                  <a:cubicBezTo>
                    <a:pt x="1107" y="370"/>
                    <a:pt x="1110" y="374"/>
                    <a:pt x="1117" y="374"/>
                  </a:cubicBezTo>
                  <a:cubicBezTo>
                    <a:pt x="1123" y="374"/>
                    <a:pt x="1131" y="370"/>
                    <a:pt x="1134" y="364"/>
                  </a:cubicBezTo>
                  <a:cubicBezTo>
                    <a:pt x="1137" y="359"/>
                    <a:pt x="1134" y="354"/>
                    <a:pt x="1127" y="354"/>
                  </a:cubicBezTo>
                  <a:cubicBezTo>
                    <a:pt x="1127" y="354"/>
                    <a:pt x="1127" y="354"/>
                    <a:pt x="1127" y="354"/>
                  </a:cubicBezTo>
                  <a:moveTo>
                    <a:pt x="1160" y="354"/>
                  </a:moveTo>
                  <a:cubicBezTo>
                    <a:pt x="1154" y="354"/>
                    <a:pt x="1146" y="358"/>
                    <a:pt x="1143" y="364"/>
                  </a:cubicBezTo>
                  <a:cubicBezTo>
                    <a:pt x="1140" y="370"/>
                    <a:pt x="1143" y="374"/>
                    <a:pt x="1150" y="374"/>
                  </a:cubicBezTo>
                  <a:cubicBezTo>
                    <a:pt x="1157" y="374"/>
                    <a:pt x="1164" y="370"/>
                    <a:pt x="1167" y="364"/>
                  </a:cubicBezTo>
                  <a:cubicBezTo>
                    <a:pt x="1170" y="358"/>
                    <a:pt x="1167" y="354"/>
                    <a:pt x="1160" y="354"/>
                  </a:cubicBezTo>
                  <a:cubicBezTo>
                    <a:pt x="1160" y="354"/>
                    <a:pt x="1160" y="354"/>
                    <a:pt x="1160" y="354"/>
                  </a:cubicBezTo>
                  <a:moveTo>
                    <a:pt x="1194" y="354"/>
                  </a:moveTo>
                  <a:cubicBezTo>
                    <a:pt x="1188" y="354"/>
                    <a:pt x="1180" y="358"/>
                    <a:pt x="1177" y="364"/>
                  </a:cubicBezTo>
                  <a:cubicBezTo>
                    <a:pt x="1175" y="369"/>
                    <a:pt x="1178" y="374"/>
                    <a:pt x="1184" y="374"/>
                  </a:cubicBezTo>
                  <a:cubicBezTo>
                    <a:pt x="1191" y="374"/>
                    <a:pt x="1198" y="369"/>
                    <a:pt x="1201" y="364"/>
                  </a:cubicBezTo>
                  <a:cubicBezTo>
                    <a:pt x="1204" y="358"/>
                    <a:pt x="1201" y="354"/>
                    <a:pt x="1194" y="354"/>
                  </a:cubicBezTo>
                  <a:cubicBezTo>
                    <a:pt x="1194" y="354"/>
                    <a:pt x="1194" y="354"/>
                    <a:pt x="1194" y="354"/>
                  </a:cubicBezTo>
                  <a:moveTo>
                    <a:pt x="1228" y="353"/>
                  </a:moveTo>
                  <a:cubicBezTo>
                    <a:pt x="1221" y="353"/>
                    <a:pt x="1214" y="358"/>
                    <a:pt x="1211" y="364"/>
                  </a:cubicBezTo>
                  <a:cubicBezTo>
                    <a:pt x="1208" y="369"/>
                    <a:pt x="1211" y="374"/>
                    <a:pt x="1218" y="374"/>
                  </a:cubicBezTo>
                  <a:cubicBezTo>
                    <a:pt x="1225" y="374"/>
                    <a:pt x="1232" y="369"/>
                    <a:pt x="1235" y="363"/>
                  </a:cubicBezTo>
                  <a:cubicBezTo>
                    <a:pt x="1237" y="358"/>
                    <a:pt x="1234" y="353"/>
                    <a:pt x="1228" y="353"/>
                  </a:cubicBezTo>
                  <a:cubicBezTo>
                    <a:pt x="1228" y="353"/>
                    <a:pt x="1228" y="353"/>
                    <a:pt x="1228" y="353"/>
                  </a:cubicBezTo>
                  <a:moveTo>
                    <a:pt x="1262" y="353"/>
                  </a:moveTo>
                  <a:cubicBezTo>
                    <a:pt x="1256" y="353"/>
                    <a:pt x="1248" y="358"/>
                    <a:pt x="1246" y="363"/>
                  </a:cubicBezTo>
                  <a:cubicBezTo>
                    <a:pt x="1243" y="369"/>
                    <a:pt x="1246" y="373"/>
                    <a:pt x="1253" y="373"/>
                  </a:cubicBezTo>
                  <a:cubicBezTo>
                    <a:pt x="1259" y="373"/>
                    <a:pt x="1267" y="369"/>
                    <a:pt x="1269" y="363"/>
                  </a:cubicBezTo>
                  <a:cubicBezTo>
                    <a:pt x="1272" y="358"/>
                    <a:pt x="1269" y="353"/>
                    <a:pt x="1262" y="353"/>
                  </a:cubicBezTo>
                  <a:cubicBezTo>
                    <a:pt x="1262" y="353"/>
                    <a:pt x="1262" y="353"/>
                    <a:pt x="1262" y="353"/>
                  </a:cubicBezTo>
                  <a:moveTo>
                    <a:pt x="1296" y="353"/>
                  </a:moveTo>
                  <a:cubicBezTo>
                    <a:pt x="1290" y="353"/>
                    <a:pt x="1282" y="357"/>
                    <a:pt x="1280" y="363"/>
                  </a:cubicBezTo>
                  <a:cubicBezTo>
                    <a:pt x="1277" y="369"/>
                    <a:pt x="1281" y="373"/>
                    <a:pt x="1287" y="373"/>
                  </a:cubicBezTo>
                  <a:cubicBezTo>
                    <a:pt x="1294" y="373"/>
                    <a:pt x="1301" y="368"/>
                    <a:pt x="1303" y="363"/>
                  </a:cubicBezTo>
                  <a:cubicBezTo>
                    <a:pt x="1306" y="357"/>
                    <a:pt x="1303" y="353"/>
                    <a:pt x="1296" y="353"/>
                  </a:cubicBezTo>
                  <a:cubicBezTo>
                    <a:pt x="1296" y="353"/>
                    <a:pt x="1296" y="353"/>
                    <a:pt x="1296" y="353"/>
                  </a:cubicBezTo>
                  <a:moveTo>
                    <a:pt x="1330" y="353"/>
                  </a:moveTo>
                  <a:cubicBezTo>
                    <a:pt x="1323" y="353"/>
                    <a:pt x="1316" y="357"/>
                    <a:pt x="1313" y="363"/>
                  </a:cubicBezTo>
                  <a:cubicBezTo>
                    <a:pt x="1311" y="368"/>
                    <a:pt x="1314" y="373"/>
                    <a:pt x="1321" y="373"/>
                  </a:cubicBezTo>
                  <a:cubicBezTo>
                    <a:pt x="1327" y="373"/>
                    <a:pt x="1335" y="368"/>
                    <a:pt x="1337" y="363"/>
                  </a:cubicBezTo>
                  <a:cubicBezTo>
                    <a:pt x="1339" y="357"/>
                    <a:pt x="1336" y="353"/>
                    <a:pt x="1330" y="353"/>
                  </a:cubicBezTo>
                  <a:cubicBezTo>
                    <a:pt x="1330" y="353"/>
                    <a:pt x="1330" y="353"/>
                    <a:pt x="1330" y="353"/>
                  </a:cubicBezTo>
                  <a:moveTo>
                    <a:pt x="1967" y="350"/>
                  </a:moveTo>
                  <a:cubicBezTo>
                    <a:pt x="1961" y="350"/>
                    <a:pt x="1954" y="354"/>
                    <a:pt x="1953" y="360"/>
                  </a:cubicBezTo>
                  <a:cubicBezTo>
                    <a:pt x="1952" y="366"/>
                    <a:pt x="1957" y="370"/>
                    <a:pt x="1963" y="370"/>
                  </a:cubicBezTo>
                  <a:cubicBezTo>
                    <a:pt x="1970" y="370"/>
                    <a:pt x="1976" y="365"/>
                    <a:pt x="1977" y="360"/>
                  </a:cubicBezTo>
                  <a:cubicBezTo>
                    <a:pt x="1978" y="354"/>
                    <a:pt x="1974" y="350"/>
                    <a:pt x="1967" y="350"/>
                  </a:cubicBezTo>
                  <a:cubicBezTo>
                    <a:pt x="1967" y="350"/>
                    <a:pt x="1967" y="350"/>
                    <a:pt x="1967" y="350"/>
                  </a:cubicBezTo>
                  <a:moveTo>
                    <a:pt x="2001" y="349"/>
                  </a:moveTo>
                  <a:cubicBezTo>
                    <a:pt x="1995" y="349"/>
                    <a:pt x="1988" y="354"/>
                    <a:pt x="1987" y="360"/>
                  </a:cubicBezTo>
                  <a:cubicBezTo>
                    <a:pt x="1986" y="365"/>
                    <a:pt x="1991" y="370"/>
                    <a:pt x="1997" y="370"/>
                  </a:cubicBezTo>
                  <a:cubicBezTo>
                    <a:pt x="2004" y="370"/>
                    <a:pt x="2010" y="365"/>
                    <a:pt x="2011" y="360"/>
                  </a:cubicBezTo>
                  <a:cubicBezTo>
                    <a:pt x="2012" y="354"/>
                    <a:pt x="2008" y="349"/>
                    <a:pt x="2001" y="349"/>
                  </a:cubicBezTo>
                  <a:cubicBezTo>
                    <a:pt x="2001" y="349"/>
                    <a:pt x="2001" y="349"/>
                    <a:pt x="2001" y="349"/>
                  </a:cubicBezTo>
                  <a:moveTo>
                    <a:pt x="2067" y="349"/>
                  </a:moveTo>
                  <a:cubicBezTo>
                    <a:pt x="2061" y="349"/>
                    <a:pt x="2055" y="354"/>
                    <a:pt x="2054" y="359"/>
                  </a:cubicBezTo>
                  <a:cubicBezTo>
                    <a:pt x="2053" y="365"/>
                    <a:pt x="2058" y="369"/>
                    <a:pt x="2064" y="369"/>
                  </a:cubicBezTo>
                  <a:cubicBezTo>
                    <a:pt x="2071" y="369"/>
                    <a:pt x="2077" y="365"/>
                    <a:pt x="2078" y="359"/>
                  </a:cubicBezTo>
                  <a:cubicBezTo>
                    <a:pt x="2078" y="353"/>
                    <a:pt x="2074" y="349"/>
                    <a:pt x="2068" y="349"/>
                  </a:cubicBezTo>
                  <a:cubicBezTo>
                    <a:pt x="2067" y="349"/>
                    <a:pt x="2067" y="349"/>
                    <a:pt x="2067" y="349"/>
                  </a:cubicBezTo>
                  <a:moveTo>
                    <a:pt x="2203" y="346"/>
                  </a:moveTo>
                  <a:cubicBezTo>
                    <a:pt x="2197" y="346"/>
                    <a:pt x="2191" y="351"/>
                    <a:pt x="2190" y="356"/>
                  </a:cubicBezTo>
                  <a:cubicBezTo>
                    <a:pt x="2190" y="362"/>
                    <a:pt x="2195" y="366"/>
                    <a:pt x="2201" y="366"/>
                  </a:cubicBezTo>
                  <a:cubicBezTo>
                    <a:pt x="2208" y="366"/>
                    <a:pt x="2213" y="362"/>
                    <a:pt x="2214" y="356"/>
                  </a:cubicBezTo>
                  <a:cubicBezTo>
                    <a:pt x="2215" y="350"/>
                    <a:pt x="2210" y="346"/>
                    <a:pt x="2203" y="346"/>
                  </a:cubicBezTo>
                  <a:cubicBezTo>
                    <a:pt x="2203" y="346"/>
                    <a:pt x="2203" y="346"/>
                    <a:pt x="2203" y="346"/>
                  </a:cubicBezTo>
                  <a:moveTo>
                    <a:pt x="2238" y="346"/>
                  </a:moveTo>
                  <a:cubicBezTo>
                    <a:pt x="2231" y="346"/>
                    <a:pt x="2226" y="350"/>
                    <a:pt x="2225" y="356"/>
                  </a:cubicBezTo>
                  <a:cubicBezTo>
                    <a:pt x="2224" y="362"/>
                    <a:pt x="2229" y="366"/>
                    <a:pt x="2236" y="366"/>
                  </a:cubicBezTo>
                  <a:cubicBezTo>
                    <a:pt x="2242" y="366"/>
                    <a:pt x="2248" y="361"/>
                    <a:pt x="2249" y="356"/>
                  </a:cubicBezTo>
                  <a:cubicBezTo>
                    <a:pt x="2249" y="350"/>
                    <a:pt x="2244" y="346"/>
                    <a:pt x="2238" y="346"/>
                  </a:cubicBezTo>
                  <a:cubicBezTo>
                    <a:pt x="2238" y="346"/>
                    <a:pt x="2238" y="346"/>
                    <a:pt x="2238" y="346"/>
                  </a:cubicBezTo>
                  <a:moveTo>
                    <a:pt x="2271" y="345"/>
                  </a:moveTo>
                  <a:cubicBezTo>
                    <a:pt x="2265" y="345"/>
                    <a:pt x="2259" y="350"/>
                    <a:pt x="2258" y="356"/>
                  </a:cubicBezTo>
                  <a:cubicBezTo>
                    <a:pt x="2258" y="361"/>
                    <a:pt x="2263" y="366"/>
                    <a:pt x="2269" y="366"/>
                  </a:cubicBezTo>
                  <a:cubicBezTo>
                    <a:pt x="2276" y="366"/>
                    <a:pt x="2282" y="361"/>
                    <a:pt x="2282" y="356"/>
                  </a:cubicBezTo>
                  <a:cubicBezTo>
                    <a:pt x="2282" y="350"/>
                    <a:pt x="2278" y="345"/>
                    <a:pt x="2271" y="345"/>
                  </a:cubicBezTo>
                  <a:cubicBezTo>
                    <a:pt x="2271" y="345"/>
                    <a:pt x="2271" y="345"/>
                    <a:pt x="2271" y="345"/>
                  </a:cubicBezTo>
                  <a:moveTo>
                    <a:pt x="2573" y="345"/>
                  </a:moveTo>
                  <a:cubicBezTo>
                    <a:pt x="2567" y="345"/>
                    <a:pt x="2561" y="350"/>
                    <a:pt x="2561" y="356"/>
                  </a:cubicBezTo>
                  <a:cubicBezTo>
                    <a:pt x="2562" y="361"/>
                    <a:pt x="2567" y="366"/>
                    <a:pt x="2574" y="366"/>
                  </a:cubicBezTo>
                  <a:cubicBezTo>
                    <a:pt x="2580" y="366"/>
                    <a:pt x="2585" y="361"/>
                    <a:pt x="2585" y="355"/>
                  </a:cubicBezTo>
                  <a:cubicBezTo>
                    <a:pt x="2585" y="350"/>
                    <a:pt x="2580" y="345"/>
                    <a:pt x="2573" y="345"/>
                  </a:cubicBezTo>
                  <a:cubicBezTo>
                    <a:pt x="2573" y="345"/>
                    <a:pt x="2573" y="345"/>
                    <a:pt x="2573" y="345"/>
                  </a:cubicBezTo>
                  <a:moveTo>
                    <a:pt x="2304" y="345"/>
                  </a:moveTo>
                  <a:cubicBezTo>
                    <a:pt x="2298" y="345"/>
                    <a:pt x="2292" y="350"/>
                    <a:pt x="2292" y="355"/>
                  </a:cubicBezTo>
                  <a:cubicBezTo>
                    <a:pt x="2291" y="361"/>
                    <a:pt x="2296" y="366"/>
                    <a:pt x="2303" y="366"/>
                  </a:cubicBezTo>
                  <a:cubicBezTo>
                    <a:pt x="2309" y="366"/>
                    <a:pt x="2315" y="361"/>
                    <a:pt x="2315" y="355"/>
                  </a:cubicBezTo>
                  <a:cubicBezTo>
                    <a:pt x="2316" y="350"/>
                    <a:pt x="2311" y="345"/>
                    <a:pt x="2304" y="345"/>
                  </a:cubicBezTo>
                  <a:cubicBezTo>
                    <a:pt x="2304" y="345"/>
                    <a:pt x="2304" y="345"/>
                    <a:pt x="2304" y="345"/>
                  </a:cubicBezTo>
                  <a:moveTo>
                    <a:pt x="2338" y="345"/>
                  </a:moveTo>
                  <a:cubicBezTo>
                    <a:pt x="2331" y="345"/>
                    <a:pt x="2326" y="350"/>
                    <a:pt x="2325" y="355"/>
                  </a:cubicBezTo>
                  <a:cubicBezTo>
                    <a:pt x="2325" y="361"/>
                    <a:pt x="2330" y="365"/>
                    <a:pt x="2336" y="365"/>
                  </a:cubicBezTo>
                  <a:cubicBezTo>
                    <a:pt x="2343" y="365"/>
                    <a:pt x="2348" y="361"/>
                    <a:pt x="2349" y="355"/>
                  </a:cubicBezTo>
                  <a:cubicBezTo>
                    <a:pt x="2349" y="349"/>
                    <a:pt x="2344" y="345"/>
                    <a:pt x="2338" y="345"/>
                  </a:cubicBezTo>
                  <a:cubicBezTo>
                    <a:pt x="2338" y="345"/>
                    <a:pt x="2338" y="345"/>
                    <a:pt x="2338" y="345"/>
                  </a:cubicBezTo>
                  <a:moveTo>
                    <a:pt x="2371" y="345"/>
                  </a:moveTo>
                  <a:cubicBezTo>
                    <a:pt x="2365" y="345"/>
                    <a:pt x="2359" y="349"/>
                    <a:pt x="2359" y="355"/>
                  </a:cubicBezTo>
                  <a:cubicBezTo>
                    <a:pt x="2359" y="361"/>
                    <a:pt x="2364" y="365"/>
                    <a:pt x="2370" y="365"/>
                  </a:cubicBezTo>
                  <a:cubicBezTo>
                    <a:pt x="2377" y="365"/>
                    <a:pt x="2382" y="360"/>
                    <a:pt x="2383" y="355"/>
                  </a:cubicBezTo>
                  <a:cubicBezTo>
                    <a:pt x="2383" y="349"/>
                    <a:pt x="2378" y="345"/>
                    <a:pt x="2371" y="345"/>
                  </a:cubicBezTo>
                  <a:cubicBezTo>
                    <a:pt x="2371" y="345"/>
                    <a:pt x="2371" y="345"/>
                    <a:pt x="2371" y="345"/>
                  </a:cubicBezTo>
                  <a:moveTo>
                    <a:pt x="2405" y="344"/>
                  </a:moveTo>
                  <a:cubicBezTo>
                    <a:pt x="2399" y="344"/>
                    <a:pt x="2393" y="349"/>
                    <a:pt x="2393" y="355"/>
                  </a:cubicBezTo>
                  <a:cubicBezTo>
                    <a:pt x="2393" y="360"/>
                    <a:pt x="2398" y="365"/>
                    <a:pt x="2404" y="365"/>
                  </a:cubicBezTo>
                  <a:cubicBezTo>
                    <a:pt x="2411" y="365"/>
                    <a:pt x="2416" y="360"/>
                    <a:pt x="2417" y="355"/>
                  </a:cubicBezTo>
                  <a:cubicBezTo>
                    <a:pt x="2417" y="349"/>
                    <a:pt x="2412" y="344"/>
                    <a:pt x="2405" y="344"/>
                  </a:cubicBezTo>
                  <a:cubicBezTo>
                    <a:pt x="2405" y="344"/>
                    <a:pt x="2405" y="344"/>
                    <a:pt x="2405" y="344"/>
                  </a:cubicBezTo>
                  <a:moveTo>
                    <a:pt x="2607" y="344"/>
                  </a:moveTo>
                  <a:cubicBezTo>
                    <a:pt x="2601" y="344"/>
                    <a:pt x="2596" y="349"/>
                    <a:pt x="2596" y="355"/>
                  </a:cubicBezTo>
                  <a:cubicBezTo>
                    <a:pt x="2596" y="360"/>
                    <a:pt x="2602" y="365"/>
                    <a:pt x="2608" y="365"/>
                  </a:cubicBezTo>
                  <a:cubicBezTo>
                    <a:pt x="2615" y="365"/>
                    <a:pt x="2620" y="360"/>
                    <a:pt x="2620" y="354"/>
                  </a:cubicBezTo>
                  <a:cubicBezTo>
                    <a:pt x="2619" y="349"/>
                    <a:pt x="2614" y="344"/>
                    <a:pt x="2607" y="344"/>
                  </a:cubicBezTo>
                  <a:cubicBezTo>
                    <a:pt x="2607" y="344"/>
                    <a:pt x="2607" y="344"/>
                    <a:pt x="2607" y="344"/>
                  </a:cubicBezTo>
                  <a:moveTo>
                    <a:pt x="2439" y="344"/>
                  </a:moveTo>
                  <a:cubicBezTo>
                    <a:pt x="2432" y="344"/>
                    <a:pt x="2427" y="349"/>
                    <a:pt x="2427" y="354"/>
                  </a:cubicBezTo>
                  <a:cubicBezTo>
                    <a:pt x="2426" y="360"/>
                    <a:pt x="2432" y="365"/>
                    <a:pt x="2438" y="365"/>
                  </a:cubicBezTo>
                  <a:cubicBezTo>
                    <a:pt x="2445" y="365"/>
                    <a:pt x="2450" y="360"/>
                    <a:pt x="2450" y="354"/>
                  </a:cubicBezTo>
                  <a:cubicBezTo>
                    <a:pt x="2450" y="349"/>
                    <a:pt x="2445" y="344"/>
                    <a:pt x="2439" y="344"/>
                  </a:cubicBezTo>
                  <a:cubicBezTo>
                    <a:pt x="2439" y="344"/>
                    <a:pt x="2439" y="344"/>
                    <a:pt x="2439" y="344"/>
                  </a:cubicBezTo>
                  <a:moveTo>
                    <a:pt x="2641" y="344"/>
                  </a:moveTo>
                  <a:cubicBezTo>
                    <a:pt x="2634" y="344"/>
                    <a:pt x="2629" y="349"/>
                    <a:pt x="2629" y="354"/>
                  </a:cubicBezTo>
                  <a:cubicBezTo>
                    <a:pt x="2630" y="360"/>
                    <a:pt x="2635" y="364"/>
                    <a:pt x="2642" y="364"/>
                  </a:cubicBezTo>
                  <a:cubicBezTo>
                    <a:pt x="2648" y="364"/>
                    <a:pt x="2653" y="360"/>
                    <a:pt x="2653" y="354"/>
                  </a:cubicBezTo>
                  <a:cubicBezTo>
                    <a:pt x="2653" y="348"/>
                    <a:pt x="2647" y="344"/>
                    <a:pt x="2641" y="344"/>
                  </a:cubicBezTo>
                  <a:cubicBezTo>
                    <a:pt x="2641" y="344"/>
                    <a:pt x="2641" y="344"/>
                    <a:pt x="2641" y="344"/>
                  </a:cubicBezTo>
                  <a:moveTo>
                    <a:pt x="2472" y="344"/>
                  </a:moveTo>
                  <a:cubicBezTo>
                    <a:pt x="2466" y="344"/>
                    <a:pt x="2460" y="349"/>
                    <a:pt x="2460" y="354"/>
                  </a:cubicBezTo>
                  <a:cubicBezTo>
                    <a:pt x="2460" y="360"/>
                    <a:pt x="2465" y="364"/>
                    <a:pt x="2472" y="364"/>
                  </a:cubicBezTo>
                  <a:cubicBezTo>
                    <a:pt x="2478" y="364"/>
                    <a:pt x="2484" y="360"/>
                    <a:pt x="2484" y="354"/>
                  </a:cubicBezTo>
                  <a:cubicBezTo>
                    <a:pt x="2484" y="348"/>
                    <a:pt x="2479" y="344"/>
                    <a:pt x="2472" y="344"/>
                  </a:cubicBezTo>
                  <a:cubicBezTo>
                    <a:pt x="2472" y="344"/>
                    <a:pt x="2472" y="344"/>
                    <a:pt x="2472" y="344"/>
                  </a:cubicBezTo>
                  <a:moveTo>
                    <a:pt x="2674" y="344"/>
                  </a:moveTo>
                  <a:cubicBezTo>
                    <a:pt x="2667" y="344"/>
                    <a:pt x="2662" y="348"/>
                    <a:pt x="2663" y="354"/>
                  </a:cubicBezTo>
                  <a:cubicBezTo>
                    <a:pt x="2663" y="360"/>
                    <a:pt x="2669" y="364"/>
                    <a:pt x="2675" y="364"/>
                  </a:cubicBezTo>
                  <a:cubicBezTo>
                    <a:pt x="2682" y="364"/>
                    <a:pt x="2687" y="359"/>
                    <a:pt x="2686" y="354"/>
                  </a:cubicBezTo>
                  <a:cubicBezTo>
                    <a:pt x="2686" y="348"/>
                    <a:pt x="2680" y="344"/>
                    <a:pt x="2674" y="344"/>
                  </a:cubicBezTo>
                  <a:cubicBezTo>
                    <a:pt x="2674" y="344"/>
                    <a:pt x="2674" y="344"/>
                    <a:pt x="2674" y="344"/>
                  </a:cubicBezTo>
                  <a:moveTo>
                    <a:pt x="2505" y="344"/>
                  </a:moveTo>
                  <a:cubicBezTo>
                    <a:pt x="2499" y="344"/>
                    <a:pt x="2494" y="348"/>
                    <a:pt x="2494" y="354"/>
                  </a:cubicBezTo>
                  <a:cubicBezTo>
                    <a:pt x="2494" y="360"/>
                    <a:pt x="2499" y="364"/>
                    <a:pt x="2505" y="364"/>
                  </a:cubicBezTo>
                  <a:cubicBezTo>
                    <a:pt x="2512" y="364"/>
                    <a:pt x="2517" y="359"/>
                    <a:pt x="2517" y="354"/>
                  </a:cubicBezTo>
                  <a:cubicBezTo>
                    <a:pt x="2517" y="348"/>
                    <a:pt x="2512" y="344"/>
                    <a:pt x="2506" y="344"/>
                  </a:cubicBezTo>
                  <a:cubicBezTo>
                    <a:pt x="2505" y="344"/>
                    <a:pt x="2505" y="344"/>
                    <a:pt x="2505" y="344"/>
                  </a:cubicBezTo>
                  <a:moveTo>
                    <a:pt x="2707" y="343"/>
                  </a:moveTo>
                  <a:cubicBezTo>
                    <a:pt x="2701" y="343"/>
                    <a:pt x="2696" y="348"/>
                    <a:pt x="2696" y="354"/>
                  </a:cubicBezTo>
                  <a:cubicBezTo>
                    <a:pt x="2697" y="359"/>
                    <a:pt x="2702" y="364"/>
                    <a:pt x="2709" y="364"/>
                  </a:cubicBezTo>
                  <a:cubicBezTo>
                    <a:pt x="2715" y="364"/>
                    <a:pt x="2720" y="359"/>
                    <a:pt x="2720" y="354"/>
                  </a:cubicBezTo>
                  <a:cubicBezTo>
                    <a:pt x="2719" y="348"/>
                    <a:pt x="2714" y="343"/>
                    <a:pt x="2707" y="343"/>
                  </a:cubicBezTo>
                  <a:cubicBezTo>
                    <a:pt x="2707" y="343"/>
                    <a:pt x="2707" y="343"/>
                    <a:pt x="2707" y="343"/>
                  </a:cubicBezTo>
                  <a:moveTo>
                    <a:pt x="2539" y="343"/>
                  </a:moveTo>
                  <a:cubicBezTo>
                    <a:pt x="2533" y="343"/>
                    <a:pt x="2527" y="348"/>
                    <a:pt x="2527" y="354"/>
                  </a:cubicBezTo>
                  <a:cubicBezTo>
                    <a:pt x="2527" y="359"/>
                    <a:pt x="2533" y="364"/>
                    <a:pt x="2539" y="364"/>
                  </a:cubicBezTo>
                  <a:cubicBezTo>
                    <a:pt x="2546" y="364"/>
                    <a:pt x="2551" y="359"/>
                    <a:pt x="2551" y="354"/>
                  </a:cubicBezTo>
                  <a:cubicBezTo>
                    <a:pt x="2551" y="348"/>
                    <a:pt x="2546" y="343"/>
                    <a:pt x="2539" y="343"/>
                  </a:cubicBezTo>
                  <a:cubicBezTo>
                    <a:pt x="2539" y="343"/>
                    <a:pt x="2539" y="343"/>
                    <a:pt x="2539" y="343"/>
                  </a:cubicBezTo>
                  <a:moveTo>
                    <a:pt x="2741" y="343"/>
                  </a:moveTo>
                  <a:cubicBezTo>
                    <a:pt x="2734" y="343"/>
                    <a:pt x="2729" y="348"/>
                    <a:pt x="2730" y="353"/>
                  </a:cubicBezTo>
                  <a:cubicBezTo>
                    <a:pt x="2730" y="359"/>
                    <a:pt x="2736" y="364"/>
                    <a:pt x="2743" y="364"/>
                  </a:cubicBezTo>
                  <a:cubicBezTo>
                    <a:pt x="2749" y="364"/>
                    <a:pt x="2754" y="359"/>
                    <a:pt x="2753" y="353"/>
                  </a:cubicBezTo>
                  <a:cubicBezTo>
                    <a:pt x="2753" y="348"/>
                    <a:pt x="2747" y="343"/>
                    <a:pt x="2741" y="343"/>
                  </a:cubicBezTo>
                  <a:cubicBezTo>
                    <a:pt x="2741" y="343"/>
                    <a:pt x="2741" y="343"/>
                    <a:pt x="2741" y="343"/>
                  </a:cubicBezTo>
                  <a:moveTo>
                    <a:pt x="2941" y="343"/>
                  </a:moveTo>
                  <a:cubicBezTo>
                    <a:pt x="2934" y="343"/>
                    <a:pt x="2930" y="347"/>
                    <a:pt x="2931" y="353"/>
                  </a:cubicBezTo>
                  <a:cubicBezTo>
                    <a:pt x="2932" y="358"/>
                    <a:pt x="2938" y="362"/>
                    <a:pt x="2944" y="362"/>
                  </a:cubicBezTo>
                  <a:cubicBezTo>
                    <a:pt x="2950" y="362"/>
                    <a:pt x="2954" y="358"/>
                    <a:pt x="2953" y="353"/>
                  </a:cubicBezTo>
                  <a:cubicBezTo>
                    <a:pt x="2952" y="347"/>
                    <a:pt x="2947" y="343"/>
                    <a:pt x="2941" y="343"/>
                  </a:cubicBezTo>
                  <a:cubicBezTo>
                    <a:pt x="2941" y="343"/>
                    <a:pt x="2941" y="343"/>
                    <a:pt x="2941" y="343"/>
                  </a:cubicBezTo>
                  <a:moveTo>
                    <a:pt x="2775" y="343"/>
                  </a:moveTo>
                  <a:cubicBezTo>
                    <a:pt x="2768" y="343"/>
                    <a:pt x="2763" y="348"/>
                    <a:pt x="2764" y="353"/>
                  </a:cubicBezTo>
                  <a:cubicBezTo>
                    <a:pt x="2764" y="359"/>
                    <a:pt x="2770" y="363"/>
                    <a:pt x="2777" y="363"/>
                  </a:cubicBezTo>
                  <a:cubicBezTo>
                    <a:pt x="2783" y="363"/>
                    <a:pt x="2788" y="359"/>
                    <a:pt x="2787" y="353"/>
                  </a:cubicBezTo>
                  <a:cubicBezTo>
                    <a:pt x="2787" y="347"/>
                    <a:pt x="2781" y="343"/>
                    <a:pt x="2775" y="343"/>
                  </a:cubicBezTo>
                  <a:cubicBezTo>
                    <a:pt x="2775" y="343"/>
                    <a:pt x="2775" y="343"/>
                    <a:pt x="2775" y="343"/>
                  </a:cubicBezTo>
                  <a:moveTo>
                    <a:pt x="2975" y="343"/>
                  </a:moveTo>
                  <a:cubicBezTo>
                    <a:pt x="2969" y="343"/>
                    <a:pt x="2965" y="347"/>
                    <a:pt x="2966" y="352"/>
                  </a:cubicBezTo>
                  <a:cubicBezTo>
                    <a:pt x="2966" y="358"/>
                    <a:pt x="2972" y="362"/>
                    <a:pt x="2978" y="362"/>
                  </a:cubicBezTo>
                  <a:cubicBezTo>
                    <a:pt x="2985" y="362"/>
                    <a:pt x="2989" y="358"/>
                    <a:pt x="2988" y="352"/>
                  </a:cubicBezTo>
                  <a:cubicBezTo>
                    <a:pt x="2987" y="347"/>
                    <a:pt x="2981" y="343"/>
                    <a:pt x="2975" y="343"/>
                  </a:cubicBezTo>
                  <a:cubicBezTo>
                    <a:pt x="2975" y="343"/>
                    <a:pt x="2975" y="343"/>
                    <a:pt x="2975" y="343"/>
                  </a:cubicBezTo>
                  <a:moveTo>
                    <a:pt x="2808" y="343"/>
                  </a:moveTo>
                  <a:cubicBezTo>
                    <a:pt x="2802" y="343"/>
                    <a:pt x="2797" y="347"/>
                    <a:pt x="2797" y="353"/>
                  </a:cubicBezTo>
                  <a:cubicBezTo>
                    <a:pt x="2798" y="359"/>
                    <a:pt x="2804" y="363"/>
                    <a:pt x="2810" y="363"/>
                  </a:cubicBezTo>
                  <a:cubicBezTo>
                    <a:pt x="2817" y="363"/>
                    <a:pt x="2822" y="358"/>
                    <a:pt x="2821" y="353"/>
                  </a:cubicBezTo>
                  <a:cubicBezTo>
                    <a:pt x="2820" y="347"/>
                    <a:pt x="2815" y="343"/>
                    <a:pt x="2808" y="343"/>
                  </a:cubicBezTo>
                  <a:cubicBezTo>
                    <a:pt x="2808" y="343"/>
                    <a:pt x="2808" y="343"/>
                    <a:pt x="2808" y="343"/>
                  </a:cubicBezTo>
                  <a:moveTo>
                    <a:pt x="2842" y="342"/>
                  </a:moveTo>
                  <a:cubicBezTo>
                    <a:pt x="2835" y="342"/>
                    <a:pt x="2830" y="347"/>
                    <a:pt x="2831" y="353"/>
                  </a:cubicBezTo>
                  <a:cubicBezTo>
                    <a:pt x="2832" y="358"/>
                    <a:pt x="2838" y="363"/>
                    <a:pt x="2844" y="363"/>
                  </a:cubicBezTo>
                  <a:cubicBezTo>
                    <a:pt x="2851" y="363"/>
                    <a:pt x="2855" y="358"/>
                    <a:pt x="2855" y="353"/>
                  </a:cubicBezTo>
                  <a:cubicBezTo>
                    <a:pt x="2854" y="347"/>
                    <a:pt x="2848" y="342"/>
                    <a:pt x="2842" y="342"/>
                  </a:cubicBezTo>
                  <a:cubicBezTo>
                    <a:pt x="2842" y="342"/>
                    <a:pt x="2842" y="342"/>
                    <a:pt x="2842" y="342"/>
                  </a:cubicBezTo>
                  <a:moveTo>
                    <a:pt x="2875" y="342"/>
                  </a:moveTo>
                  <a:cubicBezTo>
                    <a:pt x="2868" y="342"/>
                    <a:pt x="2864" y="347"/>
                    <a:pt x="2865" y="352"/>
                  </a:cubicBezTo>
                  <a:cubicBezTo>
                    <a:pt x="2865" y="358"/>
                    <a:pt x="2871" y="363"/>
                    <a:pt x="2878" y="363"/>
                  </a:cubicBezTo>
                  <a:cubicBezTo>
                    <a:pt x="2884" y="363"/>
                    <a:pt x="2889" y="358"/>
                    <a:pt x="2888" y="352"/>
                  </a:cubicBezTo>
                  <a:cubicBezTo>
                    <a:pt x="2887" y="347"/>
                    <a:pt x="2881" y="342"/>
                    <a:pt x="2875" y="342"/>
                  </a:cubicBezTo>
                  <a:cubicBezTo>
                    <a:pt x="2875" y="342"/>
                    <a:pt x="2875" y="342"/>
                    <a:pt x="2875" y="342"/>
                  </a:cubicBezTo>
                  <a:moveTo>
                    <a:pt x="2908" y="342"/>
                  </a:moveTo>
                  <a:cubicBezTo>
                    <a:pt x="2902" y="342"/>
                    <a:pt x="2897" y="347"/>
                    <a:pt x="2898" y="352"/>
                  </a:cubicBezTo>
                  <a:cubicBezTo>
                    <a:pt x="2899" y="358"/>
                    <a:pt x="2905" y="362"/>
                    <a:pt x="2912" y="362"/>
                  </a:cubicBezTo>
                  <a:cubicBezTo>
                    <a:pt x="2918" y="362"/>
                    <a:pt x="2923" y="358"/>
                    <a:pt x="2922" y="352"/>
                  </a:cubicBezTo>
                  <a:cubicBezTo>
                    <a:pt x="2921" y="346"/>
                    <a:pt x="2915" y="342"/>
                    <a:pt x="2909" y="342"/>
                  </a:cubicBezTo>
                  <a:cubicBezTo>
                    <a:pt x="2909" y="342"/>
                    <a:pt x="2908" y="342"/>
                    <a:pt x="2908" y="342"/>
                  </a:cubicBezTo>
                  <a:moveTo>
                    <a:pt x="3008" y="341"/>
                  </a:moveTo>
                  <a:cubicBezTo>
                    <a:pt x="3002" y="341"/>
                    <a:pt x="2997" y="346"/>
                    <a:pt x="2998" y="351"/>
                  </a:cubicBezTo>
                  <a:cubicBezTo>
                    <a:pt x="2999" y="357"/>
                    <a:pt x="3005" y="362"/>
                    <a:pt x="3012" y="362"/>
                  </a:cubicBezTo>
                  <a:cubicBezTo>
                    <a:pt x="3018" y="362"/>
                    <a:pt x="3023" y="357"/>
                    <a:pt x="3022" y="351"/>
                  </a:cubicBezTo>
                  <a:cubicBezTo>
                    <a:pt x="3021" y="346"/>
                    <a:pt x="3015" y="341"/>
                    <a:pt x="3008" y="341"/>
                  </a:cubicBezTo>
                  <a:cubicBezTo>
                    <a:pt x="3008" y="341"/>
                    <a:pt x="3008" y="341"/>
                    <a:pt x="3008" y="341"/>
                  </a:cubicBezTo>
                  <a:moveTo>
                    <a:pt x="3041" y="341"/>
                  </a:moveTo>
                  <a:cubicBezTo>
                    <a:pt x="3035" y="341"/>
                    <a:pt x="3030" y="346"/>
                    <a:pt x="3031" y="351"/>
                  </a:cubicBezTo>
                  <a:cubicBezTo>
                    <a:pt x="3033" y="357"/>
                    <a:pt x="3039" y="361"/>
                    <a:pt x="3045" y="361"/>
                  </a:cubicBezTo>
                  <a:cubicBezTo>
                    <a:pt x="3052" y="361"/>
                    <a:pt x="3056" y="357"/>
                    <a:pt x="3055" y="351"/>
                  </a:cubicBezTo>
                  <a:cubicBezTo>
                    <a:pt x="3054" y="345"/>
                    <a:pt x="3048" y="341"/>
                    <a:pt x="3041" y="341"/>
                  </a:cubicBezTo>
                  <a:cubicBezTo>
                    <a:pt x="3041" y="341"/>
                    <a:pt x="3041" y="341"/>
                    <a:pt x="3041" y="341"/>
                  </a:cubicBezTo>
                  <a:moveTo>
                    <a:pt x="3074" y="341"/>
                  </a:moveTo>
                  <a:cubicBezTo>
                    <a:pt x="3068" y="341"/>
                    <a:pt x="3064" y="345"/>
                    <a:pt x="3065" y="351"/>
                  </a:cubicBezTo>
                  <a:cubicBezTo>
                    <a:pt x="3066" y="357"/>
                    <a:pt x="3072" y="361"/>
                    <a:pt x="3079" y="361"/>
                  </a:cubicBezTo>
                  <a:cubicBezTo>
                    <a:pt x="3085" y="361"/>
                    <a:pt x="3090" y="356"/>
                    <a:pt x="3088" y="351"/>
                  </a:cubicBezTo>
                  <a:cubicBezTo>
                    <a:pt x="3087" y="345"/>
                    <a:pt x="3081" y="341"/>
                    <a:pt x="3075" y="341"/>
                  </a:cubicBezTo>
                  <a:cubicBezTo>
                    <a:pt x="3075" y="341"/>
                    <a:pt x="3075" y="341"/>
                    <a:pt x="3074" y="341"/>
                  </a:cubicBezTo>
                  <a:moveTo>
                    <a:pt x="3108" y="340"/>
                  </a:moveTo>
                  <a:cubicBezTo>
                    <a:pt x="3102" y="340"/>
                    <a:pt x="3097" y="345"/>
                    <a:pt x="3099" y="351"/>
                  </a:cubicBezTo>
                  <a:cubicBezTo>
                    <a:pt x="3100" y="356"/>
                    <a:pt x="3106" y="361"/>
                    <a:pt x="3113" y="361"/>
                  </a:cubicBezTo>
                  <a:cubicBezTo>
                    <a:pt x="3119" y="361"/>
                    <a:pt x="3123" y="356"/>
                    <a:pt x="3122" y="351"/>
                  </a:cubicBezTo>
                  <a:cubicBezTo>
                    <a:pt x="3121" y="345"/>
                    <a:pt x="3115" y="340"/>
                    <a:pt x="3108" y="340"/>
                  </a:cubicBezTo>
                  <a:cubicBezTo>
                    <a:pt x="3108" y="340"/>
                    <a:pt x="3108" y="340"/>
                    <a:pt x="3108" y="340"/>
                  </a:cubicBezTo>
                  <a:moveTo>
                    <a:pt x="3142" y="340"/>
                  </a:moveTo>
                  <a:cubicBezTo>
                    <a:pt x="3135" y="340"/>
                    <a:pt x="3131" y="345"/>
                    <a:pt x="3133" y="350"/>
                  </a:cubicBezTo>
                  <a:cubicBezTo>
                    <a:pt x="3134" y="356"/>
                    <a:pt x="3140" y="361"/>
                    <a:pt x="3147" y="361"/>
                  </a:cubicBezTo>
                  <a:cubicBezTo>
                    <a:pt x="3153" y="361"/>
                    <a:pt x="3158" y="356"/>
                    <a:pt x="3156" y="350"/>
                  </a:cubicBezTo>
                  <a:cubicBezTo>
                    <a:pt x="3155" y="345"/>
                    <a:pt x="3148" y="340"/>
                    <a:pt x="3142" y="340"/>
                  </a:cubicBezTo>
                  <a:cubicBezTo>
                    <a:pt x="3142" y="340"/>
                    <a:pt x="3142" y="340"/>
                    <a:pt x="3142" y="340"/>
                  </a:cubicBezTo>
                  <a:moveTo>
                    <a:pt x="3175" y="340"/>
                  </a:moveTo>
                  <a:cubicBezTo>
                    <a:pt x="3169" y="340"/>
                    <a:pt x="3165" y="344"/>
                    <a:pt x="3166" y="350"/>
                  </a:cubicBezTo>
                  <a:cubicBezTo>
                    <a:pt x="3167" y="356"/>
                    <a:pt x="3174" y="360"/>
                    <a:pt x="3180" y="360"/>
                  </a:cubicBezTo>
                  <a:cubicBezTo>
                    <a:pt x="3187" y="360"/>
                    <a:pt x="3191" y="356"/>
                    <a:pt x="3190" y="350"/>
                  </a:cubicBezTo>
                  <a:cubicBezTo>
                    <a:pt x="3188" y="344"/>
                    <a:pt x="3182" y="340"/>
                    <a:pt x="3175" y="340"/>
                  </a:cubicBezTo>
                  <a:cubicBezTo>
                    <a:pt x="3175" y="340"/>
                    <a:pt x="3175" y="340"/>
                    <a:pt x="3175" y="340"/>
                  </a:cubicBezTo>
                  <a:moveTo>
                    <a:pt x="3209" y="340"/>
                  </a:moveTo>
                  <a:cubicBezTo>
                    <a:pt x="3202" y="340"/>
                    <a:pt x="3198" y="344"/>
                    <a:pt x="3200" y="350"/>
                  </a:cubicBezTo>
                  <a:cubicBezTo>
                    <a:pt x="3201" y="356"/>
                    <a:pt x="3208" y="360"/>
                    <a:pt x="3214" y="360"/>
                  </a:cubicBezTo>
                  <a:cubicBezTo>
                    <a:pt x="3221" y="360"/>
                    <a:pt x="3225" y="355"/>
                    <a:pt x="3223" y="350"/>
                  </a:cubicBezTo>
                  <a:cubicBezTo>
                    <a:pt x="3222" y="344"/>
                    <a:pt x="3215" y="340"/>
                    <a:pt x="3209" y="340"/>
                  </a:cubicBezTo>
                  <a:cubicBezTo>
                    <a:pt x="3209" y="340"/>
                    <a:pt x="3209" y="340"/>
                    <a:pt x="3209" y="340"/>
                  </a:cubicBezTo>
                  <a:moveTo>
                    <a:pt x="3242" y="339"/>
                  </a:moveTo>
                  <a:cubicBezTo>
                    <a:pt x="3236" y="339"/>
                    <a:pt x="3232" y="344"/>
                    <a:pt x="3233" y="350"/>
                  </a:cubicBezTo>
                  <a:cubicBezTo>
                    <a:pt x="3235" y="355"/>
                    <a:pt x="3241" y="360"/>
                    <a:pt x="3248" y="360"/>
                  </a:cubicBezTo>
                  <a:cubicBezTo>
                    <a:pt x="3254" y="360"/>
                    <a:pt x="3258" y="355"/>
                    <a:pt x="3257" y="349"/>
                  </a:cubicBezTo>
                  <a:cubicBezTo>
                    <a:pt x="3255" y="344"/>
                    <a:pt x="3249" y="339"/>
                    <a:pt x="3242" y="339"/>
                  </a:cubicBezTo>
                  <a:cubicBezTo>
                    <a:pt x="3242" y="339"/>
                    <a:pt x="3242" y="339"/>
                    <a:pt x="3242" y="339"/>
                  </a:cubicBezTo>
                  <a:moveTo>
                    <a:pt x="3276" y="339"/>
                  </a:moveTo>
                  <a:cubicBezTo>
                    <a:pt x="3269" y="339"/>
                    <a:pt x="3265" y="344"/>
                    <a:pt x="3267" y="349"/>
                  </a:cubicBezTo>
                  <a:cubicBezTo>
                    <a:pt x="3268" y="355"/>
                    <a:pt x="3275" y="360"/>
                    <a:pt x="3282" y="360"/>
                  </a:cubicBezTo>
                  <a:cubicBezTo>
                    <a:pt x="3288" y="360"/>
                    <a:pt x="3292" y="355"/>
                    <a:pt x="3290" y="349"/>
                  </a:cubicBezTo>
                  <a:cubicBezTo>
                    <a:pt x="3289" y="344"/>
                    <a:pt x="3282" y="339"/>
                    <a:pt x="3276" y="339"/>
                  </a:cubicBezTo>
                  <a:cubicBezTo>
                    <a:pt x="3276" y="339"/>
                    <a:pt x="3276" y="339"/>
                    <a:pt x="3276" y="339"/>
                  </a:cubicBezTo>
                  <a:moveTo>
                    <a:pt x="3310" y="339"/>
                  </a:moveTo>
                  <a:cubicBezTo>
                    <a:pt x="3304" y="339"/>
                    <a:pt x="3300" y="343"/>
                    <a:pt x="3302" y="349"/>
                  </a:cubicBezTo>
                  <a:cubicBezTo>
                    <a:pt x="3303" y="355"/>
                    <a:pt x="3310" y="359"/>
                    <a:pt x="3317" y="359"/>
                  </a:cubicBezTo>
                  <a:cubicBezTo>
                    <a:pt x="3323" y="359"/>
                    <a:pt x="3327" y="355"/>
                    <a:pt x="3325" y="349"/>
                  </a:cubicBezTo>
                  <a:cubicBezTo>
                    <a:pt x="3324" y="343"/>
                    <a:pt x="3317" y="339"/>
                    <a:pt x="3311" y="339"/>
                  </a:cubicBezTo>
                  <a:cubicBezTo>
                    <a:pt x="3311" y="339"/>
                    <a:pt x="3310" y="339"/>
                    <a:pt x="3310" y="339"/>
                  </a:cubicBezTo>
                  <a:moveTo>
                    <a:pt x="3344" y="339"/>
                  </a:moveTo>
                  <a:cubicBezTo>
                    <a:pt x="3337" y="339"/>
                    <a:pt x="3333" y="343"/>
                    <a:pt x="3335" y="349"/>
                  </a:cubicBezTo>
                  <a:cubicBezTo>
                    <a:pt x="3337" y="355"/>
                    <a:pt x="3344" y="359"/>
                    <a:pt x="3350" y="359"/>
                  </a:cubicBezTo>
                  <a:cubicBezTo>
                    <a:pt x="3357" y="359"/>
                    <a:pt x="3361" y="354"/>
                    <a:pt x="3359" y="349"/>
                  </a:cubicBezTo>
                  <a:cubicBezTo>
                    <a:pt x="3357" y="343"/>
                    <a:pt x="3350" y="339"/>
                    <a:pt x="3344" y="339"/>
                  </a:cubicBezTo>
                  <a:cubicBezTo>
                    <a:pt x="3344" y="339"/>
                    <a:pt x="3344" y="339"/>
                    <a:pt x="3344" y="339"/>
                  </a:cubicBezTo>
                  <a:moveTo>
                    <a:pt x="3377" y="338"/>
                  </a:moveTo>
                  <a:cubicBezTo>
                    <a:pt x="3370" y="338"/>
                    <a:pt x="3367" y="343"/>
                    <a:pt x="3368" y="349"/>
                  </a:cubicBezTo>
                  <a:cubicBezTo>
                    <a:pt x="3370" y="354"/>
                    <a:pt x="3377" y="359"/>
                    <a:pt x="3383" y="359"/>
                  </a:cubicBezTo>
                  <a:cubicBezTo>
                    <a:pt x="3390" y="359"/>
                    <a:pt x="3394" y="354"/>
                    <a:pt x="3392" y="348"/>
                  </a:cubicBezTo>
                  <a:cubicBezTo>
                    <a:pt x="3390" y="343"/>
                    <a:pt x="3383" y="338"/>
                    <a:pt x="3377" y="338"/>
                  </a:cubicBezTo>
                  <a:cubicBezTo>
                    <a:pt x="3377" y="338"/>
                    <a:pt x="3377" y="338"/>
                    <a:pt x="3377" y="338"/>
                  </a:cubicBezTo>
                  <a:moveTo>
                    <a:pt x="3410" y="338"/>
                  </a:moveTo>
                  <a:cubicBezTo>
                    <a:pt x="3404" y="338"/>
                    <a:pt x="3400" y="343"/>
                    <a:pt x="3402" y="348"/>
                  </a:cubicBezTo>
                  <a:cubicBezTo>
                    <a:pt x="3404" y="354"/>
                    <a:pt x="3410" y="359"/>
                    <a:pt x="3417" y="359"/>
                  </a:cubicBezTo>
                  <a:cubicBezTo>
                    <a:pt x="3424" y="358"/>
                    <a:pt x="3427" y="354"/>
                    <a:pt x="3425" y="348"/>
                  </a:cubicBezTo>
                  <a:cubicBezTo>
                    <a:pt x="3423" y="343"/>
                    <a:pt x="3417" y="338"/>
                    <a:pt x="3410" y="338"/>
                  </a:cubicBezTo>
                  <a:cubicBezTo>
                    <a:pt x="3410" y="338"/>
                    <a:pt x="3410" y="338"/>
                    <a:pt x="3410" y="338"/>
                  </a:cubicBezTo>
                  <a:moveTo>
                    <a:pt x="3444" y="338"/>
                  </a:moveTo>
                  <a:cubicBezTo>
                    <a:pt x="3437" y="338"/>
                    <a:pt x="3433" y="342"/>
                    <a:pt x="3435" y="348"/>
                  </a:cubicBezTo>
                  <a:cubicBezTo>
                    <a:pt x="3437" y="354"/>
                    <a:pt x="3444" y="358"/>
                    <a:pt x="3451" y="358"/>
                  </a:cubicBezTo>
                  <a:cubicBezTo>
                    <a:pt x="3457" y="358"/>
                    <a:pt x="3461" y="354"/>
                    <a:pt x="3459" y="348"/>
                  </a:cubicBezTo>
                  <a:cubicBezTo>
                    <a:pt x="3457" y="342"/>
                    <a:pt x="3450" y="338"/>
                    <a:pt x="3444" y="338"/>
                  </a:cubicBezTo>
                  <a:cubicBezTo>
                    <a:pt x="3444" y="338"/>
                    <a:pt x="3444" y="338"/>
                    <a:pt x="3444" y="338"/>
                  </a:cubicBezTo>
                  <a:moveTo>
                    <a:pt x="3477" y="337"/>
                  </a:moveTo>
                  <a:cubicBezTo>
                    <a:pt x="3471" y="338"/>
                    <a:pt x="3467" y="342"/>
                    <a:pt x="3469" y="348"/>
                  </a:cubicBezTo>
                  <a:cubicBezTo>
                    <a:pt x="3471" y="354"/>
                    <a:pt x="3478" y="358"/>
                    <a:pt x="3485" y="358"/>
                  </a:cubicBezTo>
                  <a:cubicBezTo>
                    <a:pt x="3491" y="358"/>
                    <a:pt x="3495" y="353"/>
                    <a:pt x="3493" y="348"/>
                  </a:cubicBezTo>
                  <a:cubicBezTo>
                    <a:pt x="3491" y="342"/>
                    <a:pt x="3484" y="337"/>
                    <a:pt x="3478" y="337"/>
                  </a:cubicBezTo>
                  <a:cubicBezTo>
                    <a:pt x="3478" y="337"/>
                    <a:pt x="3478" y="337"/>
                    <a:pt x="3477" y="337"/>
                  </a:cubicBezTo>
                  <a:moveTo>
                    <a:pt x="3511" y="337"/>
                  </a:moveTo>
                  <a:cubicBezTo>
                    <a:pt x="3504" y="337"/>
                    <a:pt x="3501" y="342"/>
                    <a:pt x="3503" y="348"/>
                  </a:cubicBezTo>
                  <a:cubicBezTo>
                    <a:pt x="3505" y="353"/>
                    <a:pt x="3512" y="358"/>
                    <a:pt x="3518" y="358"/>
                  </a:cubicBezTo>
                  <a:cubicBezTo>
                    <a:pt x="3525" y="358"/>
                    <a:pt x="3528" y="353"/>
                    <a:pt x="3526" y="347"/>
                  </a:cubicBezTo>
                  <a:cubicBezTo>
                    <a:pt x="3524" y="342"/>
                    <a:pt x="3517" y="337"/>
                    <a:pt x="3511" y="337"/>
                  </a:cubicBezTo>
                  <a:cubicBezTo>
                    <a:pt x="3511" y="337"/>
                    <a:pt x="3511" y="337"/>
                    <a:pt x="3511" y="337"/>
                  </a:cubicBezTo>
                  <a:moveTo>
                    <a:pt x="3544" y="337"/>
                  </a:moveTo>
                  <a:cubicBezTo>
                    <a:pt x="3538" y="337"/>
                    <a:pt x="3534" y="342"/>
                    <a:pt x="3536" y="347"/>
                  </a:cubicBezTo>
                  <a:cubicBezTo>
                    <a:pt x="3539" y="353"/>
                    <a:pt x="3546" y="358"/>
                    <a:pt x="3552" y="358"/>
                  </a:cubicBezTo>
                  <a:cubicBezTo>
                    <a:pt x="3559" y="357"/>
                    <a:pt x="3562" y="353"/>
                    <a:pt x="3560" y="347"/>
                  </a:cubicBezTo>
                  <a:cubicBezTo>
                    <a:pt x="3558" y="342"/>
                    <a:pt x="3551" y="337"/>
                    <a:pt x="3544" y="337"/>
                  </a:cubicBezTo>
                  <a:cubicBezTo>
                    <a:pt x="3544" y="337"/>
                    <a:pt x="3544" y="337"/>
                    <a:pt x="3544" y="337"/>
                  </a:cubicBezTo>
                  <a:moveTo>
                    <a:pt x="3577" y="337"/>
                  </a:moveTo>
                  <a:cubicBezTo>
                    <a:pt x="3571" y="337"/>
                    <a:pt x="3568" y="341"/>
                    <a:pt x="3570" y="347"/>
                  </a:cubicBezTo>
                  <a:cubicBezTo>
                    <a:pt x="3572" y="353"/>
                    <a:pt x="3579" y="357"/>
                    <a:pt x="3586" y="357"/>
                  </a:cubicBezTo>
                  <a:cubicBezTo>
                    <a:pt x="3592" y="357"/>
                    <a:pt x="3596" y="353"/>
                    <a:pt x="3593" y="347"/>
                  </a:cubicBezTo>
                  <a:cubicBezTo>
                    <a:pt x="3591" y="341"/>
                    <a:pt x="3584" y="337"/>
                    <a:pt x="3578" y="337"/>
                  </a:cubicBezTo>
                  <a:cubicBezTo>
                    <a:pt x="3578" y="337"/>
                    <a:pt x="3578" y="337"/>
                    <a:pt x="3577" y="337"/>
                  </a:cubicBezTo>
                  <a:moveTo>
                    <a:pt x="3611" y="336"/>
                  </a:moveTo>
                  <a:cubicBezTo>
                    <a:pt x="3605" y="337"/>
                    <a:pt x="3601" y="341"/>
                    <a:pt x="3604" y="347"/>
                  </a:cubicBezTo>
                  <a:cubicBezTo>
                    <a:pt x="3606" y="352"/>
                    <a:pt x="3613" y="357"/>
                    <a:pt x="3619" y="357"/>
                  </a:cubicBezTo>
                  <a:cubicBezTo>
                    <a:pt x="3626" y="357"/>
                    <a:pt x="3629" y="352"/>
                    <a:pt x="3627" y="347"/>
                  </a:cubicBezTo>
                  <a:cubicBezTo>
                    <a:pt x="3625" y="341"/>
                    <a:pt x="3618" y="336"/>
                    <a:pt x="3611" y="336"/>
                  </a:cubicBezTo>
                  <a:cubicBezTo>
                    <a:pt x="3611" y="336"/>
                    <a:pt x="3611" y="336"/>
                    <a:pt x="3611" y="336"/>
                  </a:cubicBezTo>
                  <a:moveTo>
                    <a:pt x="3647" y="336"/>
                  </a:moveTo>
                  <a:cubicBezTo>
                    <a:pt x="3640" y="336"/>
                    <a:pt x="3637" y="341"/>
                    <a:pt x="3639" y="347"/>
                  </a:cubicBezTo>
                  <a:cubicBezTo>
                    <a:pt x="3642" y="352"/>
                    <a:pt x="3649" y="357"/>
                    <a:pt x="3655" y="357"/>
                  </a:cubicBezTo>
                  <a:cubicBezTo>
                    <a:pt x="3662" y="357"/>
                    <a:pt x="3665" y="352"/>
                    <a:pt x="3663" y="346"/>
                  </a:cubicBezTo>
                  <a:cubicBezTo>
                    <a:pt x="3660" y="341"/>
                    <a:pt x="3653" y="336"/>
                    <a:pt x="3647" y="336"/>
                  </a:cubicBezTo>
                  <a:cubicBezTo>
                    <a:pt x="3647" y="336"/>
                    <a:pt x="3647" y="336"/>
                    <a:pt x="3647" y="336"/>
                  </a:cubicBezTo>
                  <a:moveTo>
                    <a:pt x="3680" y="336"/>
                  </a:moveTo>
                  <a:cubicBezTo>
                    <a:pt x="3673" y="336"/>
                    <a:pt x="3670" y="341"/>
                    <a:pt x="3672" y="346"/>
                  </a:cubicBezTo>
                  <a:cubicBezTo>
                    <a:pt x="3675" y="352"/>
                    <a:pt x="3682" y="357"/>
                    <a:pt x="3689" y="356"/>
                  </a:cubicBezTo>
                  <a:cubicBezTo>
                    <a:pt x="3695" y="356"/>
                    <a:pt x="3698" y="352"/>
                    <a:pt x="3696" y="346"/>
                  </a:cubicBezTo>
                  <a:cubicBezTo>
                    <a:pt x="3693" y="340"/>
                    <a:pt x="3686" y="336"/>
                    <a:pt x="3680" y="336"/>
                  </a:cubicBezTo>
                  <a:cubicBezTo>
                    <a:pt x="3680" y="336"/>
                    <a:pt x="3680" y="336"/>
                    <a:pt x="3680" y="336"/>
                  </a:cubicBezTo>
                  <a:moveTo>
                    <a:pt x="3713" y="336"/>
                  </a:moveTo>
                  <a:cubicBezTo>
                    <a:pt x="3706" y="336"/>
                    <a:pt x="3703" y="340"/>
                    <a:pt x="3706" y="346"/>
                  </a:cubicBezTo>
                  <a:cubicBezTo>
                    <a:pt x="3708" y="352"/>
                    <a:pt x="3716" y="356"/>
                    <a:pt x="3722" y="356"/>
                  </a:cubicBezTo>
                  <a:cubicBezTo>
                    <a:pt x="3729" y="356"/>
                    <a:pt x="3732" y="352"/>
                    <a:pt x="3729" y="346"/>
                  </a:cubicBezTo>
                  <a:cubicBezTo>
                    <a:pt x="3727" y="340"/>
                    <a:pt x="3719" y="336"/>
                    <a:pt x="3713" y="336"/>
                  </a:cubicBezTo>
                  <a:cubicBezTo>
                    <a:pt x="3713" y="336"/>
                    <a:pt x="3713" y="336"/>
                    <a:pt x="3713" y="336"/>
                  </a:cubicBezTo>
                  <a:moveTo>
                    <a:pt x="3746" y="335"/>
                  </a:moveTo>
                  <a:cubicBezTo>
                    <a:pt x="3740" y="335"/>
                    <a:pt x="3737" y="340"/>
                    <a:pt x="3739" y="346"/>
                  </a:cubicBezTo>
                  <a:cubicBezTo>
                    <a:pt x="3742" y="351"/>
                    <a:pt x="3749" y="356"/>
                    <a:pt x="3756" y="356"/>
                  </a:cubicBezTo>
                  <a:cubicBezTo>
                    <a:pt x="3762" y="356"/>
                    <a:pt x="3766" y="351"/>
                    <a:pt x="3763" y="346"/>
                  </a:cubicBezTo>
                  <a:cubicBezTo>
                    <a:pt x="3760" y="340"/>
                    <a:pt x="3753" y="335"/>
                    <a:pt x="3746" y="335"/>
                  </a:cubicBezTo>
                  <a:cubicBezTo>
                    <a:pt x="3746" y="335"/>
                    <a:pt x="3746" y="335"/>
                    <a:pt x="3746" y="335"/>
                  </a:cubicBezTo>
                  <a:moveTo>
                    <a:pt x="3780" y="335"/>
                  </a:moveTo>
                  <a:cubicBezTo>
                    <a:pt x="3774" y="335"/>
                    <a:pt x="3771" y="340"/>
                    <a:pt x="3773" y="346"/>
                  </a:cubicBezTo>
                  <a:cubicBezTo>
                    <a:pt x="3776" y="351"/>
                    <a:pt x="3783" y="356"/>
                    <a:pt x="3790" y="356"/>
                  </a:cubicBezTo>
                  <a:cubicBezTo>
                    <a:pt x="3796" y="356"/>
                    <a:pt x="3800" y="351"/>
                    <a:pt x="3797" y="345"/>
                  </a:cubicBezTo>
                  <a:cubicBezTo>
                    <a:pt x="3794" y="340"/>
                    <a:pt x="3787" y="335"/>
                    <a:pt x="3780" y="335"/>
                  </a:cubicBezTo>
                  <a:cubicBezTo>
                    <a:pt x="3780" y="335"/>
                    <a:pt x="3780" y="335"/>
                    <a:pt x="3780" y="335"/>
                  </a:cubicBezTo>
                  <a:moveTo>
                    <a:pt x="4149" y="335"/>
                  </a:moveTo>
                  <a:cubicBezTo>
                    <a:pt x="4143" y="335"/>
                    <a:pt x="4140" y="340"/>
                    <a:pt x="4144" y="345"/>
                  </a:cubicBezTo>
                  <a:cubicBezTo>
                    <a:pt x="4147" y="351"/>
                    <a:pt x="4155" y="356"/>
                    <a:pt x="4162" y="356"/>
                  </a:cubicBezTo>
                  <a:cubicBezTo>
                    <a:pt x="4168" y="356"/>
                    <a:pt x="4171" y="351"/>
                    <a:pt x="4167" y="345"/>
                  </a:cubicBezTo>
                  <a:cubicBezTo>
                    <a:pt x="4164" y="340"/>
                    <a:pt x="4156" y="335"/>
                    <a:pt x="4149" y="335"/>
                  </a:cubicBezTo>
                  <a:cubicBezTo>
                    <a:pt x="4149" y="335"/>
                    <a:pt x="4149" y="335"/>
                    <a:pt x="4149" y="335"/>
                  </a:cubicBezTo>
                  <a:moveTo>
                    <a:pt x="3813" y="335"/>
                  </a:moveTo>
                  <a:cubicBezTo>
                    <a:pt x="3807" y="335"/>
                    <a:pt x="3804" y="340"/>
                    <a:pt x="3807" y="345"/>
                  </a:cubicBezTo>
                  <a:cubicBezTo>
                    <a:pt x="3809" y="351"/>
                    <a:pt x="3817" y="356"/>
                    <a:pt x="3823" y="355"/>
                  </a:cubicBezTo>
                  <a:cubicBezTo>
                    <a:pt x="3830" y="355"/>
                    <a:pt x="3833" y="351"/>
                    <a:pt x="3830" y="345"/>
                  </a:cubicBezTo>
                  <a:cubicBezTo>
                    <a:pt x="3827" y="339"/>
                    <a:pt x="3820" y="335"/>
                    <a:pt x="3814" y="335"/>
                  </a:cubicBezTo>
                  <a:cubicBezTo>
                    <a:pt x="3814" y="335"/>
                    <a:pt x="3813" y="335"/>
                    <a:pt x="3813" y="335"/>
                  </a:cubicBezTo>
                  <a:moveTo>
                    <a:pt x="3847" y="335"/>
                  </a:moveTo>
                  <a:cubicBezTo>
                    <a:pt x="3840" y="335"/>
                    <a:pt x="3837" y="339"/>
                    <a:pt x="3840" y="345"/>
                  </a:cubicBezTo>
                  <a:cubicBezTo>
                    <a:pt x="3843" y="351"/>
                    <a:pt x="3851" y="355"/>
                    <a:pt x="3857" y="355"/>
                  </a:cubicBezTo>
                  <a:cubicBezTo>
                    <a:pt x="3864" y="355"/>
                    <a:pt x="3867" y="351"/>
                    <a:pt x="3864" y="345"/>
                  </a:cubicBezTo>
                  <a:cubicBezTo>
                    <a:pt x="3861" y="339"/>
                    <a:pt x="3853" y="335"/>
                    <a:pt x="3847" y="335"/>
                  </a:cubicBezTo>
                  <a:cubicBezTo>
                    <a:pt x="3847" y="335"/>
                    <a:pt x="3847" y="335"/>
                    <a:pt x="3847" y="335"/>
                  </a:cubicBezTo>
                  <a:moveTo>
                    <a:pt x="3880" y="334"/>
                  </a:moveTo>
                  <a:cubicBezTo>
                    <a:pt x="3874" y="334"/>
                    <a:pt x="3871" y="339"/>
                    <a:pt x="3874" y="345"/>
                  </a:cubicBezTo>
                  <a:cubicBezTo>
                    <a:pt x="3877" y="350"/>
                    <a:pt x="3884" y="355"/>
                    <a:pt x="3891" y="355"/>
                  </a:cubicBezTo>
                  <a:cubicBezTo>
                    <a:pt x="3897" y="355"/>
                    <a:pt x="3900" y="350"/>
                    <a:pt x="3897" y="345"/>
                  </a:cubicBezTo>
                  <a:cubicBezTo>
                    <a:pt x="3894" y="339"/>
                    <a:pt x="3887" y="334"/>
                    <a:pt x="3880" y="334"/>
                  </a:cubicBezTo>
                  <a:cubicBezTo>
                    <a:pt x="3880" y="334"/>
                    <a:pt x="3880" y="334"/>
                    <a:pt x="3880" y="334"/>
                  </a:cubicBezTo>
                  <a:moveTo>
                    <a:pt x="3914" y="334"/>
                  </a:moveTo>
                  <a:cubicBezTo>
                    <a:pt x="3907" y="334"/>
                    <a:pt x="3904" y="339"/>
                    <a:pt x="3907" y="345"/>
                  </a:cubicBezTo>
                  <a:cubicBezTo>
                    <a:pt x="3910" y="350"/>
                    <a:pt x="3918" y="355"/>
                    <a:pt x="3924" y="355"/>
                  </a:cubicBezTo>
                  <a:cubicBezTo>
                    <a:pt x="3931" y="355"/>
                    <a:pt x="3934" y="350"/>
                    <a:pt x="3931" y="344"/>
                  </a:cubicBezTo>
                  <a:cubicBezTo>
                    <a:pt x="3928" y="339"/>
                    <a:pt x="3920" y="334"/>
                    <a:pt x="3914" y="334"/>
                  </a:cubicBezTo>
                  <a:cubicBezTo>
                    <a:pt x="3914" y="334"/>
                    <a:pt x="3914" y="334"/>
                    <a:pt x="3914" y="334"/>
                  </a:cubicBezTo>
                  <a:moveTo>
                    <a:pt x="407" y="333"/>
                  </a:moveTo>
                  <a:cubicBezTo>
                    <a:pt x="401" y="333"/>
                    <a:pt x="392" y="338"/>
                    <a:pt x="388" y="343"/>
                  </a:cubicBezTo>
                  <a:cubicBezTo>
                    <a:pt x="383" y="349"/>
                    <a:pt x="385" y="353"/>
                    <a:pt x="391" y="353"/>
                  </a:cubicBezTo>
                  <a:cubicBezTo>
                    <a:pt x="398" y="353"/>
                    <a:pt x="407" y="349"/>
                    <a:pt x="411" y="343"/>
                  </a:cubicBezTo>
                  <a:cubicBezTo>
                    <a:pt x="415" y="338"/>
                    <a:pt x="414" y="333"/>
                    <a:pt x="407" y="333"/>
                  </a:cubicBezTo>
                  <a:cubicBezTo>
                    <a:pt x="407" y="333"/>
                    <a:pt x="407" y="333"/>
                    <a:pt x="407" y="333"/>
                  </a:cubicBezTo>
                  <a:moveTo>
                    <a:pt x="4115" y="333"/>
                  </a:moveTo>
                  <a:cubicBezTo>
                    <a:pt x="4109" y="333"/>
                    <a:pt x="4106" y="338"/>
                    <a:pt x="4110" y="343"/>
                  </a:cubicBezTo>
                  <a:cubicBezTo>
                    <a:pt x="4113" y="349"/>
                    <a:pt x="4121" y="354"/>
                    <a:pt x="4128" y="354"/>
                  </a:cubicBezTo>
                  <a:cubicBezTo>
                    <a:pt x="4134" y="354"/>
                    <a:pt x="4137" y="349"/>
                    <a:pt x="4133" y="343"/>
                  </a:cubicBezTo>
                  <a:cubicBezTo>
                    <a:pt x="4130" y="338"/>
                    <a:pt x="4122" y="333"/>
                    <a:pt x="4115" y="333"/>
                  </a:cubicBezTo>
                  <a:cubicBezTo>
                    <a:pt x="4115" y="333"/>
                    <a:pt x="4115" y="333"/>
                    <a:pt x="4115" y="333"/>
                  </a:cubicBezTo>
                  <a:moveTo>
                    <a:pt x="440" y="333"/>
                  </a:moveTo>
                  <a:cubicBezTo>
                    <a:pt x="434" y="333"/>
                    <a:pt x="425" y="337"/>
                    <a:pt x="421" y="343"/>
                  </a:cubicBezTo>
                  <a:cubicBezTo>
                    <a:pt x="416" y="349"/>
                    <a:pt x="418" y="353"/>
                    <a:pt x="425" y="353"/>
                  </a:cubicBezTo>
                  <a:cubicBezTo>
                    <a:pt x="431" y="353"/>
                    <a:pt x="440" y="348"/>
                    <a:pt x="444" y="343"/>
                  </a:cubicBezTo>
                  <a:cubicBezTo>
                    <a:pt x="449" y="337"/>
                    <a:pt x="447" y="333"/>
                    <a:pt x="440" y="333"/>
                  </a:cubicBezTo>
                  <a:cubicBezTo>
                    <a:pt x="440" y="333"/>
                    <a:pt x="440" y="333"/>
                    <a:pt x="440" y="333"/>
                  </a:cubicBezTo>
                  <a:moveTo>
                    <a:pt x="474" y="333"/>
                  </a:moveTo>
                  <a:cubicBezTo>
                    <a:pt x="467" y="333"/>
                    <a:pt x="459" y="337"/>
                    <a:pt x="454" y="343"/>
                  </a:cubicBezTo>
                  <a:cubicBezTo>
                    <a:pt x="450" y="348"/>
                    <a:pt x="452" y="353"/>
                    <a:pt x="458" y="353"/>
                  </a:cubicBezTo>
                  <a:cubicBezTo>
                    <a:pt x="465" y="353"/>
                    <a:pt x="474" y="348"/>
                    <a:pt x="478" y="343"/>
                  </a:cubicBezTo>
                  <a:cubicBezTo>
                    <a:pt x="482" y="337"/>
                    <a:pt x="480" y="333"/>
                    <a:pt x="474" y="333"/>
                  </a:cubicBezTo>
                  <a:cubicBezTo>
                    <a:pt x="474" y="333"/>
                    <a:pt x="474" y="333"/>
                    <a:pt x="474" y="333"/>
                  </a:cubicBezTo>
                  <a:moveTo>
                    <a:pt x="507" y="332"/>
                  </a:moveTo>
                  <a:cubicBezTo>
                    <a:pt x="500" y="332"/>
                    <a:pt x="492" y="337"/>
                    <a:pt x="488" y="343"/>
                  </a:cubicBezTo>
                  <a:cubicBezTo>
                    <a:pt x="483" y="348"/>
                    <a:pt x="485" y="353"/>
                    <a:pt x="492" y="353"/>
                  </a:cubicBezTo>
                  <a:cubicBezTo>
                    <a:pt x="498" y="353"/>
                    <a:pt x="507" y="348"/>
                    <a:pt x="511" y="342"/>
                  </a:cubicBezTo>
                  <a:cubicBezTo>
                    <a:pt x="515" y="337"/>
                    <a:pt x="513" y="332"/>
                    <a:pt x="507" y="332"/>
                  </a:cubicBezTo>
                  <a:cubicBezTo>
                    <a:pt x="507" y="332"/>
                    <a:pt x="507" y="332"/>
                    <a:pt x="507" y="332"/>
                  </a:cubicBezTo>
                  <a:moveTo>
                    <a:pt x="540" y="332"/>
                  </a:moveTo>
                  <a:cubicBezTo>
                    <a:pt x="534" y="332"/>
                    <a:pt x="525" y="337"/>
                    <a:pt x="521" y="342"/>
                  </a:cubicBezTo>
                  <a:cubicBezTo>
                    <a:pt x="517" y="348"/>
                    <a:pt x="519" y="352"/>
                    <a:pt x="526" y="352"/>
                  </a:cubicBezTo>
                  <a:cubicBezTo>
                    <a:pt x="532" y="352"/>
                    <a:pt x="541" y="348"/>
                    <a:pt x="545" y="342"/>
                  </a:cubicBezTo>
                  <a:cubicBezTo>
                    <a:pt x="549" y="337"/>
                    <a:pt x="547" y="332"/>
                    <a:pt x="541" y="332"/>
                  </a:cubicBezTo>
                  <a:cubicBezTo>
                    <a:pt x="540" y="332"/>
                    <a:pt x="540" y="332"/>
                    <a:pt x="540" y="332"/>
                  </a:cubicBezTo>
                  <a:moveTo>
                    <a:pt x="575" y="332"/>
                  </a:moveTo>
                  <a:cubicBezTo>
                    <a:pt x="568" y="332"/>
                    <a:pt x="560" y="336"/>
                    <a:pt x="556" y="342"/>
                  </a:cubicBezTo>
                  <a:cubicBezTo>
                    <a:pt x="552" y="348"/>
                    <a:pt x="554" y="352"/>
                    <a:pt x="560" y="352"/>
                  </a:cubicBezTo>
                  <a:cubicBezTo>
                    <a:pt x="567" y="352"/>
                    <a:pt x="575" y="347"/>
                    <a:pt x="579" y="342"/>
                  </a:cubicBezTo>
                  <a:cubicBezTo>
                    <a:pt x="583" y="336"/>
                    <a:pt x="581" y="332"/>
                    <a:pt x="575" y="332"/>
                  </a:cubicBezTo>
                  <a:cubicBezTo>
                    <a:pt x="575" y="332"/>
                    <a:pt x="575" y="332"/>
                    <a:pt x="575" y="332"/>
                  </a:cubicBezTo>
                  <a:moveTo>
                    <a:pt x="608" y="332"/>
                  </a:moveTo>
                  <a:cubicBezTo>
                    <a:pt x="602" y="332"/>
                    <a:pt x="593" y="336"/>
                    <a:pt x="589" y="342"/>
                  </a:cubicBezTo>
                  <a:cubicBezTo>
                    <a:pt x="585" y="347"/>
                    <a:pt x="587" y="352"/>
                    <a:pt x="594" y="352"/>
                  </a:cubicBezTo>
                  <a:cubicBezTo>
                    <a:pt x="600" y="352"/>
                    <a:pt x="609" y="347"/>
                    <a:pt x="613" y="342"/>
                  </a:cubicBezTo>
                  <a:cubicBezTo>
                    <a:pt x="617" y="336"/>
                    <a:pt x="615" y="332"/>
                    <a:pt x="608" y="332"/>
                  </a:cubicBezTo>
                  <a:cubicBezTo>
                    <a:pt x="608" y="332"/>
                    <a:pt x="608" y="332"/>
                    <a:pt x="608" y="332"/>
                  </a:cubicBezTo>
                  <a:moveTo>
                    <a:pt x="642" y="331"/>
                  </a:moveTo>
                  <a:cubicBezTo>
                    <a:pt x="635" y="331"/>
                    <a:pt x="627" y="336"/>
                    <a:pt x="623" y="341"/>
                  </a:cubicBezTo>
                  <a:cubicBezTo>
                    <a:pt x="619" y="347"/>
                    <a:pt x="621" y="352"/>
                    <a:pt x="627" y="352"/>
                  </a:cubicBezTo>
                  <a:cubicBezTo>
                    <a:pt x="634" y="351"/>
                    <a:pt x="642" y="347"/>
                    <a:pt x="646" y="341"/>
                  </a:cubicBezTo>
                  <a:cubicBezTo>
                    <a:pt x="650" y="336"/>
                    <a:pt x="648" y="331"/>
                    <a:pt x="642" y="331"/>
                  </a:cubicBezTo>
                  <a:cubicBezTo>
                    <a:pt x="642" y="331"/>
                    <a:pt x="642" y="331"/>
                    <a:pt x="642" y="331"/>
                  </a:cubicBezTo>
                  <a:moveTo>
                    <a:pt x="675" y="331"/>
                  </a:moveTo>
                  <a:cubicBezTo>
                    <a:pt x="669" y="331"/>
                    <a:pt x="660" y="336"/>
                    <a:pt x="657" y="341"/>
                  </a:cubicBezTo>
                  <a:cubicBezTo>
                    <a:pt x="653" y="347"/>
                    <a:pt x="655" y="351"/>
                    <a:pt x="661" y="351"/>
                  </a:cubicBezTo>
                  <a:cubicBezTo>
                    <a:pt x="668" y="351"/>
                    <a:pt x="676" y="347"/>
                    <a:pt x="680" y="341"/>
                  </a:cubicBezTo>
                  <a:cubicBezTo>
                    <a:pt x="684" y="335"/>
                    <a:pt x="682" y="331"/>
                    <a:pt x="675" y="331"/>
                  </a:cubicBezTo>
                  <a:cubicBezTo>
                    <a:pt x="675" y="331"/>
                    <a:pt x="675" y="331"/>
                    <a:pt x="675" y="331"/>
                  </a:cubicBezTo>
                  <a:moveTo>
                    <a:pt x="708" y="331"/>
                  </a:moveTo>
                  <a:cubicBezTo>
                    <a:pt x="702" y="331"/>
                    <a:pt x="694" y="335"/>
                    <a:pt x="690" y="341"/>
                  </a:cubicBezTo>
                  <a:cubicBezTo>
                    <a:pt x="686" y="347"/>
                    <a:pt x="688" y="351"/>
                    <a:pt x="695" y="351"/>
                  </a:cubicBezTo>
                  <a:cubicBezTo>
                    <a:pt x="701" y="351"/>
                    <a:pt x="710" y="346"/>
                    <a:pt x="713" y="341"/>
                  </a:cubicBezTo>
                  <a:cubicBezTo>
                    <a:pt x="717" y="335"/>
                    <a:pt x="715" y="331"/>
                    <a:pt x="709" y="331"/>
                  </a:cubicBezTo>
                  <a:cubicBezTo>
                    <a:pt x="709" y="331"/>
                    <a:pt x="709" y="331"/>
                    <a:pt x="708" y="331"/>
                  </a:cubicBezTo>
                  <a:moveTo>
                    <a:pt x="742" y="330"/>
                  </a:moveTo>
                  <a:cubicBezTo>
                    <a:pt x="735" y="331"/>
                    <a:pt x="727" y="335"/>
                    <a:pt x="723" y="341"/>
                  </a:cubicBezTo>
                  <a:cubicBezTo>
                    <a:pt x="720" y="346"/>
                    <a:pt x="722" y="351"/>
                    <a:pt x="729" y="351"/>
                  </a:cubicBezTo>
                  <a:cubicBezTo>
                    <a:pt x="735" y="351"/>
                    <a:pt x="743" y="346"/>
                    <a:pt x="747" y="341"/>
                  </a:cubicBezTo>
                  <a:cubicBezTo>
                    <a:pt x="751" y="335"/>
                    <a:pt x="748" y="330"/>
                    <a:pt x="742" y="330"/>
                  </a:cubicBezTo>
                  <a:cubicBezTo>
                    <a:pt x="742" y="330"/>
                    <a:pt x="742" y="330"/>
                    <a:pt x="742" y="330"/>
                  </a:cubicBezTo>
                  <a:moveTo>
                    <a:pt x="775" y="330"/>
                  </a:moveTo>
                  <a:cubicBezTo>
                    <a:pt x="769" y="330"/>
                    <a:pt x="760" y="335"/>
                    <a:pt x="757" y="340"/>
                  </a:cubicBezTo>
                  <a:cubicBezTo>
                    <a:pt x="753" y="346"/>
                    <a:pt x="755" y="351"/>
                    <a:pt x="762" y="350"/>
                  </a:cubicBezTo>
                  <a:cubicBezTo>
                    <a:pt x="768" y="350"/>
                    <a:pt x="777" y="346"/>
                    <a:pt x="780" y="340"/>
                  </a:cubicBezTo>
                  <a:cubicBezTo>
                    <a:pt x="784" y="335"/>
                    <a:pt x="782" y="330"/>
                    <a:pt x="775" y="330"/>
                  </a:cubicBezTo>
                  <a:cubicBezTo>
                    <a:pt x="775" y="330"/>
                    <a:pt x="775" y="330"/>
                    <a:pt x="775" y="330"/>
                  </a:cubicBezTo>
                  <a:moveTo>
                    <a:pt x="808" y="330"/>
                  </a:moveTo>
                  <a:cubicBezTo>
                    <a:pt x="802" y="330"/>
                    <a:pt x="794" y="335"/>
                    <a:pt x="790" y="340"/>
                  </a:cubicBezTo>
                  <a:cubicBezTo>
                    <a:pt x="787" y="346"/>
                    <a:pt x="789" y="350"/>
                    <a:pt x="796" y="350"/>
                  </a:cubicBezTo>
                  <a:cubicBezTo>
                    <a:pt x="802" y="350"/>
                    <a:pt x="810" y="346"/>
                    <a:pt x="814" y="340"/>
                  </a:cubicBezTo>
                  <a:cubicBezTo>
                    <a:pt x="817" y="334"/>
                    <a:pt x="815" y="330"/>
                    <a:pt x="809" y="330"/>
                  </a:cubicBezTo>
                  <a:cubicBezTo>
                    <a:pt x="809" y="330"/>
                    <a:pt x="809" y="330"/>
                    <a:pt x="808" y="330"/>
                  </a:cubicBezTo>
                  <a:moveTo>
                    <a:pt x="842" y="330"/>
                  </a:moveTo>
                  <a:cubicBezTo>
                    <a:pt x="836" y="330"/>
                    <a:pt x="828" y="334"/>
                    <a:pt x="824" y="340"/>
                  </a:cubicBezTo>
                  <a:cubicBezTo>
                    <a:pt x="821" y="346"/>
                    <a:pt x="823" y="350"/>
                    <a:pt x="830" y="350"/>
                  </a:cubicBezTo>
                  <a:cubicBezTo>
                    <a:pt x="836" y="350"/>
                    <a:pt x="844" y="345"/>
                    <a:pt x="848" y="340"/>
                  </a:cubicBezTo>
                  <a:cubicBezTo>
                    <a:pt x="851" y="334"/>
                    <a:pt x="849" y="330"/>
                    <a:pt x="842" y="330"/>
                  </a:cubicBezTo>
                  <a:cubicBezTo>
                    <a:pt x="842" y="330"/>
                    <a:pt x="842" y="330"/>
                    <a:pt x="842" y="330"/>
                  </a:cubicBezTo>
                  <a:moveTo>
                    <a:pt x="875" y="329"/>
                  </a:moveTo>
                  <a:cubicBezTo>
                    <a:pt x="869" y="329"/>
                    <a:pt x="861" y="334"/>
                    <a:pt x="858" y="340"/>
                  </a:cubicBezTo>
                  <a:cubicBezTo>
                    <a:pt x="854" y="345"/>
                    <a:pt x="857" y="350"/>
                    <a:pt x="863" y="350"/>
                  </a:cubicBezTo>
                  <a:cubicBezTo>
                    <a:pt x="870" y="350"/>
                    <a:pt x="878" y="345"/>
                    <a:pt x="881" y="339"/>
                  </a:cubicBezTo>
                  <a:cubicBezTo>
                    <a:pt x="884" y="334"/>
                    <a:pt x="882" y="329"/>
                    <a:pt x="876" y="329"/>
                  </a:cubicBezTo>
                  <a:cubicBezTo>
                    <a:pt x="875" y="329"/>
                    <a:pt x="875" y="329"/>
                    <a:pt x="875" y="329"/>
                  </a:cubicBezTo>
                  <a:moveTo>
                    <a:pt x="907" y="329"/>
                  </a:moveTo>
                  <a:cubicBezTo>
                    <a:pt x="901" y="329"/>
                    <a:pt x="893" y="334"/>
                    <a:pt x="889" y="339"/>
                  </a:cubicBezTo>
                  <a:cubicBezTo>
                    <a:pt x="886" y="345"/>
                    <a:pt x="888" y="350"/>
                    <a:pt x="895" y="349"/>
                  </a:cubicBezTo>
                  <a:cubicBezTo>
                    <a:pt x="901" y="349"/>
                    <a:pt x="909" y="345"/>
                    <a:pt x="913" y="339"/>
                  </a:cubicBezTo>
                  <a:cubicBezTo>
                    <a:pt x="916" y="334"/>
                    <a:pt x="913" y="329"/>
                    <a:pt x="907" y="329"/>
                  </a:cubicBezTo>
                  <a:cubicBezTo>
                    <a:pt x="907" y="329"/>
                    <a:pt x="907" y="329"/>
                    <a:pt x="907" y="329"/>
                  </a:cubicBezTo>
                  <a:moveTo>
                    <a:pt x="941" y="329"/>
                  </a:moveTo>
                  <a:cubicBezTo>
                    <a:pt x="934" y="329"/>
                    <a:pt x="926" y="334"/>
                    <a:pt x="923" y="339"/>
                  </a:cubicBezTo>
                  <a:cubicBezTo>
                    <a:pt x="920" y="345"/>
                    <a:pt x="922" y="349"/>
                    <a:pt x="929" y="349"/>
                  </a:cubicBezTo>
                  <a:cubicBezTo>
                    <a:pt x="935" y="349"/>
                    <a:pt x="943" y="345"/>
                    <a:pt x="947" y="339"/>
                  </a:cubicBezTo>
                  <a:cubicBezTo>
                    <a:pt x="950" y="333"/>
                    <a:pt x="947" y="329"/>
                    <a:pt x="941" y="329"/>
                  </a:cubicBezTo>
                  <a:cubicBezTo>
                    <a:pt x="941" y="329"/>
                    <a:pt x="941" y="329"/>
                    <a:pt x="941" y="329"/>
                  </a:cubicBezTo>
                  <a:moveTo>
                    <a:pt x="1141" y="327"/>
                  </a:moveTo>
                  <a:cubicBezTo>
                    <a:pt x="1134" y="327"/>
                    <a:pt x="1127" y="332"/>
                    <a:pt x="1124" y="338"/>
                  </a:cubicBezTo>
                  <a:cubicBezTo>
                    <a:pt x="1121" y="343"/>
                    <a:pt x="1124" y="348"/>
                    <a:pt x="1130" y="348"/>
                  </a:cubicBezTo>
                  <a:cubicBezTo>
                    <a:pt x="1137" y="348"/>
                    <a:pt x="1144" y="343"/>
                    <a:pt x="1147" y="337"/>
                  </a:cubicBezTo>
                  <a:cubicBezTo>
                    <a:pt x="1150" y="332"/>
                    <a:pt x="1147" y="327"/>
                    <a:pt x="1141" y="327"/>
                  </a:cubicBezTo>
                  <a:cubicBezTo>
                    <a:pt x="1141" y="327"/>
                    <a:pt x="1141" y="327"/>
                    <a:pt x="1141" y="327"/>
                  </a:cubicBezTo>
                  <a:moveTo>
                    <a:pt x="1174" y="326"/>
                  </a:moveTo>
                  <a:cubicBezTo>
                    <a:pt x="1168" y="326"/>
                    <a:pt x="1160" y="331"/>
                    <a:pt x="1157" y="336"/>
                  </a:cubicBezTo>
                  <a:cubicBezTo>
                    <a:pt x="1154" y="342"/>
                    <a:pt x="1157" y="346"/>
                    <a:pt x="1164" y="346"/>
                  </a:cubicBezTo>
                  <a:cubicBezTo>
                    <a:pt x="1170" y="346"/>
                    <a:pt x="1178" y="342"/>
                    <a:pt x="1181" y="336"/>
                  </a:cubicBezTo>
                  <a:cubicBezTo>
                    <a:pt x="1183" y="330"/>
                    <a:pt x="1180" y="326"/>
                    <a:pt x="1174" y="326"/>
                  </a:cubicBezTo>
                  <a:cubicBezTo>
                    <a:pt x="1174" y="326"/>
                    <a:pt x="1174" y="326"/>
                    <a:pt x="1174" y="326"/>
                  </a:cubicBezTo>
                  <a:moveTo>
                    <a:pt x="1208" y="326"/>
                  </a:moveTo>
                  <a:cubicBezTo>
                    <a:pt x="1201" y="326"/>
                    <a:pt x="1194" y="330"/>
                    <a:pt x="1191" y="336"/>
                  </a:cubicBezTo>
                  <a:cubicBezTo>
                    <a:pt x="1188" y="342"/>
                    <a:pt x="1191" y="346"/>
                    <a:pt x="1198" y="346"/>
                  </a:cubicBezTo>
                  <a:cubicBezTo>
                    <a:pt x="1204" y="346"/>
                    <a:pt x="1212" y="341"/>
                    <a:pt x="1214" y="336"/>
                  </a:cubicBezTo>
                  <a:cubicBezTo>
                    <a:pt x="1217" y="330"/>
                    <a:pt x="1214" y="326"/>
                    <a:pt x="1208" y="326"/>
                  </a:cubicBezTo>
                  <a:cubicBezTo>
                    <a:pt x="1208" y="326"/>
                    <a:pt x="1208" y="326"/>
                    <a:pt x="1208" y="326"/>
                  </a:cubicBezTo>
                  <a:moveTo>
                    <a:pt x="1241" y="325"/>
                  </a:moveTo>
                  <a:cubicBezTo>
                    <a:pt x="1234" y="325"/>
                    <a:pt x="1227" y="330"/>
                    <a:pt x="1224" y="336"/>
                  </a:cubicBezTo>
                  <a:cubicBezTo>
                    <a:pt x="1222" y="341"/>
                    <a:pt x="1225" y="346"/>
                    <a:pt x="1231" y="346"/>
                  </a:cubicBezTo>
                  <a:cubicBezTo>
                    <a:pt x="1238" y="346"/>
                    <a:pt x="1245" y="341"/>
                    <a:pt x="1248" y="335"/>
                  </a:cubicBezTo>
                  <a:cubicBezTo>
                    <a:pt x="1250" y="330"/>
                    <a:pt x="1247" y="325"/>
                    <a:pt x="1241" y="325"/>
                  </a:cubicBezTo>
                  <a:cubicBezTo>
                    <a:pt x="1241" y="325"/>
                    <a:pt x="1241" y="325"/>
                    <a:pt x="1241" y="325"/>
                  </a:cubicBezTo>
                  <a:moveTo>
                    <a:pt x="1275" y="325"/>
                  </a:moveTo>
                  <a:cubicBezTo>
                    <a:pt x="1269" y="325"/>
                    <a:pt x="1261" y="330"/>
                    <a:pt x="1259" y="335"/>
                  </a:cubicBezTo>
                  <a:cubicBezTo>
                    <a:pt x="1256" y="341"/>
                    <a:pt x="1259" y="346"/>
                    <a:pt x="1266" y="345"/>
                  </a:cubicBezTo>
                  <a:cubicBezTo>
                    <a:pt x="1272" y="345"/>
                    <a:pt x="1279" y="341"/>
                    <a:pt x="1282" y="335"/>
                  </a:cubicBezTo>
                  <a:cubicBezTo>
                    <a:pt x="1285" y="330"/>
                    <a:pt x="1281" y="325"/>
                    <a:pt x="1275" y="325"/>
                  </a:cubicBezTo>
                  <a:cubicBezTo>
                    <a:pt x="1275" y="325"/>
                    <a:pt x="1275" y="325"/>
                    <a:pt x="1275" y="325"/>
                  </a:cubicBezTo>
                  <a:moveTo>
                    <a:pt x="2042" y="320"/>
                  </a:moveTo>
                  <a:cubicBezTo>
                    <a:pt x="2035" y="320"/>
                    <a:pt x="2029" y="324"/>
                    <a:pt x="2028" y="330"/>
                  </a:cubicBezTo>
                  <a:cubicBezTo>
                    <a:pt x="2027" y="336"/>
                    <a:pt x="2032" y="340"/>
                    <a:pt x="2038" y="340"/>
                  </a:cubicBezTo>
                  <a:cubicBezTo>
                    <a:pt x="2045" y="340"/>
                    <a:pt x="2051" y="335"/>
                    <a:pt x="2052" y="330"/>
                  </a:cubicBezTo>
                  <a:cubicBezTo>
                    <a:pt x="2052" y="324"/>
                    <a:pt x="2048" y="320"/>
                    <a:pt x="2042" y="320"/>
                  </a:cubicBezTo>
                  <a:cubicBezTo>
                    <a:pt x="2042" y="320"/>
                    <a:pt x="2042" y="320"/>
                    <a:pt x="2042" y="320"/>
                  </a:cubicBezTo>
                  <a:moveTo>
                    <a:pt x="2207" y="318"/>
                  </a:moveTo>
                  <a:cubicBezTo>
                    <a:pt x="2201" y="318"/>
                    <a:pt x="2195" y="323"/>
                    <a:pt x="2194" y="328"/>
                  </a:cubicBezTo>
                  <a:cubicBezTo>
                    <a:pt x="2193" y="334"/>
                    <a:pt x="2198" y="338"/>
                    <a:pt x="2205" y="338"/>
                  </a:cubicBezTo>
                  <a:cubicBezTo>
                    <a:pt x="2211" y="338"/>
                    <a:pt x="2217" y="334"/>
                    <a:pt x="2217" y="328"/>
                  </a:cubicBezTo>
                  <a:cubicBezTo>
                    <a:pt x="2218" y="322"/>
                    <a:pt x="2213" y="318"/>
                    <a:pt x="2207" y="318"/>
                  </a:cubicBezTo>
                  <a:cubicBezTo>
                    <a:pt x="2207" y="318"/>
                    <a:pt x="2207" y="318"/>
                    <a:pt x="2207" y="318"/>
                  </a:cubicBezTo>
                  <a:moveTo>
                    <a:pt x="2240" y="317"/>
                  </a:moveTo>
                  <a:cubicBezTo>
                    <a:pt x="2234" y="318"/>
                    <a:pt x="2228" y="322"/>
                    <a:pt x="2228" y="328"/>
                  </a:cubicBezTo>
                  <a:cubicBezTo>
                    <a:pt x="2227" y="333"/>
                    <a:pt x="2232" y="338"/>
                    <a:pt x="2238" y="338"/>
                  </a:cubicBezTo>
                  <a:cubicBezTo>
                    <a:pt x="2245" y="338"/>
                    <a:pt x="2251" y="333"/>
                    <a:pt x="2251" y="328"/>
                  </a:cubicBezTo>
                  <a:cubicBezTo>
                    <a:pt x="2252" y="322"/>
                    <a:pt x="2247" y="317"/>
                    <a:pt x="2241" y="317"/>
                  </a:cubicBezTo>
                  <a:cubicBezTo>
                    <a:pt x="2241" y="317"/>
                    <a:pt x="2241" y="317"/>
                    <a:pt x="2240" y="317"/>
                  </a:cubicBezTo>
                  <a:moveTo>
                    <a:pt x="2274" y="317"/>
                  </a:moveTo>
                  <a:cubicBezTo>
                    <a:pt x="2267" y="317"/>
                    <a:pt x="2261" y="322"/>
                    <a:pt x="2261" y="328"/>
                  </a:cubicBezTo>
                  <a:cubicBezTo>
                    <a:pt x="2260" y="333"/>
                    <a:pt x="2265" y="338"/>
                    <a:pt x="2272" y="338"/>
                  </a:cubicBezTo>
                  <a:cubicBezTo>
                    <a:pt x="2278" y="338"/>
                    <a:pt x="2284" y="333"/>
                    <a:pt x="2284" y="327"/>
                  </a:cubicBezTo>
                  <a:cubicBezTo>
                    <a:pt x="2285" y="322"/>
                    <a:pt x="2280" y="317"/>
                    <a:pt x="2274" y="317"/>
                  </a:cubicBezTo>
                  <a:cubicBezTo>
                    <a:pt x="2274" y="317"/>
                    <a:pt x="2274" y="317"/>
                    <a:pt x="2274" y="317"/>
                  </a:cubicBezTo>
                  <a:moveTo>
                    <a:pt x="2373" y="316"/>
                  </a:moveTo>
                  <a:cubicBezTo>
                    <a:pt x="2366" y="316"/>
                    <a:pt x="2361" y="321"/>
                    <a:pt x="2360" y="327"/>
                  </a:cubicBezTo>
                  <a:cubicBezTo>
                    <a:pt x="2360" y="332"/>
                    <a:pt x="2365" y="337"/>
                    <a:pt x="2372" y="337"/>
                  </a:cubicBezTo>
                  <a:cubicBezTo>
                    <a:pt x="2378" y="337"/>
                    <a:pt x="2384" y="332"/>
                    <a:pt x="2384" y="327"/>
                  </a:cubicBezTo>
                  <a:cubicBezTo>
                    <a:pt x="2384" y="321"/>
                    <a:pt x="2379" y="316"/>
                    <a:pt x="2373" y="316"/>
                  </a:cubicBezTo>
                  <a:cubicBezTo>
                    <a:pt x="2373" y="316"/>
                    <a:pt x="2373" y="316"/>
                    <a:pt x="2373" y="316"/>
                  </a:cubicBezTo>
                  <a:moveTo>
                    <a:pt x="2406" y="316"/>
                  </a:moveTo>
                  <a:cubicBezTo>
                    <a:pt x="2400" y="316"/>
                    <a:pt x="2394" y="321"/>
                    <a:pt x="2394" y="326"/>
                  </a:cubicBezTo>
                  <a:cubicBezTo>
                    <a:pt x="2394" y="332"/>
                    <a:pt x="2399" y="337"/>
                    <a:pt x="2405" y="337"/>
                  </a:cubicBezTo>
                  <a:cubicBezTo>
                    <a:pt x="2412" y="337"/>
                    <a:pt x="2417" y="332"/>
                    <a:pt x="2417" y="326"/>
                  </a:cubicBezTo>
                  <a:cubicBezTo>
                    <a:pt x="2418" y="321"/>
                    <a:pt x="2413" y="316"/>
                    <a:pt x="2406" y="316"/>
                  </a:cubicBezTo>
                  <a:cubicBezTo>
                    <a:pt x="2406" y="316"/>
                    <a:pt x="2406" y="316"/>
                    <a:pt x="2406" y="316"/>
                  </a:cubicBezTo>
                  <a:moveTo>
                    <a:pt x="2606" y="316"/>
                  </a:moveTo>
                  <a:cubicBezTo>
                    <a:pt x="2600" y="316"/>
                    <a:pt x="2595" y="321"/>
                    <a:pt x="2595" y="326"/>
                  </a:cubicBezTo>
                  <a:cubicBezTo>
                    <a:pt x="2595" y="332"/>
                    <a:pt x="2601" y="336"/>
                    <a:pt x="2607" y="336"/>
                  </a:cubicBezTo>
                  <a:cubicBezTo>
                    <a:pt x="2613" y="336"/>
                    <a:pt x="2619" y="332"/>
                    <a:pt x="2618" y="326"/>
                  </a:cubicBezTo>
                  <a:cubicBezTo>
                    <a:pt x="2618" y="320"/>
                    <a:pt x="2613" y="316"/>
                    <a:pt x="2606" y="316"/>
                  </a:cubicBezTo>
                  <a:cubicBezTo>
                    <a:pt x="2606" y="316"/>
                    <a:pt x="2606" y="316"/>
                    <a:pt x="2606" y="316"/>
                  </a:cubicBezTo>
                  <a:moveTo>
                    <a:pt x="2439" y="316"/>
                  </a:moveTo>
                  <a:cubicBezTo>
                    <a:pt x="2433" y="316"/>
                    <a:pt x="2427" y="321"/>
                    <a:pt x="2427" y="326"/>
                  </a:cubicBezTo>
                  <a:cubicBezTo>
                    <a:pt x="2427" y="332"/>
                    <a:pt x="2432" y="336"/>
                    <a:pt x="2439" y="336"/>
                  </a:cubicBezTo>
                  <a:cubicBezTo>
                    <a:pt x="2445" y="336"/>
                    <a:pt x="2451" y="332"/>
                    <a:pt x="2451" y="326"/>
                  </a:cubicBezTo>
                  <a:cubicBezTo>
                    <a:pt x="2451" y="320"/>
                    <a:pt x="2446" y="316"/>
                    <a:pt x="2439" y="316"/>
                  </a:cubicBezTo>
                  <a:cubicBezTo>
                    <a:pt x="2439" y="316"/>
                    <a:pt x="2439" y="316"/>
                    <a:pt x="2439" y="316"/>
                  </a:cubicBezTo>
                  <a:moveTo>
                    <a:pt x="2639" y="316"/>
                  </a:moveTo>
                  <a:cubicBezTo>
                    <a:pt x="2633" y="316"/>
                    <a:pt x="2628" y="320"/>
                    <a:pt x="2628" y="326"/>
                  </a:cubicBezTo>
                  <a:cubicBezTo>
                    <a:pt x="2628" y="332"/>
                    <a:pt x="2634" y="336"/>
                    <a:pt x="2640" y="336"/>
                  </a:cubicBezTo>
                  <a:cubicBezTo>
                    <a:pt x="2647" y="336"/>
                    <a:pt x="2652" y="331"/>
                    <a:pt x="2651" y="326"/>
                  </a:cubicBezTo>
                  <a:cubicBezTo>
                    <a:pt x="2651" y="320"/>
                    <a:pt x="2646" y="316"/>
                    <a:pt x="2639" y="316"/>
                  </a:cubicBezTo>
                  <a:cubicBezTo>
                    <a:pt x="2639" y="316"/>
                    <a:pt x="2639" y="316"/>
                    <a:pt x="2639" y="316"/>
                  </a:cubicBezTo>
                  <a:moveTo>
                    <a:pt x="2472" y="316"/>
                  </a:moveTo>
                  <a:cubicBezTo>
                    <a:pt x="2466" y="316"/>
                    <a:pt x="2461" y="320"/>
                    <a:pt x="2461" y="326"/>
                  </a:cubicBezTo>
                  <a:cubicBezTo>
                    <a:pt x="2461" y="332"/>
                    <a:pt x="2466" y="336"/>
                    <a:pt x="2472" y="336"/>
                  </a:cubicBezTo>
                  <a:cubicBezTo>
                    <a:pt x="2479" y="336"/>
                    <a:pt x="2484" y="331"/>
                    <a:pt x="2484" y="326"/>
                  </a:cubicBezTo>
                  <a:cubicBezTo>
                    <a:pt x="2484" y="320"/>
                    <a:pt x="2479" y="316"/>
                    <a:pt x="2472" y="316"/>
                  </a:cubicBezTo>
                  <a:cubicBezTo>
                    <a:pt x="2472" y="316"/>
                    <a:pt x="2472" y="316"/>
                    <a:pt x="2472" y="316"/>
                  </a:cubicBezTo>
                  <a:moveTo>
                    <a:pt x="2672" y="315"/>
                  </a:moveTo>
                  <a:cubicBezTo>
                    <a:pt x="2666" y="315"/>
                    <a:pt x="2661" y="320"/>
                    <a:pt x="2661" y="326"/>
                  </a:cubicBezTo>
                  <a:cubicBezTo>
                    <a:pt x="2661" y="331"/>
                    <a:pt x="2667" y="336"/>
                    <a:pt x="2673" y="336"/>
                  </a:cubicBezTo>
                  <a:cubicBezTo>
                    <a:pt x="2680" y="336"/>
                    <a:pt x="2685" y="331"/>
                    <a:pt x="2684" y="326"/>
                  </a:cubicBezTo>
                  <a:cubicBezTo>
                    <a:pt x="2684" y="320"/>
                    <a:pt x="2678" y="315"/>
                    <a:pt x="2672" y="315"/>
                  </a:cubicBezTo>
                  <a:cubicBezTo>
                    <a:pt x="2672" y="315"/>
                    <a:pt x="2672" y="315"/>
                    <a:pt x="2672" y="315"/>
                  </a:cubicBezTo>
                  <a:moveTo>
                    <a:pt x="2505" y="315"/>
                  </a:moveTo>
                  <a:cubicBezTo>
                    <a:pt x="2499" y="315"/>
                    <a:pt x="2494" y="320"/>
                    <a:pt x="2494" y="326"/>
                  </a:cubicBezTo>
                  <a:cubicBezTo>
                    <a:pt x="2494" y="331"/>
                    <a:pt x="2499" y="336"/>
                    <a:pt x="2505" y="336"/>
                  </a:cubicBezTo>
                  <a:cubicBezTo>
                    <a:pt x="2512" y="336"/>
                    <a:pt x="2517" y="331"/>
                    <a:pt x="2517" y="326"/>
                  </a:cubicBezTo>
                  <a:cubicBezTo>
                    <a:pt x="2517" y="320"/>
                    <a:pt x="2512" y="315"/>
                    <a:pt x="2505" y="315"/>
                  </a:cubicBezTo>
                  <a:cubicBezTo>
                    <a:pt x="2505" y="315"/>
                    <a:pt x="2505" y="315"/>
                    <a:pt x="2505" y="315"/>
                  </a:cubicBezTo>
                  <a:moveTo>
                    <a:pt x="2705" y="315"/>
                  </a:moveTo>
                  <a:cubicBezTo>
                    <a:pt x="2699" y="315"/>
                    <a:pt x="2694" y="320"/>
                    <a:pt x="2694" y="325"/>
                  </a:cubicBezTo>
                  <a:cubicBezTo>
                    <a:pt x="2694" y="331"/>
                    <a:pt x="2700" y="336"/>
                    <a:pt x="2707" y="336"/>
                  </a:cubicBezTo>
                  <a:cubicBezTo>
                    <a:pt x="2713" y="336"/>
                    <a:pt x="2718" y="331"/>
                    <a:pt x="2717" y="325"/>
                  </a:cubicBezTo>
                  <a:cubicBezTo>
                    <a:pt x="2717" y="320"/>
                    <a:pt x="2711" y="315"/>
                    <a:pt x="2705" y="315"/>
                  </a:cubicBezTo>
                  <a:cubicBezTo>
                    <a:pt x="2705" y="315"/>
                    <a:pt x="2705" y="315"/>
                    <a:pt x="2705" y="315"/>
                  </a:cubicBezTo>
                  <a:moveTo>
                    <a:pt x="2539" y="315"/>
                  </a:moveTo>
                  <a:cubicBezTo>
                    <a:pt x="2532" y="315"/>
                    <a:pt x="2527" y="320"/>
                    <a:pt x="2527" y="325"/>
                  </a:cubicBezTo>
                  <a:cubicBezTo>
                    <a:pt x="2527" y="331"/>
                    <a:pt x="2532" y="336"/>
                    <a:pt x="2539" y="336"/>
                  </a:cubicBezTo>
                  <a:cubicBezTo>
                    <a:pt x="2545" y="336"/>
                    <a:pt x="2551" y="331"/>
                    <a:pt x="2550" y="325"/>
                  </a:cubicBezTo>
                  <a:cubicBezTo>
                    <a:pt x="2550" y="320"/>
                    <a:pt x="2545" y="315"/>
                    <a:pt x="2539" y="315"/>
                  </a:cubicBezTo>
                  <a:cubicBezTo>
                    <a:pt x="2539" y="315"/>
                    <a:pt x="2539" y="315"/>
                    <a:pt x="2539" y="315"/>
                  </a:cubicBezTo>
                  <a:moveTo>
                    <a:pt x="2738" y="315"/>
                  </a:moveTo>
                  <a:cubicBezTo>
                    <a:pt x="2732" y="315"/>
                    <a:pt x="2727" y="320"/>
                    <a:pt x="2727" y="325"/>
                  </a:cubicBezTo>
                  <a:cubicBezTo>
                    <a:pt x="2728" y="331"/>
                    <a:pt x="2734" y="335"/>
                    <a:pt x="2740" y="335"/>
                  </a:cubicBezTo>
                  <a:cubicBezTo>
                    <a:pt x="2747" y="335"/>
                    <a:pt x="2751" y="331"/>
                    <a:pt x="2751" y="325"/>
                  </a:cubicBezTo>
                  <a:cubicBezTo>
                    <a:pt x="2750" y="319"/>
                    <a:pt x="2745" y="315"/>
                    <a:pt x="2738" y="315"/>
                  </a:cubicBezTo>
                  <a:cubicBezTo>
                    <a:pt x="2738" y="315"/>
                    <a:pt x="2738" y="315"/>
                    <a:pt x="2738" y="315"/>
                  </a:cubicBezTo>
                  <a:moveTo>
                    <a:pt x="2572" y="315"/>
                  </a:moveTo>
                  <a:cubicBezTo>
                    <a:pt x="2566" y="315"/>
                    <a:pt x="2561" y="320"/>
                    <a:pt x="2561" y="325"/>
                  </a:cubicBezTo>
                  <a:cubicBezTo>
                    <a:pt x="2561" y="331"/>
                    <a:pt x="2566" y="335"/>
                    <a:pt x="2573" y="335"/>
                  </a:cubicBezTo>
                  <a:cubicBezTo>
                    <a:pt x="2579" y="335"/>
                    <a:pt x="2584" y="331"/>
                    <a:pt x="2584" y="325"/>
                  </a:cubicBezTo>
                  <a:cubicBezTo>
                    <a:pt x="2584" y="319"/>
                    <a:pt x="2579" y="315"/>
                    <a:pt x="2572" y="315"/>
                  </a:cubicBezTo>
                  <a:cubicBezTo>
                    <a:pt x="2572" y="315"/>
                    <a:pt x="2572" y="315"/>
                    <a:pt x="2572" y="315"/>
                  </a:cubicBezTo>
                  <a:moveTo>
                    <a:pt x="2772" y="315"/>
                  </a:moveTo>
                  <a:cubicBezTo>
                    <a:pt x="2765" y="315"/>
                    <a:pt x="2761" y="319"/>
                    <a:pt x="2761" y="325"/>
                  </a:cubicBezTo>
                  <a:cubicBezTo>
                    <a:pt x="2762" y="331"/>
                    <a:pt x="2767" y="335"/>
                    <a:pt x="2774" y="335"/>
                  </a:cubicBezTo>
                  <a:cubicBezTo>
                    <a:pt x="2780" y="335"/>
                    <a:pt x="2785" y="330"/>
                    <a:pt x="2785" y="325"/>
                  </a:cubicBezTo>
                  <a:cubicBezTo>
                    <a:pt x="2784" y="319"/>
                    <a:pt x="2778" y="315"/>
                    <a:pt x="2772" y="315"/>
                  </a:cubicBezTo>
                  <a:cubicBezTo>
                    <a:pt x="2772" y="315"/>
                    <a:pt x="2772" y="315"/>
                    <a:pt x="2772" y="315"/>
                  </a:cubicBezTo>
                  <a:moveTo>
                    <a:pt x="2805" y="314"/>
                  </a:moveTo>
                  <a:cubicBezTo>
                    <a:pt x="2798" y="314"/>
                    <a:pt x="2794" y="319"/>
                    <a:pt x="2794" y="325"/>
                  </a:cubicBezTo>
                  <a:cubicBezTo>
                    <a:pt x="2795" y="330"/>
                    <a:pt x="2801" y="335"/>
                    <a:pt x="2807" y="335"/>
                  </a:cubicBezTo>
                  <a:cubicBezTo>
                    <a:pt x="2814" y="335"/>
                    <a:pt x="2818" y="330"/>
                    <a:pt x="2818" y="325"/>
                  </a:cubicBezTo>
                  <a:cubicBezTo>
                    <a:pt x="2817" y="319"/>
                    <a:pt x="2811" y="314"/>
                    <a:pt x="2805" y="314"/>
                  </a:cubicBezTo>
                  <a:cubicBezTo>
                    <a:pt x="2805" y="314"/>
                    <a:pt x="2805" y="314"/>
                    <a:pt x="2805" y="314"/>
                  </a:cubicBezTo>
                  <a:moveTo>
                    <a:pt x="2838" y="314"/>
                  </a:moveTo>
                  <a:cubicBezTo>
                    <a:pt x="2832" y="314"/>
                    <a:pt x="2827" y="319"/>
                    <a:pt x="2828" y="324"/>
                  </a:cubicBezTo>
                  <a:cubicBezTo>
                    <a:pt x="2828" y="330"/>
                    <a:pt x="2834" y="335"/>
                    <a:pt x="2841" y="335"/>
                  </a:cubicBezTo>
                  <a:cubicBezTo>
                    <a:pt x="2847" y="335"/>
                    <a:pt x="2852" y="330"/>
                    <a:pt x="2851" y="324"/>
                  </a:cubicBezTo>
                  <a:cubicBezTo>
                    <a:pt x="2850" y="319"/>
                    <a:pt x="2844" y="314"/>
                    <a:pt x="2838" y="314"/>
                  </a:cubicBezTo>
                  <a:cubicBezTo>
                    <a:pt x="2838" y="314"/>
                    <a:pt x="2838" y="314"/>
                    <a:pt x="2838" y="314"/>
                  </a:cubicBezTo>
                  <a:moveTo>
                    <a:pt x="2871" y="314"/>
                  </a:moveTo>
                  <a:cubicBezTo>
                    <a:pt x="2865" y="314"/>
                    <a:pt x="2860" y="319"/>
                    <a:pt x="2861" y="324"/>
                  </a:cubicBezTo>
                  <a:cubicBezTo>
                    <a:pt x="2861" y="330"/>
                    <a:pt x="2867" y="334"/>
                    <a:pt x="2874" y="334"/>
                  </a:cubicBezTo>
                  <a:cubicBezTo>
                    <a:pt x="2880" y="334"/>
                    <a:pt x="2885" y="330"/>
                    <a:pt x="2884" y="324"/>
                  </a:cubicBezTo>
                  <a:cubicBezTo>
                    <a:pt x="2883" y="318"/>
                    <a:pt x="2877" y="314"/>
                    <a:pt x="2871" y="314"/>
                  </a:cubicBezTo>
                  <a:cubicBezTo>
                    <a:pt x="2871" y="314"/>
                    <a:pt x="2871" y="314"/>
                    <a:pt x="2871" y="314"/>
                  </a:cubicBezTo>
                  <a:moveTo>
                    <a:pt x="2904" y="314"/>
                  </a:moveTo>
                  <a:cubicBezTo>
                    <a:pt x="2898" y="314"/>
                    <a:pt x="2893" y="318"/>
                    <a:pt x="2894" y="324"/>
                  </a:cubicBezTo>
                  <a:cubicBezTo>
                    <a:pt x="2895" y="330"/>
                    <a:pt x="2901" y="334"/>
                    <a:pt x="2907" y="334"/>
                  </a:cubicBezTo>
                  <a:cubicBezTo>
                    <a:pt x="2914" y="334"/>
                    <a:pt x="2918" y="329"/>
                    <a:pt x="2917" y="324"/>
                  </a:cubicBezTo>
                  <a:cubicBezTo>
                    <a:pt x="2917" y="318"/>
                    <a:pt x="2911" y="314"/>
                    <a:pt x="2904" y="314"/>
                  </a:cubicBezTo>
                  <a:cubicBezTo>
                    <a:pt x="2904" y="314"/>
                    <a:pt x="2904" y="314"/>
                    <a:pt x="2904" y="314"/>
                  </a:cubicBezTo>
                  <a:moveTo>
                    <a:pt x="2938" y="313"/>
                  </a:moveTo>
                  <a:cubicBezTo>
                    <a:pt x="2931" y="313"/>
                    <a:pt x="2927" y="318"/>
                    <a:pt x="2928" y="324"/>
                  </a:cubicBezTo>
                  <a:cubicBezTo>
                    <a:pt x="2929" y="329"/>
                    <a:pt x="2935" y="334"/>
                    <a:pt x="2941" y="334"/>
                  </a:cubicBezTo>
                  <a:cubicBezTo>
                    <a:pt x="2948" y="334"/>
                    <a:pt x="2952" y="329"/>
                    <a:pt x="2951" y="323"/>
                  </a:cubicBezTo>
                  <a:cubicBezTo>
                    <a:pt x="2950" y="318"/>
                    <a:pt x="2944" y="313"/>
                    <a:pt x="2938" y="313"/>
                  </a:cubicBezTo>
                  <a:cubicBezTo>
                    <a:pt x="2938" y="313"/>
                    <a:pt x="2938" y="313"/>
                    <a:pt x="2938" y="313"/>
                  </a:cubicBezTo>
                  <a:moveTo>
                    <a:pt x="2969" y="313"/>
                  </a:moveTo>
                  <a:cubicBezTo>
                    <a:pt x="2962" y="313"/>
                    <a:pt x="2958" y="318"/>
                    <a:pt x="2959" y="324"/>
                  </a:cubicBezTo>
                  <a:cubicBezTo>
                    <a:pt x="2960" y="329"/>
                    <a:pt x="2966" y="334"/>
                    <a:pt x="2972" y="334"/>
                  </a:cubicBezTo>
                  <a:cubicBezTo>
                    <a:pt x="2979" y="334"/>
                    <a:pt x="2983" y="329"/>
                    <a:pt x="2982" y="323"/>
                  </a:cubicBezTo>
                  <a:cubicBezTo>
                    <a:pt x="2981" y="318"/>
                    <a:pt x="2975" y="313"/>
                    <a:pt x="2969" y="313"/>
                  </a:cubicBezTo>
                  <a:cubicBezTo>
                    <a:pt x="2969" y="313"/>
                    <a:pt x="2969" y="313"/>
                    <a:pt x="2969" y="313"/>
                  </a:cubicBezTo>
                  <a:moveTo>
                    <a:pt x="3002" y="313"/>
                  </a:moveTo>
                  <a:cubicBezTo>
                    <a:pt x="2995" y="313"/>
                    <a:pt x="2991" y="318"/>
                    <a:pt x="2992" y="323"/>
                  </a:cubicBezTo>
                  <a:cubicBezTo>
                    <a:pt x="2993" y="329"/>
                    <a:pt x="2999" y="333"/>
                    <a:pt x="3005" y="333"/>
                  </a:cubicBezTo>
                  <a:cubicBezTo>
                    <a:pt x="3012" y="333"/>
                    <a:pt x="3016" y="329"/>
                    <a:pt x="3015" y="323"/>
                  </a:cubicBezTo>
                  <a:cubicBezTo>
                    <a:pt x="3014" y="317"/>
                    <a:pt x="3008" y="313"/>
                    <a:pt x="3002" y="313"/>
                  </a:cubicBezTo>
                  <a:cubicBezTo>
                    <a:pt x="3002" y="313"/>
                    <a:pt x="3002" y="313"/>
                    <a:pt x="3002" y="313"/>
                  </a:cubicBezTo>
                  <a:moveTo>
                    <a:pt x="3035" y="313"/>
                  </a:moveTo>
                  <a:cubicBezTo>
                    <a:pt x="3028" y="313"/>
                    <a:pt x="3024" y="317"/>
                    <a:pt x="3025" y="323"/>
                  </a:cubicBezTo>
                  <a:cubicBezTo>
                    <a:pt x="3026" y="329"/>
                    <a:pt x="3032" y="333"/>
                    <a:pt x="3039" y="333"/>
                  </a:cubicBezTo>
                  <a:cubicBezTo>
                    <a:pt x="3045" y="333"/>
                    <a:pt x="3050" y="328"/>
                    <a:pt x="3049" y="323"/>
                  </a:cubicBezTo>
                  <a:cubicBezTo>
                    <a:pt x="3047" y="317"/>
                    <a:pt x="3041" y="313"/>
                    <a:pt x="3035" y="313"/>
                  </a:cubicBezTo>
                  <a:cubicBezTo>
                    <a:pt x="3035" y="313"/>
                    <a:pt x="3035" y="313"/>
                    <a:pt x="3035" y="313"/>
                  </a:cubicBezTo>
                  <a:moveTo>
                    <a:pt x="3069" y="312"/>
                  </a:moveTo>
                  <a:cubicBezTo>
                    <a:pt x="3063" y="312"/>
                    <a:pt x="3058" y="317"/>
                    <a:pt x="3060" y="323"/>
                  </a:cubicBezTo>
                  <a:cubicBezTo>
                    <a:pt x="3061" y="328"/>
                    <a:pt x="3067" y="333"/>
                    <a:pt x="3073" y="333"/>
                  </a:cubicBezTo>
                  <a:cubicBezTo>
                    <a:pt x="3080" y="333"/>
                    <a:pt x="3084" y="328"/>
                    <a:pt x="3083" y="323"/>
                  </a:cubicBezTo>
                  <a:cubicBezTo>
                    <a:pt x="3082" y="317"/>
                    <a:pt x="3076" y="312"/>
                    <a:pt x="3069" y="312"/>
                  </a:cubicBezTo>
                  <a:cubicBezTo>
                    <a:pt x="3069" y="312"/>
                    <a:pt x="3069" y="312"/>
                    <a:pt x="3069" y="312"/>
                  </a:cubicBezTo>
                  <a:moveTo>
                    <a:pt x="3102" y="312"/>
                  </a:moveTo>
                  <a:cubicBezTo>
                    <a:pt x="3096" y="312"/>
                    <a:pt x="3091" y="317"/>
                    <a:pt x="3093" y="322"/>
                  </a:cubicBezTo>
                  <a:cubicBezTo>
                    <a:pt x="3094" y="328"/>
                    <a:pt x="3100" y="333"/>
                    <a:pt x="3107" y="333"/>
                  </a:cubicBezTo>
                  <a:cubicBezTo>
                    <a:pt x="3113" y="333"/>
                    <a:pt x="3117" y="328"/>
                    <a:pt x="3116" y="322"/>
                  </a:cubicBezTo>
                  <a:cubicBezTo>
                    <a:pt x="3115" y="317"/>
                    <a:pt x="3108" y="312"/>
                    <a:pt x="3102" y="312"/>
                  </a:cubicBezTo>
                  <a:cubicBezTo>
                    <a:pt x="3102" y="312"/>
                    <a:pt x="3102" y="312"/>
                    <a:pt x="3102" y="312"/>
                  </a:cubicBezTo>
                  <a:moveTo>
                    <a:pt x="3135" y="312"/>
                  </a:moveTo>
                  <a:cubicBezTo>
                    <a:pt x="3129" y="312"/>
                    <a:pt x="3125" y="317"/>
                    <a:pt x="3126" y="322"/>
                  </a:cubicBezTo>
                  <a:cubicBezTo>
                    <a:pt x="3127" y="328"/>
                    <a:pt x="3134" y="332"/>
                    <a:pt x="3140" y="332"/>
                  </a:cubicBezTo>
                  <a:cubicBezTo>
                    <a:pt x="3147" y="332"/>
                    <a:pt x="3151" y="328"/>
                    <a:pt x="3149" y="322"/>
                  </a:cubicBezTo>
                  <a:cubicBezTo>
                    <a:pt x="3148" y="316"/>
                    <a:pt x="3142" y="312"/>
                    <a:pt x="3135" y="312"/>
                  </a:cubicBezTo>
                  <a:cubicBezTo>
                    <a:pt x="3135" y="312"/>
                    <a:pt x="3135" y="312"/>
                    <a:pt x="3135" y="312"/>
                  </a:cubicBezTo>
                  <a:moveTo>
                    <a:pt x="3169" y="312"/>
                  </a:moveTo>
                  <a:cubicBezTo>
                    <a:pt x="3162" y="312"/>
                    <a:pt x="3158" y="316"/>
                    <a:pt x="3160" y="322"/>
                  </a:cubicBezTo>
                  <a:cubicBezTo>
                    <a:pt x="3161" y="328"/>
                    <a:pt x="3167" y="332"/>
                    <a:pt x="3174" y="332"/>
                  </a:cubicBezTo>
                  <a:cubicBezTo>
                    <a:pt x="3180" y="332"/>
                    <a:pt x="3184" y="327"/>
                    <a:pt x="3183" y="322"/>
                  </a:cubicBezTo>
                  <a:cubicBezTo>
                    <a:pt x="3182" y="316"/>
                    <a:pt x="3175" y="312"/>
                    <a:pt x="3169" y="312"/>
                  </a:cubicBezTo>
                  <a:cubicBezTo>
                    <a:pt x="3169" y="312"/>
                    <a:pt x="3169" y="312"/>
                    <a:pt x="3169" y="312"/>
                  </a:cubicBezTo>
                  <a:moveTo>
                    <a:pt x="3202" y="311"/>
                  </a:moveTo>
                  <a:cubicBezTo>
                    <a:pt x="3195" y="311"/>
                    <a:pt x="3191" y="316"/>
                    <a:pt x="3193" y="322"/>
                  </a:cubicBezTo>
                  <a:cubicBezTo>
                    <a:pt x="3194" y="327"/>
                    <a:pt x="3201" y="332"/>
                    <a:pt x="3207" y="332"/>
                  </a:cubicBezTo>
                  <a:cubicBezTo>
                    <a:pt x="3214" y="332"/>
                    <a:pt x="3218" y="327"/>
                    <a:pt x="3216" y="321"/>
                  </a:cubicBezTo>
                  <a:cubicBezTo>
                    <a:pt x="3215" y="316"/>
                    <a:pt x="3208" y="311"/>
                    <a:pt x="3202" y="311"/>
                  </a:cubicBezTo>
                  <a:cubicBezTo>
                    <a:pt x="3202" y="311"/>
                    <a:pt x="3202" y="311"/>
                    <a:pt x="3202" y="311"/>
                  </a:cubicBezTo>
                  <a:moveTo>
                    <a:pt x="3235" y="311"/>
                  </a:moveTo>
                  <a:cubicBezTo>
                    <a:pt x="3228" y="311"/>
                    <a:pt x="3224" y="316"/>
                    <a:pt x="3226" y="321"/>
                  </a:cubicBezTo>
                  <a:cubicBezTo>
                    <a:pt x="3228" y="327"/>
                    <a:pt x="3234" y="332"/>
                    <a:pt x="3240" y="332"/>
                  </a:cubicBezTo>
                  <a:cubicBezTo>
                    <a:pt x="3247" y="332"/>
                    <a:pt x="3251" y="327"/>
                    <a:pt x="3249" y="321"/>
                  </a:cubicBezTo>
                  <a:cubicBezTo>
                    <a:pt x="3248" y="316"/>
                    <a:pt x="3241" y="311"/>
                    <a:pt x="3235" y="311"/>
                  </a:cubicBezTo>
                  <a:cubicBezTo>
                    <a:pt x="3235" y="311"/>
                    <a:pt x="3235" y="311"/>
                    <a:pt x="3235" y="311"/>
                  </a:cubicBezTo>
                  <a:moveTo>
                    <a:pt x="3268" y="311"/>
                  </a:moveTo>
                  <a:cubicBezTo>
                    <a:pt x="3261" y="311"/>
                    <a:pt x="3258" y="315"/>
                    <a:pt x="3259" y="321"/>
                  </a:cubicBezTo>
                  <a:cubicBezTo>
                    <a:pt x="3261" y="327"/>
                    <a:pt x="3267" y="331"/>
                    <a:pt x="3274" y="331"/>
                  </a:cubicBezTo>
                  <a:cubicBezTo>
                    <a:pt x="3280" y="331"/>
                    <a:pt x="3284" y="327"/>
                    <a:pt x="3282" y="321"/>
                  </a:cubicBezTo>
                  <a:cubicBezTo>
                    <a:pt x="3281" y="315"/>
                    <a:pt x="3274" y="311"/>
                    <a:pt x="3268" y="311"/>
                  </a:cubicBezTo>
                  <a:cubicBezTo>
                    <a:pt x="3268" y="311"/>
                    <a:pt x="3268" y="311"/>
                    <a:pt x="3268" y="311"/>
                  </a:cubicBezTo>
                  <a:moveTo>
                    <a:pt x="3301" y="311"/>
                  </a:moveTo>
                  <a:cubicBezTo>
                    <a:pt x="3294" y="311"/>
                    <a:pt x="3291" y="315"/>
                    <a:pt x="3292" y="321"/>
                  </a:cubicBezTo>
                  <a:cubicBezTo>
                    <a:pt x="3294" y="327"/>
                    <a:pt x="3300" y="331"/>
                    <a:pt x="3307" y="331"/>
                  </a:cubicBezTo>
                  <a:cubicBezTo>
                    <a:pt x="3313" y="331"/>
                    <a:pt x="3317" y="326"/>
                    <a:pt x="3315" y="321"/>
                  </a:cubicBezTo>
                  <a:cubicBezTo>
                    <a:pt x="3314" y="315"/>
                    <a:pt x="3307" y="311"/>
                    <a:pt x="3301" y="311"/>
                  </a:cubicBezTo>
                  <a:cubicBezTo>
                    <a:pt x="3301" y="311"/>
                    <a:pt x="3301" y="311"/>
                    <a:pt x="3301" y="311"/>
                  </a:cubicBezTo>
                  <a:moveTo>
                    <a:pt x="3334" y="310"/>
                  </a:moveTo>
                  <a:cubicBezTo>
                    <a:pt x="3327" y="310"/>
                    <a:pt x="3324" y="315"/>
                    <a:pt x="3325" y="321"/>
                  </a:cubicBezTo>
                  <a:cubicBezTo>
                    <a:pt x="3327" y="326"/>
                    <a:pt x="3334" y="331"/>
                    <a:pt x="3340" y="331"/>
                  </a:cubicBezTo>
                  <a:cubicBezTo>
                    <a:pt x="3347" y="331"/>
                    <a:pt x="3350" y="326"/>
                    <a:pt x="3349" y="320"/>
                  </a:cubicBezTo>
                  <a:cubicBezTo>
                    <a:pt x="3347" y="315"/>
                    <a:pt x="3340" y="310"/>
                    <a:pt x="3334" y="310"/>
                  </a:cubicBezTo>
                  <a:cubicBezTo>
                    <a:pt x="3334" y="310"/>
                    <a:pt x="3334" y="310"/>
                    <a:pt x="3334" y="310"/>
                  </a:cubicBezTo>
                  <a:moveTo>
                    <a:pt x="3367" y="310"/>
                  </a:moveTo>
                  <a:cubicBezTo>
                    <a:pt x="3361" y="310"/>
                    <a:pt x="3357" y="315"/>
                    <a:pt x="3359" y="320"/>
                  </a:cubicBezTo>
                  <a:cubicBezTo>
                    <a:pt x="3360" y="326"/>
                    <a:pt x="3367" y="331"/>
                    <a:pt x="3374" y="331"/>
                  </a:cubicBezTo>
                  <a:cubicBezTo>
                    <a:pt x="3380" y="331"/>
                    <a:pt x="3384" y="326"/>
                    <a:pt x="3382" y="320"/>
                  </a:cubicBezTo>
                  <a:cubicBezTo>
                    <a:pt x="3380" y="315"/>
                    <a:pt x="3373" y="310"/>
                    <a:pt x="3367" y="310"/>
                  </a:cubicBezTo>
                  <a:cubicBezTo>
                    <a:pt x="3367" y="310"/>
                    <a:pt x="3367" y="310"/>
                    <a:pt x="3367" y="310"/>
                  </a:cubicBezTo>
                  <a:moveTo>
                    <a:pt x="3401" y="310"/>
                  </a:moveTo>
                  <a:cubicBezTo>
                    <a:pt x="3395" y="310"/>
                    <a:pt x="3391" y="314"/>
                    <a:pt x="3393" y="320"/>
                  </a:cubicBezTo>
                  <a:cubicBezTo>
                    <a:pt x="3395" y="326"/>
                    <a:pt x="3402" y="330"/>
                    <a:pt x="3408" y="330"/>
                  </a:cubicBezTo>
                  <a:cubicBezTo>
                    <a:pt x="3414" y="330"/>
                    <a:pt x="3418" y="326"/>
                    <a:pt x="3416" y="320"/>
                  </a:cubicBezTo>
                  <a:cubicBezTo>
                    <a:pt x="3414" y="314"/>
                    <a:pt x="3408" y="310"/>
                    <a:pt x="3401" y="310"/>
                  </a:cubicBezTo>
                  <a:cubicBezTo>
                    <a:pt x="3401" y="310"/>
                    <a:pt x="3401" y="310"/>
                    <a:pt x="3401" y="310"/>
                  </a:cubicBezTo>
                  <a:moveTo>
                    <a:pt x="3434" y="309"/>
                  </a:moveTo>
                  <a:cubicBezTo>
                    <a:pt x="3428" y="310"/>
                    <a:pt x="3424" y="314"/>
                    <a:pt x="3426" y="320"/>
                  </a:cubicBezTo>
                  <a:cubicBezTo>
                    <a:pt x="3428" y="326"/>
                    <a:pt x="3435" y="330"/>
                    <a:pt x="3441" y="330"/>
                  </a:cubicBezTo>
                  <a:cubicBezTo>
                    <a:pt x="3448" y="330"/>
                    <a:pt x="3451" y="325"/>
                    <a:pt x="3449" y="320"/>
                  </a:cubicBezTo>
                  <a:cubicBezTo>
                    <a:pt x="3447" y="314"/>
                    <a:pt x="3441" y="309"/>
                    <a:pt x="3434" y="309"/>
                  </a:cubicBezTo>
                  <a:cubicBezTo>
                    <a:pt x="3434" y="309"/>
                    <a:pt x="3434" y="309"/>
                    <a:pt x="3434" y="309"/>
                  </a:cubicBezTo>
                  <a:moveTo>
                    <a:pt x="3467" y="309"/>
                  </a:moveTo>
                  <a:cubicBezTo>
                    <a:pt x="3461" y="309"/>
                    <a:pt x="3457" y="314"/>
                    <a:pt x="3459" y="320"/>
                  </a:cubicBezTo>
                  <a:cubicBezTo>
                    <a:pt x="3461" y="325"/>
                    <a:pt x="3468" y="330"/>
                    <a:pt x="3475" y="330"/>
                  </a:cubicBezTo>
                  <a:cubicBezTo>
                    <a:pt x="3481" y="330"/>
                    <a:pt x="3485" y="325"/>
                    <a:pt x="3483" y="319"/>
                  </a:cubicBezTo>
                  <a:cubicBezTo>
                    <a:pt x="3481" y="314"/>
                    <a:pt x="3474" y="309"/>
                    <a:pt x="3467" y="309"/>
                  </a:cubicBezTo>
                  <a:cubicBezTo>
                    <a:pt x="3467" y="309"/>
                    <a:pt x="3467" y="309"/>
                    <a:pt x="3467" y="309"/>
                  </a:cubicBezTo>
                  <a:moveTo>
                    <a:pt x="3501" y="309"/>
                  </a:moveTo>
                  <a:cubicBezTo>
                    <a:pt x="3494" y="309"/>
                    <a:pt x="3491" y="314"/>
                    <a:pt x="3493" y="319"/>
                  </a:cubicBezTo>
                  <a:cubicBezTo>
                    <a:pt x="3495" y="325"/>
                    <a:pt x="3502" y="330"/>
                    <a:pt x="3508" y="330"/>
                  </a:cubicBezTo>
                  <a:cubicBezTo>
                    <a:pt x="3515" y="329"/>
                    <a:pt x="3518" y="325"/>
                    <a:pt x="3516" y="319"/>
                  </a:cubicBezTo>
                  <a:cubicBezTo>
                    <a:pt x="3514" y="313"/>
                    <a:pt x="3507" y="309"/>
                    <a:pt x="3501" y="309"/>
                  </a:cubicBezTo>
                  <a:cubicBezTo>
                    <a:pt x="3501" y="309"/>
                    <a:pt x="3501" y="309"/>
                    <a:pt x="3501" y="309"/>
                  </a:cubicBezTo>
                  <a:moveTo>
                    <a:pt x="3534" y="309"/>
                  </a:moveTo>
                  <a:cubicBezTo>
                    <a:pt x="3527" y="309"/>
                    <a:pt x="3524" y="313"/>
                    <a:pt x="3526" y="319"/>
                  </a:cubicBezTo>
                  <a:cubicBezTo>
                    <a:pt x="3528" y="325"/>
                    <a:pt x="3535" y="329"/>
                    <a:pt x="3542" y="329"/>
                  </a:cubicBezTo>
                  <a:cubicBezTo>
                    <a:pt x="3548" y="329"/>
                    <a:pt x="3551" y="325"/>
                    <a:pt x="3549" y="319"/>
                  </a:cubicBezTo>
                  <a:cubicBezTo>
                    <a:pt x="3547" y="313"/>
                    <a:pt x="3540" y="309"/>
                    <a:pt x="3534" y="309"/>
                  </a:cubicBezTo>
                  <a:cubicBezTo>
                    <a:pt x="3534" y="309"/>
                    <a:pt x="3534" y="309"/>
                    <a:pt x="3534" y="309"/>
                  </a:cubicBezTo>
                  <a:moveTo>
                    <a:pt x="3567" y="308"/>
                  </a:moveTo>
                  <a:cubicBezTo>
                    <a:pt x="3560" y="308"/>
                    <a:pt x="3557" y="313"/>
                    <a:pt x="3559" y="319"/>
                  </a:cubicBezTo>
                  <a:cubicBezTo>
                    <a:pt x="3561" y="324"/>
                    <a:pt x="3569" y="329"/>
                    <a:pt x="3575" y="329"/>
                  </a:cubicBezTo>
                  <a:cubicBezTo>
                    <a:pt x="3581" y="329"/>
                    <a:pt x="3585" y="324"/>
                    <a:pt x="3583" y="319"/>
                  </a:cubicBezTo>
                  <a:cubicBezTo>
                    <a:pt x="3580" y="313"/>
                    <a:pt x="3573" y="308"/>
                    <a:pt x="3567" y="308"/>
                  </a:cubicBezTo>
                  <a:cubicBezTo>
                    <a:pt x="3567" y="308"/>
                    <a:pt x="3567" y="308"/>
                    <a:pt x="3567" y="308"/>
                  </a:cubicBezTo>
                  <a:moveTo>
                    <a:pt x="3600" y="308"/>
                  </a:moveTo>
                  <a:cubicBezTo>
                    <a:pt x="3593" y="308"/>
                    <a:pt x="3590" y="313"/>
                    <a:pt x="3592" y="319"/>
                  </a:cubicBezTo>
                  <a:cubicBezTo>
                    <a:pt x="3595" y="324"/>
                    <a:pt x="3602" y="329"/>
                    <a:pt x="3608" y="329"/>
                  </a:cubicBezTo>
                  <a:cubicBezTo>
                    <a:pt x="3615" y="329"/>
                    <a:pt x="3618" y="324"/>
                    <a:pt x="3616" y="318"/>
                  </a:cubicBezTo>
                  <a:cubicBezTo>
                    <a:pt x="3613" y="313"/>
                    <a:pt x="3606" y="308"/>
                    <a:pt x="3600" y="308"/>
                  </a:cubicBezTo>
                  <a:cubicBezTo>
                    <a:pt x="3600" y="308"/>
                    <a:pt x="3600" y="308"/>
                    <a:pt x="3600" y="308"/>
                  </a:cubicBezTo>
                  <a:moveTo>
                    <a:pt x="129" y="308"/>
                  </a:moveTo>
                  <a:cubicBezTo>
                    <a:pt x="123" y="308"/>
                    <a:pt x="113" y="313"/>
                    <a:pt x="108" y="318"/>
                  </a:cubicBezTo>
                  <a:cubicBezTo>
                    <a:pt x="103" y="324"/>
                    <a:pt x="105" y="328"/>
                    <a:pt x="111" y="328"/>
                  </a:cubicBezTo>
                  <a:cubicBezTo>
                    <a:pt x="117" y="328"/>
                    <a:pt x="127" y="324"/>
                    <a:pt x="132" y="318"/>
                  </a:cubicBezTo>
                  <a:cubicBezTo>
                    <a:pt x="137" y="313"/>
                    <a:pt x="135" y="308"/>
                    <a:pt x="129" y="308"/>
                  </a:cubicBezTo>
                  <a:cubicBezTo>
                    <a:pt x="129" y="308"/>
                    <a:pt x="129" y="308"/>
                    <a:pt x="129" y="308"/>
                  </a:cubicBezTo>
                  <a:moveTo>
                    <a:pt x="3633" y="308"/>
                  </a:moveTo>
                  <a:cubicBezTo>
                    <a:pt x="3627" y="308"/>
                    <a:pt x="3624" y="313"/>
                    <a:pt x="3626" y="318"/>
                  </a:cubicBezTo>
                  <a:cubicBezTo>
                    <a:pt x="3628" y="324"/>
                    <a:pt x="3636" y="329"/>
                    <a:pt x="3642" y="328"/>
                  </a:cubicBezTo>
                  <a:cubicBezTo>
                    <a:pt x="3649" y="328"/>
                    <a:pt x="3652" y="324"/>
                    <a:pt x="3649" y="318"/>
                  </a:cubicBezTo>
                  <a:cubicBezTo>
                    <a:pt x="3647" y="312"/>
                    <a:pt x="3640" y="308"/>
                    <a:pt x="3633" y="308"/>
                  </a:cubicBezTo>
                  <a:cubicBezTo>
                    <a:pt x="3633" y="308"/>
                    <a:pt x="3633" y="308"/>
                    <a:pt x="3633" y="308"/>
                  </a:cubicBezTo>
                  <a:moveTo>
                    <a:pt x="162" y="308"/>
                  </a:moveTo>
                  <a:cubicBezTo>
                    <a:pt x="156" y="308"/>
                    <a:pt x="146" y="312"/>
                    <a:pt x="141" y="318"/>
                  </a:cubicBezTo>
                  <a:cubicBezTo>
                    <a:pt x="136" y="324"/>
                    <a:pt x="138" y="328"/>
                    <a:pt x="144" y="328"/>
                  </a:cubicBezTo>
                  <a:cubicBezTo>
                    <a:pt x="151" y="328"/>
                    <a:pt x="160" y="323"/>
                    <a:pt x="165" y="318"/>
                  </a:cubicBezTo>
                  <a:cubicBezTo>
                    <a:pt x="170" y="312"/>
                    <a:pt x="168" y="308"/>
                    <a:pt x="162" y="308"/>
                  </a:cubicBezTo>
                  <a:cubicBezTo>
                    <a:pt x="162" y="308"/>
                    <a:pt x="162" y="308"/>
                    <a:pt x="162" y="308"/>
                  </a:cubicBezTo>
                  <a:moveTo>
                    <a:pt x="3667" y="308"/>
                  </a:moveTo>
                  <a:cubicBezTo>
                    <a:pt x="3660" y="308"/>
                    <a:pt x="3657" y="312"/>
                    <a:pt x="3659" y="318"/>
                  </a:cubicBezTo>
                  <a:cubicBezTo>
                    <a:pt x="3662" y="324"/>
                    <a:pt x="3669" y="328"/>
                    <a:pt x="3675" y="328"/>
                  </a:cubicBezTo>
                  <a:cubicBezTo>
                    <a:pt x="3682" y="328"/>
                    <a:pt x="3685" y="324"/>
                    <a:pt x="3683" y="318"/>
                  </a:cubicBezTo>
                  <a:cubicBezTo>
                    <a:pt x="3680" y="312"/>
                    <a:pt x="3673" y="308"/>
                    <a:pt x="3667" y="308"/>
                  </a:cubicBezTo>
                  <a:cubicBezTo>
                    <a:pt x="3667" y="308"/>
                    <a:pt x="3667" y="308"/>
                    <a:pt x="3667" y="308"/>
                  </a:cubicBezTo>
                  <a:moveTo>
                    <a:pt x="3701" y="307"/>
                  </a:moveTo>
                  <a:cubicBezTo>
                    <a:pt x="3694" y="307"/>
                    <a:pt x="3691" y="312"/>
                    <a:pt x="3694" y="318"/>
                  </a:cubicBezTo>
                  <a:cubicBezTo>
                    <a:pt x="3696" y="323"/>
                    <a:pt x="3704" y="328"/>
                    <a:pt x="3710" y="328"/>
                  </a:cubicBezTo>
                  <a:cubicBezTo>
                    <a:pt x="3716" y="328"/>
                    <a:pt x="3720" y="323"/>
                    <a:pt x="3717" y="318"/>
                  </a:cubicBezTo>
                  <a:cubicBezTo>
                    <a:pt x="3714" y="312"/>
                    <a:pt x="3707" y="307"/>
                    <a:pt x="3701" y="307"/>
                  </a:cubicBezTo>
                  <a:cubicBezTo>
                    <a:pt x="3701" y="307"/>
                    <a:pt x="3701" y="307"/>
                    <a:pt x="3701" y="307"/>
                  </a:cubicBezTo>
                  <a:moveTo>
                    <a:pt x="3734" y="307"/>
                  </a:moveTo>
                  <a:cubicBezTo>
                    <a:pt x="3727" y="307"/>
                    <a:pt x="3724" y="312"/>
                    <a:pt x="3727" y="317"/>
                  </a:cubicBezTo>
                  <a:cubicBezTo>
                    <a:pt x="3729" y="323"/>
                    <a:pt x="3737" y="328"/>
                    <a:pt x="3743" y="328"/>
                  </a:cubicBezTo>
                  <a:cubicBezTo>
                    <a:pt x="3750" y="328"/>
                    <a:pt x="3753" y="323"/>
                    <a:pt x="3750" y="317"/>
                  </a:cubicBezTo>
                  <a:cubicBezTo>
                    <a:pt x="3747" y="312"/>
                    <a:pt x="3740" y="307"/>
                    <a:pt x="3734" y="307"/>
                  </a:cubicBezTo>
                  <a:cubicBezTo>
                    <a:pt x="3734" y="307"/>
                    <a:pt x="3734" y="307"/>
                    <a:pt x="3734" y="307"/>
                  </a:cubicBezTo>
                  <a:moveTo>
                    <a:pt x="3767" y="307"/>
                  </a:moveTo>
                  <a:cubicBezTo>
                    <a:pt x="3760" y="307"/>
                    <a:pt x="3757" y="312"/>
                    <a:pt x="3760" y="317"/>
                  </a:cubicBezTo>
                  <a:cubicBezTo>
                    <a:pt x="3763" y="323"/>
                    <a:pt x="3770" y="327"/>
                    <a:pt x="3777" y="327"/>
                  </a:cubicBezTo>
                  <a:cubicBezTo>
                    <a:pt x="3783" y="327"/>
                    <a:pt x="3786" y="323"/>
                    <a:pt x="3783" y="317"/>
                  </a:cubicBezTo>
                  <a:cubicBezTo>
                    <a:pt x="3781" y="311"/>
                    <a:pt x="3773" y="307"/>
                    <a:pt x="3767" y="307"/>
                  </a:cubicBezTo>
                  <a:cubicBezTo>
                    <a:pt x="3767" y="307"/>
                    <a:pt x="3767" y="307"/>
                    <a:pt x="3767" y="307"/>
                  </a:cubicBezTo>
                  <a:moveTo>
                    <a:pt x="3800" y="307"/>
                  </a:moveTo>
                  <a:cubicBezTo>
                    <a:pt x="3794" y="307"/>
                    <a:pt x="3791" y="311"/>
                    <a:pt x="3794" y="317"/>
                  </a:cubicBezTo>
                  <a:cubicBezTo>
                    <a:pt x="3796" y="323"/>
                    <a:pt x="3804" y="327"/>
                    <a:pt x="3810" y="327"/>
                  </a:cubicBezTo>
                  <a:cubicBezTo>
                    <a:pt x="3817" y="327"/>
                    <a:pt x="3820" y="322"/>
                    <a:pt x="3817" y="317"/>
                  </a:cubicBezTo>
                  <a:cubicBezTo>
                    <a:pt x="3814" y="311"/>
                    <a:pt x="3807" y="307"/>
                    <a:pt x="3800" y="307"/>
                  </a:cubicBezTo>
                  <a:cubicBezTo>
                    <a:pt x="3800" y="307"/>
                    <a:pt x="3800" y="307"/>
                    <a:pt x="3800" y="307"/>
                  </a:cubicBezTo>
                  <a:moveTo>
                    <a:pt x="3833" y="306"/>
                  </a:moveTo>
                  <a:cubicBezTo>
                    <a:pt x="3827" y="306"/>
                    <a:pt x="3824" y="311"/>
                    <a:pt x="3827" y="317"/>
                  </a:cubicBezTo>
                  <a:cubicBezTo>
                    <a:pt x="3829" y="322"/>
                    <a:pt x="3837" y="327"/>
                    <a:pt x="3843" y="327"/>
                  </a:cubicBezTo>
                  <a:cubicBezTo>
                    <a:pt x="3850" y="327"/>
                    <a:pt x="3853" y="322"/>
                    <a:pt x="3850" y="317"/>
                  </a:cubicBezTo>
                  <a:cubicBezTo>
                    <a:pt x="3847" y="311"/>
                    <a:pt x="3840" y="306"/>
                    <a:pt x="3833" y="306"/>
                  </a:cubicBezTo>
                  <a:cubicBezTo>
                    <a:pt x="3833" y="306"/>
                    <a:pt x="3833" y="306"/>
                    <a:pt x="3833" y="306"/>
                  </a:cubicBezTo>
                  <a:moveTo>
                    <a:pt x="4131" y="305"/>
                  </a:moveTo>
                  <a:cubicBezTo>
                    <a:pt x="4125" y="305"/>
                    <a:pt x="4122" y="310"/>
                    <a:pt x="4126" y="316"/>
                  </a:cubicBezTo>
                  <a:cubicBezTo>
                    <a:pt x="4129" y="321"/>
                    <a:pt x="4137" y="326"/>
                    <a:pt x="4144" y="326"/>
                  </a:cubicBezTo>
                  <a:cubicBezTo>
                    <a:pt x="4150" y="326"/>
                    <a:pt x="4152" y="321"/>
                    <a:pt x="4149" y="315"/>
                  </a:cubicBezTo>
                  <a:cubicBezTo>
                    <a:pt x="4146" y="310"/>
                    <a:pt x="4138" y="305"/>
                    <a:pt x="4131" y="305"/>
                  </a:cubicBezTo>
                  <a:cubicBezTo>
                    <a:pt x="4131" y="305"/>
                    <a:pt x="4131" y="305"/>
                    <a:pt x="4131" y="305"/>
                  </a:cubicBezTo>
                  <a:moveTo>
                    <a:pt x="4098" y="304"/>
                  </a:moveTo>
                  <a:cubicBezTo>
                    <a:pt x="4091" y="305"/>
                    <a:pt x="4089" y="309"/>
                    <a:pt x="4092" y="315"/>
                  </a:cubicBezTo>
                  <a:cubicBezTo>
                    <a:pt x="4095" y="321"/>
                    <a:pt x="4103" y="325"/>
                    <a:pt x="4110" y="325"/>
                  </a:cubicBezTo>
                  <a:cubicBezTo>
                    <a:pt x="4116" y="325"/>
                    <a:pt x="4119" y="320"/>
                    <a:pt x="4115" y="315"/>
                  </a:cubicBezTo>
                  <a:cubicBezTo>
                    <a:pt x="4112" y="309"/>
                    <a:pt x="4104" y="304"/>
                    <a:pt x="4098" y="304"/>
                  </a:cubicBezTo>
                  <a:cubicBezTo>
                    <a:pt x="4098" y="304"/>
                    <a:pt x="4098" y="304"/>
                    <a:pt x="4098" y="304"/>
                  </a:cubicBezTo>
                  <a:moveTo>
                    <a:pt x="430" y="304"/>
                  </a:moveTo>
                  <a:cubicBezTo>
                    <a:pt x="424" y="304"/>
                    <a:pt x="415" y="308"/>
                    <a:pt x="411" y="314"/>
                  </a:cubicBezTo>
                  <a:cubicBezTo>
                    <a:pt x="406" y="320"/>
                    <a:pt x="408" y="324"/>
                    <a:pt x="414" y="324"/>
                  </a:cubicBezTo>
                  <a:cubicBezTo>
                    <a:pt x="421" y="324"/>
                    <a:pt x="429" y="319"/>
                    <a:pt x="434" y="314"/>
                  </a:cubicBezTo>
                  <a:cubicBezTo>
                    <a:pt x="438" y="308"/>
                    <a:pt x="436" y="304"/>
                    <a:pt x="430" y="304"/>
                  </a:cubicBezTo>
                  <a:cubicBezTo>
                    <a:pt x="430" y="304"/>
                    <a:pt x="430" y="304"/>
                    <a:pt x="430" y="304"/>
                  </a:cubicBezTo>
                  <a:moveTo>
                    <a:pt x="463" y="304"/>
                  </a:moveTo>
                  <a:cubicBezTo>
                    <a:pt x="456" y="304"/>
                    <a:pt x="448" y="308"/>
                    <a:pt x="443" y="314"/>
                  </a:cubicBezTo>
                  <a:cubicBezTo>
                    <a:pt x="439" y="319"/>
                    <a:pt x="441" y="324"/>
                    <a:pt x="447" y="324"/>
                  </a:cubicBezTo>
                  <a:cubicBezTo>
                    <a:pt x="454" y="324"/>
                    <a:pt x="462" y="319"/>
                    <a:pt x="467" y="314"/>
                  </a:cubicBezTo>
                  <a:cubicBezTo>
                    <a:pt x="471" y="308"/>
                    <a:pt x="469" y="304"/>
                    <a:pt x="463" y="304"/>
                  </a:cubicBezTo>
                  <a:cubicBezTo>
                    <a:pt x="463" y="304"/>
                    <a:pt x="463" y="304"/>
                    <a:pt x="463" y="304"/>
                  </a:cubicBezTo>
                  <a:moveTo>
                    <a:pt x="496" y="303"/>
                  </a:moveTo>
                  <a:cubicBezTo>
                    <a:pt x="489" y="303"/>
                    <a:pt x="481" y="308"/>
                    <a:pt x="477" y="314"/>
                  </a:cubicBezTo>
                  <a:cubicBezTo>
                    <a:pt x="472" y="319"/>
                    <a:pt x="474" y="324"/>
                    <a:pt x="481" y="324"/>
                  </a:cubicBezTo>
                  <a:cubicBezTo>
                    <a:pt x="487" y="324"/>
                    <a:pt x="496" y="319"/>
                    <a:pt x="500" y="313"/>
                  </a:cubicBezTo>
                  <a:cubicBezTo>
                    <a:pt x="504" y="308"/>
                    <a:pt x="502" y="303"/>
                    <a:pt x="496" y="303"/>
                  </a:cubicBezTo>
                  <a:cubicBezTo>
                    <a:pt x="496" y="303"/>
                    <a:pt x="496" y="303"/>
                    <a:pt x="496" y="303"/>
                  </a:cubicBezTo>
                  <a:moveTo>
                    <a:pt x="529" y="303"/>
                  </a:moveTo>
                  <a:cubicBezTo>
                    <a:pt x="522" y="303"/>
                    <a:pt x="514" y="308"/>
                    <a:pt x="510" y="313"/>
                  </a:cubicBezTo>
                  <a:cubicBezTo>
                    <a:pt x="505" y="319"/>
                    <a:pt x="507" y="323"/>
                    <a:pt x="514" y="323"/>
                  </a:cubicBezTo>
                  <a:cubicBezTo>
                    <a:pt x="520" y="323"/>
                    <a:pt x="529" y="319"/>
                    <a:pt x="533" y="313"/>
                  </a:cubicBezTo>
                  <a:cubicBezTo>
                    <a:pt x="537" y="308"/>
                    <a:pt x="535" y="303"/>
                    <a:pt x="529" y="303"/>
                  </a:cubicBezTo>
                  <a:cubicBezTo>
                    <a:pt x="529" y="303"/>
                    <a:pt x="529" y="303"/>
                    <a:pt x="529" y="303"/>
                  </a:cubicBezTo>
                  <a:moveTo>
                    <a:pt x="562" y="303"/>
                  </a:moveTo>
                  <a:cubicBezTo>
                    <a:pt x="555" y="303"/>
                    <a:pt x="547" y="307"/>
                    <a:pt x="543" y="313"/>
                  </a:cubicBezTo>
                  <a:cubicBezTo>
                    <a:pt x="539" y="319"/>
                    <a:pt x="541" y="323"/>
                    <a:pt x="547" y="323"/>
                  </a:cubicBezTo>
                  <a:cubicBezTo>
                    <a:pt x="553" y="323"/>
                    <a:pt x="562" y="318"/>
                    <a:pt x="566" y="313"/>
                  </a:cubicBezTo>
                  <a:cubicBezTo>
                    <a:pt x="570" y="307"/>
                    <a:pt x="568" y="303"/>
                    <a:pt x="562" y="303"/>
                  </a:cubicBezTo>
                  <a:cubicBezTo>
                    <a:pt x="562" y="303"/>
                    <a:pt x="562" y="303"/>
                    <a:pt x="562" y="303"/>
                  </a:cubicBezTo>
                  <a:moveTo>
                    <a:pt x="596" y="303"/>
                  </a:moveTo>
                  <a:cubicBezTo>
                    <a:pt x="590" y="303"/>
                    <a:pt x="581" y="307"/>
                    <a:pt x="577" y="313"/>
                  </a:cubicBezTo>
                  <a:cubicBezTo>
                    <a:pt x="573" y="318"/>
                    <a:pt x="575" y="323"/>
                    <a:pt x="581" y="323"/>
                  </a:cubicBezTo>
                  <a:cubicBezTo>
                    <a:pt x="588" y="323"/>
                    <a:pt x="596" y="318"/>
                    <a:pt x="600" y="313"/>
                  </a:cubicBezTo>
                  <a:cubicBezTo>
                    <a:pt x="604" y="307"/>
                    <a:pt x="602" y="303"/>
                    <a:pt x="596" y="303"/>
                  </a:cubicBezTo>
                  <a:cubicBezTo>
                    <a:pt x="596" y="303"/>
                    <a:pt x="596" y="303"/>
                    <a:pt x="596" y="303"/>
                  </a:cubicBezTo>
                  <a:moveTo>
                    <a:pt x="629" y="302"/>
                  </a:moveTo>
                  <a:cubicBezTo>
                    <a:pt x="622" y="302"/>
                    <a:pt x="614" y="307"/>
                    <a:pt x="610" y="312"/>
                  </a:cubicBezTo>
                  <a:cubicBezTo>
                    <a:pt x="606" y="318"/>
                    <a:pt x="608" y="323"/>
                    <a:pt x="614" y="323"/>
                  </a:cubicBezTo>
                  <a:cubicBezTo>
                    <a:pt x="621" y="322"/>
                    <a:pt x="629" y="318"/>
                    <a:pt x="633" y="312"/>
                  </a:cubicBezTo>
                  <a:cubicBezTo>
                    <a:pt x="637" y="307"/>
                    <a:pt x="635" y="302"/>
                    <a:pt x="629" y="302"/>
                  </a:cubicBezTo>
                  <a:cubicBezTo>
                    <a:pt x="629" y="302"/>
                    <a:pt x="629" y="302"/>
                    <a:pt x="629" y="302"/>
                  </a:cubicBezTo>
                  <a:moveTo>
                    <a:pt x="662" y="302"/>
                  </a:moveTo>
                  <a:cubicBezTo>
                    <a:pt x="655" y="302"/>
                    <a:pt x="647" y="307"/>
                    <a:pt x="643" y="312"/>
                  </a:cubicBezTo>
                  <a:cubicBezTo>
                    <a:pt x="639" y="318"/>
                    <a:pt x="641" y="322"/>
                    <a:pt x="648" y="322"/>
                  </a:cubicBezTo>
                  <a:cubicBezTo>
                    <a:pt x="654" y="322"/>
                    <a:pt x="663" y="318"/>
                    <a:pt x="666" y="312"/>
                  </a:cubicBezTo>
                  <a:cubicBezTo>
                    <a:pt x="670" y="306"/>
                    <a:pt x="668" y="302"/>
                    <a:pt x="662" y="302"/>
                  </a:cubicBezTo>
                  <a:cubicBezTo>
                    <a:pt x="662" y="302"/>
                    <a:pt x="662" y="302"/>
                    <a:pt x="662" y="302"/>
                  </a:cubicBezTo>
                  <a:moveTo>
                    <a:pt x="695" y="302"/>
                  </a:moveTo>
                  <a:cubicBezTo>
                    <a:pt x="689" y="302"/>
                    <a:pt x="681" y="306"/>
                    <a:pt x="677" y="312"/>
                  </a:cubicBezTo>
                  <a:cubicBezTo>
                    <a:pt x="673" y="318"/>
                    <a:pt x="675" y="322"/>
                    <a:pt x="681" y="322"/>
                  </a:cubicBezTo>
                  <a:cubicBezTo>
                    <a:pt x="688" y="322"/>
                    <a:pt x="696" y="317"/>
                    <a:pt x="700" y="312"/>
                  </a:cubicBezTo>
                  <a:cubicBezTo>
                    <a:pt x="704" y="306"/>
                    <a:pt x="702" y="302"/>
                    <a:pt x="695" y="302"/>
                  </a:cubicBezTo>
                  <a:cubicBezTo>
                    <a:pt x="695" y="302"/>
                    <a:pt x="695" y="302"/>
                    <a:pt x="695" y="302"/>
                  </a:cubicBezTo>
                  <a:moveTo>
                    <a:pt x="728" y="301"/>
                  </a:moveTo>
                  <a:cubicBezTo>
                    <a:pt x="722" y="302"/>
                    <a:pt x="713" y="306"/>
                    <a:pt x="710" y="312"/>
                  </a:cubicBezTo>
                  <a:cubicBezTo>
                    <a:pt x="706" y="317"/>
                    <a:pt x="708" y="322"/>
                    <a:pt x="715" y="322"/>
                  </a:cubicBezTo>
                  <a:cubicBezTo>
                    <a:pt x="721" y="322"/>
                    <a:pt x="729" y="317"/>
                    <a:pt x="733" y="311"/>
                  </a:cubicBezTo>
                  <a:cubicBezTo>
                    <a:pt x="737" y="306"/>
                    <a:pt x="734" y="301"/>
                    <a:pt x="728" y="301"/>
                  </a:cubicBezTo>
                  <a:cubicBezTo>
                    <a:pt x="728" y="301"/>
                    <a:pt x="728" y="301"/>
                    <a:pt x="728" y="301"/>
                  </a:cubicBezTo>
                  <a:moveTo>
                    <a:pt x="761" y="301"/>
                  </a:moveTo>
                  <a:cubicBezTo>
                    <a:pt x="755" y="301"/>
                    <a:pt x="747" y="306"/>
                    <a:pt x="743" y="311"/>
                  </a:cubicBezTo>
                  <a:cubicBezTo>
                    <a:pt x="739" y="317"/>
                    <a:pt x="741" y="322"/>
                    <a:pt x="748" y="321"/>
                  </a:cubicBezTo>
                  <a:cubicBezTo>
                    <a:pt x="754" y="321"/>
                    <a:pt x="762" y="317"/>
                    <a:pt x="766" y="311"/>
                  </a:cubicBezTo>
                  <a:cubicBezTo>
                    <a:pt x="770" y="306"/>
                    <a:pt x="767" y="301"/>
                    <a:pt x="761" y="301"/>
                  </a:cubicBezTo>
                  <a:cubicBezTo>
                    <a:pt x="761" y="301"/>
                    <a:pt x="761" y="301"/>
                    <a:pt x="761" y="301"/>
                  </a:cubicBezTo>
                  <a:moveTo>
                    <a:pt x="794" y="301"/>
                  </a:moveTo>
                  <a:cubicBezTo>
                    <a:pt x="787" y="301"/>
                    <a:pt x="779" y="306"/>
                    <a:pt x="776" y="311"/>
                  </a:cubicBezTo>
                  <a:cubicBezTo>
                    <a:pt x="772" y="317"/>
                    <a:pt x="774" y="321"/>
                    <a:pt x="781" y="321"/>
                  </a:cubicBezTo>
                  <a:cubicBezTo>
                    <a:pt x="787" y="321"/>
                    <a:pt x="795" y="317"/>
                    <a:pt x="799" y="311"/>
                  </a:cubicBezTo>
                  <a:cubicBezTo>
                    <a:pt x="803" y="305"/>
                    <a:pt x="800" y="301"/>
                    <a:pt x="794" y="301"/>
                  </a:cubicBezTo>
                  <a:cubicBezTo>
                    <a:pt x="794" y="301"/>
                    <a:pt x="794" y="301"/>
                    <a:pt x="794" y="301"/>
                  </a:cubicBezTo>
                  <a:moveTo>
                    <a:pt x="827" y="301"/>
                  </a:moveTo>
                  <a:cubicBezTo>
                    <a:pt x="821" y="301"/>
                    <a:pt x="813" y="305"/>
                    <a:pt x="809" y="311"/>
                  </a:cubicBezTo>
                  <a:cubicBezTo>
                    <a:pt x="805" y="316"/>
                    <a:pt x="808" y="321"/>
                    <a:pt x="814" y="321"/>
                  </a:cubicBezTo>
                  <a:cubicBezTo>
                    <a:pt x="821" y="321"/>
                    <a:pt x="829" y="316"/>
                    <a:pt x="832" y="311"/>
                  </a:cubicBezTo>
                  <a:cubicBezTo>
                    <a:pt x="836" y="305"/>
                    <a:pt x="833" y="301"/>
                    <a:pt x="827" y="301"/>
                  </a:cubicBezTo>
                  <a:cubicBezTo>
                    <a:pt x="827" y="301"/>
                    <a:pt x="827" y="301"/>
                    <a:pt x="827" y="301"/>
                  </a:cubicBezTo>
                  <a:moveTo>
                    <a:pt x="860" y="300"/>
                  </a:moveTo>
                  <a:cubicBezTo>
                    <a:pt x="854" y="300"/>
                    <a:pt x="846" y="305"/>
                    <a:pt x="842" y="311"/>
                  </a:cubicBezTo>
                  <a:cubicBezTo>
                    <a:pt x="839" y="316"/>
                    <a:pt x="841" y="321"/>
                    <a:pt x="848" y="321"/>
                  </a:cubicBezTo>
                  <a:cubicBezTo>
                    <a:pt x="854" y="321"/>
                    <a:pt x="862" y="316"/>
                    <a:pt x="866" y="310"/>
                  </a:cubicBezTo>
                  <a:cubicBezTo>
                    <a:pt x="869" y="305"/>
                    <a:pt x="867" y="300"/>
                    <a:pt x="860" y="300"/>
                  </a:cubicBezTo>
                  <a:cubicBezTo>
                    <a:pt x="860" y="300"/>
                    <a:pt x="860" y="300"/>
                    <a:pt x="860" y="300"/>
                  </a:cubicBezTo>
                  <a:moveTo>
                    <a:pt x="893" y="300"/>
                  </a:moveTo>
                  <a:cubicBezTo>
                    <a:pt x="887" y="300"/>
                    <a:pt x="879" y="305"/>
                    <a:pt x="875" y="310"/>
                  </a:cubicBezTo>
                  <a:cubicBezTo>
                    <a:pt x="872" y="316"/>
                    <a:pt x="874" y="320"/>
                    <a:pt x="881" y="320"/>
                  </a:cubicBezTo>
                  <a:cubicBezTo>
                    <a:pt x="887" y="320"/>
                    <a:pt x="895" y="316"/>
                    <a:pt x="899" y="310"/>
                  </a:cubicBezTo>
                  <a:cubicBezTo>
                    <a:pt x="902" y="305"/>
                    <a:pt x="900" y="300"/>
                    <a:pt x="893" y="300"/>
                  </a:cubicBezTo>
                  <a:cubicBezTo>
                    <a:pt x="893" y="300"/>
                    <a:pt x="893" y="300"/>
                    <a:pt x="893" y="300"/>
                  </a:cubicBezTo>
                  <a:moveTo>
                    <a:pt x="924" y="300"/>
                  </a:moveTo>
                  <a:cubicBezTo>
                    <a:pt x="918" y="300"/>
                    <a:pt x="910" y="304"/>
                    <a:pt x="907" y="310"/>
                  </a:cubicBezTo>
                  <a:cubicBezTo>
                    <a:pt x="903" y="316"/>
                    <a:pt x="906" y="320"/>
                    <a:pt x="912" y="320"/>
                  </a:cubicBezTo>
                  <a:cubicBezTo>
                    <a:pt x="919" y="320"/>
                    <a:pt x="927" y="316"/>
                    <a:pt x="930" y="310"/>
                  </a:cubicBezTo>
                  <a:cubicBezTo>
                    <a:pt x="933" y="304"/>
                    <a:pt x="931" y="300"/>
                    <a:pt x="925" y="300"/>
                  </a:cubicBezTo>
                  <a:cubicBezTo>
                    <a:pt x="924" y="300"/>
                    <a:pt x="924" y="300"/>
                    <a:pt x="924" y="300"/>
                  </a:cubicBezTo>
                  <a:moveTo>
                    <a:pt x="1156" y="298"/>
                  </a:moveTo>
                  <a:cubicBezTo>
                    <a:pt x="1149" y="298"/>
                    <a:pt x="1142" y="303"/>
                    <a:pt x="1139" y="308"/>
                  </a:cubicBezTo>
                  <a:cubicBezTo>
                    <a:pt x="1136" y="314"/>
                    <a:pt x="1139" y="318"/>
                    <a:pt x="1145" y="318"/>
                  </a:cubicBezTo>
                  <a:cubicBezTo>
                    <a:pt x="1152" y="318"/>
                    <a:pt x="1159" y="314"/>
                    <a:pt x="1162" y="308"/>
                  </a:cubicBezTo>
                  <a:cubicBezTo>
                    <a:pt x="1165" y="302"/>
                    <a:pt x="1162" y="298"/>
                    <a:pt x="1156" y="298"/>
                  </a:cubicBezTo>
                  <a:cubicBezTo>
                    <a:pt x="1156" y="298"/>
                    <a:pt x="1156" y="298"/>
                    <a:pt x="1156" y="298"/>
                  </a:cubicBezTo>
                  <a:moveTo>
                    <a:pt x="1188" y="297"/>
                  </a:moveTo>
                  <a:cubicBezTo>
                    <a:pt x="1182" y="297"/>
                    <a:pt x="1174" y="302"/>
                    <a:pt x="1172" y="307"/>
                  </a:cubicBezTo>
                  <a:cubicBezTo>
                    <a:pt x="1169" y="313"/>
                    <a:pt x="1172" y="317"/>
                    <a:pt x="1178" y="317"/>
                  </a:cubicBezTo>
                  <a:cubicBezTo>
                    <a:pt x="1185" y="317"/>
                    <a:pt x="1192" y="313"/>
                    <a:pt x="1195" y="307"/>
                  </a:cubicBezTo>
                  <a:cubicBezTo>
                    <a:pt x="1198" y="302"/>
                    <a:pt x="1195" y="297"/>
                    <a:pt x="1188" y="297"/>
                  </a:cubicBezTo>
                  <a:cubicBezTo>
                    <a:pt x="1188" y="297"/>
                    <a:pt x="1188" y="297"/>
                    <a:pt x="1188" y="297"/>
                  </a:cubicBezTo>
                  <a:moveTo>
                    <a:pt x="1222" y="297"/>
                  </a:moveTo>
                  <a:cubicBezTo>
                    <a:pt x="1215" y="297"/>
                    <a:pt x="1208" y="301"/>
                    <a:pt x="1205" y="307"/>
                  </a:cubicBezTo>
                  <a:cubicBezTo>
                    <a:pt x="1202" y="313"/>
                    <a:pt x="1205" y="317"/>
                    <a:pt x="1212" y="317"/>
                  </a:cubicBezTo>
                  <a:cubicBezTo>
                    <a:pt x="1218" y="317"/>
                    <a:pt x="1226" y="312"/>
                    <a:pt x="1228" y="307"/>
                  </a:cubicBezTo>
                  <a:cubicBezTo>
                    <a:pt x="1231" y="301"/>
                    <a:pt x="1228" y="297"/>
                    <a:pt x="1222" y="297"/>
                  </a:cubicBezTo>
                  <a:cubicBezTo>
                    <a:pt x="1222" y="297"/>
                    <a:pt x="1222" y="297"/>
                    <a:pt x="1222" y="297"/>
                  </a:cubicBezTo>
                  <a:moveTo>
                    <a:pt x="1254" y="297"/>
                  </a:moveTo>
                  <a:cubicBezTo>
                    <a:pt x="1248" y="297"/>
                    <a:pt x="1241" y="301"/>
                    <a:pt x="1238" y="307"/>
                  </a:cubicBezTo>
                  <a:cubicBezTo>
                    <a:pt x="1235" y="312"/>
                    <a:pt x="1238" y="317"/>
                    <a:pt x="1245" y="317"/>
                  </a:cubicBezTo>
                  <a:cubicBezTo>
                    <a:pt x="1251" y="317"/>
                    <a:pt x="1259" y="312"/>
                    <a:pt x="1261" y="307"/>
                  </a:cubicBezTo>
                  <a:cubicBezTo>
                    <a:pt x="1264" y="301"/>
                    <a:pt x="1261" y="297"/>
                    <a:pt x="1254" y="297"/>
                  </a:cubicBezTo>
                  <a:cubicBezTo>
                    <a:pt x="1254" y="297"/>
                    <a:pt x="1254" y="297"/>
                    <a:pt x="1254" y="297"/>
                  </a:cubicBezTo>
                  <a:moveTo>
                    <a:pt x="1288" y="296"/>
                  </a:moveTo>
                  <a:cubicBezTo>
                    <a:pt x="1282" y="296"/>
                    <a:pt x="1275" y="301"/>
                    <a:pt x="1272" y="306"/>
                  </a:cubicBezTo>
                  <a:cubicBezTo>
                    <a:pt x="1269" y="312"/>
                    <a:pt x="1272" y="317"/>
                    <a:pt x="1279" y="317"/>
                  </a:cubicBezTo>
                  <a:cubicBezTo>
                    <a:pt x="1285" y="317"/>
                    <a:pt x="1293" y="312"/>
                    <a:pt x="1295" y="306"/>
                  </a:cubicBezTo>
                  <a:cubicBezTo>
                    <a:pt x="1298" y="301"/>
                    <a:pt x="1295" y="296"/>
                    <a:pt x="1288" y="296"/>
                  </a:cubicBezTo>
                  <a:cubicBezTo>
                    <a:pt x="1288" y="296"/>
                    <a:pt x="1288" y="296"/>
                    <a:pt x="1288" y="296"/>
                  </a:cubicBezTo>
                  <a:moveTo>
                    <a:pt x="2243" y="290"/>
                  </a:moveTo>
                  <a:cubicBezTo>
                    <a:pt x="2237" y="290"/>
                    <a:pt x="2231" y="294"/>
                    <a:pt x="2231" y="300"/>
                  </a:cubicBezTo>
                  <a:cubicBezTo>
                    <a:pt x="2230" y="306"/>
                    <a:pt x="2235" y="310"/>
                    <a:pt x="2241" y="310"/>
                  </a:cubicBezTo>
                  <a:cubicBezTo>
                    <a:pt x="2248" y="310"/>
                    <a:pt x="2253" y="305"/>
                    <a:pt x="2254" y="300"/>
                  </a:cubicBezTo>
                  <a:cubicBezTo>
                    <a:pt x="2254" y="294"/>
                    <a:pt x="2250" y="290"/>
                    <a:pt x="2243" y="290"/>
                  </a:cubicBezTo>
                  <a:cubicBezTo>
                    <a:pt x="2243" y="290"/>
                    <a:pt x="2243" y="290"/>
                    <a:pt x="2243" y="290"/>
                  </a:cubicBezTo>
                  <a:moveTo>
                    <a:pt x="2276" y="289"/>
                  </a:moveTo>
                  <a:cubicBezTo>
                    <a:pt x="2270" y="289"/>
                    <a:pt x="2264" y="294"/>
                    <a:pt x="2263" y="300"/>
                  </a:cubicBezTo>
                  <a:cubicBezTo>
                    <a:pt x="2263" y="305"/>
                    <a:pt x="2268" y="310"/>
                    <a:pt x="2274" y="310"/>
                  </a:cubicBezTo>
                  <a:cubicBezTo>
                    <a:pt x="2281" y="310"/>
                    <a:pt x="2286" y="305"/>
                    <a:pt x="2287" y="300"/>
                  </a:cubicBezTo>
                  <a:cubicBezTo>
                    <a:pt x="2287" y="294"/>
                    <a:pt x="2282" y="289"/>
                    <a:pt x="2276" y="289"/>
                  </a:cubicBezTo>
                  <a:cubicBezTo>
                    <a:pt x="2276" y="289"/>
                    <a:pt x="2276" y="289"/>
                    <a:pt x="2276" y="289"/>
                  </a:cubicBezTo>
                  <a:moveTo>
                    <a:pt x="2407" y="288"/>
                  </a:moveTo>
                  <a:cubicBezTo>
                    <a:pt x="2401" y="288"/>
                    <a:pt x="2395" y="293"/>
                    <a:pt x="2395" y="299"/>
                  </a:cubicBezTo>
                  <a:cubicBezTo>
                    <a:pt x="2395" y="304"/>
                    <a:pt x="2400" y="309"/>
                    <a:pt x="2406" y="309"/>
                  </a:cubicBezTo>
                  <a:cubicBezTo>
                    <a:pt x="2413" y="309"/>
                    <a:pt x="2418" y="304"/>
                    <a:pt x="2418" y="299"/>
                  </a:cubicBezTo>
                  <a:cubicBezTo>
                    <a:pt x="2419" y="293"/>
                    <a:pt x="2414" y="288"/>
                    <a:pt x="2407" y="288"/>
                  </a:cubicBezTo>
                  <a:cubicBezTo>
                    <a:pt x="2407" y="288"/>
                    <a:pt x="2407" y="288"/>
                    <a:pt x="2407" y="288"/>
                  </a:cubicBezTo>
                  <a:moveTo>
                    <a:pt x="2572" y="288"/>
                  </a:moveTo>
                  <a:cubicBezTo>
                    <a:pt x="2566" y="288"/>
                    <a:pt x="2561" y="293"/>
                    <a:pt x="2561" y="299"/>
                  </a:cubicBezTo>
                  <a:cubicBezTo>
                    <a:pt x="2561" y="304"/>
                    <a:pt x="2567" y="309"/>
                    <a:pt x="2573" y="309"/>
                  </a:cubicBezTo>
                  <a:cubicBezTo>
                    <a:pt x="2579" y="309"/>
                    <a:pt x="2584" y="304"/>
                    <a:pt x="2584" y="299"/>
                  </a:cubicBezTo>
                  <a:cubicBezTo>
                    <a:pt x="2584" y="293"/>
                    <a:pt x="2579" y="288"/>
                    <a:pt x="2573" y="288"/>
                  </a:cubicBezTo>
                  <a:cubicBezTo>
                    <a:pt x="2572" y="288"/>
                    <a:pt x="2572" y="288"/>
                    <a:pt x="2572" y="288"/>
                  </a:cubicBezTo>
                  <a:moveTo>
                    <a:pt x="2440" y="288"/>
                  </a:moveTo>
                  <a:cubicBezTo>
                    <a:pt x="2433" y="288"/>
                    <a:pt x="2428" y="293"/>
                    <a:pt x="2428" y="298"/>
                  </a:cubicBezTo>
                  <a:cubicBezTo>
                    <a:pt x="2428" y="304"/>
                    <a:pt x="2433" y="309"/>
                    <a:pt x="2439" y="309"/>
                  </a:cubicBezTo>
                  <a:cubicBezTo>
                    <a:pt x="2446" y="308"/>
                    <a:pt x="2451" y="304"/>
                    <a:pt x="2451" y="298"/>
                  </a:cubicBezTo>
                  <a:cubicBezTo>
                    <a:pt x="2451" y="293"/>
                    <a:pt x="2446" y="288"/>
                    <a:pt x="2440" y="288"/>
                  </a:cubicBezTo>
                  <a:cubicBezTo>
                    <a:pt x="2440" y="288"/>
                    <a:pt x="2440" y="288"/>
                    <a:pt x="2440" y="288"/>
                  </a:cubicBezTo>
                  <a:moveTo>
                    <a:pt x="2605" y="288"/>
                  </a:moveTo>
                  <a:cubicBezTo>
                    <a:pt x="2599" y="288"/>
                    <a:pt x="2594" y="293"/>
                    <a:pt x="2594" y="298"/>
                  </a:cubicBezTo>
                  <a:cubicBezTo>
                    <a:pt x="2594" y="304"/>
                    <a:pt x="2600" y="309"/>
                    <a:pt x="2606" y="309"/>
                  </a:cubicBezTo>
                  <a:cubicBezTo>
                    <a:pt x="2612" y="309"/>
                    <a:pt x="2617" y="304"/>
                    <a:pt x="2617" y="298"/>
                  </a:cubicBezTo>
                  <a:cubicBezTo>
                    <a:pt x="2617" y="293"/>
                    <a:pt x="2612" y="288"/>
                    <a:pt x="2605" y="288"/>
                  </a:cubicBezTo>
                  <a:cubicBezTo>
                    <a:pt x="2605" y="288"/>
                    <a:pt x="2605" y="288"/>
                    <a:pt x="2605" y="288"/>
                  </a:cubicBezTo>
                  <a:moveTo>
                    <a:pt x="2473" y="288"/>
                  </a:moveTo>
                  <a:cubicBezTo>
                    <a:pt x="2466" y="288"/>
                    <a:pt x="2461" y="293"/>
                    <a:pt x="2461" y="298"/>
                  </a:cubicBezTo>
                  <a:cubicBezTo>
                    <a:pt x="2461" y="304"/>
                    <a:pt x="2466" y="308"/>
                    <a:pt x="2472" y="308"/>
                  </a:cubicBezTo>
                  <a:cubicBezTo>
                    <a:pt x="2479" y="308"/>
                    <a:pt x="2484" y="304"/>
                    <a:pt x="2484" y="298"/>
                  </a:cubicBezTo>
                  <a:cubicBezTo>
                    <a:pt x="2484" y="292"/>
                    <a:pt x="2479" y="288"/>
                    <a:pt x="2473" y="288"/>
                  </a:cubicBezTo>
                  <a:cubicBezTo>
                    <a:pt x="2473" y="288"/>
                    <a:pt x="2473" y="288"/>
                    <a:pt x="2473" y="288"/>
                  </a:cubicBezTo>
                  <a:moveTo>
                    <a:pt x="2638" y="288"/>
                  </a:moveTo>
                  <a:cubicBezTo>
                    <a:pt x="2631" y="288"/>
                    <a:pt x="2627" y="293"/>
                    <a:pt x="2627" y="298"/>
                  </a:cubicBezTo>
                  <a:cubicBezTo>
                    <a:pt x="2627" y="304"/>
                    <a:pt x="2632" y="308"/>
                    <a:pt x="2639" y="308"/>
                  </a:cubicBezTo>
                  <a:cubicBezTo>
                    <a:pt x="2645" y="308"/>
                    <a:pt x="2650" y="304"/>
                    <a:pt x="2650" y="298"/>
                  </a:cubicBezTo>
                  <a:cubicBezTo>
                    <a:pt x="2650" y="292"/>
                    <a:pt x="2644" y="288"/>
                    <a:pt x="2638" y="288"/>
                  </a:cubicBezTo>
                  <a:cubicBezTo>
                    <a:pt x="2638" y="288"/>
                    <a:pt x="2638" y="288"/>
                    <a:pt x="2638" y="288"/>
                  </a:cubicBezTo>
                  <a:moveTo>
                    <a:pt x="2505" y="288"/>
                  </a:moveTo>
                  <a:cubicBezTo>
                    <a:pt x="2499" y="288"/>
                    <a:pt x="2494" y="292"/>
                    <a:pt x="2494" y="298"/>
                  </a:cubicBezTo>
                  <a:cubicBezTo>
                    <a:pt x="2494" y="304"/>
                    <a:pt x="2499" y="308"/>
                    <a:pt x="2505" y="308"/>
                  </a:cubicBezTo>
                  <a:cubicBezTo>
                    <a:pt x="2512" y="308"/>
                    <a:pt x="2517" y="303"/>
                    <a:pt x="2517" y="298"/>
                  </a:cubicBezTo>
                  <a:cubicBezTo>
                    <a:pt x="2517" y="292"/>
                    <a:pt x="2512" y="288"/>
                    <a:pt x="2505" y="288"/>
                  </a:cubicBezTo>
                  <a:cubicBezTo>
                    <a:pt x="2505" y="288"/>
                    <a:pt x="2505" y="288"/>
                    <a:pt x="2505" y="288"/>
                  </a:cubicBezTo>
                  <a:moveTo>
                    <a:pt x="2670" y="288"/>
                  </a:moveTo>
                  <a:cubicBezTo>
                    <a:pt x="2664" y="288"/>
                    <a:pt x="2659" y="292"/>
                    <a:pt x="2659" y="298"/>
                  </a:cubicBezTo>
                  <a:cubicBezTo>
                    <a:pt x="2660" y="304"/>
                    <a:pt x="2665" y="308"/>
                    <a:pt x="2672" y="308"/>
                  </a:cubicBezTo>
                  <a:cubicBezTo>
                    <a:pt x="2678" y="308"/>
                    <a:pt x="2683" y="303"/>
                    <a:pt x="2682" y="298"/>
                  </a:cubicBezTo>
                  <a:cubicBezTo>
                    <a:pt x="2682" y="292"/>
                    <a:pt x="2677" y="288"/>
                    <a:pt x="2670" y="288"/>
                  </a:cubicBezTo>
                  <a:cubicBezTo>
                    <a:pt x="2670" y="288"/>
                    <a:pt x="2670" y="288"/>
                    <a:pt x="2670" y="288"/>
                  </a:cubicBezTo>
                  <a:moveTo>
                    <a:pt x="2538" y="287"/>
                  </a:moveTo>
                  <a:cubicBezTo>
                    <a:pt x="2532" y="287"/>
                    <a:pt x="2527" y="292"/>
                    <a:pt x="2527" y="298"/>
                  </a:cubicBezTo>
                  <a:cubicBezTo>
                    <a:pt x="2527" y="303"/>
                    <a:pt x="2532" y="308"/>
                    <a:pt x="2539" y="308"/>
                  </a:cubicBezTo>
                  <a:cubicBezTo>
                    <a:pt x="2545" y="308"/>
                    <a:pt x="2550" y="303"/>
                    <a:pt x="2550" y="297"/>
                  </a:cubicBezTo>
                  <a:cubicBezTo>
                    <a:pt x="2550" y="292"/>
                    <a:pt x="2545" y="287"/>
                    <a:pt x="2538" y="287"/>
                  </a:cubicBezTo>
                  <a:cubicBezTo>
                    <a:pt x="2538" y="287"/>
                    <a:pt x="2538" y="287"/>
                    <a:pt x="2538" y="287"/>
                  </a:cubicBezTo>
                  <a:moveTo>
                    <a:pt x="2703" y="287"/>
                  </a:moveTo>
                  <a:cubicBezTo>
                    <a:pt x="2697" y="287"/>
                    <a:pt x="2692" y="292"/>
                    <a:pt x="2692" y="298"/>
                  </a:cubicBezTo>
                  <a:cubicBezTo>
                    <a:pt x="2692" y="303"/>
                    <a:pt x="2698" y="308"/>
                    <a:pt x="2704" y="308"/>
                  </a:cubicBezTo>
                  <a:cubicBezTo>
                    <a:pt x="2711" y="308"/>
                    <a:pt x="2716" y="303"/>
                    <a:pt x="2715" y="297"/>
                  </a:cubicBezTo>
                  <a:cubicBezTo>
                    <a:pt x="2715" y="292"/>
                    <a:pt x="2709" y="287"/>
                    <a:pt x="2703" y="287"/>
                  </a:cubicBezTo>
                  <a:cubicBezTo>
                    <a:pt x="2703" y="287"/>
                    <a:pt x="2703" y="287"/>
                    <a:pt x="2703" y="287"/>
                  </a:cubicBezTo>
                  <a:moveTo>
                    <a:pt x="2736" y="287"/>
                  </a:moveTo>
                  <a:cubicBezTo>
                    <a:pt x="2729" y="287"/>
                    <a:pt x="2725" y="292"/>
                    <a:pt x="2725" y="297"/>
                  </a:cubicBezTo>
                  <a:cubicBezTo>
                    <a:pt x="2726" y="303"/>
                    <a:pt x="2731" y="308"/>
                    <a:pt x="2738" y="308"/>
                  </a:cubicBezTo>
                  <a:cubicBezTo>
                    <a:pt x="2744" y="307"/>
                    <a:pt x="2749" y="303"/>
                    <a:pt x="2748" y="297"/>
                  </a:cubicBezTo>
                  <a:cubicBezTo>
                    <a:pt x="2748" y="292"/>
                    <a:pt x="2742" y="287"/>
                    <a:pt x="2736" y="287"/>
                  </a:cubicBezTo>
                  <a:cubicBezTo>
                    <a:pt x="2736" y="287"/>
                    <a:pt x="2736" y="287"/>
                    <a:pt x="2736" y="287"/>
                  </a:cubicBezTo>
                  <a:moveTo>
                    <a:pt x="2769" y="287"/>
                  </a:moveTo>
                  <a:cubicBezTo>
                    <a:pt x="2763" y="287"/>
                    <a:pt x="2758" y="291"/>
                    <a:pt x="2758" y="297"/>
                  </a:cubicBezTo>
                  <a:cubicBezTo>
                    <a:pt x="2759" y="303"/>
                    <a:pt x="2765" y="307"/>
                    <a:pt x="2771" y="307"/>
                  </a:cubicBezTo>
                  <a:cubicBezTo>
                    <a:pt x="2777" y="307"/>
                    <a:pt x="2782" y="303"/>
                    <a:pt x="2782" y="297"/>
                  </a:cubicBezTo>
                  <a:cubicBezTo>
                    <a:pt x="2781" y="291"/>
                    <a:pt x="2775" y="287"/>
                    <a:pt x="2769" y="287"/>
                  </a:cubicBezTo>
                  <a:cubicBezTo>
                    <a:pt x="2769" y="287"/>
                    <a:pt x="2769" y="287"/>
                    <a:pt x="2769" y="287"/>
                  </a:cubicBezTo>
                  <a:moveTo>
                    <a:pt x="2802" y="287"/>
                  </a:moveTo>
                  <a:cubicBezTo>
                    <a:pt x="2795" y="287"/>
                    <a:pt x="2791" y="291"/>
                    <a:pt x="2791" y="297"/>
                  </a:cubicBezTo>
                  <a:cubicBezTo>
                    <a:pt x="2792" y="302"/>
                    <a:pt x="2798" y="307"/>
                    <a:pt x="2804" y="307"/>
                  </a:cubicBezTo>
                  <a:cubicBezTo>
                    <a:pt x="2810" y="307"/>
                    <a:pt x="2815" y="302"/>
                    <a:pt x="2814" y="297"/>
                  </a:cubicBezTo>
                  <a:cubicBezTo>
                    <a:pt x="2814" y="291"/>
                    <a:pt x="2808" y="287"/>
                    <a:pt x="2802" y="287"/>
                  </a:cubicBezTo>
                  <a:cubicBezTo>
                    <a:pt x="2802" y="287"/>
                    <a:pt x="2802" y="287"/>
                    <a:pt x="2802" y="287"/>
                  </a:cubicBezTo>
                  <a:moveTo>
                    <a:pt x="2835" y="286"/>
                  </a:moveTo>
                  <a:cubicBezTo>
                    <a:pt x="2828" y="286"/>
                    <a:pt x="2824" y="291"/>
                    <a:pt x="2824" y="297"/>
                  </a:cubicBezTo>
                  <a:cubicBezTo>
                    <a:pt x="2825" y="302"/>
                    <a:pt x="2831" y="307"/>
                    <a:pt x="2837" y="307"/>
                  </a:cubicBezTo>
                  <a:cubicBezTo>
                    <a:pt x="2843" y="307"/>
                    <a:pt x="2848" y="302"/>
                    <a:pt x="2847" y="296"/>
                  </a:cubicBezTo>
                  <a:cubicBezTo>
                    <a:pt x="2847" y="291"/>
                    <a:pt x="2841" y="286"/>
                    <a:pt x="2835" y="286"/>
                  </a:cubicBezTo>
                  <a:cubicBezTo>
                    <a:pt x="2835" y="286"/>
                    <a:pt x="2835" y="286"/>
                    <a:pt x="2835" y="286"/>
                  </a:cubicBezTo>
                  <a:moveTo>
                    <a:pt x="2867" y="286"/>
                  </a:moveTo>
                  <a:cubicBezTo>
                    <a:pt x="2861" y="286"/>
                    <a:pt x="2856" y="291"/>
                    <a:pt x="2857" y="296"/>
                  </a:cubicBezTo>
                  <a:cubicBezTo>
                    <a:pt x="2858" y="302"/>
                    <a:pt x="2864" y="307"/>
                    <a:pt x="2870" y="306"/>
                  </a:cubicBezTo>
                  <a:cubicBezTo>
                    <a:pt x="2876" y="306"/>
                    <a:pt x="2881" y="302"/>
                    <a:pt x="2880" y="296"/>
                  </a:cubicBezTo>
                  <a:cubicBezTo>
                    <a:pt x="2879" y="290"/>
                    <a:pt x="2874" y="286"/>
                    <a:pt x="2867" y="286"/>
                  </a:cubicBezTo>
                  <a:cubicBezTo>
                    <a:pt x="2867" y="286"/>
                    <a:pt x="2867" y="286"/>
                    <a:pt x="2867" y="286"/>
                  </a:cubicBezTo>
                  <a:moveTo>
                    <a:pt x="2900" y="286"/>
                  </a:moveTo>
                  <a:cubicBezTo>
                    <a:pt x="2894" y="286"/>
                    <a:pt x="2889" y="290"/>
                    <a:pt x="2890" y="296"/>
                  </a:cubicBezTo>
                  <a:cubicBezTo>
                    <a:pt x="2891" y="302"/>
                    <a:pt x="2897" y="306"/>
                    <a:pt x="2903" y="306"/>
                  </a:cubicBezTo>
                  <a:cubicBezTo>
                    <a:pt x="2910" y="306"/>
                    <a:pt x="2914" y="302"/>
                    <a:pt x="2913" y="296"/>
                  </a:cubicBezTo>
                  <a:cubicBezTo>
                    <a:pt x="2912" y="290"/>
                    <a:pt x="2906" y="286"/>
                    <a:pt x="2900" y="286"/>
                  </a:cubicBezTo>
                  <a:cubicBezTo>
                    <a:pt x="2900" y="286"/>
                    <a:pt x="2900" y="286"/>
                    <a:pt x="2900" y="286"/>
                  </a:cubicBezTo>
                  <a:moveTo>
                    <a:pt x="2932" y="284"/>
                  </a:moveTo>
                  <a:cubicBezTo>
                    <a:pt x="2926" y="284"/>
                    <a:pt x="2922" y="288"/>
                    <a:pt x="2922" y="294"/>
                  </a:cubicBezTo>
                  <a:cubicBezTo>
                    <a:pt x="2923" y="300"/>
                    <a:pt x="2929" y="304"/>
                    <a:pt x="2936" y="304"/>
                  </a:cubicBezTo>
                  <a:cubicBezTo>
                    <a:pt x="2942" y="304"/>
                    <a:pt x="2946" y="300"/>
                    <a:pt x="2946" y="294"/>
                  </a:cubicBezTo>
                  <a:cubicBezTo>
                    <a:pt x="2945" y="288"/>
                    <a:pt x="2939" y="284"/>
                    <a:pt x="2932" y="284"/>
                  </a:cubicBezTo>
                  <a:cubicBezTo>
                    <a:pt x="2932" y="284"/>
                    <a:pt x="2932" y="284"/>
                    <a:pt x="2932" y="284"/>
                  </a:cubicBezTo>
                  <a:moveTo>
                    <a:pt x="2963" y="284"/>
                  </a:moveTo>
                  <a:cubicBezTo>
                    <a:pt x="2957" y="284"/>
                    <a:pt x="2953" y="288"/>
                    <a:pt x="2954" y="294"/>
                  </a:cubicBezTo>
                  <a:cubicBezTo>
                    <a:pt x="2955" y="300"/>
                    <a:pt x="2961" y="304"/>
                    <a:pt x="2967" y="304"/>
                  </a:cubicBezTo>
                  <a:cubicBezTo>
                    <a:pt x="2973" y="304"/>
                    <a:pt x="2978" y="299"/>
                    <a:pt x="2977" y="294"/>
                  </a:cubicBezTo>
                  <a:cubicBezTo>
                    <a:pt x="2976" y="288"/>
                    <a:pt x="2970" y="284"/>
                    <a:pt x="2964" y="284"/>
                  </a:cubicBezTo>
                  <a:cubicBezTo>
                    <a:pt x="2964" y="284"/>
                    <a:pt x="2964" y="284"/>
                    <a:pt x="2963" y="284"/>
                  </a:cubicBezTo>
                  <a:moveTo>
                    <a:pt x="2996" y="283"/>
                  </a:moveTo>
                  <a:cubicBezTo>
                    <a:pt x="2990" y="283"/>
                    <a:pt x="2985" y="288"/>
                    <a:pt x="2986" y="294"/>
                  </a:cubicBezTo>
                  <a:cubicBezTo>
                    <a:pt x="2987" y="299"/>
                    <a:pt x="2993" y="304"/>
                    <a:pt x="3000" y="304"/>
                  </a:cubicBezTo>
                  <a:cubicBezTo>
                    <a:pt x="3006" y="304"/>
                    <a:pt x="3011" y="299"/>
                    <a:pt x="3010" y="293"/>
                  </a:cubicBezTo>
                  <a:cubicBezTo>
                    <a:pt x="3008" y="288"/>
                    <a:pt x="3003" y="283"/>
                    <a:pt x="2996" y="283"/>
                  </a:cubicBezTo>
                  <a:cubicBezTo>
                    <a:pt x="2996" y="283"/>
                    <a:pt x="2996" y="283"/>
                    <a:pt x="2996" y="283"/>
                  </a:cubicBezTo>
                  <a:moveTo>
                    <a:pt x="3029" y="283"/>
                  </a:moveTo>
                  <a:cubicBezTo>
                    <a:pt x="3023" y="283"/>
                    <a:pt x="3018" y="288"/>
                    <a:pt x="3019" y="293"/>
                  </a:cubicBezTo>
                  <a:cubicBezTo>
                    <a:pt x="3021" y="299"/>
                    <a:pt x="3027" y="304"/>
                    <a:pt x="3033" y="304"/>
                  </a:cubicBezTo>
                  <a:cubicBezTo>
                    <a:pt x="3039" y="303"/>
                    <a:pt x="3044" y="299"/>
                    <a:pt x="3043" y="293"/>
                  </a:cubicBezTo>
                  <a:cubicBezTo>
                    <a:pt x="3041" y="288"/>
                    <a:pt x="3035" y="283"/>
                    <a:pt x="3029" y="283"/>
                  </a:cubicBezTo>
                  <a:cubicBezTo>
                    <a:pt x="3029" y="283"/>
                    <a:pt x="3029" y="283"/>
                    <a:pt x="3029" y="283"/>
                  </a:cubicBezTo>
                  <a:moveTo>
                    <a:pt x="3063" y="283"/>
                  </a:moveTo>
                  <a:cubicBezTo>
                    <a:pt x="3056" y="283"/>
                    <a:pt x="3052" y="287"/>
                    <a:pt x="3053" y="293"/>
                  </a:cubicBezTo>
                  <a:cubicBezTo>
                    <a:pt x="3055" y="299"/>
                    <a:pt x="3061" y="303"/>
                    <a:pt x="3067" y="303"/>
                  </a:cubicBezTo>
                  <a:cubicBezTo>
                    <a:pt x="3074" y="303"/>
                    <a:pt x="3078" y="299"/>
                    <a:pt x="3076" y="293"/>
                  </a:cubicBezTo>
                  <a:cubicBezTo>
                    <a:pt x="3075" y="287"/>
                    <a:pt x="3069" y="283"/>
                    <a:pt x="3063" y="283"/>
                  </a:cubicBezTo>
                  <a:cubicBezTo>
                    <a:pt x="3063" y="283"/>
                    <a:pt x="3063" y="283"/>
                    <a:pt x="3063" y="283"/>
                  </a:cubicBezTo>
                  <a:moveTo>
                    <a:pt x="3095" y="282"/>
                  </a:moveTo>
                  <a:cubicBezTo>
                    <a:pt x="3089" y="283"/>
                    <a:pt x="3085" y="287"/>
                    <a:pt x="3086" y="293"/>
                  </a:cubicBezTo>
                  <a:cubicBezTo>
                    <a:pt x="3087" y="298"/>
                    <a:pt x="3094" y="303"/>
                    <a:pt x="3100" y="303"/>
                  </a:cubicBezTo>
                  <a:cubicBezTo>
                    <a:pt x="3106" y="303"/>
                    <a:pt x="3110" y="298"/>
                    <a:pt x="3109" y="293"/>
                  </a:cubicBezTo>
                  <a:cubicBezTo>
                    <a:pt x="3108" y="287"/>
                    <a:pt x="3102" y="282"/>
                    <a:pt x="3096" y="282"/>
                  </a:cubicBezTo>
                  <a:cubicBezTo>
                    <a:pt x="3095" y="282"/>
                    <a:pt x="3095" y="282"/>
                    <a:pt x="3095" y="282"/>
                  </a:cubicBezTo>
                  <a:moveTo>
                    <a:pt x="3128" y="282"/>
                  </a:moveTo>
                  <a:cubicBezTo>
                    <a:pt x="3122" y="282"/>
                    <a:pt x="3118" y="287"/>
                    <a:pt x="3119" y="293"/>
                  </a:cubicBezTo>
                  <a:cubicBezTo>
                    <a:pt x="3120" y="298"/>
                    <a:pt x="3127" y="303"/>
                    <a:pt x="3133" y="303"/>
                  </a:cubicBezTo>
                  <a:cubicBezTo>
                    <a:pt x="3139" y="303"/>
                    <a:pt x="3144" y="298"/>
                    <a:pt x="3142" y="292"/>
                  </a:cubicBezTo>
                  <a:cubicBezTo>
                    <a:pt x="3141" y="287"/>
                    <a:pt x="3135" y="282"/>
                    <a:pt x="3128" y="282"/>
                  </a:cubicBezTo>
                  <a:cubicBezTo>
                    <a:pt x="3128" y="282"/>
                    <a:pt x="3128" y="282"/>
                    <a:pt x="3128" y="282"/>
                  </a:cubicBezTo>
                  <a:moveTo>
                    <a:pt x="3161" y="282"/>
                  </a:moveTo>
                  <a:cubicBezTo>
                    <a:pt x="3155" y="282"/>
                    <a:pt x="3151" y="287"/>
                    <a:pt x="3152" y="292"/>
                  </a:cubicBezTo>
                  <a:cubicBezTo>
                    <a:pt x="3154" y="298"/>
                    <a:pt x="3160" y="303"/>
                    <a:pt x="3167" y="302"/>
                  </a:cubicBezTo>
                  <a:cubicBezTo>
                    <a:pt x="3173" y="302"/>
                    <a:pt x="3177" y="298"/>
                    <a:pt x="3176" y="292"/>
                  </a:cubicBezTo>
                  <a:cubicBezTo>
                    <a:pt x="3174" y="286"/>
                    <a:pt x="3168" y="282"/>
                    <a:pt x="3162" y="282"/>
                  </a:cubicBezTo>
                  <a:cubicBezTo>
                    <a:pt x="3162" y="282"/>
                    <a:pt x="3161" y="282"/>
                    <a:pt x="3161" y="282"/>
                  </a:cubicBezTo>
                  <a:moveTo>
                    <a:pt x="3194" y="282"/>
                  </a:moveTo>
                  <a:cubicBezTo>
                    <a:pt x="3188" y="282"/>
                    <a:pt x="3184" y="286"/>
                    <a:pt x="3185" y="292"/>
                  </a:cubicBezTo>
                  <a:cubicBezTo>
                    <a:pt x="3187" y="298"/>
                    <a:pt x="3193" y="302"/>
                    <a:pt x="3199" y="302"/>
                  </a:cubicBezTo>
                  <a:cubicBezTo>
                    <a:pt x="3206" y="302"/>
                    <a:pt x="3210" y="298"/>
                    <a:pt x="3208" y="292"/>
                  </a:cubicBezTo>
                  <a:cubicBezTo>
                    <a:pt x="3207" y="286"/>
                    <a:pt x="3200" y="282"/>
                    <a:pt x="3194" y="282"/>
                  </a:cubicBezTo>
                  <a:cubicBezTo>
                    <a:pt x="3194" y="282"/>
                    <a:pt x="3194" y="282"/>
                    <a:pt x="3194" y="282"/>
                  </a:cubicBezTo>
                  <a:moveTo>
                    <a:pt x="3227" y="281"/>
                  </a:moveTo>
                  <a:cubicBezTo>
                    <a:pt x="3220" y="281"/>
                    <a:pt x="3217" y="286"/>
                    <a:pt x="3218" y="292"/>
                  </a:cubicBezTo>
                  <a:cubicBezTo>
                    <a:pt x="3220" y="297"/>
                    <a:pt x="3226" y="302"/>
                    <a:pt x="3232" y="302"/>
                  </a:cubicBezTo>
                  <a:cubicBezTo>
                    <a:pt x="3239" y="302"/>
                    <a:pt x="3243" y="297"/>
                    <a:pt x="3241" y="292"/>
                  </a:cubicBezTo>
                  <a:cubicBezTo>
                    <a:pt x="3240" y="286"/>
                    <a:pt x="3233" y="281"/>
                    <a:pt x="3227" y="281"/>
                  </a:cubicBezTo>
                  <a:cubicBezTo>
                    <a:pt x="3227" y="281"/>
                    <a:pt x="3227" y="281"/>
                    <a:pt x="3227" y="281"/>
                  </a:cubicBezTo>
                  <a:moveTo>
                    <a:pt x="3259" y="281"/>
                  </a:moveTo>
                  <a:cubicBezTo>
                    <a:pt x="3253" y="281"/>
                    <a:pt x="3249" y="286"/>
                    <a:pt x="3251" y="292"/>
                  </a:cubicBezTo>
                  <a:cubicBezTo>
                    <a:pt x="3252" y="297"/>
                    <a:pt x="3259" y="302"/>
                    <a:pt x="3265" y="302"/>
                  </a:cubicBezTo>
                  <a:cubicBezTo>
                    <a:pt x="3272" y="302"/>
                    <a:pt x="3275" y="297"/>
                    <a:pt x="3274" y="291"/>
                  </a:cubicBezTo>
                  <a:cubicBezTo>
                    <a:pt x="3272" y="286"/>
                    <a:pt x="3266" y="281"/>
                    <a:pt x="3260" y="281"/>
                  </a:cubicBezTo>
                  <a:cubicBezTo>
                    <a:pt x="3259" y="281"/>
                    <a:pt x="3259" y="281"/>
                    <a:pt x="3259" y="281"/>
                  </a:cubicBezTo>
                  <a:moveTo>
                    <a:pt x="3292" y="281"/>
                  </a:moveTo>
                  <a:cubicBezTo>
                    <a:pt x="3286" y="281"/>
                    <a:pt x="3282" y="286"/>
                    <a:pt x="3284" y="291"/>
                  </a:cubicBezTo>
                  <a:cubicBezTo>
                    <a:pt x="3285" y="297"/>
                    <a:pt x="3292" y="301"/>
                    <a:pt x="3298" y="301"/>
                  </a:cubicBezTo>
                  <a:cubicBezTo>
                    <a:pt x="3304" y="301"/>
                    <a:pt x="3308" y="297"/>
                    <a:pt x="3307" y="291"/>
                  </a:cubicBezTo>
                  <a:cubicBezTo>
                    <a:pt x="3305" y="285"/>
                    <a:pt x="3298" y="281"/>
                    <a:pt x="3292" y="281"/>
                  </a:cubicBezTo>
                  <a:cubicBezTo>
                    <a:pt x="3292" y="281"/>
                    <a:pt x="3292" y="281"/>
                    <a:pt x="3292" y="281"/>
                  </a:cubicBezTo>
                  <a:moveTo>
                    <a:pt x="3325" y="281"/>
                  </a:moveTo>
                  <a:cubicBezTo>
                    <a:pt x="3318" y="281"/>
                    <a:pt x="3315" y="285"/>
                    <a:pt x="3316" y="291"/>
                  </a:cubicBezTo>
                  <a:cubicBezTo>
                    <a:pt x="3318" y="297"/>
                    <a:pt x="3325" y="301"/>
                    <a:pt x="3331" y="301"/>
                  </a:cubicBezTo>
                  <a:cubicBezTo>
                    <a:pt x="3337" y="301"/>
                    <a:pt x="3341" y="296"/>
                    <a:pt x="3339" y="291"/>
                  </a:cubicBezTo>
                  <a:cubicBezTo>
                    <a:pt x="3338" y="285"/>
                    <a:pt x="3331" y="281"/>
                    <a:pt x="3325" y="281"/>
                  </a:cubicBezTo>
                  <a:cubicBezTo>
                    <a:pt x="3325" y="281"/>
                    <a:pt x="3325" y="281"/>
                    <a:pt x="3325" y="281"/>
                  </a:cubicBezTo>
                  <a:moveTo>
                    <a:pt x="3357" y="280"/>
                  </a:moveTo>
                  <a:cubicBezTo>
                    <a:pt x="3351" y="280"/>
                    <a:pt x="3347" y="285"/>
                    <a:pt x="3349" y="291"/>
                  </a:cubicBezTo>
                  <a:cubicBezTo>
                    <a:pt x="3351" y="296"/>
                    <a:pt x="3358" y="301"/>
                    <a:pt x="3364" y="301"/>
                  </a:cubicBezTo>
                  <a:cubicBezTo>
                    <a:pt x="3370" y="301"/>
                    <a:pt x="3374" y="296"/>
                    <a:pt x="3372" y="291"/>
                  </a:cubicBezTo>
                  <a:cubicBezTo>
                    <a:pt x="3370" y="285"/>
                    <a:pt x="3364" y="280"/>
                    <a:pt x="3358" y="280"/>
                  </a:cubicBezTo>
                  <a:cubicBezTo>
                    <a:pt x="3358" y="280"/>
                    <a:pt x="3357" y="280"/>
                    <a:pt x="3357" y="280"/>
                  </a:cubicBezTo>
                  <a:moveTo>
                    <a:pt x="3391" y="280"/>
                  </a:moveTo>
                  <a:cubicBezTo>
                    <a:pt x="3385" y="280"/>
                    <a:pt x="3381" y="285"/>
                    <a:pt x="3383" y="290"/>
                  </a:cubicBezTo>
                  <a:cubicBezTo>
                    <a:pt x="3385" y="296"/>
                    <a:pt x="3392" y="301"/>
                    <a:pt x="3398" y="301"/>
                  </a:cubicBezTo>
                  <a:cubicBezTo>
                    <a:pt x="3404" y="301"/>
                    <a:pt x="3408" y="296"/>
                    <a:pt x="3406" y="290"/>
                  </a:cubicBezTo>
                  <a:cubicBezTo>
                    <a:pt x="3404" y="285"/>
                    <a:pt x="3398" y="280"/>
                    <a:pt x="3391" y="280"/>
                  </a:cubicBezTo>
                  <a:cubicBezTo>
                    <a:pt x="3391" y="280"/>
                    <a:pt x="3391" y="280"/>
                    <a:pt x="3391" y="280"/>
                  </a:cubicBezTo>
                  <a:moveTo>
                    <a:pt x="3424" y="280"/>
                  </a:moveTo>
                  <a:cubicBezTo>
                    <a:pt x="3417" y="280"/>
                    <a:pt x="3414" y="284"/>
                    <a:pt x="3416" y="290"/>
                  </a:cubicBezTo>
                  <a:cubicBezTo>
                    <a:pt x="3418" y="296"/>
                    <a:pt x="3425" y="300"/>
                    <a:pt x="3431" y="300"/>
                  </a:cubicBezTo>
                  <a:cubicBezTo>
                    <a:pt x="3437" y="300"/>
                    <a:pt x="3441" y="296"/>
                    <a:pt x="3439" y="290"/>
                  </a:cubicBezTo>
                  <a:cubicBezTo>
                    <a:pt x="3437" y="284"/>
                    <a:pt x="3430" y="280"/>
                    <a:pt x="3424" y="280"/>
                  </a:cubicBezTo>
                  <a:cubicBezTo>
                    <a:pt x="3424" y="280"/>
                    <a:pt x="3424" y="280"/>
                    <a:pt x="3424" y="280"/>
                  </a:cubicBezTo>
                  <a:moveTo>
                    <a:pt x="3457" y="280"/>
                  </a:moveTo>
                  <a:cubicBezTo>
                    <a:pt x="3450" y="280"/>
                    <a:pt x="3447" y="284"/>
                    <a:pt x="3449" y="290"/>
                  </a:cubicBezTo>
                  <a:cubicBezTo>
                    <a:pt x="3451" y="296"/>
                    <a:pt x="3458" y="300"/>
                    <a:pt x="3464" y="300"/>
                  </a:cubicBezTo>
                  <a:cubicBezTo>
                    <a:pt x="3470" y="300"/>
                    <a:pt x="3474" y="295"/>
                    <a:pt x="3472" y="290"/>
                  </a:cubicBezTo>
                  <a:cubicBezTo>
                    <a:pt x="3470" y="284"/>
                    <a:pt x="3463" y="280"/>
                    <a:pt x="3457" y="280"/>
                  </a:cubicBezTo>
                  <a:cubicBezTo>
                    <a:pt x="3457" y="280"/>
                    <a:pt x="3457" y="280"/>
                    <a:pt x="3457" y="280"/>
                  </a:cubicBezTo>
                  <a:moveTo>
                    <a:pt x="3490" y="279"/>
                  </a:moveTo>
                  <a:cubicBezTo>
                    <a:pt x="3483" y="279"/>
                    <a:pt x="3480" y="284"/>
                    <a:pt x="3482" y="290"/>
                  </a:cubicBezTo>
                  <a:cubicBezTo>
                    <a:pt x="3484" y="295"/>
                    <a:pt x="3491" y="300"/>
                    <a:pt x="3497" y="300"/>
                  </a:cubicBezTo>
                  <a:cubicBezTo>
                    <a:pt x="3504" y="300"/>
                    <a:pt x="3507" y="295"/>
                    <a:pt x="3505" y="289"/>
                  </a:cubicBezTo>
                  <a:cubicBezTo>
                    <a:pt x="3503" y="284"/>
                    <a:pt x="3496" y="279"/>
                    <a:pt x="3490" y="279"/>
                  </a:cubicBezTo>
                  <a:cubicBezTo>
                    <a:pt x="3490" y="279"/>
                    <a:pt x="3490" y="279"/>
                    <a:pt x="3490" y="279"/>
                  </a:cubicBezTo>
                  <a:moveTo>
                    <a:pt x="3522" y="279"/>
                  </a:moveTo>
                  <a:cubicBezTo>
                    <a:pt x="3516" y="279"/>
                    <a:pt x="3513" y="284"/>
                    <a:pt x="3515" y="289"/>
                  </a:cubicBezTo>
                  <a:cubicBezTo>
                    <a:pt x="3517" y="295"/>
                    <a:pt x="3524" y="300"/>
                    <a:pt x="3530" y="300"/>
                  </a:cubicBezTo>
                  <a:cubicBezTo>
                    <a:pt x="3537" y="300"/>
                    <a:pt x="3540" y="295"/>
                    <a:pt x="3538" y="289"/>
                  </a:cubicBezTo>
                  <a:cubicBezTo>
                    <a:pt x="3536" y="284"/>
                    <a:pt x="3529" y="279"/>
                    <a:pt x="3522" y="279"/>
                  </a:cubicBezTo>
                  <a:cubicBezTo>
                    <a:pt x="3522" y="279"/>
                    <a:pt x="3522" y="279"/>
                    <a:pt x="3522" y="279"/>
                  </a:cubicBezTo>
                  <a:moveTo>
                    <a:pt x="3555" y="279"/>
                  </a:moveTo>
                  <a:cubicBezTo>
                    <a:pt x="3549" y="279"/>
                    <a:pt x="3545" y="283"/>
                    <a:pt x="3548" y="289"/>
                  </a:cubicBezTo>
                  <a:cubicBezTo>
                    <a:pt x="3550" y="295"/>
                    <a:pt x="3557" y="299"/>
                    <a:pt x="3563" y="299"/>
                  </a:cubicBezTo>
                  <a:cubicBezTo>
                    <a:pt x="3570" y="299"/>
                    <a:pt x="3573" y="295"/>
                    <a:pt x="3571" y="289"/>
                  </a:cubicBezTo>
                  <a:cubicBezTo>
                    <a:pt x="3568" y="283"/>
                    <a:pt x="3561" y="279"/>
                    <a:pt x="3555" y="279"/>
                  </a:cubicBezTo>
                  <a:cubicBezTo>
                    <a:pt x="3555" y="279"/>
                    <a:pt x="3555" y="279"/>
                    <a:pt x="3555" y="279"/>
                  </a:cubicBezTo>
                  <a:moveTo>
                    <a:pt x="3588" y="278"/>
                  </a:moveTo>
                  <a:cubicBezTo>
                    <a:pt x="3581" y="279"/>
                    <a:pt x="3578" y="283"/>
                    <a:pt x="3580" y="289"/>
                  </a:cubicBezTo>
                  <a:cubicBezTo>
                    <a:pt x="3583" y="295"/>
                    <a:pt x="3590" y="299"/>
                    <a:pt x="3596" y="299"/>
                  </a:cubicBezTo>
                  <a:cubicBezTo>
                    <a:pt x="3602" y="299"/>
                    <a:pt x="3606" y="294"/>
                    <a:pt x="3603" y="289"/>
                  </a:cubicBezTo>
                  <a:cubicBezTo>
                    <a:pt x="3601" y="283"/>
                    <a:pt x="3594" y="278"/>
                    <a:pt x="3588" y="278"/>
                  </a:cubicBezTo>
                  <a:cubicBezTo>
                    <a:pt x="3588" y="278"/>
                    <a:pt x="3588" y="278"/>
                    <a:pt x="3588" y="278"/>
                  </a:cubicBezTo>
                  <a:moveTo>
                    <a:pt x="3621" y="278"/>
                  </a:moveTo>
                  <a:cubicBezTo>
                    <a:pt x="3615" y="278"/>
                    <a:pt x="3611" y="283"/>
                    <a:pt x="3614" y="289"/>
                  </a:cubicBezTo>
                  <a:cubicBezTo>
                    <a:pt x="3616" y="294"/>
                    <a:pt x="3623" y="299"/>
                    <a:pt x="3630" y="299"/>
                  </a:cubicBezTo>
                  <a:cubicBezTo>
                    <a:pt x="3636" y="299"/>
                    <a:pt x="3639" y="294"/>
                    <a:pt x="3637" y="288"/>
                  </a:cubicBezTo>
                  <a:cubicBezTo>
                    <a:pt x="3634" y="283"/>
                    <a:pt x="3627" y="278"/>
                    <a:pt x="3621" y="278"/>
                  </a:cubicBezTo>
                  <a:cubicBezTo>
                    <a:pt x="3621" y="278"/>
                    <a:pt x="3621" y="278"/>
                    <a:pt x="3621" y="278"/>
                  </a:cubicBezTo>
                  <a:moveTo>
                    <a:pt x="3654" y="278"/>
                  </a:moveTo>
                  <a:cubicBezTo>
                    <a:pt x="3647" y="278"/>
                    <a:pt x="3644" y="283"/>
                    <a:pt x="3647" y="288"/>
                  </a:cubicBezTo>
                  <a:cubicBezTo>
                    <a:pt x="3649" y="294"/>
                    <a:pt x="3656" y="299"/>
                    <a:pt x="3663" y="298"/>
                  </a:cubicBezTo>
                  <a:cubicBezTo>
                    <a:pt x="3669" y="298"/>
                    <a:pt x="3672" y="294"/>
                    <a:pt x="3670" y="288"/>
                  </a:cubicBezTo>
                  <a:cubicBezTo>
                    <a:pt x="3667" y="282"/>
                    <a:pt x="3660" y="278"/>
                    <a:pt x="3654" y="278"/>
                  </a:cubicBezTo>
                  <a:cubicBezTo>
                    <a:pt x="3654" y="278"/>
                    <a:pt x="3654" y="278"/>
                    <a:pt x="3654" y="278"/>
                  </a:cubicBezTo>
                  <a:moveTo>
                    <a:pt x="156" y="278"/>
                  </a:moveTo>
                  <a:cubicBezTo>
                    <a:pt x="150" y="278"/>
                    <a:pt x="141" y="282"/>
                    <a:pt x="136" y="288"/>
                  </a:cubicBezTo>
                  <a:cubicBezTo>
                    <a:pt x="131" y="293"/>
                    <a:pt x="132" y="298"/>
                    <a:pt x="138" y="298"/>
                  </a:cubicBezTo>
                  <a:cubicBezTo>
                    <a:pt x="145" y="298"/>
                    <a:pt x="154" y="293"/>
                    <a:pt x="159" y="288"/>
                  </a:cubicBezTo>
                  <a:cubicBezTo>
                    <a:pt x="164" y="282"/>
                    <a:pt x="163" y="278"/>
                    <a:pt x="156" y="278"/>
                  </a:cubicBezTo>
                  <a:cubicBezTo>
                    <a:pt x="156" y="278"/>
                    <a:pt x="156" y="278"/>
                    <a:pt x="156" y="278"/>
                  </a:cubicBezTo>
                  <a:moveTo>
                    <a:pt x="3688" y="278"/>
                  </a:moveTo>
                  <a:cubicBezTo>
                    <a:pt x="3681" y="278"/>
                    <a:pt x="3678" y="282"/>
                    <a:pt x="3681" y="288"/>
                  </a:cubicBezTo>
                  <a:cubicBezTo>
                    <a:pt x="3683" y="294"/>
                    <a:pt x="3690" y="298"/>
                    <a:pt x="3697" y="298"/>
                  </a:cubicBezTo>
                  <a:cubicBezTo>
                    <a:pt x="3703" y="298"/>
                    <a:pt x="3706" y="294"/>
                    <a:pt x="3704" y="288"/>
                  </a:cubicBezTo>
                  <a:cubicBezTo>
                    <a:pt x="3701" y="282"/>
                    <a:pt x="3694" y="278"/>
                    <a:pt x="3688" y="278"/>
                  </a:cubicBezTo>
                  <a:cubicBezTo>
                    <a:pt x="3688" y="278"/>
                    <a:pt x="3688" y="278"/>
                    <a:pt x="3688" y="278"/>
                  </a:cubicBezTo>
                  <a:moveTo>
                    <a:pt x="189" y="277"/>
                  </a:moveTo>
                  <a:cubicBezTo>
                    <a:pt x="182" y="277"/>
                    <a:pt x="173" y="282"/>
                    <a:pt x="168" y="288"/>
                  </a:cubicBezTo>
                  <a:cubicBezTo>
                    <a:pt x="164" y="293"/>
                    <a:pt x="165" y="298"/>
                    <a:pt x="171" y="298"/>
                  </a:cubicBezTo>
                  <a:cubicBezTo>
                    <a:pt x="177" y="298"/>
                    <a:pt x="187" y="293"/>
                    <a:pt x="191" y="287"/>
                  </a:cubicBezTo>
                  <a:cubicBezTo>
                    <a:pt x="196" y="282"/>
                    <a:pt x="195" y="277"/>
                    <a:pt x="189" y="277"/>
                  </a:cubicBezTo>
                  <a:cubicBezTo>
                    <a:pt x="189" y="277"/>
                    <a:pt x="189" y="277"/>
                    <a:pt x="189" y="277"/>
                  </a:cubicBezTo>
                  <a:moveTo>
                    <a:pt x="3720" y="277"/>
                  </a:moveTo>
                  <a:cubicBezTo>
                    <a:pt x="3714" y="277"/>
                    <a:pt x="3711" y="282"/>
                    <a:pt x="3713" y="288"/>
                  </a:cubicBezTo>
                  <a:cubicBezTo>
                    <a:pt x="3716" y="293"/>
                    <a:pt x="3723" y="298"/>
                    <a:pt x="3729" y="298"/>
                  </a:cubicBezTo>
                  <a:cubicBezTo>
                    <a:pt x="3736" y="298"/>
                    <a:pt x="3739" y="293"/>
                    <a:pt x="3736" y="288"/>
                  </a:cubicBezTo>
                  <a:cubicBezTo>
                    <a:pt x="3734" y="282"/>
                    <a:pt x="3727" y="277"/>
                    <a:pt x="3720" y="277"/>
                  </a:cubicBezTo>
                  <a:cubicBezTo>
                    <a:pt x="3720" y="277"/>
                    <a:pt x="3720" y="277"/>
                    <a:pt x="3720" y="277"/>
                  </a:cubicBezTo>
                  <a:moveTo>
                    <a:pt x="221" y="277"/>
                  </a:moveTo>
                  <a:cubicBezTo>
                    <a:pt x="215" y="277"/>
                    <a:pt x="206" y="282"/>
                    <a:pt x="201" y="287"/>
                  </a:cubicBezTo>
                  <a:cubicBezTo>
                    <a:pt x="196" y="293"/>
                    <a:pt x="198" y="297"/>
                    <a:pt x="204" y="297"/>
                  </a:cubicBezTo>
                  <a:cubicBezTo>
                    <a:pt x="210" y="297"/>
                    <a:pt x="219" y="293"/>
                    <a:pt x="224" y="287"/>
                  </a:cubicBezTo>
                  <a:cubicBezTo>
                    <a:pt x="229" y="282"/>
                    <a:pt x="228" y="277"/>
                    <a:pt x="221" y="277"/>
                  </a:cubicBezTo>
                  <a:cubicBezTo>
                    <a:pt x="221" y="277"/>
                    <a:pt x="221" y="277"/>
                    <a:pt x="221" y="277"/>
                  </a:cubicBezTo>
                  <a:moveTo>
                    <a:pt x="3753" y="277"/>
                  </a:moveTo>
                  <a:cubicBezTo>
                    <a:pt x="3747" y="277"/>
                    <a:pt x="3744" y="282"/>
                    <a:pt x="3746" y="288"/>
                  </a:cubicBezTo>
                  <a:cubicBezTo>
                    <a:pt x="3749" y="293"/>
                    <a:pt x="3756" y="298"/>
                    <a:pt x="3763" y="298"/>
                  </a:cubicBezTo>
                  <a:cubicBezTo>
                    <a:pt x="3769" y="298"/>
                    <a:pt x="3772" y="293"/>
                    <a:pt x="3769" y="287"/>
                  </a:cubicBezTo>
                  <a:cubicBezTo>
                    <a:pt x="3767" y="282"/>
                    <a:pt x="3759" y="277"/>
                    <a:pt x="3753" y="277"/>
                  </a:cubicBezTo>
                  <a:cubicBezTo>
                    <a:pt x="3753" y="277"/>
                    <a:pt x="3753" y="277"/>
                    <a:pt x="3753" y="277"/>
                  </a:cubicBezTo>
                  <a:moveTo>
                    <a:pt x="254" y="277"/>
                  </a:moveTo>
                  <a:cubicBezTo>
                    <a:pt x="247" y="277"/>
                    <a:pt x="238" y="281"/>
                    <a:pt x="234" y="287"/>
                  </a:cubicBezTo>
                  <a:cubicBezTo>
                    <a:pt x="229" y="293"/>
                    <a:pt x="230" y="297"/>
                    <a:pt x="237" y="297"/>
                  </a:cubicBezTo>
                  <a:cubicBezTo>
                    <a:pt x="243" y="297"/>
                    <a:pt x="252" y="292"/>
                    <a:pt x="257" y="287"/>
                  </a:cubicBezTo>
                  <a:cubicBezTo>
                    <a:pt x="261" y="281"/>
                    <a:pt x="260" y="277"/>
                    <a:pt x="254" y="277"/>
                  </a:cubicBezTo>
                  <a:cubicBezTo>
                    <a:pt x="254" y="277"/>
                    <a:pt x="254" y="277"/>
                    <a:pt x="254" y="277"/>
                  </a:cubicBezTo>
                  <a:moveTo>
                    <a:pt x="3786" y="277"/>
                  </a:moveTo>
                  <a:cubicBezTo>
                    <a:pt x="3780" y="277"/>
                    <a:pt x="3777" y="282"/>
                    <a:pt x="3779" y="287"/>
                  </a:cubicBezTo>
                  <a:cubicBezTo>
                    <a:pt x="3782" y="293"/>
                    <a:pt x="3790" y="297"/>
                    <a:pt x="3796" y="297"/>
                  </a:cubicBezTo>
                  <a:cubicBezTo>
                    <a:pt x="3802" y="297"/>
                    <a:pt x="3805" y="293"/>
                    <a:pt x="3802" y="287"/>
                  </a:cubicBezTo>
                  <a:cubicBezTo>
                    <a:pt x="3800" y="281"/>
                    <a:pt x="3792" y="277"/>
                    <a:pt x="3786" y="277"/>
                  </a:cubicBezTo>
                  <a:cubicBezTo>
                    <a:pt x="3786" y="277"/>
                    <a:pt x="3786" y="277"/>
                    <a:pt x="3786" y="277"/>
                  </a:cubicBezTo>
                  <a:moveTo>
                    <a:pt x="385" y="277"/>
                  </a:moveTo>
                  <a:cubicBezTo>
                    <a:pt x="379" y="277"/>
                    <a:pt x="370" y="281"/>
                    <a:pt x="365" y="287"/>
                  </a:cubicBezTo>
                  <a:cubicBezTo>
                    <a:pt x="361" y="292"/>
                    <a:pt x="362" y="297"/>
                    <a:pt x="369" y="297"/>
                  </a:cubicBezTo>
                  <a:cubicBezTo>
                    <a:pt x="375" y="297"/>
                    <a:pt x="384" y="292"/>
                    <a:pt x="388" y="287"/>
                  </a:cubicBezTo>
                  <a:cubicBezTo>
                    <a:pt x="393" y="281"/>
                    <a:pt x="391" y="277"/>
                    <a:pt x="385" y="277"/>
                  </a:cubicBezTo>
                  <a:cubicBezTo>
                    <a:pt x="385" y="277"/>
                    <a:pt x="385" y="277"/>
                    <a:pt x="385" y="277"/>
                  </a:cubicBezTo>
                  <a:moveTo>
                    <a:pt x="3819" y="277"/>
                  </a:moveTo>
                  <a:cubicBezTo>
                    <a:pt x="3812" y="277"/>
                    <a:pt x="3809" y="281"/>
                    <a:pt x="3812" y="287"/>
                  </a:cubicBezTo>
                  <a:cubicBezTo>
                    <a:pt x="3815" y="293"/>
                    <a:pt x="3822" y="297"/>
                    <a:pt x="3829" y="297"/>
                  </a:cubicBezTo>
                  <a:cubicBezTo>
                    <a:pt x="3835" y="297"/>
                    <a:pt x="3838" y="292"/>
                    <a:pt x="3835" y="287"/>
                  </a:cubicBezTo>
                  <a:cubicBezTo>
                    <a:pt x="3832" y="281"/>
                    <a:pt x="3825" y="277"/>
                    <a:pt x="3819" y="277"/>
                  </a:cubicBezTo>
                  <a:cubicBezTo>
                    <a:pt x="3819" y="277"/>
                    <a:pt x="3819" y="277"/>
                    <a:pt x="3819" y="277"/>
                  </a:cubicBezTo>
                  <a:moveTo>
                    <a:pt x="286" y="277"/>
                  </a:moveTo>
                  <a:cubicBezTo>
                    <a:pt x="280" y="277"/>
                    <a:pt x="271" y="281"/>
                    <a:pt x="266" y="287"/>
                  </a:cubicBezTo>
                  <a:cubicBezTo>
                    <a:pt x="262" y="292"/>
                    <a:pt x="263" y="297"/>
                    <a:pt x="269" y="297"/>
                  </a:cubicBezTo>
                  <a:cubicBezTo>
                    <a:pt x="276" y="297"/>
                    <a:pt x="285" y="292"/>
                    <a:pt x="289" y="287"/>
                  </a:cubicBezTo>
                  <a:cubicBezTo>
                    <a:pt x="294" y="281"/>
                    <a:pt x="293" y="277"/>
                    <a:pt x="286" y="277"/>
                  </a:cubicBezTo>
                  <a:cubicBezTo>
                    <a:pt x="286" y="277"/>
                    <a:pt x="286" y="277"/>
                    <a:pt x="286" y="277"/>
                  </a:cubicBezTo>
                  <a:moveTo>
                    <a:pt x="418" y="276"/>
                  </a:moveTo>
                  <a:cubicBezTo>
                    <a:pt x="411" y="276"/>
                    <a:pt x="403" y="281"/>
                    <a:pt x="398" y="287"/>
                  </a:cubicBezTo>
                  <a:cubicBezTo>
                    <a:pt x="394" y="292"/>
                    <a:pt x="395" y="297"/>
                    <a:pt x="402" y="297"/>
                  </a:cubicBezTo>
                  <a:cubicBezTo>
                    <a:pt x="408" y="297"/>
                    <a:pt x="417" y="292"/>
                    <a:pt x="421" y="286"/>
                  </a:cubicBezTo>
                  <a:cubicBezTo>
                    <a:pt x="426" y="281"/>
                    <a:pt x="424" y="276"/>
                    <a:pt x="418" y="276"/>
                  </a:cubicBezTo>
                  <a:cubicBezTo>
                    <a:pt x="418" y="276"/>
                    <a:pt x="418" y="276"/>
                    <a:pt x="418" y="276"/>
                  </a:cubicBezTo>
                  <a:moveTo>
                    <a:pt x="452" y="276"/>
                  </a:moveTo>
                  <a:cubicBezTo>
                    <a:pt x="445" y="276"/>
                    <a:pt x="437" y="281"/>
                    <a:pt x="432" y="286"/>
                  </a:cubicBezTo>
                  <a:cubicBezTo>
                    <a:pt x="428" y="292"/>
                    <a:pt x="429" y="296"/>
                    <a:pt x="436" y="296"/>
                  </a:cubicBezTo>
                  <a:cubicBezTo>
                    <a:pt x="442" y="296"/>
                    <a:pt x="451" y="292"/>
                    <a:pt x="455" y="286"/>
                  </a:cubicBezTo>
                  <a:cubicBezTo>
                    <a:pt x="459" y="281"/>
                    <a:pt x="458" y="276"/>
                    <a:pt x="452" y="276"/>
                  </a:cubicBezTo>
                  <a:cubicBezTo>
                    <a:pt x="452" y="276"/>
                    <a:pt x="452" y="276"/>
                    <a:pt x="452" y="276"/>
                  </a:cubicBezTo>
                  <a:moveTo>
                    <a:pt x="484" y="276"/>
                  </a:moveTo>
                  <a:cubicBezTo>
                    <a:pt x="478" y="276"/>
                    <a:pt x="469" y="280"/>
                    <a:pt x="465" y="286"/>
                  </a:cubicBezTo>
                  <a:cubicBezTo>
                    <a:pt x="461" y="292"/>
                    <a:pt x="462" y="296"/>
                    <a:pt x="469" y="296"/>
                  </a:cubicBezTo>
                  <a:cubicBezTo>
                    <a:pt x="475" y="296"/>
                    <a:pt x="484" y="291"/>
                    <a:pt x="488" y="286"/>
                  </a:cubicBezTo>
                  <a:cubicBezTo>
                    <a:pt x="492" y="280"/>
                    <a:pt x="490" y="276"/>
                    <a:pt x="484" y="276"/>
                  </a:cubicBezTo>
                  <a:cubicBezTo>
                    <a:pt x="484" y="276"/>
                    <a:pt x="484" y="276"/>
                    <a:pt x="484" y="276"/>
                  </a:cubicBezTo>
                  <a:moveTo>
                    <a:pt x="517" y="276"/>
                  </a:moveTo>
                  <a:cubicBezTo>
                    <a:pt x="510" y="276"/>
                    <a:pt x="502" y="280"/>
                    <a:pt x="498" y="286"/>
                  </a:cubicBezTo>
                  <a:cubicBezTo>
                    <a:pt x="493" y="291"/>
                    <a:pt x="495" y="296"/>
                    <a:pt x="502" y="296"/>
                  </a:cubicBezTo>
                  <a:cubicBezTo>
                    <a:pt x="508" y="296"/>
                    <a:pt x="516" y="291"/>
                    <a:pt x="521" y="286"/>
                  </a:cubicBezTo>
                  <a:cubicBezTo>
                    <a:pt x="525" y="280"/>
                    <a:pt x="523" y="276"/>
                    <a:pt x="517" y="276"/>
                  </a:cubicBezTo>
                  <a:cubicBezTo>
                    <a:pt x="517" y="276"/>
                    <a:pt x="517" y="276"/>
                    <a:pt x="517" y="276"/>
                  </a:cubicBezTo>
                  <a:moveTo>
                    <a:pt x="549" y="275"/>
                  </a:moveTo>
                  <a:cubicBezTo>
                    <a:pt x="543" y="275"/>
                    <a:pt x="534" y="280"/>
                    <a:pt x="530" y="285"/>
                  </a:cubicBezTo>
                  <a:cubicBezTo>
                    <a:pt x="526" y="291"/>
                    <a:pt x="528" y="296"/>
                    <a:pt x="534" y="295"/>
                  </a:cubicBezTo>
                  <a:cubicBezTo>
                    <a:pt x="541" y="295"/>
                    <a:pt x="549" y="291"/>
                    <a:pt x="553" y="285"/>
                  </a:cubicBezTo>
                  <a:cubicBezTo>
                    <a:pt x="557" y="280"/>
                    <a:pt x="556" y="275"/>
                    <a:pt x="549" y="275"/>
                  </a:cubicBezTo>
                  <a:cubicBezTo>
                    <a:pt x="549" y="275"/>
                    <a:pt x="549" y="275"/>
                    <a:pt x="549" y="275"/>
                  </a:cubicBezTo>
                  <a:moveTo>
                    <a:pt x="4048" y="275"/>
                  </a:moveTo>
                  <a:cubicBezTo>
                    <a:pt x="4042" y="275"/>
                    <a:pt x="4039" y="280"/>
                    <a:pt x="4043" y="285"/>
                  </a:cubicBezTo>
                  <a:cubicBezTo>
                    <a:pt x="4046" y="291"/>
                    <a:pt x="4054" y="296"/>
                    <a:pt x="4060" y="296"/>
                  </a:cubicBezTo>
                  <a:cubicBezTo>
                    <a:pt x="4067" y="296"/>
                    <a:pt x="4069" y="291"/>
                    <a:pt x="4066" y="285"/>
                  </a:cubicBezTo>
                  <a:cubicBezTo>
                    <a:pt x="4062" y="280"/>
                    <a:pt x="4055" y="275"/>
                    <a:pt x="4048" y="275"/>
                  </a:cubicBezTo>
                  <a:cubicBezTo>
                    <a:pt x="4048" y="275"/>
                    <a:pt x="4048" y="275"/>
                    <a:pt x="4048" y="275"/>
                  </a:cubicBezTo>
                  <a:moveTo>
                    <a:pt x="582" y="275"/>
                  </a:moveTo>
                  <a:cubicBezTo>
                    <a:pt x="576" y="275"/>
                    <a:pt x="567" y="280"/>
                    <a:pt x="563" y="285"/>
                  </a:cubicBezTo>
                  <a:cubicBezTo>
                    <a:pt x="559" y="291"/>
                    <a:pt x="561" y="295"/>
                    <a:pt x="567" y="295"/>
                  </a:cubicBezTo>
                  <a:cubicBezTo>
                    <a:pt x="574" y="295"/>
                    <a:pt x="582" y="291"/>
                    <a:pt x="586" y="285"/>
                  </a:cubicBezTo>
                  <a:cubicBezTo>
                    <a:pt x="590" y="279"/>
                    <a:pt x="588" y="275"/>
                    <a:pt x="582" y="275"/>
                  </a:cubicBezTo>
                  <a:cubicBezTo>
                    <a:pt x="582" y="275"/>
                    <a:pt x="582" y="275"/>
                    <a:pt x="582" y="275"/>
                  </a:cubicBezTo>
                  <a:moveTo>
                    <a:pt x="4081" y="275"/>
                  </a:moveTo>
                  <a:cubicBezTo>
                    <a:pt x="4074" y="275"/>
                    <a:pt x="4072" y="279"/>
                    <a:pt x="4075" y="285"/>
                  </a:cubicBezTo>
                  <a:cubicBezTo>
                    <a:pt x="4079" y="291"/>
                    <a:pt x="4087" y="295"/>
                    <a:pt x="4093" y="295"/>
                  </a:cubicBezTo>
                  <a:cubicBezTo>
                    <a:pt x="4099" y="295"/>
                    <a:pt x="4102" y="291"/>
                    <a:pt x="4098" y="285"/>
                  </a:cubicBezTo>
                  <a:cubicBezTo>
                    <a:pt x="4095" y="279"/>
                    <a:pt x="4087" y="275"/>
                    <a:pt x="4081" y="275"/>
                  </a:cubicBezTo>
                  <a:cubicBezTo>
                    <a:pt x="4081" y="275"/>
                    <a:pt x="4081" y="275"/>
                    <a:pt x="4081" y="275"/>
                  </a:cubicBezTo>
                  <a:moveTo>
                    <a:pt x="616" y="275"/>
                  </a:moveTo>
                  <a:cubicBezTo>
                    <a:pt x="609" y="275"/>
                    <a:pt x="601" y="279"/>
                    <a:pt x="597" y="285"/>
                  </a:cubicBezTo>
                  <a:cubicBezTo>
                    <a:pt x="593" y="291"/>
                    <a:pt x="595" y="295"/>
                    <a:pt x="601" y="295"/>
                  </a:cubicBezTo>
                  <a:cubicBezTo>
                    <a:pt x="608" y="295"/>
                    <a:pt x="616" y="290"/>
                    <a:pt x="620" y="285"/>
                  </a:cubicBezTo>
                  <a:cubicBezTo>
                    <a:pt x="624" y="279"/>
                    <a:pt x="622" y="275"/>
                    <a:pt x="616" y="275"/>
                  </a:cubicBezTo>
                  <a:cubicBezTo>
                    <a:pt x="616" y="275"/>
                    <a:pt x="616" y="275"/>
                    <a:pt x="616" y="275"/>
                  </a:cubicBezTo>
                  <a:moveTo>
                    <a:pt x="648" y="274"/>
                  </a:moveTo>
                  <a:cubicBezTo>
                    <a:pt x="642" y="274"/>
                    <a:pt x="634" y="279"/>
                    <a:pt x="630" y="285"/>
                  </a:cubicBezTo>
                  <a:cubicBezTo>
                    <a:pt x="626" y="290"/>
                    <a:pt x="628" y="295"/>
                    <a:pt x="634" y="295"/>
                  </a:cubicBezTo>
                  <a:cubicBezTo>
                    <a:pt x="640" y="295"/>
                    <a:pt x="649" y="290"/>
                    <a:pt x="653" y="284"/>
                  </a:cubicBezTo>
                  <a:cubicBezTo>
                    <a:pt x="657" y="279"/>
                    <a:pt x="655" y="274"/>
                    <a:pt x="648" y="274"/>
                  </a:cubicBezTo>
                  <a:cubicBezTo>
                    <a:pt x="648" y="274"/>
                    <a:pt x="648" y="274"/>
                    <a:pt x="648" y="274"/>
                  </a:cubicBezTo>
                  <a:moveTo>
                    <a:pt x="681" y="274"/>
                  </a:moveTo>
                  <a:cubicBezTo>
                    <a:pt x="675" y="274"/>
                    <a:pt x="666" y="279"/>
                    <a:pt x="663" y="284"/>
                  </a:cubicBezTo>
                  <a:cubicBezTo>
                    <a:pt x="659" y="290"/>
                    <a:pt x="661" y="294"/>
                    <a:pt x="667" y="294"/>
                  </a:cubicBezTo>
                  <a:cubicBezTo>
                    <a:pt x="673" y="294"/>
                    <a:pt x="682" y="290"/>
                    <a:pt x="686" y="284"/>
                  </a:cubicBezTo>
                  <a:cubicBezTo>
                    <a:pt x="689" y="279"/>
                    <a:pt x="687" y="274"/>
                    <a:pt x="681" y="274"/>
                  </a:cubicBezTo>
                  <a:cubicBezTo>
                    <a:pt x="681" y="274"/>
                    <a:pt x="681" y="274"/>
                    <a:pt x="681" y="274"/>
                  </a:cubicBezTo>
                  <a:moveTo>
                    <a:pt x="714" y="274"/>
                  </a:moveTo>
                  <a:cubicBezTo>
                    <a:pt x="708" y="274"/>
                    <a:pt x="700" y="279"/>
                    <a:pt x="696" y="284"/>
                  </a:cubicBezTo>
                  <a:cubicBezTo>
                    <a:pt x="692" y="290"/>
                    <a:pt x="694" y="294"/>
                    <a:pt x="700" y="294"/>
                  </a:cubicBezTo>
                  <a:cubicBezTo>
                    <a:pt x="707" y="294"/>
                    <a:pt x="715" y="290"/>
                    <a:pt x="719" y="284"/>
                  </a:cubicBezTo>
                  <a:cubicBezTo>
                    <a:pt x="722" y="278"/>
                    <a:pt x="720" y="274"/>
                    <a:pt x="714" y="274"/>
                  </a:cubicBezTo>
                  <a:cubicBezTo>
                    <a:pt x="714" y="274"/>
                    <a:pt x="714" y="274"/>
                    <a:pt x="714" y="274"/>
                  </a:cubicBezTo>
                  <a:moveTo>
                    <a:pt x="747" y="274"/>
                  </a:moveTo>
                  <a:cubicBezTo>
                    <a:pt x="740" y="274"/>
                    <a:pt x="732" y="278"/>
                    <a:pt x="728" y="284"/>
                  </a:cubicBezTo>
                  <a:cubicBezTo>
                    <a:pt x="725" y="289"/>
                    <a:pt x="727" y="294"/>
                    <a:pt x="733" y="294"/>
                  </a:cubicBezTo>
                  <a:cubicBezTo>
                    <a:pt x="739" y="294"/>
                    <a:pt x="748" y="289"/>
                    <a:pt x="751" y="284"/>
                  </a:cubicBezTo>
                  <a:cubicBezTo>
                    <a:pt x="755" y="278"/>
                    <a:pt x="753" y="274"/>
                    <a:pt x="747" y="274"/>
                  </a:cubicBezTo>
                  <a:cubicBezTo>
                    <a:pt x="747" y="274"/>
                    <a:pt x="747" y="274"/>
                    <a:pt x="747" y="274"/>
                  </a:cubicBezTo>
                  <a:moveTo>
                    <a:pt x="779" y="273"/>
                  </a:moveTo>
                  <a:cubicBezTo>
                    <a:pt x="773" y="273"/>
                    <a:pt x="765" y="278"/>
                    <a:pt x="761" y="284"/>
                  </a:cubicBezTo>
                  <a:cubicBezTo>
                    <a:pt x="757" y="289"/>
                    <a:pt x="760" y="294"/>
                    <a:pt x="766" y="294"/>
                  </a:cubicBezTo>
                  <a:cubicBezTo>
                    <a:pt x="772" y="294"/>
                    <a:pt x="780" y="289"/>
                    <a:pt x="784" y="283"/>
                  </a:cubicBezTo>
                  <a:cubicBezTo>
                    <a:pt x="788" y="278"/>
                    <a:pt x="786" y="273"/>
                    <a:pt x="779" y="273"/>
                  </a:cubicBezTo>
                  <a:cubicBezTo>
                    <a:pt x="779" y="273"/>
                    <a:pt x="779" y="273"/>
                    <a:pt x="779" y="273"/>
                  </a:cubicBezTo>
                  <a:moveTo>
                    <a:pt x="812" y="273"/>
                  </a:moveTo>
                  <a:cubicBezTo>
                    <a:pt x="805" y="273"/>
                    <a:pt x="797" y="278"/>
                    <a:pt x="794" y="283"/>
                  </a:cubicBezTo>
                  <a:cubicBezTo>
                    <a:pt x="790" y="289"/>
                    <a:pt x="792" y="293"/>
                    <a:pt x="799" y="293"/>
                  </a:cubicBezTo>
                  <a:cubicBezTo>
                    <a:pt x="805" y="293"/>
                    <a:pt x="813" y="289"/>
                    <a:pt x="817" y="283"/>
                  </a:cubicBezTo>
                  <a:cubicBezTo>
                    <a:pt x="820" y="278"/>
                    <a:pt x="818" y="273"/>
                    <a:pt x="812" y="273"/>
                  </a:cubicBezTo>
                  <a:cubicBezTo>
                    <a:pt x="812" y="273"/>
                    <a:pt x="812" y="273"/>
                    <a:pt x="812" y="273"/>
                  </a:cubicBezTo>
                  <a:moveTo>
                    <a:pt x="844" y="273"/>
                  </a:moveTo>
                  <a:cubicBezTo>
                    <a:pt x="838" y="273"/>
                    <a:pt x="830" y="277"/>
                    <a:pt x="827" y="283"/>
                  </a:cubicBezTo>
                  <a:cubicBezTo>
                    <a:pt x="823" y="289"/>
                    <a:pt x="825" y="293"/>
                    <a:pt x="832" y="293"/>
                  </a:cubicBezTo>
                  <a:cubicBezTo>
                    <a:pt x="838" y="293"/>
                    <a:pt x="846" y="288"/>
                    <a:pt x="850" y="283"/>
                  </a:cubicBezTo>
                  <a:cubicBezTo>
                    <a:pt x="853" y="277"/>
                    <a:pt x="851" y="273"/>
                    <a:pt x="845" y="273"/>
                  </a:cubicBezTo>
                  <a:cubicBezTo>
                    <a:pt x="845" y="273"/>
                    <a:pt x="845" y="273"/>
                    <a:pt x="844" y="273"/>
                  </a:cubicBezTo>
                  <a:moveTo>
                    <a:pt x="877" y="273"/>
                  </a:moveTo>
                  <a:cubicBezTo>
                    <a:pt x="871" y="273"/>
                    <a:pt x="863" y="277"/>
                    <a:pt x="860" y="283"/>
                  </a:cubicBezTo>
                  <a:cubicBezTo>
                    <a:pt x="856" y="288"/>
                    <a:pt x="859" y="293"/>
                    <a:pt x="865" y="293"/>
                  </a:cubicBezTo>
                  <a:cubicBezTo>
                    <a:pt x="871" y="293"/>
                    <a:pt x="879" y="288"/>
                    <a:pt x="883" y="283"/>
                  </a:cubicBezTo>
                  <a:cubicBezTo>
                    <a:pt x="886" y="277"/>
                    <a:pt x="884" y="273"/>
                    <a:pt x="878" y="273"/>
                  </a:cubicBezTo>
                  <a:cubicBezTo>
                    <a:pt x="878" y="273"/>
                    <a:pt x="878" y="273"/>
                    <a:pt x="877" y="273"/>
                  </a:cubicBezTo>
                  <a:moveTo>
                    <a:pt x="910" y="272"/>
                  </a:moveTo>
                  <a:cubicBezTo>
                    <a:pt x="904" y="272"/>
                    <a:pt x="896" y="277"/>
                    <a:pt x="892" y="282"/>
                  </a:cubicBezTo>
                  <a:cubicBezTo>
                    <a:pt x="889" y="288"/>
                    <a:pt x="891" y="293"/>
                    <a:pt x="898" y="293"/>
                  </a:cubicBezTo>
                  <a:cubicBezTo>
                    <a:pt x="904" y="292"/>
                    <a:pt x="912" y="288"/>
                    <a:pt x="915" y="282"/>
                  </a:cubicBezTo>
                  <a:cubicBezTo>
                    <a:pt x="919" y="277"/>
                    <a:pt x="916" y="272"/>
                    <a:pt x="910" y="272"/>
                  </a:cubicBezTo>
                  <a:cubicBezTo>
                    <a:pt x="910" y="272"/>
                    <a:pt x="910" y="272"/>
                    <a:pt x="910" y="272"/>
                  </a:cubicBezTo>
                  <a:moveTo>
                    <a:pt x="941" y="272"/>
                  </a:moveTo>
                  <a:cubicBezTo>
                    <a:pt x="935" y="272"/>
                    <a:pt x="927" y="277"/>
                    <a:pt x="923" y="282"/>
                  </a:cubicBezTo>
                  <a:cubicBezTo>
                    <a:pt x="920" y="288"/>
                    <a:pt x="923" y="292"/>
                    <a:pt x="929" y="292"/>
                  </a:cubicBezTo>
                  <a:cubicBezTo>
                    <a:pt x="935" y="292"/>
                    <a:pt x="943" y="288"/>
                    <a:pt x="946" y="282"/>
                  </a:cubicBezTo>
                  <a:cubicBezTo>
                    <a:pt x="950" y="276"/>
                    <a:pt x="947" y="272"/>
                    <a:pt x="941" y="272"/>
                  </a:cubicBezTo>
                  <a:cubicBezTo>
                    <a:pt x="941" y="272"/>
                    <a:pt x="941" y="272"/>
                    <a:pt x="941" y="272"/>
                  </a:cubicBezTo>
                  <a:moveTo>
                    <a:pt x="1202" y="269"/>
                  </a:moveTo>
                  <a:cubicBezTo>
                    <a:pt x="1196" y="270"/>
                    <a:pt x="1188" y="274"/>
                    <a:pt x="1185" y="280"/>
                  </a:cubicBezTo>
                  <a:cubicBezTo>
                    <a:pt x="1183" y="285"/>
                    <a:pt x="1185" y="290"/>
                    <a:pt x="1192" y="290"/>
                  </a:cubicBezTo>
                  <a:cubicBezTo>
                    <a:pt x="1198" y="290"/>
                    <a:pt x="1206" y="285"/>
                    <a:pt x="1208" y="280"/>
                  </a:cubicBezTo>
                  <a:cubicBezTo>
                    <a:pt x="1211" y="274"/>
                    <a:pt x="1208" y="269"/>
                    <a:pt x="1202" y="269"/>
                  </a:cubicBezTo>
                  <a:cubicBezTo>
                    <a:pt x="1202" y="269"/>
                    <a:pt x="1202" y="269"/>
                    <a:pt x="1202" y="269"/>
                  </a:cubicBezTo>
                  <a:moveTo>
                    <a:pt x="1235" y="269"/>
                  </a:moveTo>
                  <a:cubicBezTo>
                    <a:pt x="1228" y="269"/>
                    <a:pt x="1221" y="274"/>
                    <a:pt x="1218" y="279"/>
                  </a:cubicBezTo>
                  <a:cubicBezTo>
                    <a:pt x="1216" y="285"/>
                    <a:pt x="1219" y="290"/>
                    <a:pt x="1225" y="290"/>
                  </a:cubicBezTo>
                  <a:cubicBezTo>
                    <a:pt x="1231" y="289"/>
                    <a:pt x="1239" y="285"/>
                    <a:pt x="1241" y="279"/>
                  </a:cubicBezTo>
                  <a:cubicBezTo>
                    <a:pt x="1244" y="274"/>
                    <a:pt x="1241" y="269"/>
                    <a:pt x="1235" y="269"/>
                  </a:cubicBezTo>
                  <a:cubicBezTo>
                    <a:pt x="1235" y="269"/>
                    <a:pt x="1235" y="269"/>
                    <a:pt x="1235" y="269"/>
                  </a:cubicBezTo>
                  <a:moveTo>
                    <a:pt x="1563" y="265"/>
                  </a:moveTo>
                  <a:cubicBezTo>
                    <a:pt x="1556" y="265"/>
                    <a:pt x="1550" y="270"/>
                    <a:pt x="1548" y="275"/>
                  </a:cubicBezTo>
                  <a:cubicBezTo>
                    <a:pt x="1546" y="281"/>
                    <a:pt x="1549" y="286"/>
                    <a:pt x="1555" y="286"/>
                  </a:cubicBezTo>
                  <a:cubicBezTo>
                    <a:pt x="1562" y="285"/>
                    <a:pt x="1568" y="281"/>
                    <a:pt x="1570" y="275"/>
                  </a:cubicBezTo>
                  <a:cubicBezTo>
                    <a:pt x="1572" y="270"/>
                    <a:pt x="1569" y="265"/>
                    <a:pt x="1563" y="265"/>
                  </a:cubicBezTo>
                  <a:cubicBezTo>
                    <a:pt x="1563" y="265"/>
                    <a:pt x="1563" y="265"/>
                    <a:pt x="1563" y="265"/>
                  </a:cubicBezTo>
                  <a:moveTo>
                    <a:pt x="2180" y="261"/>
                  </a:moveTo>
                  <a:cubicBezTo>
                    <a:pt x="2173" y="261"/>
                    <a:pt x="2168" y="265"/>
                    <a:pt x="2167" y="271"/>
                  </a:cubicBezTo>
                  <a:cubicBezTo>
                    <a:pt x="2166" y="277"/>
                    <a:pt x="2171" y="281"/>
                    <a:pt x="2177" y="281"/>
                  </a:cubicBezTo>
                  <a:cubicBezTo>
                    <a:pt x="2184" y="281"/>
                    <a:pt x="2189" y="277"/>
                    <a:pt x="2190" y="271"/>
                  </a:cubicBezTo>
                  <a:cubicBezTo>
                    <a:pt x="2191" y="265"/>
                    <a:pt x="2186" y="261"/>
                    <a:pt x="2180" y="261"/>
                  </a:cubicBezTo>
                  <a:cubicBezTo>
                    <a:pt x="2180" y="261"/>
                    <a:pt x="2180" y="261"/>
                    <a:pt x="2180" y="261"/>
                  </a:cubicBezTo>
                  <a:moveTo>
                    <a:pt x="2213" y="261"/>
                  </a:moveTo>
                  <a:cubicBezTo>
                    <a:pt x="2206" y="261"/>
                    <a:pt x="2201" y="265"/>
                    <a:pt x="2200" y="271"/>
                  </a:cubicBezTo>
                  <a:cubicBezTo>
                    <a:pt x="2200" y="276"/>
                    <a:pt x="2204" y="281"/>
                    <a:pt x="2210" y="281"/>
                  </a:cubicBezTo>
                  <a:cubicBezTo>
                    <a:pt x="2217" y="281"/>
                    <a:pt x="2222" y="276"/>
                    <a:pt x="2223" y="271"/>
                  </a:cubicBezTo>
                  <a:cubicBezTo>
                    <a:pt x="2224" y="265"/>
                    <a:pt x="2219" y="261"/>
                    <a:pt x="2213" y="261"/>
                  </a:cubicBezTo>
                  <a:cubicBezTo>
                    <a:pt x="2213" y="261"/>
                    <a:pt x="2213" y="261"/>
                    <a:pt x="2213" y="261"/>
                  </a:cubicBezTo>
                  <a:moveTo>
                    <a:pt x="2246" y="260"/>
                  </a:moveTo>
                  <a:cubicBezTo>
                    <a:pt x="2240" y="260"/>
                    <a:pt x="2234" y="265"/>
                    <a:pt x="2234" y="271"/>
                  </a:cubicBezTo>
                  <a:cubicBezTo>
                    <a:pt x="2233" y="276"/>
                    <a:pt x="2238" y="281"/>
                    <a:pt x="2244" y="281"/>
                  </a:cubicBezTo>
                  <a:cubicBezTo>
                    <a:pt x="2250" y="281"/>
                    <a:pt x="2256" y="276"/>
                    <a:pt x="2256" y="270"/>
                  </a:cubicBezTo>
                  <a:cubicBezTo>
                    <a:pt x="2257" y="265"/>
                    <a:pt x="2252" y="260"/>
                    <a:pt x="2246" y="260"/>
                  </a:cubicBezTo>
                  <a:cubicBezTo>
                    <a:pt x="2246" y="260"/>
                    <a:pt x="2246" y="260"/>
                    <a:pt x="2246" y="260"/>
                  </a:cubicBezTo>
                  <a:moveTo>
                    <a:pt x="2278" y="260"/>
                  </a:moveTo>
                  <a:cubicBezTo>
                    <a:pt x="2272" y="260"/>
                    <a:pt x="2267" y="265"/>
                    <a:pt x="2266" y="270"/>
                  </a:cubicBezTo>
                  <a:cubicBezTo>
                    <a:pt x="2266" y="276"/>
                    <a:pt x="2270" y="280"/>
                    <a:pt x="2277" y="280"/>
                  </a:cubicBezTo>
                  <a:cubicBezTo>
                    <a:pt x="2283" y="280"/>
                    <a:pt x="2288" y="276"/>
                    <a:pt x="2289" y="270"/>
                  </a:cubicBezTo>
                  <a:cubicBezTo>
                    <a:pt x="2289" y="264"/>
                    <a:pt x="2285" y="260"/>
                    <a:pt x="2278" y="260"/>
                  </a:cubicBezTo>
                  <a:cubicBezTo>
                    <a:pt x="2278" y="260"/>
                    <a:pt x="2278" y="260"/>
                    <a:pt x="2278" y="260"/>
                  </a:cubicBezTo>
                  <a:moveTo>
                    <a:pt x="2310" y="260"/>
                  </a:moveTo>
                  <a:cubicBezTo>
                    <a:pt x="2304" y="260"/>
                    <a:pt x="2299" y="264"/>
                    <a:pt x="2298" y="270"/>
                  </a:cubicBezTo>
                  <a:cubicBezTo>
                    <a:pt x="2298" y="276"/>
                    <a:pt x="2303" y="280"/>
                    <a:pt x="2309" y="280"/>
                  </a:cubicBezTo>
                  <a:cubicBezTo>
                    <a:pt x="2315" y="280"/>
                    <a:pt x="2321" y="275"/>
                    <a:pt x="2321" y="270"/>
                  </a:cubicBezTo>
                  <a:cubicBezTo>
                    <a:pt x="2321" y="264"/>
                    <a:pt x="2317" y="260"/>
                    <a:pt x="2311" y="260"/>
                  </a:cubicBezTo>
                  <a:cubicBezTo>
                    <a:pt x="2311" y="260"/>
                    <a:pt x="2310" y="260"/>
                    <a:pt x="2310" y="260"/>
                  </a:cubicBezTo>
                  <a:moveTo>
                    <a:pt x="2375" y="259"/>
                  </a:moveTo>
                  <a:cubicBezTo>
                    <a:pt x="2369" y="259"/>
                    <a:pt x="2364" y="264"/>
                    <a:pt x="2363" y="269"/>
                  </a:cubicBezTo>
                  <a:cubicBezTo>
                    <a:pt x="2363" y="275"/>
                    <a:pt x="2368" y="280"/>
                    <a:pt x="2374" y="280"/>
                  </a:cubicBezTo>
                  <a:cubicBezTo>
                    <a:pt x="2381" y="280"/>
                    <a:pt x="2386" y="275"/>
                    <a:pt x="2386" y="269"/>
                  </a:cubicBezTo>
                  <a:cubicBezTo>
                    <a:pt x="2387" y="264"/>
                    <a:pt x="2382" y="259"/>
                    <a:pt x="2375" y="259"/>
                  </a:cubicBezTo>
                  <a:cubicBezTo>
                    <a:pt x="2375" y="259"/>
                    <a:pt x="2375" y="259"/>
                    <a:pt x="2375" y="259"/>
                  </a:cubicBezTo>
                  <a:moveTo>
                    <a:pt x="2408" y="259"/>
                  </a:moveTo>
                  <a:cubicBezTo>
                    <a:pt x="2402" y="259"/>
                    <a:pt x="2397" y="264"/>
                    <a:pt x="2396" y="269"/>
                  </a:cubicBezTo>
                  <a:cubicBezTo>
                    <a:pt x="2396" y="275"/>
                    <a:pt x="2401" y="279"/>
                    <a:pt x="2407" y="279"/>
                  </a:cubicBezTo>
                  <a:cubicBezTo>
                    <a:pt x="2414" y="279"/>
                    <a:pt x="2419" y="275"/>
                    <a:pt x="2419" y="269"/>
                  </a:cubicBezTo>
                  <a:cubicBezTo>
                    <a:pt x="2419" y="263"/>
                    <a:pt x="2415" y="259"/>
                    <a:pt x="2408" y="259"/>
                  </a:cubicBezTo>
                  <a:cubicBezTo>
                    <a:pt x="2408" y="259"/>
                    <a:pt x="2408" y="259"/>
                    <a:pt x="2408" y="259"/>
                  </a:cubicBezTo>
                  <a:moveTo>
                    <a:pt x="2572" y="259"/>
                  </a:moveTo>
                  <a:cubicBezTo>
                    <a:pt x="2565" y="259"/>
                    <a:pt x="2560" y="264"/>
                    <a:pt x="2560" y="269"/>
                  </a:cubicBezTo>
                  <a:cubicBezTo>
                    <a:pt x="2561" y="275"/>
                    <a:pt x="2566" y="279"/>
                    <a:pt x="2572" y="279"/>
                  </a:cubicBezTo>
                  <a:cubicBezTo>
                    <a:pt x="2579" y="279"/>
                    <a:pt x="2584" y="275"/>
                    <a:pt x="2583" y="269"/>
                  </a:cubicBezTo>
                  <a:cubicBezTo>
                    <a:pt x="2583" y="263"/>
                    <a:pt x="2578" y="259"/>
                    <a:pt x="2572" y="259"/>
                  </a:cubicBezTo>
                  <a:cubicBezTo>
                    <a:pt x="2572" y="259"/>
                    <a:pt x="2572" y="259"/>
                    <a:pt x="2572" y="259"/>
                  </a:cubicBezTo>
                  <a:moveTo>
                    <a:pt x="2441" y="259"/>
                  </a:moveTo>
                  <a:cubicBezTo>
                    <a:pt x="2434" y="259"/>
                    <a:pt x="2429" y="263"/>
                    <a:pt x="2429" y="269"/>
                  </a:cubicBezTo>
                  <a:cubicBezTo>
                    <a:pt x="2429" y="275"/>
                    <a:pt x="2434" y="279"/>
                    <a:pt x="2440" y="279"/>
                  </a:cubicBezTo>
                  <a:cubicBezTo>
                    <a:pt x="2446" y="279"/>
                    <a:pt x="2452" y="274"/>
                    <a:pt x="2452" y="269"/>
                  </a:cubicBezTo>
                  <a:cubicBezTo>
                    <a:pt x="2452" y="263"/>
                    <a:pt x="2447" y="259"/>
                    <a:pt x="2441" y="259"/>
                  </a:cubicBezTo>
                  <a:cubicBezTo>
                    <a:pt x="2441" y="259"/>
                    <a:pt x="2441" y="259"/>
                    <a:pt x="2441" y="259"/>
                  </a:cubicBezTo>
                  <a:moveTo>
                    <a:pt x="2604" y="259"/>
                  </a:moveTo>
                  <a:cubicBezTo>
                    <a:pt x="2598" y="259"/>
                    <a:pt x="2593" y="263"/>
                    <a:pt x="2593" y="269"/>
                  </a:cubicBezTo>
                  <a:cubicBezTo>
                    <a:pt x="2593" y="275"/>
                    <a:pt x="2598" y="279"/>
                    <a:pt x="2605" y="279"/>
                  </a:cubicBezTo>
                  <a:cubicBezTo>
                    <a:pt x="2611" y="279"/>
                    <a:pt x="2616" y="274"/>
                    <a:pt x="2616" y="269"/>
                  </a:cubicBezTo>
                  <a:cubicBezTo>
                    <a:pt x="2616" y="263"/>
                    <a:pt x="2610" y="259"/>
                    <a:pt x="2604" y="259"/>
                  </a:cubicBezTo>
                  <a:cubicBezTo>
                    <a:pt x="2604" y="259"/>
                    <a:pt x="2604" y="259"/>
                    <a:pt x="2604" y="259"/>
                  </a:cubicBezTo>
                  <a:moveTo>
                    <a:pt x="2473" y="258"/>
                  </a:moveTo>
                  <a:cubicBezTo>
                    <a:pt x="2467" y="258"/>
                    <a:pt x="2462" y="263"/>
                    <a:pt x="2461" y="269"/>
                  </a:cubicBezTo>
                  <a:cubicBezTo>
                    <a:pt x="2461" y="274"/>
                    <a:pt x="2466" y="279"/>
                    <a:pt x="2473" y="279"/>
                  </a:cubicBezTo>
                  <a:cubicBezTo>
                    <a:pt x="2479" y="279"/>
                    <a:pt x="2484" y="274"/>
                    <a:pt x="2484" y="268"/>
                  </a:cubicBezTo>
                  <a:cubicBezTo>
                    <a:pt x="2484" y="263"/>
                    <a:pt x="2479" y="258"/>
                    <a:pt x="2473" y="258"/>
                  </a:cubicBezTo>
                  <a:cubicBezTo>
                    <a:pt x="2473" y="258"/>
                    <a:pt x="2473" y="258"/>
                    <a:pt x="2473" y="258"/>
                  </a:cubicBezTo>
                  <a:moveTo>
                    <a:pt x="2636" y="258"/>
                  </a:moveTo>
                  <a:cubicBezTo>
                    <a:pt x="2630" y="258"/>
                    <a:pt x="2625" y="263"/>
                    <a:pt x="2625" y="269"/>
                  </a:cubicBezTo>
                  <a:cubicBezTo>
                    <a:pt x="2626" y="274"/>
                    <a:pt x="2631" y="279"/>
                    <a:pt x="2637" y="279"/>
                  </a:cubicBezTo>
                  <a:cubicBezTo>
                    <a:pt x="2644" y="279"/>
                    <a:pt x="2649" y="274"/>
                    <a:pt x="2648" y="268"/>
                  </a:cubicBezTo>
                  <a:cubicBezTo>
                    <a:pt x="2648" y="263"/>
                    <a:pt x="2643" y="258"/>
                    <a:pt x="2636" y="258"/>
                  </a:cubicBezTo>
                  <a:cubicBezTo>
                    <a:pt x="2636" y="258"/>
                    <a:pt x="2636" y="258"/>
                    <a:pt x="2636" y="258"/>
                  </a:cubicBezTo>
                  <a:moveTo>
                    <a:pt x="2505" y="258"/>
                  </a:moveTo>
                  <a:cubicBezTo>
                    <a:pt x="2499" y="258"/>
                    <a:pt x="2494" y="263"/>
                    <a:pt x="2494" y="268"/>
                  </a:cubicBezTo>
                  <a:cubicBezTo>
                    <a:pt x="2494" y="274"/>
                    <a:pt x="2499" y="279"/>
                    <a:pt x="2505" y="279"/>
                  </a:cubicBezTo>
                  <a:cubicBezTo>
                    <a:pt x="2512" y="278"/>
                    <a:pt x="2517" y="274"/>
                    <a:pt x="2517" y="268"/>
                  </a:cubicBezTo>
                  <a:cubicBezTo>
                    <a:pt x="2517" y="263"/>
                    <a:pt x="2512" y="258"/>
                    <a:pt x="2505" y="258"/>
                  </a:cubicBezTo>
                  <a:cubicBezTo>
                    <a:pt x="2505" y="258"/>
                    <a:pt x="2505" y="258"/>
                    <a:pt x="2505" y="258"/>
                  </a:cubicBezTo>
                  <a:moveTo>
                    <a:pt x="2668" y="258"/>
                  </a:moveTo>
                  <a:cubicBezTo>
                    <a:pt x="2662" y="258"/>
                    <a:pt x="2657" y="263"/>
                    <a:pt x="2658" y="268"/>
                  </a:cubicBezTo>
                  <a:cubicBezTo>
                    <a:pt x="2658" y="274"/>
                    <a:pt x="2663" y="279"/>
                    <a:pt x="2670" y="279"/>
                  </a:cubicBezTo>
                  <a:cubicBezTo>
                    <a:pt x="2676" y="278"/>
                    <a:pt x="2681" y="274"/>
                    <a:pt x="2680" y="268"/>
                  </a:cubicBezTo>
                  <a:cubicBezTo>
                    <a:pt x="2680" y="263"/>
                    <a:pt x="2675" y="258"/>
                    <a:pt x="2668" y="258"/>
                  </a:cubicBezTo>
                  <a:cubicBezTo>
                    <a:pt x="2668" y="258"/>
                    <a:pt x="2668" y="258"/>
                    <a:pt x="2668" y="258"/>
                  </a:cubicBezTo>
                  <a:moveTo>
                    <a:pt x="2538" y="258"/>
                  </a:moveTo>
                  <a:cubicBezTo>
                    <a:pt x="2532" y="258"/>
                    <a:pt x="2527" y="262"/>
                    <a:pt x="2527" y="268"/>
                  </a:cubicBezTo>
                  <a:cubicBezTo>
                    <a:pt x="2527" y="274"/>
                    <a:pt x="2532" y="278"/>
                    <a:pt x="2538" y="278"/>
                  </a:cubicBezTo>
                  <a:cubicBezTo>
                    <a:pt x="2544" y="278"/>
                    <a:pt x="2550" y="274"/>
                    <a:pt x="2549" y="268"/>
                  </a:cubicBezTo>
                  <a:cubicBezTo>
                    <a:pt x="2549" y="262"/>
                    <a:pt x="2544" y="258"/>
                    <a:pt x="2538" y="258"/>
                  </a:cubicBezTo>
                  <a:cubicBezTo>
                    <a:pt x="2538" y="258"/>
                    <a:pt x="2538" y="258"/>
                    <a:pt x="2538" y="258"/>
                  </a:cubicBezTo>
                  <a:moveTo>
                    <a:pt x="2701" y="258"/>
                  </a:moveTo>
                  <a:cubicBezTo>
                    <a:pt x="2694" y="258"/>
                    <a:pt x="2690" y="262"/>
                    <a:pt x="2690" y="268"/>
                  </a:cubicBezTo>
                  <a:cubicBezTo>
                    <a:pt x="2690" y="274"/>
                    <a:pt x="2696" y="278"/>
                    <a:pt x="2702" y="278"/>
                  </a:cubicBezTo>
                  <a:cubicBezTo>
                    <a:pt x="2709" y="278"/>
                    <a:pt x="2713" y="274"/>
                    <a:pt x="2713" y="268"/>
                  </a:cubicBezTo>
                  <a:cubicBezTo>
                    <a:pt x="2712" y="262"/>
                    <a:pt x="2707" y="258"/>
                    <a:pt x="2701" y="258"/>
                  </a:cubicBezTo>
                  <a:cubicBezTo>
                    <a:pt x="2701" y="258"/>
                    <a:pt x="2701" y="258"/>
                    <a:pt x="2701" y="258"/>
                  </a:cubicBezTo>
                  <a:moveTo>
                    <a:pt x="2733" y="258"/>
                  </a:moveTo>
                  <a:cubicBezTo>
                    <a:pt x="2727" y="258"/>
                    <a:pt x="2722" y="262"/>
                    <a:pt x="2723" y="268"/>
                  </a:cubicBezTo>
                  <a:cubicBezTo>
                    <a:pt x="2723" y="274"/>
                    <a:pt x="2729" y="278"/>
                    <a:pt x="2735" y="278"/>
                  </a:cubicBezTo>
                  <a:cubicBezTo>
                    <a:pt x="2741" y="278"/>
                    <a:pt x="2746" y="273"/>
                    <a:pt x="2746" y="268"/>
                  </a:cubicBezTo>
                  <a:cubicBezTo>
                    <a:pt x="2745" y="262"/>
                    <a:pt x="2740" y="258"/>
                    <a:pt x="2733" y="258"/>
                  </a:cubicBezTo>
                  <a:cubicBezTo>
                    <a:pt x="2733" y="258"/>
                    <a:pt x="2733" y="258"/>
                    <a:pt x="2733" y="258"/>
                  </a:cubicBezTo>
                  <a:moveTo>
                    <a:pt x="2766" y="257"/>
                  </a:moveTo>
                  <a:cubicBezTo>
                    <a:pt x="2760" y="257"/>
                    <a:pt x="2755" y="262"/>
                    <a:pt x="2756" y="268"/>
                  </a:cubicBezTo>
                  <a:cubicBezTo>
                    <a:pt x="2756" y="273"/>
                    <a:pt x="2762" y="278"/>
                    <a:pt x="2768" y="278"/>
                  </a:cubicBezTo>
                  <a:cubicBezTo>
                    <a:pt x="2774" y="278"/>
                    <a:pt x="2779" y="273"/>
                    <a:pt x="2779" y="267"/>
                  </a:cubicBezTo>
                  <a:cubicBezTo>
                    <a:pt x="2778" y="262"/>
                    <a:pt x="2772" y="257"/>
                    <a:pt x="2766" y="257"/>
                  </a:cubicBezTo>
                  <a:cubicBezTo>
                    <a:pt x="2766" y="257"/>
                    <a:pt x="2766" y="257"/>
                    <a:pt x="2766" y="257"/>
                  </a:cubicBezTo>
                  <a:moveTo>
                    <a:pt x="2798" y="257"/>
                  </a:moveTo>
                  <a:cubicBezTo>
                    <a:pt x="2792" y="257"/>
                    <a:pt x="2787" y="262"/>
                    <a:pt x="2788" y="267"/>
                  </a:cubicBezTo>
                  <a:cubicBezTo>
                    <a:pt x="2789" y="273"/>
                    <a:pt x="2794" y="278"/>
                    <a:pt x="2801" y="277"/>
                  </a:cubicBezTo>
                  <a:cubicBezTo>
                    <a:pt x="2807" y="277"/>
                    <a:pt x="2812" y="273"/>
                    <a:pt x="2811" y="267"/>
                  </a:cubicBezTo>
                  <a:cubicBezTo>
                    <a:pt x="2810" y="262"/>
                    <a:pt x="2805" y="257"/>
                    <a:pt x="2798" y="257"/>
                  </a:cubicBezTo>
                  <a:cubicBezTo>
                    <a:pt x="2798" y="257"/>
                    <a:pt x="2798" y="257"/>
                    <a:pt x="2798" y="257"/>
                  </a:cubicBezTo>
                  <a:moveTo>
                    <a:pt x="2831" y="257"/>
                  </a:moveTo>
                  <a:cubicBezTo>
                    <a:pt x="2825" y="257"/>
                    <a:pt x="2820" y="261"/>
                    <a:pt x="2821" y="267"/>
                  </a:cubicBezTo>
                  <a:cubicBezTo>
                    <a:pt x="2821" y="273"/>
                    <a:pt x="2827" y="277"/>
                    <a:pt x="2833" y="277"/>
                  </a:cubicBezTo>
                  <a:cubicBezTo>
                    <a:pt x="2840" y="277"/>
                    <a:pt x="2844" y="273"/>
                    <a:pt x="2844" y="267"/>
                  </a:cubicBezTo>
                  <a:cubicBezTo>
                    <a:pt x="2843" y="261"/>
                    <a:pt x="2837" y="257"/>
                    <a:pt x="2831" y="257"/>
                  </a:cubicBezTo>
                  <a:cubicBezTo>
                    <a:pt x="2831" y="257"/>
                    <a:pt x="2831" y="257"/>
                    <a:pt x="2831" y="257"/>
                  </a:cubicBezTo>
                  <a:moveTo>
                    <a:pt x="2863" y="256"/>
                  </a:moveTo>
                  <a:cubicBezTo>
                    <a:pt x="2857" y="256"/>
                    <a:pt x="2852" y="261"/>
                    <a:pt x="2853" y="267"/>
                  </a:cubicBezTo>
                  <a:cubicBezTo>
                    <a:pt x="2854" y="272"/>
                    <a:pt x="2860" y="277"/>
                    <a:pt x="2866" y="277"/>
                  </a:cubicBezTo>
                  <a:cubicBezTo>
                    <a:pt x="2872" y="277"/>
                    <a:pt x="2877" y="272"/>
                    <a:pt x="2876" y="267"/>
                  </a:cubicBezTo>
                  <a:cubicBezTo>
                    <a:pt x="2875" y="261"/>
                    <a:pt x="2869" y="256"/>
                    <a:pt x="2863" y="256"/>
                  </a:cubicBezTo>
                  <a:cubicBezTo>
                    <a:pt x="2863" y="256"/>
                    <a:pt x="2863" y="256"/>
                    <a:pt x="2863" y="256"/>
                  </a:cubicBezTo>
                  <a:moveTo>
                    <a:pt x="2896" y="256"/>
                  </a:moveTo>
                  <a:cubicBezTo>
                    <a:pt x="2889" y="256"/>
                    <a:pt x="2885" y="261"/>
                    <a:pt x="2886" y="266"/>
                  </a:cubicBezTo>
                  <a:cubicBezTo>
                    <a:pt x="2887" y="272"/>
                    <a:pt x="2892" y="277"/>
                    <a:pt x="2899" y="277"/>
                  </a:cubicBezTo>
                  <a:cubicBezTo>
                    <a:pt x="2905" y="277"/>
                    <a:pt x="2909" y="272"/>
                    <a:pt x="2909" y="266"/>
                  </a:cubicBezTo>
                  <a:cubicBezTo>
                    <a:pt x="2908" y="261"/>
                    <a:pt x="2902" y="256"/>
                    <a:pt x="2896" y="256"/>
                  </a:cubicBezTo>
                  <a:cubicBezTo>
                    <a:pt x="2896" y="256"/>
                    <a:pt x="2896" y="256"/>
                    <a:pt x="2896" y="256"/>
                  </a:cubicBezTo>
                  <a:moveTo>
                    <a:pt x="2928" y="256"/>
                  </a:moveTo>
                  <a:cubicBezTo>
                    <a:pt x="2922" y="256"/>
                    <a:pt x="2917" y="260"/>
                    <a:pt x="2918" y="266"/>
                  </a:cubicBezTo>
                  <a:cubicBezTo>
                    <a:pt x="2919" y="272"/>
                    <a:pt x="2925" y="276"/>
                    <a:pt x="2931" y="276"/>
                  </a:cubicBezTo>
                  <a:cubicBezTo>
                    <a:pt x="2937" y="276"/>
                    <a:pt x="2942" y="271"/>
                    <a:pt x="2941" y="266"/>
                  </a:cubicBezTo>
                  <a:cubicBezTo>
                    <a:pt x="2940" y="260"/>
                    <a:pt x="2934" y="256"/>
                    <a:pt x="2928" y="256"/>
                  </a:cubicBezTo>
                  <a:cubicBezTo>
                    <a:pt x="2928" y="256"/>
                    <a:pt x="2928" y="256"/>
                    <a:pt x="2928" y="256"/>
                  </a:cubicBezTo>
                  <a:moveTo>
                    <a:pt x="2959" y="255"/>
                  </a:moveTo>
                  <a:cubicBezTo>
                    <a:pt x="2952" y="255"/>
                    <a:pt x="2948" y="260"/>
                    <a:pt x="2949" y="266"/>
                  </a:cubicBezTo>
                  <a:cubicBezTo>
                    <a:pt x="2950" y="271"/>
                    <a:pt x="2956" y="276"/>
                    <a:pt x="2962" y="276"/>
                  </a:cubicBezTo>
                  <a:cubicBezTo>
                    <a:pt x="2968" y="276"/>
                    <a:pt x="2973" y="271"/>
                    <a:pt x="2972" y="266"/>
                  </a:cubicBezTo>
                  <a:cubicBezTo>
                    <a:pt x="2971" y="260"/>
                    <a:pt x="2965" y="255"/>
                    <a:pt x="2959" y="255"/>
                  </a:cubicBezTo>
                  <a:cubicBezTo>
                    <a:pt x="2959" y="255"/>
                    <a:pt x="2959" y="255"/>
                    <a:pt x="2959" y="255"/>
                  </a:cubicBezTo>
                  <a:moveTo>
                    <a:pt x="2991" y="255"/>
                  </a:moveTo>
                  <a:cubicBezTo>
                    <a:pt x="2985" y="255"/>
                    <a:pt x="2980" y="260"/>
                    <a:pt x="2981" y="265"/>
                  </a:cubicBezTo>
                  <a:cubicBezTo>
                    <a:pt x="2982" y="271"/>
                    <a:pt x="2988" y="276"/>
                    <a:pt x="2995" y="276"/>
                  </a:cubicBezTo>
                  <a:cubicBezTo>
                    <a:pt x="3001" y="276"/>
                    <a:pt x="3005" y="271"/>
                    <a:pt x="3004" y="265"/>
                  </a:cubicBezTo>
                  <a:cubicBezTo>
                    <a:pt x="3003" y="260"/>
                    <a:pt x="2997" y="255"/>
                    <a:pt x="2991" y="255"/>
                  </a:cubicBezTo>
                  <a:cubicBezTo>
                    <a:pt x="2991" y="255"/>
                    <a:pt x="2991" y="255"/>
                    <a:pt x="2991" y="255"/>
                  </a:cubicBezTo>
                  <a:moveTo>
                    <a:pt x="3023" y="255"/>
                  </a:moveTo>
                  <a:cubicBezTo>
                    <a:pt x="3017" y="255"/>
                    <a:pt x="3013" y="260"/>
                    <a:pt x="3014" y="265"/>
                  </a:cubicBezTo>
                  <a:cubicBezTo>
                    <a:pt x="3015" y="271"/>
                    <a:pt x="3021" y="275"/>
                    <a:pt x="3027" y="275"/>
                  </a:cubicBezTo>
                  <a:cubicBezTo>
                    <a:pt x="3034" y="275"/>
                    <a:pt x="3038" y="271"/>
                    <a:pt x="3037" y="265"/>
                  </a:cubicBezTo>
                  <a:cubicBezTo>
                    <a:pt x="3036" y="259"/>
                    <a:pt x="3030" y="255"/>
                    <a:pt x="3024" y="255"/>
                  </a:cubicBezTo>
                  <a:cubicBezTo>
                    <a:pt x="3024" y="255"/>
                    <a:pt x="3023" y="255"/>
                    <a:pt x="3023" y="255"/>
                  </a:cubicBezTo>
                  <a:moveTo>
                    <a:pt x="3057" y="255"/>
                  </a:moveTo>
                  <a:cubicBezTo>
                    <a:pt x="3051" y="255"/>
                    <a:pt x="3047" y="259"/>
                    <a:pt x="3048" y="265"/>
                  </a:cubicBezTo>
                  <a:cubicBezTo>
                    <a:pt x="3049" y="271"/>
                    <a:pt x="3055" y="275"/>
                    <a:pt x="3061" y="275"/>
                  </a:cubicBezTo>
                  <a:cubicBezTo>
                    <a:pt x="3068" y="275"/>
                    <a:pt x="3072" y="270"/>
                    <a:pt x="3070" y="265"/>
                  </a:cubicBezTo>
                  <a:cubicBezTo>
                    <a:pt x="3069" y="259"/>
                    <a:pt x="3063" y="255"/>
                    <a:pt x="3057" y="255"/>
                  </a:cubicBezTo>
                  <a:cubicBezTo>
                    <a:pt x="3057" y="255"/>
                    <a:pt x="3057" y="255"/>
                    <a:pt x="3057" y="255"/>
                  </a:cubicBezTo>
                  <a:moveTo>
                    <a:pt x="3089" y="254"/>
                  </a:moveTo>
                  <a:cubicBezTo>
                    <a:pt x="3083" y="254"/>
                    <a:pt x="3079" y="259"/>
                    <a:pt x="3080" y="265"/>
                  </a:cubicBezTo>
                  <a:cubicBezTo>
                    <a:pt x="3081" y="270"/>
                    <a:pt x="3087" y="275"/>
                    <a:pt x="3094" y="275"/>
                  </a:cubicBezTo>
                  <a:cubicBezTo>
                    <a:pt x="3100" y="275"/>
                    <a:pt x="3104" y="270"/>
                    <a:pt x="3103" y="264"/>
                  </a:cubicBezTo>
                  <a:cubicBezTo>
                    <a:pt x="3102" y="259"/>
                    <a:pt x="3096" y="254"/>
                    <a:pt x="3089" y="254"/>
                  </a:cubicBezTo>
                  <a:cubicBezTo>
                    <a:pt x="3089" y="254"/>
                    <a:pt x="3089" y="254"/>
                    <a:pt x="3089" y="254"/>
                  </a:cubicBezTo>
                  <a:moveTo>
                    <a:pt x="3122" y="254"/>
                  </a:moveTo>
                  <a:cubicBezTo>
                    <a:pt x="3115" y="254"/>
                    <a:pt x="3111" y="259"/>
                    <a:pt x="3113" y="264"/>
                  </a:cubicBezTo>
                  <a:cubicBezTo>
                    <a:pt x="3114" y="270"/>
                    <a:pt x="3120" y="275"/>
                    <a:pt x="3126" y="275"/>
                  </a:cubicBezTo>
                  <a:cubicBezTo>
                    <a:pt x="3133" y="275"/>
                    <a:pt x="3137" y="270"/>
                    <a:pt x="3136" y="264"/>
                  </a:cubicBezTo>
                  <a:cubicBezTo>
                    <a:pt x="3134" y="259"/>
                    <a:pt x="3128" y="254"/>
                    <a:pt x="3122" y="254"/>
                  </a:cubicBezTo>
                  <a:cubicBezTo>
                    <a:pt x="3122" y="254"/>
                    <a:pt x="3122" y="254"/>
                    <a:pt x="3122" y="254"/>
                  </a:cubicBezTo>
                  <a:moveTo>
                    <a:pt x="3155" y="254"/>
                  </a:moveTo>
                  <a:cubicBezTo>
                    <a:pt x="3148" y="254"/>
                    <a:pt x="3144" y="258"/>
                    <a:pt x="3146" y="264"/>
                  </a:cubicBezTo>
                  <a:cubicBezTo>
                    <a:pt x="3147" y="270"/>
                    <a:pt x="3153" y="274"/>
                    <a:pt x="3160" y="274"/>
                  </a:cubicBezTo>
                  <a:cubicBezTo>
                    <a:pt x="3166" y="274"/>
                    <a:pt x="3170" y="270"/>
                    <a:pt x="3168" y="264"/>
                  </a:cubicBezTo>
                  <a:cubicBezTo>
                    <a:pt x="3167" y="258"/>
                    <a:pt x="3161" y="254"/>
                    <a:pt x="3155" y="254"/>
                  </a:cubicBezTo>
                  <a:cubicBezTo>
                    <a:pt x="3155" y="254"/>
                    <a:pt x="3155" y="254"/>
                    <a:pt x="3155" y="254"/>
                  </a:cubicBezTo>
                  <a:moveTo>
                    <a:pt x="3187" y="254"/>
                  </a:moveTo>
                  <a:cubicBezTo>
                    <a:pt x="3181" y="254"/>
                    <a:pt x="3177" y="258"/>
                    <a:pt x="3178" y="264"/>
                  </a:cubicBezTo>
                  <a:cubicBezTo>
                    <a:pt x="3179" y="270"/>
                    <a:pt x="3186" y="274"/>
                    <a:pt x="3192" y="274"/>
                  </a:cubicBezTo>
                  <a:cubicBezTo>
                    <a:pt x="3198" y="274"/>
                    <a:pt x="3202" y="269"/>
                    <a:pt x="3201" y="264"/>
                  </a:cubicBezTo>
                  <a:cubicBezTo>
                    <a:pt x="3199" y="258"/>
                    <a:pt x="3193" y="254"/>
                    <a:pt x="3187" y="254"/>
                  </a:cubicBezTo>
                  <a:cubicBezTo>
                    <a:pt x="3187" y="254"/>
                    <a:pt x="3187" y="254"/>
                    <a:pt x="3187" y="254"/>
                  </a:cubicBezTo>
                  <a:moveTo>
                    <a:pt x="3219" y="253"/>
                  </a:moveTo>
                  <a:cubicBezTo>
                    <a:pt x="3213" y="253"/>
                    <a:pt x="3209" y="258"/>
                    <a:pt x="3211" y="264"/>
                  </a:cubicBezTo>
                  <a:cubicBezTo>
                    <a:pt x="3212" y="269"/>
                    <a:pt x="3218" y="274"/>
                    <a:pt x="3225" y="274"/>
                  </a:cubicBezTo>
                  <a:cubicBezTo>
                    <a:pt x="3231" y="274"/>
                    <a:pt x="3235" y="269"/>
                    <a:pt x="3233" y="263"/>
                  </a:cubicBezTo>
                  <a:cubicBezTo>
                    <a:pt x="3232" y="258"/>
                    <a:pt x="3226" y="253"/>
                    <a:pt x="3219" y="253"/>
                  </a:cubicBezTo>
                  <a:cubicBezTo>
                    <a:pt x="3219" y="253"/>
                    <a:pt x="3219" y="253"/>
                    <a:pt x="3219" y="253"/>
                  </a:cubicBezTo>
                  <a:moveTo>
                    <a:pt x="3251" y="253"/>
                  </a:moveTo>
                  <a:cubicBezTo>
                    <a:pt x="3245" y="253"/>
                    <a:pt x="3241" y="258"/>
                    <a:pt x="3243" y="263"/>
                  </a:cubicBezTo>
                  <a:cubicBezTo>
                    <a:pt x="3245" y="269"/>
                    <a:pt x="3251" y="274"/>
                    <a:pt x="3257" y="273"/>
                  </a:cubicBezTo>
                  <a:cubicBezTo>
                    <a:pt x="3264" y="273"/>
                    <a:pt x="3267" y="269"/>
                    <a:pt x="3266" y="263"/>
                  </a:cubicBezTo>
                  <a:cubicBezTo>
                    <a:pt x="3264" y="257"/>
                    <a:pt x="3258" y="253"/>
                    <a:pt x="3252" y="253"/>
                  </a:cubicBezTo>
                  <a:cubicBezTo>
                    <a:pt x="3252" y="253"/>
                    <a:pt x="3251" y="253"/>
                    <a:pt x="3251" y="253"/>
                  </a:cubicBezTo>
                  <a:moveTo>
                    <a:pt x="3284" y="253"/>
                  </a:moveTo>
                  <a:cubicBezTo>
                    <a:pt x="3277" y="253"/>
                    <a:pt x="3274" y="257"/>
                    <a:pt x="3275" y="263"/>
                  </a:cubicBezTo>
                  <a:cubicBezTo>
                    <a:pt x="3277" y="269"/>
                    <a:pt x="3283" y="273"/>
                    <a:pt x="3290" y="273"/>
                  </a:cubicBezTo>
                  <a:cubicBezTo>
                    <a:pt x="3296" y="273"/>
                    <a:pt x="3300" y="269"/>
                    <a:pt x="3298" y="263"/>
                  </a:cubicBezTo>
                  <a:cubicBezTo>
                    <a:pt x="3296" y="257"/>
                    <a:pt x="3290" y="253"/>
                    <a:pt x="3284" y="253"/>
                  </a:cubicBezTo>
                  <a:cubicBezTo>
                    <a:pt x="3284" y="253"/>
                    <a:pt x="3284" y="253"/>
                    <a:pt x="3284" y="253"/>
                  </a:cubicBezTo>
                  <a:moveTo>
                    <a:pt x="3316" y="252"/>
                  </a:moveTo>
                  <a:cubicBezTo>
                    <a:pt x="3310" y="252"/>
                    <a:pt x="3306" y="257"/>
                    <a:pt x="3308" y="263"/>
                  </a:cubicBezTo>
                  <a:cubicBezTo>
                    <a:pt x="3309" y="268"/>
                    <a:pt x="3316" y="273"/>
                    <a:pt x="3322" y="273"/>
                  </a:cubicBezTo>
                  <a:cubicBezTo>
                    <a:pt x="3329" y="273"/>
                    <a:pt x="3332" y="268"/>
                    <a:pt x="3330" y="263"/>
                  </a:cubicBezTo>
                  <a:cubicBezTo>
                    <a:pt x="3329" y="257"/>
                    <a:pt x="3322" y="252"/>
                    <a:pt x="3316" y="252"/>
                  </a:cubicBezTo>
                  <a:cubicBezTo>
                    <a:pt x="3316" y="252"/>
                    <a:pt x="3316" y="252"/>
                    <a:pt x="3316" y="252"/>
                  </a:cubicBezTo>
                  <a:moveTo>
                    <a:pt x="3348" y="252"/>
                  </a:moveTo>
                  <a:cubicBezTo>
                    <a:pt x="3342" y="252"/>
                    <a:pt x="3339" y="257"/>
                    <a:pt x="3340" y="263"/>
                  </a:cubicBezTo>
                  <a:cubicBezTo>
                    <a:pt x="3342" y="268"/>
                    <a:pt x="3349" y="273"/>
                    <a:pt x="3355" y="273"/>
                  </a:cubicBezTo>
                  <a:cubicBezTo>
                    <a:pt x="3361" y="273"/>
                    <a:pt x="3365" y="268"/>
                    <a:pt x="3363" y="262"/>
                  </a:cubicBezTo>
                  <a:cubicBezTo>
                    <a:pt x="3361" y="257"/>
                    <a:pt x="3355" y="252"/>
                    <a:pt x="3349" y="252"/>
                  </a:cubicBezTo>
                  <a:cubicBezTo>
                    <a:pt x="3349" y="252"/>
                    <a:pt x="3348" y="252"/>
                    <a:pt x="3348" y="252"/>
                  </a:cubicBezTo>
                  <a:moveTo>
                    <a:pt x="3382" y="252"/>
                  </a:moveTo>
                  <a:cubicBezTo>
                    <a:pt x="3376" y="252"/>
                    <a:pt x="3372" y="257"/>
                    <a:pt x="3374" y="262"/>
                  </a:cubicBezTo>
                  <a:cubicBezTo>
                    <a:pt x="3376" y="268"/>
                    <a:pt x="3382" y="272"/>
                    <a:pt x="3389" y="272"/>
                  </a:cubicBezTo>
                  <a:cubicBezTo>
                    <a:pt x="3395" y="272"/>
                    <a:pt x="3399" y="268"/>
                    <a:pt x="3397" y="262"/>
                  </a:cubicBezTo>
                  <a:cubicBezTo>
                    <a:pt x="3395" y="256"/>
                    <a:pt x="3388" y="252"/>
                    <a:pt x="3382" y="252"/>
                  </a:cubicBezTo>
                  <a:cubicBezTo>
                    <a:pt x="3382" y="252"/>
                    <a:pt x="3382" y="252"/>
                    <a:pt x="3382" y="252"/>
                  </a:cubicBezTo>
                  <a:moveTo>
                    <a:pt x="3414" y="252"/>
                  </a:moveTo>
                  <a:cubicBezTo>
                    <a:pt x="3408" y="252"/>
                    <a:pt x="3404" y="256"/>
                    <a:pt x="3406" y="262"/>
                  </a:cubicBezTo>
                  <a:cubicBezTo>
                    <a:pt x="3408" y="268"/>
                    <a:pt x="3415" y="272"/>
                    <a:pt x="3421" y="272"/>
                  </a:cubicBezTo>
                  <a:cubicBezTo>
                    <a:pt x="3427" y="272"/>
                    <a:pt x="3431" y="267"/>
                    <a:pt x="3429" y="262"/>
                  </a:cubicBezTo>
                  <a:cubicBezTo>
                    <a:pt x="3427" y="256"/>
                    <a:pt x="3420" y="252"/>
                    <a:pt x="3414" y="252"/>
                  </a:cubicBezTo>
                  <a:cubicBezTo>
                    <a:pt x="3414" y="252"/>
                    <a:pt x="3414" y="252"/>
                    <a:pt x="3414" y="252"/>
                  </a:cubicBezTo>
                  <a:moveTo>
                    <a:pt x="3447" y="251"/>
                  </a:moveTo>
                  <a:cubicBezTo>
                    <a:pt x="3440" y="251"/>
                    <a:pt x="3437" y="256"/>
                    <a:pt x="3439" y="262"/>
                  </a:cubicBezTo>
                  <a:cubicBezTo>
                    <a:pt x="3441" y="267"/>
                    <a:pt x="3448" y="272"/>
                    <a:pt x="3454" y="272"/>
                  </a:cubicBezTo>
                  <a:cubicBezTo>
                    <a:pt x="3460" y="272"/>
                    <a:pt x="3464" y="267"/>
                    <a:pt x="3462" y="262"/>
                  </a:cubicBezTo>
                  <a:cubicBezTo>
                    <a:pt x="3460" y="256"/>
                    <a:pt x="3453" y="251"/>
                    <a:pt x="3447" y="251"/>
                  </a:cubicBezTo>
                  <a:cubicBezTo>
                    <a:pt x="3447" y="251"/>
                    <a:pt x="3447" y="251"/>
                    <a:pt x="3447" y="251"/>
                  </a:cubicBezTo>
                  <a:moveTo>
                    <a:pt x="3479" y="251"/>
                  </a:moveTo>
                  <a:cubicBezTo>
                    <a:pt x="3473" y="251"/>
                    <a:pt x="3470" y="256"/>
                    <a:pt x="3472" y="261"/>
                  </a:cubicBezTo>
                  <a:cubicBezTo>
                    <a:pt x="3474" y="267"/>
                    <a:pt x="3481" y="272"/>
                    <a:pt x="3487" y="272"/>
                  </a:cubicBezTo>
                  <a:cubicBezTo>
                    <a:pt x="3493" y="272"/>
                    <a:pt x="3497" y="267"/>
                    <a:pt x="3495" y="261"/>
                  </a:cubicBezTo>
                  <a:cubicBezTo>
                    <a:pt x="3492" y="256"/>
                    <a:pt x="3486" y="251"/>
                    <a:pt x="3480" y="251"/>
                  </a:cubicBezTo>
                  <a:cubicBezTo>
                    <a:pt x="3479" y="251"/>
                    <a:pt x="3479" y="251"/>
                    <a:pt x="3479" y="251"/>
                  </a:cubicBezTo>
                  <a:moveTo>
                    <a:pt x="3512" y="251"/>
                  </a:moveTo>
                  <a:cubicBezTo>
                    <a:pt x="3505" y="251"/>
                    <a:pt x="3502" y="255"/>
                    <a:pt x="3504" y="261"/>
                  </a:cubicBezTo>
                  <a:cubicBezTo>
                    <a:pt x="3506" y="267"/>
                    <a:pt x="3513" y="271"/>
                    <a:pt x="3519" y="271"/>
                  </a:cubicBezTo>
                  <a:cubicBezTo>
                    <a:pt x="3526" y="271"/>
                    <a:pt x="3529" y="267"/>
                    <a:pt x="3527" y="261"/>
                  </a:cubicBezTo>
                  <a:cubicBezTo>
                    <a:pt x="3525" y="255"/>
                    <a:pt x="3518" y="251"/>
                    <a:pt x="3512" y="251"/>
                  </a:cubicBezTo>
                  <a:cubicBezTo>
                    <a:pt x="3512" y="251"/>
                    <a:pt x="3512" y="251"/>
                    <a:pt x="3512" y="251"/>
                  </a:cubicBezTo>
                  <a:moveTo>
                    <a:pt x="3544" y="251"/>
                  </a:moveTo>
                  <a:cubicBezTo>
                    <a:pt x="3538" y="251"/>
                    <a:pt x="3534" y="255"/>
                    <a:pt x="3537" y="261"/>
                  </a:cubicBezTo>
                  <a:cubicBezTo>
                    <a:pt x="3539" y="267"/>
                    <a:pt x="3546" y="271"/>
                    <a:pt x="3552" y="271"/>
                  </a:cubicBezTo>
                  <a:cubicBezTo>
                    <a:pt x="3558" y="271"/>
                    <a:pt x="3562" y="266"/>
                    <a:pt x="3559" y="261"/>
                  </a:cubicBezTo>
                  <a:cubicBezTo>
                    <a:pt x="3557" y="255"/>
                    <a:pt x="3550" y="251"/>
                    <a:pt x="3544" y="251"/>
                  </a:cubicBezTo>
                  <a:cubicBezTo>
                    <a:pt x="3544" y="251"/>
                    <a:pt x="3544" y="251"/>
                    <a:pt x="3544" y="251"/>
                  </a:cubicBezTo>
                  <a:moveTo>
                    <a:pt x="3576" y="250"/>
                  </a:moveTo>
                  <a:cubicBezTo>
                    <a:pt x="3570" y="250"/>
                    <a:pt x="3567" y="255"/>
                    <a:pt x="3569" y="261"/>
                  </a:cubicBezTo>
                  <a:cubicBezTo>
                    <a:pt x="3571" y="266"/>
                    <a:pt x="3578" y="271"/>
                    <a:pt x="3585" y="271"/>
                  </a:cubicBezTo>
                  <a:cubicBezTo>
                    <a:pt x="3591" y="271"/>
                    <a:pt x="3594" y="266"/>
                    <a:pt x="3592" y="260"/>
                  </a:cubicBezTo>
                  <a:cubicBezTo>
                    <a:pt x="3589" y="255"/>
                    <a:pt x="3583" y="250"/>
                    <a:pt x="3576" y="250"/>
                  </a:cubicBezTo>
                  <a:cubicBezTo>
                    <a:pt x="3576" y="250"/>
                    <a:pt x="3576" y="250"/>
                    <a:pt x="3576" y="250"/>
                  </a:cubicBezTo>
                  <a:moveTo>
                    <a:pt x="3609" y="250"/>
                  </a:moveTo>
                  <a:cubicBezTo>
                    <a:pt x="3603" y="250"/>
                    <a:pt x="3600" y="255"/>
                    <a:pt x="3602" y="260"/>
                  </a:cubicBezTo>
                  <a:cubicBezTo>
                    <a:pt x="3604" y="266"/>
                    <a:pt x="3611" y="271"/>
                    <a:pt x="3618" y="271"/>
                  </a:cubicBezTo>
                  <a:cubicBezTo>
                    <a:pt x="3624" y="270"/>
                    <a:pt x="3627" y="266"/>
                    <a:pt x="3625" y="260"/>
                  </a:cubicBezTo>
                  <a:cubicBezTo>
                    <a:pt x="3622" y="254"/>
                    <a:pt x="3616" y="250"/>
                    <a:pt x="3609" y="250"/>
                  </a:cubicBezTo>
                  <a:cubicBezTo>
                    <a:pt x="3609" y="250"/>
                    <a:pt x="3609" y="250"/>
                    <a:pt x="3609" y="250"/>
                  </a:cubicBezTo>
                  <a:moveTo>
                    <a:pt x="3642" y="250"/>
                  </a:moveTo>
                  <a:cubicBezTo>
                    <a:pt x="3635" y="250"/>
                    <a:pt x="3632" y="254"/>
                    <a:pt x="3635" y="260"/>
                  </a:cubicBezTo>
                  <a:cubicBezTo>
                    <a:pt x="3637" y="266"/>
                    <a:pt x="3644" y="270"/>
                    <a:pt x="3650" y="270"/>
                  </a:cubicBezTo>
                  <a:cubicBezTo>
                    <a:pt x="3657" y="270"/>
                    <a:pt x="3660" y="266"/>
                    <a:pt x="3657" y="260"/>
                  </a:cubicBezTo>
                  <a:cubicBezTo>
                    <a:pt x="3655" y="254"/>
                    <a:pt x="3648" y="250"/>
                    <a:pt x="3642" y="250"/>
                  </a:cubicBezTo>
                  <a:cubicBezTo>
                    <a:pt x="3642" y="250"/>
                    <a:pt x="3642" y="250"/>
                    <a:pt x="3642" y="250"/>
                  </a:cubicBezTo>
                  <a:moveTo>
                    <a:pt x="3675" y="249"/>
                  </a:moveTo>
                  <a:cubicBezTo>
                    <a:pt x="3669" y="249"/>
                    <a:pt x="3666" y="254"/>
                    <a:pt x="3668" y="260"/>
                  </a:cubicBezTo>
                  <a:cubicBezTo>
                    <a:pt x="3671" y="265"/>
                    <a:pt x="3678" y="270"/>
                    <a:pt x="3684" y="270"/>
                  </a:cubicBezTo>
                  <a:cubicBezTo>
                    <a:pt x="3690" y="270"/>
                    <a:pt x="3694" y="265"/>
                    <a:pt x="3691" y="260"/>
                  </a:cubicBezTo>
                  <a:cubicBezTo>
                    <a:pt x="3688" y="254"/>
                    <a:pt x="3681" y="249"/>
                    <a:pt x="3675" y="249"/>
                  </a:cubicBezTo>
                  <a:cubicBezTo>
                    <a:pt x="3675" y="249"/>
                    <a:pt x="3675" y="249"/>
                    <a:pt x="3675" y="249"/>
                  </a:cubicBezTo>
                  <a:moveTo>
                    <a:pt x="181" y="249"/>
                  </a:moveTo>
                  <a:cubicBezTo>
                    <a:pt x="175" y="249"/>
                    <a:pt x="166" y="254"/>
                    <a:pt x="161" y="260"/>
                  </a:cubicBezTo>
                  <a:cubicBezTo>
                    <a:pt x="156" y="265"/>
                    <a:pt x="157" y="270"/>
                    <a:pt x="163" y="270"/>
                  </a:cubicBezTo>
                  <a:cubicBezTo>
                    <a:pt x="170" y="269"/>
                    <a:pt x="179" y="265"/>
                    <a:pt x="184" y="259"/>
                  </a:cubicBezTo>
                  <a:cubicBezTo>
                    <a:pt x="189" y="254"/>
                    <a:pt x="187" y="249"/>
                    <a:pt x="181" y="249"/>
                  </a:cubicBezTo>
                  <a:cubicBezTo>
                    <a:pt x="181" y="249"/>
                    <a:pt x="181" y="249"/>
                    <a:pt x="181" y="249"/>
                  </a:cubicBezTo>
                  <a:moveTo>
                    <a:pt x="3707" y="249"/>
                  </a:moveTo>
                  <a:cubicBezTo>
                    <a:pt x="3701" y="249"/>
                    <a:pt x="3698" y="254"/>
                    <a:pt x="3701" y="260"/>
                  </a:cubicBezTo>
                  <a:cubicBezTo>
                    <a:pt x="3703" y="265"/>
                    <a:pt x="3710" y="270"/>
                    <a:pt x="3717" y="270"/>
                  </a:cubicBezTo>
                  <a:cubicBezTo>
                    <a:pt x="3723" y="270"/>
                    <a:pt x="3726" y="265"/>
                    <a:pt x="3723" y="259"/>
                  </a:cubicBezTo>
                  <a:cubicBezTo>
                    <a:pt x="3721" y="254"/>
                    <a:pt x="3714" y="249"/>
                    <a:pt x="3707" y="249"/>
                  </a:cubicBezTo>
                  <a:cubicBezTo>
                    <a:pt x="3707" y="249"/>
                    <a:pt x="3707" y="249"/>
                    <a:pt x="3707" y="249"/>
                  </a:cubicBezTo>
                  <a:moveTo>
                    <a:pt x="213" y="249"/>
                  </a:moveTo>
                  <a:cubicBezTo>
                    <a:pt x="207" y="249"/>
                    <a:pt x="198" y="254"/>
                    <a:pt x="193" y="259"/>
                  </a:cubicBezTo>
                  <a:cubicBezTo>
                    <a:pt x="188" y="265"/>
                    <a:pt x="189" y="269"/>
                    <a:pt x="196" y="269"/>
                  </a:cubicBezTo>
                  <a:cubicBezTo>
                    <a:pt x="202" y="269"/>
                    <a:pt x="211" y="265"/>
                    <a:pt x="216" y="259"/>
                  </a:cubicBezTo>
                  <a:cubicBezTo>
                    <a:pt x="221" y="254"/>
                    <a:pt x="220" y="249"/>
                    <a:pt x="213" y="249"/>
                  </a:cubicBezTo>
                  <a:cubicBezTo>
                    <a:pt x="213" y="249"/>
                    <a:pt x="213" y="249"/>
                    <a:pt x="213" y="249"/>
                  </a:cubicBezTo>
                  <a:moveTo>
                    <a:pt x="3740" y="249"/>
                  </a:moveTo>
                  <a:cubicBezTo>
                    <a:pt x="3733" y="249"/>
                    <a:pt x="3731" y="254"/>
                    <a:pt x="3733" y="259"/>
                  </a:cubicBezTo>
                  <a:cubicBezTo>
                    <a:pt x="3736" y="265"/>
                    <a:pt x="3743" y="269"/>
                    <a:pt x="3749" y="269"/>
                  </a:cubicBezTo>
                  <a:cubicBezTo>
                    <a:pt x="3756" y="269"/>
                    <a:pt x="3759" y="265"/>
                    <a:pt x="3756" y="259"/>
                  </a:cubicBezTo>
                  <a:cubicBezTo>
                    <a:pt x="3753" y="253"/>
                    <a:pt x="3746" y="249"/>
                    <a:pt x="3740" y="249"/>
                  </a:cubicBezTo>
                  <a:cubicBezTo>
                    <a:pt x="3740" y="249"/>
                    <a:pt x="3740" y="249"/>
                    <a:pt x="3740" y="249"/>
                  </a:cubicBezTo>
                  <a:moveTo>
                    <a:pt x="246" y="249"/>
                  </a:moveTo>
                  <a:cubicBezTo>
                    <a:pt x="240" y="249"/>
                    <a:pt x="231" y="253"/>
                    <a:pt x="226" y="259"/>
                  </a:cubicBezTo>
                  <a:cubicBezTo>
                    <a:pt x="221" y="265"/>
                    <a:pt x="222" y="269"/>
                    <a:pt x="228" y="269"/>
                  </a:cubicBezTo>
                  <a:cubicBezTo>
                    <a:pt x="235" y="269"/>
                    <a:pt x="244" y="264"/>
                    <a:pt x="248" y="259"/>
                  </a:cubicBezTo>
                  <a:cubicBezTo>
                    <a:pt x="253" y="253"/>
                    <a:pt x="252" y="249"/>
                    <a:pt x="246" y="249"/>
                  </a:cubicBezTo>
                  <a:cubicBezTo>
                    <a:pt x="246" y="249"/>
                    <a:pt x="246" y="249"/>
                    <a:pt x="246" y="249"/>
                  </a:cubicBezTo>
                  <a:moveTo>
                    <a:pt x="3772" y="249"/>
                  </a:moveTo>
                  <a:cubicBezTo>
                    <a:pt x="3766" y="249"/>
                    <a:pt x="3763" y="253"/>
                    <a:pt x="3766" y="259"/>
                  </a:cubicBezTo>
                  <a:cubicBezTo>
                    <a:pt x="3769" y="265"/>
                    <a:pt x="3776" y="269"/>
                    <a:pt x="3782" y="269"/>
                  </a:cubicBezTo>
                  <a:cubicBezTo>
                    <a:pt x="3789" y="269"/>
                    <a:pt x="3792" y="264"/>
                    <a:pt x="3789" y="259"/>
                  </a:cubicBezTo>
                  <a:cubicBezTo>
                    <a:pt x="3786" y="253"/>
                    <a:pt x="3779" y="249"/>
                    <a:pt x="3773" y="249"/>
                  </a:cubicBezTo>
                  <a:cubicBezTo>
                    <a:pt x="3773" y="249"/>
                    <a:pt x="3773" y="249"/>
                    <a:pt x="3772" y="249"/>
                  </a:cubicBezTo>
                  <a:moveTo>
                    <a:pt x="278" y="248"/>
                  </a:moveTo>
                  <a:cubicBezTo>
                    <a:pt x="272" y="249"/>
                    <a:pt x="263" y="253"/>
                    <a:pt x="258" y="259"/>
                  </a:cubicBezTo>
                  <a:cubicBezTo>
                    <a:pt x="253" y="264"/>
                    <a:pt x="254" y="269"/>
                    <a:pt x="261" y="269"/>
                  </a:cubicBezTo>
                  <a:cubicBezTo>
                    <a:pt x="267" y="269"/>
                    <a:pt x="276" y="264"/>
                    <a:pt x="281" y="259"/>
                  </a:cubicBezTo>
                  <a:cubicBezTo>
                    <a:pt x="285" y="253"/>
                    <a:pt x="284" y="248"/>
                    <a:pt x="278" y="248"/>
                  </a:cubicBezTo>
                  <a:cubicBezTo>
                    <a:pt x="278" y="248"/>
                    <a:pt x="278" y="248"/>
                    <a:pt x="278" y="248"/>
                  </a:cubicBezTo>
                  <a:moveTo>
                    <a:pt x="3805" y="248"/>
                  </a:moveTo>
                  <a:cubicBezTo>
                    <a:pt x="3798" y="248"/>
                    <a:pt x="3796" y="253"/>
                    <a:pt x="3798" y="259"/>
                  </a:cubicBezTo>
                  <a:cubicBezTo>
                    <a:pt x="3801" y="264"/>
                    <a:pt x="3808" y="269"/>
                    <a:pt x="3815" y="269"/>
                  </a:cubicBezTo>
                  <a:cubicBezTo>
                    <a:pt x="3821" y="269"/>
                    <a:pt x="3824" y="264"/>
                    <a:pt x="3821" y="259"/>
                  </a:cubicBezTo>
                  <a:cubicBezTo>
                    <a:pt x="3818" y="253"/>
                    <a:pt x="3811" y="248"/>
                    <a:pt x="3805" y="248"/>
                  </a:cubicBezTo>
                  <a:cubicBezTo>
                    <a:pt x="3805" y="248"/>
                    <a:pt x="3805" y="248"/>
                    <a:pt x="3805" y="248"/>
                  </a:cubicBezTo>
                  <a:moveTo>
                    <a:pt x="310" y="248"/>
                  </a:moveTo>
                  <a:cubicBezTo>
                    <a:pt x="304" y="248"/>
                    <a:pt x="295" y="253"/>
                    <a:pt x="290" y="258"/>
                  </a:cubicBezTo>
                  <a:cubicBezTo>
                    <a:pt x="286" y="264"/>
                    <a:pt x="287" y="268"/>
                    <a:pt x="293" y="268"/>
                  </a:cubicBezTo>
                  <a:cubicBezTo>
                    <a:pt x="299" y="268"/>
                    <a:pt x="308" y="264"/>
                    <a:pt x="313" y="258"/>
                  </a:cubicBezTo>
                  <a:cubicBezTo>
                    <a:pt x="318" y="253"/>
                    <a:pt x="316" y="248"/>
                    <a:pt x="310" y="248"/>
                  </a:cubicBezTo>
                  <a:cubicBezTo>
                    <a:pt x="310" y="248"/>
                    <a:pt x="310" y="248"/>
                    <a:pt x="310" y="248"/>
                  </a:cubicBezTo>
                  <a:moveTo>
                    <a:pt x="3837" y="248"/>
                  </a:moveTo>
                  <a:cubicBezTo>
                    <a:pt x="3831" y="248"/>
                    <a:pt x="3828" y="253"/>
                    <a:pt x="3831" y="258"/>
                  </a:cubicBezTo>
                  <a:cubicBezTo>
                    <a:pt x="3834" y="264"/>
                    <a:pt x="3841" y="269"/>
                    <a:pt x="3847" y="269"/>
                  </a:cubicBezTo>
                  <a:cubicBezTo>
                    <a:pt x="3854" y="269"/>
                    <a:pt x="3856" y="264"/>
                    <a:pt x="3854" y="258"/>
                  </a:cubicBezTo>
                  <a:cubicBezTo>
                    <a:pt x="3851" y="253"/>
                    <a:pt x="3843" y="248"/>
                    <a:pt x="3837" y="248"/>
                  </a:cubicBezTo>
                  <a:cubicBezTo>
                    <a:pt x="3837" y="248"/>
                    <a:pt x="3837" y="248"/>
                    <a:pt x="3837" y="248"/>
                  </a:cubicBezTo>
                  <a:moveTo>
                    <a:pt x="342" y="248"/>
                  </a:moveTo>
                  <a:cubicBezTo>
                    <a:pt x="336" y="248"/>
                    <a:pt x="327" y="253"/>
                    <a:pt x="323" y="258"/>
                  </a:cubicBezTo>
                  <a:cubicBezTo>
                    <a:pt x="318" y="264"/>
                    <a:pt x="319" y="268"/>
                    <a:pt x="326" y="268"/>
                  </a:cubicBezTo>
                  <a:cubicBezTo>
                    <a:pt x="332" y="268"/>
                    <a:pt x="341" y="264"/>
                    <a:pt x="345" y="258"/>
                  </a:cubicBezTo>
                  <a:cubicBezTo>
                    <a:pt x="350" y="252"/>
                    <a:pt x="349" y="248"/>
                    <a:pt x="343" y="248"/>
                  </a:cubicBezTo>
                  <a:cubicBezTo>
                    <a:pt x="342" y="248"/>
                    <a:pt x="342" y="248"/>
                    <a:pt x="342" y="248"/>
                  </a:cubicBezTo>
                  <a:moveTo>
                    <a:pt x="3869" y="248"/>
                  </a:moveTo>
                  <a:cubicBezTo>
                    <a:pt x="3863" y="248"/>
                    <a:pt x="3860" y="252"/>
                    <a:pt x="3863" y="258"/>
                  </a:cubicBezTo>
                  <a:cubicBezTo>
                    <a:pt x="3866" y="264"/>
                    <a:pt x="3873" y="268"/>
                    <a:pt x="3880" y="268"/>
                  </a:cubicBezTo>
                  <a:cubicBezTo>
                    <a:pt x="3886" y="268"/>
                    <a:pt x="3889" y="264"/>
                    <a:pt x="3886" y="258"/>
                  </a:cubicBezTo>
                  <a:cubicBezTo>
                    <a:pt x="3883" y="252"/>
                    <a:pt x="3876" y="248"/>
                    <a:pt x="3869" y="248"/>
                  </a:cubicBezTo>
                  <a:cubicBezTo>
                    <a:pt x="3869" y="248"/>
                    <a:pt x="3869" y="248"/>
                    <a:pt x="3869" y="248"/>
                  </a:cubicBezTo>
                  <a:moveTo>
                    <a:pt x="376" y="248"/>
                  </a:moveTo>
                  <a:cubicBezTo>
                    <a:pt x="370" y="248"/>
                    <a:pt x="361" y="252"/>
                    <a:pt x="357" y="258"/>
                  </a:cubicBezTo>
                  <a:cubicBezTo>
                    <a:pt x="352" y="263"/>
                    <a:pt x="353" y="268"/>
                    <a:pt x="360" y="268"/>
                  </a:cubicBezTo>
                  <a:cubicBezTo>
                    <a:pt x="366" y="268"/>
                    <a:pt x="375" y="263"/>
                    <a:pt x="379" y="258"/>
                  </a:cubicBezTo>
                  <a:cubicBezTo>
                    <a:pt x="384" y="252"/>
                    <a:pt x="382" y="248"/>
                    <a:pt x="376" y="248"/>
                  </a:cubicBezTo>
                  <a:cubicBezTo>
                    <a:pt x="376" y="248"/>
                    <a:pt x="376" y="248"/>
                    <a:pt x="376" y="248"/>
                  </a:cubicBezTo>
                  <a:moveTo>
                    <a:pt x="3901" y="248"/>
                  </a:moveTo>
                  <a:cubicBezTo>
                    <a:pt x="3895" y="248"/>
                    <a:pt x="3893" y="252"/>
                    <a:pt x="3895" y="258"/>
                  </a:cubicBezTo>
                  <a:cubicBezTo>
                    <a:pt x="3898" y="264"/>
                    <a:pt x="3906" y="268"/>
                    <a:pt x="3912" y="268"/>
                  </a:cubicBezTo>
                  <a:cubicBezTo>
                    <a:pt x="3919" y="268"/>
                    <a:pt x="3921" y="263"/>
                    <a:pt x="3918" y="258"/>
                  </a:cubicBezTo>
                  <a:cubicBezTo>
                    <a:pt x="3915" y="252"/>
                    <a:pt x="3908" y="247"/>
                    <a:pt x="3902" y="247"/>
                  </a:cubicBezTo>
                  <a:cubicBezTo>
                    <a:pt x="3902" y="247"/>
                    <a:pt x="3901" y="248"/>
                    <a:pt x="3901" y="248"/>
                  </a:cubicBezTo>
                  <a:moveTo>
                    <a:pt x="408" y="247"/>
                  </a:moveTo>
                  <a:cubicBezTo>
                    <a:pt x="402" y="247"/>
                    <a:pt x="393" y="252"/>
                    <a:pt x="389" y="258"/>
                  </a:cubicBezTo>
                  <a:cubicBezTo>
                    <a:pt x="384" y="263"/>
                    <a:pt x="386" y="268"/>
                    <a:pt x="392" y="268"/>
                  </a:cubicBezTo>
                  <a:cubicBezTo>
                    <a:pt x="398" y="268"/>
                    <a:pt x="407" y="263"/>
                    <a:pt x="412" y="257"/>
                  </a:cubicBezTo>
                  <a:cubicBezTo>
                    <a:pt x="416" y="252"/>
                    <a:pt x="415" y="247"/>
                    <a:pt x="408" y="247"/>
                  </a:cubicBezTo>
                  <a:cubicBezTo>
                    <a:pt x="408" y="247"/>
                    <a:pt x="408" y="247"/>
                    <a:pt x="408" y="247"/>
                  </a:cubicBezTo>
                  <a:moveTo>
                    <a:pt x="3934" y="247"/>
                  </a:moveTo>
                  <a:cubicBezTo>
                    <a:pt x="3927" y="247"/>
                    <a:pt x="3925" y="252"/>
                    <a:pt x="3928" y="258"/>
                  </a:cubicBezTo>
                  <a:cubicBezTo>
                    <a:pt x="3931" y="263"/>
                    <a:pt x="3938" y="268"/>
                    <a:pt x="3945" y="268"/>
                  </a:cubicBezTo>
                  <a:cubicBezTo>
                    <a:pt x="3951" y="268"/>
                    <a:pt x="3954" y="263"/>
                    <a:pt x="3951" y="257"/>
                  </a:cubicBezTo>
                  <a:cubicBezTo>
                    <a:pt x="3947" y="252"/>
                    <a:pt x="3940" y="247"/>
                    <a:pt x="3934" y="247"/>
                  </a:cubicBezTo>
                  <a:cubicBezTo>
                    <a:pt x="3934" y="247"/>
                    <a:pt x="3934" y="247"/>
                    <a:pt x="3934" y="247"/>
                  </a:cubicBezTo>
                  <a:moveTo>
                    <a:pt x="441" y="247"/>
                  </a:moveTo>
                  <a:cubicBezTo>
                    <a:pt x="434" y="247"/>
                    <a:pt x="426" y="252"/>
                    <a:pt x="421" y="257"/>
                  </a:cubicBezTo>
                  <a:cubicBezTo>
                    <a:pt x="417" y="263"/>
                    <a:pt x="418" y="267"/>
                    <a:pt x="425" y="267"/>
                  </a:cubicBezTo>
                  <a:cubicBezTo>
                    <a:pt x="431" y="267"/>
                    <a:pt x="440" y="263"/>
                    <a:pt x="444" y="257"/>
                  </a:cubicBezTo>
                  <a:cubicBezTo>
                    <a:pt x="448" y="252"/>
                    <a:pt x="447" y="247"/>
                    <a:pt x="441" y="247"/>
                  </a:cubicBezTo>
                  <a:cubicBezTo>
                    <a:pt x="441" y="247"/>
                    <a:pt x="441" y="247"/>
                    <a:pt x="441" y="247"/>
                  </a:cubicBezTo>
                  <a:moveTo>
                    <a:pt x="474" y="247"/>
                  </a:moveTo>
                  <a:cubicBezTo>
                    <a:pt x="468" y="247"/>
                    <a:pt x="459" y="251"/>
                    <a:pt x="455" y="257"/>
                  </a:cubicBezTo>
                  <a:cubicBezTo>
                    <a:pt x="451" y="263"/>
                    <a:pt x="452" y="267"/>
                    <a:pt x="459" y="267"/>
                  </a:cubicBezTo>
                  <a:cubicBezTo>
                    <a:pt x="465" y="267"/>
                    <a:pt x="473" y="262"/>
                    <a:pt x="478" y="257"/>
                  </a:cubicBezTo>
                  <a:cubicBezTo>
                    <a:pt x="482" y="251"/>
                    <a:pt x="480" y="247"/>
                    <a:pt x="474" y="247"/>
                  </a:cubicBezTo>
                  <a:cubicBezTo>
                    <a:pt x="474" y="247"/>
                    <a:pt x="474" y="247"/>
                    <a:pt x="474" y="247"/>
                  </a:cubicBezTo>
                  <a:moveTo>
                    <a:pt x="506" y="247"/>
                  </a:moveTo>
                  <a:cubicBezTo>
                    <a:pt x="500" y="247"/>
                    <a:pt x="492" y="251"/>
                    <a:pt x="487" y="257"/>
                  </a:cubicBezTo>
                  <a:cubicBezTo>
                    <a:pt x="483" y="262"/>
                    <a:pt x="485" y="267"/>
                    <a:pt x="491" y="267"/>
                  </a:cubicBezTo>
                  <a:cubicBezTo>
                    <a:pt x="497" y="267"/>
                    <a:pt x="506" y="262"/>
                    <a:pt x="510" y="257"/>
                  </a:cubicBezTo>
                  <a:cubicBezTo>
                    <a:pt x="514" y="251"/>
                    <a:pt x="513" y="247"/>
                    <a:pt x="506" y="247"/>
                  </a:cubicBezTo>
                  <a:cubicBezTo>
                    <a:pt x="506" y="247"/>
                    <a:pt x="506" y="247"/>
                    <a:pt x="506" y="247"/>
                  </a:cubicBezTo>
                  <a:moveTo>
                    <a:pt x="539" y="246"/>
                  </a:moveTo>
                  <a:cubicBezTo>
                    <a:pt x="532" y="246"/>
                    <a:pt x="524" y="251"/>
                    <a:pt x="520" y="256"/>
                  </a:cubicBezTo>
                  <a:cubicBezTo>
                    <a:pt x="516" y="262"/>
                    <a:pt x="517" y="267"/>
                    <a:pt x="524" y="267"/>
                  </a:cubicBezTo>
                  <a:cubicBezTo>
                    <a:pt x="530" y="266"/>
                    <a:pt x="538" y="262"/>
                    <a:pt x="542" y="256"/>
                  </a:cubicBezTo>
                  <a:cubicBezTo>
                    <a:pt x="547" y="251"/>
                    <a:pt x="545" y="246"/>
                    <a:pt x="539" y="246"/>
                  </a:cubicBezTo>
                  <a:cubicBezTo>
                    <a:pt x="539" y="246"/>
                    <a:pt x="539" y="246"/>
                    <a:pt x="539" y="246"/>
                  </a:cubicBezTo>
                  <a:moveTo>
                    <a:pt x="4063" y="246"/>
                  </a:moveTo>
                  <a:cubicBezTo>
                    <a:pt x="4057" y="246"/>
                    <a:pt x="4055" y="251"/>
                    <a:pt x="4058" y="257"/>
                  </a:cubicBezTo>
                  <a:cubicBezTo>
                    <a:pt x="4061" y="262"/>
                    <a:pt x="4069" y="267"/>
                    <a:pt x="4075" y="267"/>
                  </a:cubicBezTo>
                  <a:cubicBezTo>
                    <a:pt x="4082" y="267"/>
                    <a:pt x="4084" y="262"/>
                    <a:pt x="4081" y="256"/>
                  </a:cubicBezTo>
                  <a:cubicBezTo>
                    <a:pt x="4077" y="251"/>
                    <a:pt x="4070" y="246"/>
                    <a:pt x="4063" y="246"/>
                  </a:cubicBezTo>
                  <a:cubicBezTo>
                    <a:pt x="4063" y="246"/>
                    <a:pt x="4063" y="246"/>
                    <a:pt x="4063" y="246"/>
                  </a:cubicBezTo>
                  <a:moveTo>
                    <a:pt x="571" y="246"/>
                  </a:moveTo>
                  <a:cubicBezTo>
                    <a:pt x="565" y="246"/>
                    <a:pt x="556" y="251"/>
                    <a:pt x="552" y="256"/>
                  </a:cubicBezTo>
                  <a:cubicBezTo>
                    <a:pt x="548" y="262"/>
                    <a:pt x="550" y="266"/>
                    <a:pt x="556" y="266"/>
                  </a:cubicBezTo>
                  <a:cubicBezTo>
                    <a:pt x="562" y="266"/>
                    <a:pt x="571" y="262"/>
                    <a:pt x="575" y="256"/>
                  </a:cubicBezTo>
                  <a:cubicBezTo>
                    <a:pt x="579" y="250"/>
                    <a:pt x="577" y="246"/>
                    <a:pt x="571" y="246"/>
                  </a:cubicBezTo>
                  <a:cubicBezTo>
                    <a:pt x="571" y="246"/>
                    <a:pt x="571" y="246"/>
                    <a:pt x="571" y="246"/>
                  </a:cubicBezTo>
                  <a:moveTo>
                    <a:pt x="4095" y="246"/>
                  </a:moveTo>
                  <a:cubicBezTo>
                    <a:pt x="4089" y="246"/>
                    <a:pt x="4087" y="251"/>
                    <a:pt x="4090" y="256"/>
                  </a:cubicBezTo>
                  <a:cubicBezTo>
                    <a:pt x="4094" y="262"/>
                    <a:pt x="4101" y="267"/>
                    <a:pt x="4108" y="266"/>
                  </a:cubicBezTo>
                  <a:cubicBezTo>
                    <a:pt x="4114" y="266"/>
                    <a:pt x="4116" y="262"/>
                    <a:pt x="4113" y="256"/>
                  </a:cubicBezTo>
                  <a:cubicBezTo>
                    <a:pt x="4110" y="250"/>
                    <a:pt x="4102" y="246"/>
                    <a:pt x="4096" y="246"/>
                  </a:cubicBezTo>
                  <a:cubicBezTo>
                    <a:pt x="4096" y="246"/>
                    <a:pt x="4095" y="246"/>
                    <a:pt x="4095" y="246"/>
                  </a:cubicBezTo>
                  <a:moveTo>
                    <a:pt x="603" y="246"/>
                  </a:moveTo>
                  <a:cubicBezTo>
                    <a:pt x="597" y="246"/>
                    <a:pt x="589" y="250"/>
                    <a:pt x="585" y="256"/>
                  </a:cubicBezTo>
                  <a:cubicBezTo>
                    <a:pt x="580" y="262"/>
                    <a:pt x="582" y="266"/>
                    <a:pt x="589" y="266"/>
                  </a:cubicBezTo>
                  <a:cubicBezTo>
                    <a:pt x="595" y="266"/>
                    <a:pt x="603" y="261"/>
                    <a:pt x="607" y="256"/>
                  </a:cubicBezTo>
                  <a:cubicBezTo>
                    <a:pt x="611" y="250"/>
                    <a:pt x="609" y="246"/>
                    <a:pt x="603" y="246"/>
                  </a:cubicBezTo>
                  <a:cubicBezTo>
                    <a:pt x="603" y="246"/>
                    <a:pt x="603" y="246"/>
                    <a:pt x="603" y="246"/>
                  </a:cubicBezTo>
                  <a:moveTo>
                    <a:pt x="4127" y="246"/>
                  </a:moveTo>
                  <a:cubicBezTo>
                    <a:pt x="4121" y="246"/>
                    <a:pt x="4118" y="250"/>
                    <a:pt x="4122" y="256"/>
                  </a:cubicBezTo>
                  <a:cubicBezTo>
                    <a:pt x="4125" y="262"/>
                    <a:pt x="4133" y="266"/>
                    <a:pt x="4139" y="266"/>
                  </a:cubicBezTo>
                  <a:cubicBezTo>
                    <a:pt x="4146" y="266"/>
                    <a:pt x="4148" y="262"/>
                    <a:pt x="4145" y="256"/>
                  </a:cubicBezTo>
                  <a:cubicBezTo>
                    <a:pt x="4141" y="250"/>
                    <a:pt x="4133" y="246"/>
                    <a:pt x="4127" y="246"/>
                  </a:cubicBezTo>
                  <a:cubicBezTo>
                    <a:pt x="4127" y="246"/>
                    <a:pt x="4127" y="246"/>
                    <a:pt x="4127" y="246"/>
                  </a:cubicBezTo>
                  <a:moveTo>
                    <a:pt x="637" y="245"/>
                  </a:moveTo>
                  <a:cubicBezTo>
                    <a:pt x="630" y="245"/>
                    <a:pt x="622" y="250"/>
                    <a:pt x="618" y="256"/>
                  </a:cubicBezTo>
                  <a:cubicBezTo>
                    <a:pt x="614" y="261"/>
                    <a:pt x="616" y="266"/>
                    <a:pt x="622" y="266"/>
                  </a:cubicBezTo>
                  <a:cubicBezTo>
                    <a:pt x="628" y="266"/>
                    <a:pt x="637" y="261"/>
                    <a:pt x="641" y="255"/>
                  </a:cubicBezTo>
                  <a:cubicBezTo>
                    <a:pt x="645" y="250"/>
                    <a:pt x="643" y="245"/>
                    <a:pt x="637" y="245"/>
                  </a:cubicBezTo>
                  <a:cubicBezTo>
                    <a:pt x="637" y="245"/>
                    <a:pt x="637" y="245"/>
                    <a:pt x="637" y="245"/>
                  </a:cubicBezTo>
                  <a:moveTo>
                    <a:pt x="669" y="245"/>
                  </a:moveTo>
                  <a:cubicBezTo>
                    <a:pt x="662" y="245"/>
                    <a:pt x="654" y="250"/>
                    <a:pt x="650" y="255"/>
                  </a:cubicBezTo>
                  <a:cubicBezTo>
                    <a:pt x="646" y="261"/>
                    <a:pt x="648" y="265"/>
                    <a:pt x="655" y="265"/>
                  </a:cubicBezTo>
                  <a:cubicBezTo>
                    <a:pt x="661" y="265"/>
                    <a:pt x="669" y="261"/>
                    <a:pt x="673" y="255"/>
                  </a:cubicBezTo>
                  <a:cubicBezTo>
                    <a:pt x="677" y="250"/>
                    <a:pt x="675" y="245"/>
                    <a:pt x="669" y="245"/>
                  </a:cubicBezTo>
                  <a:cubicBezTo>
                    <a:pt x="669" y="245"/>
                    <a:pt x="669" y="245"/>
                    <a:pt x="669" y="245"/>
                  </a:cubicBezTo>
                  <a:moveTo>
                    <a:pt x="701" y="245"/>
                  </a:moveTo>
                  <a:cubicBezTo>
                    <a:pt x="695" y="245"/>
                    <a:pt x="687" y="250"/>
                    <a:pt x="683" y="255"/>
                  </a:cubicBezTo>
                  <a:cubicBezTo>
                    <a:pt x="679" y="261"/>
                    <a:pt x="681" y="265"/>
                    <a:pt x="687" y="265"/>
                  </a:cubicBezTo>
                  <a:cubicBezTo>
                    <a:pt x="694" y="265"/>
                    <a:pt x="702" y="261"/>
                    <a:pt x="706" y="255"/>
                  </a:cubicBezTo>
                  <a:cubicBezTo>
                    <a:pt x="709" y="249"/>
                    <a:pt x="707" y="245"/>
                    <a:pt x="701" y="245"/>
                  </a:cubicBezTo>
                  <a:cubicBezTo>
                    <a:pt x="701" y="245"/>
                    <a:pt x="701" y="245"/>
                    <a:pt x="701" y="245"/>
                  </a:cubicBezTo>
                  <a:moveTo>
                    <a:pt x="734" y="245"/>
                  </a:moveTo>
                  <a:cubicBezTo>
                    <a:pt x="728" y="245"/>
                    <a:pt x="719" y="249"/>
                    <a:pt x="716" y="255"/>
                  </a:cubicBezTo>
                  <a:cubicBezTo>
                    <a:pt x="712" y="260"/>
                    <a:pt x="714" y="265"/>
                    <a:pt x="720" y="265"/>
                  </a:cubicBezTo>
                  <a:cubicBezTo>
                    <a:pt x="726" y="265"/>
                    <a:pt x="735" y="260"/>
                    <a:pt x="738" y="255"/>
                  </a:cubicBezTo>
                  <a:cubicBezTo>
                    <a:pt x="742" y="249"/>
                    <a:pt x="740" y="245"/>
                    <a:pt x="734" y="245"/>
                  </a:cubicBezTo>
                  <a:cubicBezTo>
                    <a:pt x="734" y="245"/>
                    <a:pt x="734" y="245"/>
                    <a:pt x="734" y="245"/>
                  </a:cubicBezTo>
                  <a:moveTo>
                    <a:pt x="766" y="244"/>
                  </a:moveTo>
                  <a:cubicBezTo>
                    <a:pt x="760" y="244"/>
                    <a:pt x="752" y="249"/>
                    <a:pt x="748" y="255"/>
                  </a:cubicBezTo>
                  <a:cubicBezTo>
                    <a:pt x="744" y="260"/>
                    <a:pt x="746" y="265"/>
                    <a:pt x="753" y="265"/>
                  </a:cubicBezTo>
                  <a:cubicBezTo>
                    <a:pt x="759" y="265"/>
                    <a:pt x="767" y="260"/>
                    <a:pt x="771" y="254"/>
                  </a:cubicBezTo>
                  <a:cubicBezTo>
                    <a:pt x="774" y="249"/>
                    <a:pt x="772" y="244"/>
                    <a:pt x="766" y="244"/>
                  </a:cubicBezTo>
                  <a:cubicBezTo>
                    <a:pt x="766" y="244"/>
                    <a:pt x="766" y="244"/>
                    <a:pt x="766" y="244"/>
                  </a:cubicBezTo>
                  <a:moveTo>
                    <a:pt x="798" y="244"/>
                  </a:moveTo>
                  <a:cubicBezTo>
                    <a:pt x="792" y="244"/>
                    <a:pt x="784" y="249"/>
                    <a:pt x="780" y="254"/>
                  </a:cubicBezTo>
                  <a:cubicBezTo>
                    <a:pt x="777" y="260"/>
                    <a:pt x="779" y="264"/>
                    <a:pt x="785" y="264"/>
                  </a:cubicBezTo>
                  <a:cubicBezTo>
                    <a:pt x="791" y="264"/>
                    <a:pt x="799" y="260"/>
                    <a:pt x="803" y="254"/>
                  </a:cubicBezTo>
                  <a:cubicBezTo>
                    <a:pt x="807" y="249"/>
                    <a:pt x="805" y="244"/>
                    <a:pt x="798" y="244"/>
                  </a:cubicBezTo>
                  <a:cubicBezTo>
                    <a:pt x="798" y="244"/>
                    <a:pt x="798" y="244"/>
                    <a:pt x="798" y="244"/>
                  </a:cubicBezTo>
                  <a:moveTo>
                    <a:pt x="830" y="244"/>
                  </a:moveTo>
                  <a:cubicBezTo>
                    <a:pt x="824" y="244"/>
                    <a:pt x="816" y="248"/>
                    <a:pt x="813" y="254"/>
                  </a:cubicBezTo>
                  <a:cubicBezTo>
                    <a:pt x="809" y="260"/>
                    <a:pt x="811" y="264"/>
                    <a:pt x="817" y="264"/>
                  </a:cubicBezTo>
                  <a:cubicBezTo>
                    <a:pt x="824" y="264"/>
                    <a:pt x="832" y="259"/>
                    <a:pt x="835" y="254"/>
                  </a:cubicBezTo>
                  <a:cubicBezTo>
                    <a:pt x="839" y="248"/>
                    <a:pt x="837" y="244"/>
                    <a:pt x="831" y="244"/>
                  </a:cubicBezTo>
                  <a:cubicBezTo>
                    <a:pt x="830" y="244"/>
                    <a:pt x="830" y="244"/>
                    <a:pt x="830" y="244"/>
                  </a:cubicBezTo>
                  <a:moveTo>
                    <a:pt x="863" y="243"/>
                  </a:moveTo>
                  <a:cubicBezTo>
                    <a:pt x="857" y="244"/>
                    <a:pt x="849" y="248"/>
                    <a:pt x="845" y="254"/>
                  </a:cubicBezTo>
                  <a:cubicBezTo>
                    <a:pt x="842" y="259"/>
                    <a:pt x="844" y="264"/>
                    <a:pt x="850" y="264"/>
                  </a:cubicBezTo>
                  <a:cubicBezTo>
                    <a:pt x="856" y="264"/>
                    <a:pt x="864" y="259"/>
                    <a:pt x="868" y="254"/>
                  </a:cubicBezTo>
                  <a:cubicBezTo>
                    <a:pt x="871" y="248"/>
                    <a:pt x="869" y="243"/>
                    <a:pt x="863" y="243"/>
                  </a:cubicBezTo>
                  <a:cubicBezTo>
                    <a:pt x="863" y="243"/>
                    <a:pt x="863" y="243"/>
                    <a:pt x="863" y="243"/>
                  </a:cubicBezTo>
                  <a:moveTo>
                    <a:pt x="895" y="243"/>
                  </a:moveTo>
                  <a:cubicBezTo>
                    <a:pt x="889" y="243"/>
                    <a:pt x="881" y="248"/>
                    <a:pt x="878" y="253"/>
                  </a:cubicBezTo>
                  <a:cubicBezTo>
                    <a:pt x="874" y="259"/>
                    <a:pt x="877" y="264"/>
                    <a:pt x="883" y="263"/>
                  </a:cubicBezTo>
                  <a:cubicBezTo>
                    <a:pt x="889" y="263"/>
                    <a:pt x="897" y="259"/>
                    <a:pt x="901" y="253"/>
                  </a:cubicBezTo>
                  <a:cubicBezTo>
                    <a:pt x="904" y="248"/>
                    <a:pt x="902" y="243"/>
                    <a:pt x="896" y="243"/>
                  </a:cubicBezTo>
                  <a:cubicBezTo>
                    <a:pt x="896" y="243"/>
                    <a:pt x="895" y="243"/>
                    <a:pt x="895" y="243"/>
                  </a:cubicBezTo>
                  <a:moveTo>
                    <a:pt x="928" y="243"/>
                  </a:moveTo>
                  <a:cubicBezTo>
                    <a:pt x="921" y="243"/>
                    <a:pt x="914" y="248"/>
                    <a:pt x="910" y="253"/>
                  </a:cubicBezTo>
                  <a:cubicBezTo>
                    <a:pt x="907" y="259"/>
                    <a:pt x="909" y="263"/>
                    <a:pt x="915" y="263"/>
                  </a:cubicBezTo>
                  <a:cubicBezTo>
                    <a:pt x="922" y="263"/>
                    <a:pt x="929" y="259"/>
                    <a:pt x="933" y="253"/>
                  </a:cubicBezTo>
                  <a:cubicBezTo>
                    <a:pt x="936" y="247"/>
                    <a:pt x="934" y="243"/>
                    <a:pt x="928" y="243"/>
                  </a:cubicBezTo>
                  <a:cubicBezTo>
                    <a:pt x="928" y="243"/>
                    <a:pt x="928" y="243"/>
                    <a:pt x="928" y="243"/>
                  </a:cubicBezTo>
                  <a:moveTo>
                    <a:pt x="958" y="243"/>
                  </a:moveTo>
                  <a:cubicBezTo>
                    <a:pt x="952" y="243"/>
                    <a:pt x="944" y="247"/>
                    <a:pt x="941" y="253"/>
                  </a:cubicBezTo>
                  <a:cubicBezTo>
                    <a:pt x="938" y="259"/>
                    <a:pt x="940" y="263"/>
                    <a:pt x="946" y="263"/>
                  </a:cubicBezTo>
                  <a:cubicBezTo>
                    <a:pt x="953" y="263"/>
                    <a:pt x="960" y="258"/>
                    <a:pt x="964" y="253"/>
                  </a:cubicBezTo>
                  <a:cubicBezTo>
                    <a:pt x="967" y="247"/>
                    <a:pt x="964" y="243"/>
                    <a:pt x="958" y="243"/>
                  </a:cubicBezTo>
                  <a:cubicBezTo>
                    <a:pt x="958" y="243"/>
                    <a:pt x="958" y="243"/>
                    <a:pt x="958" y="243"/>
                  </a:cubicBezTo>
                  <a:moveTo>
                    <a:pt x="991" y="242"/>
                  </a:moveTo>
                  <a:cubicBezTo>
                    <a:pt x="985" y="242"/>
                    <a:pt x="977" y="247"/>
                    <a:pt x="974" y="253"/>
                  </a:cubicBezTo>
                  <a:cubicBezTo>
                    <a:pt x="970" y="258"/>
                    <a:pt x="973" y="263"/>
                    <a:pt x="979" y="263"/>
                  </a:cubicBezTo>
                  <a:cubicBezTo>
                    <a:pt x="985" y="263"/>
                    <a:pt x="993" y="258"/>
                    <a:pt x="996" y="252"/>
                  </a:cubicBezTo>
                  <a:cubicBezTo>
                    <a:pt x="999" y="247"/>
                    <a:pt x="997" y="242"/>
                    <a:pt x="991" y="242"/>
                  </a:cubicBezTo>
                  <a:cubicBezTo>
                    <a:pt x="991" y="242"/>
                    <a:pt x="991" y="242"/>
                    <a:pt x="991" y="242"/>
                  </a:cubicBezTo>
                  <a:moveTo>
                    <a:pt x="1313" y="240"/>
                  </a:moveTo>
                  <a:cubicBezTo>
                    <a:pt x="1307" y="240"/>
                    <a:pt x="1300" y="244"/>
                    <a:pt x="1298" y="250"/>
                  </a:cubicBezTo>
                  <a:cubicBezTo>
                    <a:pt x="1295" y="256"/>
                    <a:pt x="1298" y="260"/>
                    <a:pt x="1304" y="260"/>
                  </a:cubicBezTo>
                  <a:cubicBezTo>
                    <a:pt x="1311" y="260"/>
                    <a:pt x="1318" y="255"/>
                    <a:pt x="1320" y="250"/>
                  </a:cubicBezTo>
                  <a:cubicBezTo>
                    <a:pt x="1323" y="244"/>
                    <a:pt x="1320" y="240"/>
                    <a:pt x="1314" y="240"/>
                  </a:cubicBezTo>
                  <a:cubicBezTo>
                    <a:pt x="1314" y="240"/>
                    <a:pt x="1314" y="240"/>
                    <a:pt x="1313" y="240"/>
                  </a:cubicBezTo>
                  <a:moveTo>
                    <a:pt x="1541" y="236"/>
                  </a:moveTo>
                  <a:cubicBezTo>
                    <a:pt x="1535" y="237"/>
                    <a:pt x="1528" y="241"/>
                    <a:pt x="1526" y="247"/>
                  </a:cubicBezTo>
                  <a:cubicBezTo>
                    <a:pt x="1524" y="252"/>
                    <a:pt x="1527" y="257"/>
                    <a:pt x="1533" y="257"/>
                  </a:cubicBezTo>
                  <a:cubicBezTo>
                    <a:pt x="1540" y="257"/>
                    <a:pt x="1546" y="252"/>
                    <a:pt x="1548" y="247"/>
                  </a:cubicBezTo>
                  <a:cubicBezTo>
                    <a:pt x="1550" y="241"/>
                    <a:pt x="1547" y="236"/>
                    <a:pt x="1541" y="236"/>
                  </a:cubicBezTo>
                  <a:cubicBezTo>
                    <a:pt x="1541" y="236"/>
                    <a:pt x="1541" y="236"/>
                    <a:pt x="1541" y="236"/>
                  </a:cubicBezTo>
                  <a:moveTo>
                    <a:pt x="1573" y="236"/>
                  </a:moveTo>
                  <a:cubicBezTo>
                    <a:pt x="1567" y="236"/>
                    <a:pt x="1560" y="241"/>
                    <a:pt x="1558" y="246"/>
                  </a:cubicBezTo>
                  <a:cubicBezTo>
                    <a:pt x="1556" y="252"/>
                    <a:pt x="1559" y="257"/>
                    <a:pt x="1566" y="257"/>
                  </a:cubicBezTo>
                  <a:cubicBezTo>
                    <a:pt x="1572" y="257"/>
                    <a:pt x="1579" y="252"/>
                    <a:pt x="1581" y="246"/>
                  </a:cubicBezTo>
                  <a:cubicBezTo>
                    <a:pt x="1583" y="241"/>
                    <a:pt x="1579" y="236"/>
                    <a:pt x="1573" y="236"/>
                  </a:cubicBezTo>
                  <a:cubicBezTo>
                    <a:pt x="1573" y="236"/>
                    <a:pt x="1573" y="236"/>
                    <a:pt x="1573" y="236"/>
                  </a:cubicBezTo>
                  <a:moveTo>
                    <a:pt x="1605" y="236"/>
                  </a:moveTo>
                  <a:cubicBezTo>
                    <a:pt x="1599" y="236"/>
                    <a:pt x="1592" y="241"/>
                    <a:pt x="1590" y="246"/>
                  </a:cubicBezTo>
                  <a:cubicBezTo>
                    <a:pt x="1588" y="252"/>
                    <a:pt x="1592" y="256"/>
                    <a:pt x="1598" y="256"/>
                  </a:cubicBezTo>
                  <a:cubicBezTo>
                    <a:pt x="1604" y="256"/>
                    <a:pt x="1611" y="252"/>
                    <a:pt x="1613" y="246"/>
                  </a:cubicBezTo>
                  <a:cubicBezTo>
                    <a:pt x="1615" y="240"/>
                    <a:pt x="1611" y="236"/>
                    <a:pt x="1605" y="236"/>
                  </a:cubicBezTo>
                  <a:cubicBezTo>
                    <a:pt x="1605" y="236"/>
                    <a:pt x="1605" y="236"/>
                    <a:pt x="1605" y="236"/>
                  </a:cubicBezTo>
                  <a:moveTo>
                    <a:pt x="2184" y="233"/>
                  </a:moveTo>
                  <a:cubicBezTo>
                    <a:pt x="2177" y="233"/>
                    <a:pt x="2172" y="237"/>
                    <a:pt x="2171" y="243"/>
                  </a:cubicBezTo>
                  <a:cubicBezTo>
                    <a:pt x="2170" y="249"/>
                    <a:pt x="2175" y="253"/>
                    <a:pt x="2181" y="253"/>
                  </a:cubicBezTo>
                  <a:cubicBezTo>
                    <a:pt x="2187" y="253"/>
                    <a:pt x="2193" y="248"/>
                    <a:pt x="2194" y="243"/>
                  </a:cubicBezTo>
                  <a:cubicBezTo>
                    <a:pt x="2194" y="237"/>
                    <a:pt x="2190" y="233"/>
                    <a:pt x="2184" y="233"/>
                  </a:cubicBezTo>
                  <a:cubicBezTo>
                    <a:pt x="2184" y="233"/>
                    <a:pt x="2184" y="233"/>
                    <a:pt x="2184" y="233"/>
                  </a:cubicBezTo>
                  <a:moveTo>
                    <a:pt x="2216" y="232"/>
                  </a:moveTo>
                  <a:cubicBezTo>
                    <a:pt x="2210" y="232"/>
                    <a:pt x="2204" y="237"/>
                    <a:pt x="2204" y="243"/>
                  </a:cubicBezTo>
                  <a:cubicBezTo>
                    <a:pt x="2203" y="248"/>
                    <a:pt x="2208" y="253"/>
                    <a:pt x="2214" y="253"/>
                  </a:cubicBezTo>
                  <a:cubicBezTo>
                    <a:pt x="2220" y="253"/>
                    <a:pt x="2226" y="248"/>
                    <a:pt x="2226" y="243"/>
                  </a:cubicBezTo>
                  <a:cubicBezTo>
                    <a:pt x="2227" y="237"/>
                    <a:pt x="2223" y="232"/>
                    <a:pt x="2216" y="232"/>
                  </a:cubicBezTo>
                  <a:cubicBezTo>
                    <a:pt x="2216" y="232"/>
                    <a:pt x="2216" y="232"/>
                    <a:pt x="2216" y="232"/>
                  </a:cubicBezTo>
                  <a:moveTo>
                    <a:pt x="2313" y="231"/>
                  </a:moveTo>
                  <a:cubicBezTo>
                    <a:pt x="2306" y="231"/>
                    <a:pt x="2301" y="235"/>
                    <a:pt x="2301" y="241"/>
                  </a:cubicBezTo>
                  <a:cubicBezTo>
                    <a:pt x="2300" y="247"/>
                    <a:pt x="2305" y="251"/>
                    <a:pt x="2311" y="251"/>
                  </a:cubicBezTo>
                  <a:cubicBezTo>
                    <a:pt x="2317" y="251"/>
                    <a:pt x="2323" y="246"/>
                    <a:pt x="2323" y="241"/>
                  </a:cubicBezTo>
                  <a:cubicBezTo>
                    <a:pt x="2323" y="235"/>
                    <a:pt x="2319" y="231"/>
                    <a:pt x="2313" y="231"/>
                  </a:cubicBezTo>
                  <a:cubicBezTo>
                    <a:pt x="2313" y="231"/>
                    <a:pt x="2313" y="231"/>
                    <a:pt x="2313" y="231"/>
                  </a:cubicBezTo>
                  <a:moveTo>
                    <a:pt x="2249" y="230"/>
                  </a:moveTo>
                  <a:cubicBezTo>
                    <a:pt x="2243" y="230"/>
                    <a:pt x="2237" y="235"/>
                    <a:pt x="2237" y="241"/>
                  </a:cubicBezTo>
                  <a:cubicBezTo>
                    <a:pt x="2236" y="246"/>
                    <a:pt x="2241" y="251"/>
                    <a:pt x="2247" y="251"/>
                  </a:cubicBezTo>
                  <a:cubicBezTo>
                    <a:pt x="2253" y="251"/>
                    <a:pt x="2259" y="246"/>
                    <a:pt x="2259" y="241"/>
                  </a:cubicBezTo>
                  <a:cubicBezTo>
                    <a:pt x="2260" y="235"/>
                    <a:pt x="2255" y="230"/>
                    <a:pt x="2249" y="230"/>
                  </a:cubicBezTo>
                  <a:cubicBezTo>
                    <a:pt x="2249" y="230"/>
                    <a:pt x="2249" y="230"/>
                    <a:pt x="2249" y="230"/>
                  </a:cubicBezTo>
                  <a:moveTo>
                    <a:pt x="2281" y="230"/>
                  </a:moveTo>
                  <a:cubicBezTo>
                    <a:pt x="2275" y="230"/>
                    <a:pt x="2269" y="235"/>
                    <a:pt x="2269" y="240"/>
                  </a:cubicBezTo>
                  <a:cubicBezTo>
                    <a:pt x="2268" y="246"/>
                    <a:pt x="2273" y="251"/>
                    <a:pt x="2279" y="251"/>
                  </a:cubicBezTo>
                  <a:cubicBezTo>
                    <a:pt x="2285" y="251"/>
                    <a:pt x="2291" y="246"/>
                    <a:pt x="2291" y="240"/>
                  </a:cubicBezTo>
                  <a:cubicBezTo>
                    <a:pt x="2292" y="235"/>
                    <a:pt x="2287" y="230"/>
                    <a:pt x="2281" y="230"/>
                  </a:cubicBezTo>
                  <a:cubicBezTo>
                    <a:pt x="2281" y="230"/>
                    <a:pt x="2281" y="230"/>
                    <a:pt x="2281" y="230"/>
                  </a:cubicBezTo>
                  <a:moveTo>
                    <a:pt x="2378" y="229"/>
                  </a:moveTo>
                  <a:cubicBezTo>
                    <a:pt x="2371" y="229"/>
                    <a:pt x="2366" y="234"/>
                    <a:pt x="2366" y="240"/>
                  </a:cubicBezTo>
                  <a:cubicBezTo>
                    <a:pt x="2365" y="245"/>
                    <a:pt x="2370" y="250"/>
                    <a:pt x="2377" y="250"/>
                  </a:cubicBezTo>
                  <a:cubicBezTo>
                    <a:pt x="2383" y="250"/>
                    <a:pt x="2388" y="245"/>
                    <a:pt x="2388" y="239"/>
                  </a:cubicBezTo>
                  <a:cubicBezTo>
                    <a:pt x="2389" y="234"/>
                    <a:pt x="2384" y="229"/>
                    <a:pt x="2378" y="229"/>
                  </a:cubicBezTo>
                  <a:cubicBezTo>
                    <a:pt x="2378" y="229"/>
                    <a:pt x="2378" y="229"/>
                    <a:pt x="2378" y="229"/>
                  </a:cubicBezTo>
                  <a:moveTo>
                    <a:pt x="2410" y="229"/>
                  </a:moveTo>
                  <a:cubicBezTo>
                    <a:pt x="2403" y="229"/>
                    <a:pt x="2398" y="234"/>
                    <a:pt x="2398" y="239"/>
                  </a:cubicBezTo>
                  <a:cubicBezTo>
                    <a:pt x="2398" y="245"/>
                    <a:pt x="2403" y="249"/>
                    <a:pt x="2409" y="249"/>
                  </a:cubicBezTo>
                  <a:cubicBezTo>
                    <a:pt x="2415" y="249"/>
                    <a:pt x="2420" y="245"/>
                    <a:pt x="2420" y="239"/>
                  </a:cubicBezTo>
                  <a:cubicBezTo>
                    <a:pt x="2421" y="233"/>
                    <a:pt x="2416" y="229"/>
                    <a:pt x="2410" y="229"/>
                  </a:cubicBezTo>
                  <a:cubicBezTo>
                    <a:pt x="2410" y="229"/>
                    <a:pt x="2410" y="229"/>
                    <a:pt x="2410" y="229"/>
                  </a:cubicBezTo>
                  <a:moveTo>
                    <a:pt x="2441" y="229"/>
                  </a:moveTo>
                  <a:cubicBezTo>
                    <a:pt x="2435" y="229"/>
                    <a:pt x="2430" y="233"/>
                    <a:pt x="2430" y="239"/>
                  </a:cubicBezTo>
                  <a:cubicBezTo>
                    <a:pt x="2430" y="245"/>
                    <a:pt x="2435" y="249"/>
                    <a:pt x="2441" y="249"/>
                  </a:cubicBezTo>
                  <a:cubicBezTo>
                    <a:pt x="2447" y="249"/>
                    <a:pt x="2452" y="244"/>
                    <a:pt x="2453" y="239"/>
                  </a:cubicBezTo>
                  <a:cubicBezTo>
                    <a:pt x="2453" y="233"/>
                    <a:pt x="2448" y="229"/>
                    <a:pt x="2442" y="229"/>
                  </a:cubicBezTo>
                  <a:cubicBezTo>
                    <a:pt x="2442" y="229"/>
                    <a:pt x="2442" y="229"/>
                    <a:pt x="2441" y="229"/>
                  </a:cubicBezTo>
                  <a:moveTo>
                    <a:pt x="2473" y="228"/>
                  </a:moveTo>
                  <a:cubicBezTo>
                    <a:pt x="2467" y="228"/>
                    <a:pt x="2462" y="233"/>
                    <a:pt x="2462" y="239"/>
                  </a:cubicBezTo>
                  <a:cubicBezTo>
                    <a:pt x="2462" y="244"/>
                    <a:pt x="2467" y="249"/>
                    <a:pt x="2473" y="249"/>
                  </a:cubicBezTo>
                  <a:cubicBezTo>
                    <a:pt x="2479" y="249"/>
                    <a:pt x="2484" y="244"/>
                    <a:pt x="2484" y="239"/>
                  </a:cubicBezTo>
                  <a:cubicBezTo>
                    <a:pt x="2484" y="233"/>
                    <a:pt x="2479" y="228"/>
                    <a:pt x="2473" y="228"/>
                  </a:cubicBezTo>
                  <a:cubicBezTo>
                    <a:pt x="2473" y="228"/>
                    <a:pt x="2473" y="228"/>
                    <a:pt x="2473" y="228"/>
                  </a:cubicBezTo>
                  <a:moveTo>
                    <a:pt x="2505" y="228"/>
                  </a:moveTo>
                  <a:cubicBezTo>
                    <a:pt x="2499" y="228"/>
                    <a:pt x="2494" y="233"/>
                    <a:pt x="2494" y="238"/>
                  </a:cubicBezTo>
                  <a:cubicBezTo>
                    <a:pt x="2494" y="244"/>
                    <a:pt x="2499" y="249"/>
                    <a:pt x="2505" y="249"/>
                  </a:cubicBezTo>
                  <a:cubicBezTo>
                    <a:pt x="2511" y="249"/>
                    <a:pt x="2516" y="244"/>
                    <a:pt x="2516" y="238"/>
                  </a:cubicBezTo>
                  <a:cubicBezTo>
                    <a:pt x="2516" y="233"/>
                    <a:pt x="2511" y="228"/>
                    <a:pt x="2505" y="228"/>
                  </a:cubicBezTo>
                  <a:cubicBezTo>
                    <a:pt x="2505" y="228"/>
                    <a:pt x="2505" y="228"/>
                    <a:pt x="2505" y="228"/>
                  </a:cubicBezTo>
                  <a:moveTo>
                    <a:pt x="2537" y="228"/>
                  </a:moveTo>
                  <a:cubicBezTo>
                    <a:pt x="2530" y="228"/>
                    <a:pt x="2525" y="233"/>
                    <a:pt x="2526" y="238"/>
                  </a:cubicBezTo>
                  <a:cubicBezTo>
                    <a:pt x="2526" y="244"/>
                    <a:pt x="2531" y="248"/>
                    <a:pt x="2537" y="248"/>
                  </a:cubicBezTo>
                  <a:cubicBezTo>
                    <a:pt x="2543" y="248"/>
                    <a:pt x="2548" y="244"/>
                    <a:pt x="2548" y="238"/>
                  </a:cubicBezTo>
                  <a:cubicBezTo>
                    <a:pt x="2548" y="232"/>
                    <a:pt x="2543" y="228"/>
                    <a:pt x="2537" y="228"/>
                  </a:cubicBezTo>
                  <a:cubicBezTo>
                    <a:pt x="2537" y="228"/>
                    <a:pt x="2537" y="228"/>
                    <a:pt x="2537" y="228"/>
                  </a:cubicBezTo>
                  <a:moveTo>
                    <a:pt x="2571" y="228"/>
                  </a:moveTo>
                  <a:cubicBezTo>
                    <a:pt x="2565" y="228"/>
                    <a:pt x="2560" y="232"/>
                    <a:pt x="2560" y="238"/>
                  </a:cubicBezTo>
                  <a:cubicBezTo>
                    <a:pt x="2560" y="244"/>
                    <a:pt x="2565" y="248"/>
                    <a:pt x="2571" y="248"/>
                  </a:cubicBezTo>
                  <a:cubicBezTo>
                    <a:pt x="2578" y="248"/>
                    <a:pt x="2583" y="243"/>
                    <a:pt x="2582" y="238"/>
                  </a:cubicBezTo>
                  <a:cubicBezTo>
                    <a:pt x="2582" y="232"/>
                    <a:pt x="2577" y="228"/>
                    <a:pt x="2571" y="228"/>
                  </a:cubicBezTo>
                  <a:cubicBezTo>
                    <a:pt x="2571" y="228"/>
                    <a:pt x="2571" y="228"/>
                    <a:pt x="2571" y="228"/>
                  </a:cubicBezTo>
                  <a:moveTo>
                    <a:pt x="2603" y="227"/>
                  </a:moveTo>
                  <a:cubicBezTo>
                    <a:pt x="2597" y="227"/>
                    <a:pt x="2592" y="232"/>
                    <a:pt x="2592" y="238"/>
                  </a:cubicBezTo>
                  <a:cubicBezTo>
                    <a:pt x="2592" y="243"/>
                    <a:pt x="2597" y="248"/>
                    <a:pt x="2604" y="248"/>
                  </a:cubicBezTo>
                  <a:cubicBezTo>
                    <a:pt x="2610" y="248"/>
                    <a:pt x="2615" y="243"/>
                    <a:pt x="2615" y="237"/>
                  </a:cubicBezTo>
                  <a:cubicBezTo>
                    <a:pt x="2614" y="232"/>
                    <a:pt x="2609" y="227"/>
                    <a:pt x="2603" y="227"/>
                  </a:cubicBezTo>
                  <a:cubicBezTo>
                    <a:pt x="2603" y="227"/>
                    <a:pt x="2603" y="227"/>
                    <a:pt x="2603" y="227"/>
                  </a:cubicBezTo>
                  <a:moveTo>
                    <a:pt x="2635" y="227"/>
                  </a:moveTo>
                  <a:cubicBezTo>
                    <a:pt x="2629" y="227"/>
                    <a:pt x="2624" y="232"/>
                    <a:pt x="2624" y="237"/>
                  </a:cubicBezTo>
                  <a:cubicBezTo>
                    <a:pt x="2624" y="243"/>
                    <a:pt x="2630" y="248"/>
                    <a:pt x="2636" y="247"/>
                  </a:cubicBezTo>
                  <a:cubicBezTo>
                    <a:pt x="2642" y="247"/>
                    <a:pt x="2647" y="243"/>
                    <a:pt x="2647" y="237"/>
                  </a:cubicBezTo>
                  <a:cubicBezTo>
                    <a:pt x="2646" y="232"/>
                    <a:pt x="2641" y="227"/>
                    <a:pt x="2635" y="227"/>
                  </a:cubicBezTo>
                  <a:cubicBezTo>
                    <a:pt x="2635" y="227"/>
                    <a:pt x="2635" y="227"/>
                    <a:pt x="2635" y="227"/>
                  </a:cubicBezTo>
                  <a:moveTo>
                    <a:pt x="2666" y="227"/>
                  </a:moveTo>
                  <a:cubicBezTo>
                    <a:pt x="2660" y="227"/>
                    <a:pt x="2655" y="231"/>
                    <a:pt x="2656" y="237"/>
                  </a:cubicBezTo>
                  <a:cubicBezTo>
                    <a:pt x="2656" y="243"/>
                    <a:pt x="2661" y="247"/>
                    <a:pt x="2668" y="247"/>
                  </a:cubicBezTo>
                  <a:cubicBezTo>
                    <a:pt x="2674" y="247"/>
                    <a:pt x="2679" y="243"/>
                    <a:pt x="2678" y="237"/>
                  </a:cubicBezTo>
                  <a:cubicBezTo>
                    <a:pt x="2678" y="231"/>
                    <a:pt x="2673" y="227"/>
                    <a:pt x="2667" y="227"/>
                  </a:cubicBezTo>
                  <a:cubicBezTo>
                    <a:pt x="2667" y="227"/>
                    <a:pt x="2666" y="227"/>
                    <a:pt x="2666" y="227"/>
                  </a:cubicBezTo>
                  <a:moveTo>
                    <a:pt x="2698" y="226"/>
                  </a:moveTo>
                  <a:cubicBezTo>
                    <a:pt x="2692" y="227"/>
                    <a:pt x="2687" y="231"/>
                    <a:pt x="2688" y="237"/>
                  </a:cubicBezTo>
                  <a:cubicBezTo>
                    <a:pt x="2688" y="242"/>
                    <a:pt x="2694" y="247"/>
                    <a:pt x="2700" y="247"/>
                  </a:cubicBezTo>
                  <a:cubicBezTo>
                    <a:pt x="2706" y="247"/>
                    <a:pt x="2711" y="242"/>
                    <a:pt x="2710" y="237"/>
                  </a:cubicBezTo>
                  <a:cubicBezTo>
                    <a:pt x="2710" y="231"/>
                    <a:pt x="2705" y="226"/>
                    <a:pt x="2698" y="226"/>
                  </a:cubicBezTo>
                  <a:cubicBezTo>
                    <a:pt x="2698" y="226"/>
                    <a:pt x="2698" y="226"/>
                    <a:pt x="2698" y="226"/>
                  </a:cubicBezTo>
                  <a:moveTo>
                    <a:pt x="2731" y="226"/>
                  </a:moveTo>
                  <a:cubicBezTo>
                    <a:pt x="2724" y="226"/>
                    <a:pt x="2720" y="231"/>
                    <a:pt x="2720" y="237"/>
                  </a:cubicBezTo>
                  <a:cubicBezTo>
                    <a:pt x="2721" y="242"/>
                    <a:pt x="2726" y="247"/>
                    <a:pt x="2732" y="247"/>
                  </a:cubicBezTo>
                  <a:cubicBezTo>
                    <a:pt x="2739" y="247"/>
                    <a:pt x="2743" y="242"/>
                    <a:pt x="2743" y="236"/>
                  </a:cubicBezTo>
                  <a:cubicBezTo>
                    <a:pt x="2742" y="231"/>
                    <a:pt x="2737" y="226"/>
                    <a:pt x="2731" y="226"/>
                  </a:cubicBezTo>
                  <a:cubicBezTo>
                    <a:pt x="2731" y="226"/>
                    <a:pt x="2731" y="226"/>
                    <a:pt x="2731" y="226"/>
                  </a:cubicBezTo>
                  <a:moveTo>
                    <a:pt x="2923" y="226"/>
                  </a:moveTo>
                  <a:cubicBezTo>
                    <a:pt x="2917" y="226"/>
                    <a:pt x="2913" y="231"/>
                    <a:pt x="2913" y="236"/>
                  </a:cubicBezTo>
                  <a:cubicBezTo>
                    <a:pt x="2914" y="242"/>
                    <a:pt x="2920" y="247"/>
                    <a:pt x="2926" y="247"/>
                  </a:cubicBezTo>
                  <a:cubicBezTo>
                    <a:pt x="2933" y="246"/>
                    <a:pt x="2937" y="242"/>
                    <a:pt x="2936" y="236"/>
                  </a:cubicBezTo>
                  <a:cubicBezTo>
                    <a:pt x="2935" y="231"/>
                    <a:pt x="2929" y="226"/>
                    <a:pt x="2923" y="226"/>
                  </a:cubicBezTo>
                  <a:cubicBezTo>
                    <a:pt x="2923" y="226"/>
                    <a:pt x="2923" y="226"/>
                    <a:pt x="2923" y="226"/>
                  </a:cubicBezTo>
                  <a:moveTo>
                    <a:pt x="2763" y="226"/>
                  </a:moveTo>
                  <a:cubicBezTo>
                    <a:pt x="2757" y="226"/>
                    <a:pt x="2752" y="231"/>
                    <a:pt x="2753" y="236"/>
                  </a:cubicBezTo>
                  <a:cubicBezTo>
                    <a:pt x="2753" y="242"/>
                    <a:pt x="2759" y="246"/>
                    <a:pt x="2765" y="246"/>
                  </a:cubicBezTo>
                  <a:cubicBezTo>
                    <a:pt x="2771" y="246"/>
                    <a:pt x="2776" y="242"/>
                    <a:pt x="2775" y="236"/>
                  </a:cubicBezTo>
                  <a:cubicBezTo>
                    <a:pt x="2775" y="230"/>
                    <a:pt x="2769" y="226"/>
                    <a:pt x="2763" y="226"/>
                  </a:cubicBezTo>
                  <a:cubicBezTo>
                    <a:pt x="2763" y="226"/>
                    <a:pt x="2763" y="226"/>
                    <a:pt x="2763" y="226"/>
                  </a:cubicBezTo>
                  <a:moveTo>
                    <a:pt x="2954" y="226"/>
                  </a:moveTo>
                  <a:cubicBezTo>
                    <a:pt x="2947" y="226"/>
                    <a:pt x="2943" y="230"/>
                    <a:pt x="2944" y="236"/>
                  </a:cubicBezTo>
                  <a:cubicBezTo>
                    <a:pt x="2945" y="242"/>
                    <a:pt x="2951" y="246"/>
                    <a:pt x="2957" y="246"/>
                  </a:cubicBezTo>
                  <a:cubicBezTo>
                    <a:pt x="2963" y="246"/>
                    <a:pt x="2968" y="242"/>
                    <a:pt x="2967" y="236"/>
                  </a:cubicBezTo>
                  <a:cubicBezTo>
                    <a:pt x="2966" y="230"/>
                    <a:pt x="2960" y="226"/>
                    <a:pt x="2954" y="226"/>
                  </a:cubicBezTo>
                  <a:cubicBezTo>
                    <a:pt x="2954" y="226"/>
                    <a:pt x="2954" y="226"/>
                    <a:pt x="2954" y="226"/>
                  </a:cubicBezTo>
                  <a:moveTo>
                    <a:pt x="2795" y="226"/>
                  </a:moveTo>
                  <a:cubicBezTo>
                    <a:pt x="2789" y="226"/>
                    <a:pt x="2784" y="230"/>
                    <a:pt x="2785" y="236"/>
                  </a:cubicBezTo>
                  <a:cubicBezTo>
                    <a:pt x="2785" y="242"/>
                    <a:pt x="2791" y="246"/>
                    <a:pt x="2797" y="246"/>
                  </a:cubicBezTo>
                  <a:cubicBezTo>
                    <a:pt x="2803" y="246"/>
                    <a:pt x="2808" y="241"/>
                    <a:pt x="2807" y="236"/>
                  </a:cubicBezTo>
                  <a:cubicBezTo>
                    <a:pt x="2807" y="230"/>
                    <a:pt x="2801" y="226"/>
                    <a:pt x="2795" y="226"/>
                  </a:cubicBezTo>
                  <a:cubicBezTo>
                    <a:pt x="2795" y="226"/>
                    <a:pt x="2795" y="226"/>
                    <a:pt x="2795" y="226"/>
                  </a:cubicBezTo>
                  <a:moveTo>
                    <a:pt x="2986" y="226"/>
                  </a:moveTo>
                  <a:cubicBezTo>
                    <a:pt x="2979" y="226"/>
                    <a:pt x="2975" y="230"/>
                    <a:pt x="2976" y="236"/>
                  </a:cubicBezTo>
                  <a:cubicBezTo>
                    <a:pt x="2977" y="242"/>
                    <a:pt x="2983" y="246"/>
                    <a:pt x="2989" y="246"/>
                  </a:cubicBezTo>
                  <a:cubicBezTo>
                    <a:pt x="2996" y="246"/>
                    <a:pt x="3000" y="241"/>
                    <a:pt x="2999" y="236"/>
                  </a:cubicBezTo>
                  <a:cubicBezTo>
                    <a:pt x="2998" y="230"/>
                    <a:pt x="2992" y="226"/>
                    <a:pt x="2986" y="226"/>
                  </a:cubicBezTo>
                  <a:cubicBezTo>
                    <a:pt x="2986" y="226"/>
                    <a:pt x="2986" y="226"/>
                    <a:pt x="2986" y="226"/>
                  </a:cubicBezTo>
                  <a:moveTo>
                    <a:pt x="2827" y="225"/>
                  </a:moveTo>
                  <a:cubicBezTo>
                    <a:pt x="2821" y="225"/>
                    <a:pt x="2816" y="230"/>
                    <a:pt x="2817" y="236"/>
                  </a:cubicBezTo>
                  <a:cubicBezTo>
                    <a:pt x="2818" y="241"/>
                    <a:pt x="2823" y="246"/>
                    <a:pt x="2830" y="246"/>
                  </a:cubicBezTo>
                  <a:cubicBezTo>
                    <a:pt x="2836" y="246"/>
                    <a:pt x="2840" y="241"/>
                    <a:pt x="2840" y="236"/>
                  </a:cubicBezTo>
                  <a:cubicBezTo>
                    <a:pt x="2839" y="230"/>
                    <a:pt x="2833" y="225"/>
                    <a:pt x="2827" y="225"/>
                  </a:cubicBezTo>
                  <a:cubicBezTo>
                    <a:pt x="2827" y="225"/>
                    <a:pt x="2827" y="225"/>
                    <a:pt x="2827" y="225"/>
                  </a:cubicBezTo>
                  <a:moveTo>
                    <a:pt x="3018" y="225"/>
                  </a:moveTo>
                  <a:cubicBezTo>
                    <a:pt x="3011" y="225"/>
                    <a:pt x="3007" y="230"/>
                    <a:pt x="3008" y="236"/>
                  </a:cubicBezTo>
                  <a:cubicBezTo>
                    <a:pt x="3009" y="241"/>
                    <a:pt x="3015" y="246"/>
                    <a:pt x="3022" y="246"/>
                  </a:cubicBezTo>
                  <a:cubicBezTo>
                    <a:pt x="3028" y="246"/>
                    <a:pt x="3032" y="241"/>
                    <a:pt x="3031" y="235"/>
                  </a:cubicBezTo>
                  <a:cubicBezTo>
                    <a:pt x="3030" y="230"/>
                    <a:pt x="3024" y="225"/>
                    <a:pt x="3018" y="225"/>
                  </a:cubicBezTo>
                  <a:cubicBezTo>
                    <a:pt x="3018" y="225"/>
                    <a:pt x="3018" y="225"/>
                    <a:pt x="3018" y="225"/>
                  </a:cubicBezTo>
                  <a:moveTo>
                    <a:pt x="2859" y="225"/>
                  </a:moveTo>
                  <a:cubicBezTo>
                    <a:pt x="2853" y="225"/>
                    <a:pt x="2848" y="230"/>
                    <a:pt x="2849" y="235"/>
                  </a:cubicBezTo>
                  <a:cubicBezTo>
                    <a:pt x="2850" y="241"/>
                    <a:pt x="2855" y="246"/>
                    <a:pt x="2862" y="246"/>
                  </a:cubicBezTo>
                  <a:cubicBezTo>
                    <a:pt x="2868" y="246"/>
                    <a:pt x="2872" y="241"/>
                    <a:pt x="2872" y="235"/>
                  </a:cubicBezTo>
                  <a:cubicBezTo>
                    <a:pt x="2871" y="230"/>
                    <a:pt x="2865" y="225"/>
                    <a:pt x="2859" y="225"/>
                  </a:cubicBezTo>
                  <a:cubicBezTo>
                    <a:pt x="2859" y="225"/>
                    <a:pt x="2859" y="225"/>
                    <a:pt x="2859" y="225"/>
                  </a:cubicBezTo>
                  <a:moveTo>
                    <a:pt x="3051" y="225"/>
                  </a:moveTo>
                  <a:cubicBezTo>
                    <a:pt x="3045" y="225"/>
                    <a:pt x="3040" y="230"/>
                    <a:pt x="3042" y="235"/>
                  </a:cubicBezTo>
                  <a:cubicBezTo>
                    <a:pt x="3043" y="241"/>
                    <a:pt x="3049" y="246"/>
                    <a:pt x="3055" y="245"/>
                  </a:cubicBezTo>
                  <a:cubicBezTo>
                    <a:pt x="3061" y="245"/>
                    <a:pt x="3065" y="241"/>
                    <a:pt x="3064" y="235"/>
                  </a:cubicBezTo>
                  <a:cubicBezTo>
                    <a:pt x="3063" y="229"/>
                    <a:pt x="3057" y="225"/>
                    <a:pt x="3051" y="225"/>
                  </a:cubicBezTo>
                  <a:cubicBezTo>
                    <a:pt x="3051" y="225"/>
                    <a:pt x="3051" y="225"/>
                    <a:pt x="3051" y="225"/>
                  </a:cubicBezTo>
                  <a:moveTo>
                    <a:pt x="2891" y="225"/>
                  </a:moveTo>
                  <a:cubicBezTo>
                    <a:pt x="2885" y="225"/>
                    <a:pt x="2880" y="229"/>
                    <a:pt x="2881" y="235"/>
                  </a:cubicBezTo>
                  <a:cubicBezTo>
                    <a:pt x="2882" y="241"/>
                    <a:pt x="2888" y="245"/>
                    <a:pt x="2894" y="245"/>
                  </a:cubicBezTo>
                  <a:cubicBezTo>
                    <a:pt x="2900" y="245"/>
                    <a:pt x="2905" y="241"/>
                    <a:pt x="2904" y="235"/>
                  </a:cubicBezTo>
                  <a:cubicBezTo>
                    <a:pt x="2903" y="229"/>
                    <a:pt x="2897" y="225"/>
                    <a:pt x="2891" y="225"/>
                  </a:cubicBezTo>
                  <a:cubicBezTo>
                    <a:pt x="2891" y="225"/>
                    <a:pt x="2891" y="225"/>
                    <a:pt x="2891" y="225"/>
                  </a:cubicBezTo>
                  <a:moveTo>
                    <a:pt x="3083" y="225"/>
                  </a:moveTo>
                  <a:cubicBezTo>
                    <a:pt x="3077" y="225"/>
                    <a:pt x="3072" y="229"/>
                    <a:pt x="3074" y="235"/>
                  </a:cubicBezTo>
                  <a:cubicBezTo>
                    <a:pt x="3075" y="241"/>
                    <a:pt x="3081" y="245"/>
                    <a:pt x="3087" y="245"/>
                  </a:cubicBezTo>
                  <a:cubicBezTo>
                    <a:pt x="3093" y="245"/>
                    <a:pt x="3097" y="241"/>
                    <a:pt x="3096" y="235"/>
                  </a:cubicBezTo>
                  <a:cubicBezTo>
                    <a:pt x="3095" y="229"/>
                    <a:pt x="3089" y="225"/>
                    <a:pt x="3083" y="225"/>
                  </a:cubicBezTo>
                  <a:cubicBezTo>
                    <a:pt x="3083" y="225"/>
                    <a:pt x="3083" y="225"/>
                    <a:pt x="3083" y="225"/>
                  </a:cubicBezTo>
                  <a:moveTo>
                    <a:pt x="3115" y="224"/>
                  </a:moveTo>
                  <a:cubicBezTo>
                    <a:pt x="3109" y="224"/>
                    <a:pt x="3105" y="229"/>
                    <a:pt x="3106" y="235"/>
                  </a:cubicBezTo>
                  <a:cubicBezTo>
                    <a:pt x="3107" y="240"/>
                    <a:pt x="3113" y="245"/>
                    <a:pt x="3120" y="245"/>
                  </a:cubicBezTo>
                  <a:cubicBezTo>
                    <a:pt x="3126" y="245"/>
                    <a:pt x="3130" y="240"/>
                    <a:pt x="3129" y="235"/>
                  </a:cubicBezTo>
                  <a:cubicBezTo>
                    <a:pt x="3127" y="229"/>
                    <a:pt x="3121" y="224"/>
                    <a:pt x="3115" y="224"/>
                  </a:cubicBezTo>
                  <a:cubicBezTo>
                    <a:pt x="3115" y="224"/>
                    <a:pt x="3115" y="224"/>
                    <a:pt x="3115" y="224"/>
                  </a:cubicBezTo>
                  <a:moveTo>
                    <a:pt x="3147" y="224"/>
                  </a:moveTo>
                  <a:cubicBezTo>
                    <a:pt x="3141" y="224"/>
                    <a:pt x="3137" y="229"/>
                    <a:pt x="3139" y="234"/>
                  </a:cubicBezTo>
                  <a:cubicBezTo>
                    <a:pt x="3140" y="240"/>
                    <a:pt x="3146" y="245"/>
                    <a:pt x="3152" y="245"/>
                  </a:cubicBezTo>
                  <a:cubicBezTo>
                    <a:pt x="3159" y="245"/>
                    <a:pt x="3162" y="240"/>
                    <a:pt x="3161" y="234"/>
                  </a:cubicBezTo>
                  <a:cubicBezTo>
                    <a:pt x="3160" y="229"/>
                    <a:pt x="3154" y="224"/>
                    <a:pt x="3147" y="224"/>
                  </a:cubicBezTo>
                  <a:cubicBezTo>
                    <a:pt x="3147" y="224"/>
                    <a:pt x="3147" y="224"/>
                    <a:pt x="3147" y="224"/>
                  </a:cubicBezTo>
                  <a:moveTo>
                    <a:pt x="3179" y="224"/>
                  </a:moveTo>
                  <a:cubicBezTo>
                    <a:pt x="3173" y="224"/>
                    <a:pt x="3169" y="229"/>
                    <a:pt x="3171" y="234"/>
                  </a:cubicBezTo>
                  <a:cubicBezTo>
                    <a:pt x="3172" y="240"/>
                    <a:pt x="3178" y="244"/>
                    <a:pt x="3184" y="244"/>
                  </a:cubicBezTo>
                  <a:cubicBezTo>
                    <a:pt x="3191" y="244"/>
                    <a:pt x="3195" y="240"/>
                    <a:pt x="3193" y="234"/>
                  </a:cubicBezTo>
                  <a:cubicBezTo>
                    <a:pt x="3192" y="228"/>
                    <a:pt x="3185" y="224"/>
                    <a:pt x="3179" y="224"/>
                  </a:cubicBezTo>
                  <a:cubicBezTo>
                    <a:pt x="3179" y="224"/>
                    <a:pt x="3179" y="224"/>
                    <a:pt x="3179" y="224"/>
                  </a:cubicBezTo>
                  <a:moveTo>
                    <a:pt x="3211" y="224"/>
                  </a:moveTo>
                  <a:cubicBezTo>
                    <a:pt x="3205" y="224"/>
                    <a:pt x="3201" y="228"/>
                    <a:pt x="3203" y="234"/>
                  </a:cubicBezTo>
                  <a:cubicBezTo>
                    <a:pt x="3204" y="240"/>
                    <a:pt x="3211" y="244"/>
                    <a:pt x="3217" y="244"/>
                  </a:cubicBezTo>
                  <a:cubicBezTo>
                    <a:pt x="3223" y="244"/>
                    <a:pt x="3227" y="239"/>
                    <a:pt x="3225" y="234"/>
                  </a:cubicBezTo>
                  <a:cubicBezTo>
                    <a:pt x="3224" y="228"/>
                    <a:pt x="3218" y="224"/>
                    <a:pt x="3211" y="224"/>
                  </a:cubicBezTo>
                  <a:cubicBezTo>
                    <a:pt x="3211" y="224"/>
                    <a:pt x="3211" y="224"/>
                    <a:pt x="3211" y="224"/>
                  </a:cubicBezTo>
                  <a:moveTo>
                    <a:pt x="3243" y="223"/>
                  </a:moveTo>
                  <a:cubicBezTo>
                    <a:pt x="3237" y="223"/>
                    <a:pt x="3233" y="228"/>
                    <a:pt x="3235" y="234"/>
                  </a:cubicBezTo>
                  <a:cubicBezTo>
                    <a:pt x="3236" y="239"/>
                    <a:pt x="3243" y="244"/>
                    <a:pt x="3249" y="244"/>
                  </a:cubicBezTo>
                  <a:cubicBezTo>
                    <a:pt x="3255" y="244"/>
                    <a:pt x="3259" y="239"/>
                    <a:pt x="3257" y="233"/>
                  </a:cubicBezTo>
                  <a:cubicBezTo>
                    <a:pt x="3256" y="228"/>
                    <a:pt x="3249" y="223"/>
                    <a:pt x="3243" y="223"/>
                  </a:cubicBezTo>
                  <a:cubicBezTo>
                    <a:pt x="3243" y="223"/>
                    <a:pt x="3243" y="223"/>
                    <a:pt x="3243" y="223"/>
                  </a:cubicBezTo>
                  <a:moveTo>
                    <a:pt x="3275" y="223"/>
                  </a:moveTo>
                  <a:cubicBezTo>
                    <a:pt x="3269" y="223"/>
                    <a:pt x="3265" y="228"/>
                    <a:pt x="3267" y="233"/>
                  </a:cubicBezTo>
                  <a:cubicBezTo>
                    <a:pt x="3268" y="239"/>
                    <a:pt x="3275" y="244"/>
                    <a:pt x="3281" y="244"/>
                  </a:cubicBezTo>
                  <a:cubicBezTo>
                    <a:pt x="3287" y="244"/>
                    <a:pt x="3291" y="239"/>
                    <a:pt x="3289" y="233"/>
                  </a:cubicBezTo>
                  <a:cubicBezTo>
                    <a:pt x="3288" y="228"/>
                    <a:pt x="3281" y="223"/>
                    <a:pt x="3275" y="223"/>
                  </a:cubicBezTo>
                  <a:cubicBezTo>
                    <a:pt x="3275" y="223"/>
                    <a:pt x="3275" y="223"/>
                    <a:pt x="3275" y="223"/>
                  </a:cubicBezTo>
                  <a:moveTo>
                    <a:pt x="3307" y="223"/>
                  </a:moveTo>
                  <a:cubicBezTo>
                    <a:pt x="3301" y="223"/>
                    <a:pt x="3297" y="227"/>
                    <a:pt x="3299" y="233"/>
                  </a:cubicBezTo>
                  <a:cubicBezTo>
                    <a:pt x="3300" y="239"/>
                    <a:pt x="3307" y="243"/>
                    <a:pt x="3313" y="243"/>
                  </a:cubicBezTo>
                  <a:cubicBezTo>
                    <a:pt x="3319" y="243"/>
                    <a:pt x="3323" y="239"/>
                    <a:pt x="3321" y="233"/>
                  </a:cubicBezTo>
                  <a:cubicBezTo>
                    <a:pt x="3320" y="227"/>
                    <a:pt x="3313" y="223"/>
                    <a:pt x="3307" y="223"/>
                  </a:cubicBezTo>
                  <a:cubicBezTo>
                    <a:pt x="3307" y="223"/>
                    <a:pt x="3307" y="223"/>
                    <a:pt x="3307" y="223"/>
                  </a:cubicBezTo>
                  <a:moveTo>
                    <a:pt x="3339" y="222"/>
                  </a:moveTo>
                  <a:cubicBezTo>
                    <a:pt x="3333" y="223"/>
                    <a:pt x="3329" y="227"/>
                    <a:pt x="3331" y="233"/>
                  </a:cubicBezTo>
                  <a:cubicBezTo>
                    <a:pt x="3333" y="239"/>
                    <a:pt x="3339" y="243"/>
                    <a:pt x="3346" y="243"/>
                  </a:cubicBezTo>
                  <a:cubicBezTo>
                    <a:pt x="3352" y="243"/>
                    <a:pt x="3355" y="238"/>
                    <a:pt x="3354" y="233"/>
                  </a:cubicBezTo>
                  <a:cubicBezTo>
                    <a:pt x="3352" y="227"/>
                    <a:pt x="3345" y="222"/>
                    <a:pt x="3339" y="222"/>
                  </a:cubicBezTo>
                  <a:cubicBezTo>
                    <a:pt x="3339" y="222"/>
                    <a:pt x="3339" y="222"/>
                    <a:pt x="3339" y="222"/>
                  </a:cubicBezTo>
                  <a:moveTo>
                    <a:pt x="3372" y="222"/>
                  </a:moveTo>
                  <a:cubicBezTo>
                    <a:pt x="3366" y="222"/>
                    <a:pt x="3362" y="227"/>
                    <a:pt x="3364" y="233"/>
                  </a:cubicBezTo>
                  <a:cubicBezTo>
                    <a:pt x="3366" y="238"/>
                    <a:pt x="3373" y="243"/>
                    <a:pt x="3379" y="243"/>
                  </a:cubicBezTo>
                  <a:cubicBezTo>
                    <a:pt x="3385" y="243"/>
                    <a:pt x="3389" y="238"/>
                    <a:pt x="3387" y="232"/>
                  </a:cubicBezTo>
                  <a:cubicBezTo>
                    <a:pt x="3385" y="227"/>
                    <a:pt x="3378" y="222"/>
                    <a:pt x="3372" y="222"/>
                  </a:cubicBezTo>
                  <a:cubicBezTo>
                    <a:pt x="3372" y="222"/>
                    <a:pt x="3372" y="222"/>
                    <a:pt x="3372" y="222"/>
                  </a:cubicBezTo>
                  <a:moveTo>
                    <a:pt x="3404" y="222"/>
                  </a:moveTo>
                  <a:cubicBezTo>
                    <a:pt x="3398" y="222"/>
                    <a:pt x="3394" y="227"/>
                    <a:pt x="3396" y="232"/>
                  </a:cubicBezTo>
                  <a:cubicBezTo>
                    <a:pt x="3398" y="238"/>
                    <a:pt x="3405" y="243"/>
                    <a:pt x="3411" y="242"/>
                  </a:cubicBezTo>
                  <a:cubicBezTo>
                    <a:pt x="3417" y="242"/>
                    <a:pt x="3421" y="238"/>
                    <a:pt x="3419" y="232"/>
                  </a:cubicBezTo>
                  <a:cubicBezTo>
                    <a:pt x="3417" y="226"/>
                    <a:pt x="3410" y="222"/>
                    <a:pt x="3404" y="222"/>
                  </a:cubicBezTo>
                  <a:cubicBezTo>
                    <a:pt x="3404" y="222"/>
                    <a:pt x="3404" y="222"/>
                    <a:pt x="3404" y="222"/>
                  </a:cubicBezTo>
                  <a:moveTo>
                    <a:pt x="3436" y="222"/>
                  </a:moveTo>
                  <a:cubicBezTo>
                    <a:pt x="3430" y="222"/>
                    <a:pt x="3427" y="226"/>
                    <a:pt x="3429" y="232"/>
                  </a:cubicBezTo>
                  <a:cubicBezTo>
                    <a:pt x="3430" y="238"/>
                    <a:pt x="3437" y="242"/>
                    <a:pt x="3443" y="242"/>
                  </a:cubicBezTo>
                  <a:cubicBezTo>
                    <a:pt x="3450" y="242"/>
                    <a:pt x="3453" y="237"/>
                    <a:pt x="3451" y="232"/>
                  </a:cubicBezTo>
                  <a:cubicBezTo>
                    <a:pt x="3449" y="226"/>
                    <a:pt x="3442" y="222"/>
                    <a:pt x="3436" y="222"/>
                  </a:cubicBezTo>
                  <a:cubicBezTo>
                    <a:pt x="3436" y="222"/>
                    <a:pt x="3436" y="222"/>
                    <a:pt x="3436" y="222"/>
                  </a:cubicBezTo>
                  <a:moveTo>
                    <a:pt x="3469" y="221"/>
                  </a:moveTo>
                  <a:cubicBezTo>
                    <a:pt x="3462" y="221"/>
                    <a:pt x="3459" y="226"/>
                    <a:pt x="3461" y="232"/>
                  </a:cubicBezTo>
                  <a:cubicBezTo>
                    <a:pt x="3463" y="237"/>
                    <a:pt x="3470" y="242"/>
                    <a:pt x="3476" y="242"/>
                  </a:cubicBezTo>
                  <a:cubicBezTo>
                    <a:pt x="3482" y="242"/>
                    <a:pt x="3486" y="237"/>
                    <a:pt x="3484" y="232"/>
                  </a:cubicBezTo>
                  <a:cubicBezTo>
                    <a:pt x="3481" y="226"/>
                    <a:pt x="3475" y="221"/>
                    <a:pt x="3469" y="221"/>
                  </a:cubicBezTo>
                  <a:cubicBezTo>
                    <a:pt x="3469" y="221"/>
                    <a:pt x="3469" y="221"/>
                    <a:pt x="3469" y="221"/>
                  </a:cubicBezTo>
                  <a:moveTo>
                    <a:pt x="3500" y="221"/>
                  </a:moveTo>
                  <a:cubicBezTo>
                    <a:pt x="3494" y="221"/>
                    <a:pt x="3491" y="226"/>
                    <a:pt x="3493" y="231"/>
                  </a:cubicBezTo>
                  <a:cubicBezTo>
                    <a:pt x="3495" y="237"/>
                    <a:pt x="3502" y="242"/>
                    <a:pt x="3508" y="242"/>
                  </a:cubicBezTo>
                  <a:cubicBezTo>
                    <a:pt x="3514" y="242"/>
                    <a:pt x="3518" y="237"/>
                    <a:pt x="3516" y="231"/>
                  </a:cubicBezTo>
                  <a:cubicBezTo>
                    <a:pt x="3513" y="226"/>
                    <a:pt x="3507" y="221"/>
                    <a:pt x="3501" y="221"/>
                  </a:cubicBezTo>
                  <a:cubicBezTo>
                    <a:pt x="3501" y="221"/>
                    <a:pt x="3500" y="221"/>
                    <a:pt x="3500" y="221"/>
                  </a:cubicBezTo>
                  <a:moveTo>
                    <a:pt x="3532" y="221"/>
                  </a:moveTo>
                  <a:cubicBezTo>
                    <a:pt x="3526" y="221"/>
                    <a:pt x="3523" y="226"/>
                    <a:pt x="3525" y="231"/>
                  </a:cubicBezTo>
                  <a:cubicBezTo>
                    <a:pt x="3527" y="237"/>
                    <a:pt x="3534" y="241"/>
                    <a:pt x="3540" y="241"/>
                  </a:cubicBezTo>
                  <a:cubicBezTo>
                    <a:pt x="3547" y="241"/>
                    <a:pt x="3550" y="237"/>
                    <a:pt x="3548" y="231"/>
                  </a:cubicBezTo>
                  <a:cubicBezTo>
                    <a:pt x="3545" y="225"/>
                    <a:pt x="3539" y="221"/>
                    <a:pt x="3533" y="221"/>
                  </a:cubicBezTo>
                  <a:cubicBezTo>
                    <a:pt x="3533" y="221"/>
                    <a:pt x="3532" y="221"/>
                    <a:pt x="3532" y="221"/>
                  </a:cubicBezTo>
                  <a:moveTo>
                    <a:pt x="3564" y="221"/>
                  </a:moveTo>
                  <a:cubicBezTo>
                    <a:pt x="3558" y="221"/>
                    <a:pt x="3555" y="225"/>
                    <a:pt x="3557" y="231"/>
                  </a:cubicBezTo>
                  <a:cubicBezTo>
                    <a:pt x="3559" y="237"/>
                    <a:pt x="3566" y="241"/>
                    <a:pt x="3573" y="241"/>
                  </a:cubicBezTo>
                  <a:cubicBezTo>
                    <a:pt x="3579" y="241"/>
                    <a:pt x="3582" y="236"/>
                    <a:pt x="3580" y="231"/>
                  </a:cubicBezTo>
                  <a:cubicBezTo>
                    <a:pt x="3577" y="225"/>
                    <a:pt x="3571" y="221"/>
                    <a:pt x="3564" y="221"/>
                  </a:cubicBezTo>
                  <a:cubicBezTo>
                    <a:pt x="3564" y="221"/>
                    <a:pt x="3564" y="221"/>
                    <a:pt x="3564" y="221"/>
                  </a:cubicBezTo>
                  <a:moveTo>
                    <a:pt x="3597" y="220"/>
                  </a:moveTo>
                  <a:cubicBezTo>
                    <a:pt x="3591" y="220"/>
                    <a:pt x="3588" y="225"/>
                    <a:pt x="3590" y="231"/>
                  </a:cubicBezTo>
                  <a:cubicBezTo>
                    <a:pt x="3592" y="236"/>
                    <a:pt x="3599" y="241"/>
                    <a:pt x="3605" y="241"/>
                  </a:cubicBezTo>
                  <a:cubicBezTo>
                    <a:pt x="3612" y="241"/>
                    <a:pt x="3615" y="236"/>
                    <a:pt x="3612" y="230"/>
                  </a:cubicBezTo>
                  <a:cubicBezTo>
                    <a:pt x="3610" y="225"/>
                    <a:pt x="3603" y="220"/>
                    <a:pt x="3597" y="220"/>
                  </a:cubicBezTo>
                  <a:cubicBezTo>
                    <a:pt x="3597" y="220"/>
                    <a:pt x="3597" y="220"/>
                    <a:pt x="3597" y="220"/>
                  </a:cubicBezTo>
                  <a:moveTo>
                    <a:pt x="3629" y="220"/>
                  </a:moveTo>
                  <a:cubicBezTo>
                    <a:pt x="3623" y="220"/>
                    <a:pt x="3620" y="225"/>
                    <a:pt x="3622" y="230"/>
                  </a:cubicBezTo>
                  <a:cubicBezTo>
                    <a:pt x="3625" y="236"/>
                    <a:pt x="3632" y="241"/>
                    <a:pt x="3638" y="241"/>
                  </a:cubicBezTo>
                  <a:cubicBezTo>
                    <a:pt x="3644" y="240"/>
                    <a:pt x="3647" y="236"/>
                    <a:pt x="3645" y="230"/>
                  </a:cubicBezTo>
                  <a:cubicBezTo>
                    <a:pt x="3642" y="225"/>
                    <a:pt x="3635" y="220"/>
                    <a:pt x="3629" y="220"/>
                  </a:cubicBezTo>
                  <a:cubicBezTo>
                    <a:pt x="3629" y="220"/>
                    <a:pt x="3629" y="220"/>
                    <a:pt x="3629" y="220"/>
                  </a:cubicBezTo>
                  <a:moveTo>
                    <a:pt x="3662" y="220"/>
                  </a:moveTo>
                  <a:cubicBezTo>
                    <a:pt x="3656" y="220"/>
                    <a:pt x="3653" y="224"/>
                    <a:pt x="3655" y="230"/>
                  </a:cubicBezTo>
                  <a:cubicBezTo>
                    <a:pt x="3658" y="236"/>
                    <a:pt x="3665" y="240"/>
                    <a:pt x="3671" y="240"/>
                  </a:cubicBezTo>
                  <a:cubicBezTo>
                    <a:pt x="3677" y="240"/>
                    <a:pt x="3680" y="236"/>
                    <a:pt x="3678" y="230"/>
                  </a:cubicBezTo>
                  <a:cubicBezTo>
                    <a:pt x="3675" y="224"/>
                    <a:pt x="3668" y="220"/>
                    <a:pt x="3662" y="220"/>
                  </a:cubicBezTo>
                  <a:cubicBezTo>
                    <a:pt x="3662" y="220"/>
                    <a:pt x="3662" y="220"/>
                    <a:pt x="3662" y="220"/>
                  </a:cubicBezTo>
                  <a:moveTo>
                    <a:pt x="3694" y="219"/>
                  </a:moveTo>
                  <a:cubicBezTo>
                    <a:pt x="3688" y="219"/>
                    <a:pt x="3685" y="224"/>
                    <a:pt x="3687" y="230"/>
                  </a:cubicBezTo>
                  <a:cubicBezTo>
                    <a:pt x="3690" y="235"/>
                    <a:pt x="3697" y="240"/>
                    <a:pt x="3703" y="240"/>
                  </a:cubicBezTo>
                  <a:cubicBezTo>
                    <a:pt x="3709" y="240"/>
                    <a:pt x="3712" y="235"/>
                    <a:pt x="3710" y="230"/>
                  </a:cubicBezTo>
                  <a:cubicBezTo>
                    <a:pt x="3707" y="224"/>
                    <a:pt x="3700" y="219"/>
                    <a:pt x="3694" y="219"/>
                  </a:cubicBezTo>
                  <a:cubicBezTo>
                    <a:pt x="3694" y="219"/>
                    <a:pt x="3694" y="219"/>
                    <a:pt x="3694" y="219"/>
                  </a:cubicBezTo>
                  <a:moveTo>
                    <a:pt x="3726" y="219"/>
                  </a:moveTo>
                  <a:cubicBezTo>
                    <a:pt x="3720" y="219"/>
                    <a:pt x="3717" y="224"/>
                    <a:pt x="3719" y="230"/>
                  </a:cubicBezTo>
                  <a:cubicBezTo>
                    <a:pt x="3722" y="235"/>
                    <a:pt x="3729" y="240"/>
                    <a:pt x="3735" y="240"/>
                  </a:cubicBezTo>
                  <a:cubicBezTo>
                    <a:pt x="3742" y="240"/>
                    <a:pt x="3745" y="235"/>
                    <a:pt x="3742" y="229"/>
                  </a:cubicBezTo>
                  <a:cubicBezTo>
                    <a:pt x="3739" y="224"/>
                    <a:pt x="3732" y="219"/>
                    <a:pt x="3726" y="219"/>
                  </a:cubicBezTo>
                  <a:cubicBezTo>
                    <a:pt x="3726" y="219"/>
                    <a:pt x="3726" y="219"/>
                    <a:pt x="3726" y="219"/>
                  </a:cubicBezTo>
                  <a:moveTo>
                    <a:pt x="3758" y="219"/>
                  </a:moveTo>
                  <a:cubicBezTo>
                    <a:pt x="3752" y="219"/>
                    <a:pt x="3749" y="224"/>
                    <a:pt x="3752" y="229"/>
                  </a:cubicBezTo>
                  <a:cubicBezTo>
                    <a:pt x="3755" y="235"/>
                    <a:pt x="3762" y="239"/>
                    <a:pt x="3768" y="239"/>
                  </a:cubicBezTo>
                  <a:cubicBezTo>
                    <a:pt x="3774" y="239"/>
                    <a:pt x="3777" y="235"/>
                    <a:pt x="3775" y="229"/>
                  </a:cubicBezTo>
                  <a:cubicBezTo>
                    <a:pt x="3772" y="223"/>
                    <a:pt x="3765" y="219"/>
                    <a:pt x="3758" y="219"/>
                  </a:cubicBezTo>
                  <a:cubicBezTo>
                    <a:pt x="3758" y="219"/>
                    <a:pt x="3758" y="219"/>
                    <a:pt x="3758" y="219"/>
                  </a:cubicBezTo>
                  <a:moveTo>
                    <a:pt x="3790" y="219"/>
                  </a:moveTo>
                  <a:cubicBezTo>
                    <a:pt x="3784" y="219"/>
                    <a:pt x="3781" y="223"/>
                    <a:pt x="3784" y="229"/>
                  </a:cubicBezTo>
                  <a:cubicBezTo>
                    <a:pt x="3787" y="235"/>
                    <a:pt x="3794" y="239"/>
                    <a:pt x="3800" y="239"/>
                  </a:cubicBezTo>
                  <a:cubicBezTo>
                    <a:pt x="3806" y="239"/>
                    <a:pt x="3809" y="234"/>
                    <a:pt x="3806" y="229"/>
                  </a:cubicBezTo>
                  <a:cubicBezTo>
                    <a:pt x="3804" y="223"/>
                    <a:pt x="3796" y="219"/>
                    <a:pt x="3790" y="219"/>
                  </a:cubicBezTo>
                  <a:cubicBezTo>
                    <a:pt x="3790" y="219"/>
                    <a:pt x="3790" y="219"/>
                    <a:pt x="3790" y="219"/>
                  </a:cubicBezTo>
                  <a:moveTo>
                    <a:pt x="272" y="218"/>
                  </a:moveTo>
                  <a:cubicBezTo>
                    <a:pt x="266" y="218"/>
                    <a:pt x="257" y="223"/>
                    <a:pt x="252" y="229"/>
                  </a:cubicBezTo>
                  <a:cubicBezTo>
                    <a:pt x="247" y="234"/>
                    <a:pt x="248" y="239"/>
                    <a:pt x="255" y="239"/>
                  </a:cubicBezTo>
                  <a:cubicBezTo>
                    <a:pt x="261" y="239"/>
                    <a:pt x="270" y="234"/>
                    <a:pt x="274" y="228"/>
                  </a:cubicBezTo>
                  <a:cubicBezTo>
                    <a:pt x="279" y="223"/>
                    <a:pt x="278" y="218"/>
                    <a:pt x="272" y="218"/>
                  </a:cubicBezTo>
                  <a:cubicBezTo>
                    <a:pt x="272" y="218"/>
                    <a:pt x="272" y="218"/>
                    <a:pt x="272" y="218"/>
                  </a:cubicBezTo>
                  <a:moveTo>
                    <a:pt x="3822" y="218"/>
                  </a:moveTo>
                  <a:cubicBezTo>
                    <a:pt x="3816" y="218"/>
                    <a:pt x="3813" y="223"/>
                    <a:pt x="3816" y="229"/>
                  </a:cubicBezTo>
                  <a:cubicBezTo>
                    <a:pt x="3819" y="234"/>
                    <a:pt x="3826" y="239"/>
                    <a:pt x="3832" y="239"/>
                  </a:cubicBezTo>
                  <a:cubicBezTo>
                    <a:pt x="3839" y="239"/>
                    <a:pt x="3841" y="234"/>
                    <a:pt x="3839" y="229"/>
                  </a:cubicBezTo>
                  <a:cubicBezTo>
                    <a:pt x="3836" y="223"/>
                    <a:pt x="3828" y="218"/>
                    <a:pt x="3822" y="218"/>
                  </a:cubicBezTo>
                  <a:cubicBezTo>
                    <a:pt x="3822" y="218"/>
                    <a:pt x="3822" y="218"/>
                    <a:pt x="3822" y="218"/>
                  </a:cubicBezTo>
                  <a:moveTo>
                    <a:pt x="304" y="218"/>
                  </a:moveTo>
                  <a:cubicBezTo>
                    <a:pt x="297" y="218"/>
                    <a:pt x="289" y="223"/>
                    <a:pt x="284" y="228"/>
                  </a:cubicBezTo>
                  <a:cubicBezTo>
                    <a:pt x="279" y="234"/>
                    <a:pt x="280" y="238"/>
                    <a:pt x="287" y="238"/>
                  </a:cubicBezTo>
                  <a:cubicBezTo>
                    <a:pt x="293" y="238"/>
                    <a:pt x="302" y="234"/>
                    <a:pt x="306" y="228"/>
                  </a:cubicBezTo>
                  <a:cubicBezTo>
                    <a:pt x="311" y="223"/>
                    <a:pt x="310" y="218"/>
                    <a:pt x="304" y="218"/>
                  </a:cubicBezTo>
                  <a:cubicBezTo>
                    <a:pt x="304" y="218"/>
                    <a:pt x="304" y="218"/>
                    <a:pt x="304" y="218"/>
                  </a:cubicBezTo>
                  <a:moveTo>
                    <a:pt x="3854" y="218"/>
                  </a:moveTo>
                  <a:cubicBezTo>
                    <a:pt x="3848" y="218"/>
                    <a:pt x="3845" y="223"/>
                    <a:pt x="3848" y="228"/>
                  </a:cubicBezTo>
                  <a:cubicBezTo>
                    <a:pt x="3851" y="234"/>
                    <a:pt x="3858" y="239"/>
                    <a:pt x="3865" y="239"/>
                  </a:cubicBezTo>
                  <a:cubicBezTo>
                    <a:pt x="3871" y="239"/>
                    <a:pt x="3873" y="234"/>
                    <a:pt x="3871" y="228"/>
                  </a:cubicBezTo>
                  <a:cubicBezTo>
                    <a:pt x="3868" y="223"/>
                    <a:pt x="3860" y="218"/>
                    <a:pt x="3854" y="218"/>
                  </a:cubicBezTo>
                  <a:cubicBezTo>
                    <a:pt x="3854" y="218"/>
                    <a:pt x="3854" y="218"/>
                    <a:pt x="3854" y="218"/>
                  </a:cubicBezTo>
                  <a:moveTo>
                    <a:pt x="335" y="218"/>
                  </a:moveTo>
                  <a:cubicBezTo>
                    <a:pt x="329" y="218"/>
                    <a:pt x="320" y="222"/>
                    <a:pt x="316" y="228"/>
                  </a:cubicBezTo>
                  <a:cubicBezTo>
                    <a:pt x="311" y="234"/>
                    <a:pt x="312" y="238"/>
                    <a:pt x="319" y="238"/>
                  </a:cubicBezTo>
                  <a:cubicBezTo>
                    <a:pt x="325" y="238"/>
                    <a:pt x="334" y="233"/>
                    <a:pt x="338" y="228"/>
                  </a:cubicBezTo>
                  <a:cubicBezTo>
                    <a:pt x="343" y="222"/>
                    <a:pt x="342" y="218"/>
                    <a:pt x="335" y="218"/>
                  </a:cubicBezTo>
                  <a:cubicBezTo>
                    <a:pt x="335" y="218"/>
                    <a:pt x="335" y="218"/>
                    <a:pt x="335" y="218"/>
                  </a:cubicBezTo>
                  <a:moveTo>
                    <a:pt x="3886" y="218"/>
                  </a:moveTo>
                  <a:cubicBezTo>
                    <a:pt x="3880" y="218"/>
                    <a:pt x="3877" y="222"/>
                    <a:pt x="3880" y="228"/>
                  </a:cubicBezTo>
                  <a:cubicBezTo>
                    <a:pt x="3883" y="234"/>
                    <a:pt x="3890" y="238"/>
                    <a:pt x="3897" y="238"/>
                  </a:cubicBezTo>
                  <a:cubicBezTo>
                    <a:pt x="3903" y="238"/>
                    <a:pt x="3906" y="234"/>
                    <a:pt x="3903" y="228"/>
                  </a:cubicBezTo>
                  <a:cubicBezTo>
                    <a:pt x="3900" y="222"/>
                    <a:pt x="3892" y="218"/>
                    <a:pt x="3886" y="218"/>
                  </a:cubicBezTo>
                  <a:cubicBezTo>
                    <a:pt x="3886" y="218"/>
                    <a:pt x="3886" y="218"/>
                    <a:pt x="3886" y="218"/>
                  </a:cubicBezTo>
                  <a:moveTo>
                    <a:pt x="367" y="217"/>
                  </a:moveTo>
                  <a:cubicBezTo>
                    <a:pt x="361" y="218"/>
                    <a:pt x="352" y="222"/>
                    <a:pt x="348" y="228"/>
                  </a:cubicBezTo>
                  <a:cubicBezTo>
                    <a:pt x="343" y="233"/>
                    <a:pt x="345" y="238"/>
                    <a:pt x="351" y="238"/>
                  </a:cubicBezTo>
                  <a:cubicBezTo>
                    <a:pt x="357" y="238"/>
                    <a:pt x="366" y="233"/>
                    <a:pt x="370" y="228"/>
                  </a:cubicBezTo>
                  <a:cubicBezTo>
                    <a:pt x="375" y="222"/>
                    <a:pt x="374" y="217"/>
                    <a:pt x="367" y="217"/>
                  </a:cubicBezTo>
                  <a:cubicBezTo>
                    <a:pt x="367" y="217"/>
                    <a:pt x="367" y="217"/>
                    <a:pt x="367" y="217"/>
                  </a:cubicBezTo>
                  <a:moveTo>
                    <a:pt x="3918" y="217"/>
                  </a:moveTo>
                  <a:cubicBezTo>
                    <a:pt x="3912" y="218"/>
                    <a:pt x="3909" y="222"/>
                    <a:pt x="3912" y="228"/>
                  </a:cubicBezTo>
                  <a:cubicBezTo>
                    <a:pt x="3915" y="234"/>
                    <a:pt x="3922" y="238"/>
                    <a:pt x="3929" y="238"/>
                  </a:cubicBezTo>
                  <a:cubicBezTo>
                    <a:pt x="3935" y="238"/>
                    <a:pt x="3938" y="233"/>
                    <a:pt x="3934" y="228"/>
                  </a:cubicBezTo>
                  <a:cubicBezTo>
                    <a:pt x="3931" y="222"/>
                    <a:pt x="3924" y="217"/>
                    <a:pt x="3918" y="217"/>
                  </a:cubicBezTo>
                  <a:cubicBezTo>
                    <a:pt x="3918" y="217"/>
                    <a:pt x="3918" y="217"/>
                    <a:pt x="3918" y="217"/>
                  </a:cubicBezTo>
                  <a:moveTo>
                    <a:pt x="3950" y="217"/>
                  </a:moveTo>
                  <a:cubicBezTo>
                    <a:pt x="3944" y="217"/>
                    <a:pt x="3941" y="222"/>
                    <a:pt x="3944" y="228"/>
                  </a:cubicBezTo>
                  <a:cubicBezTo>
                    <a:pt x="3947" y="233"/>
                    <a:pt x="3955" y="238"/>
                    <a:pt x="3961" y="238"/>
                  </a:cubicBezTo>
                  <a:cubicBezTo>
                    <a:pt x="3967" y="238"/>
                    <a:pt x="3970" y="233"/>
                    <a:pt x="3967" y="227"/>
                  </a:cubicBezTo>
                  <a:cubicBezTo>
                    <a:pt x="3964" y="222"/>
                    <a:pt x="3956" y="217"/>
                    <a:pt x="3950" y="217"/>
                  </a:cubicBezTo>
                  <a:cubicBezTo>
                    <a:pt x="3950" y="217"/>
                    <a:pt x="3950" y="217"/>
                    <a:pt x="3950" y="217"/>
                  </a:cubicBezTo>
                  <a:moveTo>
                    <a:pt x="401" y="217"/>
                  </a:moveTo>
                  <a:cubicBezTo>
                    <a:pt x="395" y="217"/>
                    <a:pt x="386" y="222"/>
                    <a:pt x="381" y="227"/>
                  </a:cubicBezTo>
                  <a:cubicBezTo>
                    <a:pt x="377" y="233"/>
                    <a:pt x="378" y="237"/>
                    <a:pt x="384" y="237"/>
                  </a:cubicBezTo>
                  <a:cubicBezTo>
                    <a:pt x="391" y="237"/>
                    <a:pt x="399" y="233"/>
                    <a:pt x="404" y="227"/>
                  </a:cubicBezTo>
                  <a:cubicBezTo>
                    <a:pt x="408" y="222"/>
                    <a:pt x="407" y="217"/>
                    <a:pt x="401" y="217"/>
                  </a:cubicBezTo>
                  <a:cubicBezTo>
                    <a:pt x="401" y="217"/>
                    <a:pt x="401" y="217"/>
                    <a:pt x="401" y="217"/>
                  </a:cubicBezTo>
                  <a:moveTo>
                    <a:pt x="3982" y="217"/>
                  </a:moveTo>
                  <a:cubicBezTo>
                    <a:pt x="3976" y="217"/>
                    <a:pt x="3973" y="222"/>
                    <a:pt x="3977" y="227"/>
                  </a:cubicBezTo>
                  <a:cubicBezTo>
                    <a:pt x="3980" y="233"/>
                    <a:pt x="3987" y="238"/>
                    <a:pt x="3994" y="238"/>
                  </a:cubicBezTo>
                  <a:cubicBezTo>
                    <a:pt x="4000" y="237"/>
                    <a:pt x="4002" y="233"/>
                    <a:pt x="3999" y="227"/>
                  </a:cubicBezTo>
                  <a:cubicBezTo>
                    <a:pt x="3996" y="221"/>
                    <a:pt x="3988" y="217"/>
                    <a:pt x="3982" y="217"/>
                  </a:cubicBezTo>
                  <a:cubicBezTo>
                    <a:pt x="3982" y="217"/>
                    <a:pt x="3982" y="217"/>
                    <a:pt x="3982" y="217"/>
                  </a:cubicBezTo>
                  <a:moveTo>
                    <a:pt x="432" y="217"/>
                  </a:moveTo>
                  <a:cubicBezTo>
                    <a:pt x="426" y="217"/>
                    <a:pt x="418" y="222"/>
                    <a:pt x="413" y="227"/>
                  </a:cubicBezTo>
                  <a:cubicBezTo>
                    <a:pt x="409" y="233"/>
                    <a:pt x="410" y="237"/>
                    <a:pt x="416" y="237"/>
                  </a:cubicBezTo>
                  <a:cubicBezTo>
                    <a:pt x="423" y="237"/>
                    <a:pt x="431" y="233"/>
                    <a:pt x="436" y="227"/>
                  </a:cubicBezTo>
                  <a:cubicBezTo>
                    <a:pt x="440" y="221"/>
                    <a:pt x="439" y="217"/>
                    <a:pt x="433" y="217"/>
                  </a:cubicBezTo>
                  <a:cubicBezTo>
                    <a:pt x="433" y="217"/>
                    <a:pt x="433" y="217"/>
                    <a:pt x="432" y="217"/>
                  </a:cubicBezTo>
                  <a:moveTo>
                    <a:pt x="4014" y="217"/>
                  </a:moveTo>
                  <a:cubicBezTo>
                    <a:pt x="4008" y="217"/>
                    <a:pt x="4005" y="221"/>
                    <a:pt x="4009" y="227"/>
                  </a:cubicBezTo>
                  <a:cubicBezTo>
                    <a:pt x="4012" y="233"/>
                    <a:pt x="4019" y="237"/>
                    <a:pt x="4026" y="237"/>
                  </a:cubicBezTo>
                  <a:cubicBezTo>
                    <a:pt x="4032" y="237"/>
                    <a:pt x="4034" y="233"/>
                    <a:pt x="4031" y="227"/>
                  </a:cubicBezTo>
                  <a:cubicBezTo>
                    <a:pt x="4028" y="221"/>
                    <a:pt x="4020" y="217"/>
                    <a:pt x="4014" y="217"/>
                  </a:cubicBezTo>
                  <a:cubicBezTo>
                    <a:pt x="4014" y="217"/>
                    <a:pt x="4014" y="217"/>
                    <a:pt x="4014" y="217"/>
                  </a:cubicBezTo>
                  <a:moveTo>
                    <a:pt x="464" y="217"/>
                  </a:moveTo>
                  <a:cubicBezTo>
                    <a:pt x="458" y="217"/>
                    <a:pt x="450" y="221"/>
                    <a:pt x="445" y="227"/>
                  </a:cubicBezTo>
                  <a:cubicBezTo>
                    <a:pt x="441" y="232"/>
                    <a:pt x="442" y="237"/>
                    <a:pt x="449" y="237"/>
                  </a:cubicBezTo>
                  <a:cubicBezTo>
                    <a:pt x="455" y="237"/>
                    <a:pt x="463" y="232"/>
                    <a:pt x="468" y="227"/>
                  </a:cubicBezTo>
                  <a:cubicBezTo>
                    <a:pt x="472" y="221"/>
                    <a:pt x="471" y="217"/>
                    <a:pt x="465" y="217"/>
                  </a:cubicBezTo>
                  <a:cubicBezTo>
                    <a:pt x="465" y="217"/>
                    <a:pt x="464" y="217"/>
                    <a:pt x="464" y="217"/>
                  </a:cubicBezTo>
                  <a:moveTo>
                    <a:pt x="4046" y="216"/>
                  </a:moveTo>
                  <a:cubicBezTo>
                    <a:pt x="4040" y="216"/>
                    <a:pt x="4037" y="221"/>
                    <a:pt x="4041" y="227"/>
                  </a:cubicBezTo>
                  <a:cubicBezTo>
                    <a:pt x="4044" y="232"/>
                    <a:pt x="4052" y="237"/>
                    <a:pt x="4058" y="237"/>
                  </a:cubicBezTo>
                  <a:cubicBezTo>
                    <a:pt x="4064" y="237"/>
                    <a:pt x="4066" y="232"/>
                    <a:pt x="4063" y="227"/>
                  </a:cubicBezTo>
                  <a:cubicBezTo>
                    <a:pt x="4060" y="221"/>
                    <a:pt x="4052" y="216"/>
                    <a:pt x="4046" y="216"/>
                  </a:cubicBezTo>
                  <a:cubicBezTo>
                    <a:pt x="4046" y="216"/>
                    <a:pt x="4046" y="216"/>
                    <a:pt x="4046" y="216"/>
                  </a:cubicBezTo>
                  <a:moveTo>
                    <a:pt x="498" y="216"/>
                  </a:moveTo>
                  <a:cubicBezTo>
                    <a:pt x="491" y="216"/>
                    <a:pt x="483" y="221"/>
                    <a:pt x="479" y="227"/>
                  </a:cubicBezTo>
                  <a:cubicBezTo>
                    <a:pt x="474" y="232"/>
                    <a:pt x="476" y="237"/>
                    <a:pt x="482" y="237"/>
                  </a:cubicBezTo>
                  <a:cubicBezTo>
                    <a:pt x="488" y="237"/>
                    <a:pt x="497" y="232"/>
                    <a:pt x="501" y="226"/>
                  </a:cubicBezTo>
                  <a:cubicBezTo>
                    <a:pt x="505" y="221"/>
                    <a:pt x="504" y="216"/>
                    <a:pt x="498" y="216"/>
                  </a:cubicBezTo>
                  <a:cubicBezTo>
                    <a:pt x="498" y="216"/>
                    <a:pt x="498" y="216"/>
                    <a:pt x="498" y="216"/>
                  </a:cubicBezTo>
                  <a:moveTo>
                    <a:pt x="4078" y="216"/>
                  </a:moveTo>
                  <a:cubicBezTo>
                    <a:pt x="4072" y="216"/>
                    <a:pt x="4069" y="221"/>
                    <a:pt x="4073" y="226"/>
                  </a:cubicBezTo>
                  <a:cubicBezTo>
                    <a:pt x="4076" y="232"/>
                    <a:pt x="4084" y="237"/>
                    <a:pt x="4090" y="237"/>
                  </a:cubicBezTo>
                  <a:cubicBezTo>
                    <a:pt x="4096" y="237"/>
                    <a:pt x="4098" y="232"/>
                    <a:pt x="4095" y="226"/>
                  </a:cubicBezTo>
                  <a:cubicBezTo>
                    <a:pt x="4092" y="221"/>
                    <a:pt x="4084" y="216"/>
                    <a:pt x="4078" y="216"/>
                  </a:cubicBezTo>
                  <a:cubicBezTo>
                    <a:pt x="4078" y="216"/>
                    <a:pt x="4078" y="216"/>
                    <a:pt x="4078" y="216"/>
                  </a:cubicBezTo>
                  <a:moveTo>
                    <a:pt x="529" y="216"/>
                  </a:moveTo>
                  <a:cubicBezTo>
                    <a:pt x="523" y="216"/>
                    <a:pt x="515" y="221"/>
                    <a:pt x="511" y="226"/>
                  </a:cubicBezTo>
                  <a:cubicBezTo>
                    <a:pt x="506" y="232"/>
                    <a:pt x="508" y="236"/>
                    <a:pt x="514" y="236"/>
                  </a:cubicBezTo>
                  <a:cubicBezTo>
                    <a:pt x="520" y="236"/>
                    <a:pt x="529" y="232"/>
                    <a:pt x="533" y="226"/>
                  </a:cubicBezTo>
                  <a:cubicBezTo>
                    <a:pt x="537" y="221"/>
                    <a:pt x="536" y="216"/>
                    <a:pt x="530" y="216"/>
                  </a:cubicBezTo>
                  <a:cubicBezTo>
                    <a:pt x="529" y="216"/>
                    <a:pt x="529" y="216"/>
                    <a:pt x="529" y="216"/>
                  </a:cubicBezTo>
                  <a:moveTo>
                    <a:pt x="4109" y="216"/>
                  </a:moveTo>
                  <a:cubicBezTo>
                    <a:pt x="4103" y="216"/>
                    <a:pt x="4100" y="221"/>
                    <a:pt x="4104" y="226"/>
                  </a:cubicBezTo>
                  <a:cubicBezTo>
                    <a:pt x="4107" y="232"/>
                    <a:pt x="4115" y="236"/>
                    <a:pt x="4121" y="236"/>
                  </a:cubicBezTo>
                  <a:cubicBezTo>
                    <a:pt x="4128" y="236"/>
                    <a:pt x="4130" y="232"/>
                    <a:pt x="4126" y="226"/>
                  </a:cubicBezTo>
                  <a:cubicBezTo>
                    <a:pt x="4123" y="220"/>
                    <a:pt x="4115" y="216"/>
                    <a:pt x="4109" y="216"/>
                  </a:cubicBezTo>
                  <a:cubicBezTo>
                    <a:pt x="4109" y="216"/>
                    <a:pt x="4109" y="216"/>
                    <a:pt x="4109" y="216"/>
                  </a:cubicBezTo>
                  <a:moveTo>
                    <a:pt x="561" y="216"/>
                  </a:moveTo>
                  <a:cubicBezTo>
                    <a:pt x="555" y="216"/>
                    <a:pt x="547" y="220"/>
                    <a:pt x="543" y="226"/>
                  </a:cubicBezTo>
                  <a:cubicBezTo>
                    <a:pt x="538" y="232"/>
                    <a:pt x="540" y="236"/>
                    <a:pt x="546" y="236"/>
                  </a:cubicBezTo>
                  <a:cubicBezTo>
                    <a:pt x="553" y="236"/>
                    <a:pt x="561" y="231"/>
                    <a:pt x="565" y="226"/>
                  </a:cubicBezTo>
                  <a:cubicBezTo>
                    <a:pt x="569" y="220"/>
                    <a:pt x="568" y="216"/>
                    <a:pt x="561" y="216"/>
                  </a:cubicBezTo>
                  <a:cubicBezTo>
                    <a:pt x="561" y="216"/>
                    <a:pt x="561" y="216"/>
                    <a:pt x="561" y="216"/>
                  </a:cubicBezTo>
                  <a:moveTo>
                    <a:pt x="4141" y="216"/>
                  </a:moveTo>
                  <a:cubicBezTo>
                    <a:pt x="4135" y="216"/>
                    <a:pt x="4133" y="220"/>
                    <a:pt x="4136" y="226"/>
                  </a:cubicBezTo>
                  <a:cubicBezTo>
                    <a:pt x="4140" y="232"/>
                    <a:pt x="4148" y="236"/>
                    <a:pt x="4154" y="236"/>
                  </a:cubicBezTo>
                  <a:cubicBezTo>
                    <a:pt x="4160" y="236"/>
                    <a:pt x="4162" y="231"/>
                    <a:pt x="4159" y="226"/>
                  </a:cubicBezTo>
                  <a:cubicBezTo>
                    <a:pt x="4155" y="220"/>
                    <a:pt x="4147" y="216"/>
                    <a:pt x="4141" y="216"/>
                  </a:cubicBezTo>
                  <a:cubicBezTo>
                    <a:pt x="4141" y="216"/>
                    <a:pt x="4141" y="216"/>
                    <a:pt x="4141" y="216"/>
                  </a:cubicBezTo>
                  <a:moveTo>
                    <a:pt x="593" y="216"/>
                  </a:moveTo>
                  <a:cubicBezTo>
                    <a:pt x="587" y="216"/>
                    <a:pt x="579" y="220"/>
                    <a:pt x="575" y="226"/>
                  </a:cubicBezTo>
                  <a:cubicBezTo>
                    <a:pt x="570" y="231"/>
                    <a:pt x="572" y="236"/>
                    <a:pt x="578" y="236"/>
                  </a:cubicBezTo>
                  <a:cubicBezTo>
                    <a:pt x="585" y="236"/>
                    <a:pt x="593" y="231"/>
                    <a:pt x="597" y="226"/>
                  </a:cubicBezTo>
                  <a:cubicBezTo>
                    <a:pt x="601" y="220"/>
                    <a:pt x="599" y="216"/>
                    <a:pt x="593" y="216"/>
                  </a:cubicBezTo>
                  <a:cubicBezTo>
                    <a:pt x="593" y="216"/>
                    <a:pt x="593" y="216"/>
                    <a:pt x="593" y="216"/>
                  </a:cubicBezTo>
                  <a:moveTo>
                    <a:pt x="4171" y="215"/>
                  </a:moveTo>
                  <a:cubicBezTo>
                    <a:pt x="4165" y="215"/>
                    <a:pt x="4163" y="220"/>
                    <a:pt x="4166" y="226"/>
                  </a:cubicBezTo>
                  <a:cubicBezTo>
                    <a:pt x="4170" y="231"/>
                    <a:pt x="4178" y="236"/>
                    <a:pt x="4184" y="236"/>
                  </a:cubicBezTo>
                  <a:cubicBezTo>
                    <a:pt x="4190" y="236"/>
                    <a:pt x="4192" y="231"/>
                    <a:pt x="4189" y="226"/>
                  </a:cubicBezTo>
                  <a:cubicBezTo>
                    <a:pt x="4185" y="220"/>
                    <a:pt x="4177" y="215"/>
                    <a:pt x="4171" y="215"/>
                  </a:cubicBezTo>
                  <a:cubicBezTo>
                    <a:pt x="4171" y="215"/>
                    <a:pt x="4171" y="215"/>
                    <a:pt x="4171" y="215"/>
                  </a:cubicBezTo>
                  <a:moveTo>
                    <a:pt x="625" y="215"/>
                  </a:moveTo>
                  <a:cubicBezTo>
                    <a:pt x="619" y="215"/>
                    <a:pt x="611" y="220"/>
                    <a:pt x="607" y="225"/>
                  </a:cubicBezTo>
                  <a:cubicBezTo>
                    <a:pt x="603" y="231"/>
                    <a:pt x="604" y="236"/>
                    <a:pt x="611" y="235"/>
                  </a:cubicBezTo>
                  <a:cubicBezTo>
                    <a:pt x="617" y="235"/>
                    <a:pt x="625" y="231"/>
                    <a:pt x="629" y="225"/>
                  </a:cubicBezTo>
                  <a:cubicBezTo>
                    <a:pt x="633" y="220"/>
                    <a:pt x="631" y="215"/>
                    <a:pt x="625" y="215"/>
                  </a:cubicBezTo>
                  <a:cubicBezTo>
                    <a:pt x="625" y="215"/>
                    <a:pt x="625" y="215"/>
                    <a:pt x="625" y="215"/>
                  </a:cubicBezTo>
                  <a:moveTo>
                    <a:pt x="658" y="215"/>
                  </a:moveTo>
                  <a:cubicBezTo>
                    <a:pt x="652" y="215"/>
                    <a:pt x="644" y="220"/>
                    <a:pt x="640" y="225"/>
                  </a:cubicBezTo>
                  <a:cubicBezTo>
                    <a:pt x="636" y="231"/>
                    <a:pt x="638" y="235"/>
                    <a:pt x="644" y="235"/>
                  </a:cubicBezTo>
                  <a:cubicBezTo>
                    <a:pt x="650" y="235"/>
                    <a:pt x="658" y="231"/>
                    <a:pt x="662" y="225"/>
                  </a:cubicBezTo>
                  <a:cubicBezTo>
                    <a:pt x="666" y="219"/>
                    <a:pt x="664" y="215"/>
                    <a:pt x="658" y="215"/>
                  </a:cubicBezTo>
                  <a:cubicBezTo>
                    <a:pt x="658" y="215"/>
                    <a:pt x="658" y="215"/>
                    <a:pt x="658" y="215"/>
                  </a:cubicBezTo>
                  <a:moveTo>
                    <a:pt x="690" y="215"/>
                  </a:moveTo>
                  <a:cubicBezTo>
                    <a:pt x="684" y="215"/>
                    <a:pt x="676" y="219"/>
                    <a:pt x="672" y="225"/>
                  </a:cubicBezTo>
                  <a:cubicBezTo>
                    <a:pt x="668" y="230"/>
                    <a:pt x="670" y="235"/>
                    <a:pt x="676" y="235"/>
                  </a:cubicBezTo>
                  <a:cubicBezTo>
                    <a:pt x="682" y="235"/>
                    <a:pt x="690" y="230"/>
                    <a:pt x="694" y="225"/>
                  </a:cubicBezTo>
                  <a:cubicBezTo>
                    <a:pt x="698" y="219"/>
                    <a:pt x="696" y="215"/>
                    <a:pt x="690" y="215"/>
                  </a:cubicBezTo>
                  <a:cubicBezTo>
                    <a:pt x="690" y="215"/>
                    <a:pt x="690" y="215"/>
                    <a:pt x="690" y="215"/>
                  </a:cubicBezTo>
                  <a:moveTo>
                    <a:pt x="722" y="214"/>
                  </a:moveTo>
                  <a:cubicBezTo>
                    <a:pt x="716" y="214"/>
                    <a:pt x="708" y="219"/>
                    <a:pt x="704" y="225"/>
                  </a:cubicBezTo>
                  <a:cubicBezTo>
                    <a:pt x="700" y="230"/>
                    <a:pt x="702" y="235"/>
                    <a:pt x="708" y="235"/>
                  </a:cubicBezTo>
                  <a:cubicBezTo>
                    <a:pt x="714" y="235"/>
                    <a:pt x="722" y="230"/>
                    <a:pt x="726" y="224"/>
                  </a:cubicBezTo>
                  <a:cubicBezTo>
                    <a:pt x="730" y="219"/>
                    <a:pt x="728" y="214"/>
                    <a:pt x="722" y="214"/>
                  </a:cubicBezTo>
                  <a:cubicBezTo>
                    <a:pt x="722" y="214"/>
                    <a:pt x="722" y="214"/>
                    <a:pt x="722" y="214"/>
                  </a:cubicBezTo>
                  <a:moveTo>
                    <a:pt x="754" y="214"/>
                  </a:moveTo>
                  <a:cubicBezTo>
                    <a:pt x="748" y="214"/>
                    <a:pt x="740" y="219"/>
                    <a:pt x="736" y="224"/>
                  </a:cubicBezTo>
                  <a:cubicBezTo>
                    <a:pt x="732" y="230"/>
                    <a:pt x="734" y="234"/>
                    <a:pt x="741" y="234"/>
                  </a:cubicBezTo>
                  <a:cubicBezTo>
                    <a:pt x="747" y="234"/>
                    <a:pt x="755" y="230"/>
                    <a:pt x="759" y="224"/>
                  </a:cubicBezTo>
                  <a:cubicBezTo>
                    <a:pt x="762" y="219"/>
                    <a:pt x="760" y="214"/>
                    <a:pt x="754" y="214"/>
                  </a:cubicBezTo>
                  <a:cubicBezTo>
                    <a:pt x="754" y="214"/>
                    <a:pt x="754" y="214"/>
                    <a:pt x="754" y="214"/>
                  </a:cubicBezTo>
                  <a:moveTo>
                    <a:pt x="786" y="214"/>
                  </a:moveTo>
                  <a:cubicBezTo>
                    <a:pt x="780" y="214"/>
                    <a:pt x="772" y="218"/>
                    <a:pt x="768" y="224"/>
                  </a:cubicBezTo>
                  <a:cubicBezTo>
                    <a:pt x="764" y="230"/>
                    <a:pt x="766" y="234"/>
                    <a:pt x="773" y="234"/>
                  </a:cubicBezTo>
                  <a:cubicBezTo>
                    <a:pt x="779" y="234"/>
                    <a:pt x="787" y="229"/>
                    <a:pt x="791" y="224"/>
                  </a:cubicBezTo>
                  <a:cubicBezTo>
                    <a:pt x="794" y="218"/>
                    <a:pt x="792" y="214"/>
                    <a:pt x="786" y="214"/>
                  </a:cubicBezTo>
                  <a:cubicBezTo>
                    <a:pt x="786" y="214"/>
                    <a:pt x="786" y="214"/>
                    <a:pt x="786" y="214"/>
                  </a:cubicBezTo>
                  <a:moveTo>
                    <a:pt x="818" y="214"/>
                  </a:moveTo>
                  <a:cubicBezTo>
                    <a:pt x="812" y="214"/>
                    <a:pt x="804" y="218"/>
                    <a:pt x="800" y="224"/>
                  </a:cubicBezTo>
                  <a:cubicBezTo>
                    <a:pt x="797" y="229"/>
                    <a:pt x="799" y="234"/>
                    <a:pt x="805" y="234"/>
                  </a:cubicBezTo>
                  <a:cubicBezTo>
                    <a:pt x="811" y="234"/>
                    <a:pt x="819" y="229"/>
                    <a:pt x="823" y="224"/>
                  </a:cubicBezTo>
                  <a:cubicBezTo>
                    <a:pt x="826" y="218"/>
                    <a:pt x="824" y="214"/>
                    <a:pt x="818" y="214"/>
                  </a:cubicBezTo>
                  <a:cubicBezTo>
                    <a:pt x="818" y="214"/>
                    <a:pt x="818" y="214"/>
                    <a:pt x="818" y="214"/>
                  </a:cubicBezTo>
                  <a:moveTo>
                    <a:pt x="850" y="213"/>
                  </a:moveTo>
                  <a:cubicBezTo>
                    <a:pt x="844" y="213"/>
                    <a:pt x="836" y="218"/>
                    <a:pt x="832" y="223"/>
                  </a:cubicBezTo>
                  <a:cubicBezTo>
                    <a:pt x="829" y="229"/>
                    <a:pt x="831" y="234"/>
                    <a:pt x="837" y="234"/>
                  </a:cubicBezTo>
                  <a:cubicBezTo>
                    <a:pt x="843" y="233"/>
                    <a:pt x="851" y="229"/>
                    <a:pt x="855" y="223"/>
                  </a:cubicBezTo>
                  <a:cubicBezTo>
                    <a:pt x="858" y="218"/>
                    <a:pt x="856" y="213"/>
                    <a:pt x="850" y="213"/>
                  </a:cubicBezTo>
                  <a:cubicBezTo>
                    <a:pt x="850" y="213"/>
                    <a:pt x="850" y="213"/>
                    <a:pt x="850" y="213"/>
                  </a:cubicBezTo>
                  <a:moveTo>
                    <a:pt x="882" y="213"/>
                  </a:moveTo>
                  <a:cubicBezTo>
                    <a:pt x="876" y="213"/>
                    <a:pt x="868" y="218"/>
                    <a:pt x="864" y="223"/>
                  </a:cubicBezTo>
                  <a:cubicBezTo>
                    <a:pt x="861" y="229"/>
                    <a:pt x="863" y="233"/>
                    <a:pt x="869" y="233"/>
                  </a:cubicBezTo>
                  <a:cubicBezTo>
                    <a:pt x="875" y="233"/>
                    <a:pt x="883" y="229"/>
                    <a:pt x="887" y="223"/>
                  </a:cubicBezTo>
                  <a:cubicBezTo>
                    <a:pt x="890" y="217"/>
                    <a:pt x="888" y="213"/>
                    <a:pt x="882" y="213"/>
                  </a:cubicBezTo>
                  <a:cubicBezTo>
                    <a:pt x="882" y="213"/>
                    <a:pt x="882" y="213"/>
                    <a:pt x="882" y="213"/>
                  </a:cubicBezTo>
                  <a:moveTo>
                    <a:pt x="914" y="213"/>
                  </a:moveTo>
                  <a:cubicBezTo>
                    <a:pt x="908" y="213"/>
                    <a:pt x="900" y="217"/>
                    <a:pt x="897" y="223"/>
                  </a:cubicBezTo>
                  <a:cubicBezTo>
                    <a:pt x="893" y="229"/>
                    <a:pt x="895" y="233"/>
                    <a:pt x="902" y="233"/>
                  </a:cubicBezTo>
                  <a:cubicBezTo>
                    <a:pt x="908" y="233"/>
                    <a:pt x="916" y="228"/>
                    <a:pt x="919" y="223"/>
                  </a:cubicBezTo>
                  <a:cubicBezTo>
                    <a:pt x="922" y="217"/>
                    <a:pt x="920" y="213"/>
                    <a:pt x="914" y="213"/>
                  </a:cubicBezTo>
                  <a:cubicBezTo>
                    <a:pt x="914" y="213"/>
                    <a:pt x="914" y="213"/>
                    <a:pt x="914" y="213"/>
                  </a:cubicBezTo>
                  <a:moveTo>
                    <a:pt x="946" y="212"/>
                  </a:moveTo>
                  <a:cubicBezTo>
                    <a:pt x="940" y="212"/>
                    <a:pt x="932" y="217"/>
                    <a:pt x="929" y="223"/>
                  </a:cubicBezTo>
                  <a:cubicBezTo>
                    <a:pt x="925" y="228"/>
                    <a:pt x="927" y="233"/>
                    <a:pt x="934" y="233"/>
                  </a:cubicBezTo>
                  <a:cubicBezTo>
                    <a:pt x="940" y="233"/>
                    <a:pt x="948" y="228"/>
                    <a:pt x="951" y="222"/>
                  </a:cubicBezTo>
                  <a:cubicBezTo>
                    <a:pt x="954" y="217"/>
                    <a:pt x="952" y="212"/>
                    <a:pt x="946" y="212"/>
                  </a:cubicBezTo>
                  <a:cubicBezTo>
                    <a:pt x="946" y="212"/>
                    <a:pt x="946" y="212"/>
                    <a:pt x="946" y="212"/>
                  </a:cubicBezTo>
                  <a:moveTo>
                    <a:pt x="1294" y="212"/>
                  </a:moveTo>
                  <a:cubicBezTo>
                    <a:pt x="1288" y="212"/>
                    <a:pt x="1280" y="217"/>
                    <a:pt x="1278" y="223"/>
                  </a:cubicBezTo>
                  <a:cubicBezTo>
                    <a:pt x="1275" y="228"/>
                    <a:pt x="1278" y="233"/>
                    <a:pt x="1284" y="233"/>
                  </a:cubicBezTo>
                  <a:cubicBezTo>
                    <a:pt x="1291" y="233"/>
                    <a:pt x="1298" y="228"/>
                    <a:pt x="1300" y="222"/>
                  </a:cubicBezTo>
                  <a:cubicBezTo>
                    <a:pt x="1303" y="217"/>
                    <a:pt x="1300" y="212"/>
                    <a:pt x="1294" y="212"/>
                  </a:cubicBezTo>
                  <a:cubicBezTo>
                    <a:pt x="1294" y="212"/>
                    <a:pt x="1294" y="212"/>
                    <a:pt x="1294" y="212"/>
                  </a:cubicBezTo>
                  <a:moveTo>
                    <a:pt x="976" y="212"/>
                  </a:moveTo>
                  <a:cubicBezTo>
                    <a:pt x="970" y="212"/>
                    <a:pt x="962" y="217"/>
                    <a:pt x="959" y="222"/>
                  </a:cubicBezTo>
                  <a:cubicBezTo>
                    <a:pt x="956" y="228"/>
                    <a:pt x="958" y="232"/>
                    <a:pt x="964" y="232"/>
                  </a:cubicBezTo>
                  <a:cubicBezTo>
                    <a:pt x="970" y="232"/>
                    <a:pt x="978" y="228"/>
                    <a:pt x="981" y="222"/>
                  </a:cubicBezTo>
                  <a:cubicBezTo>
                    <a:pt x="985" y="217"/>
                    <a:pt x="982" y="212"/>
                    <a:pt x="976" y="212"/>
                  </a:cubicBezTo>
                  <a:cubicBezTo>
                    <a:pt x="976" y="212"/>
                    <a:pt x="976" y="212"/>
                    <a:pt x="976" y="212"/>
                  </a:cubicBezTo>
                  <a:moveTo>
                    <a:pt x="1326" y="212"/>
                  </a:moveTo>
                  <a:cubicBezTo>
                    <a:pt x="1320" y="212"/>
                    <a:pt x="1313" y="217"/>
                    <a:pt x="1310" y="222"/>
                  </a:cubicBezTo>
                  <a:cubicBezTo>
                    <a:pt x="1308" y="228"/>
                    <a:pt x="1311" y="232"/>
                    <a:pt x="1317" y="232"/>
                  </a:cubicBezTo>
                  <a:cubicBezTo>
                    <a:pt x="1323" y="232"/>
                    <a:pt x="1330" y="228"/>
                    <a:pt x="1333" y="222"/>
                  </a:cubicBezTo>
                  <a:cubicBezTo>
                    <a:pt x="1335" y="216"/>
                    <a:pt x="1332" y="212"/>
                    <a:pt x="1326" y="212"/>
                  </a:cubicBezTo>
                  <a:cubicBezTo>
                    <a:pt x="1326" y="212"/>
                    <a:pt x="1326" y="212"/>
                    <a:pt x="1326" y="212"/>
                  </a:cubicBezTo>
                  <a:moveTo>
                    <a:pt x="1008" y="212"/>
                  </a:moveTo>
                  <a:cubicBezTo>
                    <a:pt x="1002" y="212"/>
                    <a:pt x="995" y="216"/>
                    <a:pt x="991" y="222"/>
                  </a:cubicBezTo>
                  <a:cubicBezTo>
                    <a:pt x="988" y="228"/>
                    <a:pt x="990" y="232"/>
                    <a:pt x="997" y="232"/>
                  </a:cubicBezTo>
                  <a:cubicBezTo>
                    <a:pt x="1003" y="232"/>
                    <a:pt x="1011" y="228"/>
                    <a:pt x="1014" y="222"/>
                  </a:cubicBezTo>
                  <a:cubicBezTo>
                    <a:pt x="1017" y="216"/>
                    <a:pt x="1015" y="212"/>
                    <a:pt x="1008" y="212"/>
                  </a:cubicBezTo>
                  <a:cubicBezTo>
                    <a:pt x="1008" y="212"/>
                    <a:pt x="1008" y="212"/>
                    <a:pt x="1008" y="212"/>
                  </a:cubicBezTo>
                  <a:moveTo>
                    <a:pt x="1358" y="212"/>
                  </a:moveTo>
                  <a:cubicBezTo>
                    <a:pt x="1352" y="212"/>
                    <a:pt x="1345" y="216"/>
                    <a:pt x="1342" y="222"/>
                  </a:cubicBezTo>
                  <a:cubicBezTo>
                    <a:pt x="1340" y="228"/>
                    <a:pt x="1343" y="232"/>
                    <a:pt x="1349" y="232"/>
                  </a:cubicBezTo>
                  <a:cubicBezTo>
                    <a:pt x="1355" y="232"/>
                    <a:pt x="1362" y="227"/>
                    <a:pt x="1364" y="222"/>
                  </a:cubicBezTo>
                  <a:cubicBezTo>
                    <a:pt x="1367" y="216"/>
                    <a:pt x="1364" y="212"/>
                    <a:pt x="1358" y="212"/>
                  </a:cubicBezTo>
                  <a:cubicBezTo>
                    <a:pt x="1358" y="212"/>
                    <a:pt x="1358" y="212"/>
                    <a:pt x="1358" y="212"/>
                  </a:cubicBezTo>
                  <a:moveTo>
                    <a:pt x="1040" y="212"/>
                  </a:moveTo>
                  <a:cubicBezTo>
                    <a:pt x="1034" y="212"/>
                    <a:pt x="1026" y="216"/>
                    <a:pt x="1023" y="222"/>
                  </a:cubicBezTo>
                  <a:cubicBezTo>
                    <a:pt x="1020" y="227"/>
                    <a:pt x="1022" y="232"/>
                    <a:pt x="1029" y="232"/>
                  </a:cubicBezTo>
                  <a:cubicBezTo>
                    <a:pt x="1035" y="232"/>
                    <a:pt x="1042" y="227"/>
                    <a:pt x="1046" y="222"/>
                  </a:cubicBezTo>
                  <a:cubicBezTo>
                    <a:pt x="1049" y="216"/>
                    <a:pt x="1046" y="212"/>
                    <a:pt x="1040" y="212"/>
                  </a:cubicBezTo>
                  <a:cubicBezTo>
                    <a:pt x="1040" y="212"/>
                    <a:pt x="1040" y="212"/>
                    <a:pt x="1040" y="212"/>
                  </a:cubicBezTo>
                  <a:moveTo>
                    <a:pt x="1072" y="211"/>
                  </a:moveTo>
                  <a:cubicBezTo>
                    <a:pt x="1066" y="211"/>
                    <a:pt x="1058" y="216"/>
                    <a:pt x="1055" y="222"/>
                  </a:cubicBezTo>
                  <a:cubicBezTo>
                    <a:pt x="1052" y="227"/>
                    <a:pt x="1055" y="232"/>
                    <a:pt x="1061" y="232"/>
                  </a:cubicBezTo>
                  <a:cubicBezTo>
                    <a:pt x="1067" y="232"/>
                    <a:pt x="1075" y="227"/>
                    <a:pt x="1078" y="221"/>
                  </a:cubicBezTo>
                  <a:cubicBezTo>
                    <a:pt x="1081" y="216"/>
                    <a:pt x="1078" y="211"/>
                    <a:pt x="1072" y="211"/>
                  </a:cubicBezTo>
                  <a:cubicBezTo>
                    <a:pt x="1072" y="211"/>
                    <a:pt x="1072" y="211"/>
                    <a:pt x="1072" y="211"/>
                  </a:cubicBezTo>
                  <a:moveTo>
                    <a:pt x="1104" y="211"/>
                  </a:moveTo>
                  <a:cubicBezTo>
                    <a:pt x="1098" y="211"/>
                    <a:pt x="1090" y="216"/>
                    <a:pt x="1087" y="221"/>
                  </a:cubicBezTo>
                  <a:cubicBezTo>
                    <a:pt x="1084" y="227"/>
                    <a:pt x="1087" y="231"/>
                    <a:pt x="1093" y="231"/>
                  </a:cubicBezTo>
                  <a:cubicBezTo>
                    <a:pt x="1099" y="231"/>
                    <a:pt x="1106" y="227"/>
                    <a:pt x="1109" y="221"/>
                  </a:cubicBezTo>
                  <a:cubicBezTo>
                    <a:pt x="1112" y="215"/>
                    <a:pt x="1110" y="211"/>
                    <a:pt x="1104" y="211"/>
                  </a:cubicBezTo>
                  <a:cubicBezTo>
                    <a:pt x="1104" y="211"/>
                    <a:pt x="1104" y="211"/>
                    <a:pt x="1104" y="211"/>
                  </a:cubicBezTo>
                  <a:moveTo>
                    <a:pt x="1551" y="209"/>
                  </a:moveTo>
                  <a:cubicBezTo>
                    <a:pt x="1545" y="209"/>
                    <a:pt x="1538" y="214"/>
                    <a:pt x="1536" y="219"/>
                  </a:cubicBezTo>
                  <a:cubicBezTo>
                    <a:pt x="1534" y="225"/>
                    <a:pt x="1537" y="229"/>
                    <a:pt x="1543" y="229"/>
                  </a:cubicBezTo>
                  <a:cubicBezTo>
                    <a:pt x="1550" y="229"/>
                    <a:pt x="1556" y="225"/>
                    <a:pt x="1558" y="219"/>
                  </a:cubicBezTo>
                  <a:cubicBezTo>
                    <a:pt x="1560" y="213"/>
                    <a:pt x="1557" y="209"/>
                    <a:pt x="1551" y="209"/>
                  </a:cubicBezTo>
                  <a:cubicBezTo>
                    <a:pt x="1551" y="209"/>
                    <a:pt x="1551" y="209"/>
                    <a:pt x="1551" y="209"/>
                  </a:cubicBezTo>
                  <a:moveTo>
                    <a:pt x="1583" y="209"/>
                  </a:moveTo>
                  <a:cubicBezTo>
                    <a:pt x="1576" y="209"/>
                    <a:pt x="1570" y="213"/>
                    <a:pt x="1568" y="219"/>
                  </a:cubicBezTo>
                  <a:cubicBezTo>
                    <a:pt x="1566" y="224"/>
                    <a:pt x="1569" y="229"/>
                    <a:pt x="1575" y="229"/>
                  </a:cubicBezTo>
                  <a:cubicBezTo>
                    <a:pt x="1582" y="229"/>
                    <a:pt x="1588" y="224"/>
                    <a:pt x="1590" y="219"/>
                  </a:cubicBezTo>
                  <a:cubicBezTo>
                    <a:pt x="1592" y="213"/>
                    <a:pt x="1589" y="209"/>
                    <a:pt x="1583" y="209"/>
                  </a:cubicBezTo>
                  <a:cubicBezTo>
                    <a:pt x="1583" y="209"/>
                    <a:pt x="1583" y="209"/>
                    <a:pt x="1583" y="209"/>
                  </a:cubicBezTo>
                  <a:moveTo>
                    <a:pt x="1614" y="208"/>
                  </a:moveTo>
                  <a:cubicBezTo>
                    <a:pt x="1608" y="208"/>
                    <a:pt x="1602" y="213"/>
                    <a:pt x="1600" y="219"/>
                  </a:cubicBezTo>
                  <a:cubicBezTo>
                    <a:pt x="1598" y="224"/>
                    <a:pt x="1601" y="229"/>
                    <a:pt x="1608" y="229"/>
                  </a:cubicBezTo>
                  <a:cubicBezTo>
                    <a:pt x="1614" y="229"/>
                    <a:pt x="1620" y="224"/>
                    <a:pt x="1622" y="218"/>
                  </a:cubicBezTo>
                  <a:cubicBezTo>
                    <a:pt x="1624" y="213"/>
                    <a:pt x="1621" y="208"/>
                    <a:pt x="1615" y="208"/>
                  </a:cubicBezTo>
                  <a:cubicBezTo>
                    <a:pt x="1615" y="208"/>
                    <a:pt x="1615" y="208"/>
                    <a:pt x="1614" y="208"/>
                  </a:cubicBezTo>
                  <a:moveTo>
                    <a:pt x="1646" y="208"/>
                  </a:moveTo>
                  <a:cubicBezTo>
                    <a:pt x="1640" y="208"/>
                    <a:pt x="1634" y="213"/>
                    <a:pt x="1632" y="218"/>
                  </a:cubicBezTo>
                  <a:cubicBezTo>
                    <a:pt x="1630" y="224"/>
                    <a:pt x="1633" y="228"/>
                    <a:pt x="1639" y="228"/>
                  </a:cubicBezTo>
                  <a:cubicBezTo>
                    <a:pt x="1646" y="228"/>
                    <a:pt x="1652" y="224"/>
                    <a:pt x="1654" y="218"/>
                  </a:cubicBezTo>
                  <a:cubicBezTo>
                    <a:pt x="1656" y="213"/>
                    <a:pt x="1652" y="208"/>
                    <a:pt x="1646" y="208"/>
                  </a:cubicBezTo>
                  <a:cubicBezTo>
                    <a:pt x="1646" y="208"/>
                    <a:pt x="1646" y="208"/>
                    <a:pt x="1646" y="208"/>
                  </a:cubicBezTo>
                  <a:moveTo>
                    <a:pt x="1872" y="205"/>
                  </a:moveTo>
                  <a:cubicBezTo>
                    <a:pt x="1865" y="205"/>
                    <a:pt x="1859" y="210"/>
                    <a:pt x="1858" y="215"/>
                  </a:cubicBezTo>
                  <a:cubicBezTo>
                    <a:pt x="1857" y="221"/>
                    <a:pt x="1860" y="225"/>
                    <a:pt x="1867" y="225"/>
                  </a:cubicBezTo>
                  <a:cubicBezTo>
                    <a:pt x="1873" y="225"/>
                    <a:pt x="1879" y="221"/>
                    <a:pt x="1880" y="215"/>
                  </a:cubicBezTo>
                  <a:cubicBezTo>
                    <a:pt x="1882" y="210"/>
                    <a:pt x="1878" y="205"/>
                    <a:pt x="1872" y="205"/>
                  </a:cubicBezTo>
                  <a:cubicBezTo>
                    <a:pt x="1872" y="205"/>
                    <a:pt x="1872" y="205"/>
                    <a:pt x="1872" y="205"/>
                  </a:cubicBezTo>
                  <a:moveTo>
                    <a:pt x="1901" y="205"/>
                  </a:moveTo>
                  <a:cubicBezTo>
                    <a:pt x="1895" y="205"/>
                    <a:pt x="1889" y="209"/>
                    <a:pt x="1887" y="215"/>
                  </a:cubicBezTo>
                  <a:cubicBezTo>
                    <a:pt x="1886" y="221"/>
                    <a:pt x="1890" y="225"/>
                    <a:pt x="1896" y="225"/>
                  </a:cubicBezTo>
                  <a:cubicBezTo>
                    <a:pt x="1902" y="225"/>
                    <a:pt x="1908" y="220"/>
                    <a:pt x="1910" y="215"/>
                  </a:cubicBezTo>
                  <a:cubicBezTo>
                    <a:pt x="1911" y="209"/>
                    <a:pt x="1907" y="205"/>
                    <a:pt x="1901" y="205"/>
                  </a:cubicBezTo>
                  <a:cubicBezTo>
                    <a:pt x="1901" y="205"/>
                    <a:pt x="1901" y="205"/>
                    <a:pt x="1901" y="205"/>
                  </a:cubicBezTo>
                  <a:moveTo>
                    <a:pt x="1933" y="204"/>
                  </a:moveTo>
                  <a:cubicBezTo>
                    <a:pt x="1927" y="205"/>
                    <a:pt x="1921" y="209"/>
                    <a:pt x="1919" y="215"/>
                  </a:cubicBezTo>
                  <a:cubicBezTo>
                    <a:pt x="1918" y="220"/>
                    <a:pt x="1922" y="225"/>
                    <a:pt x="1928" y="225"/>
                  </a:cubicBezTo>
                  <a:cubicBezTo>
                    <a:pt x="1935" y="225"/>
                    <a:pt x="1941" y="220"/>
                    <a:pt x="1942" y="215"/>
                  </a:cubicBezTo>
                  <a:cubicBezTo>
                    <a:pt x="1943" y="209"/>
                    <a:pt x="1939" y="204"/>
                    <a:pt x="1933" y="204"/>
                  </a:cubicBezTo>
                  <a:cubicBezTo>
                    <a:pt x="1933" y="204"/>
                    <a:pt x="1933" y="204"/>
                    <a:pt x="1933" y="204"/>
                  </a:cubicBezTo>
                  <a:moveTo>
                    <a:pt x="2252" y="201"/>
                  </a:moveTo>
                  <a:cubicBezTo>
                    <a:pt x="2246" y="201"/>
                    <a:pt x="2240" y="206"/>
                    <a:pt x="2240" y="211"/>
                  </a:cubicBezTo>
                  <a:cubicBezTo>
                    <a:pt x="2239" y="217"/>
                    <a:pt x="2244" y="221"/>
                    <a:pt x="2250" y="221"/>
                  </a:cubicBezTo>
                  <a:cubicBezTo>
                    <a:pt x="2256" y="221"/>
                    <a:pt x="2261" y="217"/>
                    <a:pt x="2262" y="211"/>
                  </a:cubicBezTo>
                  <a:cubicBezTo>
                    <a:pt x="2262" y="205"/>
                    <a:pt x="2258" y="201"/>
                    <a:pt x="2252" y="201"/>
                  </a:cubicBezTo>
                  <a:cubicBezTo>
                    <a:pt x="2252" y="201"/>
                    <a:pt x="2252" y="201"/>
                    <a:pt x="2252" y="201"/>
                  </a:cubicBezTo>
                  <a:moveTo>
                    <a:pt x="2283" y="201"/>
                  </a:moveTo>
                  <a:cubicBezTo>
                    <a:pt x="2277" y="201"/>
                    <a:pt x="2272" y="205"/>
                    <a:pt x="2271" y="211"/>
                  </a:cubicBezTo>
                  <a:cubicBezTo>
                    <a:pt x="2271" y="217"/>
                    <a:pt x="2275" y="221"/>
                    <a:pt x="2282" y="221"/>
                  </a:cubicBezTo>
                  <a:cubicBezTo>
                    <a:pt x="2288" y="221"/>
                    <a:pt x="2293" y="216"/>
                    <a:pt x="2294" y="211"/>
                  </a:cubicBezTo>
                  <a:cubicBezTo>
                    <a:pt x="2294" y="205"/>
                    <a:pt x="2290" y="201"/>
                    <a:pt x="2284" y="201"/>
                  </a:cubicBezTo>
                  <a:cubicBezTo>
                    <a:pt x="2283" y="201"/>
                    <a:pt x="2283" y="201"/>
                    <a:pt x="2283" y="201"/>
                  </a:cubicBezTo>
                  <a:moveTo>
                    <a:pt x="2315" y="200"/>
                  </a:moveTo>
                  <a:cubicBezTo>
                    <a:pt x="2309" y="200"/>
                    <a:pt x="2303" y="205"/>
                    <a:pt x="2303" y="211"/>
                  </a:cubicBezTo>
                  <a:cubicBezTo>
                    <a:pt x="2303" y="216"/>
                    <a:pt x="2307" y="221"/>
                    <a:pt x="2313" y="221"/>
                  </a:cubicBezTo>
                  <a:cubicBezTo>
                    <a:pt x="2320" y="221"/>
                    <a:pt x="2325" y="216"/>
                    <a:pt x="2325" y="210"/>
                  </a:cubicBezTo>
                  <a:cubicBezTo>
                    <a:pt x="2326" y="205"/>
                    <a:pt x="2321" y="200"/>
                    <a:pt x="2315" y="200"/>
                  </a:cubicBezTo>
                  <a:cubicBezTo>
                    <a:pt x="2315" y="200"/>
                    <a:pt x="2315" y="200"/>
                    <a:pt x="2315" y="200"/>
                  </a:cubicBezTo>
                  <a:moveTo>
                    <a:pt x="2347" y="200"/>
                  </a:moveTo>
                  <a:cubicBezTo>
                    <a:pt x="2340" y="200"/>
                    <a:pt x="2335" y="205"/>
                    <a:pt x="2335" y="210"/>
                  </a:cubicBezTo>
                  <a:cubicBezTo>
                    <a:pt x="2334" y="216"/>
                    <a:pt x="2339" y="221"/>
                    <a:pt x="2345" y="220"/>
                  </a:cubicBezTo>
                  <a:cubicBezTo>
                    <a:pt x="2352" y="220"/>
                    <a:pt x="2357" y="216"/>
                    <a:pt x="2357" y="210"/>
                  </a:cubicBezTo>
                  <a:cubicBezTo>
                    <a:pt x="2357" y="205"/>
                    <a:pt x="2353" y="200"/>
                    <a:pt x="2347" y="200"/>
                  </a:cubicBezTo>
                  <a:cubicBezTo>
                    <a:pt x="2347" y="200"/>
                    <a:pt x="2347" y="200"/>
                    <a:pt x="2347" y="200"/>
                  </a:cubicBezTo>
                  <a:moveTo>
                    <a:pt x="2379" y="200"/>
                  </a:moveTo>
                  <a:cubicBezTo>
                    <a:pt x="2373" y="200"/>
                    <a:pt x="2368" y="204"/>
                    <a:pt x="2367" y="210"/>
                  </a:cubicBezTo>
                  <a:cubicBezTo>
                    <a:pt x="2367" y="216"/>
                    <a:pt x="2372" y="220"/>
                    <a:pt x="2378" y="220"/>
                  </a:cubicBezTo>
                  <a:cubicBezTo>
                    <a:pt x="2384" y="220"/>
                    <a:pt x="2389" y="216"/>
                    <a:pt x="2390" y="210"/>
                  </a:cubicBezTo>
                  <a:cubicBezTo>
                    <a:pt x="2390" y="204"/>
                    <a:pt x="2385" y="200"/>
                    <a:pt x="2379" y="200"/>
                  </a:cubicBezTo>
                  <a:cubicBezTo>
                    <a:pt x="2379" y="200"/>
                    <a:pt x="2379" y="200"/>
                    <a:pt x="2379" y="200"/>
                  </a:cubicBezTo>
                  <a:moveTo>
                    <a:pt x="2411" y="199"/>
                  </a:moveTo>
                  <a:cubicBezTo>
                    <a:pt x="2404" y="200"/>
                    <a:pt x="2399" y="204"/>
                    <a:pt x="2399" y="210"/>
                  </a:cubicBezTo>
                  <a:cubicBezTo>
                    <a:pt x="2399" y="215"/>
                    <a:pt x="2404" y="220"/>
                    <a:pt x="2410" y="220"/>
                  </a:cubicBezTo>
                  <a:cubicBezTo>
                    <a:pt x="2416" y="220"/>
                    <a:pt x="2421" y="215"/>
                    <a:pt x="2421" y="210"/>
                  </a:cubicBezTo>
                  <a:cubicBezTo>
                    <a:pt x="2422" y="204"/>
                    <a:pt x="2417" y="199"/>
                    <a:pt x="2411" y="199"/>
                  </a:cubicBezTo>
                  <a:cubicBezTo>
                    <a:pt x="2411" y="199"/>
                    <a:pt x="2411" y="199"/>
                    <a:pt x="2411" y="199"/>
                  </a:cubicBezTo>
                  <a:moveTo>
                    <a:pt x="2442" y="199"/>
                  </a:moveTo>
                  <a:cubicBezTo>
                    <a:pt x="2436" y="199"/>
                    <a:pt x="2431" y="204"/>
                    <a:pt x="2431" y="210"/>
                  </a:cubicBezTo>
                  <a:cubicBezTo>
                    <a:pt x="2431" y="215"/>
                    <a:pt x="2435" y="220"/>
                    <a:pt x="2442" y="220"/>
                  </a:cubicBezTo>
                  <a:cubicBezTo>
                    <a:pt x="2448" y="220"/>
                    <a:pt x="2453" y="215"/>
                    <a:pt x="2453" y="209"/>
                  </a:cubicBezTo>
                  <a:cubicBezTo>
                    <a:pt x="2453" y="204"/>
                    <a:pt x="2448" y="199"/>
                    <a:pt x="2442" y="199"/>
                  </a:cubicBezTo>
                  <a:cubicBezTo>
                    <a:pt x="2442" y="199"/>
                    <a:pt x="2442" y="199"/>
                    <a:pt x="2442" y="199"/>
                  </a:cubicBezTo>
                  <a:moveTo>
                    <a:pt x="2474" y="199"/>
                  </a:moveTo>
                  <a:cubicBezTo>
                    <a:pt x="2467" y="199"/>
                    <a:pt x="2462" y="204"/>
                    <a:pt x="2462" y="209"/>
                  </a:cubicBezTo>
                  <a:cubicBezTo>
                    <a:pt x="2462" y="215"/>
                    <a:pt x="2467" y="219"/>
                    <a:pt x="2473" y="219"/>
                  </a:cubicBezTo>
                  <a:cubicBezTo>
                    <a:pt x="2479" y="219"/>
                    <a:pt x="2485" y="215"/>
                    <a:pt x="2485" y="209"/>
                  </a:cubicBezTo>
                  <a:cubicBezTo>
                    <a:pt x="2485" y="203"/>
                    <a:pt x="2480" y="199"/>
                    <a:pt x="2474" y="199"/>
                  </a:cubicBezTo>
                  <a:cubicBezTo>
                    <a:pt x="2474" y="199"/>
                    <a:pt x="2474" y="199"/>
                    <a:pt x="2474" y="199"/>
                  </a:cubicBezTo>
                  <a:moveTo>
                    <a:pt x="2505" y="199"/>
                  </a:moveTo>
                  <a:cubicBezTo>
                    <a:pt x="2499" y="199"/>
                    <a:pt x="2494" y="203"/>
                    <a:pt x="2494" y="209"/>
                  </a:cubicBezTo>
                  <a:cubicBezTo>
                    <a:pt x="2494" y="215"/>
                    <a:pt x="2499" y="219"/>
                    <a:pt x="2505" y="219"/>
                  </a:cubicBezTo>
                  <a:cubicBezTo>
                    <a:pt x="2511" y="219"/>
                    <a:pt x="2516" y="214"/>
                    <a:pt x="2516" y="209"/>
                  </a:cubicBezTo>
                  <a:cubicBezTo>
                    <a:pt x="2516" y="203"/>
                    <a:pt x="2511" y="199"/>
                    <a:pt x="2505" y="199"/>
                  </a:cubicBezTo>
                  <a:cubicBezTo>
                    <a:pt x="2505" y="199"/>
                    <a:pt x="2505" y="199"/>
                    <a:pt x="2505" y="199"/>
                  </a:cubicBezTo>
                  <a:moveTo>
                    <a:pt x="2570" y="198"/>
                  </a:moveTo>
                  <a:cubicBezTo>
                    <a:pt x="2564" y="198"/>
                    <a:pt x="2559" y="203"/>
                    <a:pt x="2559" y="208"/>
                  </a:cubicBezTo>
                  <a:cubicBezTo>
                    <a:pt x="2559" y="214"/>
                    <a:pt x="2564" y="219"/>
                    <a:pt x="2571" y="219"/>
                  </a:cubicBezTo>
                  <a:cubicBezTo>
                    <a:pt x="2577" y="218"/>
                    <a:pt x="2582" y="214"/>
                    <a:pt x="2582" y="208"/>
                  </a:cubicBezTo>
                  <a:cubicBezTo>
                    <a:pt x="2581" y="203"/>
                    <a:pt x="2576" y="198"/>
                    <a:pt x="2570" y="198"/>
                  </a:cubicBezTo>
                  <a:cubicBezTo>
                    <a:pt x="2570" y="198"/>
                    <a:pt x="2570" y="198"/>
                    <a:pt x="2570" y="198"/>
                  </a:cubicBezTo>
                  <a:moveTo>
                    <a:pt x="2602" y="198"/>
                  </a:moveTo>
                  <a:cubicBezTo>
                    <a:pt x="2596" y="198"/>
                    <a:pt x="2591" y="202"/>
                    <a:pt x="2591" y="208"/>
                  </a:cubicBezTo>
                  <a:cubicBezTo>
                    <a:pt x="2591" y="214"/>
                    <a:pt x="2596" y="218"/>
                    <a:pt x="2603" y="218"/>
                  </a:cubicBezTo>
                  <a:cubicBezTo>
                    <a:pt x="2609" y="218"/>
                    <a:pt x="2614" y="214"/>
                    <a:pt x="2613" y="208"/>
                  </a:cubicBezTo>
                  <a:cubicBezTo>
                    <a:pt x="2613" y="202"/>
                    <a:pt x="2608" y="198"/>
                    <a:pt x="2602" y="198"/>
                  </a:cubicBezTo>
                  <a:cubicBezTo>
                    <a:pt x="2602" y="198"/>
                    <a:pt x="2602" y="198"/>
                    <a:pt x="2602" y="198"/>
                  </a:cubicBezTo>
                  <a:moveTo>
                    <a:pt x="2633" y="198"/>
                  </a:moveTo>
                  <a:cubicBezTo>
                    <a:pt x="2627" y="198"/>
                    <a:pt x="2622" y="202"/>
                    <a:pt x="2623" y="208"/>
                  </a:cubicBezTo>
                  <a:cubicBezTo>
                    <a:pt x="2623" y="213"/>
                    <a:pt x="2628" y="218"/>
                    <a:pt x="2634" y="218"/>
                  </a:cubicBezTo>
                  <a:cubicBezTo>
                    <a:pt x="2641" y="218"/>
                    <a:pt x="2645" y="213"/>
                    <a:pt x="2645" y="208"/>
                  </a:cubicBezTo>
                  <a:cubicBezTo>
                    <a:pt x="2645" y="202"/>
                    <a:pt x="2640" y="198"/>
                    <a:pt x="2633" y="198"/>
                  </a:cubicBezTo>
                  <a:cubicBezTo>
                    <a:pt x="2633" y="198"/>
                    <a:pt x="2633" y="198"/>
                    <a:pt x="2633" y="198"/>
                  </a:cubicBezTo>
                  <a:moveTo>
                    <a:pt x="2665" y="197"/>
                  </a:moveTo>
                  <a:cubicBezTo>
                    <a:pt x="2659" y="197"/>
                    <a:pt x="2654" y="202"/>
                    <a:pt x="2654" y="208"/>
                  </a:cubicBezTo>
                  <a:cubicBezTo>
                    <a:pt x="2654" y="213"/>
                    <a:pt x="2660" y="218"/>
                    <a:pt x="2666" y="218"/>
                  </a:cubicBezTo>
                  <a:cubicBezTo>
                    <a:pt x="2672" y="218"/>
                    <a:pt x="2677" y="213"/>
                    <a:pt x="2676" y="207"/>
                  </a:cubicBezTo>
                  <a:cubicBezTo>
                    <a:pt x="2676" y="202"/>
                    <a:pt x="2671" y="197"/>
                    <a:pt x="2665" y="197"/>
                  </a:cubicBezTo>
                  <a:cubicBezTo>
                    <a:pt x="2665" y="197"/>
                    <a:pt x="2665" y="197"/>
                    <a:pt x="2665" y="197"/>
                  </a:cubicBezTo>
                  <a:moveTo>
                    <a:pt x="2696" y="197"/>
                  </a:moveTo>
                  <a:cubicBezTo>
                    <a:pt x="2690" y="197"/>
                    <a:pt x="2685" y="202"/>
                    <a:pt x="2686" y="207"/>
                  </a:cubicBezTo>
                  <a:cubicBezTo>
                    <a:pt x="2686" y="213"/>
                    <a:pt x="2692" y="217"/>
                    <a:pt x="2698" y="217"/>
                  </a:cubicBezTo>
                  <a:cubicBezTo>
                    <a:pt x="2704" y="217"/>
                    <a:pt x="2709" y="213"/>
                    <a:pt x="2708" y="207"/>
                  </a:cubicBezTo>
                  <a:cubicBezTo>
                    <a:pt x="2708" y="201"/>
                    <a:pt x="2702" y="197"/>
                    <a:pt x="2696" y="197"/>
                  </a:cubicBezTo>
                  <a:cubicBezTo>
                    <a:pt x="2696" y="197"/>
                    <a:pt x="2696" y="197"/>
                    <a:pt x="2696" y="197"/>
                  </a:cubicBezTo>
                  <a:moveTo>
                    <a:pt x="2728" y="197"/>
                  </a:moveTo>
                  <a:cubicBezTo>
                    <a:pt x="2722" y="197"/>
                    <a:pt x="2717" y="201"/>
                    <a:pt x="2718" y="207"/>
                  </a:cubicBezTo>
                  <a:cubicBezTo>
                    <a:pt x="2718" y="213"/>
                    <a:pt x="2724" y="217"/>
                    <a:pt x="2730" y="217"/>
                  </a:cubicBezTo>
                  <a:cubicBezTo>
                    <a:pt x="2736" y="217"/>
                    <a:pt x="2741" y="212"/>
                    <a:pt x="2740" y="207"/>
                  </a:cubicBezTo>
                  <a:cubicBezTo>
                    <a:pt x="2740" y="201"/>
                    <a:pt x="2734" y="197"/>
                    <a:pt x="2728" y="197"/>
                  </a:cubicBezTo>
                  <a:cubicBezTo>
                    <a:pt x="2728" y="197"/>
                    <a:pt x="2728" y="197"/>
                    <a:pt x="2728" y="197"/>
                  </a:cubicBezTo>
                  <a:moveTo>
                    <a:pt x="2760" y="196"/>
                  </a:moveTo>
                  <a:cubicBezTo>
                    <a:pt x="2754" y="196"/>
                    <a:pt x="2749" y="201"/>
                    <a:pt x="2750" y="207"/>
                  </a:cubicBezTo>
                  <a:cubicBezTo>
                    <a:pt x="2751" y="212"/>
                    <a:pt x="2756" y="217"/>
                    <a:pt x="2762" y="217"/>
                  </a:cubicBezTo>
                  <a:cubicBezTo>
                    <a:pt x="2768" y="217"/>
                    <a:pt x="2773" y="212"/>
                    <a:pt x="2772" y="207"/>
                  </a:cubicBezTo>
                  <a:cubicBezTo>
                    <a:pt x="2772" y="201"/>
                    <a:pt x="2766" y="196"/>
                    <a:pt x="2760" y="196"/>
                  </a:cubicBezTo>
                  <a:cubicBezTo>
                    <a:pt x="2760" y="196"/>
                    <a:pt x="2760" y="196"/>
                    <a:pt x="2760" y="196"/>
                  </a:cubicBezTo>
                  <a:moveTo>
                    <a:pt x="2792" y="196"/>
                  </a:moveTo>
                  <a:cubicBezTo>
                    <a:pt x="2786" y="196"/>
                    <a:pt x="2781" y="201"/>
                    <a:pt x="2782" y="206"/>
                  </a:cubicBezTo>
                  <a:cubicBezTo>
                    <a:pt x="2782" y="212"/>
                    <a:pt x="2788" y="217"/>
                    <a:pt x="2794" y="217"/>
                  </a:cubicBezTo>
                  <a:cubicBezTo>
                    <a:pt x="2800" y="217"/>
                    <a:pt x="2805" y="212"/>
                    <a:pt x="2804" y="206"/>
                  </a:cubicBezTo>
                  <a:cubicBezTo>
                    <a:pt x="2803" y="201"/>
                    <a:pt x="2798" y="196"/>
                    <a:pt x="2792" y="196"/>
                  </a:cubicBezTo>
                  <a:cubicBezTo>
                    <a:pt x="2792" y="196"/>
                    <a:pt x="2792" y="196"/>
                    <a:pt x="2792" y="196"/>
                  </a:cubicBezTo>
                  <a:moveTo>
                    <a:pt x="2823" y="196"/>
                  </a:moveTo>
                  <a:cubicBezTo>
                    <a:pt x="2817" y="196"/>
                    <a:pt x="2813" y="201"/>
                    <a:pt x="2814" y="206"/>
                  </a:cubicBezTo>
                  <a:cubicBezTo>
                    <a:pt x="2814" y="212"/>
                    <a:pt x="2820" y="216"/>
                    <a:pt x="2826" y="216"/>
                  </a:cubicBezTo>
                  <a:cubicBezTo>
                    <a:pt x="2832" y="216"/>
                    <a:pt x="2837" y="212"/>
                    <a:pt x="2836" y="206"/>
                  </a:cubicBezTo>
                  <a:cubicBezTo>
                    <a:pt x="2835" y="200"/>
                    <a:pt x="2830" y="196"/>
                    <a:pt x="2824" y="196"/>
                  </a:cubicBezTo>
                  <a:cubicBezTo>
                    <a:pt x="2824" y="196"/>
                    <a:pt x="2823" y="196"/>
                    <a:pt x="2823" y="196"/>
                  </a:cubicBezTo>
                  <a:moveTo>
                    <a:pt x="2855" y="196"/>
                  </a:moveTo>
                  <a:cubicBezTo>
                    <a:pt x="2849" y="196"/>
                    <a:pt x="2844" y="200"/>
                    <a:pt x="2845" y="206"/>
                  </a:cubicBezTo>
                  <a:cubicBezTo>
                    <a:pt x="2846" y="212"/>
                    <a:pt x="2852" y="216"/>
                    <a:pt x="2858" y="216"/>
                  </a:cubicBezTo>
                  <a:cubicBezTo>
                    <a:pt x="2864" y="216"/>
                    <a:pt x="2868" y="211"/>
                    <a:pt x="2867" y="206"/>
                  </a:cubicBezTo>
                  <a:cubicBezTo>
                    <a:pt x="2867" y="200"/>
                    <a:pt x="2861" y="196"/>
                    <a:pt x="2855" y="196"/>
                  </a:cubicBezTo>
                  <a:cubicBezTo>
                    <a:pt x="2855" y="196"/>
                    <a:pt x="2855" y="196"/>
                    <a:pt x="2855" y="196"/>
                  </a:cubicBezTo>
                  <a:moveTo>
                    <a:pt x="2887" y="195"/>
                  </a:moveTo>
                  <a:cubicBezTo>
                    <a:pt x="2881" y="195"/>
                    <a:pt x="2876" y="200"/>
                    <a:pt x="2877" y="206"/>
                  </a:cubicBezTo>
                  <a:cubicBezTo>
                    <a:pt x="2878" y="211"/>
                    <a:pt x="2884" y="216"/>
                    <a:pt x="2890" y="216"/>
                  </a:cubicBezTo>
                  <a:cubicBezTo>
                    <a:pt x="2896" y="216"/>
                    <a:pt x="2900" y="211"/>
                    <a:pt x="2899" y="205"/>
                  </a:cubicBezTo>
                  <a:cubicBezTo>
                    <a:pt x="2899" y="200"/>
                    <a:pt x="2893" y="195"/>
                    <a:pt x="2887" y="195"/>
                  </a:cubicBezTo>
                  <a:cubicBezTo>
                    <a:pt x="2887" y="195"/>
                    <a:pt x="2887" y="195"/>
                    <a:pt x="2887" y="195"/>
                  </a:cubicBezTo>
                  <a:moveTo>
                    <a:pt x="2918" y="195"/>
                  </a:moveTo>
                  <a:cubicBezTo>
                    <a:pt x="2912" y="195"/>
                    <a:pt x="2908" y="200"/>
                    <a:pt x="2909" y="206"/>
                  </a:cubicBezTo>
                  <a:cubicBezTo>
                    <a:pt x="2910" y="211"/>
                    <a:pt x="2915" y="216"/>
                    <a:pt x="2921" y="216"/>
                  </a:cubicBezTo>
                  <a:cubicBezTo>
                    <a:pt x="2928" y="216"/>
                    <a:pt x="2932" y="211"/>
                    <a:pt x="2931" y="205"/>
                  </a:cubicBezTo>
                  <a:cubicBezTo>
                    <a:pt x="2930" y="200"/>
                    <a:pt x="2924" y="195"/>
                    <a:pt x="2918" y="195"/>
                  </a:cubicBezTo>
                  <a:cubicBezTo>
                    <a:pt x="2918" y="195"/>
                    <a:pt x="2918" y="195"/>
                    <a:pt x="2918" y="195"/>
                  </a:cubicBezTo>
                  <a:moveTo>
                    <a:pt x="2948" y="195"/>
                  </a:moveTo>
                  <a:cubicBezTo>
                    <a:pt x="2942" y="195"/>
                    <a:pt x="2938" y="200"/>
                    <a:pt x="2939" y="205"/>
                  </a:cubicBezTo>
                  <a:cubicBezTo>
                    <a:pt x="2940" y="211"/>
                    <a:pt x="2946" y="215"/>
                    <a:pt x="2952" y="215"/>
                  </a:cubicBezTo>
                  <a:cubicBezTo>
                    <a:pt x="2958" y="215"/>
                    <a:pt x="2962" y="211"/>
                    <a:pt x="2961" y="205"/>
                  </a:cubicBezTo>
                  <a:cubicBezTo>
                    <a:pt x="2960" y="199"/>
                    <a:pt x="2955" y="195"/>
                    <a:pt x="2948" y="195"/>
                  </a:cubicBezTo>
                  <a:cubicBezTo>
                    <a:pt x="2948" y="195"/>
                    <a:pt x="2948" y="195"/>
                    <a:pt x="2948" y="195"/>
                  </a:cubicBezTo>
                  <a:moveTo>
                    <a:pt x="2980" y="195"/>
                  </a:moveTo>
                  <a:cubicBezTo>
                    <a:pt x="2974" y="195"/>
                    <a:pt x="2970" y="199"/>
                    <a:pt x="2971" y="205"/>
                  </a:cubicBezTo>
                  <a:cubicBezTo>
                    <a:pt x="2972" y="211"/>
                    <a:pt x="2977" y="215"/>
                    <a:pt x="2984" y="215"/>
                  </a:cubicBezTo>
                  <a:cubicBezTo>
                    <a:pt x="2990" y="215"/>
                    <a:pt x="2994" y="210"/>
                    <a:pt x="2993" y="205"/>
                  </a:cubicBezTo>
                  <a:cubicBezTo>
                    <a:pt x="2992" y="199"/>
                    <a:pt x="2986" y="195"/>
                    <a:pt x="2980" y="195"/>
                  </a:cubicBezTo>
                  <a:cubicBezTo>
                    <a:pt x="2980" y="195"/>
                    <a:pt x="2980" y="195"/>
                    <a:pt x="2980" y="195"/>
                  </a:cubicBezTo>
                  <a:moveTo>
                    <a:pt x="3012" y="194"/>
                  </a:moveTo>
                  <a:cubicBezTo>
                    <a:pt x="3006" y="194"/>
                    <a:pt x="3001" y="199"/>
                    <a:pt x="3003" y="205"/>
                  </a:cubicBezTo>
                  <a:cubicBezTo>
                    <a:pt x="3004" y="210"/>
                    <a:pt x="3010" y="215"/>
                    <a:pt x="3016" y="215"/>
                  </a:cubicBezTo>
                  <a:cubicBezTo>
                    <a:pt x="3022" y="215"/>
                    <a:pt x="3026" y="210"/>
                    <a:pt x="3025" y="205"/>
                  </a:cubicBezTo>
                  <a:cubicBezTo>
                    <a:pt x="3024" y="199"/>
                    <a:pt x="3018" y="194"/>
                    <a:pt x="3012" y="194"/>
                  </a:cubicBezTo>
                  <a:cubicBezTo>
                    <a:pt x="3012" y="194"/>
                    <a:pt x="3012" y="194"/>
                    <a:pt x="3012" y="194"/>
                  </a:cubicBezTo>
                  <a:moveTo>
                    <a:pt x="3044" y="194"/>
                  </a:moveTo>
                  <a:cubicBezTo>
                    <a:pt x="3038" y="194"/>
                    <a:pt x="3034" y="199"/>
                    <a:pt x="3035" y="204"/>
                  </a:cubicBezTo>
                  <a:cubicBezTo>
                    <a:pt x="3037" y="210"/>
                    <a:pt x="3043" y="215"/>
                    <a:pt x="3049" y="215"/>
                  </a:cubicBezTo>
                  <a:cubicBezTo>
                    <a:pt x="3055" y="215"/>
                    <a:pt x="3059" y="210"/>
                    <a:pt x="3058" y="204"/>
                  </a:cubicBezTo>
                  <a:cubicBezTo>
                    <a:pt x="3057" y="199"/>
                    <a:pt x="3051" y="194"/>
                    <a:pt x="3045" y="194"/>
                  </a:cubicBezTo>
                  <a:cubicBezTo>
                    <a:pt x="3045" y="194"/>
                    <a:pt x="3045" y="194"/>
                    <a:pt x="3044" y="194"/>
                  </a:cubicBezTo>
                  <a:moveTo>
                    <a:pt x="3076" y="194"/>
                  </a:moveTo>
                  <a:cubicBezTo>
                    <a:pt x="3070" y="194"/>
                    <a:pt x="3066" y="199"/>
                    <a:pt x="3067" y="204"/>
                  </a:cubicBezTo>
                  <a:cubicBezTo>
                    <a:pt x="3068" y="210"/>
                    <a:pt x="3074" y="214"/>
                    <a:pt x="3080" y="214"/>
                  </a:cubicBezTo>
                  <a:cubicBezTo>
                    <a:pt x="3087" y="214"/>
                    <a:pt x="3091" y="210"/>
                    <a:pt x="3089" y="204"/>
                  </a:cubicBezTo>
                  <a:cubicBezTo>
                    <a:pt x="3088" y="198"/>
                    <a:pt x="3082" y="194"/>
                    <a:pt x="3076" y="194"/>
                  </a:cubicBezTo>
                  <a:cubicBezTo>
                    <a:pt x="3076" y="194"/>
                    <a:pt x="3076" y="194"/>
                    <a:pt x="3076" y="194"/>
                  </a:cubicBezTo>
                  <a:moveTo>
                    <a:pt x="3108" y="194"/>
                  </a:moveTo>
                  <a:cubicBezTo>
                    <a:pt x="3102" y="194"/>
                    <a:pt x="3098" y="198"/>
                    <a:pt x="3099" y="204"/>
                  </a:cubicBezTo>
                  <a:cubicBezTo>
                    <a:pt x="3100" y="210"/>
                    <a:pt x="3106" y="214"/>
                    <a:pt x="3112" y="214"/>
                  </a:cubicBezTo>
                  <a:cubicBezTo>
                    <a:pt x="3119" y="214"/>
                    <a:pt x="3123" y="209"/>
                    <a:pt x="3121" y="204"/>
                  </a:cubicBezTo>
                  <a:cubicBezTo>
                    <a:pt x="3120" y="198"/>
                    <a:pt x="3114" y="194"/>
                    <a:pt x="3108" y="194"/>
                  </a:cubicBezTo>
                  <a:cubicBezTo>
                    <a:pt x="3108" y="194"/>
                    <a:pt x="3108" y="194"/>
                    <a:pt x="3108" y="194"/>
                  </a:cubicBezTo>
                  <a:moveTo>
                    <a:pt x="3140" y="193"/>
                  </a:moveTo>
                  <a:cubicBezTo>
                    <a:pt x="3134" y="193"/>
                    <a:pt x="3130" y="198"/>
                    <a:pt x="3131" y="204"/>
                  </a:cubicBezTo>
                  <a:cubicBezTo>
                    <a:pt x="3133" y="209"/>
                    <a:pt x="3139" y="214"/>
                    <a:pt x="3145" y="214"/>
                  </a:cubicBezTo>
                  <a:cubicBezTo>
                    <a:pt x="3151" y="214"/>
                    <a:pt x="3155" y="209"/>
                    <a:pt x="3153" y="203"/>
                  </a:cubicBezTo>
                  <a:cubicBezTo>
                    <a:pt x="3152" y="198"/>
                    <a:pt x="3146" y="193"/>
                    <a:pt x="3140" y="193"/>
                  </a:cubicBezTo>
                  <a:cubicBezTo>
                    <a:pt x="3140" y="193"/>
                    <a:pt x="3140" y="193"/>
                    <a:pt x="3140" y="193"/>
                  </a:cubicBezTo>
                  <a:moveTo>
                    <a:pt x="3171" y="193"/>
                  </a:moveTo>
                  <a:cubicBezTo>
                    <a:pt x="3165" y="193"/>
                    <a:pt x="3161" y="198"/>
                    <a:pt x="3163" y="203"/>
                  </a:cubicBezTo>
                  <a:cubicBezTo>
                    <a:pt x="3164" y="209"/>
                    <a:pt x="3170" y="214"/>
                    <a:pt x="3177" y="213"/>
                  </a:cubicBezTo>
                  <a:cubicBezTo>
                    <a:pt x="3183" y="213"/>
                    <a:pt x="3187" y="209"/>
                    <a:pt x="3185" y="203"/>
                  </a:cubicBezTo>
                  <a:cubicBezTo>
                    <a:pt x="3184" y="198"/>
                    <a:pt x="3178" y="193"/>
                    <a:pt x="3171" y="193"/>
                  </a:cubicBezTo>
                  <a:cubicBezTo>
                    <a:pt x="3171" y="193"/>
                    <a:pt x="3171" y="193"/>
                    <a:pt x="3171" y="193"/>
                  </a:cubicBezTo>
                  <a:moveTo>
                    <a:pt x="3203" y="193"/>
                  </a:moveTo>
                  <a:cubicBezTo>
                    <a:pt x="3197" y="193"/>
                    <a:pt x="3193" y="197"/>
                    <a:pt x="3195" y="203"/>
                  </a:cubicBezTo>
                  <a:cubicBezTo>
                    <a:pt x="3196" y="209"/>
                    <a:pt x="3202" y="213"/>
                    <a:pt x="3209" y="213"/>
                  </a:cubicBezTo>
                  <a:cubicBezTo>
                    <a:pt x="3215" y="213"/>
                    <a:pt x="3218" y="209"/>
                    <a:pt x="3217" y="203"/>
                  </a:cubicBezTo>
                  <a:cubicBezTo>
                    <a:pt x="3215" y="197"/>
                    <a:pt x="3209" y="193"/>
                    <a:pt x="3203" y="193"/>
                  </a:cubicBezTo>
                  <a:cubicBezTo>
                    <a:pt x="3203" y="193"/>
                    <a:pt x="3203" y="193"/>
                    <a:pt x="3203" y="193"/>
                  </a:cubicBezTo>
                  <a:moveTo>
                    <a:pt x="3235" y="192"/>
                  </a:moveTo>
                  <a:cubicBezTo>
                    <a:pt x="3228" y="192"/>
                    <a:pt x="3225" y="197"/>
                    <a:pt x="3226" y="203"/>
                  </a:cubicBezTo>
                  <a:cubicBezTo>
                    <a:pt x="3228" y="208"/>
                    <a:pt x="3234" y="213"/>
                    <a:pt x="3240" y="213"/>
                  </a:cubicBezTo>
                  <a:cubicBezTo>
                    <a:pt x="3246" y="213"/>
                    <a:pt x="3250" y="208"/>
                    <a:pt x="3249" y="203"/>
                  </a:cubicBezTo>
                  <a:cubicBezTo>
                    <a:pt x="3247" y="197"/>
                    <a:pt x="3241" y="192"/>
                    <a:pt x="3235" y="192"/>
                  </a:cubicBezTo>
                  <a:cubicBezTo>
                    <a:pt x="3235" y="192"/>
                    <a:pt x="3235" y="192"/>
                    <a:pt x="3235" y="192"/>
                  </a:cubicBezTo>
                  <a:moveTo>
                    <a:pt x="3266" y="192"/>
                  </a:moveTo>
                  <a:cubicBezTo>
                    <a:pt x="3260" y="192"/>
                    <a:pt x="3256" y="197"/>
                    <a:pt x="3258" y="202"/>
                  </a:cubicBezTo>
                  <a:cubicBezTo>
                    <a:pt x="3260" y="208"/>
                    <a:pt x="3266" y="213"/>
                    <a:pt x="3272" y="213"/>
                  </a:cubicBezTo>
                  <a:cubicBezTo>
                    <a:pt x="3278" y="213"/>
                    <a:pt x="3282" y="208"/>
                    <a:pt x="3280" y="202"/>
                  </a:cubicBezTo>
                  <a:cubicBezTo>
                    <a:pt x="3279" y="197"/>
                    <a:pt x="3272" y="192"/>
                    <a:pt x="3266" y="192"/>
                  </a:cubicBezTo>
                  <a:cubicBezTo>
                    <a:pt x="3266" y="192"/>
                    <a:pt x="3266" y="192"/>
                    <a:pt x="3266" y="192"/>
                  </a:cubicBezTo>
                  <a:moveTo>
                    <a:pt x="3298" y="192"/>
                  </a:moveTo>
                  <a:cubicBezTo>
                    <a:pt x="3291" y="192"/>
                    <a:pt x="3288" y="197"/>
                    <a:pt x="3290" y="202"/>
                  </a:cubicBezTo>
                  <a:cubicBezTo>
                    <a:pt x="3291" y="208"/>
                    <a:pt x="3298" y="212"/>
                    <a:pt x="3304" y="212"/>
                  </a:cubicBezTo>
                  <a:cubicBezTo>
                    <a:pt x="3310" y="212"/>
                    <a:pt x="3314" y="208"/>
                    <a:pt x="3312" y="202"/>
                  </a:cubicBezTo>
                  <a:cubicBezTo>
                    <a:pt x="3310" y="196"/>
                    <a:pt x="3304" y="192"/>
                    <a:pt x="3298" y="192"/>
                  </a:cubicBezTo>
                  <a:cubicBezTo>
                    <a:pt x="3298" y="192"/>
                    <a:pt x="3298" y="192"/>
                    <a:pt x="3298" y="192"/>
                  </a:cubicBezTo>
                  <a:moveTo>
                    <a:pt x="3329" y="192"/>
                  </a:moveTo>
                  <a:cubicBezTo>
                    <a:pt x="3323" y="192"/>
                    <a:pt x="3320" y="196"/>
                    <a:pt x="3321" y="202"/>
                  </a:cubicBezTo>
                  <a:cubicBezTo>
                    <a:pt x="3323" y="208"/>
                    <a:pt x="3330" y="212"/>
                    <a:pt x="3336" y="212"/>
                  </a:cubicBezTo>
                  <a:cubicBezTo>
                    <a:pt x="3342" y="212"/>
                    <a:pt x="3346" y="207"/>
                    <a:pt x="3344" y="202"/>
                  </a:cubicBezTo>
                  <a:cubicBezTo>
                    <a:pt x="3342" y="196"/>
                    <a:pt x="3336" y="192"/>
                    <a:pt x="3329" y="192"/>
                  </a:cubicBezTo>
                  <a:cubicBezTo>
                    <a:pt x="3329" y="192"/>
                    <a:pt x="3329" y="192"/>
                    <a:pt x="3329" y="192"/>
                  </a:cubicBezTo>
                  <a:moveTo>
                    <a:pt x="3362" y="191"/>
                  </a:moveTo>
                  <a:cubicBezTo>
                    <a:pt x="3356" y="191"/>
                    <a:pt x="3352" y="196"/>
                    <a:pt x="3354" y="202"/>
                  </a:cubicBezTo>
                  <a:cubicBezTo>
                    <a:pt x="3356" y="207"/>
                    <a:pt x="3363" y="212"/>
                    <a:pt x="3369" y="212"/>
                  </a:cubicBezTo>
                  <a:cubicBezTo>
                    <a:pt x="3375" y="212"/>
                    <a:pt x="3378" y="207"/>
                    <a:pt x="3377" y="201"/>
                  </a:cubicBezTo>
                  <a:cubicBezTo>
                    <a:pt x="3375" y="196"/>
                    <a:pt x="3368" y="191"/>
                    <a:pt x="3362" y="191"/>
                  </a:cubicBezTo>
                  <a:cubicBezTo>
                    <a:pt x="3362" y="191"/>
                    <a:pt x="3362" y="191"/>
                    <a:pt x="3362" y="191"/>
                  </a:cubicBezTo>
                  <a:moveTo>
                    <a:pt x="3394" y="191"/>
                  </a:moveTo>
                  <a:cubicBezTo>
                    <a:pt x="3387" y="191"/>
                    <a:pt x="3384" y="196"/>
                    <a:pt x="3386" y="201"/>
                  </a:cubicBezTo>
                  <a:cubicBezTo>
                    <a:pt x="3388" y="207"/>
                    <a:pt x="3394" y="212"/>
                    <a:pt x="3400" y="212"/>
                  </a:cubicBezTo>
                  <a:cubicBezTo>
                    <a:pt x="3407" y="211"/>
                    <a:pt x="3410" y="207"/>
                    <a:pt x="3408" y="201"/>
                  </a:cubicBezTo>
                  <a:cubicBezTo>
                    <a:pt x="3406" y="196"/>
                    <a:pt x="3400" y="191"/>
                    <a:pt x="3394" y="191"/>
                  </a:cubicBezTo>
                  <a:cubicBezTo>
                    <a:pt x="3394" y="191"/>
                    <a:pt x="3394" y="191"/>
                    <a:pt x="3394" y="191"/>
                  </a:cubicBezTo>
                  <a:moveTo>
                    <a:pt x="3425" y="191"/>
                  </a:moveTo>
                  <a:cubicBezTo>
                    <a:pt x="3419" y="191"/>
                    <a:pt x="3416" y="195"/>
                    <a:pt x="3418" y="201"/>
                  </a:cubicBezTo>
                  <a:cubicBezTo>
                    <a:pt x="3420" y="207"/>
                    <a:pt x="3426" y="211"/>
                    <a:pt x="3433" y="211"/>
                  </a:cubicBezTo>
                  <a:cubicBezTo>
                    <a:pt x="3439" y="211"/>
                    <a:pt x="3442" y="207"/>
                    <a:pt x="3440" y="201"/>
                  </a:cubicBezTo>
                  <a:cubicBezTo>
                    <a:pt x="3438" y="195"/>
                    <a:pt x="3432" y="191"/>
                    <a:pt x="3425" y="191"/>
                  </a:cubicBezTo>
                  <a:cubicBezTo>
                    <a:pt x="3425" y="191"/>
                    <a:pt x="3425" y="191"/>
                    <a:pt x="3425" y="191"/>
                  </a:cubicBezTo>
                  <a:moveTo>
                    <a:pt x="3457" y="190"/>
                  </a:moveTo>
                  <a:cubicBezTo>
                    <a:pt x="3451" y="190"/>
                    <a:pt x="3448" y="195"/>
                    <a:pt x="3450" y="201"/>
                  </a:cubicBezTo>
                  <a:cubicBezTo>
                    <a:pt x="3452" y="206"/>
                    <a:pt x="3459" y="211"/>
                    <a:pt x="3465" y="211"/>
                  </a:cubicBezTo>
                  <a:cubicBezTo>
                    <a:pt x="3471" y="211"/>
                    <a:pt x="3474" y="206"/>
                    <a:pt x="3472" y="201"/>
                  </a:cubicBezTo>
                  <a:cubicBezTo>
                    <a:pt x="3470" y="195"/>
                    <a:pt x="3464" y="190"/>
                    <a:pt x="3457" y="190"/>
                  </a:cubicBezTo>
                  <a:cubicBezTo>
                    <a:pt x="3457" y="190"/>
                    <a:pt x="3457" y="190"/>
                    <a:pt x="3457" y="190"/>
                  </a:cubicBezTo>
                  <a:moveTo>
                    <a:pt x="3489" y="190"/>
                  </a:moveTo>
                  <a:cubicBezTo>
                    <a:pt x="3483" y="190"/>
                    <a:pt x="3479" y="195"/>
                    <a:pt x="3482" y="201"/>
                  </a:cubicBezTo>
                  <a:cubicBezTo>
                    <a:pt x="3484" y="206"/>
                    <a:pt x="3490" y="211"/>
                    <a:pt x="3497" y="211"/>
                  </a:cubicBezTo>
                  <a:cubicBezTo>
                    <a:pt x="3503" y="211"/>
                    <a:pt x="3506" y="206"/>
                    <a:pt x="3504" y="200"/>
                  </a:cubicBezTo>
                  <a:cubicBezTo>
                    <a:pt x="3502" y="195"/>
                    <a:pt x="3495" y="190"/>
                    <a:pt x="3489" y="190"/>
                  </a:cubicBezTo>
                  <a:cubicBezTo>
                    <a:pt x="3489" y="190"/>
                    <a:pt x="3489" y="190"/>
                    <a:pt x="3489" y="190"/>
                  </a:cubicBezTo>
                  <a:moveTo>
                    <a:pt x="3520" y="190"/>
                  </a:moveTo>
                  <a:cubicBezTo>
                    <a:pt x="3514" y="190"/>
                    <a:pt x="3511" y="195"/>
                    <a:pt x="3513" y="200"/>
                  </a:cubicBezTo>
                  <a:cubicBezTo>
                    <a:pt x="3516" y="206"/>
                    <a:pt x="3522" y="210"/>
                    <a:pt x="3528" y="210"/>
                  </a:cubicBezTo>
                  <a:cubicBezTo>
                    <a:pt x="3535" y="210"/>
                    <a:pt x="3538" y="206"/>
                    <a:pt x="3536" y="200"/>
                  </a:cubicBezTo>
                  <a:cubicBezTo>
                    <a:pt x="3533" y="194"/>
                    <a:pt x="3527" y="190"/>
                    <a:pt x="3521" y="190"/>
                  </a:cubicBezTo>
                  <a:cubicBezTo>
                    <a:pt x="3521" y="190"/>
                    <a:pt x="3521" y="190"/>
                    <a:pt x="3520" y="190"/>
                  </a:cubicBezTo>
                  <a:moveTo>
                    <a:pt x="3552" y="190"/>
                  </a:moveTo>
                  <a:cubicBezTo>
                    <a:pt x="3546" y="190"/>
                    <a:pt x="3543" y="194"/>
                    <a:pt x="3545" y="200"/>
                  </a:cubicBezTo>
                  <a:cubicBezTo>
                    <a:pt x="3547" y="206"/>
                    <a:pt x="3554" y="210"/>
                    <a:pt x="3560" y="210"/>
                  </a:cubicBezTo>
                  <a:cubicBezTo>
                    <a:pt x="3566" y="210"/>
                    <a:pt x="3569" y="205"/>
                    <a:pt x="3567" y="200"/>
                  </a:cubicBezTo>
                  <a:cubicBezTo>
                    <a:pt x="3565" y="194"/>
                    <a:pt x="3558" y="190"/>
                    <a:pt x="3552" y="190"/>
                  </a:cubicBezTo>
                  <a:cubicBezTo>
                    <a:pt x="3552" y="190"/>
                    <a:pt x="3552" y="190"/>
                    <a:pt x="3552" y="190"/>
                  </a:cubicBezTo>
                  <a:moveTo>
                    <a:pt x="3584" y="189"/>
                  </a:moveTo>
                  <a:cubicBezTo>
                    <a:pt x="3578" y="189"/>
                    <a:pt x="3575" y="194"/>
                    <a:pt x="3577" y="200"/>
                  </a:cubicBezTo>
                  <a:cubicBezTo>
                    <a:pt x="3580" y="205"/>
                    <a:pt x="3586" y="210"/>
                    <a:pt x="3593" y="210"/>
                  </a:cubicBezTo>
                  <a:cubicBezTo>
                    <a:pt x="3599" y="210"/>
                    <a:pt x="3602" y="205"/>
                    <a:pt x="3600" y="199"/>
                  </a:cubicBezTo>
                  <a:cubicBezTo>
                    <a:pt x="3597" y="194"/>
                    <a:pt x="3590" y="189"/>
                    <a:pt x="3584" y="189"/>
                  </a:cubicBezTo>
                  <a:cubicBezTo>
                    <a:pt x="3584" y="189"/>
                    <a:pt x="3584" y="189"/>
                    <a:pt x="3584" y="189"/>
                  </a:cubicBezTo>
                  <a:moveTo>
                    <a:pt x="3616" y="189"/>
                  </a:moveTo>
                  <a:cubicBezTo>
                    <a:pt x="3610" y="189"/>
                    <a:pt x="3607" y="194"/>
                    <a:pt x="3609" y="199"/>
                  </a:cubicBezTo>
                  <a:cubicBezTo>
                    <a:pt x="3612" y="205"/>
                    <a:pt x="3618" y="210"/>
                    <a:pt x="3625" y="210"/>
                  </a:cubicBezTo>
                  <a:cubicBezTo>
                    <a:pt x="3631" y="210"/>
                    <a:pt x="3634" y="205"/>
                    <a:pt x="3631" y="199"/>
                  </a:cubicBezTo>
                  <a:cubicBezTo>
                    <a:pt x="3629" y="194"/>
                    <a:pt x="3622" y="189"/>
                    <a:pt x="3616" y="189"/>
                  </a:cubicBezTo>
                  <a:cubicBezTo>
                    <a:pt x="3616" y="189"/>
                    <a:pt x="3616" y="189"/>
                    <a:pt x="3616" y="189"/>
                  </a:cubicBezTo>
                  <a:moveTo>
                    <a:pt x="3649" y="189"/>
                  </a:moveTo>
                  <a:cubicBezTo>
                    <a:pt x="3642" y="189"/>
                    <a:pt x="3639" y="193"/>
                    <a:pt x="3642" y="199"/>
                  </a:cubicBezTo>
                  <a:cubicBezTo>
                    <a:pt x="3644" y="205"/>
                    <a:pt x="3651" y="209"/>
                    <a:pt x="3658" y="209"/>
                  </a:cubicBezTo>
                  <a:cubicBezTo>
                    <a:pt x="3664" y="209"/>
                    <a:pt x="3667" y="205"/>
                    <a:pt x="3664" y="199"/>
                  </a:cubicBezTo>
                  <a:cubicBezTo>
                    <a:pt x="3662" y="193"/>
                    <a:pt x="3655" y="189"/>
                    <a:pt x="3649" y="189"/>
                  </a:cubicBezTo>
                  <a:cubicBezTo>
                    <a:pt x="3649" y="189"/>
                    <a:pt x="3649" y="189"/>
                    <a:pt x="3649" y="189"/>
                  </a:cubicBezTo>
                  <a:moveTo>
                    <a:pt x="360" y="189"/>
                  </a:moveTo>
                  <a:cubicBezTo>
                    <a:pt x="353" y="189"/>
                    <a:pt x="345" y="193"/>
                    <a:pt x="340" y="199"/>
                  </a:cubicBezTo>
                  <a:cubicBezTo>
                    <a:pt x="335" y="204"/>
                    <a:pt x="337" y="209"/>
                    <a:pt x="343" y="209"/>
                  </a:cubicBezTo>
                  <a:cubicBezTo>
                    <a:pt x="349" y="209"/>
                    <a:pt x="358" y="204"/>
                    <a:pt x="362" y="199"/>
                  </a:cubicBezTo>
                  <a:cubicBezTo>
                    <a:pt x="367" y="193"/>
                    <a:pt x="366" y="189"/>
                    <a:pt x="360" y="189"/>
                  </a:cubicBezTo>
                  <a:cubicBezTo>
                    <a:pt x="360" y="189"/>
                    <a:pt x="360" y="189"/>
                    <a:pt x="360" y="189"/>
                  </a:cubicBezTo>
                  <a:moveTo>
                    <a:pt x="3680" y="188"/>
                  </a:moveTo>
                  <a:cubicBezTo>
                    <a:pt x="3674" y="189"/>
                    <a:pt x="3671" y="193"/>
                    <a:pt x="3673" y="199"/>
                  </a:cubicBezTo>
                  <a:cubicBezTo>
                    <a:pt x="3676" y="205"/>
                    <a:pt x="3683" y="209"/>
                    <a:pt x="3689" y="209"/>
                  </a:cubicBezTo>
                  <a:cubicBezTo>
                    <a:pt x="3695" y="209"/>
                    <a:pt x="3698" y="204"/>
                    <a:pt x="3696" y="199"/>
                  </a:cubicBezTo>
                  <a:cubicBezTo>
                    <a:pt x="3693" y="193"/>
                    <a:pt x="3686" y="188"/>
                    <a:pt x="3680" y="188"/>
                  </a:cubicBezTo>
                  <a:cubicBezTo>
                    <a:pt x="3680" y="188"/>
                    <a:pt x="3680" y="188"/>
                    <a:pt x="3680" y="188"/>
                  </a:cubicBezTo>
                  <a:moveTo>
                    <a:pt x="391" y="188"/>
                  </a:moveTo>
                  <a:cubicBezTo>
                    <a:pt x="385" y="188"/>
                    <a:pt x="376" y="193"/>
                    <a:pt x="372" y="198"/>
                  </a:cubicBezTo>
                  <a:cubicBezTo>
                    <a:pt x="367" y="204"/>
                    <a:pt x="369" y="209"/>
                    <a:pt x="375" y="209"/>
                  </a:cubicBezTo>
                  <a:cubicBezTo>
                    <a:pt x="381" y="208"/>
                    <a:pt x="390" y="204"/>
                    <a:pt x="394" y="198"/>
                  </a:cubicBezTo>
                  <a:cubicBezTo>
                    <a:pt x="399" y="193"/>
                    <a:pt x="397" y="188"/>
                    <a:pt x="391" y="188"/>
                  </a:cubicBezTo>
                  <a:cubicBezTo>
                    <a:pt x="391" y="188"/>
                    <a:pt x="391" y="188"/>
                    <a:pt x="391" y="188"/>
                  </a:cubicBezTo>
                  <a:moveTo>
                    <a:pt x="3712" y="188"/>
                  </a:moveTo>
                  <a:cubicBezTo>
                    <a:pt x="3706" y="188"/>
                    <a:pt x="3703" y="193"/>
                    <a:pt x="3705" y="199"/>
                  </a:cubicBezTo>
                  <a:cubicBezTo>
                    <a:pt x="3708" y="204"/>
                    <a:pt x="3715" y="209"/>
                    <a:pt x="3721" y="209"/>
                  </a:cubicBezTo>
                  <a:cubicBezTo>
                    <a:pt x="3727" y="209"/>
                    <a:pt x="3730" y="204"/>
                    <a:pt x="3728" y="198"/>
                  </a:cubicBezTo>
                  <a:cubicBezTo>
                    <a:pt x="3725" y="193"/>
                    <a:pt x="3718" y="188"/>
                    <a:pt x="3712" y="188"/>
                  </a:cubicBezTo>
                  <a:cubicBezTo>
                    <a:pt x="3712" y="188"/>
                    <a:pt x="3712" y="188"/>
                    <a:pt x="3712" y="188"/>
                  </a:cubicBezTo>
                  <a:moveTo>
                    <a:pt x="424" y="188"/>
                  </a:moveTo>
                  <a:cubicBezTo>
                    <a:pt x="418" y="188"/>
                    <a:pt x="409" y="193"/>
                    <a:pt x="405" y="198"/>
                  </a:cubicBezTo>
                  <a:cubicBezTo>
                    <a:pt x="400" y="204"/>
                    <a:pt x="402" y="208"/>
                    <a:pt x="408" y="208"/>
                  </a:cubicBezTo>
                  <a:cubicBezTo>
                    <a:pt x="414" y="208"/>
                    <a:pt x="423" y="204"/>
                    <a:pt x="427" y="198"/>
                  </a:cubicBezTo>
                  <a:cubicBezTo>
                    <a:pt x="432" y="192"/>
                    <a:pt x="430" y="188"/>
                    <a:pt x="424" y="188"/>
                  </a:cubicBezTo>
                  <a:cubicBezTo>
                    <a:pt x="424" y="188"/>
                    <a:pt x="424" y="188"/>
                    <a:pt x="424" y="188"/>
                  </a:cubicBezTo>
                  <a:moveTo>
                    <a:pt x="3744" y="188"/>
                  </a:moveTo>
                  <a:cubicBezTo>
                    <a:pt x="3738" y="188"/>
                    <a:pt x="3735" y="193"/>
                    <a:pt x="3737" y="198"/>
                  </a:cubicBezTo>
                  <a:cubicBezTo>
                    <a:pt x="3740" y="204"/>
                    <a:pt x="3747" y="209"/>
                    <a:pt x="3753" y="208"/>
                  </a:cubicBezTo>
                  <a:cubicBezTo>
                    <a:pt x="3760" y="208"/>
                    <a:pt x="3762" y="204"/>
                    <a:pt x="3760" y="198"/>
                  </a:cubicBezTo>
                  <a:cubicBezTo>
                    <a:pt x="3757" y="192"/>
                    <a:pt x="3750" y="188"/>
                    <a:pt x="3744" y="188"/>
                  </a:cubicBezTo>
                  <a:cubicBezTo>
                    <a:pt x="3744" y="188"/>
                    <a:pt x="3744" y="188"/>
                    <a:pt x="3744" y="188"/>
                  </a:cubicBezTo>
                  <a:moveTo>
                    <a:pt x="456" y="188"/>
                  </a:moveTo>
                  <a:cubicBezTo>
                    <a:pt x="449" y="188"/>
                    <a:pt x="441" y="192"/>
                    <a:pt x="436" y="198"/>
                  </a:cubicBezTo>
                  <a:cubicBezTo>
                    <a:pt x="432" y="204"/>
                    <a:pt x="433" y="208"/>
                    <a:pt x="440" y="208"/>
                  </a:cubicBezTo>
                  <a:cubicBezTo>
                    <a:pt x="446" y="208"/>
                    <a:pt x="454" y="203"/>
                    <a:pt x="459" y="198"/>
                  </a:cubicBezTo>
                  <a:cubicBezTo>
                    <a:pt x="463" y="192"/>
                    <a:pt x="462" y="188"/>
                    <a:pt x="456" y="188"/>
                  </a:cubicBezTo>
                  <a:cubicBezTo>
                    <a:pt x="456" y="188"/>
                    <a:pt x="456" y="188"/>
                    <a:pt x="456" y="188"/>
                  </a:cubicBezTo>
                  <a:moveTo>
                    <a:pt x="3775" y="188"/>
                  </a:moveTo>
                  <a:cubicBezTo>
                    <a:pt x="3769" y="188"/>
                    <a:pt x="3766" y="192"/>
                    <a:pt x="3769" y="198"/>
                  </a:cubicBezTo>
                  <a:cubicBezTo>
                    <a:pt x="3772" y="204"/>
                    <a:pt x="3779" y="208"/>
                    <a:pt x="3785" y="208"/>
                  </a:cubicBezTo>
                  <a:cubicBezTo>
                    <a:pt x="3791" y="208"/>
                    <a:pt x="3794" y="203"/>
                    <a:pt x="3791" y="198"/>
                  </a:cubicBezTo>
                  <a:cubicBezTo>
                    <a:pt x="3789" y="192"/>
                    <a:pt x="3781" y="188"/>
                    <a:pt x="3775" y="188"/>
                  </a:cubicBezTo>
                  <a:cubicBezTo>
                    <a:pt x="3775" y="188"/>
                    <a:pt x="3775" y="188"/>
                    <a:pt x="3775" y="188"/>
                  </a:cubicBezTo>
                  <a:moveTo>
                    <a:pt x="487" y="187"/>
                  </a:moveTo>
                  <a:cubicBezTo>
                    <a:pt x="481" y="187"/>
                    <a:pt x="473" y="192"/>
                    <a:pt x="468" y="198"/>
                  </a:cubicBezTo>
                  <a:cubicBezTo>
                    <a:pt x="464" y="203"/>
                    <a:pt x="465" y="208"/>
                    <a:pt x="471" y="208"/>
                  </a:cubicBezTo>
                  <a:cubicBezTo>
                    <a:pt x="478" y="208"/>
                    <a:pt x="486" y="203"/>
                    <a:pt x="490" y="197"/>
                  </a:cubicBezTo>
                  <a:cubicBezTo>
                    <a:pt x="495" y="192"/>
                    <a:pt x="493" y="187"/>
                    <a:pt x="487" y="187"/>
                  </a:cubicBezTo>
                  <a:cubicBezTo>
                    <a:pt x="487" y="187"/>
                    <a:pt x="487" y="187"/>
                    <a:pt x="487" y="187"/>
                  </a:cubicBezTo>
                  <a:moveTo>
                    <a:pt x="3807" y="187"/>
                  </a:moveTo>
                  <a:cubicBezTo>
                    <a:pt x="3801" y="187"/>
                    <a:pt x="3798" y="192"/>
                    <a:pt x="3801" y="198"/>
                  </a:cubicBezTo>
                  <a:cubicBezTo>
                    <a:pt x="3804" y="203"/>
                    <a:pt x="3811" y="208"/>
                    <a:pt x="3817" y="208"/>
                  </a:cubicBezTo>
                  <a:cubicBezTo>
                    <a:pt x="3823" y="208"/>
                    <a:pt x="3826" y="203"/>
                    <a:pt x="3823" y="198"/>
                  </a:cubicBezTo>
                  <a:cubicBezTo>
                    <a:pt x="3820" y="192"/>
                    <a:pt x="3813" y="187"/>
                    <a:pt x="3807" y="187"/>
                  </a:cubicBezTo>
                  <a:cubicBezTo>
                    <a:pt x="3807" y="187"/>
                    <a:pt x="3807" y="187"/>
                    <a:pt x="3807" y="187"/>
                  </a:cubicBezTo>
                  <a:moveTo>
                    <a:pt x="520" y="187"/>
                  </a:moveTo>
                  <a:cubicBezTo>
                    <a:pt x="514" y="187"/>
                    <a:pt x="505" y="192"/>
                    <a:pt x="501" y="197"/>
                  </a:cubicBezTo>
                  <a:cubicBezTo>
                    <a:pt x="497" y="203"/>
                    <a:pt x="498" y="207"/>
                    <a:pt x="505" y="207"/>
                  </a:cubicBezTo>
                  <a:cubicBezTo>
                    <a:pt x="511" y="207"/>
                    <a:pt x="519" y="203"/>
                    <a:pt x="523" y="197"/>
                  </a:cubicBezTo>
                  <a:cubicBezTo>
                    <a:pt x="528" y="192"/>
                    <a:pt x="526" y="187"/>
                    <a:pt x="520" y="187"/>
                  </a:cubicBezTo>
                  <a:cubicBezTo>
                    <a:pt x="520" y="187"/>
                    <a:pt x="520" y="187"/>
                    <a:pt x="520" y="187"/>
                  </a:cubicBezTo>
                  <a:moveTo>
                    <a:pt x="3838" y="187"/>
                  </a:moveTo>
                  <a:cubicBezTo>
                    <a:pt x="3832" y="187"/>
                    <a:pt x="3830" y="192"/>
                    <a:pt x="3832" y="197"/>
                  </a:cubicBezTo>
                  <a:cubicBezTo>
                    <a:pt x="3835" y="203"/>
                    <a:pt x="3843" y="208"/>
                    <a:pt x="3849" y="208"/>
                  </a:cubicBezTo>
                  <a:cubicBezTo>
                    <a:pt x="3855" y="208"/>
                    <a:pt x="3858" y="203"/>
                    <a:pt x="3855" y="197"/>
                  </a:cubicBezTo>
                  <a:cubicBezTo>
                    <a:pt x="3852" y="192"/>
                    <a:pt x="3844" y="187"/>
                    <a:pt x="3838" y="187"/>
                  </a:cubicBezTo>
                  <a:cubicBezTo>
                    <a:pt x="3838" y="187"/>
                    <a:pt x="3838" y="187"/>
                    <a:pt x="3838" y="187"/>
                  </a:cubicBezTo>
                  <a:moveTo>
                    <a:pt x="551" y="187"/>
                  </a:moveTo>
                  <a:cubicBezTo>
                    <a:pt x="545" y="187"/>
                    <a:pt x="537" y="191"/>
                    <a:pt x="533" y="197"/>
                  </a:cubicBezTo>
                  <a:cubicBezTo>
                    <a:pt x="528" y="203"/>
                    <a:pt x="530" y="207"/>
                    <a:pt x="536" y="207"/>
                  </a:cubicBezTo>
                  <a:cubicBezTo>
                    <a:pt x="542" y="207"/>
                    <a:pt x="551" y="202"/>
                    <a:pt x="555" y="197"/>
                  </a:cubicBezTo>
                  <a:cubicBezTo>
                    <a:pt x="559" y="191"/>
                    <a:pt x="558" y="187"/>
                    <a:pt x="552" y="187"/>
                  </a:cubicBezTo>
                  <a:cubicBezTo>
                    <a:pt x="552" y="187"/>
                    <a:pt x="551" y="187"/>
                    <a:pt x="551" y="187"/>
                  </a:cubicBezTo>
                  <a:moveTo>
                    <a:pt x="3870" y="187"/>
                  </a:moveTo>
                  <a:cubicBezTo>
                    <a:pt x="3864" y="187"/>
                    <a:pt x="3861" y="191"/>
                    <a:pt x="3864" y="197"/>
                  </a:cubicBezTo>
                  <a:cubicBezTo>
                    <a:pt x="3867" y="203"/>
                    <a:pt x="3874" y="207"/>
                    <a:pt x="3880" y="207"/>
                  </a:cubicBezTo>
                  <a:cubicBezTo>
                    <a:pt x="3887" y="207"/>
                    <a:pt x="3889" y="203"/>
                    <a:pt x="3886" y="197"/>
                  </a:cubicBezTo>
                  <a:cubicBezTo>
                    <a:pt x="3883" y="191"/>
                    <a:pt x="3876" y="187"/>
                    <a:pt x="3870" y="187"/>
                  </a:cubicBezTo>
                  <a:cubicBezTo>
                    <a:pt x="3870" y="187"/>
                    <a:pt x="3870" y="187"/>
                    <a:pt x="3870" y="187"/>
                  </a:cubicBezTo>
                  <a:moveTo>
                    <a:pt x="583" y="187"/>
                  </a:moveTo>
                  <a:cubicBezTo>
                    <a:pt x="577" y="187"/>
                    <a:pt x="569" y="191"/>
                    <a:pt x="564" y="197"/>
                  </a:cubicBezTo>
                  <a:cubicBezTo>
                    <a:pt x="560" y="202"/>
                    <a:pt x="562" y="207"/>
                    <a:pt x="568" y="207"/>
                  </a:cubicBezTo>
                  <a:cubicBezTo>
                    <a:pt x="574" y="207"/>
                    <a:pt x="583" y="202"/>
                    <a:pt x="587" y="197"/>
                  </a:cubicBezTo>
                  <a:cubicBezTo>
                    <a:pt x="591" y="191"/>
                    <a:pt x="589" y="187"/>
                    <a:pt x="583" y="187"/>
                  </a:cubicBezTo>
                  <a:cubicBezTo>
                    <a:pt x="583" y="187"/>
                    <a:pt x="583" y="187"/>
                    <a:pt x="583" y="187"/>
                  </a:cubicBezTo>
                  <a:moveTo>
                    <a:pt x="3901" y="186"/>
                  </a:moveTo>
                  <a:cubicBezTo>
                    <a:pt x="3895" y="187"/>
                    <a:pt x="3893" y="191"/>
                    <a:pt x="3896" y="197"/>
                  </a:cubicBezTo>
                  <a:cubicBezTo>
                    <a:pt x="3899" y="203"/>
                    <a:pt x="3906" y="207"/>
                    <a:pt x="3912" y="207"/>
                  </a:cubicBezTo>
                  <a:cubicBezTo>
                    <a:pt x="3918" y="207"/>
                    <a:pt x="3921" y="202"/>
                    <a:pt x="3918" y="197"/>
                  </a:cubicBezTo>
                  <a:cubicBezTo>
                    <a:pt x="3915" y="191"/>
                    <a:pt x="3907" y="186"/>
                    <a:pt x="3901" y="186"/>
                  </a:cubicBezTo>
                  <a:cubicBezTo>
                    <a:pt x="3901" y="186"/>
                    <a:pt x="3901" y="186"/>
                    <a:pt x="3901" y="186"/>
                  </a:cubicBezTo>
                  <a:moveTo>
                    <a:pt x="614" y="186"/>
                  </a:moveTo>
                  <a:cubicBezTo>
                    <a:pt x="608" y="186"/>
                    <a:pt x="600" y="191"/>
                    <a:pt x="596" y="196"/>
                  </a:cubicBezTo>
                  <a:cubicBezTo>
                    <a:pt x="592" y="202"/>
                    <a:pt x="594" y="207"/>
                    <a:pt x="600" y="207"/>
                  </a:cubicBezTo>
                  <a:cubicBezTo>
                    <a:pt x="606" y="206"/>
                    <a:pt x="614" y="202"/>
                    <a:pt x="618" y="196"/>
                  </a:cubicBezTo>
                  <a:cubicBezTo>
                    <a:pt x="622" y="191"/>
                    <a:pt x="621" y="186"/>
                    <a:pt x="615" y="186"/>
                  </a:cubicBezTo>
                  <a:cubicBezTo>
                    <a:pt x="615" y="186"/>
                    <a:pt x="615" y="186"/>
                    <a:pt x="614" y="186"/>
                  </a:cubicBezTo>
                  <a:moveTo>
                    <a:pt x="3933" y="186"/>
                  </a:moveTo>
                  <a:cubicBezTo>
                    <a:pt x="3927" y="186"/>
                    <a:pt x="3924" y="191"/>
                    <a:pt x="3927" y="197"/>
                  </a:cubicBezTo>
                  <a:cubicBezTo>
                    <a:pt x="3930" y="202"/>
                    <a:pt x="3938" y="207"/>
                    <a:pt x="3944" y="207"/>
                  </a:cubicBezTo>
                  <a:cubicBezTo>
                    <a:pt x="3950" y="207"/>
                    <a:pt x="3953" y="202"/>
                    <a:pt x="3950" y="196"/>
                  </a:cubicBezTo>
                  <a:cubicBezTo>
                    <a:pt x="3947" y="191"/>
                    <a:pt x="3939" y="186"/>
                    <a:pt x="3933" y="186"/>
                  </a:cubicBezTo>
                  <a:cubicBezTo>
                    <a:pt x="3933" y="186"/>
                    <a:pt x="3933" y="186"/>
                    <a:pt x="3933" y="186"/>
                  </a:cubicBezTo>
                  <a:moveTo>
                    <a:pt x="646" y="186"/>
                  </a:moveTo>
                  <a:cubicBezTo>
                    <a:pt x="640" y="186"/>
                    <a:pt x="632" y="191"/>
                    <a:pt x="628" y="196"/>
                  </a:cubicBezTo>
                  <a:cubicBezTo>
                    <a:pt x="624" y="202"/>
                    <a:pt x="626" y="206"/>
                    <a:pt x="632" y="206"/>
                  </a:cubicBezTo>
                  <a:cubicBezTo>
                    <a:pt x="638" y="206"/>
                    <a:pt x="646" y="202"/>
                    <a:pt x="650" y="196"/>
                  </a:cubicBezTo>
                  <a:cubicBezTo>
                    <a:pt x="654" y="190"/>
                    <a:pt x="652" y="186"/>
                    <a:pt x="646" y="186"/>
                  </a:cubicBezTo>
                  <a:cubicBezTo>
                    <a:pt x="646" y="186"/>
                    <a:pt x="646" y="186"/>
                    <a:pt x="646" y="186"/>
                  </a:cubicBezTo>
                  <a:moveTo>
                    <a:pt x="3965" y="186"/>
                  </a:moveTo>
                  <a:cubicBezTo>
                    <a:pt x="3959" y="186"/>
                    <a:pt x="3956" y="191"/>
                    <a:pt x="3960" y="196"/>
                  </a:cubicBezTo>
                  <a:cubicBezTo>
                    <a:pt x="3963" y="202"/>
                    <a:pt x="3970" y="207"/>
                    <a:pt x="3976" y="207"/>
                  </a:cubicBezTo>
                  <a:cubicBezTo>
                    <a:pt x="3982" y="206"/>
                    <a:pt x="3985" y="202"/>
                    <a:pt x="3982" y="196"/>
                  </a:cubicBezTo>
                  <a:cubicBezTo>
                    <a:pt x="3979" y="190"/>
                    <a:pt x="3971" y="186"/>
                    <a:pt x="3965" y="186"/>
                  </a:cubicBezTo>
                  <a:cubicBezTo>
                    <a:pt x="3965" y="186"/>
                    <a:pt x="3965" y="186"/>
                    <a:pt x="3965" y="186"/>
                  </a:cubicBezTo>
                  <a:moveTo>
                    <a:pt x="679" y="186"/>
                  </a:moveTo>
                  <a:cubicBezTo>
                    <a:pt x="673" y="186"/>
                    <a:pt x="665" y="190"/>
                    <a:pt x="661" y="196"/>
                  </a:cubicBezTo>
                  <a:cubicBezTo>
                    <a:pt x="657" y="202"/>
                    <a:pt x="658" y="206"/>
                    <a:pt x="665" y="206"/>
                  </a:cubicBezTo>
                  <a:cubicBezTo>
                    <a:pt x="671" y="206"/>
                    <a:pt x="679" y="201"/>
                    <a:pt x="683" y="196"/>
                  </a:cubicBezTo>
                  <a:cubicBezTo>
                    <a:pt x="687" y="190"/>
                    <a:pt x="685" y="186"/>
                    <a:pt x="679" y="186"/>
                  </a:cubicBezTo>
                  <a:cubicBezTo>
                    <a:pt x="679" y="186"/>
                    <a:pt x="679" y="186"/>
                    <a:pt x="679" y="186"/>
                  </a:cubicBezTo>
                  <a:moveTo>
                    <a:pt x="3996" y="186"/>
                  </a:moveTo>
                  <a:cubicBezTo>
                    <a:pt x="3990" y="186"/>
                    <a:pt x="3988" y="190"/>
                    <a:pt x="3991" y="196"/>
                  </a:cubicBezTo>
                  <a:cubicBezTo>
                    <a:pt x="3994" y="202"/>
                    <a:pt x="4002" y="206"/>
                    <a:pt x="4008" y="206"/>
                  </a:cubicBezTo>
                  <a:cubicBezTo>
                    <a:pt x="4014" y="206"/>
                    <a:pt x="4017" y="202"/>
                    <a:pt x="4013" y="196"/>
                  </a:cubicBezTo>
                  <a:cubicBezTo>
                    <a:pt x="4010" y="190"/>
                    <a:pt x="4003" y="186"/>
                    <a:pt x="3996" y="186"/>
                  </a:cubicBezTo>
                  <a:cubicBezTo>
                    <a:pt x="3996" y="186"/>
                    <a:pt x="3996" y="186"/>
                    <a:pt x="3996" y="186"/>
                  </a:cubicBezTo>
                  <a:moveTo>
                    <a:pt x="710" y="185"/>
                  </a:moveTo>
                  <a:cubicBezTo>
                    <a:pt x="704" y="185"/>
                    <a:pt x="696" y="190"/>
                    <a:pt x="692" y="196"/>
                  </a:cubicBezTo>
                  <a:cubicBezTo>
                    <a:pt x="688" y="201"/>
                    <a:pt x="690" y="206"/>
                    <a:pt x="696" y="206"/>
                  </a:cubicBezTo>
                  <a:cubicBezTo>
                    <a:pt x="702" y="206"/>
                    <a:pt x="710" y="201"/>
                    <a:pt x="714" y="195"/>
                  </a:cubicBezTo>
                  <a:cubicBezTo>
                    <a:pt x="718" y="190"/>
                    <a:pt x="716" y="185"/>
                    <a:pt x="710" y="185"/>
                  </a:cubicBezTo>
                  <a:cubicBezTo>
                    <a:pt x="710" y="185"/>
                    <a:pt x="710" y="185"/>
                    <a:pt x="710" y="185"/>
                  </a:cubicBezTo>
                  <a:moveTo>
                    <a:pt x="4028" y="185"/>
                  </a:moveTo>
                  <a:cubicBezTo>
                    <a:pt x="4022" y="185"/>
                    <a:pt x="4020" y="190"/>
                    <a:pt x="4023" y="196"/>
                  </a:cubicBezTo>
                  <a:cubicBezTo>
                    <a:pt x="4026" y="201"/>
                    <a:pt x="4034" y="206"/>
                    <a:pt x="4040" y="206"/>
                  </a:cubicBezTo>
                  <a:cubicBezTo>
                    <a:pt x="4046" y="206"/>
                    <a:pt x="4048" y="201"/>
                    <a:pt x="4045" y="196"/>
                  </a:cubicBezTo>
                  <a:cubicBezTo>
                    <a:pt x="4042" y="190"/>
                    <a:pt x="4034" y="185"/>
                    <a:pt x="4028" y="185"/>
                  </a:cubicBezTo>
                  <a:cubicBezTo>
                    <a:pt x="4028" y="185"/>
                    <a:pt x="4028" y="185"/>
                    <a:pt x="4028" y="185"/>
                  </a:cubicBezTo>
                  <a:moveTo>
                    <a:pt x="742" y="185"/>
                  </a:moveTo>
                  <a:cubicBezTo>
                    <a:pt x="736" y="185"/>
                    <a:pt x="728" y="190"/>
                    <a:pt x="724" y="195"/>
                  </a:cubicBezTo>
                  <a:cubicBezTo>
                    <a:pt x="720" y="201"/>
                    <a:pt x="722" y="205"/>
                    <a:pt x="728" y="205"/>
                  </a:cubicBezTo>
                  <a:cubicBezTo>
                    <a:pt x="734" y="205"/>
                    <a:pt x="742" y="201"/>
                    <a:pt x="746" y="195"/>
                  </a:cubicBezTo>
                  <a:cubicBezTo>
                    <a:pt x="750" y="190"/>
                    <a:pt x="748" y="185"/>
                    <a:pt x="742" y="185"/>
                  </a:cubicBezTo>
                  <a:cubicBezTo>
                    <a:pt x="742" y="185"/>
                    <a:pt x="742" y="185"/>
                    <a:pt x="742" y="185"/>
                  </a:cubicBezTo>
                  <a:moveTo>
                    <a:pt x="4059" y="185"/>
                  </a:moveTo>
                  <a:cubicBezTo>
                    <a:pt x="4053" y="185"/>
                    <a:pt x="4051" y="190"/>
                    <a:pt x="4054" y="195"/>
                  </a:cubicBezTo>
                  <a:cubicBezTo>
                    <a:pt x="4058" y="201"/>
                    <a:pt x="4065" y="206"/>
                    <a:pt x="4072" y="206"/>
                  </a:cubicBezTo>
                  <a:cubicBezTo>
                    <a:pt x="4078" y="206"/>
                    <a:pt x="4080" y="201"/>
                    <a:pt x="4077" y="195"/>
                  </a:cubicBezTo>
                  <a:cubicBezTo>
                    <a:pt x="4073" y="190"/>
                    <a:pt x="4066" y="185"/>
                    <a:pt x="4059" y="185"/>
                  </a:cubicBezTo>
                  <a:cubicBezTo>
                    <a:pt x="4059" y="185"/>
                    <a:pt x="4059" y="185"/>
                    <a:pt x="4059" y="185"/>
                  </a:cubicBezTo>
                  <a:moveTo>
                    <a:pt x="774" y="185"/>
                  </a:moveTo>
                  <a:cubicBezTo>
                    <a:pt x="768" y="185"/>
                    <a:pt x="760" y="189"/>
                    <a:pt x="756" y="195"/>
                  </a:cubicBezTo>
                  <a:cubicBezTo>
                    <a:pt x="752" y="201"/>
                    <a:pt x="754" y="205"/>
                    <a:pt x="760" y="205"/>
                  </a:cubicBezTo>
                  <a:cubicBezTo>
                    <a:pt x="766" y="205"/>
                    <a:pt x="774" y="200"/>
                    <a:pt x="778" y="195"/>
                  </a:cubicBezTo>
                  <a:cubicBezTo>
                    <a:pt x="782" y="189"/>
                    <a:pt x="780" y="185"/>
                    <a:pt x="774" y="185"/>
                  </a:cubicBezTo>
                  <a:cubicBezTo>
                    <a:pt x="774" y="185"/>
                    <a:pt x="774" y="185"/>
                    <a:pt x="774" y="185"/>
                  </a:cubicBezTo>
                  <a:moveTo>
                    <a:pt x="4090" y="185"/>
                  </a:moveTo>
                  <a:cubicBezTo>
                    <a:pt x="4084" y="185"/>
                    <a:pt x="4082" y="190"/>
                    <a:pt x="4085" y="195"/>
                  </a:cubicBezTo>
                  <a:cubicBezTo>
                    <a:pt x="4089" y="201"/>
                    <a:pt x="4096" y="205"/>
                    <a:pt x="4103" y="205"/>
                  </a:cubicBezTo>
                  <a:cubicBezTo>
                    <a:pt x="4109" y="205"/>
                    <a:pt x="4111" y="201"/>
                    <a:pt x="4107" y="195"/>
                  </a:cubicBezTo>
                  <a:cubicBezTo>
                    <a:pt x="4104" y="189"/>
                    <a:pt x="4096" y="185"/>
                    <a:pt x="4090" y="185"/>
                  </a:cubicBezTo>
                  <a:cubicBezTo>
                    <a:pt x="4090" y="185"/>
                    <a:pt x="4090" y="185"/>
                    <a:pt x="4090" y="185"/>
                  </a:cubicBezTo>
                  <a:moveTo>
                    <a:pt x="805" y="185"/>
                  </a:moveTo>
                  <a:cubicBezTo>
                    <a:pt x="799" y="185"/>
                    <a:pt x="791" y="189"/>
                    <a:pt x="788" y="195"/>
                  </a:cubicBezTo>
                  <a:cubicBezTo>
                    <a:pt x="784" y="200"/>
                    <a:pt x="786" y="205"/>
                    <a:pt x="792" y="205"/>
                  </a:cubicBezTo>
                  <a:cubicBezTo>
                    <a:pt x="798" y="205"/>
                    <a:pt x="806" y="200"/>
                    <a:pt x="810" y="195"/>
                  </a:cubicBezTo>
                  <a:cubicBezTo>
                    <a:pt x="813" y="189"/>
                    <a:pt x="811" y="185"/>
                    <a:pt x="805" y="185"/>
                  </a:cubicBezTo>
                  <a:cubicBezTo>
                    <a:pt x="805" y="185"/>
                    <a:pt x="805" y="185"/>
                    <a:pt x="805" y="185"/>
                  </a:cubicBezTo>
                  <a:moveTo>
                    <a:pt x="837" y="184"/>
                  </a:moveTo>
                  <a:cubicBezTo>
                    <a:pt x="831" y="184"/>
                    <a:pt x="823" y="189"/>
                    <a:pt x="819" y="194"/>
                  </a:cubicBezTo>
                  <a:cubicBezTo>
                    <a:pt x="816" y="200"/>
                    <a:pt x="818" y="205"/>
                    <a:pt x="824" y="205"/>
                  </a:cubicBezTo>
                  <a:cubicBezTo>
                    <a:pt x="830" y="204"/>
                    <a:pt x="838" y="200"/>
                    <a:pt x="841" y="194"/>
                  </a:cubicBezTo>
                  <a:cubicBezTo>
                    <a:pt x="845" y="189"/>
                    <a:pt x="843" y="184"/>
                    <a:pt x="837" y="184"/>
                  </a:cubicBezTo>
                  <a:cubicBezTo>
                    <a:pt x="837" y="184"/>
                    <a:pt x="837" y="184"/>
                    <a:pt x="837" y="184"/>
                  </a:cubicBezTo>
                  <a:moveTo>
                    <a:pt x="868" y="184"/>
                  </a:moveTo>
                  <a:cubicBezTo>
                    <a:pt x="862" y="184"/>
                    <a:pt x="854" y="189"/>
                    <a:pt x="851" y="194"/>
                  </a:cubicBezTo>
                  <a:cubicBezTo>
                    <a:pt x="847" y="200"/>
                    <a:pt x="849" y="204"/>
                    <a:pt x="855" y="204"/>
                  </a:cubicBezTo>
                  <a:cubicBezTo>
                    <a:pt x="862" y="204"/>
                    <a:pt x="869" y="200"/>
                    <a:pt x="873" y="194"/>
                  </a:cubicBezTo>
                  <a:cubicBezTo>
                    <a:pt x="876" y="188"/>
                    <a:pt x="874" y="184"/>
                    <a:pt x="868" y="184"/>
                  </a:cubicBezTo>
                  <a:cubicBezTo>
                    <a:pt x="868" y="184"/>
                    <a:pt x="868" y="184"/>
                    <a:pt x="868" y="184"/>
                  </a:cubicBezTo>
                  <a:moveTo>
                    <a:pt x="900" y="184"/>
                  </a:moveTo>
                  <a:cubicBezTo>
                    <a:pt x="894" y="184"/>
                    <a:pt x="886" y="188"/>
                    <a:pt x="883" y="194"/>
                  </a:cubicBezTo>
                  <a:cubicBezTo>
                    <a:pt x="879" y="200"/>
                    <a:pt x="881" y="204"/>
                    <a:pt x="887" y="204"/>
                  </a:cubicBezTo>
                  <a:cubicBezTo>
                    <a:pt x="893" y="204"/>
                    <a:pt x="901" y="199"/>
                    <a:pt x="905" y="194"/>
                  </a:cubicBezTo>
                  <a:cubicBezTo>
                    <a:pt x="908" y="188"/>
                    <a:pt x="906" y="184"/>
                    <a:pt x="900" y="184"/>
                  </a:cubicBezTo>
                  <a:cubicBezTo>
                    <a:pt x="900" y="184"/>
                    <a:pt x="900" y="184"/>
                    <a:pt x="900" y="184"/>
                  </a:cubicBezTo>
                  <a:moveTo>
                    <a:pt x="4185" y="184"/>
                  </a:moveTo>
                  <a:cubicBezTo>
                    <a:pt x="4179" y="184"/>
                    <a:pt x="4177" y="188"/>
                    <a:pt x="4180" y="194"/>
                  </a:cubicBezTo>
                  <a:cubicBezTo>
                    <a:pt x="4184" y="200"/>
                    <a:pt x="4192" y="204"/>
                    <a:pt x="4198" y="204"/>
                  </a:cubicBezTo>
                  <a:cubicBezTo>
                    <a:pt x="4204" y="204"/>
                    <a:pt x="4206" y="200"/>
                    <a:pt x="4203" y="194"/>
                  </a:cubicBezTo>
                  <a:cubicBezTo>
                    <a:pt x="4199" y="188"/>
                    <a:pt x="4191" y="184"/>
                    <a:pt x="4185" y="184"/>
                  </a:cubicBezTo>
                  <a:cubicBezTo>
                    <a:pt x="4185" y="184"/>
                    <a:pt x="4185" y="184"/>
                    <a:pt x="4185" y="184"/>
                  </a:cubicBezTo>
                  <a:moveTo>
                    <a:pt x="932" y="183"/>
                  </a:moveTo>
                  <a:cubicBezTo>
                    <a:pt x="926" y="183"/>
                    <a:pt x="918" y="188"/>
                    <a:pt x="915" y="194"/>
                  </a:cubicBezTo>
                  <a:cubicBezTo>
                    <a:pt x="911" y="199"/>
                    <a:pt x="913" y="204"/>
                    <a:pt x="920" y="204"/>
                  </a:cubicBezTo>
                  <a:cubicBezTo>
                    <a:pt x="926" y="204"/>
                    <a:pt x="933" y="199"/>
                    <a:pt x="937" y="193"/>
                  </a:cubicBezTo>
                  <a:cubicBezTo>
                    <a:pt x="940" y="188"/>
                    <a:pt x="938" y="183"/>
                    <a:pt x="932" y="183"/>
                  </a:cubicBezTo>
                  <a:cubicBezTo>
                    <a:pt x="932" y="183"/>
                    <a:pt x="932" y="183"/>
                    <a:pt x="932" y="183"/>
                  </a:cubicBezTo>
                  <a:moveTo>
                    <a:pt x="963" y="183"/>
                  </a:moveTo>
                  <a:cubicBezTo>
                    <a:pt x="957" y="183"/>
                    <a:pt x="949" y="188"/>
                    <a:pt x="946" y="193"/>
                  </a:cubicBezTo>
                  <a:cubicBezTo>
                    <a:pt x="943" y="199"/>
                    <a:pt x="945" y="203"/>
                    <a:pt x="951" y="203"/>
                  </a:cubicBezTo>
                  <a:cubicBezTo>
                    <a:pt x="957" y="203"/>
                    <a:pt x="965" y="199"/>
                    <a:pt x="968" y="193"/>
                  </a:cubicBezTo>
                  <a:cubicBezTo>
                    <a:pt x="972" y="188"/>
                    <a:pt x="969" y="183"/>
                    <a:pt x="963" y="183"/>
                  </a:cubicBezTo>
                  <a:cubicBezTo>
                    <a:pt x="963" y="183"/>
                    <a:pt x="963" y="183"/>
                    <a:pt x="963" y="183"/>
                  </a:cubicBezTo>
                  <a:moveTo>
                    <a:pt x="993" y="183"/>
                  </a:moveTo>
                  <a:cubicBezTo>
                    <a:pt x="987" y="183"/>
                    <a:pt x="979" y="187"/>
                    <a:pt x="976" y="193"/>
                  </a:cubicBezTo>
                  <a:cubicBezTo>
                    <a:pt x="973" y="199"/>
                    <a:pt x="975" y="203"/>
                    <a:pt x="981" y="203"/>
                  </a:cubicBezTo>
                  <a:cubicBezTo>
                    <a:pt x="987" y="203"/>
                    <a:pt x="995" y="198"/>
                    <a:pt x="998" y="193"/>
                  </a:cubicBezTo>
                  <a:cubicBezTo>
                    <a:pt x="1002" y="187"/>
                    <a:pt x="999" y="183"/>
                    <a:pt x="993" y="183"/>
                  </a:cubicBezTo>
                  <a:cubicBezTo>
                    <a:pt x="993" y="183"/>
                    <a:pt x="993" y="183"/>
                    <a:pt x="993" y="183"/>
                  </a:cubicBezTo>
                  <a:moveTo>
                    <a:pt x="1025" y="183"/>
                  </a:moveTo>
                  <a:cubicBezTo>
                    <a:pt x="1019" y="183"/>
                    <a:pt x="1011" y="187"/>
                    <a:pt x="1008" y="193"/>
                  </a:cubicBezTo>
                  <a:cubicBezTo>
                    <a:pt x="1005" y="198"/>
                    <a:pt x="1007" y="203"/>
                    <a:pt x="1013" y="203"/>
                  </a:cubicBezTo>
                  <a:cubicBezTo>
                    <a:pt x="1020" y="203"/>
                    <a:pt x="1027" y="198"/>
                    <a:pt x="1030" y="193"/>
                  </a:cubicBezTo>
                  <a:cubicBezTo>
                    <a:pt x="1034" y="187"/>
                    <a:pt x="1031" y="183"/>
                    <a:pt x="1025" y="183"/>
                  </a:cubicBezTo>
                  <a:cubicBezTo>
                    <a:pt x="1025" y="183"/>
                    <a:pt x="1025" y="183"/>
                    <a:pt x="1025" y="183"/>
                  </a:cubicBezTo>
                  <a:moveTo>
                    <a:pt x="1371" y="182"/>
                  </a:moveTo>
                  <a:cubicBezTo>
                    <a:pt x="1364" y="182"/>
                    <a:pt x="1357" y="187"/>
                    <a:pt x="1355" y="193"/>
                  </a:cubicBezTo>
                  <a:cubicBezTo>
                    <a:pt x="1353" y="198"/>
                    <a:pt x="1356" y="203"/>
                    <a:pt x="1362" y="203"/>
                  </a:cubicBezTo>
                  <a:cubicBezTo>
                    <a:pt x="1368" y="203"/>
                    <a:pt x="1375" y="198"/>
                    <a:pt x="1377" y="192"/>
                  </a:cubicBezTo>
                  <a:cubicBezTo>
                    <a:pt x="1380" y="187"/>
                    <a:pt x="1377" y="182"/>
                    <a:pt x="1371" y="182"/>
                  </a:cubicBezTo>
                  <a:cubicBezTo>
                    <a:pt x="1371" y="182"/>
                    <a:pt x="1371" y="182"/>
                    <a:pt x="1371" y="182"/>
                  </a:cubicBezTo>
                  <a:moveTo>
                    <a:pt x="1056" y="182"/>
                  </a:moveTo>
                  <a:cubicBezTo>
                    <a:pt x="1050" y="182"/>
                    <a:pt x="1043" y="187"/>
                    <a:pt x="1040" y="192"/>
                  </a:cubicBezTo>
                  <a:cubicBezTo>
                    <a:pt x="1037" y="198"/>
                    <a:pt x="1039" y="203"/>
                    <a:pt x="1045" y="203"/>
                  </a:cubicBezTo>
                  <a:cubicBezTo>
                    <a:pt x="1051" y="202"/>
                    <a:pt x="1059" y="198"/>
                    <a:pt x="1062" y="192"/>
                  </a:cubicBezTo>
                  <a:cubicBezTo>
                    <a:pt x="1065" y="187"/>
                    <a:pt x="1063" y="182"/>
                    <a:pt x="1057" y="182"/>
                  </a:cubicBezTo>
                  <a:cubicBezTo>
                    <a:pt x="1056" y="182"/>
                    <a:pt x="1056" y="182"/>
                    <a:pt x="1056" y="182"/>
                  </a:cubicBezTo>
                  <a:moveTo>
                    <a:pt x="1403" y="182"/>
                  </a:moveTo>
                  <a:cubicBezTo>
                    <a:pt x="1397" y="182"/>
                    <a:pt x="1390" y="187"/>
                    <a:pt x="1388" y="192"/>
                  </a:cubicBezTo>
                  <a:cubicBezTo>
                    <a:pt x="1385" y="198"/>
                    <a:pt x="1388" y="202"/>
                    <a:pt x="1394" y="202"/>
                  </a:cubicBezTo>
                  <a:cubicBezTo>
                    <a:pt x="1400" y="202"/>
                    <a:pt x="1407" y="198"/>
                    <a:pt x="1410" y="192"/>
                  </a:cubicBezTo>
                  <a:cubicBezTo>
                    <a:pt x="1412" y="187"/>
                    <a:pt x="1409" y="182"/>
                    <a:pt x="1403" y="182"/>
                  </a:cubicBezTo>
                  <a:cubicBezTo>
                    <a:pt x="1403" y="182"/>
                    <a:pt x="1403" y="182"/>
                    <a:pt x="1403" y="182"/>
                  </a:cubicBezTo>
                  <a:moveTo>
                    <a:pt x="1088" y="182"/>
                  </a:moveTo>
                  <a:cubicBezTo>
                    <a:pt x="1082" y="182"/>
                    <a:pt x="1074" y="187"/>
                    <a:pt x="1071" y="192"/>
                  </a:cubicBezTo>
                  <a:cubicBezTo>
                    <a:pt x="1068" y="198"/>
                    <a:pt x="1071" y="202"/>
                    <a:pt x="1077" y="202"/>
                  </a:cubicBezTo>
                  <a:cubicBezTo>
                    <a:pt x="1083" y="202"/>
                    <a:pt x="1090" y="198"/>
                    <a:pt x="1094" y="192"/>
                  </a:cubicBezTo>
                  <a:cubicBezTo>
                    <a:pt x="1097" y="186"/>
                    <a:pt x="1094" y="182"/>
                    <a:pt x="1088" y="182"/>
                  </a:cubicBezTo>
                  <a:cubicBezTo>
                    <a:pt x="1088" y="182"/>
                    <a:pt x="1088" y="182"/>
                    <a:pt x="1088" y="182"/>
                  </a:cubicBezTo>
                  <a:moveTo>
                    <a:pt x="1119" y="182"/>
                  </a:moveTo>
                  <a:cubicBezTo>
                    <a:pt x="1113" y="182"/>
                    <a:pt x="1106" y="186"/>
                    <a:pt x="1103" y="192"/>
                  </a:cubicBezTo>
                  <a:cubicBezTo>
                    <a:pt x="1100" y="198"/>
                    <a:pt x="1102" y="202"/>
                    <a:pt x="1109" y="202"/>
                  </a:cubicBezTo>
                  <a:cubicBezTo>
                    <a:pt x="1115" y="202"/>
                    <a:pt x="1122" y="197"/>
                    <a:pt x="1125" y="192"/>
                  </a:cubicBezTo>
                  <a:cubicBezTo>
                    <a:pt x="1128" y="186"/>
                    <a:pt x="1125" y="182"/>
                    <a:pt x="1119" y="182"/>
                  </a:cubicBezTo>
                  <a:cubicBezTo>
                    <a:pt x="1119" y="182"/>
                    <a:pt x="1119" y="182"/>
                    <a:pt x="1119" y="182"/>
                  </a:cubicBezTo>
                  <a:moveTo>
                    <a:pt x="1151" y="181"/>
                  </a:moveTo>
                  <a:cubicBezTo>
                    <a:pt x="1145" y="181"/>
                    <a:pt x="1138" y="186"/>
                    <a:pt x="1135" y="192"/>
                  </a:cubicBezTo>
                  <a:cubicBezTo>
                    <a:pt x="1132" y="197"/>
                    <a:pt x="1134" y="202"/>
                    <a:pt x="1140" y="202"/>
                  </a:cubicBezTo>
                  <a:cubicBezTo>
                    <a:pt x="1147" y="202"/>
                    <a:pt x="1154" y="197"/>
                    <a:pt x="1157" y="191"/>
                  </a:cubicBezTo>
                  <a:cubicBezTo>
                    <a:pt x="1160" y="186"/>
                    <a:pt x="1157" y="181"/>
                    <a:pt x="1151" y="181"/>
                  </a:cubicBezTo>
                  <a:cubicBezTo>
                    <a:pt x="1151" y="181"/>
                    <a:pt x="1151" y="181"/>
                    <a:pt x="1151" y="181"/>
                  </a:cubicBezTo>
                  <a:moveTo>
                    <a:pt x="1214" y="181"/>
                  </a:moveTo>
                  <a:cubicBezTo>
                    <a:pt x="1208" y="181"/>
                    <a:pt x="1201" y="185"/>
                    <a:pt x="1198" y="191"/>
                  </a:cubicBezTo>
                  <a:cubicBezTo>
                    <a:pt x="1195" y="197"/>
                    <a:pt x="1198" y="201"/>
                    <a:pt x="1204" y="201"/>
                  </a:cubicBezTo>
                  <a:cubicBezTo>
                    <a:pt x="1210" y="201"/>
                    <a:pt x="1218" y="196"/>
                    <a:pt x="1220" y="191"/>
                  </a:cubicBezTo>
                  <a:cubicBezTo>
                    <a:pt x="1223" y="185"/>
                    <a:pt x="1220" y="181"/>
                    <a:pt x="1214" y="181"/>
                  </a:cubicBezTo>
                  <a:cubicBezTo>
                    <a:pt x="1214" y="181"/>
                    <a:pt x="1214" y="181"/>
                    <a:pt x="1214" y="181"/>
                  </a:cubicBezTo>
                  <a:moveTo>
                    <a:pt x="1562" y="179"/>
                  </a:moveTo>
                  <a:cubicBezTo>
                    <a:pt x="1556" y="179"/>
                    <a:pt x="1549" y="183"/>
                    <a:pt x="1547" y="189"/>
                  </a:cubicBezTo>
                  <a:cubicBezTo>
                    <a:pt x="1545" y="195"/>
                    <a:pt x="1548" y="199"/>
                    <a:pt x="1555" y="199"/>
                  </a:cubicBezTo>
                  <a:cubicBezTo>
                    <a:pt x="1561" y="199"/>
                    <a:pt x="1567" y="194"/>
                    <a:pt x="1569" y="189"/>
                  </a:cubicBezTo>
                  <a:cubicBezTo>
                    <a:pt x="1571" y="183"/>
                    <a:pt x="1568" y="179"/>
                    <a:pt x="1562" y="179"/>
                  </a:cubicBezTo>
                  <a:cubicBezTo>
                    <a:pt x="1562" y="179"/>
                    <a:pt x="1562" y="179"/>
                    <a:pt x="1562" y="179"/>
                  </a:cubicBezTo>
                  <a:moveTo>
                    <a:pt x="1593" y="178"/>
                  </a:moveTo>
                  <a:cubicBezTo>
                    <a:pt x="1587" y="178"/>
                    <a:pt x="1581" y="183"/>
                    <a:pt x="1579" y="189"/>
                  </a:cubicBezTo>
                  <a:cubicBezTo>
                    <a:pt x="1577" y="194"/>
                    <a:pt x="1580" y="199"/>
                    <a:pt x="1586" y="199"/>
                  </a:cubicBezTo>
                  <a:cubicBezTo>
                    <a:pt x="1592" y="199"/>
                    <a:pt x="1599" y="194"/>
                    <a:pt x="1601" y="188"/>
                  </a:cubicBezTo>
                  <a:cubicBezTo>
                    <a:pt x="1603" y="183"/>
                    <a:pt x="1599" y="178"/>
                    <a:pt x="1593" y="178"/>
                  </a:cubicBezTo>
                  <a:cubicBezTo>
                    <a:pt x="1593" y="178"/>
                    <a:pt x="1593" y="178"/>
                    <a:pt x="1593" y="178"/>
                  </a:cubicBezTo>
                  <a:moveTo>
                    <a:pt x="1625" y="178"/>
                  </a:moveTo>
                  <a:cubicBezTo>
                    <a:pt x="1619" y="178"/>
                    <a:pt x="1612" y="183"/>
                    <a:pt x="1610" y="188"/>
                  </a:cubicBezTo>
                  <a:cubicBezTo>
                    <a:pt x="1608" y="194"/>
                    <a:pt x="1612" y="198"/>
                    <a:pt x="1618" y="198"/>
                  </a:cubicBezTo>
                  <a:cubicBezTo>
                    <a:pt x="1624" y="198"/>
                    <a:pt x="1630" y="194"/>
                    <a:pt x="1632" y="188"/>
                  </a:cubicBezTo>
                  <a:cubicBezTo>
                    <a:pt x="1634" y="183"/>
                    <a:pt x="1631" y="178"/>
                    <a:pt x="1625" y="178"/>
                  </a:cubicBezTo>
                  <a:cubicBezTo>
                    <a:pt x="1625" y="178"/>
                    <a:pt x="1625" y="178"/>
                    <a:pt x="1625" y="178"/>
                  </a:cubicBezTo>
                  <a:moveTo>
                    <a:pt x="1656" y="178"/>
                  </a:moveTo>
                  <a:cubicBezTo>
                    <a:pt x="1650" y="178"/>
                    <a:pt x="1644" y="182"/>
                    <a:pt x="1642" y="188"/>
                  </a:cubicBezTo>
                  <a:cubicBezTo>
                    <a:pt x="1640" y="194"/>
                    <a:pt x="1643" y="198"/>
                    <a:pt x="1649" y="198"/>
                  </a:cubicBezTo>
                  <a:cubicBezTo>
                    <a:pt x="1656" y="198"/>
                    <a:pt x="1662" y="193"/>
                    <a:pt x="1664" y="188"/>
                  </a:cubicBezTo>
                  <a:cubicBezTo>
                    <a:pt x="1666" y="182"/>
                    <a:pt x="1662" y="178"/>
                    <a:pt x="1656" y="178"/>
                  </a:cubicBezTo>
                  <a:cubicBezTo>
                    <a:pt x="1656" y="178"/>
                    <a:pt x="1656" y="178"/>
                    <a:pt x="1656" y="178"/>
                  </a:cubicBezTo>
                  <a:moveTo>
                    <a:pt x="1688" y="177"/>
                  </a:moveTo>
                  <a:cubicBezTo>
                    <a:pt x="1682" y="178"/>
                    <a:pt x="1675" y="182"/>
                    <a:pt x="1673" y="188"/>
                  </a:cubicBezTo>
                  <a:cubicBezTo>
                    <a:pt x="1672" y="193"/>
                    <a:pt x="1675" y="198"/>
                    <a:pt x="1681" y="198"/>
                  </a:cubicBezTo>
                  <a:cubicBezTo>
                    <a:pt x="1687" y="198"/>
                    <a:pt x="1694" y="193"/>
                    <a:pt x="1696" y="188"/>
                  </a:cubicBezTo>
                  <a:cubicBezTo>
                    <a:pt x="1697" y="182"/>
                    <a:pt x="1694" y="177"/>
                    <a:pt x="1688" y="177"/>
                  </a:cubicBezTo>
                  <a:cubicBezTo>
                    <a:pt x="1688" y="177"/>
                    <a:pt x="1688" y="177"/>
                    <a:pt x="1688" y="177"/>
                  </a:cubicBezTo>
                  <a:moveTo>
                    <a:pt x="1720" y="177"/>
                  </a:moveTo>
                  <a:cubicBezTo>
                    <a:pt x="1714" y="177"/>
                    <a:pt x="1708" y="182"/>
                    <a:pt x="1706" y="187"/>
                  </a:cubicBezTo>
                  <a:cubicBezTo>
                    <a:pt x="1704" y="193"/>
                    <a:pt x="1708" y="198"/>
                    <a:pt x="1714" y="198"/>
                  </a:cubicBezTo>
                  <a:cubicBezTo>
                    <a:pt x="1720" y="198"/>
                    <a:pt x="1727" y="193"/>
                    <a:pt x="1728" y="187"/>
                  </a:cubicBezTo>
                  <a:cubicBezTo>
                    <a:pt x="1730" y="182"/>
                    <a:pt x="1726" y="177"/>
                    <a:pt x="1720" y="177"/>
                  </a:cubicBezTo>
                  <a:cubicBezTo>
                    <a:pt x="1720" y="177"/>
                    <a:pt x="1720" y="177"/>
                    <a:pt x="1720" y="177"/>
                  </a:cubicBezTo>
                  <a:moveTo>
                    <a:pt x="1752" y="177"/>
                  </a:moveTo>
                  <a:cubicBezTo>
                    <a:pt x="1745" y="177"/>
                    <a:pt x="1739" y="182"/>
                    <a:pt x="1737" y="187"/>
                  </a:cubicBezTo>
                  <a:cubicBezTo>
                    <a:pt x="1736" y="193"/>
                    <a:pt x="1739" y="197"/>
                    <a:pt x="1746" y="197"/>
                  </a:cubicBezTo>
                  <a:cubicBezTo>
                    <a:pt x="1752" y="197"/>
                    <a:pt x="1758" y="193"/>
                    <a:pt x="1760" y="187"/>
                  </a:cubicBezTo>
                  <a:cubicBezTo>
                    <a:pt x="1761" y="181"/>
                    <a:pt x="1758" y="177"/>
                    <a:pt x="1752" y="177"/>
                  </a:cubicBezTo>
                  <a:cubicBezTo>
                    <a:pt x="1752" y="177"/>
                    <a:pt x="1752" y="177"/>
                    <a:pt x="1752" y="177"/>
                  </a:cubicBezTo>
                  <a:moveTo>
                    <a:pt x="2286" y="172"/>
                  </a:moveTo>
                  <a:cubicBezTo>
                    <a:pt x="2280" y="172"/>
                    <a:pt x="2274" y="176"/>
                    <a:pt x="2274" y="182"/>
                  </a:cubicBezTo>
                  <a:cubicBezTo>
                    <a:pt x="2273" y="188"/>
                    <a:pt x="2278" y="192"/>
                    <a:pt x="2284" y="192"/>
                  </a:cubicBezTo>
                  <a:cubicBezTo>
                    <a:pt x="2290" y="192"/>
                    <a:pt x="2296" y="187"/>
                    <a:pt x="2296" y="182"/>
                  </a:cubicBezTo>
                  <a:cubicBezTo>
                    <a:pt x="2297" y="176"/>
                    <a:pt x="2292" y="172"/>
                    <a:pt x="2286" y="172"/>
                  </a:cubicBezTo>
                  <a:cubicBezTo>
                    <a:pt x="2286" y="172"/>
                    <a:pt x="2286" y="172"/>
                    <a:pt x="2286" y="172"/>
                  </a:cubicBezTo>
                  <a:moveTo>
                    <a:pt x="2317" y="171"/>
                  </a:moveTo>
                  <a:cubicBezTo>
                    <a:pt x="2311" y="171"/>
                    <a:pt x="2306" y="176"/>
                    <a:pt x="2305" y="182"/>
                  </a:cubicBezTo>
                  <a:cubicBezTo>
                    <a:pt x="2305" y="187"/>
                    <a:pt x="2309" y="192"/>
                    <a:pt x="2316" y="192"/>
                  </a:cubicBezTo>
                  <a:cubicBezTo>
                    <a:pt x="2322" y="192"/>
                    <a:pt x="2327" y="187"/>
                    <a:pt x="2327" y="181"/>
                  </a:cubicBezTo>
                  <a:cubicBezTo>
                    <a:pt x="2328" y="176"/>
                    <a:pt x="2323" y="171"/>
                    <a:pt x="2317" y="171"/>
                  </a:cubicBezTo>
                  <a:cubicBezTo>
                    <a:pt x="2317" y="171"/>
                    <a:pt x="2317" y="171"/>
                    <a:pt x="2317" y="171"/>
                  </a:cubicBezTo>
                  <a:moveTo>
                    <a:pt x="2348" y="171"/>
                  </a:moveTo>
                  <a:cubicBezTo>
                    <a:pt x="2342" y="171"/>
                    <a:pt x="2337" y="176"/>
                    <a:pt x="2337" y="181"/>
                  </a:cubicBezTo>
                  <a:cubicBezTo>
                    <a:pt x="2336" y="187"/>
                    <a:pt x="2341" y="191"/>
                    <a:pt x="2347" y="191"/>
                  </a:cubicBezTo>
                  <a:cubicBezTo>
                    <a:pt x="2353" y="191"/>
                    <a:pt x="2358" y="187"/>
                    <a:pt x="2359" y="181"/>
                  </a:cubicBezTo>
                  <a:cubicBezTo>
                    <a:pt x="2359" y="176"/>
                    <a:pt x="2354" y="171"/>
                    <a:pt x="2348" y="171"/>
                  </a:cubicBezTo>
                  <a:cubicBezTo>
                    <a:pt x="2348" y="171"/>
                    <a:pt x="2348" y="171"/>
                    <a:pt x="2348" y="171"/>
                  </a:cubicBezTo>
                  <a:moveTo>
                    <a:pt x="2380" y="171"/>
                  </a:moveTo>
                  <a:cubicBezTo>
                    <a:pt x="2374" y="171"/>
                    <a:pt x="2369" y="175"/>
                    <a:pt x="2369" y="181"/>
                  </a:cubicBezTo>
                  <a:cubicBezTo>
                    <a:pt x="2369" y="187"/>
                    <a:pt x="2373" y="191"/>
                    <a:pt x="2379" y="191"/>
                  </a:cubicBezTo>
                  <a:cubicBezTo>
                    <a:pt x="2386" y="191"/>
                    <a:pt x="2391" y="186"/>
                    <a:pt x="2391" y="181"/>
                  </a:cubicBezTo>
                  <a:cubicBezTo>
                    <a:pt x="2391" y="175"/>
                    <a:pt x="2387" y="171"/>
                    <a:pt x="2381" y="171"/>
                  </a:cubicBezTo>
                  <a:cubicBezTo>
                    <a:pt x="2380" y="171"/>
                    <a:pt x="2380" y="171"/>
                    <a:pt x="2380" y="171"/>
                  </a:cubicBezTo>
                  <a:moveTo>
                    <a:pt x="2412" y="170"/>
                  </a:moveTo>
                  <a:cubicBezTo>
                    <a:pt x="2406" y="170"/>
                    <a:pt x="2400" y="175"/>
                    <a:pt x="2400" y="181"/>
                  </a:cubicBezTo>
                  <a:cubicBezTo>
                    <a:pt x="2400" y="186"/>
                    <a:pt x="2405" y="191"/>
                    <a:pt x="2411" y="191"/>
                  </a:cubicBezTo>
                  <a:cubicBezTo>
                    <a:pt x="2417" y="191"/>
                    <a:pt x="2422" y="186"/>
                    <a:pt x="2422" y="181"/>
                  </a:cubicBezTo>
                  <a:cubicBezTo>
                    <a:pt x="2423" y="175"/>
                    <a:pt x="2418" y="170"/>
                    <a:pt x="2412" y="170"/>
                  </a:cubicBezTo>
                  <a:cubicBezTo>
                    <a:pt x="2412" y="170"/>
                    <a:pt x="2412" y="170"/>
                    <a:pt x="2412" y="170"/>
                  </a:cubicBezTo>
                  <a:moveTo>
                    <a:pt x="2443" y="170"/>
                  </a:moveTo>
                  <a:cubicBezTo>
                    <a:pt x="2437" y="170"/>
                    <a:pt x="2432" y="175"/>
                    <a:pt x="2432" y="180"/>
                  </a:cubicBezTo>
                  <a:cubicBezTo>
                    <a:pt x="2431" y="186"/>
                    <a:pt x="2436" y="191"/>
                    <a:pt x="2442" y="191"/>
                  </a:cubicBezTo>
                  <a:cubicBezTo>
                    <a:pt x="2449" y="191"/>
                    <a:pt x="2454" y="186"/>
                    <a:pt x="2454" y="180"/>
                  </a:cubicBezTo>
                  <a:cubicBezTo>
                    <a:pt x="2454" y="175"/>
                    <a:pt x="2449" y="170"/>
                    <a:pt x="2443" y="170"/>
                  </a:cubicBezTo>
                  <a:cubicBezTo>
                    <a:pt x="2443" y="170"/>
                    <a:pt x="2443" y="170"/>
                    <a:pt x="2443" y="170"/>
                  </a:cubicBezTo>
                  <a:moveTo>
                    <a:pt x="2474" y="170"/>
                  </a:moveTo>
                  <a:cubicBezTo>
                    <a:pt x="2468" y="170"/>
                    <a:pt x="2463" y="175"/>
                    <a:pt x="2463" y="180"/>
                  </a:cubicBezTo>
                  <a:cubicBezTo>
                    <a:pt x="2463" y="186"/>
                    <a:pt x="2468" y="190"/>
                    <a:pt x="2474" y="190"/>
                  </a:cubicBezTo>
                  <a:cubicBezTo>
                    <a:pt x="2480" y="190"/>
                    <a:pt x="2485" y="186"/>
                    <a:pt x="2485" y="180"/>
                  </a:cubicBezTo>
                  <a:cubicBezTo>
                    <a:pt x="2485" y="174"/>
                    <a:pt x="2480" y="170"/>
                    <a:pt x="2474" y="170"/>
                  </a:cubicBezTo>
                  <a:cubicBezTo>
                    <a:pt x="2474" y="170"/>
                    <a:pt x="2474" y="170"/>
                    <a:pt x="2474" y="170"/>
                  </a:cubicBezTo>
                  <a:moveTo>
                    <a:pt x="2505" y="170"/>
                  </a:moveTo>
                  <a:cubicBezTo>
                    <a:pt x="2499" y="170"/>
                    <a:pt x="2494" y="174"/>
                    <a:pt x="2494" y="180"/>
                  </a:cubicBezTo>
                  <a:cubicBezTo>
                    <a:pt x="2494" y="186"/>
                    <a:pt x="2499" y="190"/>
                    <a:pt x="2505" y="190"/>
                  </a:cubicBezTo>
                  <a:cubicBezTo>
                    <a:pt x="2511" y="190"/>
                    <a:pt x="2516" y="185"/>
                    <a:pt x="2516" y="180"/>
                  </a:cubicBezTo>
                  <a:cubicBezTo>
                    <a:pt x="2516" y="174"/>
                    <a:pt x="2511" y="170"/>
                    <a:pt x="2505" y="170"/>
                  </a:cubicBezTo>
                  <a:cubicBezTo>
                    <a:pt x="2505" y="170"/>
                    <a:pt x="2505" y="170"/>
                    <a:pt x="2505" y="170"/>
                  </a:cubicBezTo>
                  <a:moveTo>
                    <a:pt x="2536" y="169"/>
                  </a:moveTo>
                  <a:cubicBezTo>
                    <a:pt x="2530" y="169"/>
                    <a:pt x="2525" y="174"/>
                    <a:pt x="2525" y="180"/>
                  </a:cubicBezTo>
                  <a:cubicBezTo>
                    <a:pt x="2525" y="185"/>
                    <a:pt x="2530" y="190"/>
                    <a:pt x="2536" y="190"/>
                  </a:cubicBezTo>
                  <a:cubicBezTo>
                    <a:pt x="2542" y="190"/>
                    <a:pt x="2547" y="185"/>
                    <a:pt x="2547" y="179"/>
                  </a:cubicBezTo>
                  <a:cubicBezTo>
                    <a:pt x="2547" y="174"/>
                    <a:pt x="2542" y="169"/>
                    <a:pt x="2536" y="169"/>
                  </a:cubicBezTo>
                  <a:cubicBezTo>
                    <a:pt x="2536" y="169"/>
                    <a:pt x="2536" y="169"/>
                    <a:pt x="2536" y="169"/>
                  </a:cubicBezTo>
                  <a:moveTo>
                    <a:pt x="2601" y="169"/>
                  </a:moveTo>
                  <a:cubicBezTo>
                    <a:pt x="2595" y="169"/>
                    <a:pt x="2590" y="173"/>
                    <a:pt x="2590" y="179"/>
                  </a:cubicBezTo>
                  <a:cubicBezTo>
                    <a:pt x="2590" y="185"/>
                    <a:pt x="2595" y="189"/>
                    <a:pt x="2601" y="189"/>
                  </a:cubicBezTo>
                  <a:cubicBezTo>
                    <a:pt x="2608" y="189"/>
                    <a:pt x="2612" y="184"/>
                    <a:pt x="2612" y="179"/>
                  </a:cubicBezTo>
                  <a:cubicBezTo>
                    <a:pt x="2612" y="173"/>
                    <a:pt x="2607" y="169"/>
                    <a:pt x="2601" y="169"/>
                  </a:cubicBezTo>
                  <a:cubicBezTo>
                    <a:pt x="2601" y="169"/>
                    <a:pt x="2601" y="169"/>
                    <a:pt x="2601" y="169"/>
                  </a:cubicBezTo>
                  <a:moveTo>
                    <a:pt x="2632" y="168"/>
                  </a:moveTo>
                  <a:cubicBezTo>
                    <a:pt x="2626" y="168"/>
                    <a:pt x="2621" y="173"/>
                    <a:pt x="2621" y="179"/>
                  </a:cubicBezTo>
                  <a:cubicBezTo>
                    <a:pt x="2622" y="184"/>
                    <a:pt x="2627" y="189"/>
                    <a:pt x="2633" y="189"/>
                  </a:cubicBezTo>
                  <a:cubicBezTo>
                    <a:pt x="2639" y="189"/>
                    <a:pt x="2644" y="184"/>
                    <a:pt x="2643" y="179"/>
                  </a:cubicBezTo>
                  <a:cubicBezTo>
                    <a:pt x="2643" y="173"/>
                    <a:pt x="2638" y="168"/>
                    <a:pt x="2632" y="168"/>
                  </a:cubicBezTo>
                  <a:cubicBezTo>
                    <a:pt x="2632" y="168"/>
                    <a:pt x="2632" y="168"/>
                    <a:pt x="2632" y="168"/>
                  </a:cubicBezTo>
                  <a:moveTo>
                    <a:pt x="2663" y="168"/>
                  </a:moveTo>
                  <a:cubicBezTo>
                    <a:pt x="2657" y="168"/>
                    <a:pt x="2652" y="173"/>
                    <a:pt x="2652" y="178"/>
                  </a:cubicBezTo>
                  <a:cubicBezTo>
                    <a:pt x="2653" y="184"/>
                    <a:pt x="2658" y="189"/>
                    <a:pt x="2664" y="189"/>
                  </a:cubicBezTo>
                  <a:cubicBezTo>
                    <a:pt x="2670" y="189"/>
                    <a:pt x="2675" y="184"/>
                    <a:pt x="2675" y="178"/>
                  </a:cubicBezTo>
                  <a:cubicBezTo>
                    <a:pt x="2674" y="173"/>
                    <a:pt x="2669" y="168"/>
                    <a:pt x="2663" y="168"/>
                  </a:cubicBezTo>
                  <a:cubicBezTo>
                    <a:pt x="2663" y="168"/>
                    <a:pt x="2663" y="168"/>
                    <a:pt x="2663" y="168"/>
                  </a:cubicBezTo>
                  <a:moveTo>
                    <a:pt x="2694" y="168"/>
                  </a:moveTo>
                  <a:cubicBezTo>
                    <a:pt x="2688" y="168"/>
                    <a:pt x="2683" y="173"/>
                    <a:pt x="2684" y="178"/>
                  </a:cubicBezTo>
                  <a:cubicBezTo>
                    <a:pt x="2684" y="184"/>
                    <a:pt x="2689" y="188"/>
                    <a:pt x="2696" y="188"/>
                  </a:cubicBezTo>
                  <a:cubicBezTo>
                    <a:pt x="2702" y="188"/>
                    <a:pt x="2706" y="184"/>
                    <a:pt x="2706" y="178"/>
                  </a:cubicBezTo>
                  <a:cubicBezTo>
                    <a:pt x="2705" y="172"/>
                    <a:pt x="2700" y="168"/>
                    <a:pt x="2694" y="168"/>
                  </a:cubicBezTo>
                  <a:cubicBezTo>
                    <a:pt x="2694" y="168"/>
                    <a:pt x="2694" y="168"/>
                    <a:pt x="2694" y="168"/>
                  </a:cubicBezTo>
                  <a:moveTo>
                    <a:pt x="2726" y="168"/>
                  </a:moveTo>
                  <a:cubicBezTo>
                    <a:pt x="2720" y="168"/>
                    <a:pt x="2715" y="172"/>
                    <a:pt x="2715" y="178"/>
                  </a:cubicBezTo>
                  <a:cubicBezTo>
                    <a:pt x="2716" y="184"/>
                    <a:pt x="2721" y="188"/>
                    <a:pt x="2727" y="188"/>
                  </a:cubicBezTo>
                  <a:cubicBezTo>
                    <a:pt x="2733" y="188"/>
                    <a:pt x="2738" y="183"/>
                    <a:pt x="2737" y="178"/>
                  </a:cubicBezTo>
                  <a:cubicBezTo>
                    <a:pt x="2737" y="172"/>
                    <a:pt x="2732" y="168"/>
                    <a:pt x="2726" y="168"/>
                  </a:cubicBezTo>
                  <a:cubicBezTo>
                    <a:pt x="2726" y="168"/>
                    <a:pt x="2726" y="168"/>
                    <a:pt x="2726" y="168"/>
                  </a:cubicBezTo>
                  <a:moveTo>
                    <a:pt x="2757" y="167"/>
                  </a:moveTo>
                  <a:cubicBezTo>
                    <a:pt x="2751" y="167"/>
                    <a:pt x="2747" y="172"/>
                    <a:pt x="2747" y="178"/>
                  </a:cubicBezTo>
                  <a:cubicBezTo>
                    <a:pt x="2748" y="183"/>
                    <a:pt x="2753" y="188"/>
                    <a:pt x="2759" y="188"/>
                  </a:cubicBezTo>
                  <a:cubicBezTo>
                    <a:pt x="2765" y="188"/>
                    <a:pt x="2770" y="183"/>
                    <a:pt x="2769" y="177"/>
                  </a:cubicBezTo>
                  <a:cubicBezTo>
                    <a:pt x="2769" y="172"/>
                    <a:pt x="2763" y="167"/>
                    <a:pt x="2757" y="167"/>
                  </a:cubicBezTo>
                  <a:cubicBezTo>
                    <a:pt x="2757" y="167"/>
                    <a:pt x="2757" y="167"/>
                    <a:pt x="2757" y="167"/>
                  </a:cubicBezTo>
                  <a:moveTo>
                    <a:pt x="2789" y="167"/>
                  </a:moveTo>
                  <a:cubicBezTo>
                    <a:pt x="2782" y="167"/>
                    <a:pt x="2778" y="172"/>
                    <a:pt x="2779" y="177"/>
                  </a:cubicBezTo>
                  <a:cubicBezTo>
                    <a:pt x="2779" y="183"/>
                    <a:pt x="2785" y="188"/>
                    <a:pt x="2791" y="187"/>
                  </a:cubicBezTo>
                  <a:cubicBezTo>
                    <a:pt x="2797" y="187"/>
                    <a:pt x="2801" y="183"/>
                    <a:pt x="2801" y="177"/>
                  </a:cubicBezTo>
                  <a:cubicBezTo>
                    <a:pt x="2800" y="172"/>
                    <a:pt x="2795" y="167"/>
                    <a:pt x="2789" y="167"/>
                  </a:cubicBezTo>
                  <a:cubicBezTo>
                    <a:pt x="2789" y="167"/>
                    <a:pt x="2789" y="167"/>
                    <a:pt x="2789" y="167"/>
                  </a:cubicBezTo>
                  <a:moveTo>
                    <a:pt x="2820" y="167"/>
                  </a:moveTo>
                  <a:cubicBezTo>
                    <a:pt x="2814" y="167"/>
                    <a:pt x="2809" y="171"/>
                    <a:pt x="2810" y="177"/>
                  </a:cubicBezTo>
                  <a:cubicBezTo>
                    <a:pt x="2811" y="183"/>
                    <a:pt x="2816" y="187"/>
                    <a:pt x="2822" y="187"/>
                  </a:cubicBezTo>
                  <a:cubicBezTo>
                    <a:pt x="2829" y="187"/>
                    <a:pt x="2833" y="182"/>
                    <a:pt x="2832" y="177"/>
                  </a:cubicBezTo>
                  <a:cubicBezTo>
                    <a:pt x="2831" y="171"/>
                    <a:pt x="2826" y="167"/>
                    <a:pt x="2820" y="167"/>
                  </a:cubicBezTo>
                  <a:cubicBezTo>
                    <a:pt x="2820" y="167"/>
                    <a:pt x="2820" y="167"/>
                    <a:pt x="2820" y="167"/>
                  </a:cubicBezTo>
                  <a:moveTo>
                    <a:pt x="2851" y="166"/>
                  </a:moveTo>
                  <a:cubicBezTo>
                    <a:pt x="2845" y="166"/>
                    <a:pt x="2841" y="171"/>
                    <a:pt x="2841" y="177"/>
                  </a:cubicBezTo>
                  <a:cubicBezTo>
                    <a:pt x="2842" y="182"/>
                    <a:pt x="2848" y="187"/>
                    <a:pt x="2854" y="187"/>
                  </a:cubicBezTo>
                  <a:cubicBezTo>
                    <a:pt x="2860" y="187"/>
                    <a:pt x="2864" y="182"/>
                    <a:pt x="2864" y="177"/>
                  </a:cubicBezTo>
                  <a:cubicBezTo>
                    <a:pt x="2863" y="171"/>
                    <a:pt x="2857" y="166"/>
                    <a:pt x="2851" y="166"/>
                  </a:cubicBezTo>
                  <a:cubicBezTo>
                    <a:pt x="2851" y="166"/>
                    <a:pt x="2851" y="166"/>
                    <a:pt x="2851" y="166"/>
                  </a:cubicBezTo>
                  <a:moveTo>
                    <a:pt x="2883" y="166"/>
                  </a:moveTo>
                  <a:cubicBezTo>
                    <a:pt x="2877" y="166"/>
                    <a:pt x="2872" y="171"/>
                    <a:pt x="2873" y="176"/>
                  </a:cubicBezTo>
                  <a:cubicBezTo>
                    <a:pt x="2874" y="182"/>
                    <a:pt x="2879" y="187"/>
                    <a:pt x="2886" y="187"/>
                  </a:cubicBezTo>
                  <a:cubicBezTo>
                    <a:pt x="2892" y="187"/>
                    <a:pt x="2896" y="182"/>
                    <a:pt x="2895" y="176"/>
                  </a:cubicBezTo>
                  <a:cubicBezTo>
                    <a:pt x="2894" y="171"/>
                    <a:pt x="2889" y="166"/>
                    <a:pt x="2883" y="166"/>
                  </a:cubicBezTo>
                  <a:cubicBezTo>
                    <a:pt x="2883" y="166"/>
                    <a:pt x="2883" y="166"/>
                    <a:pt x="2883" y="166"/>
                  </a:cubicBezTo>
                  <a:moveTo>
                    <a:pt x="2914" y="166"/>
                  </a:moveTo>
                  <a:cubicBezTo>
                    <a:pt x="2908" y="166"/>
                    <a:pt x="2903" y="170"/>
                    <a:pt x="2904" y="176"/>
                  </a:cubicBezTo>
                  <a:cubicBezTo>
                    <a:pt x="2905" y="182"/>
                    <a:pt x="2911" y="186"/>
                    <a:pt x="2917" y="186"/>
                  </a:cubicBezTo>
                  <a:cubicBezTo>
                    <a:pt x="2923" y="186"/>
                    <a:pt x="2927" y="181"/>
                    <a:pt x="2926" y="176"/>
                  </a:cubicBezTo>
                  <a:cubicBezTo>
                    <a:pt x="2925" y="170"/>
                    <a:pt x="2920" y="166"/>
                    <a:pt x="2914" y="166"/>
                  </a:cubicBezTo>
                  <a:cubicBezTo>
                    <a:pt x="2914" y="166"/>
                    <a:pt x="2914" y="166"/>
                    <a:pt x="2914" y="166"/>
                  </a:cubicBezTo>
                  <a:moveTo>
                    <a:pt x="2943" y="165"/>
                  </a:moveTo>
                  <a:cubicBezTo>
                    <a:pt x="2937" y="165"/>
                    <a:pt x="2933" y="170"/>
                    <a:pt x="2934" y="176"/>
                  </a:cubicBezTo>
                  <a:cubicBezTo>
                    <a:pt x="2935" y="181"/>
                    <a:pt x="2941" y="186"/>
                    <a:pt x="2947" y="186"/>
                  </a:cubicBezTo>
                  <a:cubicBezTo>
                    <a:pt x="2953" y="186"/>
                    <a:pt x="2957" y="181"/>
                    <a:pt x="2956" y="175"/>
                  </a:cubicBezTo>
                  <a:cubicBezTo>
                    <a:pt x="2955" y="170"/>
                    <a:pt x="2950" y="165"/>
                    <a:pt x="2944" y="165"/>
                  </a:cubicBezTo>
                  <a:cubicBezTo>
                    <a:pt x="2944" y="165"/>
                    <a:pt x="2943" y="165"/>
                    <a:pt x="2943" y="165"/>
                  </a:cubicBezTo>
                  <a:moveTo>
                    <a:pt x="2975" y="165"/>
                  </a:moveTo>
                  <a:cubicBezTo>
                    <a:pt x="2969" y="165"/>
                    <a:pt x="2964" y="170"/>
                    <a:pt x="2965" y="175"/>
                  </a:cubicBezTo>
                  <a:cubicBezTo>
                    <a:pt x="2966" y="181"/>
                    <a:pt x="2972" y="186"/>
                    <a:pt x="2978" y="186"/>
                  </a:cubicBezTo>
                  <a:cubicBezTo>
                    <a:pt x="2984" y="186"/>
                    <a:pt x="2989" y="181"/>
                    <a:pt x="2987" y="175"/>
                  </a:cubicBezTo>
                  <a:cubicBezTo>
                    <a:pt x="2986" y="170"/>
                    <a:pt x="2981" y="165"/>
                    <a:pt x="2975" y="165"/>
                  </a:cubicBezTo>
                  <a:cubicBezTo>
                    <a:pt x="2975" y="165"/>
                    <a:pt x="2975" y="165"/>
                    <a:pt x="2975" y="165"/>
                  </a:cubicBezTo>
                  <a:moveTo>
                    <a:pt x="3006" y="165"/>
                  </a:moveTo>
                  <a:cubicBezTo>
                    <a:pt x="3000" y="165"/>
                    <a:pt x="2996" y="169"/>
                    <a:pt x="2997" y="175"/>
                  </a:cubicBezTo>
                  <a:cubicBezTo>
                    <a:pt x="2998" y="181"/>
                    <a:pt x="3004" y="185"/>
                    <a:pt x="3010" y="185"/>
                  </a:cubicBezTo>
                  <a:cubicBezTo>
                    <a:pt x="3016" y="185"/>
                    <a:pt x="3020" y="181"/>
                    <a:pt x="3019" y="175"/>
                  </a:cubicBezTo>
                  <a:cubicBezTo>
                    <a:pt x="3018" y="169"/>
                    <a:pt x="3012" y="165"/>
                    <a:pt x="3006" y="165"/>
                  </a:cubicBezTo>
                  <a:cubicBezTo>
                    <a:pt x="3006" y="165"/>
                    <a:pt x="3006" y="165"/>
                    <a:pt x="3006" y="165"/>
                  </a:cubicBezTo>
                  <a:moveTo>
                    <a:pt x="3038" y="164"/>
                  </a:moveTo>
                  <a:cubicBezTo>
                    <a:pt x="3032" y="165"/>
                    <a:pt x="3028" y="169"/>
                    <a:pt x="3029" y="175"/>
                  </a:cubicBezTo>
                  <a:cubicBezTo>
                    <a:pt x="3031" y="180"/>
                    <a:pt x="3037" y="185"/>
                    <a:pt x="3043" y="185"/>
                  </a:cubicBezTo>
                  <a:cubicBezTo>
                    <a:pt x="3049" y="185"/>
                    <a:pt x="3053" y="180"/>
                    <a:pt x="3052" y="175"/>
                  </a:cubicBezTo>
                  <a:cubicBezTo>
                    <a:pt x="3050" y="169"/>
                    <a:pt x="3045" y="164"/>
                    <a:pt x="3039" y="164"/>
                  </a:cubicBezTo>
                  <a:cubicBezTo>
                    <a:pt x="3038" y="164"/>
                    <a:pt x="3038" y="164"/>
                    <a:pt x="3038" y="164"/>
                  </a:cubicBezTo>
                  <a:moveTo>
                    <a:pt x="3070" y="164"/>
                  </a:moveTo>
                  <a:cubicBezTo>
                    <a:pt x="3064" y="164"/>
                    <a:pt x="3060" y="169"/>
                    <a:pt x="3061" y="175"/>
                  </a:cubicBezTo>
                  <a:cubicBezTo>
                    <a:pt x="3062" y="180"/>
                    <a:pt x="3068" y="185"/>
                    <a:pt x="3074" y="185"/>
                  </a:cubicBezTo>
                  <a:cubicBezTo>
                    <a:pt x="3080" y="185"/>
                    <a:pt x="3084" y="180"/>
                    <a:pt x="3083" y="174"/>
                  </a:cubicBezTo>
                  <a:cubicBezTo>
                    <a:pt x="3082" y="169"/>
                    <a:pt x="3076" y="164"/>
                    <a:pt x="3070" y="164"/>
                  </a:cubicBezTo>
                  <a:cubicBezTo>
                    <a:pt x="3070" y="164"/>
                    <a:pt x="3070" y="164"/>
                    <a:pt x="3070" y="164"/>
                  </a:cubicBezTo>
                  <a:moveTo>
                    <a:pt x="3101" y="164"/>
                  </a:moveTo>
                  <a:cubicBezTo>
                    <a:pt x="3095" y="164"/>
                    <a:pt x="3091" y="169"/>
                    <a:pt x="3092" y="174"/>
                  </a:cubicBezTo>
                  <a:cubicBezTo>
                    <a:pt x="3094" y="180"/>
                    <a:pt x="3100" y="184"/>
                    <a:pt x="3106" y="184"/>
                  </a:cubicBezTo>
                  <a:cubicBezTo>
                    <a:pt x="3112" y="184"/>
                    <a:pt x="3116" y="180"/>
                    <a:pt x="3114" y="174"/>
                  </a:cubicBezTo>
                  <a:cubicBezTo>
                    <a:pt x="3113" y="168"/>
                    <a:pt x="3107" y="164"/>
                    <a:pt x="3101" y="164"/>
                  </a:cubicBezTo>
                  <a:cubicBezTo>
                    <a:pt x="3101" y="164"/>
                    <a:pt x="3101" y="164"/>
                    <a:pt x="3101" y="164"/>
                  </a:cubicBezTo>
                  <a:moveTo>
                    <a:pt x="3133" y="164"/>
                  </a:moveTo>
                  <a:cubicBezTo>
                    <a:pt x="3127" y="164"/>
                    <a:pt x="3123" y="168"/>
                    <a:pt x="3124" y="174"/>
                  </a:cubicBezTo>
                  <a:cubicBezTo>
                    <a:pt x="3125" y="180"/>
                    <a:pt x="3132" y="184"/>
                    <a:pt x="3138" y="184"/>
                  </a:cubicBezTo>
                  <a:cubicBezTo>
                    <a:pt x="3144" y="184"/>
                    <a:pt x="3148" y="179"/>
                    <a:pt x="3146" y="174"/>
                  </a:cubicBezTo>
                  <a:cubicBezTo>
                    <a:pt x="3145" y="168"/>
                    <a:pt x="3139" y="164"/>
                    <a:pt x="3133" y="164"/>
                  </a:cubicBezTo>
                  <a:cubicBezTo>
                    <a:pt x="3133" y="164"/>
                    <a:pt x="3133" y="164"/>
                    <a:pt x="3133" y="164"/>
                  </a:cubicBezTo>
                  <a:moveTo>
                    <a:pt x="3164" y="163"/>
                  </a:moveTo>
                  <a:cubicBezTo>
                    <a:pt x="3158" y="163"/>
                    <a:pt x="3154" y="168"/>
                    <a:pt x="3155" y="174"/>
                  </a:cubicBezTo>
                  <a:cubicBezTo>
                    <a:pt x="3157" y="179"/>
                    <a:pt x="3163" y="184"/>
                    <a:pt x="3169" y="184"/>
                  </a:cubicBezTo>
                  <a:cubicBezTo>
                    <a:pt x="3175" y="184"/>
                    <a:pt x="3179" y="179"/>
                    <a:pt x="3177" y="173"/>
                  </a:cubicBezTo>
                  <a:cubicBezTo>
                    <a:pt x="3176" y="168"/>
                    <a:pt x="3170" y="163"/>
                    <a:pt x="3164" y="163"/>
                  </a:cubicBezTo>
                  <a:cubicBezTo>
                    <a:pt x="3164" y="163"/>
                    <a:pt x="3164" y="163"/>
                    <a:pt x="3164" y="163"/>
                  </a:cubicBezTo>
                  <a:moveTo>
                    <a:pt x="3195" y="163"/>
                  </a:moveTo>
                  <a:cubicBezTo>
                    <a:pt x="3189" y="163"/>
                    <a:pt x="3185" y="168"/>
                    <a:pt x="3187" y="173"/>
                  </a:cubicBezTo>
                  <a:cubicBezTo>
                    <a:pt x="3188" y="179"/>
                    <a:pt x="3195" y="184"/>
                    <a:pt x="3201" y="184"/>
                  </a:cubicBezTo>
                  <a:cubicBezTo>
                    <a:pt x="3207" y="184"/>
                    <a:pt x="3210" y="179"/>
                    <a:pt x="3209" y="173"/>
                  </a:cubicBezTo>
                  <a:cubicBezTo>
                    <a:pt x="3207" y="168"/>
                    <a:pt x="3201" y="163"/>
                    <a:pt x="3195" y="163"/>
                  </a:cubicBezTo>
                  <a:cubicBezTo>
                    <a:pt x="3195" y="163"/>
                    <a:pt x="3195" y="163"/>
                    <a:pt x="3195" y="163"/>
                  </a:cubicBezTo>
                  <a:moveTo>
                    <a:pt x="3226" y="163"/>
                  </a:moveTo>
                  <a:cubicBezTo>
                    <a:pt x="3220" y="163"/>
                    <a:pt x="3217" y="167"/>
                    <a:pt x="3218" y="173"/>
                  </a:cubicBezTo>
                  <a:cubicBezTo>
                    <a:pt x="3220" y="179"/>
                    <a:pt x="3226" y="183"/>
                    <a:pt x="3232" y="183"/>
                  </a:cubicBezTo>
                  <a:cubicBezTo>
                    <a:pt x="3238" y="183"/>
                    <a:pt x="3242" y="179"/>
                    <a:pt x="3240" y="173"/>
                  </a:cubicBezTo>
                  <a:cubicBezTo>
                    <a:pt x="3239" y="167"/>
                    <a:pt x="3233" y="163"/>
                    <a:pt x="3227" y="163"/>
                  </a:cubicBezTo>
                  <a:cubicBezTo>
                    <a:pt x="3226" y="163"/>
                    <a:pt x="3226" y="163"/>
                    <a:pt x="3226" y="163"/>
                  </a:cubicBezTo>
                  <a:moveTo>
                    <a:pt x="3258" y="162"/>
                  </a:moveTo>
                  <a:cubicBezTo>
                    <a:pt x="3252" y="163"/>
                    <a:pt x="3248" y="167"/>
                    <a:pt x="3250" y="173"/>
                  </a:cubicBezTo>
                  <a:cubicBezTo>
                    <a:pt x="3251" y="179"/>
                    <a:pt x="3257" y="183"/>
                    <a:pt x="3263" y="183"/>
                  </a:cubicBezTo>
                  <a:cubicBezTo>
                    <a:pt x="3270" y="183"/>
                    <a:pt x="3273" y="178"/>
                    <a:pt x="3272" y="173"/>
                  </a:cubicBezTo>
                  <a:cubicBezTo>
                    <a:pt x="3270" y="167"/>
                    <a:pt x="3264" y="162"/>
                    <a:pt x="3258" y="162"/>
                  </a:cubicBezTo>
                  <a:cubicBezTo>
                    <a:pt x="3258" y="162"/>
                    <a:pt x="3258" y="162"/>
                    <a:pt x="3258" y="162"/>
                  </a:cubicBezTo>
                  <a:moveTo>
                    <a:pt x="3289" y="162"/>
                  </a:moveTo>
                  <a:cubicBezTo>
                    <a:pt x="3283" y="162"/>
                    <a:pt x="3279" y="167"/>
                    <a:pt x="3281" y="173"/>
                  </a:cubicBezTo>
                  <a:cubicBezTo>
                    <a:pt x="3282" y="178"/>
                    <a:pt x="3289" y="183"/>
                    <a:pt x="3295" y="183"/>
                  </a:cubicBezTo>
                  <a:cubicBezTo>
                    <a:pt x="3301" y="183"/>
                    <a:pt x="3305" y="178"/>
                    <a:pt x="3303" y="172"/>
                  </a:cubicBezTo>
                  <a:cubicBezTo>
                    <a:pt x="3301" y="167"/>
                    <a:pt x="3295" y="162"/>
                    <a:pt x="3289" y="162"/>
                  </a:cubicBezTo>
                  <a:cubicBezTo>
                    <a:pt x="3289" y="162"/>
                    <a:pt x="3289" y="162"/>
                    <a:pt x="3289" y="162"/>
                  </a:cubicBezTo>
                  <a:moveTo>
                    <a:pt x="3320" y="162"/>
                  </a:moveTo>
                  <a:cubicBezTo>
                    <a:pt x="3314" y="162"/>
                    <a:pt x="3311" y="167"/>
                    <a:pt x="3312" y="172"/>
                  </a:cubicBezTo>
                  <a:cubicBezTo>
                    <a:pt x="3314" y="178"/>
                    <a:pt x="3320" y="183"/>
                    <a:pt x="3327" y="182"/>
                  </a:cubicBezTo>
                  <a:cubicBezTo>
                    <a:pt x="3333" y="182"/>
                    <a:pt x="3336" y="178"/>
                    <a:pt x="3334" y="172"/>
                  </a:cubicBezTo>
                  <a:cubicBezTo>
                    <a:pt x="3333" y="166"/>
                    <a:pt x="3326" y="162"/>
                    <a:pt x="3320" y="162"/>
                  </a:cubicBezTo>
                  <a:cubicBezTo>
                    <a:pt x="3320" y="162"/>
                    <a:pt x="3320" y="162"/>
                    <a:pt x="3320" y="162"/>
                  </a:cubicBezTo>
                  <a:moveTo>
                    <a:pt x="3352" y="162"/>
                  </a:moveTo>
                  <a:cubicBezTo>
                    <a:pt x="3346" y="162"/>
                    <a:pt x="3343" y="166"/>
                    <a:pt x="3345" y="172"/>
                  </a:cubicBezTo>
                  <a:cubicBezTo>
                    <a:pt x="3347" y="178"/>
                    <a:pt x="3353" y="182"/>
                    <a:pt x="3359" y="182"/>
                  </a:cubicBezTo>
                  <a:cubicBezTo>
                    <a:pt x="3365" y="182"/>
                    <a:pt x="3369" y="177"/>
                    <a:pt x="3367" y="172"/>
                  </a:cubicBezTo>
                  <a:cubicBezTo>
                    <a:pt x="3365" y="166"/>
                    <a:pt x="3359" y="162"/>
                    <a:pt x="3353" y="162"/>
                  </a:cubicBezTo>
                  <a:cubicBezTo>
                    <a:pt x="3353" y="162"/>
                    <a:pt x="3352" y="162"/>
                    <a:pt x="3352" y="162"/>
                  </a:cubicBezTo>
                  <a:moveTo>
                    <a:pt x="3384" y="161"/>
                  </a:moveTo>
                  <a:cubicBezTo>
                    <a:pt x="3378" y="161"/>
                    <a:pt x="3374" y="166"/>
                    <a:pt x="3376" y="172"/>
                  </a:cubicBezTo>
                  <a:cubicBezTo>
                    <a:pt x="3378" y="177"/>
                    <a:pt x="3384" y="182"/>
                    <a:pt x="3390" y="182"/>
                  </a:cubicBezTo>
                  <a:cubicBezTo>
                    <a:pt x="3397" y="182"/>
                    <a:pt x="3400" y="177"/>
                    <a:pt x="3398" y="171"/>
                  </a:cubicBezTo>
                  <a:cubicBezTo>
                    <a:pt x="3396" y="166"/>
                    <a:pt x="3390" y="161"/>
                    <a:pt x="3384" y="161"/>
                  </a:cubicBezTo>
                  <a:cubicBezTo>
                    <a:pt x="3384" y="161"/>
                    <a:pt x="3384" y="161"/>
                    <a:pt x="3384" y="161"/>
                  </a:cubicBezTo>
                  <a:moveTo>
                    <a:pt x="3415" y="161"/>
                  </a:moveTo>
                  <a:cubicBezTo>
                    <a:pt x="3409" y="161"/>
                    <a:pt x="3406" y="166"/>
                    <a:pt x="3408" y="171"/>
                  </a:cubicBezTo>
                  <a:cubicBezTo>
                    <a:pt x="3409" y="177"/>
                    <a:pt x="3416" y="182"/>
                    <a:pt x="3422" y="182"/>
                  </a:cubicBezTo>
                  <a:cubicBezTo>
                    <a:pt x="3428" y="182"/>
                    <a:pt x="3432" y="177"/>
                    <a:pt x="3430" y="171"/>
                  </a:cubicBezTo>
                  <a:cubicBezTo>
                    <a:pt x="3428" y="166"/>
                    <a:pt x="3421" y="161"/>
                    <a:pt x="3415" y="161"/>
                  </a:cubicBezTo>
                  <a:cubicBezTo>
                    <a:pt x="3415" y="161"/>
                    <a:pt x="3415" y="161"/>
                    <a:pt x="3415" y="161"/>
                  </a:cubicBezTo>
                  <a:moveTo>
                    <a:pt x="3447" y="161"/>
                  </a:moveTo>
                  <a:cubicBezTo>
                    <a:pt x="3441" y="161"/>
                    <a:pt x="3437" y="165"/>
                    <a:pt x="3439" y="171"/>
                  </a:cubicBezTo>
                  <a:cubicBezTo>
                    <a:pt x="3441" y="177"/>
                    <a:pt x="3448" y="181"/>
                    <a:pt x="3454" y="181"/>
                  </a:cubicBezTo>
                  <a:cubicBezTo>
                    <a:pt x="3460" y="181"/>
                    <a:pt x="3463" y="177"/>
                    <a:pt x="3461" y="171"/>
                  </a:cubicBezTo>
                  <a:cubicBezTo>
                    <a:pt x="3459" y="165"/>
                    <a:pt x="3453" y="161"/>
                    <a:pt x="3447" y="161"/>
                  </a:cubicBezTo>
                  <a:cubicBezTo>
                    <a:pt x="3447" y="161"/>
                    <a:pt x="3447" y="161"/>
                    <a:pt x="3447" y="161"/>
                  </a:cubicBezTo>
                  <a:moveTo>
                    <a:pt x="3478" y="160"/>
                  </a:moveTo>
                  <a:cubicBezTo>
                    <a:pt x="3472" y="161"/>
                    <a:pt x="3469" y="165"/>
                    <a:pt x="3471" y="171"/>
                  </a:cubicBezTo>
                  <a:cubicBezTo>
                    <a:pt x="3473" y="177"/>
                    <a:pt x="3479" y="181"/>
                    <a:pt x="3485" y="181"/>
                  </a:cubicBezTo>
                  <a:cubicBezTo>
                    <a:pt x="3492" y="181"/>
                    <a:pt x="3495" y="176"/>
                    <a:pt x="3493" y="171"/>
                  </a:cubicBezTo>
                  <a:cubicBezTo>
                    <a:pt x="3490" y="165"/>
                    <a:pt x="3484" y="160"/>
                    <a:pt x="3478" y="160"/>
                  </a:cubicBezTo>
                  <a:cubicBezTo>
                    <a:pt x="3478" y="160"/>
                    <a:pt x="3478" y="160"/>
                    <a:pt x="3478" y="160"/>
                  </a:cubicBezTo>
                  <a:moveTo>
                    <a:pt x="3509" y="160"/>
                  </a:moveTo>
                  <a:cubicBezTo>
                    <a:pt x="3503" y="160"/>
                    <a:pt x="3500" y="165"/>
                    <a:pt x="3502" y="171"/>
                  </a:cubicBezTo>
                  <a:cubicBezTo>
                    <a:pt x="3504" y="176"/>
                    <a:pt x="3511" y="181"/>
                    <a:pt x="3517" y="181"/>
                  </a:cubicBezTo>
                  <a:cubicBezTo>
                    <a:pt x="3523" y="181"/>
                    <a:pt x="3526" y="176"/>
                    <a:pt x="3524" y="170"/>
                  </a:cubicBezTo>
                  <a:cubicBezTo>
                    <a:pt x="3522" y="165"/>
                    <a:pt x="3515" y="160"/>
                    <a:pt x="3509" y="160"/>
                  </a:cubicBezTo>
                  <a:cubicBezTo>
                    <a:pt x="3509" y="160"/>
                    <a:pt x="3509" y="160"/>
                    <a:pt x="3509" y="160"/>
                  </a:cubicBezTo>
                  <a:moveTo>
                    <a:pt x="3540" y="160"/>
                  </a:moveTo>
                  <a:cubicBezTo>
                    <a:pt x="3534" y="160"/>
                    <a:pt x="3531" y="165"/>
                    <a:pt x="3533" y="170"/>
                  </a:cubicBezTo>
                  <a:cubicBezTo>
                    <a:pt x="3535" y="176"/>
                    <a:pt x="3542" y="181"/>
                    <a:pt x="3548" y="180"/>
                  </a:cubicBezTo>
                  <a:cubicBezTo>
                    <a:pt x="3554" y="180"/>
                    <a:pt x="3558" y="176"/>
                    <a:pt x="3555" y="170"/>
                  </a:cubicBezTo>
                  <a:cubicBezTo>
                    <a:pt x="3553" y="164"/>
                    <a:pt x="3546" y="160"/>
                    <a:pt x="3540" y="160"/>
                  </a:cubicBezTo>
                  <a:cubicBezTo>
                    <a:pt x="3540" y="160"/>
                    <a:pt x="3540" y="160"/>
                    <a:pt x="3540" y="160"/>
                  </a:cubicBezTo>
                  <a:moveTo>
                    <a:pt x="3572" y="160"/>
                  </a:moveTo>
                  <a:cubicBezTo>
                    <a:pt x="3566" y="160"/>
                    <a:pt x="3563" y="164"/>
                    <a:pt x="3565" y="170"/>
                  </a:cubicBezTo>
                  <a:cubicBezTo>
                    <a:pt x="3568" y="176"/>
                    <a:pt x="3574" y="180"/>
                    <a:pt x="3580" y="180"/>
                  </a:cubicBezTo>
                  <a:cubicBezTo>
                    <a:pt x="3587" y="180"/>
                    <a:pt x="3590" y="175"/>
                    <a:pt x="3587" y="170"/>
                  </a:cubicBezTo>
                  <a:cubicBezTo>
                    <a:pt x="3585" y="164"/>
                    <a:pt x="3578" y="160"/>
                    <a:pt x="3572" y="160"/>
                  </a:cubicBezTo>
                  <a:cubicBezTo>
                    <a:pt x="3572" y="160"/>
                    <a:pt x="3572" y="160"/>
                    <a:pt x="3572" y="160"/>
                  </a:cubicBezTo>
                  <a:moveTo>
                    <a:pt x="3603" y="159"/>
                  </a:moveTo>
                  <a:cubicBezTo>
                    <a:pt x="3597" y="159"/>
                    <a:pt x="3594" y="164"/>
                    <a:pt x="3597" y="170"/>
                  </a:cubicBezTo>
                  <a:cubicBezTo>
                    <a:pt x="3599" y="175"/>
                    <a:pt x="3606" y="180"/>
                    <a:pt x="3612" y="180"/>
                  </a:cubicBezTo>
                  <a:cubicBezTo>
                    <a:pt x="3618" y="180"/>
                    <a:pt x="3621" y="175"/>
                    <a:pt x="3619" y="169"/>
                  </a:cubicBezTo>
                  <a:cubicBezTo>
                    <a:pt x="3616" y="164"/>
                    <a:pt x="3610" y="159"/>
                    <a:pt x="3604" y="159"/>
                  </a:cubicBezTo>
                  <a:cubicBezTo>
                    <a:pt x="3603" y="159"/>
                    <a:pt x="3603" y="159"/>
                    <a:pt x="3603" y="159"/>
                  </a:cubicBezTo>
                  <a:moveTo>
                    <a:pt x="415" y="159"/>
                  </a:moveTo>
                  <a:cubicBezTo>
                    <a:pt x="409" y="159"/>
                    <a:pt x="400" y="164"/>
                    <a:pt x="396" y="169"/>
                  </a:cubicBezTo>
                  <a:cubicBezTo>
                    <a:pt x="391" y="175"/>
                    <a:pt x="392" y="179"/>
                    <a:pt x="398" y="179"/>
                  </a:cubicBezTo>
                  <a:cubicBezTo>
                    <a:pt x="404" y="179"/>
                    <a:pt x="413" y="175"/>
                    <a:pt x="418" y="169"/>
                  </a:cubicBezTo>
                  <a:cubicBezTo>
                    <a:pt x="422" y="164"/>
                    <a:pt x="421" y="159"/>
                    <a:pt x="415" y="159"/>
                  </a:cubicBezTo>
                  <a:cubicBezTo>
                    <a:pt x="415" y="159"/>
                    <a:pt x="415" y="159"/>
                    <a:pt x="415" y="159"/>
                  </a:cubicBezTo>
                  <a:moveTo>
                    <a:pt x="3636" y="159"/>
                  </a:moveTo>
                  <a:cubicBezTo>
                    <a:pt x="3630" y="159"/>
                    <a:pt x="3627" y="164"/>
                    <a:pt x="3629" y="169"/>
                  </a:cubicBezTo>
                  <a:cubicBezTo>
                    <a:pt x="3632" y="175"/>
                    <a:pt x="3639" y="180"/>
                    <a:pt x="3645" y="180"/>
                  </a:cubicBezTo>
                  <a:cubicBezTo>
                    <a:pt x="3651" y="180"/>
                    <a:pt x="3654" y="175"/>
                    <a:pt x="3651" y="169"/>
                  </a:cubicBezTo>
                  <a:cubicBezTo>
                    <a:pt x="3649" y="164"/>
                    <a:pt x="3642" y="159"/>
                    <a:pt x="3636" y="159"/>
                  </a:cubicBezTo>
                  <a:cubicBezTo>
                    <a:pt x="3636" y="159"/>
                    <a:pt x="3636" y="159"/>
                    <a:pt x="3636" y="159"/>
                  </a:cubicBezTo>
                  <a:moveTo>
                    <a:pt x="447" y="159"/>
                  </a:moveTo>
                  <a:cubicBezTo>
                    <a:pt x="441" y="159"/>
                    <a:pt x="433" y="164"/>
                    <a:pt x="428" y="169"/>
                  </a:cubicBezTo>
                  <a:cubicBezTo>
                    <a:pt x="424" y="175"/>
                    <a:pt x="425" y="179"/>
                    <a:pt x="431" y="179"/>
                  </a:cubicBezTo>
                  <a:cubicBezTo>
                    <a:pt x="437" y="179"/>
                    <a:pt x="446" y="174"/>
                    <a:pt x="450" y="169"/>
                  </a:cubicBezTo>
                  <a:cubicBezTo>
                    <a:pt x="455" y="163"/>
                    <a:pt x="453" y="159"/>
                    <a:pt x="447" y="159"/>
                  </a:cubicBezTo>
                  <a:cubicBezTo>
                    <a:pt x="447" y="159"/>
                    <a:pt x="447" y="159"/>
                    <a:pt x="447" y="159"/>
                  </a:cubicBezTo>
                  <a:moveTo>
                    <a:pt x="3667" y="159"/>
                  </a:moveTo>
                  <a:cubicBezTo>
                    <a:pt x="3661" y="159"/>
                    <a:pt x="3658" y="163"/>
                    <a:pt x="3660" y="169"/>
                  </a:cubicBezTo>
                  <a:cubicBezTo>
                    <a:pt x="3663" y="175"/>
                    <a:pt x="3670" y="179"/>
                    <a:pt x="3676" y="179"/>
                  </a:cubicBezTo>
                  <a:cubicBezTo>
                    <a:pt x="3682" y="179"/>
                    <a:pt x="3685" y="175"/>
                    <a:pt x="3682" y="169"/>
                  </a:cubicBezTo>
                  <a:cubicBezTo>
                    <a:pt x="3680" y="163"/>
                    <a:pt x="3673" y="159"/>
                    <a:pt x="3667" y="159"/>
                  </a:cubicBezTo>
                  <a:cubicBezTo>
                    <a:pt x="3667" y="159"/>
                    <a:pt x="3667" y="159"/>
                    <a:pt x="3667" y="159"/>
                  </a:cubicBezTo>
                  <a:moveTo>
                    <a:pt x="478" y="159"/>
                  </a:moveTo>
                  <a:cubicBezTo>
                    <a:pt x="472" y="159"/>
                    <a:pt x="464" y="163"/>
                    <a:pt x="460" y="169"/>
                  </a:cubicBezTo>
                  <a:cubicBezTo>
                    <a:pt x="455" y="174"/>
                    <a:pt x="456" y="179"/>
                    <a:pt x="463" y="179"/>
                  </a:cubicBezTo>
                  <a:cubicBezTo>
                    <a:pt x="469" y="179"/>
                    <a:pt x="477" y="174"/>
                    <a:pt x="482" y="169"/>
                  </a:cubicBezTo>
                  <a:cubicBezTo>
                    <a:pt x="486" y="163"/>
                    <a:pt x="485" y="159"/>
                    <a:pt x="479" y="159"/>
                  </a:cubicBezTo>
                  <a:cubicBezTo>
                    <a:pt x="479" y="159"/>
                    <a:pt x="479" y="159"/>
                    <a:pt x="478" y="159"/>
                  </a:cubicBezTo>
                  <a:moveTo>
                    <a:pt x="3698" y="158"/>
                  </a:moveTo>
                  <a:cubicBezTo>
                    <a:pt x="3692" y="159"/>
                    <a:pt x="3689" y="163"/>
                    <a:pt x="3692" y="169"/>
                  </a:cubicBezTo>
                  <a:cubicBezTo>
                    <a:pt x="3694" y="175"/>
                    <a:pt x="3701" y="179"/>
                    <a:pt x="3708" y="179"/>
                  </a:cubicBezTo>
                  <a:cubicBezTo>
                    <a:pt x="3714" y="179"/>
                    <a:pt x="3716" y="174"/>
                    <a:pt x="3714" y="169"/>
                  </a:cubicBezTo>
                  <a:cubicBezTo>
                    <a:pt x="3711" y="163"/>
                    <a:pt x="3704" y="158"/>
                    <a:pt x="3698" y="158"/>
                  </a:cubicBezTo>
                  <a:cubicBezTo>
                    <a:pt x="3698" y="158"/>
                    <a:pt x="3698" y="158"/>
                    <a:pt x="3698" y="158"/>
                  </a:cubicBezTo>
                  <a:moveTo>
                    <a:pt x="510" y="158"/>
                  </a:moveTo>
                  <a:cubicBezTo>
                    <a:pt x="504" y="158"/>
                    <a:pt x="495" y="163"/>
                    <a:pt x="491" y="169"/>
                  </a:cubicBezTo>
                  <a:cubicBezTo>
                    <a:pt x="487" y="174"/>
                    <a:pt x="488" y="179"/>
                    <a:pt x="494" y="179"/>
                  </a:cubicBezTo>
                  <a:cubicBezTo>
                    <a:pt x="500" y="178"/>
                    <a:pt x="509" y="174"/>
                    <a:pt x="513" y="168"/>
                  </a:cubicBezTo>
                  <a:cubicBezTo>
                    <a:pt x="517" y="163"/>
                    <a:pt x="516" y="158"/>
                    <a:pt x="510" y="158"/>
                  </a:cubicBezTo>
                  <a:cubicBezTo>
                    <a:pt x="510" y="158"/>
                    <a:pt x="510" y="158"/>
                    <a:pt x="510" y="158"/>
                  </a:cubicBezTo>
                  <a:moveTo>
                    <a:pt x="3730" y="158"/>
                  </a:moveTo>
                  <a:cubicBezTo>
                    <a:pt x="3724" y="158"/>
                    <a:pt x="3721" y="163"/>
                    <a:pt x="3724" y="169"/>
                  </a:cubicBezTo>
                  <a:cubicBezTo>
                    <a:pt x="3726" y="174"/>
                    <a:pt x="3733" y="179"/>
                    <a:pt x="3739" y="179"/>
                  </a:cubicBezTo>
                  <a:cubicBezTo>
                    <a:pt x="3746" y="179"/>
                    <a:pt x="3748" y="174"/>
                    <a:pt x="3746" y="168"/>
                  </a:cubicBezTo>
                  <a:cubicBezTo>
                    <a:pt x="3743" y="163"/>
                    <a:pt x="3736" y="158"/>
                    <a:pt x="3730" y="158"/>
                  </a:cubicBezTo>
                  <a:cubicBezTo>
                    <a:pt x="3730" y="158"/>
                    <a:pt x="3730" y="158"/>
                    <a:pt x="3730" y="158"/>
                  </a:cubicBezTo>
                  <a:moveTo>
                    <a:pt x="542" y="158"/>
                  </a:moveTo>
                  <a:cubicBezTo>
                    <a:pt x="536" y="158"/>
                    <a:pt x="528" y="163"/>
                    <a:pt x="523" y="168"/>
                  </a:cubicBezTo>
                  <a:cubicBezTo>
                    <a:pt x="519" y="174"/>
                    <a:pt x="521" y="178"/>
                    <a:pt x="527" y="178"/>
                  </a:cubicBezTo>
                  <a:cubicBezTo>
                    <a:pt x="533" y="178"/>
                    <a:pt x="541" y="174"/>
                    <a:pt x="545" y="168"/>
                  </a:cubicBezTo>
                  <a:cubicBezTo>
                    <a:pt x="550" y="162"/>
                    <a:pt x="548" y="158"/>
                    <a:pt x="542" y="158"/>
                  </a:cubicBezTo>
                  <a:cubicBezTo>
                    <a:pt x="542" y="158"/>
                    <a:pt x="542" y="158"/>
                    <a:pt x="542" y="158"/>
                  </a:cubicBezTo>
                  <a:moveTo>
                    <a:pt x="3761" y="158"/>
                  </a:moveTo>
                  <a:cubicBezTo>
                    <a:pt x="3755" y="158"/>
                    <a:pt x="3752" y="163"/>
                    <a:pt x="3755" y="168"/>
                  </a:cubicBezTo>
                  <a:cubicBezTo>
                    <a:pt x="3758" y="174"/>
                    <a:pt x="3765" y="179"/>
                    <a:pt x="3771" y="178"/>
                  </a:cubicBezTo>
                  <a:cubicBezTo>
                    <a:pt x="3777" y="178"/>
                    <a:pt x="3780" y="174"/>
                    <a:pt x="3777" y="168"/>
                  </a:cubicBezTo>
                  <a:cubicBezTo>
                    <a:pt x="3774" y="162"/>
                    <a:pt x="3767" y="158"/>
                    <a:pt x="3761" y="158"/>
                  </a:cubicBezTo>
                  <a:cubicBezTo>
                    <a:pt x="3761" y="158"/>
                    <a:pt x="3761" y="158"/>
                    <a:pt x="3761" y="158"/>
                  </a:cubicBezTo>
                  <a:moveTo>
                    <a:pt x="573" y="158"/>
                  </a:moveTo>
                  <a:cubicBezTo>
                    <a:pt x="567" y="158"/>
                    <a:pt x="559" y="162"/>
                    <a:pt x="555" y="168"/>
                  </a:cubicBezTo>
                  <a:cubicBezTo>
                    <a:pt x="550" y="174"/>
                    <a:pt x="552" y="178"/>
                    <a:pt x="558" y="178"/>
                  </a:cubicBezTo>
                  <a:cubicBezTo>
                    <a:pt x="564" y="178"/>
                    <a:pt x="573" y="173"/>
                    <a:pt x="577" y="168"/>
                  </a:cubicBezTo>
                  <a:cubicBezTo>
                    <a:pt x="581" y="162"/>
                    <a:pt x="579" y="158"/>
                    <a:pt x="573" y="158"/>
                  </a:cubicBezTo>
                  <a:cubicBezTo>
                    <a:pt x="573" y="158"/>
                    <a:pt x="573" y="158"/>
                    <a:pt x="573" y="158"/>
                  </a:cubicBezTo>
                  <a:moveTo>
                    <a:pt x="3792" y="158"/>
                  </a:moveTo>
                  <a:cubicBezTo>
                    <a:pt x="3786" y="158"/>
                    <a:pt x="3784" y="162"/>
                    <a:pt x="3786" y="168"/>
                  </a:cubicBezTo>
                  <a:cubicBezTo>
                    <a:pt x="3789" y="174"/>
                    <a:pt x="3796" y="178"/>
                    <a:pt x="3802" y="178"/>
                  </a:cubicBezTo>
                  <a:cubicBezTo>
                    <a:pt x="3808" y="178"/>
                    <a:pt x="3811" y="173"/>
                    <a:pt x="3808" y="168"/>
                  </a:cubicBezTo>
                  <a:cubicBezTo>
                    <a:pt x="3805" y="162"/>
                    <a:pt x="3798" y="158"/>
                    <a:pt x="3792" y="158"/>
                  </a:cubicBezTo>
                  <a:cubicBezTo>
                    <a:pt x="3792" y="158"/>
                    <a:pt x="3792" y="158"/>
                    <a:pt x="3792" y="158"/>
                  </a:cubicBezTo>
                  <a:moveTo>
                    <a:pt x="729" y="158"/>
                  </a:moveTo>
                  <a:cubicBezTo>
                    <a:pt x="723" y="158"/>
                    <a:pt x="715" y="162"/>
                    <a:pt x="711" y="168"/>
                  </a:cubicBezTo>
                  <a:cubicBezTo>
                    <a:pt x="708" y="173"/>
                    <a:pt x="709" y="178"/>
                    <a:pt x="715" y="178"/>
                  </a:cubicBezTo>
                  <a:cubicBezTo>
                    <a:pt x="722" y="178"/>
                    <a:pt x="730" y="173"/>
                    <a:pt x="733" y="168"/>
                  </a:cubicBezTo>
                  <a:cubicBezTo>
                    <a:pt x="737" y="162"/>
                    <a:pt x="735" y="158"/>
                    <a:pt x="729" y="158"/>
                  </a:cubicBezTo>
                  <a:cubicBezTo>
                    <a:pt x="729" y="158"/>
                    <a:pt x="729" y="158"/>
                    <a:pt x="729" y="158"/>
                  </a:cubicBezTo>
                  <a:moveTo>
                    <a:pt x="605" y="157"/>
                  </a:moveTo>
                  <a:cubicBezTo>
                    <a:pt x="598" y="157"/>
                    <a:pt x="590" y="162"/>
                    <a:pt x="586" y="168"/>
                  </a:cubicBezTo>
                  <a:cubicBezTo>
                    <a:pt x="582" y="173"/>
                    <a:pt x="584" y="178"/>
                    <a:pt x="590" y="178"/>
                  </a:cubicBezTo>
                  <a:cubicBezTo>
                    <a:pt x="596" y="178"/>
                    <a:pt x="604" y="173"/>
                    <a:pt x="608" y="167"/>
                  </a:cubicBezTo>
                  <a:cubicBezTo>
                    <a:pt x="612" y="162"/>
                    <a:pt x="611" y="157"/>
                    <a:pt x="605" y="157"/>
                  </a:cubicBezTo>
                  <a:cubicBezTo>
                    <a:pt x="605" y="157"/>
                    <a:pt x="605" y="157"/>
                    <a:pt x="605" y="157"/>
                  </a:cubicBezTo>
                  <a:moveTo>
                    <a:pt x="3823" y="157"/>
                  </a:moveTo>
                  <a:cubicBezTo>
                    <a:pt x="3817" y="157"/>
                    <a:pt x="3815" y="162"/>
                    <a:pt x="3817" y="168"/>
                  </a:cubicBezTo>
                  <a:cubicBezTo>
                    <a:pt x="3820" y="173"/>
                    <a:pt x="3828" y="178"/>
                    <a:pt x="3834" y="178"/>
                  </a:cubicBezTo>
                  <a:cubicBezTo>
                    <a:pt x="3840" y="178"/>
                    <a:pt x="3842" y="173"/>
                    <a:pt x="3839" y="167"/>
                  </a:cubicBezTo>
                  <a:cubicBezTo>
                    <a:pt x="3837" y="162"/>
                    <a:pt x="3829" y="157"/>
                    <a:pt x="3823" y="157"/>
                  </a:cubicBezTo>
                  <a:cubicBezTo>
                    <a:pt x="3823" y="157"/>
                    <a:pt x="3823" y="157"/>
                    <a:pt x="3823" y="157"/>
                  </a:cubicBezTo>
                  <a:moveTo>
                    <a:pt x="761" y="157"/>
                  </a:moveTo>
                  <a:cubicBezTo>
                    <a:pt x="755" y="157"/>
                    <a:pt x="747" y="162"/>
                    <a:pt x="743" y="167"/>
                  </a:cubicBezTo>
                  <a:cubicBezTo>
                    <a:pt x="739" y="173"/>
                    <a:pt x="741" y="178"/>
                    <a:pt x="747" y="178"/>
                  </a:cubicBezTo>
                  <a:cubicBezTo>
                    <a:pt x="753" y="177"/>
                    <a:pt x="761" y="173"/>
                    <a:pt x="765" y="167"/>
                  </a:cubicBezTo>
                  <a:cubicBezTo>
                    <a:pt x="769" y="162"/>
                    <a:pt x="767" y="157"/>
                    <a:pt x="761" y="157"/>
                  </a:cubicBezTo>
                  <a:cubicBezTo>
                    <a:pt x="761" y="157"/>
                    <a:pt x="761" y="157"/>
                    <a:pt x="761" y="157"/>
                  </a:cubicBezTo>
                  <a:moveTo>
                    <a:pt x="636" y="157"/>
                  </a:moveTo>
                  <a:cubicBezTo>
                    <a:pt x="630" y="157"/>
                    <a:pt x="621" y="162"/>
                    <a:pt x="617" y="167"/>
                  </a:cubicBezTo>
                  <a:cubicBezTo>
                    <a:pt x="613" y="173"/>
                    <a:pt x="615" y="177"/>
                    <a:pt x="621" y="177"/>
                  </a:cubicBezTo>
                  <a:cubicBezTo>
                    <a:pt x="627" y="177"/>
                    <a:pt x="635" y="173"/>
                    <a:pt x="639" y="167"/>
                  </a:cubicBezTo>
                  <a:cubicBezTo>
                    <a:pt x="643" y="162"/>
                    <a:pt x="642" y="157"/>
                    <a:pt x="636" y="157"/>
                  </a:cubicBezTo>
                  <a:cubicBezTo>
                    <a:pt x="636" y="157"/>
                    <a:pt x="636" y="157"/>
                    <a:pt x="636" y="157"/>
                  </a:cubicBezTo>
                  <a:moveTo>
                    <a:pt x="3854" y="157"/>
                  </a:moveTo>
                  <a:cubicBezTo>
                    <a:pt x="3848" y="157"/>
                    <a:pt x="3846" y="162"/>
                    <a:pt x="3849" y="167"/>
                  </a:cubicBezTo>
                  <a:cubicBezTo>
                    <a:pt x="3852" y="173"/>
                    <a:pt x="3859" y="178"/>
                    <a:pt x="3865" y="178"/>
                  </a:cubicBezTo>
                  <a:cubicBezTo>
                    <a:pt x="3871" y="178"/>
                    <a:pt x="3874" y="173"/>
                    <a:pt x="3871" y="167"/>
                  </a:cubicBezTo>
                  <a:cubicBezTo>
                    <a:pt x="3868" y="162"/>
                    <a:pt x="3861" y="157"/>
                    <a:pt x="3855" y="157"/>
                  </a:cubicBezTo>
                  <a:cubicBezTo>
                    <a:pt x="3855" y="157"/>
                    <a:pt x="3854" y="157"/>
                    <a:pt x="3854" y="157"/>
                  </a:cubicBezTo>
                  <a:moveTo>
                    <a:pt x="792" y="157"/>
                  </a:moveTo>
                  <a:cubicBezTo>
                    <a:pt x="786" y="157"/>
                    <a:pt x="778" y="162"/>
                    <a:pt x="775" y="167"/>
                  </a:cubicBezTo>
                  <a:cubicBezTo>
                    <a:pt x="771" y="173"/>
                    <a:pt x="773" y="177"/>
                    <a:pt x="779" y="177"/>
                  </a:cubicBezTo>
                  <a:cubicBezTo>
                    <a:pt x="785" y="177"/>
                    <a:pt x="793" y="173"/>
                    <a:pt x="797" y="167"/>
                  </a:cubicBezTo>
                  <a:cubicBezTo>
                    <a:pt x="800" y="161"/>
                    <a:pt x="798" y="157"/>
                    <a:pt x="792" y="157"/>
                  </a:cubicBezTo>
                  <a:cubicBezTo>
                    <a:pt x="792" y="157"/>
                    <a:pt x="792" y="157"/>
                    <a:pt x="792" y="157"/>
                  </a:cubicBezTo>
                  <a:moveTo>
                    <a:pt x="667" y="157"/>
                  </a:moveTo>
                  <a:cubicBezTo>
                    <a:pt x="661" y="157"/>
                    <a:pt x="653" y="161"/>
                    <a:pt x="649" y="167"/>
                  </a:cubicBezTo>
                  <a:cubicBezTo>
                    <a:pt x="645" y="173"/>
                    <a:pt x="646" y="177"/>
                    <a:pt x="653" y="177"/>
                  </a:cubicBezTo>
                  <a:cubicBezTo>
                    <a:pt x="659" y="177"/>
                    <a:pt x="667" y="172"/>
                    <a:pt x="671" y="167"/>
                  </a:cubicBezTo>
                  <a:cubicBezTo>
                    <a:pt x="675" y="161"/>
                    <a:pt x="673" y="157"/>
                    <a:pt x="667" y="157"/>
                  </a:cubicBezTo>
                  <a:cubicBezTo>
                    <a:pt x="667" y="157"/>
                    <a:pt x="667" y="157"/>
                    <a:pt x="667" y="157"/>
                  </a:cubicBezTo>
                  <a:moveTo>
                    <a:pt x="3886" y="157"/>
                  </a:moveTo>
                  <a:cubicBezTo>
                    <a:pt x="3879" y="157"/>
                    <a:pt x="3877" y="161"/>
                    <a:pt x="3880" y="167"/>
                  </a:cubicBezTo>
                  <a:cubicBezTo>
                    <a:pt x="3883" y="173"/>
                    <a:pt x="3890" y="177"/>
                    <a:pt x="3896" y="177"/>
                  </a:cubicBezTo>
                  <a:cubicBezTo>
                    <a:pt x="3902" y="177"/>
                    <a:pt x="3905" y="173"/>
                    <a:pt x="3902" y="167"/>
                  </a:cubicBezTo>
                  <a:cubicBezTo>
                    <a:pt x="3899" y="161"/>
                    <a:pt x="3892" y="157"/>
                    <a:pt x="3886" y="157"/>
                  </a:cubicBezTo>
                  <a:cubicBezTo>
                    <a:pt x="3886" y="157"/>
                    <a:pt x="3886" y="157"/>
                    <a:pt x="3886" y="157"/>
                  </a:cubicBezTo>
                  <a:moveTo>
                    <a:pt x="823" y="157"/>
                  </a:moveTo>
                  <a:cubicBezTo>
                    <a:pt x="817" y="157"/>
                    <a:pt x="809" y="161"/>
                    <a:pt x="806" y="167"/>
                  </a:cubicBezTo>
                  <a:cubicBezTo>
                    <a:pt x="802" y="173"/>
                    <a:pt x="804" y="177"/>
                    <a:pt x="810" y="177"/>
                  </a:cubicBezTo>
                  <a:cubicBezTo>
                    <a:pt x="816" y="177"/>
                    <a:pt x="824" y="172"/>
                    <a:pt x="828" y="167"/>
                  </a:cubicBezTo>
                  <a:cubicBezTo>
                    <a:pt x="831" y="161"/>
                    <a:pt x="829" y="157"/>
                    <a:pt x="824" y="157"/>
                  </a:cubicBezTo>
                  <a:cubicBezTo>
                    <a:pt x="823" y="157"/>
                    <a:pt x="823" y="157"/>
                    <a:pt x="823" y="157"/>
                  </a:cubicBezTo>
                  <a:moveTo>
                    <a:pt x="3917" y="156"/>
                  </a:moveTo>
                  <a:cubicBezTo>
                    <a:pt x="3911" y="157"/>
                    <a:pt x="3908" y="161"/>
                    <a:pt x="3911" y="167"/>
                  </a:cubicBezTo>
                  <a:cubicBezTo>
                    <a:pt x="3914" y="173"/>
                    <a:pt x="3922" y="177"/>
                    <a:pt x="3928" y="177"/>
                  </a:cubicBezTo>
                  <a:cubicBezTo>
                    <a:pt x="3934" y="177"/>
                    <a:pt x="3936" y="172"/>
                    <a:pt x="3933" y="167"/>
                  </a:cubicBezTo>
                  <a:cubicBezTo>
                    <a:pt x="3930" y="161"/>
                    <a:pt x="3923" y="156"/>
                    <a:pt x="3917" y="156"/>
                  </a:cubicBezTo>
                  <a:cubicBezTo>
                    <a:pt x="3917" y="156"/>
                    <a:pt x="3917" y="156"/>
                    <a:pt x="3917" y="156"/>
                  </a:cubicBezTo>
                  <a:moveTo>
                    <a:pt x="855" y="156"/>
                  </a:moveTo>
                  <a:cubicBezTo>
                    <a:pt x="849" y="156"/>
                    <a:pt x="841" y="161"/>
                    <a:pt x="837" y="167"/>
                  </a:cubicBezTo>
                  <a:cubicBezTo>
                    <a:pt x="834" y="172"/>
                    <a:pt x="836" y="177"/>
                    <a:pt x="842" y="177"/>
                  </a:cubicBezTo>
                  <a:cubicBezTo>
                    <a:pt x="848" y="177"/>
                    <a:pt x="856" y="172"/>
                    <a:pt x="859" y="166"/>
                  </a:cubicBezTo>
                  <a:cubicBezTo>
                    <a:pt x="863" y="161"/>
                    <a:pt x="861" y="156"/>
                    <a:pt x="855" y="156"/>
                  </a:cubicBezTo>
                  <a:cubicBezTo>
                    <a:pt x="855" y="156"/>
                    <a:pt x="855" y="156"/>
                    <a:pt x="855" y="156"/>
                  </a:cubicBezTo>
                  <a:moveTo>
                    <a:pt x="3948" y="156"/>
                  </a:moveTo>
                  <a:cubicBezTo>
                    <a:pt x="3942" y="156"/>
                    <a:pt x="3940" y="161"/>
                    <a:pt x="3943" y="167"/>
                  </a:cubicBezTo>
                  <a:cubicBezTo>
                    <a:pt x="3946" y="172"/>
                    <a:pt x="3954" y="177"/>
                    <a:pt x="3960" y="177"/>
                  </a:cubicBezTo>
                  <a:cubicBezTo>
                    <a:pt x="3966" y="177"/>
                    <a:pt x="3968" y="172"/>
                    <a:pt x="3965" y="166"/>
                  </a:cubicBezTo>
                  <a:cubicBezTo>
                    <a:pt x="3962" y="161"/>
                    <a:pt x="3955" y="156"/>
                    <a:pt x="3949" y="156"/>
                  </a:cubicBezTo>
                  <a:cubicBezTo>
                    <a:pt x="3949" y="156"/>
                    <a:pt x="3949" y="156"/>
                    <a:pt x="3948" y="156"/>
                  </a:cubicBezTo>
                  <a:moveTo>
                    <a:pt x="3980" y="156"/>
                  </a:moveTo>
                  <a:cubicBezTo>
                    <a:pt x="3974" y="156"/>
                    <a:pt x="3971" y="161"/>
                    <a:pt x="3974" y="166"/>
                  </a:cubicBezTo>
                  <a:cubicBezTo>
                    <a:pt x="3978" y="172"/>
                    <a:pt x="3985" y="177"/>
                    <a:pt x="3991" y="176"/>
                  </a:cubicBezTo>
                  <a:cubicBezTo>
                    <a:pt x="3997" y="176"/>
                    <a:pt x="4000" y="172"/>
                    <a:pt x="3996" y="166"/>
                  </a:cubicBezTo>
                  <a:cubicBezTo>
                    <a:pt x="3993" y="160"/>
                    <a:pt x="3986" y="156"/>
                    <a:pt x="3980" y="156"/>
                  </a:cubicBezTo>
                  <a:cubicBezTo>
                    <a:pt x="3980" y="156"/>
                    <a:pt x="3980" y="156"/>
                    <a:pt x="3980" y="156"/>
                  </a:cubicBezTo>
                  <a:moveTo>
                    <a:pt x="4011" y="156"/>
                  </a:moveTo>
                  <a:cubicBezTo>
                    <a:pt x="4005" y="156"/>
                    <a:pt x="4002" y="160"/>
                    <a:pt x="4006" y="166"/>
                  </a:cubicBezTo>
                  <a:cubicBezTo>
                    <a:pt x="4009" y="172"/>
                    <a:pt x="4017" y="176"/>
                    <a:pt x="4023" y="176"/>
                  </a:cubicBezTo>
                  <a:cubicBezTo>
                    <a:pt x="4029" y="176"/>
                    <a:pt x="4031" y="171"/>
                    <a:pt x="4028" y="166"/>
                  </a:cubicBezTo>
                  <a:cubicBezTo>
                    <a:pt x="4024" y="160"/>
                    <a:pt x="4017" y="156"/>
                    <a:pt x="4011" y="156"/>
                  </a:cubicBezTo>
                  <a:cubicBezTo>
                    <a:pt x="4011" y="156"/>
                    <a:pt x="4011" y="156"/>
                    <a:pt x="4011" y="156"/>
                  </a:cubicBezTo>
                  <a:moveTo>
                    <a:pt x="949" y="156"/>
                  </a:moveTo>
                  <a:cubicBezTo>
                    <a:pt x="943" y="156"/>
                    <a:pt x="935" y="160"/>
                    <a:pt x="932" y="166"/>
                  </a:cubicBezTo>
                  <a:cubicBezTo>
                    <a:pt x="928" y="171"/>
                    <a:pt x="930" y="176"/>
                    <a:pt x="936" y="176"/>
                  </a:cubicBezTo>
                  <a:cubicBezTo>
                    <a:pt x="942" y="176"/>
                    <a:pt x="950" y="171"/>
                    <a:pt x="954" y="166"/>
                  </a:cubicBezTo>
                  <a:cubicBezTo>
                    <a:pt x="957" y="160"/>
                    <a:pt x="955" y="156"/>
                    <a:pt x="949" y="156"/>
                  </a:cubicBezTo>
                  <a:cubicBezTo>
                    <a:pt x="949" y="156"/>
                    <a:pt x="949" y="156"/>
                    <a:pt x="949" y="156"/>
                  </a:cubicBezTo>
                  <a:moveTo>
                    <a:pt x="4042" y="155"/>
                  </a:moveTo>
                  <a:cubicBezTo>
                    <a:pt x="4036" y="155"/>
                    <a:pt x="4034" y="160"/>
                    <a:pt x="4037" y="166"/>
                  </a:cubicBezTo>
                  <a:cubicBezTo>
                    <a:pt x="4040" y="171"/>
                    <a:pt x="4048" y="176"/>
                    <a:pt x="4054" y="176"/>
                  </a:cubicBezTo>
                  <a:cubicBezTo>
                    <a:pt x="4060" y="176"/>
                    <a:pt x="4062" y="171"/>
                    <a:pt x="4059" y="166"/>
                  </a:cubicBezTo>
                  <a:cubicBezTo>
                    <a:pt x="4056" y="160"/>
                    <a:pt x="4048" y="155"/>
                    <a:pt x="4042" y="155"/>
                  </a:cubicBezTo>
                  <a:cubicBezTo>
                    <a:pt x="4042" y="155"/>
                    <a:pt x="4042" y="155"/>
                    <a:pt x="4042" y="155"/>
                  </a:cubicBezTo>
                  <a:moveTo>
                    <a:pt x="980" y="155"/>
                  </a:moveTo>
                  <a:cubicBezTo>
                    <a:pt x="974" y="155"/>
                    <a:pt x="966" y="160"/>
                    <a:pt x="963" y="165"/>
                  </a:cubicBezTo>
                  <a:cubicBezTo>
                    <a:pt x="959" y="171"/>
                    <a:pt x="962" y="176"/>
                    <a:pt x="968" y="176"/>
                  </a:cubicBezTo>
                  <a:cubicBezTo>
                    <a:pt x="974" y="175"/>
                    <a:pt x="981" y="171"/>
                    <a:pt x="985" y="165"/>
                  </a:cubicBezTo>
                  <a:cubicBezTo>
                    <a:pt x="988" y="160"/>
                    <a:pt x="986" y="155"/>
                    <a:pt x="980" y="155"/>
                  </a:cubicBezTo>
                  <a:cubicBezTo>
                    <a:pt x="980" y="155"/>
                    <a:pt x="980" y="155"/>
                    <a:pt x="980" y="155"/>
                  </a:cubicBezTo>
                  <a:moveTo>
                    <a:pt x="4072" y="155"/>
                  </a:moveTo>
                  <a:cubicBezTo>
                    <a:pt x="4066" y="155"/>
                    <a:pt x="4064" y="160"/>
                    <a:pt x="4067" y="165"/>
                  </a:cubicBezTo>
                  <a:cubicBezTo>
                    <a:pt x="4071" y="171"/>
                    <a:pt x="4078" y="176"/>
                    <a:pt x="4085" y="176"/>
                  </a:cubicBezTo>
                  <a:cubicBezTo>
                    <a:pt x="4091" y="176"/>
                    <a:pt x="4093" y="171"/>
                    <a:pt x="4089" y="165"/>
                  </a:cubicBezTo>
                  <a:cubicBezTo>
                    <a:pt x="4086" y="160"/>
                    <a:pt x="4078" y="155"/>
                    <a:pt x="4072" y="155"/>
                  </a:cubicBezTo>
                  <a:cubicBezTo>
                    <a:pt x="4072" y="155"/>
                    <a:pt x="4072" y="155"/>
                    <a:pt x="4072" y="155"/>
                  </a:cubicBezTo>
                  <a:moveTo>
                    <a:pt x="4103" y="155"/>
                  </a:moveTo>
                  <a:cubicBezTo>
                    <a:pt x="4097" y="155"/>
                    <a:pt x="4095" y="159"/>
                    <a:pt x="4099" y="165"/>
                  </a:cubicBezTo>
                  <a:cubicBezTo>
                    <a:pt x="4102" y="171"/>
                    <a:pt x="4110" y="175"/>
                    <a:pt x="4116" y="175"/>
                  </a:cubicBezTo>
                  <a:cubicBezTo>
                    <a:pt x="4122" y="175"/>
                    <a:pt x="4124" y="171"/>
                    <a:pt x="4121" y="165"/>
                  </a:cubicBezTo>
                  <a:cubicBezTo>
                    <a:pt x="4117" y="159"/>
                    <a:pt x="4110" y="155"/>
                    <a:pt x="4104" y="155"/>
                  </a:cubicBezTo>
                  <a:cubicBezTo>
                    <a:pt x="4103" y="155"/>
                    <a:pt x="4103" y="155"/>
                    <a:pt x="4103" y="155"/>
                  </a:cubicBezTo>
                  <a:moveTo>
                    <a:pt x="1041" y="155"/>
                  </a:moveTo>
                  <a:cubicBezTo>
                    <a:pt x="1035" y="155"/>
                    <a:pt x="1027" y="159"/>
                    <a:pt x="1024" y="165"/>
                  </a:cubicBezTo>
                  <a:cubicBezTo>
                    <a:pt x="1021" y="171"/>
                    <a:pt x="1023" y="175"/>
                    <a:pt x="1029" y="175"/>
                  </a:cubicBezTo>
                  <a:cubicBezTo>
                    <a:pt x="1035" y="175"/>
                    <a:pt x="1043" y="170"/>
                    <a:pt x="1046" y="165"/>
                  </a:cubicBezTo>
                  <a:cubicBezTo>
                    <a:pt x="1049" y="159"/>
                    <a:pt x="1047" y="155"/>
                    <a:pt x="1041" y="155"/>
                  </a:cubicBezTo>
                  <a:cubicBezTo>
                    <a:pt x="1041" y="155"/>
                    <a:pt x="1041" y="155"/>
                    <a:pt x="1041" y="155"/>
                  </a:cubicBezTo>
                  <a:moveTo>
                    <a:pt x="1352" y="154"/>
                  </a:moveTo>
                  <a:cubicBezTo>
                    <a:pt x="1346" y="154"/>
                    <a:pt x="1339" y="159"/>
                    <a:pt x="1336" y="165"/>
                  </a:cubicBezTo>
                  <a:cubicBezTo>
                    <a:pt x="1334" y="170"/>
                    <a:pt x="1337" y="175"/>
                    <a:pt x="1343" y="175"/>
                  </a:cubicBezTo>
                  <a:cubicBezTo>
                    <a:pt x="1349" y="175"/>
                    <a:pt x="1356" y="170"/>
                    <a:pt x="1358" y="164"/>
                  </a:cubicBezTo>
                  <a:cubicBezTo>
                    <a:pt x="1361" y="159"/>
                    <a:pt x="1358" y="154"/>
                    <a:pt x="1352" y="154"/>
                  </a:cubicBezTo>
                  <a:cubicBezTo>
                    <a:pt x="1352" y="154"/>
                    <a:pt x="1352" y="154"/>
                    <a:pt x="1352" y="154"/>
                  </a:cubicBezTo>
                  <a:moveTo>
                    <a:pt x="1383" y="154"/>
                  </a:moveTo>
                  <a:cubicBezTo>
                    <a:pt x="1377" y="154"/>
                    <a:pt x="1370" y="159"/>
                    <a:pt x="1367" y="164"/>
                  </a:cubicBezTo>
                  <a:cubicBezTo>
                    <a:pt x="1365" y="170"/>
                    <a:pt x="1368" y="174"/>
                    <a:pt x="1374" y="174"/>
                  </a:cubicBezTo>
                  <a:cubicBezTo>
                    <a:pt x="1380" y="174"/>
                    <a:pt x="1387" y="170"/>
                    <a:pt x="1389" y="164"/>
                  </a:cubicBezTo>
                  <a:cubicBezTo>
                    <a:pt x="1392" y="159"/>
                    <a:pt x="1389" y="154"/>
                    <a:pt x="1383" y="154"/>
                  </a:cubicBezTo>
                  <a:cubicBezTo>
                    <a:pt x="1383" y="154"/>
                    <a:pt x="1383" y="154"/>
                    <a:pt x="1383" y="154"/>
                  </a:cubicBezTo>
                  <a:moveTo>
                    <a:pt x="1415" y="154"/>
                  </a:moveTo>
                  <a:cubicBezTo>
                    <a:pt x="1409" y="154"/>
                    <a:pt x="1402" y="158"/>
                    <a:pt x="1400" y="164"/>
                  </a:cubicBezTo>
                  <a:cubicBezTo>
                    <a:pt x="1397" y="170"/>
                    <a:pt x="1400" y="174"/>
                    <a:pt x="1406" y="174"/>
                  </a:cubicBezTo>
                  <a:cubicBezTo>
                    <a:pt x="1412" y="174"/>
                    <a:pt x="1419" y="169"/>
                    <a:pt x="1422" y="164"/>
                  </a:cubicBezTo>
                  <a:cubicBezTo>
                    <a:pt x="1424" y="158"/>
                    <a:pt x="1421" y="154"/>
                    <a:pt x="1415" y="154"/>
                  </a:cubicBezTo>
                  <a:cubicBezTo>
                    <a:pt x="1415" y="154"/>
                    <a:pt x="1415" y="154"/>
                    <a:pt x="1415" y="154"/>
                  </a:cubicBezTo>
                  <a:moveTo>
                    <a:pt x="1165" y="153"/>
                  </a:moveTo>
                  <a:cubicBezTo>
                    <a:pt x="1159" y="154"/>
                    <a:pt x="1152" y="158"/>
                    <a:pt x="1149" y="164"/>
                  </a:cubicBezTo>
                  <a:cubicBezTo>
                    <a:pt x="1146" y="169"/>
                    <a:pt x="1149" y="174"/>
                    <a:pt x="1155" y="174"/>
                  </a:cubicBezTo>
                  <a:cubicBezTo>
                    <a:pt x="1161" y="174"/>
                    <a:pt x="1168" y="169"/>
                    <a:pt x="1171" y="164"/>
                  </a:cubicBezTo>
                  <a:cubicBezTo>
                    <a:pt x="1174" y="158"/>
                    <a:pt x="1172" y="153"/>
                    <a:pt x="1166" y="153"/>
                  </a:cubicBezTo>
                  <a:cubicBezTo>
                    <a:pt x="1166" y="153"/>
                    <a:pt x="1166" y="153"/>
                    <a:pt x="1165" y="153"/>
                  </a:cubicBezTo>
                  <a:moveTo>
                    <a:pt x="1601" y="148"/>
                  </a:moveTo>
                  <a:cubicBezTo>
                    <a:pt x="1595" y="148"/>
                    <a:pt x="1589" y="153"/>
                    <a:pt x="1587" y="159"/>
                  </a:cubicBezTo>
                  <a:cubicBezTo>
                    <a:pt x="1585" y="164"/>
                    <a:pt x="1588" y="169"/>
                    <a:pt x="1594" y="169"/>
                  </a:cubicBezTo>
                  <a:cubicBezTo>
                    <a:pt x="1600" y="169"/>
                    <a:pt x="1607" y="164"/>
                    <a:pt x="1609" y="158"/>
                  </a:cubicBezTo>
                  <a:cubicBezTo>
                    <a:pt x="1610" y="153"/>
                    <a:pt x="1607" y="148"/>
                    <a:pt x="1601" y="148"/>
                  </a:cubicBezTo>
                  <a:cubicBezTo>
                    <a:pt x="1601" y="148"/>
                    <a:pt x="1601" y="148"/>
                    <a:pt x="1601" y="148"/>
                  </a:cubicBezTo>
                  <a:moveTo>
                    <a:pt x="1633" y="148"/>
                  </a:moveTo>
                  <a:cubicBezTo>
                    <a:pt x="1627" y="148"/>
                    <a:pt x="1620" y="153"/>
                    <a:pt x="1618" y="158"/>
                  </a:cubicBezTo>
                  <a:cubicBezTo>
                    <a:pt x="1616" y="164"/>
                    <a:pt x="1620" y="168"/>
                    <a:pt x="1626" y="168"/>
                  </a:cubicBezTo>
                  <a:cubicBezTo>
                    <a:pt x="1632" y="168"/>
                    <a:pt x="1638" y="164"/>
                    <a:pt x="1640" y="158"/>
                  </a:cubicBezTo>
                  <a:cubicBezTo>
                    <a:pt x="1642" y="153"/>
                    <a:pt x="1639" y="148"/>
                    <a:pt x="1633" y="148"/>
                  </a:cubicBezTo>
                  <a:cubicBezTo>
                    <a:pt x="1633" y="148"/>
                    <a:pt x="1633" y="148"/>
                    <a:pt x="1633" y="148"/>
                  </a:cubicBezTo>
                  <a:moveTo>
                    <a:pt x="1664" y="148"/>
                  </a:moveTo>
                  <a:cubicBezTo>
                    <a:pt x="1658" y="148"/>
                    <a:pt x="1651" y="152"/>
                    <a:pt x="1649" y="158"/>
                  </a:cubicBezTo>
                  <a:cubicBezTo>
                    <a:pt x="1647" y="164"/>
                    <a:pt x="1651" y="168"/>
                    <a:pt x="1657" y="168"/>
                  </a:cubicBezTo>
                  <a:cubicBezTo>
                    <a:pt x="1663" y="168"/>
                    <a:pt x="1669" y="163"/>
                    <a:pt x="1671" y="158"/>
                  </a:cubicBezTo>
                  <a:cubicBezTo>
                    <a:pt x="1673" y="152"/>
                    <a:pt x="1670" y="148"/>
                    <a:pt x="1664" y="148"/>
                  </a:cubicBezTo>
                  <a:cubicBezTo>
                    <a:pt x="1664" y="148"/>
                    <a:pt x="1664" y="148"/>
                    <a:pt x="1664" y="148"/>
                  </a:cubicBezTo>
                  <a:moveTo>
                    <a:pt x="1695" y="147"/>
                  </a:moveTo>
                  <a:cubicBezTo>
                    <a:pt x="1689" y="147"/>
                    <a:pt x="1682" y="152"/>
                    <a:pt x="1681" y="158"/>
                  </a:cubicBezTo>
                  <a:cubicBezTo>
                    <a:pt x="1679" y="163"/>
                    <a:pt x="1682" y="168"/>
                    <a:pt x="1688" y="168"/>
                  </a:cubicBezTo>
                  <a:cubicBezTo>
                    <a:pt x="1694" y="168"/>
                    <a:pt x="1701" y="163"/>
                    <a:pt x="1702" y="158"/>
                  </a:cubicBezTo>
                  <a:cubicBezTo>
                    <a:pt x="1704" y="152"/>
                    <a:pt x="1701" y="147"/>
                    <a:pt x="1695" y="147"/>
                  </a:cubicBezTo>
                  <a:cubicBezTo>
                    <a:pt x="1695" y="147"/>
                    <a:pt x="1695" y="147"/>
                    <a:pt x="1695" y="147"/>
                  </a:cubicBezTo>
                  <a:moveTo>
                    <a:pt x="1726" y="147"/>
                  </a:moveTo>
                  <a:cubicBezTo>
                    <a:pt x="1720" y="147"/>
                    <a:pt x="1713" y="152"/>
                    <a:pt x="1712" y="157"/>
                  </a:cubicBezTo>
                  <a:cubicBezTo>
                    <a:pt x="1710" y="163"/>
                    <a:pt x="1713" y="168"/>
                    <a:pt x="1720" y="168"/>
                  </a:cubicBezTo>
                  <a:cubicBezTo>
                    <a:pt x="1726" y="167"/>
                    <a:pt x="1732" y="163"/>
                    <a:pt x="1734" y="157"/>
                  </a:cubicBezTo>
                  <a:cubicBezTo>
                    <a:pt x="1735" y="152"/>
                    <a:pt x="1732" y="147"/>
                    <a:pt x="1726" y="147"/>
                  </a:cubicBezTo>
                  <a:cubicBezTo>
                    <a:pt x="1726" y="147"/>
                    <a:pt x="1726" y="147"/>
                    <a:pt x="1726" y="147"/>
                  </a:cubicBezTo>
                  <a:moveTo>
                    <a:pt x="1757" y="147"/>
                  </a:moveTo>
                  <a:cubicBezTo>
                    <a:pt x="1751" y="147"/>
                    <a:pt x="1745" y="152"/>
                    <a:pt x="1743" y="157"/>
                  </a:cubicBezTo>
                  <a:cubicBezTo>
                    <a:pt x="1741" y="163"/>
                    <a:pt x="1745" y="167"/>
                    <a:pt x="1751" y="167"/>
                  </a:cubicBezTo>
                  <a:cubicBezTo>
                    <a:pt x="1757" y="167"/>
                    <a:pt x="1763" y="163"/>
                    <a:pt x="1765" y="157"/>
                  </a:cubicBezTo>
                  <a:cubicBezTo>
                    <a:pt x="1767" y="151"/>
                    <a:pt x="1763" y="147"/>
                    <a:pt x="1757" y="147"/>
                  </a:cubicBezTo>
                  <a:cubicBezTo>
                    <a:pt x="1757" y="147"/>
                    <a:pt x="1757" y="147"/>
                    <a:pt x="1757" y="147"/>
                  </a:cubicBezTo>
                  <a:moveTo>
                    <a:pt x="1789" y="147"/>
                  </a:moveTo>
                  <a:cubicBezTo>
                    <a:pt x="1783" y="147"/>
                    <a:pt x="1777" y="151"/>
                    <a:pt x="1775" y="157"/>
                  </a:cubicBezTo>
                  <a:cubicBezTo>
                    <a:pt x="1774" y="162"/>
                    <a:pt x="1777" y="167"/>
                    <a:pt x="1783" y="167"/>
                  </a:cubicBezTo>
                  <a:cubicBezTo>
                    <a:pt x="1789" y="167"/>
                    <a:pt x="1796" y="162"/>
                    <a:pt x="1797" y="157"/>
                  </a:cubicBezTo>
                  <a:cubicBezTo>
                    <a:pt x="1799" y="151"/>
                    <a:pt x="1795" y="147"/>
                    <a:pt x="1789" y="147"/>
                  </a:cubicBezTo>
                  <a:cubicBezTo>
                    <a:pt x="1789" y="147"/>
                    <a:pt x="1789" y="147"/>
                    <a:pt x="1789" y="147"/>
                  </a:cubicBezTo>
                  <a:moveTo>
                    <a:pt x="1820" y="146"/>
                  </a:moveTo>
                  <a:cubicBezTo>
                    <a:pt x="1814" y="146"/>
                    <a:pt x="1808" y="151"/>
                    <a:pt x="1806" y="157"/>
                  </a:cubicBezTo>
                  <a:cubicBezTo>
                    <a:pt x="1805" y="162"/>
                    <a:pt x="1809" y="167"/>
                    <a:pt x="1815" y="167"/>
                  </a:cubicBezTo>
                  <a:cubicBezTo>
                    <a:pt x="1821" y="167"/>
                    <a:pt x="1827" y="162"/>
                    <a:pt x="1828" y="156"/>
                  </a:cubicBezTo>
                  <a:cubicBezTo>
                    <a:pt x="1830" y="151"/>
                    <a:pt x="1826" y="146"/>
                    <a:pt x="1820" y="146"/>
                  </a:cubicBezTo>
                  <a:cubicBezTo>
                    <a:pt x="1820" y="146"/>
                    <a:pt x="1820" y="146"/>
                    <a:pt x="1820" y="146"/>
                  </a:cubicBezTo>
                  <a:moveTo>
                    <a:pt x="1851" y="146"/>
                  </a:moveTo>
                  <a:cubicBezTo>
                    <a:pt x="1845" y="146"/>
                    <a:pt x="1839" y="151"/>
                    <a:pt x="1838" y="156"/>
                  </a:cubicBezTo>
                  <a:cubicBezTo>
                    <a:pt x="1836" y="162"/>
                    <a:pt x="1840" y="166"/>
                    <a:pt x="1846" y="166"/>
                  </a:cubicBezTo>
                  <a:cubicBezTo>
                    <a:pt x="1852" y="166"/>
                    <a:pt x="1858" y="162"/>
                    <a:pt x="1860" y="156"/>
                  </a:cubicBezTo>
                  <a:cubicBezTo>
                    <a:pt x="1861" y="150"/>
                    <a:pt x="1857" y="146"/>
                    <a:pt x="1851" y="146"/>
                  </a:cubicBezTo>
                  <a:cubicBezTo>
                    <a:pt x="1851" y="146"/>
                    <a:pt x="1851" y="146"/>
                    <a:pt x="1851" y="146"/>
                  </a:cubicBezTo>
                  <a:moveTo>
                    <a:pt x="2319" y="143"/>
                  </a:moveTo>
                  <a:cubicBezTo>
                    <a:pt x="2313" y="143"/>
                    <a:pt x="2308" y="147"/>
                    <a:pt x="2307" y="153"/>
                  </a:cubicBezTo>
                  <a:cubicBezTo>
                    <a:pt x="2307" y="159"/>
                    <a:pt x="2312" y="163"/>
                    <a:pt x="2318" y="163"/>
                  </a:cubicBezTo>
                  <a:cubicBezTo>
                    <a:pt x="2324" y="163"/>
                    <a:pt x="2329" y="158"/>
                    <a:pt x="2329" y="153"/>
                  </a:cubicBezTo>
                  <a:cubicBezTo>
                    <a:pt x="2330" y="147"/>
                    <a:pt x="2325" y="143"/>
                    <a:pt x="2319" y="143"/>
                  </a:cubicBezTo>
                  <a:cubicBezTo>
                    <a:pt x="2319" y="143"/>
                    <a:pt x="2319" y="143"/>
                    <a:pt x="2319" y="143"/>
                  </a:cubicBezTo>
                  <a:moveTo>
                    <a:pt x="2350" y="142"/>
                  </a:moveTo>
                  <a:cubicBezTo>
                    <a:pt x="2344" y="142"/>
                    <a:pt x="2339" y="147"/>
                    <a:pt x="2339" y="153"/>
                  </a:cubicBezTo>
                  <a:cubicBezTo>
                    <a:pt x="2338" y="158"/>
                    <a:pt x="2343" y="163"/>
                    <a:pt x="2349" y="163"/>
                  </a:cubicBezTo>
                  <a:cubicBezTo>
                    <a:pt x="2355" y="163"/>
                    <a:pt x="2360" y="158"/>
                    <a:pt x="2360" y="153"/>
                  </a:cubicBezTo>
                  <a:cubicBezTo>
                    <a:pt x="2361" y="147"/>
                    <a:pt x="2356" y="142"/>
                    <a:pt x="2350" y="142"/>
                  </a:cubicBezTo>
                  <a:cubicBezTo>
                    <a:pt x="2350" y="142"/>
                    <a:pt x="2350" y="142"/>
                    <a:pt x="2350" y="142"/>
                  </a:cubicBezTo>
                  <a:moveTo>
                    <a:pt x="2382" y="142"/>
                  </a:moveTo>
                  <a:cubicBezTo>
                    <a:pt x="2376" y="142"/>
                    <a:pt x="2371" y="147"/>
                    <a:pt x="2370" y="152"/>
                  </a:cubicBezTo>
                  <a:cubicBezTo>
                    <a:pt x="2370" y="158"/>
                    <a:pt x="2375" y="163"/>
                    <a:pt x="2381" y="163"/>
                  </a:cubicBezTo>
                  <a:cubicBezTo>
                    <a:pt x="2387" y="163"/>
                    <a:pt x="2392" y="158"/>
                    <a:pt x="2392" y="152"/>
                  </a:cubicBezTo>
                  <a:cubicBezTo>
                    <a:pt x="2392" y="147"/>
                    <a:pt x="2388" y="142"/>
                    <a:pt x="2382" y="142"/>
                  </a:cubicBezTo>
                  <a:cubicBezTo>
                    <a:pt x="2382" y="142"/>
                    <a:pt x="2382" y="142"/>
                    <a:pt x="2382" y="142"/>
                  </a:cubicBezTo>
                  <a:moveTo>
                    <a:pt x="2413" y="142"/>
                  </a:moveTo>
                  <a:cubicBezTo>
                    <a:pt x="2407" y="142"/>
                    <a:pt x="2402" y="147"/>
                    <a:pt x="2401" y="152"/>
                  </a:cubicBezTo>
                  <a:cubicBezTo>
                    <a:pt x="2401" y="158"/>
                    <a:pt x="2406" y="162"/>
                    <a:pt x="2412" y="162"/>
                  </a:cubicBezTo>
                  <a:cubicBezTo>
                    <a:pt x="2418" y="162"/>
                    <a:pt x="2423" y="158"/>
                    <a:pt x="2423" y="152"/>
                  </a:cubicBezTo>
                  <a:cubicBezTo>
                    <a:pt x="2423" y="146"/>
                    <a:pt x="2419" y="142"/>
                    <a:pt x="2413" y="142"/>
                  </a:cubicBezTo>
                  <a:cubicBezTo>
                    <a:pt x="2413" y="142"/>
                    <a:pt x="2413" y="142"/>
                    <a:pt x="2413" y="142"/>
                  </a:cubicBezTo>
                  <a:moveTo>
                    <a:pt x="2444" y="142"/>
                  </a:moveTo>
                  <a:cubicBezTo>
                    <a:pt x="2438" y="142"/>
                    <a:pt x="2433" y="146"/>
                    <a:pt x="2432" y="152"/>
                  </a:cubicBezTo>
                  <a:cubicBezTo>
                    <a:pt x="2432" y="158"/>
                    <a:pt x="2437" y="162"/>
                    <a:pt x="2443" y="162"/>
                  </a:cubicBezTo>
                  <a:cubicBezTo>
                    <a:pt x="2449" y="162"/>
                    <a:pt x="2454" y="157"/>
                    <a:pt x="2454" y="152"/>
                  </a:cubicBezTo>
                  <a:cubicBezTo>
                    <a:pt x="2454" y="146"/>
                    <a:pt x="2450" y="142"/>
                    <a:pt x="2444" y="142"/>
                  </a:cubicBezTo>
                  <a:cubicBezTo>
                    <a:pt x="2444" y="142"/>
                    <a:pt x="2444" y="142"/>
                    <a:pt x="2444" y="142"/>
                  </a:cubicBezTo>
                  <a:moveTo>
                    <a:pt x="2474" y="141"/>
                  </a:moveTo>
                  <a:cubicBezTo>
                    <a:pt x="2468" y="141"/>
                    <a:pt x="2463" y="146"/>
                    <a:pt x="2463" y="152"/>
                  </a:cubicBezTo>
                  <a:cubicBezTo>
                    <a:pt x="2463" y="157"/>
                    <a:pt x="2468" y="162"/>
                    <a:pt x="2474" y="162"/>
                  </a:cubicBezTo>
                  <a:cubicBezTo>
                    <a:pt x="2480" y="162"/>
                    <a:pt x="2485" y="157"/>
                    <a:pt x="2485" y="151"/>
                  </a:cubicBezTo>
                  <a:cubicBezTo>
                    <a:pt x="2485" y="146"/>
                    <a:pt x="2480" y="141"/>
                    <a:pt x="2474" y="141"/>
                  </a:cubicBezTo>
                  <a:cubicBezTo>
                    <a:pt x="2474" y="141"/>
                    <a:pt x="2474" y="141"/>
                    <a:pt x="2474" y="141"/>
                  </a:cubicBezTo>
                  <a:moveTo>
                    <a:pt x="2505" y="141"/>
                  </a:moveTo>
                  <a:cubicBezTo>
                    <a:pt x="2499" y="141"/>
                    <a:pt x="2494" y="146"/>
                    <a:pt x="2494" y="151"/>
                  </a:cubicBezTo>
                  <a:cubicBezTo>
                    <a:pt x="2494" y="157"/>
                    <a:pt x="2499" y="161"/>
                    <a:pt x="2505" y="161"/>
                  </a:cubicBezTo>
                  <a:cubicBezTo>
                    <a:pt x="2511" y="161"/>
                    <a:pt x="2516" y="157"/>
                    <a:pt x="2516" y="151"/>
                  </a:cubicBezTo>
                  <a:cubicBezTo>
                    <a:pt x="2516" y="145"/>
                    <a:pt x="2511" y="141"/>
                    <a:pt x="2505" y="141"/>
                  </a:cubicBezTo>
                  <a:cubicBezTo>
                    <a:pt x="2505" y="141"/>
                    <a:pt x="2505" y="141"/>
                    <a:pt x="2505" y="141"/>
                  </a:cubicBezTo>
                  <a:moveTo>
                    <a:pt x="2755" y="138"/>
                  </a:moveTo>
                  <a:cubicBezTo>
                    <a:pt x="2749" y="138"/>
                    <a:pt x="2744" y="143"/>
                    <a:pt x="2745" y="149"/>
                  </a:cubicBezTo>
                  <a:cubicBezTo>
                    <a:pt x="2745" y="154"/>
                    <a:pt x="2750" y="159"/>
                    <a:pt x="2757" y="159"/>
                  </a:cubicBezTo>
                  <a:cubicBezTo>
                    <a:pt x="2763" y="159"/>
                    <a:pt x="2767" y="154"/>
                    <a:pt x="2766" y="148"/>
                  </a:cubicBezTo>
                  <a:cubicBezTo>
                    <a:pt x="2766" y="143"/>
                    <a:pt x="2761" y="138"/>
                    <a:pt x="2755" y="138"/>
                  </a:cubicBezTo>
                  <a:cubicBezTo>
                    <a:pt x="2755" y="138"/>
                    <a:pt x="2755" y="138"/>
                    <a:pt x="2755" y="138"/>
                  </a:cubicBezTo>
                  <a:moveTo>
                    <a:pt x="2785" y="138"/>
                  </a:moveTo>
                  <a:cubicBezTo>
                    <a:pt x="2779" y="138"/>
                    <a:pt x="2775" y="143"/>
                    <a:pt x="2776" y="148"/>
                  </a:cubicBezTo>
                  <a:cubicBezTo>
                    <a:pt x="2776" y="154"/>
                    <a:pt x="2782" y="158"/>
                    <a:pt x="2788" y="158"/>
                  </a:cubicBezTo>
                  <a:cubicBezTo>
                    <a:pt x="2794" y="158"/>
                    <a:pt x="2798" y="154"/>
                    <a:pt x="2797" y="148"/>
                  </a:cubicBezTo>
                  <a:cubicBezTo>
                    <a:pt x="2797" y="142"/>
                    <a:pt x="2791" y="138"/>
                    <a:pt x="2786" y="138"/>
                  </a:cubicBezTo>
                  <a:cubicBezTo>
                    <a:pt x="2786" y="138"/>
                    <a:pt x="2785" y="138"/>
                    <a:pt x="2785" y="138"/>
                  </a:cubicBezTo>
                  <a:moveTo>
                    <a:pt x="2847" y="137"/>
                  </a:moveTo>
                  <a:cubicBezTo>
                    <a:pt x="2841" y="137"/>
                    <a:pt x="2837" y="142"/>
                    <a:pt x="2838" y="148"/>
                  </a:cubicBezTo>
                  <a:cubicBezTo>
                    <a:pt x="2838" y="153"/>
                    <a:pt x="2844" y="158"/>
                    <a:pt x="2850" y="158"/>
                  </a:cubicBezTo>
                  <a:cubicBezTo>
                    <a:pt x="2856" y="158"/>
                    <a:pt x="2860" y="153"/>
                    <a:pt x="2860" y="147"/>
                  </a:cubicBezTo>
                  <a:cubicBezTo>
                    <a:pt x="2859" y="142"/>
                    <a:pt x="2853" y="137"/>
                    <a:pt x="2847" y="137"/>
                  </a:cubicBezTo>
                  <a:cubicBezTo>
                    <a:pt x="2847" y="137"/>
                    <a:pt x="2847" y="137"/>
                    <a:pt x="2847" y="137"/>
                  </a:cubicBezTo>
                  <a:moveTo>
                    <a:pt x="2878" y="137"/>
                  </a:moveTo>
                  <a:cubicBezTo>
                    <a:pt x="2872" y="137"/>
                    <a:pt x="2868" y="142"/>
                    <a:pt x="2869" y="147"/>
                  </a:cubicBezTo>
                  <a:cubicBezTo>
                    <a:pt x="2870" y="153"/>
                    <a:pt x="2875" y="158"/>
                    <a:pt x="2881" y="157"/>
                  </a:cubicBezTo>
                  <a:cubicBezTo>
                    <a:pt x="2887" y="157"/>
                    <a:pt x="2892" y="153"/>
                    <a:pt x="2891" y="147"/>
                  </a:cubicBezTo>
                  <a:cubicBezTo>
                    <a:pt x="2890" y="142"/>
                    <a:pt x="2884" y="137"/>
                    <a:pt x="2879" y="137"/>
                  </a:cubicBezTo>
                  <a:cubicBezTo>
                    <a:pt x="2878" y="137"/>
                    <a:pt x="2878" y="137"/>
                    <a:pt x="2878" y="137"/>
                  </a:cubicBezTo>
                  <a:moveTo>
                    <a:pt x="2909" y="136"/>
                  </a:moveTo>
                  <a:cubicBezTo>
                    <a:pt x="2903" y="136"/>
                    <a:pt x="2899" y="141"/>
                    <a:pt x="2900" y="147"/>
                  </a:cubicBezTo>
                  <a:cubicBezTo>
                    <a:pt x="2900" y="152"/>
                    <a:pt x="2906" y="157"/>
                    <a:pt x="2912" y="157"/>
                  </a:cubicBezTo>
                  <a:cubicBezTo>
                    <a:pt x="2918" y="157"/>
                    <a:pt x="2922" y="152"/>
                    <a:pt x="2921" y="147"/>
                  </a:cubicBezTo>
                  <a:cubicBezTo>
                    <a:pt x="2920" y="141"/>
                    <a:pt x="2915" y="136"/>
                    <a:pt x="2909" y="136"/>
                  </a:cubicBezTo>
                  <a:cubicBezTo>
                    <a:pt x="2909" y="136"/>
                    <a:pt x="2909" y="136"/>
                    <a:pt x="2909" y="136"/>
                  </a:cubicBezTo>
                  <a:moveTo>
                    <a:pt x="2940" y="136"/>
                  </a:moveTo>
                  <a:cubicBezTo>
                    <a:pt x="2934" y="136"/>
                    <a:pt x="2930" y="141"/>
                    <a:pt x="2931" y="146"/>
                  </a:cubicBezTo>
                  <a:cubicBezTo>
                    <a:pt x="2931" y="152"/>
                    <a:pt x="2937" y="157"/>
                    <a:pt x="2943" y="157"/>
                  </a:cubicBezTo>
                  <a:cubicBezTo>
                    <a:pt x="2949" y="157"/>
                    <a:pt x="2953" y="152"/>
                    <a:pt x="2952" y="146"/>
                  </a:cubicBezTo>
                  <a:cubicBezTo>
                    <a:pt x="2951" y="141"/>
                    <a:pt x="2946" y="136"/>
                    <a:pt x="2940" y="136"/>
                  </a:cubicBezTo>
                  <a:cubicBezTo>
                    <a:pt x="2940" y="136"/>
                    <a:pt x="2940" y="136"/>
                    <a:pt x="2940" y="136"/>
                  </a:cubicBezTo>
                  <a:moveTo>
                    <a:pt x="2971" y="136"/>
                  </a:moveTo>
                  <a:cubicBezTo>
                    <a:pt x="2965" y="136"/>
                    <a:pt x="2961" y="141"/>
                    <a:pt x="2961" y="146"/>
                  </a:cubicBezTo>
                  <a:cubicBezTo>
                    <a:pt x="2962" y="152"/>
                    <a:pt x="2968" y="156"/>
                    <a:pt x="2974" y="156"/>
                  </a:cubicBezTo>
                  <a:cubicBezTo>
                    <a:pt x="2980" y="156"/>
                    <a:pt x="2984" y="152"/>
                    <a:pt x="2983" y="146"/>
                  </a:cubicBezTo>
                  <a:cubicBezTo>
                    <a:pt x="2982" y="140"/>
                    <a:pt x="2977" y="136"/>
                    <a:pt x="2971" y="136"/>
                  </a:cubicBezTo>
                  <a:cubicBezTo>
                    <a:pt x="2971" y="136"/>
                    <a:pt x="2971" y="136"/>
                    <a:pt x="2971" y="136"/>
                  </a:cubicBezTo>
                  <a:moveTo>
                    <a:pt x="3001" y="136"/>
                  </a:moveTo>
                  <a:cubicBezTo>
                    <a:pt x="2995" y="136"/>
                    <a:pt x="2991" y="140"/>
                    <a:pt x="2992" y="146"/>
                  </a:cubicBezTo>
                  <a:cubicBezTo>
                    <a:pt x="2993" y="152"/>
                    <a:pt x="2999" y="156"/>
                    <a:pt x="3005" y="156"/>
                  </a:cubicBezTo>
                  <a:cubicBezTo>
                    <a:pt x="3011" y="156"/>
                    <a:pt x="3015" y="151"/>
                    <a:pt x="3014" y="146"/>
                  </a:cubicBezTo>
                  <a:cubicBezTo>
                    <a:pt x="3013" y="140"/>
                    <a:pt x="3007" y="136"/>
                    <a:pt x="3001" y="136"/>
                  </a:cubicBezTo>
                  <a:cubicBezTo>
                    <a:pt x="3001" y="136"/>
                    <a:pt x="3001" y="136"/>
                    <a:pt x="3001" y="136"/>
                  </a:cubicBezTo>
                  <a:moveTo>
                    <a:pt x="3032" y="135"/>
                  </a:moveTo>
                  <a:cubicBezTo>
                    <a:pt x="3026" y="135"/>
                    <a:pt x="3022" y="140"/>
                    <a:pt x="3023" y="146"/>
                  </a:cubicBezTo>
                  <a:cubicBezTo>
                    <a:pt x="3024" y="151"/>
                    <a:pt x="3030" y="156"/>
                    <a:pt x="3036" y="156"/>
                  </a:cubicBezTo>
                  <a:cubicBezTo>
                    <a:pt x="3042" y="156"/>
                    <a:pt x="3046" y="151"/>
                    <a:pt x="3045" y="145"/>
                  </a:cubicBezTo>
                  <a:cubicBezTo>
                    <a:pt x="3044" y="140"/>
                    <a:pt x="3038" y="135"/>
                    <a:pt x="3032" y="135"/>
                  </a:cubicBezTo>
                  <a:cubicBezTo>
                    <a:pt x="3032" y="135"/>
                    <a:pt x="3032" y="135"/>
                    <a:pt x="3032" y="135"/>
                  </a:cubicBezTo>
                  <a:moveTo>
                    <a:pt x="3063" y="135"/>
                  </a:moveTo>
                  <a:cubicBezTo>
                    <a:pt x="3057" y="135"/>
                    <a:pt x="3053" y="140"/>
                    <a:pt x="3054" y="145"/>
                  </a:cubicBezTo>
                  <a:cubicBezTo>
                    <a:pt x="3056" y="151"/>
                    <a:pt x="3061" y="156"/>
                    <a:pt x="3067" y="155"/>
                  </a:cubicBezTo>
                  <a:cubicBezTo>
                    <a:pt x="3074" y="155"/>
                    <a:pt x="3077" y="151"/>
                    <a:pt x="3076" y="145"/>
                  </a:cubicBezTo>
                  <a:cubicBezTo>
                    <a:pt x="3075" y="139"/>
                    <a:pt x="3069" y="135"/>
                    <a:pt x="3063" y="135"/>
                  </a:cubicBezTo>
                  <a:cubicBezTo>
                    <a:pt x="3063" y="135"/>
                    <a:pt x="3063" y="135"/>
                    <a:pt x="3063" y="135"/>
                  </a:cubicBezTo>
                  <a:moveTo>
                    <a:pt x="3094" y="135"/>
                  </a:moveTo>
                  <a:cubicBezTo>
                    <a:pt x="3088" y="135"/>
                    <a:pt x="3085" y="139"/>
                    <a:pt x="3086" y="145"/>
                  </a:cubicBezTo>
                  <a:cubicBezTo>
                    <a:pt x="3087" y="151"/>
                    <a:pt x="3093" y="155"/>
                    <a:pt x="3099" y="155"/>
                  </a:cubicBezTo>
                  <a:cubicBezTo>
                    <a:pt x="3105" y="155"/>
                    <a:pt x="3109" y="150"/>
                    <a:pt x="3108" y="145"/>
                  </a:cubicBezTo>
                  <a:cubicBezTo>
                    <a:pt x="3106" y="139"/>
                    <a:pt x="3100" y="135"/>
                    <a:pt x="3095" y="135"/>
                  </a:cubicBezTo>
                  <a:cubicBezTo>
                    <a:pt x="3094" y="135"/>
                    <a:pt x="3094" y="135"/>
                    <a:pt x="3094" y="135"/>
                  </a:cubicBezTo>
                  <a:moveTo>
                    <a:pt x="3125" y="134"/>
                  </a:moveTo>
                  <a:cubicBezTo>
                    <a:pt x="3119" y="134"/>
                    <a:pt x="3115" y="139"/>
                    <a:pt x="3117" y="145"/>
                  </a:cubicBezTo>
                  <a:cubicBezTo>
                    <a:pt x="3118" y="150"/>
                    <a:pt x="3124" y="155"/>
                    <a:pt x="3130" y="155"/>
                  </a:cubicBezTo>
                  <a:cubicBezTo>
                    <a:pt x="3136" y="155"/>
                    <a:pt x="3140" y="150"/>
                    <a:pt x="3139" y="145"/>
                  </a:cubicBezTo>
                  <a:cubicBezTo>
                    <a:pt x="3137" y="139"/>
                    <a:pt x="3131" y="134"/>
                    <a:pt x="3125" y="134"/>
                  </a:cubicBezTo>
                  <a:cubicBezTo>
                    <a:pt x="3125" y="134"/>
                    <a:pt x="3125" y="134"/>
                    <a:pt x="3125" y="134"/>
                  </a:cubicBezTo>
                  <a:moveTo>
                    <a:pt x="3156" y="134"/>
                  </a:moveTo>
                  <a:cubicBezTo>
                    <a:pt x="3150" y="134"/>
                    <a:pt x="3147" y="139"/>
                    <a:pt x="3148" y="144"/>
                  </a:cubicBezTo>
                  <a:cubicBezTo>
                    <a:pt x="3149" y="150"/>
                    <a:pt x="3155" y="155"/>
                    <a:pt x="3161" y="155"/>
                  </a:cubicBezTo>
                  <a:cubicBezTo>
                    <a:pt x="3167" y="155"/>
                    <a:pt x="3171" y="150"/>
                    <a:pt x="3170" y="144"/>
                  </a:cubicBezTo>
                  <a:cubicBezTo>
                    <a:pt x="3168" y="139"/>
                    <a:pt x="3162" y="134"/>
                    <a:pt x="3156" y="134"/>
                  </a:cubicBezTo>
                  <a:cubicBezTo>
                    <a:pt x="3156" y="134"/>
                    <a:pt x="3156" y="134"/>
                    <a:pt x="3156" y="134"/>
                  </a:cubicBezTo>
                  <a:moveTo>
                    <a:pt x="3187" y="134"/>
                  </a:moveTo>
                  <a:cubicBezTo>
                    <a:pt x="3181" y="134"/>
                    <a:pt x="3177" y="138"/>
                    <a:pt x="3179" y="144"/>
                  </a:cubicBezTo>
                  <a:cubicBezTo>
                    <a:pt x="3180" y="150"/>
                    <a:pt x="3186" y="154"/>
                    <a:pt x="3192" y="154"/>
                  </a:cubicBezTo>
                  <a:cubicBezTo>
                    <a:pt x="3198" y="154"/>
                    <a:pt x="3202" y="150"/>
                    <a:pt x="3201" y="144"/>
                  </a:cubicBezTo>
                  <a:cubicBezTo>
                    <a:pt x="3199" y="138"/>
                    <a:pt x="3193" y="134"/>
                    <a:pt x="3187" y="134"/>
                  </a:cubicBezTo>
                  <a:cubicBezTo>
                    <a:pt x="3187" y="134"/>
                    <a:pt x="3187" y="134"/>
                    <a:pt x="3187" y="134"/>
                  </a:cubicBezTo>
                  <a:moveTo>
                    <a:pt x="3218" y="133"/>
                  </a:moveTo>
                  <a:cubicBezTo>
                    <a:pt x="3212" y="134"/>
                    <a:pt x="3209" y="138"/>
                    <a:pt x="3210" y="144"/>
                  </a:cubicBezTo>
                  <a:cubicBezTo>
                    <a:pt x="3212" y="150"/>
                    <a:pt x="3218" y="154"/>
                    <a:pt x="3224" y="154"/>
                  </a:cubicBezTo>
                  <a:cubicBezTo>
                    <a:pt x="3230" y="154"/>
                    <a:pt x="3233" y="149"/>
                    <a:pt x="3232" y="144"/>
                  </a:cubicBezTo>
                  <a:cubicBezTo>
                    <a:pt x="3230" y="138"/>
                    <a:pt x="3224" y="133"/>
                    <a:pt x="3218" y="133"/>
                  </a:cubicBezTo>
                  <a:cubicBezTo>
                    <a:pt x="3218" y="133"/>
                    <a:pt x="3218" y="133"/>
                    <a:pt x="3218" y="133"/>
                  </a:cubicBezTo>
                  <a:moveTo>
                    <a:pt x="3250" y="133"/>
                  </a:moveTo>
                  <a:cubicBezTo>
                    <a:pt x="3244" y="133"/>
                    <a:pt x="3241" y="138"/>
                    <a:pt x="3242" y="144"/>
                  </a:cubicBezTo>
                  <a:cubicBezTo>
                    <a:pt x="3244" y="149"/>
                    <a:pt x="3250" y="154"/>
                    <a:pt x="3256" y="154"/>
                  </a:cubicBezTo>
                  <a:cubicBezTo>
                    <a:pt x="3262" y="154"/>
                    <a:pt x="3266" y="149"/>
                    <a:pt x="3264" y="143"/>
                  </a:cubicBezTo>
                  <a:cubicBezTo>
                    <a:pt x="3263" y="138"/>
                    <a:pt x="3256" y="133"/>
                    <a:pt x="3250" y="133"/>
                  </a:cubicBezTo>
                  <a:cubicBezTo>
                    <a:pt x="3250" y="133"/>
                    <a:pt x="3250" y="133"/>
                    <a:pt x="3250" y="133"/>
                  </a:cubicBezTo>
                  <a:moveTo>
                    <a:pt x="3281" y="133"/>
                  </a:moveTo>
                  <a:cubicBezTo>
                    <a:pt x="3275" y="133"/>
                    <a:pt x="3272" y="138"/>
                    <a:pt x="3273" y="143"/>
                  </a:cubicBezTo>
                  <a:cubicBezTo>
                    <a:pt x="3275" y="149"/>
                    <a:pt x="3281" y="153"/>
                    <a:pt x="3287" y="153"/>
                  </a:cubicBezTo>
                  <a:cubicBezTo>
                    <a:pt x="3293" y="153"/>
                    <a:pt x="3297" y="149"/>
                    <a:pt x="3295" y="143"/>
                  </a:cubicBezTo>
                  <a:cubicBezTo>
                    <a:pt x="3293" y="137"/>
                    <a:pt x="3287" y="133"/>
                    <a:pt x="3281" y="133"/>
                  </a:cubicBezTo>
                  <a:cubicBezTo>
                    <a:pt x="3281" y="133"/>
                    <a:pt x="3281" y="133"/>
                    <a:pt x="3281" y="133"/>
                  </a:cubicBezTo>
                  <a:moveTo>
                    <a:pt x="3312" y="133"/>
                  </a:moveTo>
                  <a:cubicBezTo>
                    <a:pt x="3306" y="133"/>
                    <a:pt x="3302" y="137"/>
                    <a:pt x="3304" y="143"/>
                  </a:cubicBezTo>
                  <a:cubicBezTo>
                    <a:pt x="3306" y="149"/>
                    <a:pt x="3312" y="153"/>
                    <a:pt x="3318" y="153"/>
                  </a:cubicBezTo>
                  <a:cubicBezTo>
                    <a:pt x="3324" y="153"/>
                    <a:pt x="3328" y="148"/>
                    <a:pt x="3326" y="143"/>
                  </a:cubicBezTo>
                  <a:cubicBezTo>
                    <a:pt x="3324" y="137"/>
                    <a:pt x="3318" y="133"/>
                    <a:pt x="3312" y="133"/>
                  </a:cubicBezTo>
                  <a:cubicBezTo>
                    <a:pt x="3312" y="133"/>
                    <a:pt x="3312" y="133"/>
                    <a:pt x="3312" y="133"/>
                  </a:cubicBezTo>
                  <a:moveTo>
                    <a:pt x="3343" y="132"/>
                  </a:moveTo>
                  <a:cubicBezTo>
                    <a:pt x="3337" y="132"/>
                    <a:pt x="3333" y="137"/>
                    <a:pt x="3335" y="143"/>
                  </a:cubicBezTo>
                  <a:cubicBezTo>
                    <a:pt x="3337" y="148"/>
                    <a:pt x="3343" y="153"/>
                    <a:pt x="3349" y="153"/>
                  </a:cubicBezTo>
                  <a:cubicBezTo>
                    <a:pt x="3355" y="153"/>
                    <a:pt x="3359" y="148"/>
                    <a:pt x="3357" y="142"/>
                  </a:cubicBezTo>
                  <a:cubicBezTo>
                    <a:pt x="3355" y="137"/>
                    <a:pt x="3349" y="132"/>
                    <a:pt x="3343" y="132"/>
                  </a:cubicBezTo>
                  <a:cubicBezTo>
                    <a:pt x="3343" y="132"/>
                    <a:pt x="3343" y="132"/>
                    <a:pt x="3343" y="132"/>
                  </a:cubicBezTo>
                  <a:moveTo>
                    <a:pt x="3374" y="132"/>
                  </a:moveTo>
                  <a:cubicBezTo>
                    <a:pt x="3368" y="132"/>
                    <a:pt x="3364" y="137"/>
                    <a:pt x="3366" y="142"/>
                  </a:cubicBezTo>
                  <a:cubicBezTo>
                    <a:pt x="3368" y="148"/>
                    <a:pt x="3374" y="153"/>
                    <a:pt x="3380" y="153"/>
                  </a:cubicBezTo>
                  <a:cubicBezTo>
                    <a:pt x="3386" y="153"/>
                    <a:pt x="3390" y="148"/>
                    <a:pt x="3388" y="142"/>
                  </a:cubicBezTo>
                  <a:cubicBezTo>
                    <a:pt x="3386" y="137"/>
                    <a:pt x="3380" y="132"/>
                    <a:pt x="3374" y="132"/>
                  </a:cubicBezTo>
                  <a:cubicBezTo>
                    <a:pt x="3374" y="132"/>
                    <a:pt x="3374" y="132"/>
                    <a:pt x="3374" y="132"/>
                  </a:cubicBezTo>
                  <a:moveTo>
                    <a:pt x="3405" y="132"/>
                  </a:moveTo>
                  <a:cubicBezTo>
                    <a:pt x="3399" y="132"/>
                    <a:pt x="3396" y="136"/>
                    <a:pt x="3398" y="142"/>
                  </a:cubicBezTo>
                  <a:cubicBezTo>
                    <a:pt x="3399" y="148"/>
                    <a:pt x="3406" y="152"/>
                    <a:pt x="3412" y="152"/>
                  </a:cubicBezTo>
                  <a:cubicBezTo>
                    <a:pt x="3418" y="152"/>
                    <a:pt x="3421" y="148"/>
                    <a:pt x="3419" y="142"/>
                  </a:cubicBezTo>
                  <a:cubicBezTo>
                    <a:pt x="3417" y="136"/>
                    <a:pt x="3411" y="132"/>
                    <a:pt x="3405" y="132"/>
                  </a:cubicBezTo>
                  <a:cubicBezTo>
                    <a:pt x="3405" y="132"/>
                    <a:pt x="3405" y="132"/>
                    <a:pt x="3405" y="132"/>
                  </a:cubicBezTo>
                  <a:moveTo>
                    <a:pt x="3436" y="131"/>
                  </a:moveTo>
                  <a:cubicBezTo>
                    <a:pt x="3430" y="132"/>
                    <a:pt x="3426" y="136"/>
                    <a:pt x="3428" y="142"/>
                  </a:cubicBezTo>
                  <a:cubicBezTo>
                    <a:pt x="3430" y="147"/>
                    <a:pt x="3437" y="152"/>
                    <a:pt x="3443" y="152"/>
                  </a:cubicBezTo>
                  <a:cubicBezTo>
                    <a:pt x="3449" y="152"/>
                    <a:pt x="3452" y="147"/>
                    <a:pt x="3450" y="142"/>
                  </a:cubicBezTo>
                  <a:cubicBezTo>
                    <a:pt x="3448" y="136"/>
                    <a:pt x="3442" y="131"/>
                    <a:pt x="3436" y="131"/>
                  </a:cubicBezTo>
                  <a:cubicBezTo>
                    <a:pt x="3436" y="131"/>
                    <a:pt x="3436" y="131"/>
                    <a:pt x="3436" y="131"/>
                  </a:cubicBezTo>
                  <a:moveTo>
                    <a:pt x="3467" y="131"/>
                  </a:moveTo>
                  <a:cubicBezTo>
                    <a:pt x="3461" y="131"/>
                    <a:pt x="3457" y="136"/>
                    <a:pt x="3460" y="142"/>
                  </a:cubicBezTo>
                  <a:cubicBezTo>
                    <a:pt x="3462" y="147"/>
                    <a:pt x="3468" y="152"/>
                    <a:pt x="3474" y="152"/>
                  </a:cubicBezTo>
                  <a:cubicBezTo>
                    <a:pt x="3480" y="152"/>
                    <a:pt x="3483" y="147"/>
                    <a:pt x="3481" y="141"/>
                  </a:cubicBezTo>
                  <a:cubicBezTo>
                    <a:pt x="3479" y="136"/>
                    <a:pt x="3473" y="131"/>
                    <a:pt x="3467" y="131"/>
                  </a:cubicBezTo>
                  <a:cubicBezTo>
                    <a:pt x="3467" y="131"/>
                    <a:pt x="3467" y="131"/>
                    <a:pt x="3467" y="131"/>
                  </a:cubicBezTo>
                  <a:moveTo>
                    <a:pt x="3497" y="131"/>
                  </a:moveTo>
                  <a:cubicBezTo>
                    <a:pt x="3491" y="131"/>
                    <a:pt x="3488" y="136"/>
                    <a:pt x="3490" y="141"/>
                  </a:cubicBezTo>
                  <a:cubicBezTo>
                    <a:pt x="3493" y="147"/>
                    <a:pt x="3499" y="151"/>
                    <a:pt x="3505" y="151"/>
                  </a:cubicBezTo>
                  <a:cubicBezTo>
                    <a:pt x="3511" y="151"/>
                    <a:pt x="3514" y="147"/>
                    <a:pt x="3512" y="141"/>
                  </a:cubicBezTo>
                  <a:cubicBezTo>
                    <a:pt x="3510" y="135"/>
                    <a:pt x="3503" y="131"/>
                    <a:pt x="3497" y="131"/>
                  </a:cubicBezTo>
                  <a:cubicBezTo>
                    <a:pt x="3497" y="131"/>
                    <a:pt x="3497" y="131"/>
                    <a:pt x="3497" y="131"/>
                  </a:cubicBezTo>
                  <a:moveTo>
                    <a:pt x="3528" y="131"/>
                  </a:moveTo>
                  <a:cubicBezTo>
                    <a:pt x="3522" y="131"/>
                    <a:pt x="3519" y="135"/>
                    <a:pt x="3522" y="141"/>
                  </a:cubicBezTo>
                  <a:cubicBezTo>
                    <a:pt x="3524" y="147"/>
                    <a:pt x="3530" y="151"/>
                    <a:pt x="3537" y="151"/>
                  </a:cubicBezTo>
                  <a:cubicBezTo>
                    <a:pt x="3543" y="151"/>
                    <a:pt x="3546" y="146"/>
                    <a:pt x="3543" y="141"/>
                  </a:cubicBezTo>
                  <a:cubicBezTo>
                    <a:pt x="3541" y="135"/>
                    <a:pt x="3535" y="131"/>
                    <a:pt x="3529" y="131"/>
                  </a:cubicBezTo>
                  <a:cubicBezTo>
                    <a:pt x="3529" y="131"/>
                    <a:pt x="3528" y="131"/>
                    <a:pt x="3528" y="131"/>
                  </a:cubicBezTo>
                  <a:moveTo>
                    <a:pt x="3561" y="130"/>
                  </a:moveTo>
                  <a:cubicBezTo>
                    <a:pt x="3555" y="130"/>
                    <a:pt x="3552" y="135"/>
                    <a:pt x="3555" y="141"/>
                  </a:cubicBezTo>
                  <a:cubicBezTo>
                    <a:pt x="3557" y="146"/>
                    <a:pt x="3564" y="151"/>
                    <a:pt x="3570" y="151"/>
                  </a:cubicBezTo>
                  <a:cubicBezTo>
                    <a:pt x="3576" y="151"/>
                    <a:pt x="3579" y="146"/>
                    <a:pt x="3576" y="140"/>
                  </a:cubicBezTo>
                  <a:cubicBezTo>
                    <a:pt x="3574" y="135"/>
                    <a:pt x="3567" y="130"/>
                    <a:pt x="3561" y="130"/>
                  </a:cubicBezTo>
                  <a:cubicBezTo>
                    <a:pt x="3561" y="130"/>
                    <a:pt x="3561" y="130"/>
                    <a:pt x="3561" y="130"/>
                  </a:cubicBezTo>
                  <a:moveTo>
                    <a:pt x="3592" y="130"/>
                  </a:moveTo>
                  <a:cubicBezTo>
                    <a:pt x="3586" y="130"/>
                    <a:pt x="3583" y="135"/>
                    <a:pt x="3585" y="140"/>
                  </a:cubicBezTo>
                  <a:cubicBezTo>
                    <a:pt x="3588" y="146"/>
                    <a:pt x="3594" y="151"/>
                    <a:pt x="3600" y="151"/>
                  </a:cubicBezTo>
                  <a:cubicBezTo>
                    <a:pt x="3606" y="150"/>
                    <a:pt x="3609" y="146"/>
                    <a:pt x="3607" y="140"/>
                  </a:cubicBezTo>
                  <a:cubicBezTo>
                    <a:pt x="3605" y="135"/>
                    <a:pt x="3598" y="130"/>
                    <a:pt x="3592" y="130"/>
                  </a:cubicBezTo>
                  <a:cubicBezTo>
                    <a:pt x="3592" y="130"/>
                    <a:pt x="3592" y="130"/>
                    <a:pt x="3592" y="130"/>
                  </a:cubicBezTo>
                  <a:moveTo>
                    <a:pt x="3623" y="130"/>
                  </a:moveTo>
                  <a:cubicBezTo>
                    <a:pt x="3617" y="130"/>
                    <a:pt x="3614" y="134"/>
                    <a:pt x="3616" y="140"/>
                  </a:cubicBezTo>
                  <a:cubicBezTo>
                    <a:pt x="3619" y="146"/>
                    <a:pt x="3625" y="150"/>
                    <a:pt x="3631" y="150"/>
                  </a:cubicBezTo>
                  <a:cubicBezTo>
                    <a:pt x="3637" y="150"/>
                    <a:pt x="3640" y="146"/>
                    <a:pt x="3638" y="140"/>
                  </a:cubicBezTo>
                  <a:cubicBezTo>
                    <a:pt x="3635" y="134"/>
                    <a:pt x="3629" y="130"/>
                    <a:pt x="3623" y="130"/>
                  </a:cubicBezTo>
                  <a:cubicBezTo>
                    <a:pt x="3623" y="130"/>
                    <a:pt x="3623" y="130"/>
                    <a:pt x="3623" y="130"/>
                  </a:cubicBezTo>
                  <a:moveTo>
                    <a:pt x="3654" y="129"/>
                  </a:moveTo>
                  <a:cubicBezTo>
                    <a:pt x="3648" y="129"/>
                    <a:pt x="3645" y="134"/>
                    <a:pt x="3647" y="140"/>
                  </a:cubicBezTo>
                  <a:cubicBezTo>
                    <a:pt x="3650" y="145"/>
                    <a:pt x="3657" y="150"/>
                    <a:pt x="3663" y="150"/>
                  </a:cubicBezTo>
                  <a:cubicBezTo>
                    <a:pt x="3669" y="150"/>
                    <a:pt x="3672" y="145"/>
                    <a:pt x="3669" y="140"/>
                  </a:cubicBezTo>
                  <a:cubicBezTo>
                    <a:pt x="3667" y="134"/>
                    <a:pt x="3660" y="129"/>
                    <a:pt x="3654" y="129"/>
                  </a:cubicBezTo>
                  <a:cubicBezTo>
                    <a:pt x="3654" y="129"/>
                    <a:pt x="3654" y="129"/>
                    <a:pt x="3654" y="129"/>
                  </a:cubicBezTo>
                  <a:moveTo>
                    <a:pt x="3685" y="129"/>
                  </a:moveTo>
                  <a:cubicBezTo>
                    <a:pt x="3679" y="129"/>
                    <a:pt x="3676" y="134"/>
                    <a:pt x="3679" y="139"/>
                  </a:cubicBezTo>
                  <a:cubicBezTo>
                    <a:pt x="3681" y="145"/>
                    <a:pt x="3688" y="150"/>
                    <a:pt x="3694" y="150"/>
                  </a:cubicBezTo>
                  <a:cubicBezTo>
                    <a:pt x="3700" y="150"/>
                    <a:pt x="3703" y="145"/>
                    <a:pt x="3700" y="139"/>
                  </a:cubicBezTo>
                  <a:cubicBezTo>
                    <a:pt x="3698" y="134"/>
                    <a:pt x="3691" y="129"/>
                    <a:pt x="3685" y="129"/>
                  </a:cubicBezTo>
                  <a:cubicBezTo>
                    <a:pt x="3685" y="129"/>
                    <a:pt x="3685" y="129"/>
                    <a:pt x="3685" y="129"/>
                  </a:cubicBezTo>
                  <a:moveTo>
                    <a:pt x="3716" y="129"/>
                  </a:moveTo>
                  <a:cubicBezTo>
                    <a:pt x="3710" y="129"/>
                    <a:pt x="3707" y="134"/>
                    <a:pt x="3710" y="139"/>
                  </a:cubicBezTo>
                  <a:cubicBezTo>
                    <a:pt x="3712" y="145"/>
                    <a:pt x="3719" y="149"/>
                    <a:pt x="3725" y="149"/>
                  </a:cubicBezTo>
                  <a:cubicBezTo>
                    <a:pt x="3731" y="149"/>
                    <a:pt x="3734" y="145"/>
                    <a:pt x="3731" y="139"/>
                  </a:cubicBezTo>
                  <a:cubicBezTo>
                    <a:pt x="3729" y="133"/>
                    <a:pt x="3722" y="129"/>
                    <a:pt x="3716" y="129"/>
                  </a:cubicBezTo>
                  <a:cubicBezTo>
                    <a:pt x="3716" y="129"/>
                    <a:pt x="3716" y="129"/>
                    <a:pt x="3716" y="129"/>
                  </a:cubicBezTo>
                  <a:moveTo>
                    <a:pt x="3747" y="129"/>
                  </a:moveTo>
                  <a:cubicBezTo>
                    <a:pt x="3741" y="129"/>
                    <a:pt x="3738" y="133"/>
                    <a:pt x="3741" y="139"/>
                  </a:cubicBezTo>
                  <a:cubicBezTo>
                    <a:pt x="3743" y="145"/>
                    <a:pt x="3750" y="149"/>
                    <a:pt x="3756" y="149"/>
                  </a:cubicBezTo>
                  <a:cubicBezTo>
                    <a:pt x="3762" y="149"/>
                    <a:pt x="3765" y="144"/>
                    <a:pt x="3762" y="139"/>
                  </a:cubicBezTo>
                  <a:cubicBezTo>
                    <a:pt x="3760" y="133"/>
                    <a:pt x="3753" y="129"/>
                    <a:pt x="3747" y="129"/>
                  </a:cubicBezTo>
                  <a:cubicBezTo>
                    <a:pt x="3747" y="129"/>
                    <a:pt x="3747" y="129"/>
                    <a:pt x="3747" y="129"/>
                  </a:cubicBezTo>
                  <a:moveTo>
                    <a:pt x="3777" y="128"/>
                  </a:moveTo>
                  <a:cubicBezTo>
                    <a:pt x="3771" y="128"/>
                    <a:pt x="3769" y="133"/>
                    <a:pt x="3772" y="139"/>
                  </a:cubicBezTo>
                  <a:cubicBezTo>
                    <a:pt x="3774" y="144"/>
                    <a:pt x="3781" y="149"/>
                    <a:pt x="3787" y="149"/>
                  </a:cubicBezTo>
                  <a:cubicBezTo>
                    <a:pt x="3793" y="149"/>
                    <a:pt x="3796" y="144"/>
                    <a:pt x="3793" y="138"/>
                  </a:cubicBezTo>
                  <a:cubicBezTo>
                    <a:pt x="3790" y="133"/>
                    <a:pt x="3783" y="128"/>
                    <a:pt x="3777" y="128"/>
                  </a:cubicBezTo>
                  <a:cubicBezTo>
                    <a:pt x="3777" y="128"/>
                    <a:pt x="3777" y="128"/>
                    <a:pt x="3777" y="128"/>
                  </a:cubicBezTo>
                  <a:moveTo>
                    <a:pt x="3808" y="128"/>
                  </a:moveTo>
                  <a:cubicBezTo>
                    <a:pt x="3802" y="128"/>
                    <a:pt x="3800" y="133"/>
                    <a:pt x="3803" y="138"/>
                  </a:cubicBezTo>
                  <a:cubicBezTo>
                    <a:pt x="3805" y="144"/>
                    <a:pt x="3813" y="149"/>
                    <a:pt x="3819" y="149"/>
                  </a:cubicBezTo>
                  <a:cubicBezTo>
                    <a:pt x="3825" y="148"/>
                    <a:pt x="3827" y="144"/>
                    <a:pt x="3824" y="138"/>
                  </a:cubicBezTo>
                  <a:cubicBezTo>
                    <a:pt x="3822" y="132"/>
                    <a:pt x="3814" y="128"/>
                    <a:pt x="3808" y="128"/>
                  </a:cubicBezTo>
                  <a:cubicBezTo>
                    <a:pt x="3808" y="128"/>
                    <a:pt x="3808" y="128"/>
                    <a:pt x="3808" y="128"/>
                  </a:cubicBezTo>
                  <a:moveTo>
                    <a:pt x="3839" y="128"/>
                  </a:moveTo>
                  <a:cubicBezTo>
                    <a:pt x="3833" y="128"/>
                    <a:pt x="3830" y="132"/>
                    <a:pt x="3833" y="138"/>
                  </a:cubicBezTo>
                  <a:cubicBezTo>
                    <a:pt x="3836" y="144"/>
                    <a:pt x="3843" y="148"/>
                    <a:pt x="3849" y="148"/>
                  </a:cubicBezTo>
                  <a:cubicBezTo>
                    <a:pt x="3855" y="148"/>
                    <a:pt x="3858" y="144"/>
                    <a:pt x="3855" y="138"/>
                  </a:cubicBezTo>
                  <a:cubicBezTo>
                    <a:pt x="3852" y="132"/>
                    <a:pt x="3845" y="128"/>
                    <a:pt x="3839" y="128"/>
                  </a:cubicBezTo>
                  <a:cubicBezTo>
                    <a:pt x="3839" y="128"/>
                    <a:pt x="3839" y="128"/>
                    <a:pt x="3839" y="128"/>
                  </a:cubicBezTo>
                  <a:moveTo>
                    <a:pt x="3870" y="127"/>
                  </a:moveTo>
                  <a:cubicBezTo>
                    <a:pt x="3864" y="127"/>
                    <a:pt x="3861" y="132"/>
                    <a:pt x="3864" y="138"/>
                  </a:cubicBezTo>
                  <a:cubicBezTo>
                    <a:pt x="3867" y="143"/>
                    <a:pt x="3875" y="148"/>
                    <a:pt x="3881" y="148"/>
                  </a:cubicBezTo>
                  <a:cubicBezTo>
                    <a:pt x="3887" y="148"/>
                    <a:pt x="3889" y="143"/>
                    <a:pt x="3886" y="138"/>
                  </a:cubicBezTo>
                  <a:cubicBezTo>
                    <a:pt x="3883" y="132"/>
                    <a:pt x="3876" y="127"/>
                    <a:pt x="3870" y="127"/>
                  </a:cubicBezTo>
                  <a:cubicBezTo>
                    <a:pt x="3870" y="127"/>
                    <a:pt x="3870" y="127"/>
                    <a:pt x="3870" y="127"/>
                  </a:cubicBezTo>
                  <a:moveTo>
                    <a:pt x="3901" y="127"/>
                  </a:moveTo>
                  <a:cubicBezTo>
                    <a:pt x="3895" y="127"/>
                    <a:pt x="3893" y="132"/>
                    <a:pt x="3896" y="137"/>
                  </a:cubicBezTo>
                  <a:cubicBezTo>
                    <a:pt x="3899" y="143"/>
                    <a:pt x="3906" y="148"/>
                    <a:pt x="3912" y="148"/>
                  </a:cubicBezTo>
                  <a:cubicBezTo>
                    <a:pt x="3918" y="148"/>
                    <a:pt x="3921" y="143"/>
                    <a:pt x="3918" y="137"/>
                  </a:cubicBezTo>
                  <a:cubicBezTo>
                    <a:pt x="3914" y="132"/>
                    <a:pt x="3907" y="127"/>
                    <a:pt x="3901" y="127"/>
                  </a:cubicBezTo>
                  <a:cubicBezTo>
                    <a:pt x="3901" y="127"/>
                    <a:pt x="3901" y="127"/>
                    <a:pt x="3901" y="127"/>
                  </a:cubicBezTo>
                  <a:moveTo>
                    <a:pt x="3932" y="127"/>
                  </a:moveTo>
                  <a:cubicBezTo>
                    <a:pt x="3926" y="127"/>
                    <a:pt x="3924" y="131"/>
                    <a:pt x="3927" y="137"/>
                  </a:cubicBezTo>
                  <a:cubicBezTo>
                    <a:pt x="3930" y="143"/>
                    <a:pt x="3937" y="147"/>
                    <a:pt x="3943" y="147"/>
                  </a:cubicBezTo>
                  <a:cubicBezTo>
                    <a:pt x="3949" y="147"/>
                    <a:pt x="3951" y="143"/>
                    <a:pt x="3948" y="137"/>
                  </a:cubicBezTo>
                  <a:cubicBezTo>
                    <a:pt x="3945" y="131"/>
                    <a:pt x="3938" y="127"/>
                    <a:pt x="3932" y="127"/>
                  </a:cubicBezTo>
                  <a:cubicBezTo>
                    <a:pt x="3932" y="127"/>
                    <a:pt x="3932" y="127"/>
                    <a:pt x="3932" y="127"/>
                  </a:cubicBezTo>
                  <a:moveTo>
                    <a:pt x="3963" y="126"/>
                  </a:moveTo>
                  <a:cubicBezTo>
                    <a:pt x="3957" y="127"/>
                    <a:pt x="3955" y="131"/>
                    <a:pt x="3958" y="137"/>
                  </a:cubicBezTo>
                  <a:cubicBezTo>
                    <a:pt x="3961" y="143"/>
                    <a:pt x="3968" y="147"/>
                    <a:pt x="3974" y="147"/>
                  </a:cubicBezTo>
                  <a:cubicBezTo>
                    <a:pt x="3980" y="147"/>
                    <a:pt x="3983" y="142"/>
                    <a:pt x="3979" y="137"/>
                  </a:cubicBezTo>
                  <a:cubicBezTo>
                    <a:pt x="3976" y="131"/>
                    <a:pt x="3969" y="126"/>
                    <a:pt x="3963" y="126"/>
                  </a:cubicBezTo>
                  <a:cubicBezTo>
                    <a:pt x="3963" y="126"/>
                    <a:pt x="3963" y="126"/>
                    <a:pt x="3963" y="126"/>
                  </a:cubicBezTo>
                  <a:moveTo>
                    <a:pt x="3993" y="126"/>
                  </a:moveTo>
                  <a:cubicBezTo>
                    <a:pt x="3988" y="126"/>
                    <a:pt x="3985" y="131"/>
                    <a:pt x="3988" y="137"/>
                  </a:cubicBezTo>
                  <a:cubicBezTo>
                    <a:pt x="3992" y="142"/>
                    <a:pt x="3999" y="147"/>
                    <a:pt x="4005" y="147"/>
                  </a:cubicBezTo>
                  <a:cubicBezTo>
                    <a:pt x="4011" y="147"/>
                    <a:pt x="4014" y="142"/>
                    <a:pt x="4010" y="136"/>
                  </a:cubicBezTo>
                  <a:cubicBezTo>
                    <a:pt x="4007" y="131"/>
                    <a:pt x="4000" y="126"/>
                    <a:pt x="3994" y="126"/>
                  </a:cubicBezTo>
                  <a:cubicBezTo>
                    <a:pt x="3994" y="126"/>
                    <a:pt x="3994" y="126"/>
                    <a:pt x="3993" y="126"/>
                  </a:cubicBezTo>
                  <a:moveTo>
                    <a:pt x="997" y="125"/>
                  </a:moveTo>
                  <a:cubicBezTo>
                    <a:pt x="991" y="125"/>
                    <a:pt x="984" y="130"/>
                    <a:pt x="981" y="135"/>
                  </a:cubicBezTo>
                  <a:cubicBezTo>
                    <a:pt x="977" y="141"/>
                    <a:pt x="979" y="145"/>
                    <a:pt x="986" y="145"/>
                  </a:cubicBezTo>
                  <a:cubicBezTo>
                    <a:pt x="992" y="145"/>
                    <a:pt x="999" y="141"/>
                    <a:pt x="1002" y="135"/>
                  </a:cubicBezTo>
                  <a:cubicBezTo>
                    <a:pt x="1006" y="130"/>
                    <a:pt x="1003" y="125"/>
                    <a:pt x="998" y="125"/>
                  </a:cubicBezTo>
                  <a:cubicBezTo>
                    <a:pt x="998" y="125"/>
                    <a:pt x="997" y="125"/>
                    <a:pt x="997" y="125"/>
                  </a:cubicBezTo>
                  <a:moveTo>
                    <a:pt x="1027" y="125"/>
                  </a:moveTo>
                  <a:cubicBezTo>
                    <a:pt x="1021" y="125"/>
                    <a:pt x="1013" y="129"/>
                    <a:pt x="1010" y="135"/>
                  </a:cubicBezTo>
                  <a:cubicBezTo>
                    <a:pt x="1007" y="141"/>
                    <a:pt x="1009" y="145"/>
                    <a:pt x="1015" y="145"/>
                  </a:cubicBezTo>
                  <a:cubicBezTo>
                    <a:pt x="1021" y="145"/>
                    <a:pt x="1028" y="140"/>
                    <a:pt x="1032" y="135"/>
                  </a:cubicBezTo>
                  <a:cubicBezTo>
                    <a:pt x="1035" y="129"/>
                    <a:pt x="1033" y="125"/>
                    <a:pt x="1027" y="125"/>
                  </a:cubicBezTo>
                  <a:cubicBezTo>
                    <a:pt x="1027" y="125"/>
                    <a:pt x="1027" y="125"/>
                    <a:pt x="1027" y="125"/>
                  </a:cubicBezTo>
                  <a:moveTo>
                    <a:pt x="1305" y="125"/>
                  </a:moveTo>
                  <a:cubicBezTo>
                    <a:pt x="1299" y="125"/>
                    <a:pt x="1292" y="129"/>
                    <a:pt x="1289" y="135"/>
                  </a:cubicBezTo>
                  <a:cubicBezTo>
                    <a:pt x="1286" y="141"/>
                    <a:pt x="1289" y="145"/>
                    <a:pt x="1295" y="145"/>
                  </a:cubicBezTo>
                  <a:cubicBezTo>
                    <a:pt x="1301" y="145"/>
                    <a:pt x="1308" y="140"/>
                    <a:pt x="1311" y="135"/>
                  </a:cubicBezTo>
                  <a:cubicBezTo>
                    <a:pt x="1313" y="129"/>
                    <a:pt x="1311" y="125"/>
                    <a:pt x="1305" y="125"/>
                  </a:cubicBezTo>
                  <a:cubicBezTo>
                    <a:pt x="1305" y="125"/>
                    <a:pt x="1305" y="125"/>
                    <a:pt x="1305" y="125"/>
                  </a:cubicBezTo>
                  <a:moveTo>
                    <a:pt x="1336" y="124"/>
                  </a:moveTo>
                  <a:cubicBezTo>
                    <a:pt x="1330" y="125"/>
                    <a:pt x="1323" y="129"/>
                    <a:pt x="1320" y="135"/>
                  </a:cubicBezTo>
                  <a:cubicBezTo>
                    <a:pt x="1318" y="140"/>
                    <a:pt x="1321" y="145"/>
                    <a:pt x="1327" y="145"/>
                  </a:cubicBezTo>
                  <a:cubicBezTo>
                    <a:pt x="1333" y="145"/>
                    <a:pt x="1340" y="140"/>
                    <a:pt x="1342" y="135"/>
                  </a:cubicBezTo>
                  <a:cubicBezTo>
                    <a:pt x="1345" y="129"/>
                    <a:pt x="1342" y="124"/>
                    <a:pt x="1336" y="124"/>
                  </a:cubicBezTo>
                  <a:cubicBezTo>
                    <a:pt x="1336" y="124"/>
                    <a:pt x="1336" y="124"/>
                    <a:pt x="1336" y="124"/>
                  </a:cubicBezTo>
                  <a:moveTo>
                    <a:pt x="1367" y="124"/>
                  </a:moveTo>
                  <a:cubicBezTo>
                    <a:pt x="1361" y="124"/>
                    <a:pt x="1354" y="129"/>
                    <a:pt x="1351" y="134"/>
                  </a:cubicBezTo>
                  <a:cubicBezTo>
                    <a:pt x="1349" y="140"/>
                    <a:pt x="1352" y="145"/>
                    <a:pt x="1358" y="145"/>
                  </a:cubicBezTo>
                  <a:cubicBezTo>
                    <a:pt x="1364" y="144"/>
                    <a:pt x="1370" y="140"/>
                    <a:pt x="1373" y="134"/>
                  </a:cubicBezTo>
                  <a:cubicBezTo>
                    <a:pt x="1375" y="129"/>
                    <a:pt x="1373" y="124"/>
                    <a:pt x="1367" y="124"/>
                  </a:cubicBezTo>
                  <a:cubicBezTo>
                    <a:pt x="1367" y="124"/>
                    <a:pt x="1367" y="124"/>
                    <a:pt x="1367" y="124"/>
                  </a:cubicBezTo>
                  <a:moveTo>
                    <a:pt x="1611" y="120"/>
                  </a:moveTo>
                  <a:cubicBezTo>
                    <a:pt x="1605" y="120"/>
                    <a:pt x="1598" y="125"/>
                    <a:pt x="1597" y="131"/>
                  </a:cubicBezTo>
                  <a:cubicBezTo>
                    <a:pt x="1595" y="136"/>
                    <a:pt x="1598" y="141"/>
                    <a:pt x="1604" y="141"/>
                  </a:cubicBezTo>
                  <a:cubicBezTo>
                    <a:pt x="1610" y="141"/>
                    <a:pt x="1616" y="136"/>
                    <a:pt x="1618" y="130"/>
                  </a:cubicBezTo>
                  <a:cubicBezTo>
                    <a:pt x="1620" y="125"/>
                    <a:pt x="1617" y="120"/>
                    <a:pt x="1611" y="120"/>
                  </a:cubicBezTo>
                  <a:cubicBezTo>
                    <a:pt x="1611" y="120"/>
                    <a:pt x="1611" y="120"/>
                    <a:pt x="1611" y="120"/>
                  </a:cubicBezTo>
                  <a:moveTo>
                    <a:pt x="1642" y="120"/>
                  </a:moveTo>
                  <a:cubicBezTo>
                    <a:pt x="1636" y="120"/>
                    <a:pt x="1630" y="125"/>
                    <a:pt x="1628" y="130"/>
                  </a:cubicBezTo>
                  <a:cubicBezTo>
                    <a:pt x="1626" y="136"/>
                    <a:pt x="1629" y="140"/>
                    <a:pt x="1635" y="140"/>
                  </a:cubicBezTo>
                  <a:cubicBezTo>
                    <a:pt x="1641" y="140"/>
                    <a:pt x="1648" y="136"/>
                    <a:pt x="1649" y="130"/>
                  </a:cubicBezTo>
                  <a:cubicBezTo>
                    <a:pt x="1651" y="125"/>
                    <a:pt x="1648" y="120"/>
                    <a:pt x="1642" y="120"/>
                  </a:cubicBezTo>
                  <a:cubicBezTo>
                    <a:pt x="1642" y="120"/>
                    <a:pt x="1642" y="120"/>
                    <a:pt x="1642" y="120"/>
                  </a:cubicBezTo>
                  <a:moveTo>
                    <a:pt x="1673" y="120"/>
                  </a:moveTo>
                  <a:cubicBezTo>
                    <a:pt x="1667" y="120"/>
                    <a:pt x="1660" y="124"/>
                    <a:pt x="1659" y="130"/>
                  </a:cubicBezTo>
                  <a:cubicBezTo>
                    <a:pt x="1657" y="136"/>
                    <a:pt x="1660" y="140"/>
                    <a:pt x="1666" y="140"/>
                  </a:cubicBezTo>
                  <a:cubicBezTo>
                    <a:pt x="1672" y="140"/>
                    <a:pt x="1678" y="135"/>
                    <a:pt x="1680" y="130"/>
                  </a:cubicBezTo>
                  <a:cubicBezTo>
                    <a:pt x="1682" y="124"/>
                    <a:pt x="1679" y="120"/>
                    <a:pt x="1673" y="120"/>
                  </a:cubicBezTo>
                  <a:cubicBezTo>
                    <a:pt x="1673" y="120"/>
                    <a:pt x="1673" y="120"/>
                    <a:pt x="1673" y="120"/>
                  </a:cubicBezTo>
                  <a:moveTo>
                    <a:pt x="1704" y="119"/>
                  </a:moveTo>
                  <a:cubicBezTo>
                    <a:pt x="1698" y="120"/>
                    <a:pt x="1691" y="124"/>
                    <a:pt x="1689" y="130"/>
                  </a:cubicBezTo>
                  <a:cubicBezTo>
                    <a:pt x="1688" y="135"/>
                    <a:pt x="1691" y="140"/>
                    <a:pt x="1697" y="140"/>
                  </a:cubicBezTo>
                  <a:cubicBezTo>
                    <a:pt x="1703" y="140"/>
                    <a:pt x="1709" y="135"/>
                    <a:pt x="1711" y="130"/>
                  </a:cubicBezTo>
                  <a:cubicBezTo>
                    <a:pt x="1713" y="124"/>
                    <a:pt x="1710" y="119"/>
                    <a:pt x="1704" y="119"/>
                  </a:cubicBezTo>
                  <a:cubicBezTo>
                    <a:pt x="1704" y="119"/>
                    <a:pt x="1704" y="119"/>
                    <a:pt x="1704" y="119"/>
                  </a:cubicBezTo>
                  <a:moveTo>
                    <a:pt x="1734" y="119"/>
                  </a:moveTo>
                  <a:cubicBezTo>
                    <a:pt x="1728" y="119"/>
                    <a:pt x="1722" y="124"/>
                    <a:pt x="1720" y="129"/>
                  </a:cubicBezTo>
                  <a:cubicBezTo>
                    <a:pt x="1719" y="135"/>
                    <a:pt x="1722" y="140"/>
                    <a:pt x="1728" y="140"/>
                  </a:cubicBezTo>
                  <a:cubicBezTo>
                    <a:pt x="1734" y="139"/>
                    <a:pt x="1740" y="135"/>
                    <a:pt x="1742" y="129"/>
                  </a:cubicBezTo>
                  <a:cubicBezTo>
                    <a:pt x="1744" y="124"/>
                    <a:pt x="1740" y="119"/>
                    <a:pt x="1734" y="119"/>
                  </a:cubicBezTo>
                  <a:cubicBezTo>
                    <a:pt x="1734" y="119"/>
                    <a:pt x="1734" y="119"/>
                    <a:pt x="1734" y="119"/>
                  </a:cubicBezTo>
                  <a:moveTo>
                    <a:pt x="1765" y="119"/>
                  </a:moveTo>
                  <a:cubicBezTo>
                    <a:pt x="1759" y="119"/>
                    <a:pt x="1753" y="124"/>
                    <a:pt x="1751" y="129"/>
                  </a:cubicBezTo>
                  <a:cubicBezTo>
                    <a:pt x="1750" y="135"/>
                    <a:pt x="1753" y="139"/>
                    <a:pt x="1759" y="139"/>
                  </a:cubicBezTo>
                  <a:cubicBezTo>
                    <a:pt x="1765" y="139"/>
                    <a:pt x="1771" y="135"/>
                    <a:pt x="1773" y="129"/>
                  </a:cubicBezTo>
                  <a:cubicBezTo>
                    <a:pt x="1774" y="123"/>
                    <a:pt x="1771" y="119"/>
                    <a:pt x="1765" y="119"/>
                  </a:cubicBezTo>
                  <a:cubicBezTo>
                    <a:pt x="1765" y="119"/>
                    <a:pt x="1765" y="119"/>
                    <a:pt x="1765" y="119"/>
                  </a:cubicBezTo>
                  <a:moveTo>
                    <a:pt x="1797" y="119"/>
                  </a:moveTo>
                  <a:cubicBezTo>
                    <a:pt x="1791" y="119"/>
                    <a:pt x="1785" y="123"/>
                    <a:pt x="1783" y="129"/>
                  </a:cubicBezTo>
                  <a:cubicBezTo>
                    <a:pt x="1782" y="134"/>
                    <a:pt x="1785" y="139"/>
                    <a:pt x="1791" y="139"/>
                  </a:cubicBezTo>
                  <a:cubicBezTo>
                    <a:pt x="1797" y="139"/>
                    <a:pt x="1803" y="134"/>
                    <a:pt x="1805" y="129"/>
                  </a:cubicBezTo>
                  <a:cubicBezTo>
                    <a:pt x="1806" y="123"/>
                    <a:pt x="1803" y="119"/>
                    <a:pt x="1797" y="119"/>
                  </a:cubicBezTo>
                  <a:cubicBezTo>
                    <a:pt x="1797" y="119"/>
                    <a:pt x="1797" y="119"/>
                    <a:pt x="1797" y="119"/>
                  </a:cubicBezTo>
                  <a:moveTo>
                    <a:pt x="1827" y="118"/>
                  </a:moveTo>
                  <a:cubicBezTo>
                    <a:pt x="1821" y="118"/>
                    <a:pt x="1815" y="123"/>
                    <a:pt x="1814" y="129"/>
                  </a:cubicBezTo>
                  <a:cubicBezTo>
                    <a:pt x="1812" y="134"/>
                    <a:pt x="1816" y="139"/>
                    <a:pt x="1822" y="139"/>
                  </a:cubicBezTo>
                  <a:cubicBezTo>
                    <a:pt x="1828" y="139"/>
                    <a:pt x="1834" y="134"/>
                    <a:pt x="1836" y="128"/>
                  </a:cubicBezTo>
                  <a:cubicBezTo>
                    <a:pt x="1837" y="123"/>
                    <a:pt x="1833" y="118"/>
                    <a:pt x="1828" y="118"/>
                  </a:cubicBezTo>
                  <a:cubicBezTo>
                    <a:pt x="1828" y="118"/>
                    <a:pt x="1827" y="118"/>
                    <a:pt x="1827" y="118"/>
                  </a:cubicBezTo>
                  <a:moveTo>
                    <a:pt x="1858" y="118"/>
                  </a:moveTo>
                  <a:cubicBezTo>
                    <a:pt x="1852" y="118"/>
                    <a:pt x="1846" y="123"/>
                    <a:pt x="1845" y="128"/>
                  </a:cubicBezTo>
                  <a:cubicBezTo>
                    <a:pt x="1843" y="134"/>
                    <a:pt x="1847" y="138"/>
                    <a:pt x="1853" y="138"/>
                  </a:cubicBezTo>
                  <a:cubicBezTo>
                    <a:pt x="1859" y="138"/>
                    <a:pt x="1865" y="134"/>
                    <a:pt x="1867" y="128"/>
                  </a:cubicBezTo>
                  <a:cubicBezTo>
                    <a:pt x="1868" y="122"/>
                    <a:pt x="1864" y="118"/>
                    <a:pt x="1858" y="118"/>
                  </a:cubicBezTo>
                  <a:cubicBezTo>
                    <a:pt x="1858" y="118"/>
                    <a:pt x="1858" y="118"/>
                    <a:pt x="1858" y="118"/>
                  </a:cubicBezTo>
                  <a:moveTo>
                    <a:pt x="1889" y="118"/>
                  </a:moveTo>
                  <a:cubicBezTo>
                    <a:pt x="1883" y="118"/>
                    <a:pt x="1878" y="122"/>
                    <a:pt x="1876" y="128"/>
                  </a:cubicBezTo>
                  <a:cubicBezTo>
                    <a:pt x="1875" y="134"/>
                    <a:pt x="1879" y="138"/>
                    <a:pt x="1885" y="138"/>
                  </a:cubicBezTo>
                  <a:cubicBezTo>
                    <a:pt x="1891" y="138"/>
                    <a:pt x="1896" y="133"/>
                    <a:pt x="1898" y="128"/>
                  </a:cubicBezTo>
                  <a:cubicBezTo>
                    <a:pt x="1899" y="122"/>
                    <a:pt x="1895" y="118"/>
                    <a:pt x="1890" y="118"/>
                  </a:cubicBezTo>
                  <a:cubicBezTo>
                    <a:pt x="1890" y="118"/>
                    <a:pt x="1889" y="118"/>
                    <a:pt x="1889" y="118"/>
                  </a:cubicBezTo>
                  <a:moveTo>
                    <a:pt x="2813" y="109"/>
                  </a:moveTo>
                  <a:cubicBezTo>
                    <a:pt x="2807" y="109"/>
                    <a:pt x="2803" y="114"/>
                    <a:pt x="2804" y="120"/>
                  </a:cubicBezTo>
                  <a:cubicBezTo>
                    <a:pt x="2804" y="125"/>
                    <a:pt x="2810" y="130"/>
                    <a:pt x="2816" y="130"/>
                  </a:cubicBezTo>
                  <a:cubicBezTo>
                    <a:pt x="2822" y="130"/>
                    <a:pt x="2826" y="125"/>
                    <a:pt x="2825" y="120"/>
                  </a:cubicBezTo>
                  <a:cubicBezTo>
                    <a:pt x="2825" y="114"/>
                    <a:pt x="2819" y="109"/>
                    <a:pt x="2813" y="109"/>
                  </a:cubicBezTo>
                  <a:cubicBezTo>
                    <a:pt x="2813" y="109"/>
                    <a:pt x="2813" y="109"/>
                    <a:pt x="2813" y="109"/>
                  </a:cubicBezTo>
                  <a:moveTo>
                    <a:pt x="2844" y="109"/>
                  </a:moveTo>
                  <a:cubicBezTo>
                    <a:pt x="2838" y="109"/>
                    <a:pt x="2834" y="114"/>
                    <a:pt x="2834" y="119"/>
                  </a:cubicBezTo>
                  <a:cubicBezTo>
                    <a:pt x="2835" y="125"/>
                    <a:pt x="2841" y="130"/>
                    <a:pt x="2847" y="130"/>
                  </a:cubicBezTo>
                  <a:cubicBezTo>
                    <a:pt x="2853" y="130"/>
                    <a:pt x="2857" y="125"/>
                    <a:pt x="2856" y="119"/>
                  </a:cubicBezTo>
                  <a:cubicBezTo>
                    <a:pt x="2855" y="114"/>
                    <a:pt x="2850" y="109"/>
                    <a:pt x="2844" y="109"/>
                  </a:cubicBezTo>
                  <a:cubicBezTo>
                    <a:pt x="2844" y="109"/>
                    <a:pt x="2844" y="109"/>
                    <a:pt x="2844" y="109"/>
                  </a:cubicBezTo>
                  <a:moveTo>
                    <a:pt x="2905" y="109"/>
                  </a:moveTo>
                  <a:cubicBezTo>
                    <a:pt x="2899" y="109"/>
                    <a:pt x="2895" y="113"/>
                    <a:pt x="2895" y="119"/>
                  </a:cubicBezTo>
                  <a:cubicBezTo>
                    <a:pt x="2896" y="125"/>
                    <a:pt x="2902" y="129"/>
                    <a:pt x="2908" y="129"/>
                  </a:cubicBezTo>
                  <a:cubicBezTo>
                    <a:pt x="2914" y="129"/>
                    <a:pt x="2918" y="124"/>
                    <a:pt x="2917" y="119"/>
                  </a:cubicBezTo>
                  <a:cubicBezTo>
                    <a:pt x="2916" y="113"/>
                    <a:pt x="2911" y="109"/>
                    <a:pt x="2905" y="109"/>
                  </a:cubicBezTo>
                  <a:cubicBezTo>
                    <a:pt x="2905" y="109"/>
                    <a:pt x="2905" y="109"/>
                    <a:pt x="2905" y="109"/>
                  </a:cubicBezTo>
                  <a:moveTo>
                    <a:pt x="2690" y="108"/>
                  </a:moveTo>
                  <a:cubicBezTo>
                    <a:pt x="2684" y="108"/>
                    <a:pt x="2679" y="113"/>
                    <a:pt x="2680" y="119"/>
                  </a:cubicBezTo>
                  <a:cubicBezTo>
                    <a:pt x="2680" y="124"/>
                    <a:pt x="2685" y="129"/>
                    <a:pt x="2691" y="129"/>
                  </a:cubicBezTo>
                  <a:cubicBezTo>
                    <a:pt x="2697" y="129"/>
                    <a:pt x="2702" y="124"/>
                    <a:pt x="2701" y="118"/>
                  </a:cubicBezTo>
                  <a:cubicBezTo>
                    <a:pt x="2701" y="113"/>
                    <a:pt x="2696" y="108"/>
                    <a:pt x="2690" y="108"/>
                  </a:cubicBezTo>
                  <a:cubicBezTo>
                    <a:pt x="2690" y="108"/>
                    <a:pt x="2690" y="108"/>
                    <a:pt x="2690" y="108"/>
                  </a:cubicBezTo>
                  <a:moveTo>
                    <a:pt x="2935" y="108"/>
                  </a:moveTo>
                  <a:cubicBezTo>
                    <a:pt x="2929" y="108"/>
                    <a:pt x="2925" y="113"/>
                    <a:pt x="2926" y="119"/>
                  </a:cubicBezTo>
                  <a:cubicBezTo>
                    <a:pt x="2927" y="124"/>
                    <a:pt x="2933" y="129"/>
                    <a:pt x="2939" y="129"/>
                  </a:cubicBezTo>
                  <a:cubicBezTo>
                    <a:pt x="2944" y="129"/>
                    <a:pt x="2949" y="124"/>
                    <a:pt x="2948" y="118"/>
                  </a:cubicBezTo>
                  <a:cubicBezTo>
                    <a:pt x="2947" y="113"/>
                    <a:pt x="2941" y="108"/>
                    <a:pt x="2935" y="108"/>
                  </a:cubicBezTo>
                  <a:cubicBezTo>
                    <a:pt x="2935" y="108"/>
                    <a:pt x="2935" y="108"/>
                    <a:pt x="2935" y="108"/>
                  </a:cubicBezTo>
                  <a:moveTo>
                    <a:pt x="2966" y="108"/>
                  </a:moveTo>
                  <a:cubicBezTo>
                    <a:pt x="2960" y="108"/>
                    <a:pt x="2956" y="113"/>
                    <a:pt x="2957" y="118"/>
                  </a:cubicBezTo>
                  <a:cubicBezTo>
                    <a:pt x="2958" y="124"/>
                    <a:pt x="2963" y="128"/>
                    <a:pt x="2969" y="128"/>
                  </a:cubicBezTo>
                  <a:cubicBezTo>
                    <a:pt x="2975" y="128"/>
                    <a:pt x="2979" y="124"/>
                    <a:pt x="2978" y="118"/>
                  </a:cubicBezTo>
                  <a:cubicBezTo>
                    <a:pt x="2977" y="112"/>
                    <a:pt x="2972" y="108"/>
                    <a:pt x="2966" y="108"/>
                  </a:cubicBezTo>
                  <a:cubicBezTo>
                    <a:pt x="2966" y="108"/>
                    <a:pt x="2966" y="108"/>
                    <a:pt x="2966" y="108"/>
                  </a:cubicBezTo>
                  <a:moveTo>
                    <a:pt x="2996" y="108"/>
                  </a:moveTo>
                  <a:cubicBezTo>
                    <a:pt x="2990" y="108"/>
                    <a:pt x="2986" y="112"/>
                    <a:pt x="2987" y="118"/>
                  </a:cubicBezTo>
                  <a:cubicBezTo>
                    <a:pt x="2988" y="124"/>
                    <a:pt x="2994" y="128"/>
                    <a:pt x="3000" y="128"/>
                  </a:cubicBezTo>
                  <a:cubicBezTo>
                    <a:pt x="3006" y="128"/>
                    <a:pt x="3010" y="123"/>
                    <a:pt x="3009" y="118"/>
                  </a:cubicBezTo>
                  <a:cubicBezTo>
                    <a:pt x="3008" y="112"/>
                    <a:pt x="3002" y="108"/>
                    <a:pt x="2996" y="108"/>
                  </a:cubicBezTo>
                  <a:cubicBezTo>
                    <a:pt x="2996" y="108"/>
                    <a:pt x="2996" y="108"/>
                    <a:pt x="2996" y="108"/>
                  </a:cubicBezTo>
                  <a:moveTo>
                    <a:pt x="3026" y="107"/>
                  </a:moveTo>
                  <a:cubicBezTo>
                    <a:pt x="3020" y="107"/>
                    <a:pt x="3017" y="112"/>
                    <a:pt x="3018" y="118"/>
                  </a:cubicBezTo>
                  <a:cubicBezTo>
                    <a:pt x="3019" y="123"/>
                    <a:pt x="3025" y="128"/>
                    <a:pt x="3031" y="128"/>
                  </a:cubicBezTo>
                  <a:cubicBezTo>
                    <a:pt x="3036" y="128"/>
                    <a:pt x="3040" y="123"/>
                    <a:pt x="3039" y="117"/>
                  </a:cubicBezTo>
                  <a:cubicBezTo>
                    <a:pt x="3038" y="112"/>
                    <a:pt x="3032" y="107"/>
                    <a:pt x="3027" y="107"/>
                  </a:cubicBezTo>
                  <a:cubicBezTo>
                    <a:pt x="3026" y="107"/>
                    <a:pt x="3026" y="107"/>
                    <a:pt x="3026" y="107"/>
                  </a:cubicBezTo>
                  <a:moveTo>
                    <a:pt x="3057" y="107"/>
                  </a:moveTo>
                  <a:cubicBezTo>
                    <a:pt x="3051" y="107"/>
                    <a:pt x="3047" y="112"/>
                    <a:pt x="3049" y="117"/>
                  </a:cubicBezTo>
                  <a:cubicBezTo>
                    <a:pt x="3050" y="123"/>
                    <a:pt x="3056" y="128"/>
                    <a:pt x="3062" y="128"/>
                  </a:cubicBezTo>
                  <a:cubicBezTo>
                    <a:pt x="3067" y="128"/>
                    <a:pt x="3071" y="123"/>
                    <a:pt x="3070" y="117"/>
                  </a:cubicBezTo>
                  <a:cubicBezTo>
                    <a:pt x="3069" y="112"/>
                    <a:pt x="3063" y="107"/>
                    <a:pt x="3057" y="107"/>
                  </a:cubicBezTo>
                  <a:cubicBezTo>
                    <a:pt x="3057" y="107"/>
                    <a:pt x="3057" y="107"/>
                    <a:pt x="3057" y="107"/>
                  </a:cubicBezTo>
                  <a:moveTo>
                    <a:pt x="3088" y="107"/>
                  </a:moveTo>
                  <a:cubicBezTo>
                    <a:pt x="3082" y="107"/>
                    <a:pt x="3078" y="111"/>
                    <a:pt x="3080" y="117"/>
                  </a:cubicBezTo>
                  <a:cubicBezTo>
                    <a:pt x="3081" y="123"/>
                    <a:pt x="3087" y="127"/>
                    <a:pt x="3093" y="127"/>
                  </a:cubicBezTo>
                  <a:cubicBezTo>
                    <a:pt x="3099" y="127"/>
                    <a:pt x="3103" y="123"/>
                    <a:pt x="3101" y="117"/>
                  </a:cubicBezTo>
                  <a:cubicBezTo>
                    <a:pt x="3100" y="111"/>
                    <a:pt x="3094" y="107"/>
                    <a:pt x="3088" y="107"/>
                  </a:cubicBezTo>
                  <a:cubicBezTo>
                    <a:pt x="3088" y="107"/>
                    <a:pt x="3088" y="107"/>
                    <a:pt x="3088" y="107"/>
                  </a:cubicBezTo>
                  <a:moveTo>
                    <a:pt x="3119" y="106"/>
                  </a:moveTo>
                  <a:cubicBezTo>
                    <a:pt x="3113" y="107"/>
                    <a:pt x="3109" y="111"/>
                    <a:pt x="3110" y="117"/>
                  </a:cubicBezTo>
                  <a:cubicBezTo>
                    <a:pt x="3112" y="122"/>
                    <a:pt x="3118" y="127"/>
                    <a:pt x="3123" y="127"/>
                  </a:cubicBezTo>
                  <a:cubicBezTo>
                    <a:pt x="3129" y="127"/>
                    <a:pt x="3133" y="122"/>
                    <a:pt x="3132" y="117"/>
                  </a:cubicBezTo>
                  <a:cubicBezTo>
                    <a:pt x="3130" y="111"/>
                    <a:pt x="3125" y="106"/>
                    <a:pt x="3119" y="106"/>
                  </a:cubicBezTo>
                  <a:cubicBezTo>
                    <a:pt x="3119" y="106"/>
                    <a:pt x="3119" y="106"/>
                    <a:pt x="3119" y="106"/>
                  </a:cubicBezTo>
                  <a:moveTo>
                    <a:pt x="3149" y="106"/>
                  </a:moveTo>
                  <a:cubicBezTo>
                    <a:pt x="3143" y="106"/>
                    <a:pt x="3140" y="111"/>
                    <a:pt x="3141" y="117"/>
                  </a:cubicBezTo>
                  <a:cubicBezTo>
                    <a:pt x="3142" y="122"/>
                    <a:pt x="3148" y="127"/>
                    <a:pt x="3154" y="127"/>
                  </a:cubicBezTo>
                  <a:cubicBezTo>
                    <a:pt x="3160" y="127"/>
                    <a:pt x="3164" y="122"/>
                    <a:pt x="3163" y="116"/>
                  </a:cubicBezTo>
                  <a:cubicBezTo>
                    <a:pt x="3161" y="111"/>
                    <a:pt x="3155" y="106"/>
                    <a:pt x="3149" y="106"/>
                  </a:cubicBezTo>
                  <a:cubicBezTo>
                    <a:pt x="3149" y="106"/>
                    <a:pt x="3149" y="106"/>
                    <a:pt x="3149" y="106"/>
                  </a:cubicBezTo>
                  <a:moveTo>
                    <a:pt x="3180" y="106"/>
                  </a:moveTo>
                  <a:cubicBezTo>
                    <a:pt x="3174" y="106"/>
                    <a:pt x="3170" y="111"/>
                    <a:pt x="3172" y="116"/>
                  </a:cubicBezTo>
                  <a:cubicBezTo>
                    <a:pt x="3173" y="122"/>
                    <a:pt x="3179" y="126"/>
                    <a:pt x="3185" y="126"/>
                  </a:cubicBezTo>
                  <a:cubicBezTo>
                    <a:pt x="3191" y="126"/>
                    <a:pt x="3195" y="122"/>
                    <a:pt x="3193" y="116"/>
                  </a:cubicBezTo>
                  <a:cubicBezTo>
                    <a:pt x="3192" y="110"/>
                    <a:pt x="3186" y="106"/>
                    <a:pt x="3180" y="106"/>
                  </a:cubicBezTo>
                  <a:cubicBezTo>
                    <a:pt x="3180" y="106"/>
                    <a:pt x="3180" y="106"/>
                    <a:pt x="3180" y="106"/>
                  </a:cubicBezTo>
                  <a:moveTo>
                    <a:pt x="3211" y="106"/>
                  </a:moveTo>
                  <a:cubicBezTo>
                    <a:pt x="3205" y="106"/>
                    <a:pt x="3201" y="110"/>
                    <a:pt x="3203" y="116"/>
                  </a:cubicBezTo>
                  <a:cubicBezTo>
                    <a:pt x="3204" y="122"/>
                    <a:pt x="3210" y="126"/>
                    <a:pt x="3216" y="126"/>
                  </a:cubicBezTo>
                  <a:cubicBezTo>
                    <a:pt x="3222" y="126"/>
                    <a:pt x="3226" y="121"/>
                    <a:pt x="3224" y="116"/>
                  </a:cubicBezTo>
                  <a:cubicBezTo>
                    <a:pt x="3223" y="110"/>
                    <a:pt x="3217" y="106"/>
                    <a:pt x="3211" y="106"/>
                  </a:cubicBezTo>
                  <a:cubicBezTo>
                    <a:pt x="3211" y="106"/>
                    <a:pt x="3211" y="106"/>
                    <a:pt x="3211" y="106"/>
                  </a:cubicBezTo>
                  <a:moveTo>
                    <a:pt x="3242" y="105"/>
                  </a:moveTo>
                  <a:cubicBezTo>
                    <a:pt x="3236" y="105"/>
                    <a:pt x="3233" y="110"/>
                    <a:pt x="3235" y="116"/>
                  </a:cubicBezTo>
                  <a:cubicBezTo>
                    <a:pt x="3236" y="121"/>
                    <a:pt x="3242" y="126"/>
                    <a:pt x="3248" y="126"/>
                  </a:cubicBezTo>
                  <a:cubicBezTo>
                    <a:pt x="3254" y="126"/>
                    <a:pt x="3258" y="121"/>
                    <a:pt x="3256" y="115"/>
                  </a:cubicBezTo>
                  <a:cubicBezTo>
                    <a:pt x="3254" y="110"/>
                    <a:pt x="3248" y="105"/>
                    <a:pt x="3243" y="105"/>
                  </a:cubicBezTo>
                  <a:cubicBezTo>
                    <a:pt x="3242" y="105"/>
                    <a:pt x="3242" y="105"/>
                    <a:pt x="3242" y="105"/>
                  </a:cubicBezTo>
                  <a:moveTo>
                    <a:pt x="3273" y="105"/>
                  </a:moveTo>
                  <a:cubicBezTo>
                    <a:pt x="3267" y="105"/>
                    <a:pt x="3263" y="110"/>
                    <a:pt x="3265" y="115"/>
                  </a:cubicBezTo>
                  <a:cubicBezTo>
                    <a:pt x="3267" y="121"/>
                    <a:pt x="3273" y="126"/>
                    <a:pt x="3279" y="126"/>
                  </a:cubicBezTo>
                  <a:cubicBezTo>
                    <a:pt x="3285" y="125"/>
                    <a:pt x="3288" y="121"/>
                    <a:pt x="3287" y="115"/>
                  </a:cubicBezTo>
                  <a:cubicBezTo>
                    <a:pt x="3285" y="110"/>
                    <a:pt x="3279" y="105"/>
                    <a:pt x="3273" y="105"/>
                  </a:cubicBezTo>
                  <a:cubicBezTo>
                    <a:pt x="3273" y="105"/>
                    <a:pt x="3273" y="105"/>
                    <a:pt x="3273" y="105"/>
                  </a:cubicBezTo>
                  <a:moveTo>
                    <a:pt x="3303" y="105"/>
                  </a:moveTo>
                  <a:cubicBezTo>
                    <a:pt x="3297" y="105"/>
                    <a:pt x="3294" y="109"/>
                    <a:pt x="3296" y="115"/>
                  </a:cubicBezTo>
                  <a:cubicBezTo>
                    <a:pt x="3297" y="121"/>
                    <a:pt x="3303" y="125"/>
                    <a:pt x="3309" y="125"/>
                  </a:cubicBezTo>
                  <a:cubicBezTo>
                    <a:pt x="3315" y="125"/>
                    <a:pt x="3319" y="121"/>
                    <a:pt x="3317" y="115"/>
                  </a:cubicBezTo>
                  <a:cubicBezTo>
                    <a:pt x="3315" y="109"/>
                    <a:pt x="3309" y="105"/>
                    <a:pt x="3303" y="105"/>
                  </a:cubicBezTo>
                  <a:cubicBezTo>
                    <a:pt x="3303" y="105"/>
                    <a:pt x="3303" y="105"/>
                    <a:pt x="3303" y="105"/>
                  </a:cubicBezTo>
                  <a:moveTo>
                    <a:pt x="3334" y="104"/>
                  </a:moveTo>
                  <a:cubicBezTo>
                    <a:pt x="3328" y="104"/>
                    <a:pt x="3324" y="109"/>
                    <a:pt x="3326" y="115"/>
                  </a:cubicBezTo>
                  <a:cubicBezTo>
                    <a:pt x="3328" y="120"/>
                    <a:pt x="3334" y="125"/>
                    <a:pt x="3340" y="125"/>
                  </a:cubicBezTo>
                  <a:cubicBezTo>
                    <a:pt x="3346" y="125"/>
                    <a:pt x="3349" y="120"/>
                    <a:pt x="3348" y="115"/>
                  </a:cubicBezTo>
                  <a:cubicBezTo>
                    <a:pt x="3346" y="109"/>
                    <a:pt x="3340" y="104"/>
                    <a:pt x="3334" y="104"/>
                  </a:cubicBezTo>
                  <a:cubicBezTo>
                    <a:pt x="3334" y="104"/>
                    <a:pt x="3334" y="104"/>
                    <a:pt x="3334" y="104"/>
                  </a:cubicBezTo>
                  <a:moveTo>
                    <a:pt x="3364" y="104"/>
                  </a:moveTo>
                  <a:cubicBezTo>
                    <a:pt x="3358" y="104"/>
                    <a:pt x="3355" y="109"/>
                    <a:pt x="3357" y="114"/>
                  </a:cubicBezTo>
                  <a:cubicBezTo>
                    <a:pt x="3359" y="120"/>
                    <a:pt x="3365" y="125"/>
                    <a:pt x="3371" y="125"/>
                  </a:cubicBezTo>
                  <a:cubicBezTo>
                    <a:pt x="3377" y="125"/>
                    <a:pt x="3380" y="120"/>
                    <a:pt x="3378" y="114"/>
                  </a:cubicBezTo>
                  <a:cubicBezTo>
                    <a:pt x="3377" y="109"/>
                    <a:pt x="3370" y="104"/>
                    <a:pt x="3364" y="104"/>
                  </a:cubicBezTo>
                  <a:cubicBezTo>
                    <a:pt x="3364" y="104"/>
                    <a:pt x="3364" y="104"/>
                    <a:pt x="3364" y="104"/>
                  </a:cubicBezTo>
                  <a:moveTo>
                    <a:pt x="3395" y="104"/>
                  </a:moveTo>
                  <a:cubicBezTo>
                    <a:pt x="3389" y="104"/>
                    <a:pt x="3386" y="108"/>
                    <a:pt x="3388" y="114"/>
                  </a:cubicBezTo>
                  <a:cubicBezTo>
                    <a:pt x="3390" y="120"/>
                    <a:pt x="3396" y="124"/>
                    <a:pt x="3402" y="124"/>
                  </a:cubicBezTo>
                  <a:cubicBezTo>
                    <a:pt x="3408" y="124"/>
                    <a:pt x="3412" y="120"/>
                    <a:pt x="3410" y="114"/>
                  </a:cubicBezTo>
                  <a:cubicBezTo>
                    <a:pt x="3408" y="108"/>
                    <a:pt x="3401" y="104"/>
                    <a:pt x="3395" y="104"/>
                  </a:cubicBezTo>
                  <a:cubicBezTo>
                    <a:pt x="3395" y="104"/>
                    <a:pt x="3395" y="104"/>
                    <a:pt x="3395" y="104"/>
                  </a:cubicBezTo>
                  <a:moveTo>
                    <a:pt x="3426" y="103"/>
                  </a:moveTo>
                  <a:cubicBezTo>
                    <a:pt x="3420" y="104"/>
                    <a:pt x="3417" y="108"/>
                    <a:pt x="3419" y="114"/>
                  </a:cubicBezTo>
                  <a:cubicBezTo>
                    <a:pt x="3421" y="120"/>
                    <a:pt x="3427" y="124"/>
                    <a:pt x="3433" y="124"/>
                  </a:cubicBezTo>
                  <a:cubicBezTo>
                    <a:pt x="3439" y="124"/>
                    <a:pt x="3442" y="119"/>
                    <a:pt x="3440" y="114"/>
                  </a:cubicBezTo>
                  <a:cubicBezTo>
                    <a:pt x="3438" y="108"/>
                    <a:pt x="3432" y="103"/>
                    <a:pt x="3426" y="103"/>
                  </a:cubicBezTo>
                  <a:cubicBezTo>
                    <a:pt x="3426" y="103"/>
                    <a:pt x="3426" y="103"/>
                    <a:pt x="3426" y="103"/>
                  </a:cubicBezTo>
                  <a:moveTo>
                    <a:pt x="3550" y="102"/>
                  </a:moveTo>
                  <a:cubicBezTo>
                    <a:pt x="3544" y="102"/>
                    <a:pt x="3541" y="106"/>
                    <a:pt x="3543" y="112"/>
                  </a:cubicBezTo>
                  <a:cubicBezTo>
                    <a:pt x="3545" y="118"/>
                    <a:pt x="3552" y="122"/>
                    <a:pt x="3558" y="122"/>
                  </a:cubicBezTo>
                  <a:cubicBezTo>
                    <a:pt x="3564" y="122"/>
                    <a:pt x="3567" y="117"/>
                    <a:pt x="3565" y="112"/>
                  </a:cubicBezTo>
                  <a:cubicBezTo>
                    <a:pt x="3562" y="106"/>
                    <a:pt x="3556" y="102"/>
                    <a:pt x="3550" y="102"/>
                  </a:cubicBezTo>
                  <a:cubicBezTo>
                    <a:pt x="3550" y="102"/>
                    <a:pt x="3550" y="102"/>
                    <a:pt x="3550" y="102"/>
                  </a:cubicBezTo>
                  <a:moveTo>
                    <a:pt x="3580" y="101"/>
                  </a:moveTo>
                  <a:cubicBezTo>
                    <a:pt x="3574" y="101"/>
                    <a:pt x="3571" y="106"/>
                    <a:pt x="3573" y="112"/>
                  </a:cubicBezTo>
                  <a:cubicBezTo>
                    <a:pt x="3576" y="117"/>
                    <a:pt x="3582" y="122"/>
                    <a:pt x="3588" y="122"/>
                  </a:cubicBezTo>
                  <a:cubicBezTo>
                    <a:pt x="3594" y="122"/>
                    <a:pt x="3597" y="117"/>
                    <a:pt x="3595" y="111"/>
                  </a:cubicBezTo>
                  <a:cubicBezTo>
                    <a:pt x="3593" y="106"/>
                    <a:pt x="3586" y="101"/>
                    <a:pt x="3580" y="101"/>
                  </a:cubicBezTo>
                  <a:cubicBezTo>
                    <a:pt x="3580" y="101"/>
                    <a:pt x="3580" y="101"/>
                    <a:pt x="3580" y="101"/>
                  </a:cubicBezTo>
                  <a:moveTo>
                    <a:pt x="3610" y="101"/>
                  </a:moveTo>
                  <a:cubicBezTo>
                    <a:pt x="3604" y="101"/>
                    <a:pt x="3602" y="106"/>
                    <a:pt x="3604" y="111"/>
                  </a:cubicBezTo>
                  <a:cubicBezTo>
                    <a:pt x="3606" y="117"/>
                    <a:pt x="3613" y="122"/>
                    <a:pt x="3619" y="122"/>
                  </a:cubicBezTo>
                  <a:cubicBezTo>
                    <a:pt x="3625" y="121"/>
                    <a:pt x="3628" y="117"/>
                    <a:pt x="3625" y="111"/>
                  </a:cubicBezTo>
                  <a:cubicBezTo>
                    <a:pt x="3623" y="105"/>
                    <a:pt x="3616" y="101"/>
                    <a:pt x="3610" y="101"/>
                  </a:cubicBezTo>
                  <a:cubicBezTo>
                    <a:pt x="3610" y="101"/>
                    <a:pt x="3610" y="101"/>
                    <a:pt x="3610" y="101"/>
                  </a:cubicBezTo>
                  <a:moveTo>
                    <a:pt x="1621" y="91"/>
                  </a:moveTo>
                  <a:cubicBezTo>
                    <a:pt x="1615" y="91"/>
                    <a:pt x="1609" y="96"/>
                    <a:pt x="1607" y="101"/>
                  </a:cubicBezTo>
                  <a:cubicBezTo>
                    <a:pt x="1605" y="107"/>
                    <a:pt x="1608" y="111"/>
                    <a:pt x="1614" y="111"/>
                  </a:cubicBezTo>
                  <a:cubicBezTo>
                    <a:pt x="1620" y="111"/>
                    <a:pt x="1626" y="107"/>
                    <a:pt x="1628" y="101"/>
                  </a:cubicBezTo>
                  <a:cubicBezTo>
                    <a:pt x="1630" y="95"/>
                    <a:pt x="1627" y="91"/>
                    <a:pt x="1621" y="91"/>
                  </a:cubicBezTo>
                  <a:cubicBezTo>
                    <a:pt x="1621" y="91"/>
                    <a:pt x="1621" y="91"/>
                    <a:pt x="1621" y="91"/>
                  </a:cubicBezTo>
                  <a:moveTo>
                    <a:pt x="1652" y="91"/>
                  </a:moveTo>
                  <a:cubicBezTo>
                    <a:pt x="1646" y="91"/>
                    <a:pt x="1640" y="95"/>
                    <a:pt x="1638" y="101"/>
                  </a:cubicBezTo>
                  <a:cubicBezTo>
                    <a:pt x="1636" y="107"/>
                    <a:pt x="1639" y="111"/>
                    <a:pt x="1645" y="111"/>
                  </a:cubicBezTo>
                  <a:cubicBezTo>
                    <a:pt x="1651" y="111"/>
                    <a:pt x="1657" y="106"/>
                    <a:pt x="1659" y="101"/>
                  </a:cubicBezTo>
                  <a:cubicBezTo>
                    <a:pt x="1661" y="95"/>
                    <a:pt x="1658" y="91"/>
                    <a:pt x="1652" y="91"/>
                  </a:cubicBezTo>
                  <a:cubicBezTo>
                    <a:pt x="1652" y="91"/>
                    <a:pt x="1652" y="91"/>
                    <a:pt x="1652" y="91"/>
                  </a:cubicBezTo>
                  <a:moveTo>
                    <a:pt x="1682" y="90"/>
                  </a:moveTo>
                  <a:cubicBezTo>
                    <a:pt x="1676" y="90"/>
                    <a:pt x="1670" y="95"/>
                    <a:pt x="1668" y="101"/>
                  </a:cubicBezTo>
                  <a:cubicBezTo>
                    <a:pt x="1666" y="106"/>
                    <a:pt x="1670" y="111"/>
                    <a:pt x="1676" y="111"/>
                  </a:cubicBezTo>
                  <a:cubicBezTo>
                    <a:pt x="1682" y="111"/>
                    <a:pt x="1688" y="106"/>
                    <a:pt x="1690" y="100"/>
                  </a:cubicBezTo>
                  <a:cubicBezTo>
                    <a:pt x="1691" y="95"/>
                    <a:pt x="1688" y="90"/>
                    <a:pt x="1682" y="90"/>
                  </a:cubicBezTo>
                  <a:cubicBezTo>
                    <a:pt x="1682" y="90"/>
                    <a:pt x="1682" y="90"/>
                    <a:pt x="1682" y="90"/>
                  </a:cubicBezTo>
                  <a:moveTo>
                    <a:pt x="1713" y="90"/>
                  </a:moveTo>
                  <a:cubicBezTo>
                    <a:pt x="1707" y="90"/>
                    <a:pt x="1701" y="95"/>
                    <a:pt x="1699" y="100"/>
                  </a:cubicBezTo>
                  <a:cubicBezTo>
                    <a:pt x="1697" y="106"/>
                    <a:pt x="1700" y="110"/>
                    <a:pt x="1706" y="110"/>
                  </a:cubicBezTo>
                  <a:cubicBezTo>
                    <a:pt x="1712" y="110"/>
                    <a:pt x="1718" y="106"/>
                    <a:pt x="1720" y="100"/>
                  </a:cubicBezTo>
                  <a:cubicBezTo>
                    <a:pt x="1722" y="95"/>
                    <a:pt x="1719" y="90"/>
                    <a:pt x="1713" y="90"/>
                  </a:cubicBezTo>
                  <a:cubicBezTo>
                    <a:pt x="1713" y="90"/>
                    <a:pt x="1713" y="90"/>
                    <a:pt x="1713" y="90"/>
                  </a:cubicBezTo>
                  <a:moveTo>
                    <a:pt x="1743" y="90"/>
                  </a:moveTo>
                  <a:cubicBezTo>
                    <a:pt x="1737" y="90"/>
                    <a:pt x="1731" y="94"/>
                    <a:pt x="1729" y="100"/>
                  </a:cubicBezTo>
                  <a:cubicBezTo>
                    <a:pt x="1727" y="106"/>
                    <a:pt x="1731" y="110"/>
                    <a:pt x="1737" y="110"/>
                  </a:cubicBezTo>
                  <a:cubicBezTo>
                    <a:pt x="1743" y="110"/>
                    <a:pt x="1749" y="105"/>
                    <a:pt x="1751" y="100"/>
                  </a:cubicBezTo>
                  <a:cubicBezTo>
                    <a:pt x="1752" y="94"/>
                    <a:pt x="1749" y="90"/>
                    <a:pt x="1743" y="90"/>
                  </a:cubicBezTo>
                  <a:cubicBezTo>
                    <a:pt x="1743" y="90"/>
                    <a:pt x="1743" y="90"/>
                    <a:pt x="1743" y="90"/>
                  </a:cubicBezTo>
                  <a:moveTo>
                    <a:pt x="1773" y="89"/>
                  </a:moveTo>
                  <a:cubicBezTo>
                    <a:pt x="1768" y="90"/>
                    <a:pt x="1761" y="94"/>
                    <a:pt x="1760" y="100"/>
                  </a:cubicBezTo>
                  <a:cubicBezTo>
                    <a:pt x="1758" y="105"/>
                    <a:pt x="1762" y="110"/>
                    <a:pt x="1768" y="110"/>
                  </a:cubicBezTo>
                  <a:cubicBezTo>
                    <a:pt x="1774" y="110"/>
                    <a:pt x="1780" y="105"/>
                    <a:pt x="1781" y="100"/>
                  </a:cubicBezTo>
                  <a:cubicBezTo>
                    <a:pt x="1783" y="94"/>
                    <a:pt x="1779" y="89"/>
                    <a:pt x="1774" y="89"/>
                  </a:cubicBezTo>
                  <a:cubicBezTo>
                    <a:pt x="1774" y="89"/>
                    <a:pt x="1774" y="89"/>
                    <a:pt x="1773" y="89"/>
                  </a:cubicBezTo>
                  <a:moveTo>
                    <a:pt x="1805" y="89"/>
                  </a:moveTo>
                  <a:cubicBezTo>
                    <a:pt x="1799" y="89"/>
                    <a:pt x="1793" y="94"/>
                    <a:pt x="1791" y="99"/>
                  </a:cubicBezTo>
                  <a:cubicBezTo>
                    <a:pt x="1790" y="105"/>
                    <a:pt x="1793" y="110"/>
                    <a:pt x="1799" y="109"/>
                  </a:cubicBezTo>
                  <a:cubicBezTo>
                    <a:pt x="1805" y="109"/>
                    <a:pt x="1811" y="105"/>
                    <a:pt x="1813" y="99"/>
                  </a:cubicBezTo>
                  <a:cubicBezTo>
                    <a:pt x="1814" y="94"/>
                    <a:pt x="1811" y="89"/>
                    <a:pt x="1805" y="89"/>
                  </a:cubicBezTo>
                  <a:cubicBezTo>
                    <a:pt x="1805" y="89"/>
                    <a:pt x="1805" y="89"/>
                    <a:pt x="1805" y="89"/>
                  </a:cubicBezTo>
                  <a:moveTo>
                    <a:pt x="1835" y="89"/>
                  </a:moveTo>
                  <a:cubicBezTo>
                    <a:pt x="1829" y="89"/>
                    <a:pt x="1823" y="93"/>
                    <a:pt x="1822" y="99"/>
                  </a:cubicBezTo>
                  <a:cubicBezTo>
                    <a:pt x="1820" y="105"/>
                    <a:pt x="1824" y="109"/>
                    <a:pt x="1830" y="109"/>
                  </a:cubicBezTo>
                  <a:cubicBezTo>
                    <a:pt x="1836" y="109"/>
                    <a:pt x="1842" y="105"/>
                    <a:pt x="1843" y="99"/>
                  </a:cubicBezTo>
                  <a:cubicBezTo>
                    <a:pt x="1845" y="93"/>
                    <a:pt x="1841" y="89"/>
                    <a:pt x="1835" y="89"/>
                  </a:cubicBezTo>
                  <a:cubicBezTo>
                    <a:pt x="1835" y="89"/>
                    <a:pt x="1835" y="89"/>
                    <a:pt x="1835" y="89"/>
                  </a:cubicBezTo>
                  <a:moveTo>
                    <a:pt x="1866" y="89"/>
                  </a:moveTo>
                  <a:cubicBezTo>
                    <a:pt x="1860" y="89"/>
                    <a:pt x="1854" y="93"/>
                    <a:pt x="1852" y="99"/>
                  </a:cubicBezTo>
                  <a:cubicBezTo>
                    <a:pt x="1851" y="104"/>
                    <a:pt x="1855" y="109"/>
                    <a:pt x="1861" y="109"/>
                  </a:cubicBezTo>
                  <a:cubicBezTo>
                    <a:pt x="1867" y="109"/>
                    <a:pt x="1872" y="104"/>
                    <a:pt x="1874" y="99"/>
                  </a:cubicBezTo>
                  <a:cubicBezTo>
                    <a:pt x="1875" y="93"/>
                    <a:pt x="1872" y="89"/>
                    <a:pt x="1866" y="89"/>
                  </a:cubicBezTo>
                  <a:cubicBezTo>
                    <a:pt x="1866" y="89"/>
                    <a:pt x="1866" y="89"/>
                    <a:pt x="1866" y="89"/>
                  </a:cubicBezTo>
                  <a:moveTo>
                    <a:pt x="1897" y="88"/>
                  </a:moveTo>
                  <a:cubicBezTo>
                    <a:pt x="1891" y="88"/>
                    <a:pt x="1885" y="93"/>
                    <a:pt x="1883" y="99"/>
                  </a:cubicBezTo>
                  <a:cubicBezTo>
                    <a:pt x="1882" y="104"/>
                    <a:pt x="1886" y="109"/>
                    <a:pt x="1892" y="109"/>
                  </a:cubicBezTo>
                  <a:cubicBezTo>
                    <a:pt x="1898" y="109"/>
                    <a:pt x="1903" y="104"/>
                    <a:pt x="1905" y="98"/>
                  </a:cubicBezTo>
                  <a:cubicBezTo>
                    <a:pt x="1906" y="93"/>
                    <a:pt x="1902" y="88"/>
                    <a:pt x="1897" y="88"/>
                  </a:cubicBezTo>
                  <a:cubicBezTo>
                    <a:pt x="1897" y="88"/>
                    <a:pt x="1897" y="88"/>
                    <a:pt x="1897" y="88"/>
                  </a:cubicBezTo>
                  <a:moveTo>
                    <a:pt x="1927" y="88"/>
                  </a:moveTo>
                  <a:cubicBezTo>
                    <a:pt x="1921" y="88"/>
                    <a:pt x="1915" y="93"/>
                    <a:pt x="1914" y="98"/>
                  </a:cubicBezTo>
                  <a:cubicBezTo>
                    <a:pt x="1912" y="104"/>
                    <a:pt x="1916" y="108"/>
                    <a:pt x="1922" y="108"/>
                  </a:cubicBezTo>
                  <a:cubicBezTo>
                    <a:pt x="1928" y="108"/>
                    <a:pt x="1934" y="104"/>
                    <a:pt x="1935" y="98"/>
                  </a:cubicBezTo>
                  <a:cubicBezTo>
                    <a:pt x="1936" y="92"/>
                    <a:pt x="1933" y="88"/>
                    <a:pt x="1927" y="88"/>
                  </a:cubicBezTo>
                  <a:cubicBezTo>
                    <a:pt x="1927" y="88"/>
                    <a:pt x="1927" y="88"/>
                    <a:pt x="1927" y="88"/>
                  </a:cubicBezTo>
                  <a:moveTo>
                    <a:pt x="2688" y="79"/>
                  </a:moveTo>
                  <a:cubicBezTo>
                    <a:pt x="2682" y="79"/>
                    <a:pt x="2678" y="84"/>
                    <a:pt x="2678" y="90"/>
                  </a:cubicBezTo>
                  <a:cubicBezTo>
                    <a:pt x="2678" y="95"/>
                    <a:pt x="2683" y="100"/>
                    <a:pt x="2689" y="100"/>
                  </a:cubicBezTo>
                  <a:cubicBezTo>
                    <a:pt x="2695" y="100"/>
                    <a:pt x="2700" y="95"/>
                    <a:pt x="2699" y="89"/>
                  </a:cubicBezTo>
                  <a:cubicBezTo>
                    <a:pt x="2699" y="84"/>
                    <a:pt x="2694" y="79"/>
                    <a:pt x="2688" y="79"/>
                  </a:cubicBezTo>
                  <a:cubicBezTo>
                    <a:pt x="2688" y="79"/>
                    <a:pt x="2688" y="79"/>
                    <a:pt x="2688" y="79"/>
                  </a:cubicBezTo>
                  <a:moveTo>
                    <a:pt x="2718" y="79"/>
                  </a:moveTo>
                  <a:cubicBezTo>
                    <a:pt x="2712" y="79"/>
                    <a:pt x="2708" y="84"/>
                    <a:pt x="2708" y="89"/>
                  </a:cubicBezTo>
                  <a:cubicBezTo>
                    <a:pt x="2709" y="95"/>
                    <a:pt x="2714" y="99"/>
                    <a:pt x="2720" y="99"/>
                  </a:cubicBezTo>
                  <a:cubicBezTo>
                    <a:pt x="2726" y="99"/>
                    <a:pt x="2730" y="95"/>
                    <a:pt x="2730" y="89"/>
                  </a:cubicBezTo>
                  <a:cubicBezTo>
                    <a:pt x="2729" y="83"/>
                    <a:pt x="2724" y="79"/>
                    <a:pt x="2718" y="79"/>
                  </a:cubicBezTo>
                  <a:cubicBezTo>
                    <a:pt x="2718" y="79"/>
                    <a:pt x="2718" y="79"/>
                    <a:pt x="2718" y="79"/>
                  </a:cubicBezTo>
                  <a:moveTo>
                    <a:pt x="2990" y="78"/>
                  </a:moveTo>
                  <a:cubicBezTo>
                    <a:pt x="2985" y="78"/>
                    <a:pt x="2981" y="83"/>
                    <a:pt x="2982" y="88"/>
                  </a:cubicBezTo>
                  <a:cubicBezTo>
                    <a:pt x="2983" y="94"/>
                    <a:pt x="2988" y="99"/>
                    <a:pt x="2994" y="99"/>
                  </a:cubicBezTo>
                  <a:cubicBezTo>
                    <a:pt x="3000" y="99"/>
                    <a:pt x="3004" y="94"/>
                    <a:pt x="3003" y="88"/>
                  </a:cubicBezTo>
                  <a:cubicBezTo>
                    <a:pt x="3002" y="83"/>
                    <a:pt x="2996" y="78"/>
                    <a:pt x="2990" y="78"/>
                  </a:cubicBezTo>
                  <a:cubicBezTo>
                    <a:pt x="2990" y="78"/>
                    <a:pt x="2990" y="78"/>
                    <a:pt x="2990" y="78"/>
                  </a:cubicBezTo>
                  <a:moveTo>
                    <a:pt x="3021" y="78"/>
                  </a:moveTo>
                  <a:cubicBezTo>
                    <a:pt x="3015" y="78"/>
                    <a:pt x="3011" y="82"/>
                    <a:pt x="3012" y="88"/>
                  </a:cubicBezTo>
                  <a:cubicBezTo>
                    <a:pt x="3013" y="94"/>
                    <a:pt x="3019" y="98"/>
                    <a:pt x="3025" y="98"/>
                  </a:cubicBezTo>
                  <a:cubicBezTo>
                    <a:pt x="3030" y="98"/>
                    <a:pt x="3034" y="94"/>
                    <a:pt x="3033" y="88"/>
                  </a:cubicBezTo>
                  <a:cubicBezTo>
                    <a:pt x="3032" y="82"/>
                    <a:pt x="3026" y="78"/>
                    <a:pt x="3021" y="78"/>
                  </a:cubicBezTo>
                  <a:cubicBezTo>
                    <a:pt x="3021" y="78"/>
                    <a:pt x="3021" y="78"/>
                    <a:pt x="3021" y="78"/>
                  </a:cubicBezTo>
                  <a:moveTo>
                    <a:pt x="3051" y="77"/>
                  </a:moveTo>
                  <a:cubicBezTo>
                    <a:pt x="3045" y="78"/>
                    <a:pt x="3041" y="82"/>
                    <a:pt x="3042" y="88"/>
                  </a:cubicBezTo>
                  <a:cubicBezTo>
                    <a:pt x="3044" y="94"/>
                    <a:pt x="3049" y="98"/>
                    <a:pt x="3055" y="98"/>
                  </a:cubicBezTo>
                  <a:cubicBezTo>
                    <a:pt x="3061" y="98"/>
                    <a:pt x="3065" y="93"/>
                    <a:pt x="3064" y="88"/>
                  </a:cubicBezTo>
                  <a:cubicBezTo>
                    <a:pt x="3063" y="82"/>
                    <a:pt x="3057" y="77"/>
                    <a:pt x="3051" y="77"/>
                  </a:cubicBezTo>
                  <a:cubicBezTo>
                    <a:pt x="3051" y="77"/>
                    <a:pt x="3051" y="77"/>
                    <a:pt x="3051" y="77"/>
                  </a:cubicBezTo>
                  <a:moveTo>
                    <a:pt x="3082" y="77"/>
                  </a:moveTo>
                  <a:cubicBezTo>
                    <a:pt x="3076" y="77"/>
                    <a:pt x="3072" y="82"/>
                    <a:pt x="3073" y="88"/>
                  </a:cubicBezTo>
                  <a:cubicBezTo>
                    <a:pt x="3074" y="93"/>
                    <a:pt x="3080" y="98"/>
                    <a:pt x="3086" y="98"/>
                  </a:cubicBezTo>
                  <a:cubicBezTo>
                    <a:pt x="3092" y="98"/>
                    <a:pt x="3096" y="93"/>
                    <a:pt x="3095" y="87"/>
                  </a:cubicBezTo>
                  <a:cubicBezTo>
                    <a:pt x="3093" y="82"/>
                    <a:pt x="3088" y="77"/>
                    <a:pt x="3082" y="77"/>
                  </a:cubicBezTo>
                  <a:cubicBezTo>
                    <a:pt x="3082" y="77"/>
                    <a:pt x="3082" y="77"/>
                    <a:pt x="3082" y="77"/>
                  </a:cubicBezTo>
                  <a:moveTo>
                    <a:pt x="3112" y="77"/>
                  </a:moveTo>
                  <a:cubicBezTo>
                    <a:pt x="3106" y="77"/>
                    <a:pt x="3102" y="82"/>
                    <a:pt x="3103" y="87"/>
                  </a:cubicBezTo>
                  <a:cubicBezTo>
                    <a:pt x="3105" y="93"/>
                    <a:pt x="3111" y="97"/>
                    <a:pt x="3117" y="97"/>
                  </a:cubicBezTo>
                  <a:cubicBezTo>
                    <a:pt x="3122" y="97"/>
                    <a:pt x="3126" y="93"/>
                    <a:pt x="3125" y="87"/>
                  </a:cubicBezTo>
                  <a:cubicBezTo>
                    <a:pt x="3123" y="81"/>
                    <a:pt x="3118" y="77"/>
                    <a:pt x="3112" y="77"/>
                  </a:cubicBezTo>
                  <a:cubicBezTo>
                    <a:pt x="3112" y="77"/>
                    <a:pt x="3112" y="77"/>
                    <a:pt x="3112" y="77"/>
                  </a:cubicBezTo>
                  <a:moveTo>
                    <a:pt x="3142" y="77"/>
                  </a:moveTo>
                  <a:cubicBezTo>
                    <a:pt x="3136" y="77"/>
                    <a:pt x="3133" y="81"/>
                    <a:pt x="3134" y="87"/>
                  </a:cubicBezTo>
                  <a:cubicBezTo>
                    <a:pt x="3135" y="93"/>
                    <a:pt x="3141" y="97"/>
                    <a:pt x="3147" y="97"/>
                  </a:cubicBezTo>
                  <a:cubicBezTo>
                    <a:pt x="3153" y="97"/>
                    <a:pt x="3157" y="92"/>
                    <a:pt x="3155" y="87"/>
                  </a:cubicBezTo>
                  <a:cubicBezTo>
                    <a:pt x="3154" y="81"/>
                    <a:pt x="3148" y="77"/>
                    <a:pt x="3142" y="77"/>
                  </a:cubicBezTo>
                  <a:cubicBezTo>
                    <a:pt x="3142" y="77"/>
                    <a:pt x="3142" y="77"/>
                    <a:pt x="3142" y="77"/>
                  </a:cubicBezTo>
                  <a:moveTo>
                    <a:pt x="3172" y="76"/>
                  </a:moveTo>
                  <a:cubicBezTo>
                    <a:pt x="3166" y="76"/>
                    <a:pt x="3163" y="81"/>
                    <a:pt x="3164" y="87"/>
                  </a:cubicBezTo>
                  <a:cubicBezTo>
                    <a:pt x="3166" y="92"/>
                    <a:pt x="3172" y="97"/>
                    <a:pt x="3177" y="97"/>
                  </a:cubicBezTo>
                  <a:cubicBezTo>
                    <a:pt x="3183" y="97"/>
                    <a:pt x="3187" y="92"/>
                    <a:pt x="3185" y="86"/>
                  </a:cubicBezTo>
                  <a:cubicBezTo>
                    <a:pt x="3184" y="81"/>
                    <a:pt x="3178" y="76"/>
                    <a:pt x="3172" y="76"/>
                  </a:cubicBezTo>
                  <a:cubicBezTo>
                    <a:pt x="3172" y="76"/>
                    <a:pt x="3172" y="76"/>
                    <a:pt x="3172" y="76"/>
                  </a:cubicBezTo>
                  <a:moveTo>
                    <a:pt x="3536" y="66"/>
                  </a:moveTo>
                  <a:cubicBezTo>
                    <a:pt x="3530" y="66"/>
                    <a:pt x="3527" y="71"/>
                    <a:pt x="3529" y="77"/>
                  </a:cubicBezTo>
                  <a:cubicBezTo>
                    <a:pt x="3531" y="82"/>
                    <a:pt x="3538" y="87"/>
                    <a:pt x="3544" y="87"/>
                  </a:cubicBezTo>
                  <a:cubicBezTo>
                    <a:pt x="3550" y="87"/>
                    <a:pt x="3553" y="82"/>
                    <a:pt x="3550" y="77"/>
                  </a:cubicBezTo>
                  <a:cubicBezTo>
                    <a:pt x="3548" y="71"/>
                    <a:pt x="3542" y="66"/>
                    <a:pt x="3536" y="66"/>
                  </a:cubicBezTo>
                  <a:cubicBezTo>
                    <a:pt x="3536" y="66"/>
                    <a:pt x="3536" y="66"/>
                    <a:pt x="3536" y="66"/>
                  </a:cubicBezTo>
                  <a:moveTo>
                    <a:pt x="1421" y="62"/>
                  </a:moveTo>
                  <a:cubicBezTo>
                    <a:pt x="1415" y="63"/>
                    <a:pt x="1408" y="67"/>
                    <a:pt x="1406" y="73"/>
                  </a:cubicBezTo>
                  <a:cubicBezTo>
                    <a:pt x="1403" y="78"/>
                    <a:pt x="1406" y="83"/>
                    <a:pt x="1412" y="83"/>
                  </a:cubicBezTo>
                  <a:cubicBezTo>
                    <a:pt x="1418" y="83"/>
                    <a:pt x="1424" y="78"/>
                    <a:pt x="1427" y="73"/>
                  </a:cubicBezTo>
                  <a:cubicBezTo>
                    <a:pt x="1429" y="67"/>
                    <a:pt x="1426" y="62"/>
                    <a:pt x="1421" y="62"/>
                  </a:cubicBezTo>
                  <a:cubicBezTo>
                    <a:pt x="1421" y="62"/>
                    <a:pt x="1421" y="62"/>
                    <a:pt x="1421" y="62"/>
                  </a:cubicBezTo>
                  <a:moveTo>
                    <a:pt x="1512" y="62"/>
                  </a:moveTo>
                  <a:cubicBezTo>
                    <a:pt x="1506" y="62"/>
                    <a:pt x="1499" y="66"/>
                    <a:pt x="1497" y="72"/>
                  </a:cubicBezTo>
                  <a:cubicBezTo>
                    <a:pt x="1495" y="77"/>
                    <a:pt x="1498" y="82"/>
                    <a:pt x="1504" y="82"/>
                  </a:cubicBezTo>
                  <a:cubicBezTo>
                    <a:pt x="1509" y="82"/>
                    <a:pt x="1516" y="77"/>
                    <a:pt x="1518" y="72"/>
                  </a:cubicBezTo>
                  <a:cubicBezTo>
                    <a:pt x="1520" y="66"/>
                    <a:pt x="1517" y="62"/>
                    <a:pt x="1512" y="62"/>
                  </a:cubicBezTo>
                  <a:cubicBezTo>
                    <a:pt x="1512" y="62"/>
                    <a:pt x="1512" y="62"/>
                    <a:pt x="1512" y="62"/>
                  </a:cubicBezTo>
                  <a:moveTo>
                    <a:pt x="1543" y="61"/>
                  </a:moveTo>
                  <a:cubicBezTo>
                    <a:pt x="1537" y="61"/>
                    <a:pt x="1531" y="66"/>
                    <a:pt x="1529" y="71"/>
                  </a:cubicBezTo>
                  <a:cubicBezTo>
                    <a:pt x="1527" y="77"/>
                    <a:pt x="1530" y="82"/>
                    <a:pt x="1535" y="82"/>
                  </a:cubicBezTo>
                  <a:cubicBezTo>
                    <a:pt x="1541" y="81"/>
                    <a:pt x="1548" y="77"/>
                    <a:pt x="1550" y="71"/>
                  </a:cubicBezTo>
                  <a:cubicBezTo>
                    <a:pt x="1552" y="66"/>
                    <a:pt x="1549" y="61"/>
                    <a:pt x="1543" y="61"/>
                  </a:cubicBezTo>
                  <a:cubicBezTo>
                    <a:pt x="1543" y="61"/>
                    <a:pt x="1543" y="61"/>
                    <a:pt x="1543" y="61"/>
                  </a:cubicBezTo>
                  <a:moveTo>
                    <a:pt x="1572" y="61"/>
                  </a:moveTo>
                  <a:cubicBezTo>
                    <a:pt x="1566" y="61"/>
                    <a:pt x="1559" y="66"/>
                    <a:pt x="1557" y="71"/>
                  </a:cubicBezTo>
                  <a:cubicBezTo>
                    <a:pt x="1555" y="77"/>
                    <a:pt x="1558" y="81"/>
                    <a:pt x="1564" y="81"/>
                  </a:cubicBezTo>
                  <a:cubicBezTo>
                    <a:pt x="1570" y="81"/>
                    <a:pt x="1576" y="77"/>
                    <a:pt x="1578" y="71"/>
                  </a:cubicBezTo>
                  <a:cubicBezTo>
                    <a:pt x="1580" y="65"/>
                    <a:pt x="1577" y="61"/>
                    <a:pt x="1572" y="61"/>
                  </a:cubicBezTo>
                  <a:cubicBezTo>
                    <a:pt x="1572" y="61"/>
                    <a:pt x="1572" y="61"/>
                    <a:pt x="1572" y="61"/>
                  </a:cubicBezTo>
                  <a:moveTo>
                    <a:pt x="1602" y="61"/>
                  </a:moveTo>
                  <a:cubicBezTo>
                    <a:pt x="1596" y="61"/>
                    <a:pt x="1589" y="65"/>
                    <a:pt x="1587" y="71"/>
                  </a:cubicBezTo>
                  <a:cubicBezTo>
                    <a:pt x="1585" y="77"/>
                    <a:pt x="1588" y="81"/>
                    <a:pt x="1594" y="81"/>
                  </a:cubicBezTo>
                  <a:cubicBezTo>
                    <a:pt x="1600" y="81"/>
                    <a:pt x="1606" y="76"/>
                    <a:pt x="1608" y="71"/>
                  </a:cubicBezTo>
                  <a:cubicBezTo>
                    <a:pt x="1610" y="65"/>
                    <a:pt x="1607" y="61"/>
                    <a:pt x="1602" y="61"/>
                  </a:cubicBezTo>
                  <a:cubicBezTo>
                    <a:pt x="1602" y="61"/>
                    <a:pt x="1602" y="61"/>
                    <a:pt x="1602" y="61"/>
                  </a:cubicBezTo>
                  <a:moveTo>
                    <a:pt x="1632" y="60"/>
                  </a:moveTo>
                  <a:cubicBezTo>
                    <a:pt x="1626" y="60"/>
                    <a:pt x="1620" y="65"/>
                    <a:pt x="1618" y="71"/>
                  </a:cubicBezTo>
                  <a:cubicBezTo>
                    <a:pt x="1616" y="76"/>
                    <a:pt x="1619" y="81"/>
                    <a:pt x="1625" y="81"/>
                  </a:cubicBezTo>
                  <a:cubicBezTo>
                    <a:pt x="1631" y="81"/>
                    <a:pt x="1637" y="76"/>
                    <a:pt x="1639" y="70"/>
                  </a:cubicBezTo>
                  <a:cubicBezTo>
                    <a:pt x="1641" y="65"/>
                    <a:pt x="1638" y="60"/>
                    <a:pt x="1632" y="60"/>
                  </a:cubicBezTo>
                  <a:cubicBezTo>
                    <a:pt x="1632" y="60"/>
                    <a:pt x="1632" y="60"/>
                    <a:pt x="1632" y="60"/>
                  </a:cubicBezTo>
                  <a:moveTo>
                    <a:pt x="1662" y="60"/>
                  </a:moveTo>
                  <a:cubicBezTo>
                    <a:pt x="1656" y="60"/>
                    <a:pt x="1650" y="65"/>
                    <a:pt x="1648" y="70"/>
                  </a:cubicBezTo>
                  <a:cubicBezTo>
                    <a:pt x="1646" y="76"/>
                    <a:pt x="1649" y="80"/>
                    <a:pt x="1655" y="80"/>
                  </a:cubicBezTo>
                  <a:cubicBezTo>
                    <a:pt x="1661" y="80"/>
                    <a:pt x="1667" y="76"/>
                    <a:pt x="1669" y="70"/>
                  </a:cubicBezTo>
                  <a:cubicBezTo>
                    <a:pt x="1671" y="64"/>
                    <a:pt x="1668" y="60"/>
                    <a:pt x="1662" y="60"/>
                  </a:cubicBezTo>
                  <a:cubicBezTo>
                    <a:pt x="1662" y="60"/>
                    <a:pt x="1662" y="60"/>
                    <a:pt x="1662" y="60"/>
                  </a:cubicBezTo>
                  <a:moveTo>
                    <a:pt x="1692" y="60"/>
                  </a:moveTo>
                  <a:cubicBezTo>
                    <a:pt x="1686" y="60"/>
                    <a:pt x="1680" y="64"/>
                    <a:pt x="1678" y="70"/>
                  </a:cubicBezTo>
                  <a:cubicBezTo>
                    <a:pt x="1676" y="76"/>
                    <a:pt x="1680" y="80"/>
                    <a:pt x="1686" y="80"/>
                  </a:cubicBezTo>
                  <a:cubicBezTo>
                    <a:pt x="1691" y="80"/>
                    <a:pt x="1698" y="75"/>
                    <a:pt x="1699" y="70"/>
                  </a:cubicBezTo>
                  <a:cubicBezTo>
                    <a:pt x="1701" y="64"/>
                    <a:pt x="1698" y="60"/>
                    <a:pt x="1692" y="60"/>
                  </a:cubicBezTo>
                  <a:cubicBezTo>
                    <a:pt x="1692" y="60"/>
                    <a:pt x="1692" y="60"/>
                    <a:pt x="1692" y="60"/>
                  </a:cubicBezTo>
                  <a:moveTo>
                    <a:pt x="1722" y="59"/>
                  </a:moveTo>
                  <a:cubicBezTo>
                    <a:pt x="1716" y="59"/>
                    <a:pt x="1710" y="64"/>
                    <a:pt x="1708" y="70"/>
                  </a:cubicBezTo>
                  <a:cubicBezTo>
                    <a:pt x="1707" y="75"/>
                    <a:pt x="1710" y="80"/>
                    <a:pt x="1716" y="80"/>
                  </a:cubicBezTo>
                  <a:cubicBezTo>
                    <a:pt x="1722" y="80"/>
                    <a:pt x="1728" y="75"/>
                    <a:pt x="1730" y="69"/>
                  </a:cubicBezTo>
                  <a:cubicBezTo>
                    <a:pt x="1731" y="64"/>
                    <a:pt x="1728" y="59"/>
                    <a:pt x="1722" y="59"/>
                  </a:cubicBezTo>
                  <a:cubicBezTo>
                    <a:pt x="1722" y="59"/>
                    <a:pt x="1722" y="59"/>
                    <a:pt x="1722" y="59"/>
                  </a:cubicBezTo>
                  <a:moveTo>
                    <a:pt x="1752" y="59"/>
                  </a:moveTo>
                  <a:cubicBezTo>
                    <a:pt x="1746" y="59"/>
                    <a:pt x="1740" y="64"/>
                    <a:pt x="1738" y="69"/>
                  </a:cubicBezTo>
                  <a:cubicBezTo>
                    <a:pt x="1737" y="75"/>
                    <a:pt x="1740" y="80"/>
                    <a:pt x="1746" y="79"/>
                  </a:cubicBezTo>
                  <a:cubicBezTo>
                    <a:pt x="1752" y="79"/>
                    <a:pt x="1758" y="75"/>
                    <a:pt x="1760" y="69"/>
                  </a:cubicBezTo>
                  <a:cubicBezTo>
                    <a:pt x="1761" y="64"/>
                    <a:pt x="1758" y="59"/>
                    <a:pt x="1752" y="59"/>
                  </a:cubicBezTo>
                  <a:cubicBezTo>
                    <a:pt x="1752" y="59"/>
                    <a:pt x="1752" y="59"/>
                    <a:pt x="1752" y="59"/>
                  </a:cubicBezTo>
                  <a:moveTo>
                    <a:pt x="1782" y="59"/>
                  </a:moveTo>
                  <a:cubicBezTo>
                    <a:pt x="1776" y="59"/>
                    <a:pt x="1770" y="63"/>
                    <a:pt x="1769" y="69"/>
                  </a:cubicBezTo>
                  <a:cubicBezTo>
                    <a:pt x="1767" y="75"/>
                    <a:pt x="1771" y="79"/>
                    <a:pt x="1776" y="79"/>
                  </a:cubicBezTo>
                  <a:cubicBezTo>
                    <a:pt x="1782" y="79"/>
                    <a:pt x="1788" y="74"/>
                    <a:pt x="1790" y="69"/>
                  </a:cubicBezTo>
                  <a:cubicBezTo>
                    <a:pt x="1792" y="63"/>
                    <a:pt x="1788" y="59"/>
                    <a:pt x="1782" y="59"/>
                  </a:cubicBezTo>
                  <a:cubicBezTo>
                    <a:pt x="1782" y="59"/>
                    <a:pt x="1782" y="59"/>
                    <a:pt x="1782" y="59"/>
                  </a:cubicBezTo>
                  <a:moveTo>
                    <a:pt x="1813" y="58"/>
                  </a:moveTo>
                  <a:cubicBezTo>
                    <a:pt x="1808" y="59"/>
                    <a:pt x="1802" y="63"/>
                    <a:pt x="1800" y="69"/>
                  </a:cubicBezTo>
                  <a:cubicBezTo>
                    <a:pt x="1798" y="74"/>
                    <a:pt x="1802" y="79"/>
                    <a:pt x="1808" y="79"/>
                  </a:cubicBezTo>
                  <a:cubicBezTo>
                    <a:pt x="1814" y="79"/>
                    <a:pt x="1820" y="74"/>
                    <a:pt x="1821" y="69"/>
                  </a:cubicBezTo>
                  <a:cubicBezTo>
                    <a:pt x="1823" y="63"/>
                    <a:pt x="1819" y="58"/>
                    <a:pt x="1813" y="58"/>
                  </a:cubicBezTo>
                  <a:cubicBezTo>
                    <a:pt x="1813" y="58"/>
                    <a:pt x="1813" y="58"/>
                    <a:pt x="1813" y="58"/>
                  </a:cubicBezTo>
                  <a:moveTo>
                    <a:pt x="1843" y="58"/>
                  </a:moveTo>
                  <a:cubicBezTo>
                    <a:pt x="1837" y="58"/>
                    <a:pt x="1832" y="63"/>
                    <a:pt x="1830" y="68"/>
                  </a:cubicBezTo>
                  <a:cubicBezTo>
                    <a:pt x="1829" y="74"/>
                    <a:pt x="1832" y="79"/>
                    <a:pt x="1838" y="79"/>
                  </a:cubicBezTo>
                  <a:cubicBezTo>
                    <a:pt x="1844" y="78"/>
                    <a:pt x="1850" y="74"/>
                    <a:pt x="1851" y="68"/>
                  </a:cubicBezTo>
                  <a:cubicBezTo>
                    <a:pt x="1853" y="63"/>
                    <a:pt x="1849" y="58"/>
                    <a:pt x="1843" y="58"/>
                  </a:cubicBezTo>
                  <a:cubicBezTo>
                    <a:pt x="1843" y="58"/>
                    <a:pt x="1843" y="58"/>
                    <a:pt x="1843" y="58"/>
                  </a:cubicBezTo>
                  <a:moveTo>
                    <a:pt x="1873" y="58"/>
                  </a:moveTo>
                  <a:cubicBezTo>
                    <a:pt x="1868" y="58"/>
                    <a:pt x="1862" y="63"/>
                    <a:pt x="1860" y="68"/>
                  </a:cubicBezTo>
                  <a:cubicBezTo>
                    <a:pt x="1859" y="74"/>
                    <a:pt x="1862" y="78"/>
                    <a:pt x="1868" y="78"/>
                  </a:cubicBezTo>
                  <a:cubicBezTo>
                    <a:pt x="1874" y="78"/>
                    <a:pt x="1880" y="74"/>
                    <a:pt x="1881" y="68"/>
                  </a:cubicBezTo>
                  <a:cubicBezTo>
                    <a:pt x="1883" y="62"/>
                    <a:pt x="1879" y="58"/>
                    <a:pt x="1874" y="58"/>
                  </a:cubicBezTo>
                  <a:cubicBezTo>
                    <a:pt x="1873" y="58"/>
                    <a:pt x="1873" y="58"/>
                    <a:pt x="1873" y="58"/>
                  </a:cubicBezTo>
                  <a:moveTo>
                    <a:pt x="1904" y="58"/>
                  </a:moveTo>
                  <a:cubicBezTo>
                    <a:pt x="1898" y="58"/>
                    <a:pt x="1892" y="62"/>
                    <a:pt x="1891" y="68"/>
                  </a:cubicBezTo>
                  <a:cubicBezTo>
                    <a:pt x="1889" y="73"/>
                    <a:pt x="1893" y="78"/>
                    <a:pt x="1899" y="78"/>
                  </a:cubicBezTo>
                  <a:cubicBezTo>
                    <a:pt x="1905" y="78"/>
                    <a:pt x="1911" y="73"/>
                    <a:pt x="1912" y="68"/>
                  </a:cubicBezTo>
                  <a:cubicBezTo>
                    <a:pt x="1913" y="62"/>
                    <a:pt x="1910" y="58"/>
                    <a:pt x="1904" y="58"/>
                  </a:cubicBezTo>
                  <a:cubicBezTo>
                    <a:pt x="1904" y="58"/>
                    <a:pt x="1904" y="58"/>
                    <a:pt x="1904" y="58"/>
                  </a:cubicBezTo>
                  <a:moveTo>
                    <a:pt x="1934" y="57"/>
                  </a:moveTo>
                  <a:cubicBezTo>
                    <a:pt x="1928" y="57"/>
                    <a:pt x="1922" y="62"/>
                    <a:pt x="1921" y="68"/>
                  </a:cubicBezTo>
                  <a:cubicBezTo>
                    <a:pt x="1920" y="73"/>
                    <a:pt x="1923" y="78"/>
                    <a:pt x="1929" y="78"/>
                  </a:cubicBezTo>
                  <a:cubicBezTo>
                    <a:pt x="1935" y="78"/>
                    <a:pt x="1941" y="73"/>
                    <a:pt x="1942" y="67"/>
                  </a:cubicBezTo>
                  <a:cubicBezTo>
                    <a:pt x="1943" y="62"/>
                    <a:pt x="1940" y="57"/>
                    <a:pt x="1934" y="57"/>
                  </a:cubicBezTo>
                  <a:cubicBezTo>
                    <a:pt x="1934" y="57"/>
                    <a:pt x="1934" y="57"/>
                    <a:pt x="1934" y="57"/>
                  </a:cubicBezTo>
                  <a:moveTo>
                    <a:pt x="1964" y="57"/>
                  </a:moveTo>
                  <a:cubicBezTo>
                    <a:pt x="1958" y="57"/>
                    <a:pt x="1952" y="62"/>
                    <a:pt x="1951" y="67"/>
                  </a:cubicBezTo>
                  <a:cubicBezTo>
                    <a:pt x="1950" y="73"/>
                    <a:pt x="1954" y="77"/>
                    <a:pt x="1959" y="77"/>
                  </a:cubicBezTo>
                  <a:cubicBezTo>
                    <a:pt x="1965" y="77"/>
                    <a:pt x="1971" y="73"/>
                    <a:pt x="1972" y="67"/>
                  </a:cubicBezTo>
                  <a:cubicBezTo>
                    <a:pt x="1973" y="61"/>
                    <a:pt x="1970" y="57"/>
                    <a:pt x="1964" y="57"/>
                  </a:cubicBezTo>
                  <a:cubicBezTo>
                    <a:pt x="1964" y="57"/>
                    <a:pt x="1964" y="57"/>
                    <a:pt x="1964" y="57"/>
                  </a:cubicBezTo>
                  <a:moveTo>
                    <a:pt x="2293" y="56"/>
                  </a:moveTo>
                  <a:cubicBezTo>
                    <a:pt x="2287" y="56"/>
                    <a:pt x="2282" y="61"/>
                    <a:pt x="2281" y="66"/>
                  </a:cubicBezTo>
                  <a:cubicBezTo>
                    <a:pt x="2281" y="72"/>
                    <a:pt x="2285" y="76"/>
                    <a:pt x="2291" y="76"/>
                  </a:cubicBezTo>
                  <a:cubicBezTo>
                    <a:pt x="2297" y="76"/>
                    <a:pt x="2302" y="72"/>
                    <a:pt x="2303" y="66"/>
                  </a:cubicBezTo>
                  <a:cubicBezTo>
                    <a:pt x="2303" y="60"/>
                    <a:pt x="2299" y="56"/>
                    <a:pt x="2293" y="56"/>
                  </a:cubicBezTo>
                  <a:cubicBezTo>
                    <a:pt x="2293" y="56"/>
                    <a:pt x="2293" y="56"/>
                    <a:pt x="2293" y="56"/>
                  </a:cubicBezTo>
                  <a:moveTo>
                    <a:pt x="2325" y="56"/>
                  </a:moveTo>
                  <a:cubicBezTo>
                    <a:pt x="2320" y="56"/>
                    <a:pt x="2315" y="60"/>
                    <a:pt x="2314" y="66"/>
                  </a:cubicBezTo>
                  <a:cubicBezTo>
                    <a:pt x="2314" y="72"/>
                    <a:pt x="2318" y="76"/>
                    <a:pt x="2324" y="76"/>
                  </a:cubicBezTo>
                  <a:cubicBezTo>
                    <a:pt x="2330" y="76"/>
                    <a:pt x="2335" y="71"/>
                    <a:pt x="2335" y="66"/>
                  </a:cubicBezTo>
                  <a:cubicBezTo>
                    <a:pt x="2336" y="60"/>
                    <a:pt x="2331" y="56"/>
                    <a:pt x="2326" y="56"/>
                  </a:cubicBezTo>
                  <a:cubicBezTo>
                    <a:pt x="2326" y="56"/>
                    <a:pt x="2326" y="56"/>
                    <a:pt x="2325" y="56"/>
                  </a:cubicBezTo>
                  <a:moveTo>
                    <a:pt x="2355" y="55"/>
                  </a:moveTo>
                  <a:cubicBezTo>
                    <a:pt x="2350" y="55"/>
                    <a:pt x="2345" y="60"/>
                    <a:pt x="2344" y="66"/>
                  </a:cubicBezTo>
                  <a:cubicBezTo>
                    <a:pt x="2344" y="71"/>
                    <a:pt x="2348" y="76"/>
                    <a:pt x="2354" y="76"/>
                  </a:cubicBezTo>
                  <a:cubicBezTo>
                    <a:pt x="2360" y="76"/>
                    <a:pt x="2365" y="71"/>
                    <a:pt x="2365" y="65"/>
                  </a:cubicBezTo>
                  <a:cubicBezTo>
                    <a:pt x="2366" y="60"/>
                    <a:pt x="2361" y="55"/>
                    <a:pt x="2356" y="55"/>
                  </a:cubicBezTo>
                  <a:cubicBezTo>
                    <a:pt x="2355" y="55"/>
                    <a:pt x="2355" y="55"/>
                    <a:pt x="2355" y="55"/>
                  </a:cubicBezTo>
                  <a:moveTo>
                    <a:pt x="2386" y="55"/>
                  </a:moveTo>
                  <a:cubicBezTo>
                    <a:pt x="2380" y="55"/>
                    <a:pt x="2375" y="60"/>
                    <a:pt x="2375" y="65"/>
                  </a:cubicBezTo>
                  <a:cubicBezTo>
                    <a:pt x="2375" y="71"/>
                    <a:pt x="2379" y="75"/>
                    <a:pt x="2385" y="75"/>
                  </a:cubicBezTo>
                  <a:cubicBezTo>
                    <a:pt x="2391" y="75"/>
                    <a:pt x="2396" y="71"/>
                    <a:pt x="2396" y="65"/>
                  </a:cubicBezTo>
                  <a:cubicBezTo>
                    <a:pt x="2396" y="59"/>
                    <a:pt x="2392" y="55"/>
                    <a:pt x="2386" y="55"/>
                  </a:cubicBezTo>
                  <a:cubicBezTo>
                    <a:pt x="2386" y="55"/>
                    <a:pt x="2386" y="55"/>
                    <a:pt x="2386" y="55"/>
                  </a:cubicBezTo>
                  <a:moveTo>
                    <a:pt x="3075" y="46"/>
                  </a:moveTo>
                  <a:cubicBezTo>
                    <a:pt x="3069" y="47"/>
                    <a:pt x="3065" y="51"/>
                    <a:pt x="3067" y="57"/>
                  </a:cubicBezTo>
                  <a:cubicBezTo>
                    <a:pt x="3068" y="63"/>
                    <a:pt x="3073" y="67"/>
                    <a:pt x="3079" y="67"/>
                  </a:cubicBezTo>
                  <a:cubicBezTo>
                    <a:pt x="3085" y="67"/>
                    <a:pt x="3089" y="62"/>
                    <a:pt x="3088" y="57"/>
                  </a:cubicBezTo>
                  <a:cubicBezTo>
                    <a:pt x="3086" y="51"/>
                    <a:pt x="3081" y="46"/>
                    <a:pt x="3075" y="46"/>
                  </a:cubicBezTo>
                  <a:cubicBezTo>
                    <a:pt x="3075" y="46"/>
                    <a:pt x="3075" y="46"/>
                    <a:pt x="3075" y="46"/>
                  </a:cubicBezTo>
                  <a:moveTo>
                    <a:pt x="3105" y="46"/>
                  </a:moveTo>
                  <a:cubicBezTo>
                    <a:pt x="3099" y="46"/>
                    <a:pt x="3095" y="51"/>
                    <a:pt x="3096" y="57"/>
                  </a:cubicBezTo>
                  <a:cubicBezTo>
                    <a:pt x="3098" y="62"/>
                    <a:pt x="3104" y="67"/>
                    <a:pt x="3109" y="67"/>
                  </a:cubicBezTo>
                  <a:cubicBezTo>
                    <a:pt x="3115" y="67"/>
                    <a:pt x="3119" y="62"/>
                    <a:pt x="3117" y="56"/>
                  </a:cubicBezTo>
                  <a:cubicBezTo>
                    <a:pt x="3116" y="51"/>
                    <a:pt x="3110" y="46"/>
                    <a:pt x="3105" y="46"/>
                  </a:cubicBezTo>
                  <a:cubicBezTo>
                    <a:pt x="3105" y="46"/>
                    <a:pt x="3105" y="46"/>
                    <a:pt x="3105" y="46"/>
                  </a:cubicBezTo>
                  <a:moveTo>
                    <a:pt x="3135" y="46"/>
                  </a:moveTo>
                  <a:cubicBezTo>
                    <a:pt x="3129" y="46"/>
                    <a:pt x="3125" y="51"/>
                    <a:pt x="3127" y="56"/>
                  </a:cubicBezTo>
                  <a:cubicBezTo>
                    <a:pt x="3128" y="62"/>
                    <a:pt x="3134" y="66"/>
                    <a:pt x="3140" y="66"/>
                  </a:cubicBezTo>
                  <a:cubicBezTo>
                    <a:pt x="3145" y="66"/>
                    <a:pt x="3149" y="62"/>
                    <a:pt x="3148" y="56"/>
                  </a:cubicBezTo>
                  <a:cubicBezTo>
                    <a:pt x="3146" y="50"/>
                    <a:pt x="3140" y="46"/>
                    <a:pt x="3135" y="46"/>
                  </a:cubicBezTo>
                  <a:cubicBezTo>
                    <a:pt x="3135" y="46"/>
                    <a:pt x="3135" y="46"/>
                    <a:pt x="3135" y="46"/>
                  </a:cubicBezTo>
                  <a:moveTo>
                    <a:pt x="3164" y="46"/>
                  </a:moveTo>
                  <a:cubicBezTo>
                    <a:pt x="3158" y="46"/>
                    <a:pt x="3155" y="50"/>
                    <a:pt x="3156" y="56"/>
                  </a:cubicBezTo>
                  <a:cubicBezTo>
                    <a:pt x="3158" y="62"/>
                    <a:pt x="3164" y="66"/>
                    <a:pt x="3170" y="66"/>
                  </a:cubicBezTo>
                  <a:cubicBezTo>
                    <a:pt x="3175" y="66"/>
                    <a:pt x="3179" y="61"/>
                    <a:pt x="3177" y="56"/>
                  </a:cubicBezTo>
                  <a:cubicBezTo>
                    <a:pt x="3176" y="50"/>
                    <a:pt x="3170" y="46"/>
                    <a:pt x="3164" y="46"/>
                  </a:cubicBezTo>
                  <a:cubicBezTo>
                    <a:pt x="3164" y="46"/>
                    <a:pt x="3164" y="46"/>
                    <a:pt x="3164" y="46"/>
                  </a:cubicBezTo>
                  <a:moveTo>
                    <a:pt x="1436" y="33"/>
                  </a:moveTo>
                  <a:cubicBezTo>
                    <a:pt x="1430" y="33"/>
                    <a:pt x="1423" y="38"/>
                    <a:pt x="1421" y="43"/>
                  </a:cubicBezTo>
                  <a:cubicBezTo>
                    <a:pt x="1418" y="49"/>
                    <a:pt x="1421" y="53"/>
                    <a:pt x="1427" y="53"/>
                  </a:cubicBezTo>
                  <a:cubicBezTo>
                    <a:pt x="1433" y="53"/>
                    <a:pt x="1439" y="49"/>
                    <a:pt x="1442" y="43"/>
                  </a:cubicBezTo>
                  <a:cubicBezTo>
                    <a:pt x="1444" y="38"/>
                    <a:pt x="1441" y="33"/>
                    <a:pt x="1436" y="33"/>
                  </a:cubicBezTo>
                  <a:cubicBezTo>
                    <a:pt x="1436" y="33"/>
                    <a:pt x="1436" y="33"/>
                    <a:pt x="1436" y="33"/>
                  </a:cubicBezTo>
                  <a:moveTo>
                    <a:pt x="1465" y="33"/>
                  </a:moveTo>
                  <a:cubicBezTo>
                    <a:pt x="1459" y="33"/>
                    <a:pt x="1453" y="37"/>
                    <a:pt x="1450" y="43"/>
                  </a:cubicBezTo>
                  <a:cubicBezTo>
                    <a:pt x="1448" y="49"/>
                    <a:pt x="1451" y="53"/>
                    <a:pt x="1457" y="53"/>
                  </a:cubicBezTo>
                  <a:cubicBezTo>
                    <a:pt x="1463" y="53"/>
                    <a:pt x="1469" y="48"/>
                    <a:pt x="1471" y="43"/>
                  </a:cubicBezTo>
                  <a:cubicBezTo>
                    <a:pt x="1474" y="37"/>
                    <a:pt x="1471" y="33"/>
                    <a:pt x="1465" y="33"/>
                  </a:cubicBezTo>
                  <a:cubicBezTo>
                    <a:pt x="1465" y="33"/>
                    <a:pt x="1465" y="33"/>
                    <a:pt x="1465" y="33"/>
                  </a:cubicBezTo>
                  <a:moveTo>
                    <a:pt x="1493" y="32"/>
                  </a:moveTo>
                  <a:cubicBezTo>
                    <a:pt x="1488" y="33"/>
                    <a:pt x="1481" y="37"/>
                    <a:pt x="1479" y="43"/>
                  </a:cubicBezTo>
                  <a:cubicBezTo>
                    <a:pt x="1477" y="48"/>
                    <a:pt x="1479" y="53"/>
                    <a:pt x="1485" y="53"/>
                  </a:cubicBezTo>
                  <a:cubicBezTo>
                    <a:pt x="1491" y="53"/>
                    <a:pt x="1498" y="48"/>
                    <a:pt x="1500" y="43"/>
                  </a:cubicBezTo>
                  <a:cubicBezTo>
                    <a:pt x="1502" y="37"/>
                    <a:pt x="1499" y="32"/>
                    <a:pt x="1494" y="32"/>
                  </a:cubicBezTo>
                  <a:cubicBezTo>
                    <a:pt x="1494" y="32"/>
                    <a:pt x="1493" y="32"/>
                    <a:pt x="1493" y="32"/>
                  </a:cubicBezTo>
                  <a:moveTo>
                    <a:pt x="1525" y="32"/>
                  </a:moveTo>
                  <a:cubicBezTo>
                    <a:pt x="1519" y="32"/>
                    <a:pt x="1512" y="37"/>
                    <a:pt x="1510" y="42"/>
                  </a:cubicBezTo>
                  <a:cubicBezTo>
                    <a:pt x="1508" y="48"/>
                    <a:pt x="1511" y="53"/>
                    <a:pt x="1517" y="52"/>
                  </a:cubicBezTo>
                  <a:cubicBezTo>
                    <a:pt x="1523" y="52"/>
                    <a:pt x="1529" y="48"/>
                    <a:pt x="1531" y="42"/>
                  </a:cubicBezTo>
                  <a:cubicBezTo>
                    <a:pt x="1533" y="37"/>
                    <a:pt x="1530" y="32"/>
                    <a:pt x="1525" y="32"/>
                  </a:cubicBezTo>
                  <a:cubicBezTo>
                    <a:pt x="1525" y="32"/>
                    <a:pt x="1525" y="32"/>
                    <a:pt x="1525" y="32"/>
                  </a:cubicBezTo>
                  <a:moveTo>
                    <a:pt x="1582" y="32"/>
                  </a:moveTo>
                  <a:cubicBezTo>
                    <a:pt x="1577" y="32"/>
                    <a:pt x="1570" y="36"/>
                    <a:pt x="1568" y="42"/>
                  </a:cubicBezTo>
                  <a:cubicBezTo>
                    <a:pt x="1566" y="47"/>
                    <a:pt x="1569" y="52"/>
                    <a:pt x="1575" y="52"/>
                  </a:cubicBezTo>
                  <a:cubicBezTo>
                    <a:pt x="1581" y="52"/>
                    <a:pt x="1587" y="47"/>
                    <a:pt x="1589" y="42"/>
                  </a:cubicBezTo>
                  <a:cubicBezTo>
                    <a:pt x="1591" y="36"/>
                    <a:pt x="1588" y="32"/>
                    <a:pt x="1583" y="32"/>
                  </a:cubicBezTo>
                  <a:cubicBezTo>
                    <a:pt x="1582" y="32"/>
                    <a:pt x="1582" y="32"/>
                    <a:pt x="1582" y="32"/>
                  </a:cubicBezTo>
                  <a:moveTo>
                    <a:pt x="1612" y="31"/>
                  </a:moveTo>
                  <a:cubicBezTo>
                    <a:pt x="1606" y="31"/>
                    <a:pt x="1600" y="36"/>
                    <a:pt x="1598" y="42"/>
                  </a:cubicBezTo>
                  <a:cubicBezTo>
                    <a:pt x="1596" y="47"/>
                    <a:pt x="1599" y="52"/>
                    <a:pt x="1605" y="52"/>
                  </a:cubicBezTo>
                  <a:cubicBezTo>
                    <a:pt x="1611" y="52"/>
                    <a:pt x="1617" y="47"/>
                    <a:pt x="1619" y="41"/>
                  </a:cubicBezTo>
                  <a:cubicBezTo>
                    <a:pt x="1621" y="36"/>
                    <a:pt x="1618" y="31"/>
                    <a:pt x="1612" y="31"/>
                  </a:cubicBezTo>
                  <a:cubicBezTo>
                    <a:pt x="1612" y="31"/>
                    <a:pt x="1612" y="31"/>
                    <a:pt x="1612" y="31"/>
                  </a:cubicBezTo>
                  <a:moveTo>
                    <a:pt x="1642" y="31"/>
                  </a:moveTo>
                  <a:cubicBezTo>
                    <a:pt x="1636" y="31"/>
                    <a:pt x="1630" y="36"/>
                    <a:pt x="1628" y="41"/>
                  </a:cubicBezTo>
                  <a:cubicBezTo>
                    <a:pt x="1626" y="47"/>
                    <a:pt x="1629" y="51"/>
                    <a:pt x="1635" y="51"/>
                  </a:cubicBezTo>
                  <a:cubicBezTo>
                    <a:pt x="1641" y="51"/>
                    <a:pt x="1647" y="47"/>
                    <a:pt x="1649" y="41"/>
                  </a:cubicBezTo>
                  <a:cubicBezTo>
                    <a:pt x="1651" y="35"/>
                    <a:pt x="1648" y="31"/>
                    <a:pt x="1642" y="31"/>
                  </a:cubicBezTo>
                  <a:cubicBezTo>
                    <a:pt x="1642" y="31"/>
                    <a:pt x="1642" y="31"/>
                    <a:pt x="1642" y="31"/>
                  </a:cubicBezTo>
                  <a:moveTo>
                    <a:pt x="1672" y="31"/>
                  </a:moveTo>
                  <a:cubicBezTo>
                    <a:pt x="1666" y="31"/>
                    <a:pt x="1660" y="35"/>
                    <a:pt x="1658" y="41"/>
                  </a:cubicBezTo>
                  <a:cubicBezTo>
                    <a:pt x="1656" y="46"/>
                    <a:pt x="1659" y="51"/>
                    <a:pt x="1665" y="51"/>
                  </a:cubicBezTo>
                  <a:cubicBezTo>
                    <a:pt x="1671" y="51"/>
                    <a:pt x="1677" y="46"/>
                    <a:pt x="1679" y="41"/>
                  </a:cubicBezTo>
                  <a:cubicBezTo>
                    <a:pt x="1681" y="35"/>
                    <a:pt x="1678" y="31"/>
                    <a:pt x="1672" y="31"/>
                  </a:cubicBezTo>
                  <a:cubicBezTo>
                    <a:pt x="1672" y="31"/>
                    <a:pt x="1672" y="31"/>
                    <a:pt x="1672" y="31"/>
                  </a:cubicBezTo>
                  <a:moveTo>
                    <a:pt x="1702" y="30"/>
                  </a:moveTo>
                  <a:cubicBezTo>
                    <a:pt x="1696" y="30"/>
                    <a:pt x="1690" y="35"/>
                    <a:pt x="1688" y="41"/>
                  </a:cubicBezTo>
                  <a:cubicBezTo>
                    <a:pt x="1686" y="46"/>
                    <a:pt x="1689" y="51"/>
                    <a:pt x="1695" y="51"/>
                  </a:cubicBezTo>
                  <a:cubicBezTo>
                    <a:pt x="1701" y="51"/>
                    <a:pt x="1707" y="46"/>
                    <a:pt x="1709" y="40"/>
                  </a:cubicBezTo>
                  <a:cubicBezTo>
                    <a:pt x="1710" y="35"/>
                    <a:pt x="1707" y="30"/>
                    <a:pt x="1702" y="30"/>
                  </a:cubicBezTo>
                  <a:cubicBezTo>
                    <a:pt x="1702" y="30"/>
                    <a:pt x="1702" y="30"/>
                    <a:pt x="1702" y="30"/>
                  </a:cubicBezTo>
                  <a:moveTo>
                    <a:pt x="1731" y="30"/>
                  </a:moveTo>
                  <a:cubicBezTo>
                    <a:pt x="1726" y="30"/>
                    <a:pt x="1719" y="35"/>
                    <a:pt x="1718" y="40"/>
                  </a:cubicBezTo>
                  <a:cubicBezTo>
                    <a:pt x="1716" y="46"/>
                    <a:pt x="1719" y="50"/>
                    <a:pt x="1725" y="50"/>
                  </a:cubicBezTo>
                  <a:cubicBezTo>
                    <a:pt x="1731" y="50"/>
                    <a:pt x="1737" y="46"/>
                    <a:pt x="1739" y="40"/>
                  </a:cubicBezTo>
                  <a:cubicBezTo>
                    <a:pt x="1740" y="34"/>
                    <a:pt x="1737" y="30"/>
                    <a:pt x="1731" y="30"/>
                  </a:cubicBezTo>
                  <a:cubicBezTo>
                    <a:pt x="1731" y="30"/>
                    <a:pt x="1731" y="30"/>
                    <a:pt x="1731" y="30"/>
                  </a:cubicBezTo>
                  <a:moveTo>
                    <a:pt x="1761" y="30"/>
                  </a:moveTo>
                  <a:cubicBezTo>
                    <a:pt x="1755" y="30"/>
                    <a:pt x="1749" y="34"/>
                    <a:pt x="1747" y="40"/>
                  </a:cubicBezTo>
                  <a:cubicBezTo>
                    <a:pt x="1746" y="46"/>
                    <a:pt x="1749" y="50"/>
                    <a:pt x="1755" y="50"/>
                  </a:cubicBezTo>
                  <a:cubicBezTo>
                    <a:pt x="1761" y="50"/>
                    <a:pt x="1767" y="45"/>
                    <a:pt x="1768" y="40"/>
                  </a:cubicBezTo>
                  <a:cubicBezTo>
                    <a:pt x="1770" y="34"/>
                    <a:pt x="1767" y="30"/>
                    <a:pt x="1761" y="30"/>
                  </a:cubicBezTo>
                  <a:cubicBezTo>
                    <a:pt x="1761" y="30"/>
                    <a:pt x="1761" y="30"/>
                    <a:pt x="1761" y="30"/>
                  </a:cubicBezTo>
                  <a:moveTo>
                    <a:pt x="1791" y="29"/>
                  </a:moveTo>
                  <a:cubicBezTo>
                    <a:pt x="1785" y="29"/>
                    <a:pt x="1779" y="34"/>
                    <a:pt x="1777" y="40"/>
                  </a:cubicBezTo>
                  <a:cubicBezTo>
                    <a:pt x="1776" y="45"/>
                    <a:pt x="1779" y="50"/>
                    <a:pt x="1785" y="50"/>
                  </a:cubicBezTo>
                  <a:cubicBezTo>
                    <a:pt x="1791" y="50"/>
                    <a:pt x="1797" y="45"/>
                    <a:pt x="1798" y="39"/>
                  </a:cubicBezTo>
                  <a:cubicBezTo>
                    <a:pt x="1800" y="34"/>
                    <a:pt x="1796" y="29"/>
                    <a:pt x="1791" y="29"/>
                  </a:cubicBezTo>
                  <a:cubicBezTo>
                    <a:pt x="1791" y="29"/>
                    <a:pt x="1791" y="29"/>
                    <a:pt x="1791" y="29"/>
                  </a:cubicBezTo>
                  <a:moveTo>
                    <a:pt x="1821" y="29"/>
                  </a:moveTo>
                  <a:cubicBezTo>
                    <a:pt x="1816" y="29"/>
                    <a:pt x="1810" y="34"/>
                    <a:pt x="1808" y="39"/>
                  </a:cubicBezTo>
                  <a:cubicBezTo>
                    <a:pt x="1807" y="45"/>
                    <a:pt x="1810" y="49"/>
                    <a:pt x="1816" y="49"/>
                  </a:cubicBezTo>
                  <a:cubicBezTo>
                    <a:pt x="1822" y="49"/>
                    <a:pt x="1828" y="45"/>
                    <a:pt x="1829" y="39"/>
                  </a:cubicBezTo>
                  <a:cubicBezTo>
                    <a:pt x="1831" y="34"/>
                    <a:pt x="1827" y="29"/>
                    <a:pt x="1821" y="29"/>
                  </a:cubicBezTo>
                  <a:cubicBezTo>
                    <a:pt x="1821" y="29"/>
                    <a:pt x="1821" y="29"/>
                    <a:pt x="1821" y="29"/>
                  </a:cubicBezTo>
                  <a:moveTo>
                    <a:pt x="1851" y="29"/>
                  </a:moveTo>
                  <a:cubicBezTo>
                    <a:pt x="1845" y="29"/>
                    <a:pt x="1839" y="33"/>
                    <a:pt x="1838" y="39"/>
                  </a:cubicBezTo>
                  <a:cubicBezTo>
                    <a:pt x="1836" y="45"/>
                    <a:pt x="1840" y="49"/>
                    <a:pt x="1846" y="49"/>
                  </a:cubicBezTo>
                  <a:cubicBezTo>
                    <a:pt x="1851" y="49"/>
                    <a:pt x="1857" y="44"/>
                    <a:pt x="1859" y="39"/>
                  </a:cubicBezTo>
                  <a:cubicBezTo>
                    <a:pt x="1860" y="33"/>
                    <a:pt x="1857" y="29"/>
                    <a:pt x="1851" y="29"/>
                  </a:cubicBezTo>
                  <a:cubicBezTo>
                    <a:pt x="1851" y="29"/>
                    <a:pt x="1851" y="29"/>
                    <a:pt x="1851" y="29"/>
                  </a:cubicBezTo>
                  <a:moveTo>
                    <a:pt x="1881" y="28"/>
                  </a:moveTo>
                  <a:cubicBezTo>
                    <a:pt x="1875" y="28"/>
                    <a:pt x="1869" y="33"/>
                    <a:pt x="1868" y="39"/>
                  </a:cubicBezTo>
                  <a:cubicBezTo>
                    <a:pt x="1866" y="44"/>
                    <a:pt x="1870" y="49"/>
                    <a:pt x="1876" y="49"/>
                  </a:cubicBezTo>
                  <a:cubicBezTo>
                    <a:pt x="1881" y="49"/>
                    <a:pt x="1887" y="44"/>
                    <a:pt x="1889" y="39"/>
                  </a:cubicBezTo>
                  <a:cubicBezTo>
                    <a:pt x="1890" y="33"/>
                    <a:pt x="1887" y="28"/>
                    <a:pt x="1881" y="28"/>
                  </a:cubicBezTo>
                  <a:cubicBezTo>
                    <a:pt x="1881" y="28"/>
                    <a:pt x="1881" y="28"/>
                    <a:pt x="1881" y="28"/>
                  </a:cubicBezTo>
                  <a:moveTo>
                    <a:pt x="1911" y="28"/>
                  </a:moveTo>
                  <a:cubicBezTo>
                    <a:pt x="1905" y="28"/>
                    <a:pt x="1899" y="33"/>
                    <a:pt x="1898" y="38"/>
                  </a:cubicBezTo>
                  <a:cubicBezTo>
                    <a:pt x="1897" y="44"/>
                    <a:pt x="1900" y="49"/>
                    <a:pt x="1906" y="48"/>
                  </a:cubicBezTo>
                  <a:cubicBezTo>
                    <a:pt x="1912" y="48"/>
                    <a:pt x="1918" y="44"/>
                    <a:pt x="1919" y="38"/>
                  </a:cubicBezTo>
                  <a:cubicBezTo>
                    <a:pt x="1920" y="33"/>
                    <a:pt x="1917" y="28"/>
                    <a:pt x="1911" y="28"/>
                  </a:cubicBezTo>
                  <a:cubicBezTo>
                    <a:pt x="1911" y="28"/>
                    <a:pt x="1911" y="28"/>
                    <a:pt x="1911" y="28"/>
                  </a:cubicBezTo>
                  <a:moveTo>
                    <a:pt x="1940" y="28"/>
                  </a:moveTo>
                  <a:cubicBezTo>
                    <a:pt x="1935" y="28"/>
                    <a:pt x="1929" y="32"/>
                    <a:pt x="1928" y="38"/>
                  </a:cubicBezTo>
                  <a:cubicBezTo>
                    <a:pt x="1926" y="44"/>
                    <a:pt x="1930" y="48"/>
                    <a:pt x="1936" y="48"/>
                  </a:cubicBezTo>
                  <a:cubicBezTo>
                    <a:pt x="1942" y="48"/>
                    <a:pt x="1947" y="44"/>
                    <a:pt x="1949" y="38"/>
                  </a:cubicBezTo>
                  <a:cubicBezTo>
                    <a:pt x="1950" y="32"/>
                    <a:pt x="1946" y="28"/>
                    <a:pt x="1941" y="28"/>
                  </a:cubicBezTo>
                  <a:cubicBezTo>
                    <a:pt x="1940" y="28"/>
                    <a:pt x="1940" y="28"/>
                    <a:pt x="1940" y="28"/>
                  </a:cubicBezTo>
                  <a:moveTo>
                    <a:pt x="1970" y="27"/>
                  </a:moveTo>
                  <a:cubicBezTo>
                    <a:pt x="1964" y="28"/>
                    <a:pt x="1959" y="32"/>
                    <a:pt x="1958" y="38"/>
                  </a:cubicBezTo>
                  <a:cubicBezTo>
                    <a:pt x="1956" y="43"/>
                    <a:pt x="1960" y="48"/>
                    <a:pt x="1966" y="48"/>
                  </a:cubicBezTo>
                  <a:cubicBezTo>
                    <a:pt x="1972" y="48"/>
                    <a:pt x="1977" y="43"/>
                    <a:pt x="1978" y="38"/>
                  </a:cubicBezTo>
                  <a:cubicBezTo>
                    <a:pt x="1980" y="32"/>
                    <a:pt x="1976" y="27"/>
                    <a:pt x="1970" y="27"/>
                  </a:cubicBezTo>
                  <a:cubicBezTo>
                    <a:pt x="1970" y="27"/>
                    <a:pt x="1970" y="27"/>
                    <a:pt x="1970" y="27"/>
                  </a:cubicBezTo>
                  <a:moveTo>
                    <a:pt x="2357" y="24"/>
                  </a:moveTo>
                  <a:cubicBezTo>
                    <a:pt x="2352" y="24"/>
                    <a:pt x="2347" y="28"/>
                    <a:pt x="2346" y="34"/>
                  </a:cubicBezTo>
                  <a:cubicBezTo>
                    <a:pt x="2346" y="40"/>
                    <a:pt x="2350" y="44"/>
                    <a:pt x="2356" y="44"/>
                  </a:cubicBezTo>
                  <a:cubicBezTo>
                    <a:pt x="2362" y="44"/>
                    <a:pt x="2367" y="39"/>
                    <a:pt x="2367" y="34"/>
                  </a:cubicBezTo>
                  <a:cubicBezTo>
                    <a:pt x="2367" y="28"/>
                    <a:pt x="2363" y="24"/>
                    <a:pt x="2357" y="24"/>
                  </a:cubicBezTo>
                  <a:cubicBezTo>
                    <a:pt x="2357" y="24"/>
                    <a:pt x="2357" y="24"/>
                    <a:pt x="2357" y="24"/>
                  </a:cubicBezTo>
                  <a:moveTo>
                    <a:pt x="2388" y="23"/>
                  </a:moveTo>
                  <a:cubicBezTo>
                    <a:pt x="2382" y="23"/>
                    <a:pt x="2377" y="28"/>
                    <a:pt x="2377" y="34"/>
                  </a:cubicBezTo>
                  <a:cubicBezTo>
                    <a:pt x="2376" y="39"/>
                    <a:pt x="2381" y="44"/>
                    <a:pt x="2387" y="44"/>
                  </a:cubicBezTo>
                  <a:cubicBezTo>
                    <a:pt x="2392" y="44"/>
                    <a:pt x="2397" y="39"/>
                    <a:pt x="2398" y="33"/>
                  </a:cubicBezTo>
                  <a:cubicBezTo>
                    <a:pt x="2398" y="28"/>
                    <a:pt x="2393" y="23"/>
                    <a:pt x="2388" y="23"/>
                  </a:cubicBezTo>
                  <a:cubicBezTo>
                    <a:pt x="2388" y="23"/>
                    <a:pt x="2388" y="23"/>
                    <a:pt x="2388" y="23"/>
                  </a:cubicBezTo>
                  <a:moveTo>
                    <a:pt x="2952" y="19"/>
                  </a:moveTo>
                  <a:cubicBezTo>
                    <a:pt x="2946" y="19"/>
                    <a:pt x="2942" y="24"/>
                    <a:pt x="2943" y="30"/>
                  </a:cubicBezTo>
                  <a:cubicBezTo>
                    <a:pt x="2944" y="35"/>
                    <a:pt x="2949" y="40"/>
                    <a:pt x="2955" y="40"/>
                  </a:cubicBezTo>
                  <a:cubicBezTo>
                    <a:pt x="2961" y="40"/>
                    <a:pt x="2965" y="35"/>
                    <a:pt x="2964" y="29"/>
                  </a:cubicBezTo>
                  <a:cubicBezTo>
                    <a:pt x="2963" y="24"/>
                    <a:pt x="2957" y="19"/>
                    <a:pt x="2952" y="19"/>
                  </a:cubicBezTo>
                  <a:cubicBezTo>
                    <a:pt x="2952" y="19"/>
                    <a:pt x="2952" y="19"/>
                    <a:pt x="2952" y="19"/>
                  </a:cubicBezTo>
                  <a:moveTo>
                    <a:pt x="2979" y="19"/>
                  </a:moveTo>
                  <a:cubicBezTo>
                    <a:pt x="2974" y="19"/>
                    <a:pt x="2970" y="24"/>
                    <a:pt x="2971" y="29"/>
                  </a:cubicBezTo>
                  <a:cubicBezTo>
                    <a:pt x="2972" y="35"/>
                    <a:pt x="2977" y="40"/>
                    <a:pt x="2983" y="39"/>
                  </a:cubicBezTo>
                  <a:cubicBezTo>
                    <a:pt x="2989" y="39"/>
                    <a:pt x="2993" y="35"/>
                    <a:pt x="2992" y="29"/>
                  </a:cubicBezTo>
                  <a:cubicBezTo>
                    <a:pt x="2991" y="23"/>
                    <a:pt x="2985" y="19"/>
                    <a:pt x="2980" y="19"/>
                  </a:cubicBezTo>
                  <a:cubicBezTo>
                    <a:pt x="2979" y="19"/>
                    <a:pt x="2979" y="19"/>
                    <a:pt x="2979" y="19"/>
                  </a:cubicBezTo>
                  <a:moveTo>
                    <a:pt x="3009" y="19"/>
                  </a:moveTo>
                  <a:cubicBezTo>
                    <a:pt x="3003" y="19"/>
                    <a:pt x="2999" y="23"/>
                    <a:pt x="3000" y="29"/>
                  </a:cubicBezTo>
                  <a:cubicBezTo>
                    <a:pt x="3002" y="35"/>
                    <a:pt x="3007" y="39"/>
                    <a:pt x="3013" y="39"/>
                  </a:cubicBezTo>
                  <a:cubicBezTo>
                    <a:pt x="3019" y="39"/>
                    <a:pt x="3022" y="34"/>
                    <a:pt x="3021" y="29"/>
                  </a:cubicBezTo>
                  <a:cubicBezTo>
                    <a:pt x="3020" y="23"/>
                    <a:pt x="3015" y="19"/>
                    <a:pt x="3009" y="19"/>
                  </a:cubicBezTo>
                  <a:cubicBezTo>
                    <a:pt x="3009" y="19"/>
                    <a:pt x="3009" y="19"/>
                    <a:pt x="3009" y="19"/>
                  </a:cubicBezTo>
                  <a:moveTo>
                    <a:pt x="1505" y="5"/>
                  </a:moveTo>
                  <a:cubicBezTo>
                    <a:pt x="1499" y="5"/>
                    <a:pt x="1492" y="9"/>
                    <a:pt x="1490" y="15"/>
                  </a:cubicBezTo>
                  <a:cubicBezTo>
                    <a:pt x="1488" y="21"/>
                    <a:pt x="1491" y="25"/>
                    <a:pt x="1496" y="25"/>
                  </a:cubicBezTo>
                  <a:cubicBezTo>
                    <a:pt x="1502" y="25"/>
                    <a:pt x="1509" y="20"/>
                    <a:pt x="1511" y="15"/>
                  </a:cubicBezTo>
                  <a:cubicBezTo>
                    <a:pt x="1513" y="9"/>
                    <a:pt x="1510" y="5"/>
                    <a:pt x="1505" y="5"/>
                  </a:cubicBezTo>
                  <a:cubicBezTo>
                    <a:pt x="1505" y="5"/>
                    <a:pt x="1505" y="5"/>
                    <a:pt x="1505" y="5"/>
                  </a:cubicBezTo>
                  <a:moveTo>
                    <a:pt x="1534" y="4"/>
                  </a:moveTo>
                  <a:cubicBezTo>
                    <a:pt x="1528" y="5"/>
                    <a:pt x="1522" y="9"/>
                    <a:pt x="1520" y="15"/>
                  </a:cubicBezTo>
                  <a:cubicBezTo>
                    <a:pt x="1517" y="20"/>
                    <a:pt x="1520" y="25"/>
                    <a:pt x="1526" y="25"/>
                  </a:cubicBezTo>
                  <a:cubicBezTo>
                    <a:pt x="1532" y="25"/>
                    <a:pt x="1538" y="20"/>
                    <a:pt x="1540" y="15"/>
                  </a:cubicBezTo>
                  <a:cubicBezTo>
                    <a:pt x="1542" y="9"/>
                    <a:pt x="1540" y="4"/>
                    <a:pt x="1534" y="4"/>
                  </a:cubicBezTo>
                  <a:cubicBezTo>
                    <a:pt x="1534" y="4"/>
                    <a:pt x="1534" y="4"/>
                    <a:pt x="1534" y="4"/>
                  </a:cubicBezTo>
                  <a:moveTo>
                    <a:pt x="1563" y="4"/>
                  </a:moveTo>
                  <a:cubicBezTo>
                    <a:pt x="1558" y="4"/>
                    <a:pt x="1551" y="9"/>
                    <a:pt x="1549" y="14"/>
                  </a:cubicBezTo>
                  <a:cubicBezTo>
                    <a:pt x="1547" y="20"/>
                    <a:pt x="1550" y="25"/>
                    <a:pt x="1556" y="25"/>
                  </a:cubicBezTo>
                  <a:cubicBezTo>
                    <a:pt x="1561" y="24"/>
                    <a:pt x="1568" y="20"/>
                    <a:pt x="1570" y="14"/>
                  </a:cubicBezTo>
                  <a:cubicBezTo>
                    <a:pt x="1572" y="9"/>
                    <a:pt x="1569" y="4"/>
                    <a:pt x="1563" y="4"/>
                  </a:cubicBezTo>
                  <a:cubicBezTo>
                    <a:pt x="1563" y="4"/>
                    <a:pt x="1563" y="4"/>
                    <a:pt x="1563" y="4"/>
                  </a:cubicBezTo>
                  <a:moveTo>
                    <a:pt x="1593" y="4"/>
                  </a:moveTo>
                  <a:cubicBezTo>
                    <a:pt x="1587" y="4"/>
                    <a:pt x="1581" y="9"/>
                    <a:pt x="1578" y="14"/>
                  </a:cubicBezTo>
                  <a:cubicBezTo>
                    <a:pt x="1576" y="20"/>
                    <a:pt x="1579" y="24"/>
                    <a:pt x="1585" y="24"/>
                  </a:cubicBezTo>
                  <a:cubicBezTo>
                    <a:pt x="1591" y="24"/>
                    <a:pt x="1597" y="20"/>
                    <a:pt x="1599" y="14"/>
                  </a:cubicBezTo>
                  <a:cubicBezTo>
                    <a:pt x="1601" y="8"/>
                    <a:pt x="1598" y="4"/>
                    <a:pt x="1593" y="4"/>
                  </a:cubicBezTo>
                  <a:cubicBezTo>
                    <a:pt x="1593" y="4"/>
                    <a:pt x="1593" y="4"/>
                    <a:pt x="1593" y="4"/>
                  </a:cubicBezTo>
                  <a:moveTo>
                    <a:pt x="1622" y="4"/>
                  </a:moveTo>
                  <a:cubicBezTo>
                    <a:pt x="1616" y="4"/>
                    <a:pt x="1610" y="8"/>
                    <a:pt x="1608" y="14"/>
                  </a:cubicBezTo>
                  <a:cubicBezTo>
                    <a:pt x="1606" y="19"/>
                    <a:pt x="1609" y="24"/>
                    <a:pt x="1615" y="24"/>
                  </a:cubicBezTo>
                  <a:cubicBezTo>
                    <a:pt x="1620" y="24"/>
                    <a:pt x="1627" y="19"/>
                    <a:pt x="1629" y="14"/>
                  </a:cubicBezTo>
                  <a:cubicBezTo>
                    <a:pt x="1630" y="8"/>
                    <a:pt x="1628" y="4"/>
                    <a:pt x="1622" y="4"/>
                  </a:cubicBezTo>
                  <a:cubicBezTo>
                    <a:pt x="1622" y="4"/>
                    <a:pt x="1622" y="4"/>
                    <a:pt x="1622" y="4"/>
                  </a:cubicBezTo>
                  <a:moveTo>
                    <a:pt x="1829" y="1"/>
                  </a:moveTo>
                  <a:cubicBezTo>
                    <a:pt x="1823" y="1"/>
                    <a:pt x="1817" y="6"/>
                    <a:pt x="1816" y="12"/>
                  </a:cubicBezTo>
                  <a:cubicBezTo>
                    <a:pt x="1814" y="17"/>
                    <a:pt x="1818" y="22"/>
                    <a:pt x="1823" y="22"/>
                  </a:cubicBezTo>
                  <a:cubicBezTo>
                    <a:pt x="1829" y="22"/>
                    <a:pt x="1835" y="17"/>
                    <a:pt x="1836" y="11"/>
                  </a:cubicBezTo>
                  <a:cubicBezTo>
                    <a:pt x="1838" y="6"/>
                    <a:pt x="1835" y="1"/>
                    <a:pt x="1829" y="1"/>
                  </a:cubicBezTo>
                  <a:cubicBezTo>
                    <a:pt x="1829" y="1"/>
                    <a:pt x="1829" y="1"/>
                    <a:pt x="1829" y="1"/>
                  </a:cubicBezTo>
                  <a:moveTo>
                    <a:pt x="1858" y="1"/>
                  </a:moveTo>
                  <a:cubicBezTo>
                    <a:pt x="1852" y="1"/>
                    <a:pt x="1847" y="6"/>
                    <a:pt x="1845" y="11"/>
                  </a:cubicBezTo>
                  <a:cubicBezTo>
                    <a:pt x="1844" y="17"/>
                    <a:pt x="1847" y="21"/>
                    <a:pt x="1853" y="21"/>
                  </a:cubicBezTo>
                  <a:cubicBezTo>
                    <a:pt x="1859" y="21"/>
                    <a:pt x="1864" y="17"/>
                    <a:pt x="1866" y="11"/>
                  </a:cubicBezTo>
                  <a:cubicBezTo>
                    <a:pt x="1867" y="6"/>
                    <a:pt x="1864" y="1"/>
                    <a:pt x="1858" y="1"/>
                  </a:cubicBezTo>
                  <a:cubicBezTo>
                    <a:pt x="1858" y="1"/>
                    <a:pt x="1858" y="1"/>
                    <a:pt x="1858" y="1"/>
                  </a:cubicBezTo>
                  <a:moveTo>
                    <a:pt x="1888" y="1"/>
                  </a:moveTo>
                  <a:cubicBezTo>
                    <a:pt x="1882" y="1"/>
                    <a:pt x="1876" y="5"/>
                    <a:pt x="1875" y="11"/>
                  </a:cubicBezTo>
                  <a:cubicBezTo>
                    <a:pt x="1873" y="17"/>
                    <a:pt x="1877" y="21"/>
                    <a:pt x="1883" y="21"/>
                  </a:cubicBezTo>
                  <a:cubicBezTo>
                    <a:pt x="1888" y="21"/>
                    <a:pt x="1894" y="16"/>
                    <a:pt x="1895" y="11"/>
                  </a:cubicBezTo>
                  <a:cubicBezTo>
                    <a:pt x="1897" y="5"/>
                    <a:pt x="1893" y="1"/>
                    <a:pt x="1888" y="1"/>
                  </a:cubicBezTo>
                  <a:cubicBezTo>
                    <a:pt x="1888" y="1"/>
                    <a:pt x="1888" y="1"/>
                    <a:pt x="1888" y="1"/>
                  </a:cubicBezTo>
                  <a:moveTo>
                    <a:pt x="1917" y="0"/>
                  </a:moveTo>
                  <a:cubicBezTo>
                    <a:pt x="1912" y="0"/>
                    <a:pt x="1906" y="5"/>
                    <a:pt x="1905" y="11"/>
                  </a:cubicBezTo>
                  <a:cubicBezTo>
                    <a:pt x="1903" y="16"/>
                    <a:pt x="1907" y="21"/>
                    <a:pt x="1913" y="21"/>
                  </a:cubicBezTo>
                  <a:cubicBezTo>
                    <a:pt x="1918" y="21"/>
                    <a:pt x="1924" y="16"/>
                    <a:pt x="1925" y="10"/>
                  </a:cubicBezTo>
                  <a:cubicBezTo>
                    <a:pt x="1927" y="5"/>
                    <a:pt x="1923" y="0"/>
                    <a:pt x="1918" y="0"/>
                  </a:cubicBezTo>
                  <a:cubicBezTo>
                    <a:pt x="1917" y="0"/>
                    <a:pt x="1917" y="0"/>
                    <a:pt x="1917" y="0"/>
                  </a:cubicBezTo>
                  <a:moveTo>
                    <a:pt x="1947" y="0"/>
                  </a:moveTo>
                  <a:cubicBezTo>
                    <a:pt x="1941" y="0"/>
                    <a:pt x="1935" y="5"/>
                    <a:pt x="1934" y="10"/>
                  </a:cubicBezTo>
                  <a:cubicBezTo>
                    <a:pt x="1933" y="16"/>
                    <a:pt x="1936" y="21"/>
                    <a:pt x="1942" y="20"/>
                  </a:cubicBezTo>
                  <a:cubicBezTo>
                    <a:pt x="1948" y="20"/>
                    <a:pt x="1953" y="16"/>
                    <a:pt x="1955" y="10"/>
                  </a:cubicBezTo>
                  <a:cubicBezTo>
                    <a:pt x="1956" y="5"/>
                    <a:pt x="1952" y="0"/>
                    <a:pt x="1947" y="0"/>
                  </a:cubicBezTo>
                  <a:cubicBezTo>
                    <a:pt x="1947" y="0"/>
                    <a:pt x="1947" y="0"/>
                    <a:pt x="1947" y="0"/>
                  </a:cubicBezTo>
                  <a:moveTo>
                    <a:pt x="1976" y="0"/>
                  </a:moveTo>
                  <a:cubicBezTo>
                    <a:pt x="1970" y="0"/>
                    <a:pt x="1965" y="4"/>
                    <a:pt x="1964" y="10"/>
                  </a:cubicBezTo>
                  <a:cubicBezTo>
                    <a:pt x="1962" y="16"/>
                    <a:pt x="1966" y="20"/>
                    <a:pt x="1972" y="20"/>
                  </a:cubicBezTo>
                  <a:cubicBezTo>
                    <a:pt x="1977" y="20"/>
                    <a:pt x="1983" y="15"/>
                    <a:pt x="1984" y="10"/>
                  </a:cubicBezTo>
                  <a:cubicBezTo>
                    <a:pt x="1985" y="4"/>
                    <a:pt x="1982" y="0"/>
                    <a:pt x="1976" y="0"/>
                  </a:cubicBezTo>
                  <a:cubicBezTo>
                    <a:pt x="1976" y="0"/>
                    <a:pt x="1976" y="0"/>
                    <a:pt x="1976" y="0"/>
                  </a:cubicBezTo>
                </a:path>
              </a:pathLst>
            </a:custGeom>
            <a:gradFill>
              <a:gsLst>
                <a:gs pos="0">
                  <a:srgbClr val="E8EBF1">
                    <a:alpha val="64000"/>
                  </a:srgbClr>
                </a:gs>
                <a:gs pos="100000">
                  <a:srgbClr val="FFFFFF">
                    <a:alpha val="85000"/>
                  </a:srgbClr>
                </a:gs>
              </a:gsLst>
              <a:lin ang="5400000" scaled="1"/>
            </a:gra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p:txBody>
          <a:bodyPr/>
          <a:lstStyle/>
          <a:p>
            <a:r>
              <a:rPr lang="en-US" dirty="0"/>
              <a:t>How You Can Help Enterprise Customers</a:t>
            </a:r>
          </a:p>
        </p:txBody>
      </p:sp>
      <p:grpSp>
        <p:nvGrpSpPr>
          <p:cNvPr id="2069" name="Group 2068"/>
          <p:cNvGrpSpPr/>
          <p:nvPr/>
        </p:nvGrpSpPr>
        <p:grpSpPr>
          <a:xfrm>
            <a:off x="2774483" y="930384"/>
            <a:ext cx="1742171" cy="1043676"/>
            <a:chOff x="2733575" y="772338"/>
            <a:chExt cx="1742171" cy="1043676"/>
          </a:xfrm>
        </p:grpSpPr>
        <p:grpSp>
          <p:nvGrpSpPr>
            <p:cNvPr id="41" name="Group 40"/>
            <p:cNvGrpSpPr/>
            <p:nvPr/>
          </p:nvGrpSpPr>
          <p:grpSpPr>
            <a:xfrm>
              <a:off x="2733575" y="772338"/>
              <a:ext cx="1742171" cy="1043676"/>
              <a:chOff x="2733575" y="772338"/>
              <a:chExt cx="1742171" cy="1043676"/>
            </a:xfrm>
          </p:grpSpPr>
          <p:sp>
            <p:nvSpPr>
              <p:cNvPr id="9" name="Rectangle 8"/>
              <p:cNvSpPr/>
              <p:nvPr/>
            </p:nvSpPr>
            <p:spPr>
              <a:xfrm>
                <a:off x="2733575" y="772338"/>
                <a:ext cx="1742171" cy="1017961"/>
              </a:xfrm>
              <a:prstGeom prst="rect">
                <a:avLst/>
              </a:prstGeom>
              <a:gradFill>
                <a:gsLst>
                  <a:gs pos="0">
                    <a:srgbClr val="00197B"/>
                  </a:gs>
                  <a:gs pos="100000">
                    <a:srgbClr val="00197B">
                      <a:alpha val="0"/>
                    </a:srgbClr>
                  </a:gs>
                </a:gsLst>
                <a:lin ang="5400000" scaled="0"/>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lumMod val="50000"/>
                    </a:schemeClr>
                  </a:solidFill>
                </a:endParaRPr>
              </a:p>
            </p:txBody>
          </p:sp>
          <p:sp>
            <p:nvSpPr>
              <p:cNvPr id="33" name="Rectangle 32"/>
              <p:cNvSpPr/>
              <p:nvPr/>
            </p:nvSpPr>
            <p:spPr>
              <a:xfrm>
                <a:off x="2822235" y="1612881"/>
                <a:ext cx="1564851" cy="203133"/>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pPr algn="ctr"/>
                <a:r>
                  <a:rPr lang="en-US" sz="1200" dirty="0" smtClean="0">
                    <a:solidFill>
                      <a:schemeClr val="accent1">
                        <a:lumMod val="50000"/>
                      </a:schemeClr>
                    </a:solidFill>
                    <a:latin typeface="+mj-lt"/>
                  </a:rPr>
                  <a:t>Speed</a:t>
                </a:r>
                <a:r>
                  <a:rPr lang="en-US" sz="1200" dirty="0">
                    <a:solidFill>
                      <a:schemeClr val="accent1">
                        <a:lumMod val="50000"/>
                      </a:schemeClr>
                    </a:solidFill>
                    <a:latin typeface="+mj-lt"/>
                  </a:rPr>
                  <a:t> </a:t>
                </a:r>
                <a:r>
                  <a:rPr lang="en-US" sz="1200" dirty="0" smtClean="0">
                    <a:solidFill>
                      <a:schemeClr val="accent1">
                        <a:lumMod val="50000"/>
                      </a:schemeClr>
                    </a:solidFill>
                    <a:latin typeface="+mj-lt"/>
                  </a:rPr>
                  <a:t>Deployments</a:t>
                </a:r>
                <a:endParaRPr lang="en-US" sz="1200" dirty="0">
                  <a:solidFill>
                    <a:schemeClr val="accent1">
                      <a:lumMod val="50000"/>
                    </a:schemeClr>
                  </a:solidFill>
                  <a:latin typeface="+mj-lt"/>
                </a:endParaRPr>
              </a:p>
            </p:txBody>
          </p:sp>
        </p:grpSp>
        <p:grpSp>
          <p:nvGrpSpPr>
            <p:cNvPr id="2061" name="Group 2060"/>
            <p:cNvGrpSpPr/>
            <p:nvPr/>
          </p:nvGrpSpPr>
          <p:grpSpPr>
            <a:xfrm>
              <a:off x="3345592" y="914268"/>
              <a:ext cx="518136" cy="614405"/>
              <a:chOff x="3350247" y="914268"/>
              <a:chExt cx="518136" cy="614405"/>
            </a:xfrm>
          </p:grpSpPr>
          <p:sp>
            <p:nvSpPr>
              <p:cNvPr id="52" name="Freeform 13"/>
              <p:cNvSpPr>
                <a:spLocks noEditPoints="1"/>
              </p:cNvSpPr>
              <p:nvPr/>
            </p:nvSpPr>
            <p:spPr bwMode="auto">
              <a:xfrm>
                <a:off x="3350247" y="914268"/>
                <a:ext cx="518136" cy="614405"/>
              </a:xfrm>
              <a:custGeom>
                <a:avLst/>
                <a:gdLst>
                  <a:gd name="T0" fmla="*/ 371 w 435"/>
                  <a:gd name="T1" fmla="*/ 145 h 516"/>
                  <a:gd name="T2" fmla="*/ 334 w 435"/>
                  <a:gd name="T3" fmla="*/ 115 h 516"/>
                  <a:gd name="T4" fmla="*/ 349 w 435"/>
                  <a:gd name="T5" fmla="*/ 90 h 516"/>
                  <a:gd name="T6" fmla="*/ 365 w 435"/>
                  <a:gd name="T7" fmla="*/ 99 h 516"/>
                  <a:gd name="T8" fmla="*/ 369 w 435"/>
                  <a:gd name="T9" fmla="*/ 100 h 516"/>
                  <a:gd name="T10" fmla="*/ 376 w 435"/>
                  <a:gd name="T11" fmla="*/ 96 h 516"/>
                  <a:gd name="T12" fmla="*/ 373 w 435"/>
                  <a:gd name="T13" fmla="*/ 85 h 516"/>
                  <a:gd name="T14" fmla="*/ 327 w 435"/>
                  <a:gd name="T15" fmla="*/ 58 h 516"/>
                  <a:gd name="T16" fmla="*/ 316 w 435"/>
                  <a:gd name="T17" fmla="*/ 61 h 516"/>
                  <a:gd name="T18" fmla="*/ 319 w 435"/>
                  <a:gd name="T19" fmla="*/ 72 h 516"/>
                  <a:gd name="T20" fmla="*/ 335 w 435"/>
                  <a:gd name="T21" fmla="*/ 81 h 516"/>
                  <a:gd name="T22" fmla="*/ 320 w 435"/>
                  <a:gd name="T23" fmla="*/ 107 h 516"/>
                  <a:gd name="T24" fmla="*/ 226 w 435"/>
                  <a:gd name="T25" fmla="*/ 81 h 516"/>
                  <a:gd name="T26" fmla="*/ 226 w 435"/>
                  <a:gd name="T27" fmla="*/ 80 h 516"/>
                  <a:gd name="T28" fmla="*/ 258 w 435"/>
                  <a:gd name="T29" fmla="*/ 41 h 516"/>
                  <a:gd name="T30" fmla="*/ 218 w 435"/>
                  <a:gd name="T31" fmla="*/ 0 h 516"/>
                  <a:gd name="T32" fmla="*/ 177 w 435"/>
                  <a:gd name="T33" fmla="*/ 41 h 516"/>
                  <a:gd name="T34" fmla="*/ 210 w 435"/>
                  <a:gd name="T35" fmla="*/ 80 h 516"/>
                  <a:gd name="T36" fmla="*/ 210 w 435"/>
                  <a:gd name="T37" fmla="*/ 81 h 516"/>
                  <a:gd name="T38" fmla="*/ 64 w 435"/>
                  <a:gd name="T39" fmla="*/ 145 h 516"/>
                  <a:gd name="T40" fmla="*/ 0 w 435"/>
                  <a:gd name="T41" fmla="*/ 298 h 516"/>
                  <a:gd name="T42" fmla="*/ 64 w 435"/>
                  <a:gd name="T43" fmla="*/ 452 h 516"/>
                  <a:gd name="T44" fmla="*/ 218 w 435"/>
                  <a:gd name="T45" fmla="*/ 516 h 516"/>
                  <a:gd name="T46" fmla="*/ 371 w 435"/>
                  <a:gd name="T47" fmla="*/ 452 h 516"/>
                  <a:gd name="T48" fmla="*/ 435 w 435"/>
                  <a:gd name="T49" fmla="*/ 298 h 516"/>
                  <a:gd name="T50" fmla="*/ 371 w 435"/>
                  <a:gd name="T51" fmla="*/ 145 h 516"/>
                  <a:gd name="T52" fmla="*/ 193 w 435"/>
                  <a:gd name="T53" fmla="*/ 41 h 516"/>
                  <a:gd name="T54" fmla="*/ 218 w 435"/>
                  <a:gd name="T55" fmla="*/ 17 h 516"/>
                  <a:gd name="T56" fmla="*/ 242 w 435"/>
                  <a:gd name="T57" fmla="*/ 41 h 516"/>
                  <a:gd name="T58" fmla="*/ 226 w 435"/>
                  <a:gd name="T59" fmla="*/ 63 h 516"/>
                  <a:gd name="T60" fmla="*/ 226 w 435"/>
                  <a:gd name="T61" fmla="*/ 41 h 516"/>
                  <a:gd name="T62" fmla="*/ 218 w 435"/>
                  <a:gd name="T63" fmla="*/ 33 h 516"/>
                  <a:gd name="T64" fmla="*/ 210 w 435"/>
                  <a:gd name="T65" fmla="*/ 41 h 516"/>
                  <a:gd name="T66" fmla="*/ 210 w 435"/>
                  <a:gd name="T67" fmla="*/ 63 h 516"/>
                  <a:gd name="T68" fmla="*/ 193 w 435"/>
                  <a:gd name="T69" fmla="*/ 41 h 516"/>
                  <a:gd name="T70" fmla="*/ 218 w 435"/>
                  <a:gd name="T71" fmla="*/ 500 h 516"/>
                  <a:gd name="T72" fmla="*/ 16 w 435"/>
                  <a:gd name="T73" fmla="*/ 298 h 516"/>
                  <a:gd name="T74" fmla="*/ 218 w 435"/>
                  <a:gd name="T75" fmla="*/ 97 h 516"/>
                  <a:gd name="T76" fmla="*/ 419 w 435"/>
                  <a:gd name="T77" fmla="*/ 298 h 516"/>
                  <a:gd name="T78" fmla="*/ 218 w 435"/>
                  <a:gd name="T79" fmla="*/ 500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5" h="516">
                    <a:moveTo>
                      <a:pt x="371" y="145"/>
                    </a:moveTo>
                    <a:cubicBezTo>
                      <a:pt x="360" y="133"/>
                      <a:pt x="347" y="123"/>
                      <a:pt x="334" y="115"/>
                    </a:cubicBezTo>
                    <a:cubicBezTo>
                      <a:pt x="349" y="90"/>
                      <a:pt x="349" y="90"/>
                      <a:pt x="349" y="90"/>
                    </a:cubicBezTo>
                    <a:cubicBezTo>
                      <a:pt x="365" y="99"/>
                      <a:pt x="365" y="99"/>
                      <a:pt x="365" y="99"/>
                    </a:cubicBezTo>
                    <a:cubicBezTo>
                      <a:pt x="366" y="100"/>
                      <a:pt x="367" y="100"/>
                      <a:pt x="369" y="100"/>
                    </a:cubicBezTo>
                    <a:cubicBezTo>
                      <a:pt x="372" y="100"/>
                      <a:pt x="374" y="99"/>
                      <a:pt x="376" y="96"/>
                    </a:cubicBezTo>
                    <a:cubicBezTo>
                      <a:pt x="378" y="92"/>
                      <a:pt x="377" y="87"/>
                      <a:pt x="373" y="85"/>
                    </a:cubicBezTo>
                    <a:cubicBezTo>
                      <a:pt x="327" y="58"/>
                      <a:pt x="327" y="58"/>
                      <a:pt x="327" y="58"/>
                    </a:cubicBezTo>
                    <a:cubicBezTo>
                      <a:pt x="323" y="56"/>
                      <a:pt x="318" y="57"/>
                      <a:pt x="316" y="61"/>
                    </a:cubicBezTo>
                    <a:cubicBezTo>
                      <a:pt x="313" y="65"/>
                      <a:pt x="315" y="70"/>
                      <a:pt x="319" y="72"/>
                    </a:cubicBezTo>
                    <a:cubicBezTo>
                      <a:pt x="335" y="81"/>
                      <a:pt x="335" y="81"/>
                      <a:pt x="335" y="81"/>
                    </a:cubicBezTo>
                    <a:cubicBezTo>
                      <a:pt x="320" y="107"/>
                      <a:pt x="320" y="107"/>
                      <a:pt x="320" y="107"/>
                    </a:cubicBezTo>
                    <a:cubicBezTo>
                      <a:pt x="291" y="91"/>
                      <a:pt x="259" y="82"/>
                      <a:pt x="226" y="81"/>
                    </a:cubicBezTo>
                    <a:cubicBezTo>
                      <a:pt x="226" y="80"/>
                      <a:pt x="226" y="80"/>
                      <a:pt x="226" y="80"/>
                    </a:cubicBezTo>
                    <a:cubicBezTo>
                      <a:pt x="244" y="76"/>
                      <a:pt x="258" y="60"/>
                      <a:pt x="258" y="41"/>
                    </a:cubicBezTo>
                    <a:cubicBezTo>
                      <a:pt x="258" y="19"/>
                      <a:pt x="240" y="0"/>
                      <a:pt x="218" y="0"/>
                    </a:cubicBezTo>
                    <a:cubicBezTo>
                      <a:pt x="195" y="0"/>
                      <a:pt x="177" y="19"/>
                      <a:pt x="177" y="41"/>
                    </a:cubicBezTo>
                    <a:cubicBezTo>
                      <a:pt x="177" y="60"/>
                      <a:pt x="191" y="76"/>
                      <a:pt x="210" y="80"/>
                    </a:cubicBezTo>
                    <a:cubicBezTo>
                      <a:pt x="210" y="81"/>
                      <a:pt x="210" y="81"/>
                      <a:pt x="210" y="81"/>
                    </a:cubicBezTo>
                    <a:cubicBezTo>
                      <a:pt x="154" y="83"/>
                      <a:pt x="103" y="105"/>
                      <a:pt x="64" y="145"/>
                    </a:cubicBezTo>
                    <a:cubicBezTo>
                      <a:pt x="23" y="186"/>
                      <a:pt x="0" y="240"/>
                      <a:pt x="0" y="298"/>
                    </a:cubicBezTo>
                    <a:cubicBezTo>
                      <a:pt x="0" y="356"/>
                      <a:pt x="23" y="411"/>
                      <a:pt x="64" y="452"/>
                    </a:cubicBezTo>
                    <a:cubicBezTo>
                      <a:pt x="105" y="493"/>
                      <a:pt x="159" y="516"/>
                      <a:pt x="218" y="516"/>
                    </a:cubicBezTo>
                    <a:cubicBezTo>
                      <a:pt x="276" y="516"/>
                      <a:pt x="330" y="493"/>
                      <a:pt x="371" y="452"/>
                    </a:cubicBezTo>
                    <a:cubicBezTo>
                      <a:pt x="412" y="411"/>
                      <a:pt x="435" y="356"/>
                      <a:pt x="435" y="298"/>
                    </a:cubicBezTo>
                    <a:cubicBezTo>
                      <a:pt x="435" y="240"/>
                      <a:pt x="412" y="186"/>
                      <a:pt x="371" y="145"/>
                    </a:cubicBezTo>
                    <a:moveTo>
                      <a:pt x="193" y="41"/>
                    </a:moveTo>
                    <a:cubicBezTo>
                      <a:pt x="193" y="27"/>
                      <a:pt x="204" y="17"/>
                      <a:pt x="218" y="17"/>
                    </a:cubicBezTo>
                    <a:cubicBezTo>
                      <a:pt x="231" y="17"/>
                      <a:pt x="242" y="27"/>
                      <a:pt x="242" y="41"/>
                    </a:cubicBezTo>
                    <a:cubicBezTo>
                      <a:pt x="242" y="51"/>
                      <a:pt x="235" y="60"/>
                      <a:pt x="226" y="63"/>
                    </a:cubicBezTo>
                    <a:cubicBezTo>
                      <a:pt x="226" y="41"/>
                      <a:pt x="226" y="41"/>
                      <a:pt x="226" y="41"/>
                    </a:cubicBezTo>
                    <a:cubicBezTo>
                      <a:pt x="226" y="36"/>
                      <a:pt x="222" y="33"/>
                      <a:pt x="218" y="33"/>
                    </a:cubicBezTo>
                    <a:cubicBezTo>
                      <a:pt x="213" y="33"/>
                      <a:pt x="210" y="36"/>
                      <a:pt x="210" y="41"/>
                    </a:cubicBezTo>
                    <a:cubicBezTo>
                      <a:pt x="210" y="63"/>
                      <a:pt x="210" y="63"/>
                      <a:pt x="210" y="63"/>
                    </a:cubicBezTo>
                    <a:cubicBezTo>
                      <a:pt x="200" y="60"/>
                      <a:pt x="193" y="51"/>
                      <a:pt x="193" y="41"/>
                    </a:cubicBezTo>
                    <a:moveTo>
                      <a:pt x="218" y="500"/>
                    </a:moveTo>
                    <a:cubicBezTo>
                      <a:pt x="107" y="500"/>
                      <a:pt x="16" y="409"/>
                      <a:pt x="16" y="298"/>
                    </a:cubicBezTo>
                    <a:cubicBezTo>
                      <a:pt x="16" y="187"/>
                      <a:pt x="107" y="97"/>
                      <a:pt x="218" y="97"/>
                    </a:cubicBezTo>
                    <a:cubicBezTo>
                      <a:pt x="329" y="97"/>
                      <a:pt x="419" y="187"/>
                      <a:pt x="419" y="298"/>
                    </a:cubicBezTo>
                    <a:cubicBezTo>
                      <a:pt x="419" y="409"/>
                      <a:pt x="329" y="500"/>
                      <a:pt x="218" y="50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53" name="Freeform 14"/>
              <p:cNvSpPr>
                <a:spLocks/>
              </p:cNvSpPr>
              <p:nvPr/>
            </p:nvSpPr>
            <p:spPr bwMode="auto">
              <a:xfrm>
                <a:off x="3388553" y="1048842"/>
                <a:ext cx="441525" cy="442029"/>
              </a:xfrm>
              <a:custGeom>
                <a:avLst/>
                <a:gdLst>
                  <a:gd name="T0" fmla="*/ 343 w 371"/>
                  <a:gd name="T1" fmla="*/ 88 h 371"/>
                  <a:gd name="T2" fmla="*/ 332 w 371"/>
                  <a:gd name="T3" fmla="*/ 86 h 371"/>
                  <a:gd name="T4" fmla="*/ 330 w 371"/>
                  <a:gd name="T5" fmla="*/ 97 h 371"/>
                  <a:gd name="T6" fmla="*/ 355 w 371"/>
                  <a:gd name="T7" fmla="*/ 185 h 371"/>
                  <a:gd name="T8" fmla="*/ 186 w 371"/>
                  <a:gd name="T9" fmla="*/ 354 h 371"/>
                  <a:gd name="T10" fmla="*/ 16 w 371"/>
                  <a:gd name="T11" fmla="*/ 185 h 371"/>
                  <a:gd name="T12" fmla="*/ 186 w 371"/>
                  <a:gd name="T13" fmla="*/ 16 h 371"/>
                  <a:gd name="T14" fmla="*/ 274 w 371"/>
                  <a:gd name="T15" fmla="*/ 41 h 371"/>
                  <a:gd name="T16" fmla="*/ 285 w 371"/>
                  <a:gd name="T17" fmla="*/ 39 h 371"/>
                  <a:gd name="T18" fmla="*/ 283 w 371"/>
                  <a:gd name="T19" fmla="*/ 28 h 371"/>
                  <a:gd name="T20" fmla="*/ 186 w 371"/>
                  <a:gd name="T21" fmla="*/ 0 h 371"/>
                  <a:gd name="T22" fmla="*/ 0 w 371"/>
                  <a:gd name="T23" fmla="*/ 185 h 371"/>
                  <a:gd name="T24" fmla="*/ 186 w 371"/>
                  <a:gd name="T25" fmla="*/ 371 h 371"/>
                  <a:gd name="T26" fmla="*/ 371 w 371"/>
                  <a:gd name="T27" fmla="*/ 185 h 371"/>
                  <a:gd name="T28" fmla="*/ 343 w 371"/>
                  <a:gd name="T29" fmla="*/ 88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1" h="371">
                    <a:moveTo>
                      <a:pt x="343" y="88"/>
                    </a:moveTo>
                    <a:cubicBezTo>
                      <a:pt x="341" y="85"/>
                      <a:pt x="336" y="83"/>
                      <a:pt x="332" y="86"/>
                    </a:cubicBezTo>
                    <a:cubicBezTo>
                      <a:pt x="328" y="88"/>
                      <a:pt x="327" y="93"/>
                      <a:pt x="330" y="97"/>
                    </a:cubicBezTo>
                    <a:cubicBezTo>
                      <a:pt x="346" y="123"/>
                      <a:pt x="355" y="154"/>
                      <a:pt x="355" y="185"/>
                    </a:cubicBezTo>
                    <a:cubicBezTo>
                      <a:pt x="355" y="279"/>
                      <a:pt x="279" y="354"/>
                      <a:pt x="186" y="354"/>
                    </a:cubicBezTo>
                    <a:cubicBezTo>
                      <a:pt x="92" y="354"/>
                      <a:pt x="16" y="279"/>
                      <a:pt x="16" y="185"/>
                    </a:cubicBezTo>
                    <a:cubicBezTo>
                      <a:pt x="16" y="92"/>
                      <a:pt x="92" y="16"/>
                      <a:pt x="186" y="16"/>
                    </a:cubicBezTo>
                    <a:cubicBezTo>
                      <a:pt x="217" y="16"/>
                      <a:pt x="248" y="25"/>
                      <a:pt x="274" y="41"/>
                    </a:cubicBezTo>
                    <a:cubicBezTo>
                      <a:pt x="278" y="44"/>
                      <a:pt x="283" y="42"/>
                      <a:pt x="285" y="39"/>
                    </a:cubicBezTo>
                    <a:cubicBezTo>
                      <a:pt x="287" y="35"/>
                      <a:pt x="286" y="30"/>
                      <a:pt x="283" y="28"/>
                    </a:cubicBezTo>
                    <a:cubicBezTo>
                      <a:pt x="253" y="10"/>
                      <a:pt x="220" y="0"/>
                      <a:pt x="186" y="0"/>
                    </a:cubicBezTo>
                    <a:cubicBezTo>
                      <a:pt x="83" y="0"/>
                      <a:pt x="0" y="83"/>
                      <a:pt x="0" y="185"/>
                    </a:cubicBezTo>
                    <a:cubicBezTo>
                      <a:pt x="0" y="287"/>
                      <a:pt x="83" y="371"/>
                      <a:pt x="186" y="371"/>
                    </a:cubicBezTo>
                    <a:cubicBezTo>
                      <a:pt x="288" y="371"/>
                      <a:pt x="371" y="287"/>
                      <a:pt x="371" y="185"/>
                    </a:cubicBezTo>
                    <a:cubicBezTo>
                      <a:pt x="371" y="151"/>
                      <a:pt x="361" y="117"/>
                      <a:pt x="343" y="8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54" name="Freeform 15"/>
              <p:cNvSpPr>
                <a:spLocks/>
              </p:cNvSpPr>
              <p:nvPr/>
            </p:nvSpPr>
            <p:spPr bwMode="auto">
              <a:xfrm>
                <a:off x="3739857" y="1101261"/>
                <a:ext cx="37802" cy="36794"/>
              </a:xfrm>
              <a:custGeom>
                <a:avLst/>
                <a:gdLst>
                  <a:gd name="T0" fmla="*/ 3 w 32"/>
                  <a:gd name="T1" fmla="*/ 15 h 31"/>
                  <a:gd name="T2" fmla="*/ 17 w 32"/>
                  <a:gd name="T3" fmla="*/ 29 h 31"/>
                  <a:gd name="T4" fmla="*/ 23 w 32"/>
                  <a:gd name="T5" fmla="*/ 31 h 31"/>
                  <a:gd name="T6" fmla="*/ 28 w 32"/>
                  <a:gd name="T7" fmla="*/ 29 h 31"/>
                  <a:gd name="T8" fmla="*/ 29 w 32"/>
                  <a:gd name="T9" fmla="*/ 18 h 31"/>
                  <a:gd name="T10" fmla="*/ 14 w 32"/>
                  <a:gd name="T11" fmla="*/ 3 h 31"/>
                  <a:gd name="T12" fmla="*/ 3 w 32"/>
                  <a:gd name="T13" fmla="*/ 4 h 31"/>
                  <a:gd name="T14" fmla="*/ 3 w 32"/>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1">
                    <a:moveTo>
                      <a:pt x="3" y="15"/>
                    </a:moveTo>
                    <a:cubicBezTo>
                      <a:pt x="8" y="19"/>
                      <a:pt x="12" y="24"/>
                      <a:pt x="17" y="29"/>
                    </a:cubicBezTo>
                    <a:cubicBezTo>
                      <a:pt x="18" y="30"/>
                      <a:pt x="20" y="31"/>
                      <a:pt x="23" y="31"/>
                    </a:cubicBezTo>
                    <a:cubicBezTo>
                      <a:pt x="25" y="31"/>
                      <a:pt x="26" y="31"/>
                      <a:pt x="28" y="29"/>
                    </a:cubicBezTo>
                    <a:cubicBezTo>
                      <a:pt x="31" y="26"/>
                      <a:pt x="32" y="21"/>
                      <a:pt x="29" y="18"/>
                    </a:cubicBezTo>
                    <a:cubicBezTo>
                      <a:pt x="24" y="13"/>
                      <a:pt x="19" y="8"/>
                      <a:pt x="14" y="3"/>
                    </a:cubicBezTo>
                    <a:cubicBezTo>
                      <a:pt x="11" y="0"/>
                      <a:pt x="6" y="1"/>
                      <a:pt x="3" y="4"/>
                    </a:cubicBezTo>
                    <a:cubicBezTo>
                      <a:pt x="0" y="7"/>
                      <a:pt x="0" y="12"/>
                      <a:pt x="3"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55" name="Freeform 16"/>
              <p:cNvSpPr>
                <a:spLocks noEditPoints="1"/>
              </p:cNvSpPr>
              <p:nvPr/>
            </p:nvSpPr>
            <p:spPr bwMode="auto">
              <a:xfrm>
                <a:off x="3600243" y="1087148"/>
                <a:ext cx="192033" cy="314007"/>
              </a:xfrm>
              <a:custGeom>
                <a:avLst/>
                <a:gdLst>
                  <a:gd name="T0" fmla="*/ 58 w 161"/>
                  <a:gd name="T1" fmla="*/ 9 h 264"/>
                  <a:gd name="T2" fmla="*/ 8 w 161"/>
                  <a:gd name="T3" fmla="*/ 0 h 264"/>
                  <a:gd name="T4" fmla="*/ 0 w 161"/>
                  <a:gd name="T5" fmla="*/ 8 h 264"/>
                  <a:gd name="T6" fmla="*/ 0 w 161"/>
                  <a:gd name="T7" fmla="*/ 153 h 264"/>
                  <a:gd name="T8" fmla="*/ 2 w 161"/>
                  <a:gd name="T9" fmla="*/ 159 h 264"/>
                  <a:gd name="T10" fmla="*/ 104 w 161"/>
                  <a:gd name="T11" fmla="*/ 262 h 264"/>
                  <a:gd name="T12" fmla="*/ 110 w 161"/>
                  <a:gd name="T13" fmla="*/ 264 h 264"/>
                  <a:gd name="T14" fmla="*/ 116 w 161"/>
                  <a:gd name="T15" fmla="*/ 262 h 264"/>
                  <a:gd name="T16" fmla="*/ 161 w 161"/>
                  <a:gd name="T17" fmla="*/ 153 h 264"/>
                  <a:gd name="T18" fmla="*/ 156 w 161"/>
                  <a:gd name="T19" fmla="*/ 116 h 264"/>
                  <a:gd name="T20" fmla="*/ 156 w 161"/>
                  <a:gd name="T21" fmla="*/ 115 h 264"/>
                  <a:gd name="T22" fmla="*/ 142 w 161"/>
                  <a:gd name="T23" fmla="*/ 80 h 264"/>
                  <a:gd name="T24" fmla="*/ 141 w 161"/>
                  <a:gd name="T25" fmla="*/ 78 h 264"/>
                  <a:gd name="T26" fmla="*/ 120 w 161"/>
                  <a:gd name="T27" fmla="*/ 50 h 264"/>
                  <a:gd name="T28" fmla="*/ 120 w 161"/>
                  <a:gd name="T29" fmla="*/ 49 h 264"/>
                  <a:gd name="T30" fmla="*/ 119 w 161"/>
                  <a:gd name="T31" fmla="*/ 49 h 264"/>
                  <a:gd name="T32" fmla="*/ 59 w 161"/>
                  <a:gd name="T33" fmla="*/ 9 h 264"/>
                  <a:gd name="T34" fmla="*/ 58 w 161"/>
                  <a:gd name="T35" fmla="*/ 9 h 264"/>
                  <a:gd name="T36" fmla="*/ 75 w 161"/>
                  <a:gd name="T37" fmla="*/ 34 h 264"/>
                  <a:gd name="T38" fmla="*/ 16 w 161"/>
                  <a:gd name="T39" fmla="*/ 94 h 264"/>
                  <a:gd name="T40" fmla="*/ 16 w 161"/>
                  <a:gd name="T41" fmla="*/ 68 h 264"/>
                  <a:gd name="T42" fmla="*/ 58 w 161"/>
                  <a:gd name="T43" fmla="*/ 26 h 264"/>
                  <a:gd name="T44" fmla="*/ 75 w 161"/>
                  <a:gd name="T45" fmla="*/ 34 h 264"/>
                  <a:gd name="T46" fmla="*/ 103 w 161"/>
                  <a:gd name="T47" fmla="*/ 55 h 264"/>
                  <a:gd name="T48" fmla="*/ 16 w 161"/>
                  <a:gd name="T49" fmla="*/ 142 h 264"/>
                  <a:gd name="T50" fmla="*/ 16 w 161"/>
                  <a:gd name="T51" fmla="*/ 116 h 264"/>
                  <a:gd name="T52" fmla="*/ 89 w 161"/>
                  <a:gd name="T53" fmla="*/ 43 h 264"/>
                  <a:gd name="T54" fmla="*/ 103 w 161"/>
                  <a:gd name="T55" fmla="*/ 55 h 264"/>
                  <a:gd name="T56" fmla="*/ 124 w 161"/>
                  <a:gd name="T57" fmla="*/ 82 h 264"/>
                  <a:gd name="T58" fmla="*/ 36 w 161"/>
                  <a:gd name="T59" fmla="*/ 170 h 264"/>
                  <a:gd name="T60" fmla="*/ 23 w 161"/>
                  <a:gd name="T61" fmla="*/ 157 h 264"/>
                  <a:gd name="T62" fmla="*/ 114 w 161"/>
                  <a:gd name="T63" fmla="*/ 67 h 264"/>
                  <a:gd name="T64" fmla="*/ 124 w 161"/>
                  <a:gd name="T65" fmla="*/ 82 h 264"/>
                  <a:gd name="T66" fmla="*/ 139 w 161"/>
                  <a:gd name="T67" fmla="*/ 115 h 264"/>
                  <a:gd name="T68" fmla="*/ 60 w 161"/>
                  <a:gd name="T69" fmla="*/ 194 h 264"/>
                  <a:gd name="T70" fmla="*/ 47 w 161"/>
                  <a:gd name="T71" fmla="*/ 182 h 264"/>
                  <a:gd name="T72" fmla="*/ 132 w 161"/>
                  <a:gd name="T73" fmla="*/ 97 h 264"/>
                  <a:gd name="T74" fmla="*/ 139 w 161"/>
                  <a:gd name="T75" fmla="*/ 115 h 264"/>
                  <a:gd name="T76" fmla="*/ 144 w 161"/>
                  <a:gd name="T77" fmla="*/ 153 h 264"/>
                  <a:gd name="T78" fmla="*/ 144 w 161"/>
                  <a:gd name="T79" fmla="*/ 158 h 264"/>
                  <a:gd name="T80" fmla="*/ 84 w 161"/>
                  <a:gd name="T81" fmla="*/ 218 h 264"/>
                  <a:gd name="T82" fmla="*/ 71 w 161"/>
                  <a:gd name="T83" fmla="*/ 206 h 264"/>
                  <a:gd name="T84" fmla="*/ 143 w 161"/>
                  <a:gd name="T85" fmla="*/ 134 h 264"/>
                  <a:gd name="T86" fmla="*/ 144 w 161"/>
                  <a:gd name="T87" fmla="*/ 153 h 264"/>
                  <a:gd name="T88" fmla="*/ 40 w 161"/>
                  <a:gd name="T89" fmla="*/ 20 h 264"/>
                  <a:gd name="T90" fmla="*/ 16 w 161"/>
                  <a:gd name="T91" fmla="*/ 45 h 264"/>
                  <a:gd name="T92" fmla="*/ 16 w 161"/>
                  <a:gd name="T93" fmla="*/ 17 h 264"/>
                  <a:gd name="T94" fmla="*/ 40 w 161"/>
                  <a:gd name="T95" fmla="*/ 20 h 264"/>
                  <a:gd name="T96" fmla="*/ 110 w 161"/>
                  <a:gd name="T97" fmla="*/ 244 h 264"/>
                  <a:gd name="T98" fmla="*/ 95 w 161"/>
                  <a:gd name="T99" fmla="*/ 230 h 264"/>
                  <a:gd name="T100" fmla="*/ 141 w 161"/>
                  <a:gd name="T101" fmla="*/ 184 h 264"/>
                  <a:gd name="T102" fmla="*/ 110 w 161"/>
                  <a:gd name="T103" fmla="*/ 24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1" h="264">
                    <a:moveTo>
                      <a:pt x="58" y="9"/>
                    </a:moveTo>
                    <a:cubicBezTo>
                      <a:pt x="42" y="3"/>
                      <a:pt x="25" y="0"/>
                      <a:pt x="8" y="0"/>
                    </a:cubicBezTo>
                    <a:cubicBezTo>
                      <a:pt x="3" y="0"/>
                      <a:pt x="0" y="4"/>
                      <a:pt x="0" y="8"/>
                    </a:cubicBezTo>
                    <a:cubicBezTo>
                      <a:pt x="0" y="153"/>
                      <a:pt x="0" y="153"/>
                      <a:pt x="0" y="153"/>
                    </a:cubicBezTo>
                    <a:cubicBezTo>
                      <a:pt x="0" y="155"/>
                      <a:pt x="0" y="158"/>
                      <a:pt x="2" y="159"/>
                    </a:cubicBezTo>
                    <a:cubicBezTo>
                      <a:pt x="104" y="262"/>
                      <a:pt x="104" y="262"/>
                      <a:pt x="104" y="262"/>
                    </a:cubicBezTo>
                    <a:cubicBezTo>
                      <a:pt x="106" y="263"/>
                      <a:pt x="108" y="264"/>
                      <a:pt x="110" y="264"/>
                    </a:cubicBezTo>
                    <a:cubicBezTo>
                      <a:pt x="112" y="264"/>
                      <a:pt x="114" y="263"/>
                      <a:pt x="116" y="262"/>
                    </a:cubicBezTo>
                    <a:cubicBezTo>
                      <a:pt x="145" y="233"/>
                      <a:pt x="161" y="194"/>
                      <a:pt x="161" y="153"/>
                    </a:cubicBezTo>
                    <a:cubicBezTo>
                      <a:pt x="161" y="141"/>
                      <a:pt x="159" y="128"/>
                      <a:pt x="156" y="116"/>
                    </a:cubicBezTo>
                    <a:cubicBezTo>
                      <a:pt x="156" y="116"/>
                      <a:pt x="156" y="115"/>
                      <a:pt x="156" y="115"/>
                    </a:cubicBezTo>
                    <a:cubicBezTo>
                      <a:pt x="152" y="103"/>
                      <a:pt x="148" y="91"/>
                      <a:pt x="142" y="80"/>
                    </a:cubicBezTo>
                    <a:cubicBezTo>
                      <a:pt x="141" y="79"/>
                      <a:pt x="141" y="79"/>
                      <a:pt x="141" y="78"/>
                    </a:cubicBezTo>
                    <a:cubicBezTo>
                      <a:pt x="135" y="68"/>
                      <a:pt x="128" y="59"/>
                      <a:pt x="120" y="50"/>
                    </a:cubicBezTo>
                    <a:cubicBezTo>
                      <a:pt x="120" y="50"/>
                      <a:pt x="120" y="50"/>
                      <a:pt x="120" y="49"/>
                    </a:cubicBezTo>
                    <a:cubicBezTo>
                      <a:pt x="120" y="49"/>
                      <a:pt x="119" y="49"/>
                      <a:pt x="119" y="49"/>
                    </a:cubicBezTo>
                    <a:cubicBezTo>
                      <a:pt x="103" y="31"/>
                      <a:pt x="82" y="18"/>
                      <a:pt x="59" y="9"/>
                    </a:cubicBezTo>
                    <a:cubicBezTo>
                      <a:pt x="59" y="9"/>
                      <a:pt x="58" y="9"/>
                      <a:pt x="58" y="9"/>
                    </a:cubicBezTo>
                    <a:moveTo>
                      <a:pt x="75" y="34"/>
                    </a:moveTo>
                    <a:cubicBezTo>
                      <a:pt x="16" y="94"/>
                      <a:pt x="16" y="94"/>
                      <a:pt x="16" y="94"/>
                    </a:cubicBezTo>
                    <a:cubicBezTo>
                      <a:pt x="16" y="68"/>
                      <a:pt x="16" y="68"/>
                      <a:pt x="16" y="68"/>
                    </a:cubicBezTo>
                    <a:cubicBezTo>
                      <a:pt x="58" y="26"/>
                      <a:pt x="58" y="26"/>
                      <a:pt x="58" y="26"/>
                    </a:cubicBezTo>
                    <a:cubicBezTo>
                      <a:pt x="64" y="28"/>
                      <a:pt x="69" y="31"/>
                      <a:pt x="75" y="34"/>
                    </a:cubicBezTo>
                    <a:moveTo>
                      <a:pt x="103" y="55"/>
                    </a:moveTo>
                    <a:cubicBezTo>
                      <a:pt x="16" y="142"/>
                      <a:pt x="16" y="142"/>
                      <a:pt x="16" y="142"/>
                    </a:cubicBezTo>
                    <a:cubicBezTo>
                      <a:pt x="16" y="116"/>
                      <a:pt x="16" y="116"/>
                      <a:pt x="16" y="116"/>
                    </a:cubicBezTo>
                    <a:cubicBezTo>
                      <a:pt x="89" y="43"/>
                      <a:pt x="89" y="43"/>
                      <a:pt x="89" y="43"/>
                    </a:cubicBezTo>
                    <a:cubicBezTo>
                      <a:pt x="94" y="47"/>
                      <a:pt x="98" y="51"/>
                      <a:pt x="103" y="55"/>
                    </a:cubicBezTo>
                    <a:moveTo>
                      <a:pt x="124" y="82"/>
                    </a:moveTo>
                    <a:cubicBezTo>
                      <a:pt x="36" y="170"/>
                      <a:pt x="36" y="170"/>
                      <a:pt x="36" y="170"/>
                    </a:cubicBezTo>
                    <a:cubicBezTo>
                      <a:pt x="23" y="157"/>
                      <a:pt x="23" y="157"/>
                      <a:pt x="23" y="157"/>
                    </a:cubicBezTo>
                    <a:cubicBezTo>
                      <a:pt x="114" y="67"/>
                      <a:pt x="114" y="67"/>
                      <a:pt x="114" y="67"/>
                    </a:cubicBezTo>
                    <a:cubicBezTo>
                      <a:pt x="117" y="72"/>
                      <a:pt x="121" y="77"/>
                      <a:pt x="124" y="82"/>
                    </a:cubicBezTo>
                    <a:moveTo>
                      <a:pt x="139" y="115"/>
                    </a:moveTo>
                    <a:cubicBezTo>
                      <a:pt x="60" y="194"/>
                      <a:pt x="60" y="194"/>
                      <a:pt x="60" y="194"/>
                    </a:cubicBezTo>
                    <a:cubicBezTo>
                      <a:pt x="47" y="182"/>
                      <a:pt x="47" y="182"/>
                      <a:pt x="47" y="182"/>
                    </a:cubicBezTo>
                    <a:cubicBezTo>
                      <a:pt x="132" y="97"/>
                      <a:pt x="132" y="97"/>
                      <a:pt x="132" y="97"/>
                    </a:cubicBezTo>
                    <a:cubicBezTo>
                      <a:pt x="135" y="103"/>
                      <a:pt x="137" y="109"/>
                      <a:pt x="139" y="115"/>
                    </a:cubicBezTo>
                    <a:moveTo>
                      <a:pt x="144" y="153"/>
                    </a:moveTo>
                    <a:cubicBezTo>
                      <a:pt x="144" y="155"/>
                      <a:pt x="144" y="157"/>
                      <a:pt x="144" y="158"/>
                    </a:cubicBezTo>
                    <a:cubicBezTo>
                      <a:pt x="84" y="218"/>
                      <a:pt x="84" y="218"/>
                      <a:pt x="84" y="218"/>
                    </a:cubicBezTo>
                    <a:cubicBezTo>
                      <a:pt x="71" y="206"/>
                      <a:pt x="71" y="206"/>
                      <a:pt x="71" y="206"/>
                    </a:cubicBezTo>
                    <a:cubicBezTo>
                      <a:pt x="143" y="134"/>
                      <a:pt x="143" y="134"/>
                      <a:pt x="143" y="134"/>
                    </a:cubicBezTo>
                    <a:cubicBezTo>
                      <a:pt x="144" y="140"/>
                      <a:pt x="144" y="147"/>
                      <a:pt x="144" y="153"/>
                    </a:cubicBezTo>
                    <a:moveTo>
                      <a:pt x="40" y="20"/>
                    </a:moveTo>
                    <a:cubicBezTo>
                      <a:pt x="16" y="45"/>
                      <a:pt x="16" y="45"/>
                      <a:pt x="16" y="45"/>
                    </a:cubicBezTo>
                    <a:cubicBezTo>
                      <a:pt x="16" y="17"/>
                      <a:pt x="16" y="17"/>
                      <a:pt x="16" y="17"/>
                    </a:cubicBezTo>
                    <a:cubicBezTo>
                      <a:pt x="24" y="17"/>
                      <a:pt x="32" y="19"/>
                      <a:pt x="40" y="20"/>
                    </a:cubicBezTo>
                    <a:moveTo>
                      <a:pt x="110" y="244"/>
                    </a:moveTo>
                    <a:cubicBezTo>
                      <a:pt x="95" y="230"/>
                      <a:pt x="95" y="230"/>
                      <a:pt x="95" y="230"/>
                    </a:cubicBezTo>
                    <a:cubicBezTo>
                      <a:pt x="141" y="184"/>
                      <a:pt x="141" y="184"/>
                      <a:pt x="141" y="184"/>
                    </a:cubicBezTo>
                    <a:cubicBezTo>
                      <a:pt x="136" y="207"/>
                      <a:pt x="125" y="227"/>
                      <a:pt x="110" y="2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grpSp>
      </p:grpSp>
      <p:grpSp>
        <p:nvGrpSpPr>
          <p:cNvPr id="2070" name="Group 2069"/>
          <p:cNvGrpSpPr/>
          <p:nvPr/>
        </p:nvGrpSpPr>
        <p:grpSpPr>
          <a:xfrm>
            <a:off x="4627347" y="930384"/>
            <a:ext cx="1742171" cy="1043676"/>
            <a:chOff x="4591251" y="772338"/>
            <a:chExt cx="1742171" cy="1043676"/>
          </a:xfrm>
        </p:grpSpPr>
        <p:grpSp>
          <p:nvGrpSpPr>
            <p:cNvPr id="42" name="Group 41"/>
            <p:cNvGrpSpPr/>
            <p:nvPr/>
          </p:nvGrpSpPr>
          <p:grpSpPr>
            <a:xfrm>
              <a:off x="4591251" y="772338"/>
              <a:ext cx="1742171" cy="1043676"/>
              <a:chOff x="4591251" y="772338"/>
              <a:chExt cx="1742171" cy="1043676"/>
            </a:xfrm>
          </p:grpSpPr>
          <p:sp>
            <p:nvSpPr>
              <p:cNvPr id="10" name="Rectangle 9"/>
              <p:cNvSpPr/>
              <p:nvPr/>
            </p:nvSpPr>
            <p:spPr>
              <a:xfrm>
                <a:off x="4591251" y="772338"/>
                <a:ext cx="1742171" cy="1017961"/>
              </a:xfrm>
              <a:prstGeom prst="rect">
                <a:avLst/>
              </a:prstGeom>
              <a:gradFill>
                <a:gsLst>
                  <a:gs pos="0">
                    <a:srgbClr val="00197B"/>
                  </a:gs>
                  <a:gs pos="100000">
                    <a:srgbClr val="00197B">
                      <a:alpha val="0"/>
                    </a:srgbClr>
                  </a:gs>
                </a:gsLst>
                <a:lin ang="5400000" scaled="0"/>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lumMod val="50000"/>
                    </a:schemeClr>
                  </a:solidFill>
                </a:endParaRPr>
              </a:p>
            </p:txBody>
          </p:sp>
          <p:sp>
            <p:nvSpPr>
              <p:cNvPr id="34" name="Rectangle 33"/>
              <p:cNvSpPr/>
              <p:nvPr/>
            </p:nvSpPr>
            <p:spPr>
              <a:xfrm>
                <a:off x="4736818" y="1612881"/>
                <a:ext cx="1451039" cy="203133"/>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pPr algn="ctr"/>
                <a:r>
                  <a:rPr lang="en-US" sz="1200" dirty="0" smtClean="0">
                    <a:solidFill>
                      <a:schemeClr val="accent1">
                        <a:lumMod val="50000"/>
                      </a:schemeClr>
                    </a:solidFill>
                    <a:latin typeface="+mj-lt"/>
                  </a:rPr>
                  <a:t>Scale on Demand</a:t>
                </a:r>
                <a:endParaRPr lang="en-US" sz="1200" dirty="0">
                  <a:solidFill>
                    <a:schemeClr val="accent1">
                      <a:lumMod val="50000"/>
                    </a:schemeClr>
                  </a:solidFill>
                  <a:latin typeface="+mj-lt"/>
                </a:endParaRPr>
              </a:p>
            </p:txBody>
          </p:sp>
        </p:grpSp>
        <p:sp>
          <p:nvSpPr>
            <p:cNvPr id="56" name="Freeform 17"/>
            <p:cNvSpPr>
              <a:spLocks noEditPoints="1"/>
            </p:cNvSpPr>
            <p:nvPr/>
          </p:nvSpPr>
          <p:spPr bwMode="auto">
            <a:xfrm>
              <a:off x="5152866" y="917796"/>
              <a:ext cx="618941" cy="606341"/>
            </a:xfrm>
            <a:custGeom>
              <a:avLst/>
              <a:gdLst>
                <a:gd name="T0" fmla="*/ 487 w 520"/>
                <a:gd name="T1" fmla="*/ 506 h 509"/>
                <a:gd name="T2" fmla="*/ 491 w 520"/>
                <a:gd name="T3" fmla="*/ 490 h 509"/>
                <a:gd name="T4" fmla="*/ 104 w 520"/>
                <a:gd name="T5" fmla="*/ 494 h 509"/>
                <a:gd name="T6" fmla="*/ 92 w 520"/>
                <a:gd name="T7" fmla="*/ 506 h 509"/>
                <a:gd name="T8" fmla="*/ 72 w 520"/>
                <a:gd name="T9" fmla="*/ 481 h 509"/>
                <a:gd name="T10" fmla="*/ 75 w 520"/>
                <a:gd name="T11" fmla="*/ 474 h 509"/>
                <a:gd name="T12" fmla="*/ 105 w 520"/>
                <a:gd name="T13" fmla="*/ 457 h 509"/>
                <a:gd name="T14" fmla="*/ 101 w 520"/>
                <a:gd name="T15" fmla="*/ 473 h 509"/>
                <a:gd name="T16" fmla="*/ 488 w 520"/>
                <a:gd name="T17" fmla="*/ 469 h 509"/>
                <a:gd name="T18" fmla="*/ 500 w 520"/>
                <a:gd name="T19" fmla="*/ 457 h 509"/>
                <a:gd name="T20" fmla="*/ 520 w 520"/>
                <a:gd name="T21" fmla="*/ 481 h 509"/>
                <a:gd name="T22" fmla="*/ 517 w 520"/>
                <a:gd name="T23" fmla="*/ 488 h 509"/>
                <a:gd name="T24" fmla="*/ 493 w 520"/>
                <a:gd name="T25" fmla="*/ 508 h 509"/>
                <a:gd name="T26" fmla="*/ 21 w 520"/>
                <a:gd name="T27" fmla="*/ 445 h 509"/>
                <a:gd name="T28" fmla="*/ 3 w 520"/>
                <a:gd name="T29" fmla="*/ 416 h 509"/>
                <a:gd name="T30" fmla="*/ 19 w 520"/>
                <a:gd name="T31" fmla="*/ 419 h 509"/>
                <a:gd name="T32" fmla="*/ 16 w 520"/>
                <a:gd name="T33" fmla="*/ 33 h 509"/>
                <a:gd name="T34" fmla="*/ 3 w 520"/>
                <a:gd name="T35" fmla="*/ 20 h 509"/>
                <a:gd name="T36" fmla="*/ 28 w 520"/>
                <a:gd name="T37" fmla="*/ 0 h 509"/>
                <a:gd name="T38" fmla="*/ 52 w 520"/>
                <a:gd name="T39" fmla="*/ 21 h 509"/>
                <a:gd name="T40" fmla="*/ 40 w 520"/>
                <a:gd name="T41" fmla="*/ 33 h 509"/>
                <a:gd name="T42" fmla="*/ 36 w 520"/>
                <a:gd name="T43" fmla="*/ 420 h 509"/>
                <a:gd name="T44" fmla="*/ 52 w 520"/>
                <a:gd name="T45" fmla="*/ 416 h 509"/>
                <a:gd name="T46" fmla="*/ 34 w 520"/>
                <a:gd name="T47" fmla="*/ 446 h 509"/>
                <a:gd name="T48" fmla="*/ 512 w 520"/>
                <a:gd name="T49" fmla="*/ 425 h 509"/>
                <a:gd name="T50" fmla="*/ 90 w 520"/>
                <a:gd name="T51" fmla="*/ 416 h 509"/>
                <a:gd name="T52" fmla="*/ 99 w 520"/>
                <a:gd name="T53" fmla="*/ 0 h 509"/>
                <a:gd name="T54" fmla="*/ 354 w 520"/>
                <a:gd name="T55" fmla="*/ 8 h 509"/>
                <a:gd name="T56" fmla="*/ 512 w 520"/>
                <a:gd name="T57" fmla="*/ 174 h 509"/>
                <a:gd name="T58" fmla="*/ 520 w 520"/>
                <a:gd name="T59" fmla="*/ 416 h 509"/>
                <a:gd name="T60" fmla="*/ 354 w 520"/>
                <a:gd name="T61" fmla="*/ 407 h 509"/>
                <a:gd name="T62" fmla="*/ 503 w 520"/>
                <a:gd name="T63" fmla="*/ 191 h 509"/>
                <a:gd name="T64" fmla="*/ 354 w 520"/>
                <a:gd name="T65" fmla="*/ 407 h 509"/>
                <a:gd name="T66" fmla="*/ 337 w 520"/>
                <a:gd name="T67" fmla="*/ 407 h 509"/>
                <a:gd name="T68" fmla="*/ 190 w 520"/>
                <a:gd name="T69" fmla="*/ 293 h 509"/>
                <a:gd name="T70" fmla="*/ 107 w 520"/>
                <a:gd name="T71" fmla="*/ 407 h 509"/>
                <a:gd name="T72" fmla="*/ 173 w 520"/>
                <a:gd name="T73" fmla="*/ 293 h 509"/>
                <a:gd name="T74" fmla="*/ 107 w 520"/>
                <a:gd name="T75" fmla="*/ 407 h 509"/>
                <a:gd name="T76" fmla="*/ 337 w 520"/>
                <a:gd name="T77" fmla="*/ 276 h 509"/>
                <a:gd name="T78" fmla="*/ 337 w 520"/>
                <a:gd name="T79" fmla="*/ 180 h 509"/>
                <a:gd name="T80" fmla="*/ 107 w 520"/>
                <a:gd name="T81" fmla="*/ 91 h 509"/>
                <a:gd name="T82" fmla="*/ 181 w 520"/>
                <a:gd name="T83" fmla="*/ 276 h 509"/>
                <a:gd name="T84" fmla="*/ 337 w 520"/>
                <a:gd name="T85" fmla="*/ 74 h 509"/>
                <a:gd name="T86" fmla="*/ 231 w 520"/>
                <a:gd name="T87" fmla="*/ 17 h 509"/>
                <a:gd name="T88" fmla="*/ 107 w 520"/>
                <a:gd name="T89" fmla="*/ 74 h 509"/>
                <a:gd name="T90" fmla="*/ 213 w 520"/>
                <a:gd name="T91" fmla="*/ 17 h 509"/>
                <a:gd name="T92" fmla="*/ 107 w 520"/>
                <a:gd name="T93" fmla="*/ 74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0" h="509">
                  <a:moveTo>
                    <a:pt x="493" y="508"/>
                  </a:moveTo>
                  <a:cubicBezTo>
                    <a:pt x="491" y="508"/>
                    <a:pt x="489" y="507"/>
                    <a:pt x="487" y="506"/>
                  </a:cubicBezTo>
                  <a:cubicBezTo>
                    <a:pt x="484" y="502"/>
                    <a:pt x="484" y="497"/>
                    <a:pt x="487" y="494"/>
                  </a:cubicBezTo>
                  <a:cubicBezTo>
                    <a:pt x="491" y="490"/>
                    <a:pt x="491" y="490"/>
                    <a:pt x="491" y="490"/>
                  </a:cubicBezTo>
                  <a:cubicBezTo>
                    <a:pt x="101" y="490"/>
                    <a:pt x="101" y="490"/>
                    <a:pt x="101" y="490"/>
                  </a:cubicBezTo>
                  <a:cubicBezTo>
                    <a:pt x="104" y="494"/>
                    <a:pt x="104" y="494"/>
                    <a:pt x="104" y="494"/>
                  </a:cubicBezTo>
                  <a:cubicBezTo>
                    <a:pt x="108" y="497"/>
                    <a:pt x="108" y="502"/>
                    <a:pt x="104" y="506"/>
                  </a:cubicBezTo>
                  <a:cubicBezTo>
                    <a:pt x="101" y="509"/>
                    <a:pt x="96" y="509"/>
                    <a:pt x="92" y="506"/>
                  </a:cubicBezTo>
                  <a:cubicBezTo>
                    <a:pt x="74" y="487"/>
                    <a:pt x="74" y="487"/>
                    <a:pt x="74" y="487"/>
                  </a:cubicBezTo>
                  <a:cubicBezTo>
                    <a:pt x="72" y="486"/>
                    <a:pt x="72" y="484"/>
                    <a:pt x="72" y="481"/>
                  </a:cubicBezTo>
                  <a:cubicBezTo>
                    <a:pt x="72" y="481"/>
                    <a:pt x="72" y="481"/>
                    <a:pt x="72" y="481"/>
                  </a:cubicBezTo>
                  <a:cubicBezTo>
                    <a:pt x="72" y="478"/>
                    <a:pt x="73" y="476"/>
                    <a:pt x="75" y="474"/>
                  </a:cubicBezTo>
                  <a:cubicBezTo>
                    <a:pt x="93" y="457"/>
                    <a:pt x="93" y="457"/>
                    <a:pt x="93" y="457"/>
                  </a:cubicBezTo>
                  <a:cubicBezTo>
                    <a:pt x="96" y="453"/>
                    <a:pt x="101" y="453"/>
                    <a:pt x="105" y="457"/>
                  </a:cubicBezTo>
                  <a:cubicBezTo>
                    <a:pt x="108" y="460"/>
                    <a:pt x="108" y="466"/>
                    <a:pt x="105" y="469"/>
                  </a:cubicBezTo>
                  <a:cubicBezTo>
                    <a:pt x="101" y="473"/>
                    <a:pt x="101" y="473"/>
                    <a:pt x="101" y="473"/>
                  </a:cubicBezTo>
                  <a:cubicBezTo>
                    <a:pt x="491" y="473"/>
                    <a:pt x="491" y="473"/>
                    <a:pt x="491" y="473"/>
                  </a:cubicBezTo>
                  <a:cubicBezTo>
                    <a:pt x="488" y="469"/>
                    <a:pt x="488" y="469"/>
                    <a:pt x="488" y="469"/>
                  </a:cubicBezTo>
                  <a:cubicBezTo>
                    <a:pt x="484" y="466"/>
                    <a:pt x="484" y="460"/>
                    <a:pt x="488" y="457"/>
                  </a:cubicBezTo>
                  <a:cubicBezTo>
                    <a:pt x="491" y="453"/>
                    <a:pt x="496" y="453"/>
                    <a:pt x="500" y="457"/>
                  </a:cubicBezTo>
                  <a:cubicBezTo>
                    <a:pt x="518" y="475"/>
                    <a:pt x="518" y="475"/>
                    <a:pt x="518" y="475"/>
                  </a:cubicBezTo>
                  <a:cubicBezTo>
                    <a:pt x="520" y="477"/>
                    <a:pt x="520" y="479"/>
                    <a:pt x="520" y="481"/>
                  </a:cubicBezTo>
                  <a:cubicBezTo>
                    <a:pt x="520" y="481"/>
                    <a:pt x="520" y="481"/>
                    <a:pt x="520" y="481"/>
                  </a:cubicBezTo>
                  <a:cubicBezTo>
                    <a:pt x="520" y="484"/>
                    <a:pt x="519" y="487"/>
                    <a:pt x="517" y="488"/>
                  </a:cubicBezTo>
                  <a:cubicBezTo>
                    <a:pt x="499" y="506"/>
                    <a:pt x="499" y="506"/>
                    <a:pt x="499" y="506"/>
                  </a:cubicBezTo>
                  <a:cubicBezTo>
                    <a:pt x="498" y="507"/>
                    <a:pt x="495" y="508"/>
                    <a:pt x="493" y="508"/>
                  </a:cubicBezTo>
                  <a:moveTo>
                    <a:pt x="28" y="449"/>
                  </a:moveTo>
                  <a:cubicBezTo>
                    <a:pt x="25" y="449"/>
                    <a:pt x="22" y="447"/>
                    <a:pt x="21" y="445"/>
                  </a:cubicBezTo>
                  <a:cubicBezTo>
                    <a:pt x="3" y="428"/>
                    <a:pt x="3" y="428"/>
                    <a:pt x="3" y="428"/>
                  </a:cubicBezTo>
                  <a:cubicBezTo>
                    <a:pt x="0" y="424"/>
                    <a:pt x="0" y="419"/>
                    <a:pt x="3" y="416"/>
                  </a:cubicBezTo>
                  <a:cubicBezTo>
                    <a:pt x="7" y="412"/>
                    <a:pt x="12" y="412"/>
                    <a:pt x="16" y="416"/>
                  </a:cubicBezTo>
                  <a:cubicBezTo>
                    <a:pt x="19" y="419"/>
                    <a:pt x="19" y="419"/>
                    <a:pt x="19" y="419"/>
                  </a:cubicBezTo>
                  <a:cubicBezTo>
                    <a:pt x="19" y="29"/>
                    <a:pt x="19" y="29"/>
                    <a:pt x="19" y="29"/>
                  </a:cubicBezTo>
                  <a:cubicBezTo>
                    <a:pt x="16" y="33"/>
                    <a:pt x="16" y="33"/>
                    <a:pt x="16" y="33"/>
                  </a:cubicBezTo>
                  <a:cubicBezTo>
                    <a:pt x="12" y="36"/>
                    <a:pt x="7" y="36"/>
                    <a:pt x="3" y="33"/>
                  </a:cubicBezTo>
                  <a:cubicBezTo>
                    <a:pt x="0" y="29"/>
                    <a:pt x="0" y="24"/>
                    <a:pt x="3" y="20"/>
                  </a:cubicBezTo>
                  <a:cubicBezTo>
                    <a:pt x="22" y="2"/>
                    <a:pt x="22" y="2"/>
                    <a:pt x="22" y="2"/>
                  </a:cubicBezTo>
                  <a:cubicBezTo>
                    <a:pt x="23" y="1"/>
                    <a:pt x="25" y="0"/>
                    <a:pt x="28" y="0"/>
                  </a:cubicBezTo>
                  <a:cubicBezTo>
                    <a:pt x="31" y="0"/>
                    <a:pt x="33" y="1"/>
                    <a:pt x="35" y="4"/>
                  </a:cubicBezTo>
                  <a:cubicBezTo>
                    <a:pt x="52" y="21"/>
                    <a:pt x="52" y="21"/>
                    <a:pt x="52" y="21"/>
                  </a:cubicBezTo>
                  <a:cubicBezTo>
                    <a:pt x="56" y="24"/>
                    <a:pt x="56" y="30"/>
                    <a:pt x="52" y="33"/>
                  </a:cubicBezTo>
                  <a:cubicBezTo>
                    <a:pt x="49" y="36"/>
                    <a:pt x="44" y="36"/>
                    <a:pt x="40" y="33"/>
                  </a:cubicBezTo>
                  <a:cubicBezTo>
                    <a:pt x="36" y="29"/>
                    <a:pt x="36" y="29"/>
                    <a:pt x="36" y="29"/>
                  </a:cubicBezTo>
                  <a:cubicBezTo>
                    <a:pt x="36" y="420"/>
                    <a:pt x="36" y="420"/>
                    <a:pt x="36" y="420"/>
                  </a:cubicBezTo>
                  <a:cubicBezTo>
                    <a:pt x="40" y="416"/>
                    <a:pt x="40" y="416"/>
                    <a:pt x="40" y="416"/>
                  </a:cubicBezTo>
                  <a:cubicBezTo>
                    <a:pt x="44" y="413"/>
                    <a:pt x="49" y="413"/>
                    <a:pt x="52" y="416"/>
                  </a:cubicBezTo>
                  <a:cubicBezTo>
                    <a:pt x="56" y="419"/>
                    <a:pt x="56" y="425"/>
                    <a:pt x="52" y="428"/>
                  </a:cubicBezTo>
                  <a:cubicBezTo>
                    <a:pt x="34" y="446"/>
                    <a:pt x="34" y="446"/>
                    <a:pt x="34" y="446"/>
                  </a:cubicBezTo>
                  <a:cubicBezTo>
                    <a:pt x="32" y="448"/>
                    <a:pt x="30" y="449"/>
                    <a:pt x="28" y="449"/>
                  </a:cubicBezTo>
                  <a:close/>
                  <a:moveTo>
                    <a:pt x="512" y="425"/>
                  </a:moveTo>
                  <a:cubicBezTo>
                    <a:pt x="99" y="425"/>
                    <a:pt x="99" y="425"/>
                    <a:pt x="99" y="425"/>
                  </a:cubicBezTo>
                  <a:cubicBezTo>
                    <a:pt x="94" y="425"/>
                    <a:pt x="90" y="421"/>
                    <a:pt x="90" y="416"/>
                  </a:cubicBezTo>
                  <a:cubicBezTo>
                    <a:pt x="90" y="8"/>
                    <a:pt x="90" y="8"/>
                    <a:pt x="90" y="8"/>
                  </a:cubicBezTo>
                  <a:cubicBezTo>
                    <a:pt x="90" y="4"/>
                    <a:pt x="94" y="0"/>
                    <a:pt x="99" y="0"/>
                  </a:cubicBezTo>
                  <a:cubicBezTo>
                    <a:pt x="346" y="0"/>
                    <a:pt x="346" y="0"/>
                    <a:pt x="346" y="0"/>
                  </a:cubicBezTo>
                  <a:cubicBezTo>
                    <a:pt x="350" y="0"/>
                    <a:pt x="354" y="4"/>
                    <a:pt x="354" y="8"/>
                  </a:cubicBezTo>
                  <a:cubicBezTo>
                    <a:pt x="354" y="174"/>
                    <a:pt x="354" y="174"/>
                    <a:pt x="354" y="174"/>
                  </a:cubicBezTo>
                  <a:cubicBezTo>
                    <a:pt x="512" y="174"/>
                    <a:pt x="512" y="174"/>
                    <a:pt x="512" y="174"/>
                  </a:cubicBezTo>
                  <a:cubicBezTo>
                    <a:pt x="517" y="174"/>
                    <a:pt x="520" y="178"/>
                    <a:pt x="520" y="183"/>
                  </a:cubicBezTo>
                  <a:cubicBezTo>
                    <a:pt x="520" y="416"/>
                    <a:pt x="520" y="416"/>
                    <a:pt x="520" y="416"/>
                  </a:cubicBezTo>
                  <a:cubicBezTo>
                    <a:pt x="520" y="421"/>
                    <a:pt x="517" y="425"/>
                    <a:pt x="512" y="425"/>
                  </a:cubicBezTo>
                  <a:moveTo>
                    <a:pt x="354" y="407"/>
                  </a:moveTo>
                  <a:cubicBezTo>
                    <a:pt x="503" y="407"/>
                    <a:pt x="503" y="407"/>
                    <a:pt x="503" y="407"/>
                  </a:cubicBezTo>
                  <a:cubicBezTo>
                    <a:pt x="503" y="191"/>
                    <a:pt x="503" y="191"/>
                    <a:pt x="503" y="191"/>
                  </a:cubicBezTo>
                  <a:cubicBezTo>
                    <a:pt x="354" y="191"/>
                    <a:pt x="354" y="191"/>
                    <a:pt x="354" y="191"/>
                  </a:cubicBezTo>
                  <a:lnTo>
                    <a:pt x="354" y="407"/>
                  </a:lnTo>
                  <a:close/>
                  <a:moveTo>
                    <a:pt x="190" y="407"/>
                  </a:moveTo>
                  <a:cubicBezTo>
                    <a:pt x="337" y="407"/>
                    <a:pt x="337" y="407"/>
                    <a:pt x="337" y="407"/>
                  </a:cubicBezTo>
                  <a:cubicBezTo>
                    <a:pt x="337" y="293"/>
                    <a:pt x="337" y="293"/>
                    <a:pt x="337" y="293"/>
                  </a:cubicBezTo>
                  <a:cubicBezTo>
                    <a:pt x="190" y="293"/>
                    <a:pt x="190" y="293"/>
                    <a:pt x="190" y="293"/>
                  </a:cubicBezTo>
                  <a:lnTo>
                    <a:pt x="190" y="407"/>
                  </a:lnTo>
                  <a:close/>
                  <a:moveTo>
                    <a:pt x="107" y="407"/>
                  </a:moveTo>
                  <a:cubicBezTo>
                    <a:pt x="173" y="407"/>
                    <a:pt x="173" y="407"/>
                    <a:pt x="173" y="407"/>
                  </a:cubicBezTo>
                  <a:cubicBezTo>
                    <a:pt x="173" y="293"/>
                    <a:pt x="173" y="293"/>
                    <a:pt x="173" y="293"/>
                  </a:cubicBezTo>
                  <a:cubicBezTo>
                    <a:pt x="107" y="293"/>
                    <a:pt x="107" y="293"/>
                    <a:pt x="107" y="293"/>
                  </a:cubicBezTo>
                  <a:lnTo>
                    <a:pt x="107" y="407"/>
                  </a:lnTo>
                  <a:close/>
                  <a:moveTo>
                    <a:pt x="181" y="276"/>
                  </a:moveTo>
                  <a:cubicBezTo>
                    <a:pt x="337" y="276"/>
                    <a:pt x="337" y="276"/>
                    <a:pt x="337" y="276"/>
                  </a:cubicBezTo>
                  <a:cubicBezTo>
                    <a:pt x="337" y="183"/>
                    <a:pt x="337" y="183"/>
                    <a:pt x="337" y="183"/>
                  </a:cubicBezTo>
                  <a:cubicBezTo>
                    <a:pt x="337" y="182"/>
                    <a:pt x="337" y="181"/>
                    <a:pt x="337" y="180"/>
                  </a:cubicBezTo>
                  <a:cubicBezTo>
                    <a:pt x="337" y="91"/>
                    <a:pt x="337" y="91"/>
                    <a:pt x="337" y="91"/>
                  </a:cubicBezTo>
                  <a:cubicBezTo>
                    <a:pt x="107" y="91"/>
                    <a:pt x="107" y="91"/>
                    <a:pt x="107" y="91"/>
                  </a:cubicBezTo>
                  <a:cubicBezTo>
                    <a:pt x="107" y="276"/>
                    <a:pt x="107" y="276"/>
                    <a:pt x="107" y="276"/>
                  </a:cubicBezTo>
                  <a:lnTo>
                    <a:pt x="181" y="276"/>
                  </a:lnTo>
                  <a:close/>
                  <a:moveTo>
                    <a:pt x="231" y="74"/>
                  </a:moveTo>
                  <a:cubicBezTo>
                    <a:pt x="337" y="74"/>
                    <a:pt x="337" y="74"/>
                    <a:pt x="337" y="74"/>
                  </a:cubicBezTo>
                  <a:cubicBezTo>
                    <a:pt x="337" y="17"/>
                    <a:pt x="337" y="17"/>
                    <a:pt x="337" y="17"/>
                  </a:cubicBezTo>
                  <a:cubicBezTo>
                    <a:pt x="231" y="17"/>
                    <a:pt x="231" y="17"/>
                    <a:pt x="231" y="17"/>
                  </a:cubicBezTo>
                  <a:lnTo>
                    <a:pt x="231" y="74"/>
                  </a:lnTo>
                  <a:close/>
                  <a:moveTo>
                    <a:pt x="107" y="74"/>
                  </a:moveTo>
                  <a:cubicBezTo>
                    <a:pt x="213" y="74"/>
                    <a:pt x="213" y="74"/>
                    <a:pt x="213" y="74"/>
                  </a:cubicBezTo>
                  <a:cubicBezTo>
                    <a:pt x="213" y="17"/>
                    <a:pt x="213" y="17"/>
                    <a:pt x="213" y="17"/>
                  </a:cubicBezTo>
                  <a:cubicBezTo>
                    <a:pt x="107" y="17"/>
                    <a:pt x="107" y="17"/>
                    <a:pt x="107" y="17"/>
                  </a:cubicBezTo>
                  <a:lnTo>
                    <a:pt x="107"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grpSp>
      <p:grpSp>
        <p:nvGrpSpPr>
          <p:cNvPr id="2067" name="Group 2066"/>
          <p:cNvGrpSpPr/>
          <p:nvPr/>
        </p:nvGrpSpPr>
        <p:grpSpPr>
          <a:xfrm>
            <a:off x="3700915" y="2023622"/>
            <a:ext cx="1742171" cy="1059007"/>
            <a:chOff x="3676851" y="2023622"/>
            <a:chExt cx="1742171" cy="1059007"/>
          </a:xfrm>
        </p:grpSpPr>
        <p:grpSp>
          <p:nvGrpSpPr>
            <p:cNvPr id="39" name="Group 38"/>
            <p:cNvGrpSpPr/>
            <p:nvPr/>
          </p:nvGrpSpPr>
          <p:grpSpPr>
            <a:xfrm>
              <a:off x="3676851" y="2023622"/>
              <a:ext cx="1742171" cy="1059007"/>
              <a:chOff x="3676851" y="2023622"/>
              <a:chExt cx="1742171" cy="1059007"/>
            </a:xfrm>
          </p:grpSpPr>
          <p:sp>
            <p:nvSpPr>
              <p:cNvPr id="12" name="Rectangle 11"/>
              <p:cNvSpPr/>
              <p:nvPr/>
            </p:nvSpPr>
            <p:spPr>
              <a:xfrm>
                <a:off x="3676851" y="2023622"/>
                <a:ext cx="1742171" cy="1017961"/>
              </a:xfrm>
              <a:prstGeom prst="rect">
                <a:avLst/>
              </a:prstGeom>
              <a:gradFill>
                <a:gsLst>
                  <a:gs pos="0">
                    <a:srgbClr val="00197B"/>
                  </a:gs>
                  <a:gs pos="100000">
                    <a:srgbClr val="00197B">
                      <a:alpha val="0"/>
                    </a:srgbClr>
                  </a:gs>
                </a:gsLst>
                <a:lin ang="5400000" scaled="0"/>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lumMod val="50000"/>
                    </a:schemeClr>
                  </a:solidFill>
                </a:endParaRPr>
              </a:p>
            </p:txBody>
          </p:sp>
          <p:sp>
            <p:nvSpPr>
              <p:cNvPr id="36" name="Rectangle 35"/>
              <p:cNvSpPr/>
              <p:nvPr/>
            </p:nvSpPr>
            <p:spPr>
              <a:xfrm>
                <a:off x="3840045" y="2694831"/>
                <a:ext cx="1396536" cy="387798"/>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pPr algn="ctr"/>
                <a:r>
                  <a:rPr lang="en-US" sz="1200" dirty="0">
                    <a:solidFill>
                      <a:schemeClr val="accent1">
                        <a:lumMod val="50000"/>
                      </a:schemeClr>
                    </a:solidFill>
                    <a:latin typeface="+mj-lt"/>
                  </a:rPr>
                  <a:t>Amplify Customer</a:t>
                </a:r>
              </a:p>
              <a:p>
                <a:pPr algn="ctr"/>
                <a:r>
                  <a:rPr lang="en-US" sz="1200" dirty="0">
                    <a:solidFill>
                      <a:schemeClr val="accent1">
                        <a:lumMod val="50000"/>
                      </a:schemeClr>
                    </a:solidFill>
                    <a:latin typeface="+mj-lt"/>
                  </a:rPr>
                  <a:t>Experience</a:t>
                </a:r>
              </a:p>
            </p:txBody>
          </p:sp>
        </p:grpSp>
        <p:grpSp>
          <p:nvGrpSpPr>
            <p:cNvPr id="2063" name="Group 2062"/>
            <p:cNvGrpSpPr/>
            <p:nvPr/>
          </p:nvGrpSpPr>
          <p:grpSpPr>
            <a:xfrm>
              <a:off x="4272235" y="2095700"/>
              <a:ext cx="551402" cy="550898"/>
              <a:chOff x="4270594" y="2095700"/>
              <a:chExt cx="551402" cy="550898"/>
            </a:xfrm>
          </p:grpSpPr>
          <p:sp>
            <p:nvSpPr>
              <p:cNvPr id="46" name="Freeform 7"/>
              <p:cNvSpPr>
                <a:spLocks noEditPoints="1"/>
              </p:cNvSpPr>
              <p:nvPr/>
            </p:nvSpPr>
            <p:spPr bwMode="auto">
              <a:xfrm>
                <a:off x="4460107" y="2095700"/>
                <a:ext cx="172880" cy="172376"/>
              </a:xfrm>
              <a:custGeom>
                <a:avLst/>
                <a:gdLst>
                  <a:gd name="T0" fmla="*/ 72 w 145"/>
                  <a:gd name="T1" fmla="*/ 145 h 145"/>
                  <a:gd name="T2" fmla="*/ 145 w 145"/>
                  <a:gd name="T3" fmla="*/ 73 h 145"/>
                  <a:gd name="T4" fmla="*/ 72 w 145"/>
                  <a:gd name="T5" fmla="*/ 0 h 145"/>
                  <a:gd name="T6" fmla="*/ 0 w 145"/>
                  <a:gd name="T7" fmla="*/ 73 h 145"/>
                  <a:gd name="T8" fmla="*/ 72 w 145"/>
                  <a:gd name="T9" fmla="*/ 145 h 145"/>
                  <a:gd name="T10" fmla="*/ 72 w 145"/>
                  <a:gd name="T11" fmla="*/ 14 h 145"/>
                  <a:gd name="T12" fmla="*/ 130 w 145"/>
                  <a:gd name="T13" fmla="*/ 73 h 145"/>
                  <a:gd name="T14" fmla="*/ 72 w 145"/>
                  <a:gd name="T15" fmla="*/ 131 h 145"/>
                  <a:gd name="T16" fmla="*/ 14 w 145"/>
                  <a:gd name="T17" fmla="*/ 73 h 145"/>
                  <a:gd name="T18" fmla="*/ 72 w 145"/>
                  <a:gd name="T19" fmla="*/ 1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 h="145">
                    <a:moveTo>
                      <a:pt x="72" y="145"/>
                    </a:moveTo>
                    <a:cubicBezTo>
                      <a:pt x="113" y="145"/>
                      <a:pt x="145" y="113"/>
                      <a:pt x="145" y="73"/>
                    </a:cubicBezTo>
                    <a:cubicBezTo>
                      <a:pt x="145" y="32"/>
                      <a:pt x="113" y="0"/>
                      <a:pt x="72" y="0"/>
                    </a:cubicBezTo>
                    <a:cubicBezTo>
                      <a:pt x="32" y="0"/>
                      <a:pt x="0" y="32"/>
                      <a:pt x="0" y="73"/>
                    </a:cubicBezTo>
                    <a:cubicBezTo>
                      <a:pt x="0" y="113"/>
                      <a:pt x="32" y="145"/>
                      <a:pt x="72" y="145"/>
                    </a:cubicBezTo>
                    <a:moveTo>
                      <a:pt x="72" y="14"/>
                    </a:moveTo>
                    <a:cubicBezTo>
                      <a:pt x="104" y="14"/>
                      <a:pt x="130" y="41"/>
                      <a:pt x="130" y="73"/>
                    </a:cubicBezTo>
                    <a:cubicBezTo>
                      <a:pt x="130" y="105"/>
                      <a:pt x="104" y="131"/>
                      <a:pt x="72" y="131"/>
                    </a:cubicBezTo>
                    <a:cubicBezTo>
                      <a:pt x="40" y="131"/>
                      <a:pt x="14" y="105"/>
                      <a:pt x="14" y="73"/>
                    </a:cubicBezTo>
                    <a:cubicBezTo>
                      <a:pt x="14" y="41"/>
                      <a:pt x="40" y="14"/>
                      <a:pt x="72"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47" name="Freeform 8"/>
              <p:cNvSpPr>
                <a:spLocks/>
              </p:cNvSpPr>
              <p:nvPr/>
            </p:nvSpPr>
            <p:spPr bwMode="auto">
              <a:xfrm>
                <a:off x="4395592" y="2286221"/>
                <a:ext cx="300398" cy="158263"/>
              </a:xfrm>
              <a:custGeom>
                <a:avLst/>
                <a:gdLst>
                  <a:gd name="T0" fmla="*/ 126 w 252"/>
                  <a:gd name="T1" fmla="*/ 15 h 133"/>
                  <a:gd name="T2" fmla="*/ 237 w 252"/>
                  <a:gd name="T3" fmla="*/ 119 h 133"/>
                  <a:gd name="T4" fmla="*/ 67 w 252"/>
                  <a:gd name="T5" fmla="*/ 119 h 133"/>
                  <a:gd name="T6" fmla="*/ 59 w 252"/>
                  <a:gd name="T7" fmla="*/ 126 h 133"/>
                  <a:gd name="T8" fmla="*/ 67 w 252"/>
                  <a:gd name="T9" fmla="*/ 133 h 133"/>
                  <a:gd name="T10" fmla="*/ 245 w 252"/>
                  <a:gd name="T11" fmla="*/ 133 h 133"/>
                  <a:gd name="T12" fmla="*/ 252 w 252"/>
                  <a:gd name="T13" fmla="*/ 126 h 133"/>
                  <a:gd name="T14" fmla="*/ 126 w 252"/>
                  <a:gd name="T15" fmla="*/ 0 h 133"/>
                  <a:gd name="T16" fmla="*/ 0 w 252"/>
                  <a:gd name="T17" fmla="*/ 126 h 133"/>
                  <a:gd name="T18" fmla="*/ 8 w 252"/>
                  <a:gd name="T19" fmla="*/ 133 h 133"/>
                  <a:gd name="T20" fmla="*/ 37 w 252"/>
                  <a:gd name="T21" fmla="*/ 133 h 133"/>
                  <a:gd name="T22" fmla="*/ 45 w 252"/>
                  <a:gd name="T23" fmla="*/ 126 h 133"/>
                  <a:gd name="T24" fmla="*/ 37 w 252"/>
                  <a:gd name="T25" fmla="*/ 119 h 133"/>
                  <a:gd name="T26" fmla="*/ 15 w 252"/>
                  <a:gd name="T27" fmla="*/ 119 h 133"/>
                  <a:gd name="T28" fmla="*/ 126 w 252"/>
                  <a:gd name="T29" fmla="*/ 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133">
                    <a:moveTo>
                      <a:pt x="126" y="15"/>
                    </a:moveTo>
                    <a:cubicBezTo>
                      <a:pt x="185" y="15"/>
                      <a:pt x="234" y="61"/>
                      <a:pt x="237" y="119"/>
                    </a:cubicBezTo>
                    <a:cubicBezTo>
                      <a:pt x="67" y="119"/>
                      <a:pt x="67" y="119"/>
                      <a:pt x="67" y="119"/>
                    </a:cubicBezTo>
                    <a:cubicBezTo>
                      <a:pt x="63" y="119"/>
                      <a:pt x="59" y="122"/>
                      <a:pt x="59" y="126"/>
                    </a:cubicBezTo>
                    <a:cubicBezTo>
                      <a:pt x="59" y="130"/>
                      <a:pt x="63" y="133"/>
                      <a:pt x="67" y="133"/>
                    </a:cubicBezTo>
                    <a:cubicBezTo>
                      <a:pt x="245" y="133"/>
                      <a:pt x="245" y="133"/>
                      <a:pt x="245" y="133"/>
                    </a:cubicBezTo>
                    <a:cubicBezTo>
                      <a:pt x="249" y="133"/>
                      <a:pt x="252" y="130"/>
                      <a:pt x="252" y="126"/>
                    </a:cubicBezTo>
                    <a:cubicBezTo>
                      <a:pt x="252" y="57"/>
                      <a:pt x="196" y="0"/>
                      <a:pt x="126" y="0"/>
                    </a:cubicBezTo>
                    <a:cubicBezTo>
                      <a:pt x="57" y="0"/>
                      <a:pt x="0" y="57"/>
                      <a:pt x="0" y="126"/>
                    </a:cubicBezTo>
                    <a:cubicBezTo>
                      <a:pt x="0" y="130"/>
                      <a:pt x="4" y="133"/>
                      <a:pt x="8" y="133"/>
                    </a:cubicBezTo>
                    <a:cubicBezTo>
                      <a:pt x="37" y="133"/>
                      <a:pt x="37" y="133"/>
                      <a:pt x="37" y="133"/>
                    </a:cubicBezTo>
                    <a:cubicBezTo>
                      <a:pt x="41" y="133"/>
                      <a:pt x="45" y="130"/>
                      <a:pt x="45" y="126"/>
                    </a:cubicBezTo>
                    <a:cubicBezTo>
                      <a:pt x="45" y="122"/>
                      <a:pt x="41" y="119"/>
                      <a:pt x="37" y="119"/>
                    </a:cubicBezTo>
                    <a:cubicBezTo>
                      <a:pt x="15" y="119"/>
                      <a:pt x="15" y="119"/>
                      <a:pt x="15" y="119"/>
                    </a:cubicBezTo>
                    <a:cubicBezTo>
                      <a:pt x="19" y="61"/>
                      <a:pt x="68" y="15"/>
                      <a:pt x="126"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48" name="Freeform 9"/>
              <p:cNvSpPr>
                <a:spLocks noEditPoints="1"/>
              </p:cNvSpPr>
              <p:nvPr/>
            </p:nvSpPr>
            <p:spPr bwMode="auto">
              <a:xfrm>
                <a:off x="4270594" y="2481278"/>
                <a:ext cx="172880" cy="165320"/>
              </a:xfrm>
              <a:custGeom>
                <a:avLst/>
                <a:gdLst>
                  <a:gd name="T0" fmla="*/ 138 w 145"/>
                  <a:gd name="T1" fmla="*/ 47 h 139"/>
                  <a:gd name="T2" fmla="*/ 98 w 145"/>
                  <a:gd name="T3" fmla="*/ 41 h 139"/>
                  <a:gd name="T4" fmla="*/ 79 w 145"/>
                  <a:gd name="T5" fmla="*/ 4 h 139"/>
                  <a:gd name="T6" fmla="*/ 72 w 145"/>
                  <a:gd name="T7" fmla="*/ 0 h 139"/>
                  <a:gd name="T8" fmla="*/ 66 w 145"/>
                  <a:gd name="T9" fmla="*/ 4 h 139"/>
                  <a:gd name="T10" fmla="*/ 47 w 145"/>
                  <a:gd name="T11" fmla="*/ 41 h 139"/>
                  <a:gd name="T12" fmla="*/ 6 w 145"/>
                  <a:gd name="T13" fmla="*/ 47 h 139"/>
                  <a:gd name="T14" fmla="*/ 0 w 145"/>
                  <a:gd name="T15" fmla="*/ 52 h 139"/>
                  <a:gd name="T16" fmla="*/ 2 w 145"/>
                  <a:gd name="T17" fmla="*/ 60 h 139"/>
                  <a:gd name="T18" fmla="*/ 31 w 145"/>
                  <a:gd name="T19" fmla="*/ 89 h 139"/>
                  <a:gd name="T20" fmla="*/ 25 w 145"/>
                  <a:gd name="T21" fmla="*/ 130 h 139"/>
                  <a:gd name="T22" fmla="*/ 28 w 145"/>
                  <a:gd name="T23" fmla="*/ 137 h 139"/>
                  <a:gd name="T24" fmla="*/ 36 w 145"/>
                  <a:gd name="T25" fmla="*/ 137 h 139"/>
                  <a:gd name="T26" fmla="*/ 72 w 145"/>
                  <a:gd name="T27" fmla="*/ 119 h 139"/>
                  <a:gd name="T28" fmla="*/ 109 w 145"/>
                  <a:gd name="T29" fmla="*/ 137 h 139"/>
                  <a:gd name="T30" fmla="*/ 112 w 145"/>
                  <a:gd name="T31" fmla="*/ 138 h 139"/>
                  <a:gd name="T32" fmla="*/ 117 w 145"/>
                  <a:gd name="T33" fmla="*/ 137 h 139"/>
                  <a:gd name="T34" fmla="*/ 120 w 145"/>
                  <a:gd name="T35" fmla="*/ 130 h 139"/>
                  <a:gd name="T36" fmla="*/ 114 w 145"/>
                  <a:gd name="T37" fmla="*/ 89 h 139"/>
                  <a:gd name="T38" fmla="*/ 142 w 145"/>
                  <a:gd name="T39" fmla="*/ 60 h 139"/>
                  <a:gd name="T40" fmla="*/ 144 w 145"/>
                  <a:gd name="T41" fmla="*/ 52 h 139"/>
                  <a:gd name="T42" fmla="*/ 138 w 145"/>
                  <a:gd name="T43" fmla="*/ 47 h 139"/>
                  <a:gd name="T44" fmla="*/ 100 w 145"/>
                  <a:gd name="T45" fmla="*/ 81 h 139"/>
                  <a:gd name="T46" fmla="*/ 98 w 145"/>
                  <a:gd name="T47" fmla="*/ 88 h 139"/>
                  <a:gd name="T48" fmla="*/ 103 w 145"/>
                  <a:gd name="T49" fmla="*/ 118 h 139"/>
                  <a:gd name="T50" fmla="*/ 76 w 145"/>
                  <a:gd name="T51" fmla="*/ 104 h 139"/>
                  <a:gd name="T52" fmla="*/ 69 w 145"/>
                  <a:gd name="T53" fmla="*/ 104 h 139"/>
                  <a:gd name="T54" fmla="*/ 42 w 145"/>
                  <a:gd name="T55" fmla="*/ 118 h 139"/>
                  <a:gd name="T56" fmla="*/ 46 w 145"/>
                  <a:gd name="T57" fmla="*/ 88 h 139"/>
                  <a:gd name="T58" fmla="*/ 44 w 145"/>
                  <a:gd name="T59" fmla="*/ 81 h 139"/>
                  <a:gd name="T60" fmla="*/ 23 w 145"/>
                  <a:gd name="T61" fmla="*/ 60 h 139"/>
                  <a:gd name="T62" fmla="*/ 53 w 145"/>
                  <a:gd name="T63" fmla="*/ 55 h 139"/>
                  <a:gd name="T64" fmla="*/ 58 w 145"/>
                  <a:gd name="T65" fmla="*/ 51 h 139"/>
                  <a:gd name="T66" fmla="*/ 72 w 145"/>
                  <a:gd name="T67" fmla="*/ 24 h 139"/>
                  <a:gd name="T68" fmla="*/ 86 w 145"/>
                  <a:gd name="T69" fmla="*/ 51 h 139"/>
                  <a:gd name="T70" fmla="*/ 92 w 145"/>
                  <a:gd name="T71" fmla="*/ 55 h 139"/>
                  <a:gd name="T72" fmla="*/ 122 w 145"/>
                  <a:gd name="T73" fmla="*/ 60 h 139"/>
                  <a:gd name="T74" fmla="*/ 100 w 145"/>
                  <a:gd name="T75" fmla="*/ 8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 h="139">
                    <a:moveTo>
                      <a:pt x="138" y="47"/>
                    </a:moveTo>
                    <a:cubicBezTo>
                      <a:pt x="98" y="41"/>
                      <a:pt x="98" y="41"/>
                      <a:pt x="98" y="41"/>
                    </a:cubicBezTo>
                    <a:cubicBezTo>
                      <a:pt x="79" y="4"/>
                      <a:pt x="79" y="4"/>
                      <a:pt x="79" y="4"/>
                    </a:cubicBezTo>
                    <a:cubicBezTo>
                      <a:pt x="78" y="2"/>
                      <a:pt x="75" y="0"/>
                      <a:pt x="72" y="0"/>
                    </a:cubicBezTo>
                    <a:cubicBezTo>
                      <a:pt x="70" y="0"/>
                      <a:pt x="67" y="2"/>
                      <a:pt x="66" y="4"/>
                    </a:cubicBezTo>
                    <a:cubicBezTo>
                      <a:pt x="47" y="41"/>
                      <a:pt x="47" y="41"/>
                      <a:pt x="47" y="41"/>
                    </a:cubicBezTo>
                    <a:cubicBezTo>
                      <a:pt x="6" y="47"/>
                      <a:pt x="6" y="47"/>
                      <a:pt x="6" y="47"/>
                    </a:cubicBezTo>
                    <a:cubicBezTo>
                      <a:pt x="4" y="48"/>
                      <a:pt x="1" y="50"/>
                      <a:pt x="0" y="52"/>
                    </a:cubicBezTo>
                    <a:cubicBezTo>
                      <a:pt x="0" y="55"/>
                      <a:pt x="0" y="58"/>
                      <a:pt x="2" y="60"/>
                    </a:cubicBezTo>
                    <a:cubicBezTo>
                      <a:pt x="31" y="89"/>
                      <a:pt x="31" y="89"/>
                      <a:pt x="31" y="89"/>
                    </a:cubicBezTo>
                    <a:cubicBezTo>
                      <a:pt x="25" y="130"/>
                      <a:pt x="25" y="130"/>
                      <a:pt x="25" y="130"/>
                    </a:cubicBezTo>
                    <a:cubicBezTo>
                      <a:pt x="25" y="132"/>
                      <a:pt x="26" y="135"/>
                      <a:pt x="28" y="137"/>
                    </a:cubicBezTo>
                    <a:cubicBezTo>
                      <a:pt x="30" y="138"/>
                      <a:pt x="33" y="139"/>
                      <a:pt x="36" y="137"/>
                    </a:cubicBezTo>
                    <a:cubicBezTo>
                      <a:pt x="72" y="119"/>
                      <a:pt x="72" y="119"/>
                      <a:pt x="72" y="119"/>
                    </a:cubicBezTo>
                    <a:cubicBezTo>
                      <a:pt x="109" y="137"/>
                      <a:pt x="109" y="137"/>
                      <a:pt x="109" y="137"/>
                    </a:cubicBezTo>
                    <a:cubicBezTo>
                      <a:pt x="110" y="138"/>
                      <a:pt x="111" y="138"/>
                      <a:pt x="112" y="138"/>
                    </a:cubicBezTo>
                    <a:cubicBezTo>
                      <a:pt x="114" y="138"/>
                      <a:pt x="115" y="138"/>
                      <a:pt x="117" y="137"/>
                    </a:cubicBezTo>
                    <a:cubicBezTo>
                      <a:pt x="119" y="135"/>
                      <a:pt x="120" y="132"/>
                      <a:pt x="120" y="130"/>
                    </a:cubicBezTo>
                    <a:cubicBezTo>
                      <a:pt x="114" y="89"/>
                      <a:pt x="114" y="89"/>
                      <a:pt x="114" y="89"/>
                    </a:cubicBezTo>
                    <a:cubicBezTo>
                      <a:pt x="142" y="60"/>
                      <a:pt x="142" y="60"/>
                      <a:pt x="142" y="60"/>
                    </a:cubicBezTo>
                    <a:cubicBezTo>
                      <a:pt x="144" y="58"/>
                      <a:pt x="145" y="55"/>
                      <a:pt x="144" y="52"/>
                    </a:cubicBezTo>
                    <a:cubicBezTo>
                      <a:pt x="143" y="50"/>
                      <a:pt x="141" y="48"/>
                      <a:pt x="138" y="47"/>
                    </a:cubicBezTo>
                    <a:moveTo>
                      <a:pt x="100" y="81"/>
                    </a:moveTo>
                    <a:cubicBezTo>
                      <a:pt x="99" y="83"/>
                      <a:pt x="98" y="85"/>
                      <a:pt x="98" y="88"/>
                    </a:cubicBezTo>
                    <a:cubicBezTo>
                      <a:pt x="103" y="118"/>
                      <a:pt x="103" y="118"/>
                      <a:pt x="103" y="118"/>
                    </a:cubicBezTo>
                    <a:cubicBezTo>
                      <a:pt x="76" y="104"/>
                      <a:pt x="76" y="104"/>
                      <a:pt x="76" y="104"/>
                    </a:cubicBezTo>
                    <a:cubicBezTo>
                      <a:pt x="74" y="103"/>
                      <a:pt x="71" y="103"/>
                      <a:pt x="69" y="104"/>
                    </a:cubicBezTo>
                    <a:cubicBezTo>
                      <a:pt x="42" y="118"/>
                      <a:pt x="42" y="118"/>
                      <a:pt x="42" y="118"/>
                    </a:cubicBezTo>
                    <a:cubicBezTo>
                      <a:pt x="46" y="88"/>
                      <a:pt x="46" y="88"/>
                      <a:pt x="46" y="88"/>
                    </a:cubicBezTo>
                    <a:cubicBezTo>
                      <a:pt x="46" y="85"/>
                      <a:pt x="46" y="83"/>
                      <a:pt x="44" y="81"/>
                    </a:cubicBezTo>
                    <a:cubicBezTo>
                      <a:pt x="23" y="60"/>
                      <a:pt x="23" y="60"/>
                      <a:pt x="23" y="60"/>
                    </a:cubicBezTo>
                    <a:cubicBezTo>
                      <a:pt x="53" y="55"/>
                      <a:pt x="53" y="55"/>
                      <a:pt x="53" y="55"/>
                    </a:cubicBezTo>
                    <a:cubicBezTo>
                      <a:pt x="55" y="54"/>
                      <a:pt x="57" y="53"/>
                      <a:pt x="58" y="51"/>
                    </a:cubicBezTo>
                    <a:cubicBezTo>
                      <a:pt x="72" y="24"/>
                      <a:pt x="72" y="24"/>
                      <a:pt x="72" y="24"/>
                    </a:cubicBezTo>
                    <a:cubicBezTo>
                      <a:pt x="86" y="51"/>
                      <a:pt x="86" y="51"/>
                      <a:pt x="86" y="51"/>
                    </a:cubicBezTo>
                    <a:cubicBezTo>
                      <a:pt x="87" y="53"/>
                      <a:pt x="89" y="54"/>
                      <a:pt x="92" y="55"/>
                    </a:cubicBezTo>
                    <a:cubicBezTo>
                      <a:pt x="122" y="60"/>
                      <a:pt x="122" y="60"/>
                      <a:pt x="122" y="60"/>
                    </a:cubicBezTo>
                    <a:lnTo>
                      <a:pt x="100"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49" name="Freeform 10"/>
              <p:cNvSpPr>
                <a:spLocks noEditPoints="1"/>
              </p:cNvSpPr>
              <p:nvPr/>
            </p:nvSpPr>
            <p:spPr bwMode="auto">
              <a:xfrm>
                <a:off x="4460107" y="2481278"/>
                <a:ext cx="172880" cy="165320"/>
              </a:xfrm>
              <a:custGeom>
                <a:avLst/>
                <a:gdLst>
                  <a:gd name="T0" fmla="*/ 138 w 145"/>
                  <a:gd name="T1" fmla="*/ 47 h 139"/>
                  <a:gd name="T2" fmla="*/ 98 w 145"/>
                  <a:gd name="T3" fmla="*/ 41 h 139"/>
                  <a:gd name="T4" fmla="*/ 79 w 145"/>
                  <a:gd name="T5" fmla="*/ 4 h 139"/>
                  <a:gd name="T6" fmla="*/ 72 w 145"/>
                  <a:gd name="T7" fmla="*/ 0 h 139"/>
                  <a:gd name="T8" fmla="*/ 66 w 145"/>
                  <a:gd name="T9" fmla="*/ 4 h 139"/>
                  <a:gd name="T10" fmla="*/ 47 w 145"/>
                  <a:gd name="T11" fmla="*/ 41 h 139"/>
                  <a:gd name="T12" fmla="*/ 6 w 145"/>
                  <a:gd name="T13" fmla="*/ 47 h 139"/>
                  <a:gd name="T14" fmla="*/ 1 w 145"/>
                  <a:gd name="T15" fmla="*/ 52 h 139"/>
                  <a:gd name="T16" fmla="*/ 2 w 145"/>
                  <a:gd name="T17" fmla="*/ 60 h 139"/>
                  <a:gd name="T18" fmla="*/ 31 w 145"/>
                  <a:gd name="T19" fmla="*/ 89 h 139"/>
                  <a:gd name="T20" fmla="*/ 25 w 145"/>
                  <a:gd name="T21" fmla="*/ 130 h 139"/>
                  <a:gd name="T22" fmla="*/ 28 w 145"/>
                  <a:gd name="T23" fmla="*/ 137 h 139"/>
                  <a:gd name="T24" fmla="*/ 36 w 145"/>
                  <a:gd name="T25" fmla="*/ 137 h 139"/>
                  <a:gd name="T26" fmla="*/ 72 w 145"/>
                  <a:gd name="T27" fmla="*/ 119 h 139"/>
                  <a:gd name="T28" fmla="*/ 109 w 145"/>
                  <a:gd name="T29" fmla="*/ 137 h 139"/>
                  <a:gd name="T30" fmla="*/ 112 w 145"/>
                  <a:gd name="T31" fmla="*/ 138 h 139"/>
                  <a:gd name="T32" fmla="*/ 117 w 145"/>
                  <a:gd name="T33" fmla="*/ 137 h 139"/>
                  <a:gd name="T34" fmla="*/ 120 w 145"/>
                  <a:gd name="T35" fmla="*/ 130 h 139"/>
                  <a:gd name="T36" fmla="*/ 114 w 145"/>
                  <a:gd name="T37" fmla="*/ 89 h 139"/>
                  <a:gd name="T38" fmla="*/ 142 w 145"/>
                  <a:gd name="T39" fmla="*/ 60 h 139"/>
                  <a:gd name="T40" fmla="*/ 144 w 145"/>
                  <a:gd name="T41" fmla="*/ 52 h 139"/>
                  <a:gd name="T42" fmla="*/ 138 w 145"/>
                  <a:gd name="T43" fmla="*/ 47 h 139"/>
                  <a:gd name="T44" fmla="*/ 101 w 145"/>
                  <a:gd name="T45" fmla="*/ 81 h 139"/>
                  <a:gd name="T46" fmla="*/ 99 w 145"/>
                  <a:gd name="T47" fmla="*/ 88 h 139"/>
                  <a:gd name="T48" fmla="*/ 103 w 145"/>
                  <a:gd name="T49" fmla="*/ 118 h 139"/>
                  <a:gd name="T50" fmla="*/ 76 w 145"/>
                  <a:gd name="T51" fmla="*/ 104 h 139"/>
                  <a:gd name="T52" fmla="*/ 72 w 145"/>
                  <a:gd name="T53" fmla="*/ 103 h 139"/>
                  <a:gd name="T54" fmla="*/ 69 w 145"/>
                  <a:gd name="T55" fmla="*/ 104 h 139"/>
                  <a:gd name="T56" fmla="*/ 42 w 145"/>
                  <a:gd name="T57" fmla="*/ 118 h 139"/>
                  <a:gd name="T58" fmla="*/ 46 w 145"/>
                  <a:gd name="T59" fmla="*/ 88 h 139"/>
                  <a:gd name="T60" fmla="*/ 44 w 145"/>
                  <a:gd name="T61" fmla="*/ 81 h 139"/>
                  <a:gd name="T62" fmla="*/ 23 w 145"/>
                  <a:gd name="T63" fmla="*/ 60 h 139"/>
                  <a:gd name="T64" fmla="*/ 53 w 145"/>
                  <a:gd name="T65" fmla="*/ 55 h 139"/>
                  <a:gd name="T66" fmla="*/ 58 w 145"/>
                  <a:gd name="T67" fmla="*/ 51 h 139"/>
                  <a:gd name="T68" fmla="*/ 72 w 145"/>
                  <a:gd name="T69" fmla="*/ 24 h 139"/>
                  <a:gd name="T70" fmla="*/ 87 w 145"/>
                  <a:gd name="T71" fmla="*/ 51 h 139"/>
                  <a:gd name="T72" fmla="*/ 92 w 145"/>
                  <a:gd name="T73" fmla="*/ 55 h 139"/>
                  <a:gd name="T74" fmla="*/ 122 w 145"/>
                  <a:gd name="T75" fmla="*/ 60 h 139"/>
                  <a:gd name="T76" fmla="*/ 101 w 145"/>
                  <a:gd name="T77" fmla="*/ 8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5" h="139">
                    <a:moveTo>
                      <a:pt x="138" y="47"/>
                    </a:moveTo>
                    <a:cubicBezTo>
                      <a:pt x="98" y="41"/>
                      <a:pt x="98" y="41"/>
                      <a:pt x="98" y="41"/>
                    </a:cubicBezTo>
                    <a:cubicBezTo>
                      <a:pt x="79" y="4"/>
                      <a:pt x="79" y="4"/>
                      <a:pt x="79" y="4"/>
                    </a:cubicBezTo>
                    <a:cubicBezTo>
                      <a:pt x="78" y="2"/>
                      <a:pt x="75" y="0"/>
                      <a:pt x="72" y="0"/>
                    </a:cubicBezTo>
                    <a:cubicBezTo>
                      <a:pt x="70" y="0"/>
                      <a:pt x="67" y="2"/>
                      <a:pt x="66" y="4"/>
                    </a:cubicBezTo>
                    <a:cubicBezTo>
                      <a:pt x="47" y="41"/>
                      <a:pt x="47" y="41"/>
                      <a:pt x="47" y="41"/>
                    </a:cubicBezTo>
                    <a:cubicBezTo>
                      <a:pt x="6" y="47"/>
                      <a:pt x="6" y="47"/>
                      <a:pt x="6" y="47"/>
                    </a:cubicBezTo>
                    <a:cubicBezTo>
                      <a:pt x="4" y="48"/>
                      <a:pt x="1" y="50"/>
                      <a:pt x="1" y="52"/>
                    </a:cubicBezTo>
                    <a:cubicBezTo>
                      <a:pt x="0" y="55"/>
                      <a:pt x="0" y="58"/>
                      <a:pt x="2" y="60"/>
                    </a:cubicBezTo>
                    <a:cubicBezTo>
                      <a:pt x="31" y="89"/>
                      <a:pt x="31" y="89"/>
                      <a:pt x="31" y="89"/>
                    </a:cubicBezTo>
                    <a:cubicBezTo>
                      <a:pt x="25" y="130"/>
                      <a:pt x="25" y="130"/>
                      <a:pt x="25" y="130"/>
                    </a:cubicBezTo>
                    <a:cubicBezTo>
                      <a:pt x="25" y="132"/>
                      <a:pt x="26" y="135"/>
                      <a:pt x="28" y="137"/>
                    </a:cubicBezTo>
                    <a:cubicBezTo>
                      <a:pt x="30" y="138"/>
                      <a:pt x="33" y="139"/>
                      <a:pt x="36" y="137"/>
                    </a:cubicBezTo>
                    <a:cubicBezTo>
                      <a:pt x="72" y="119"/>
                      <a:pt x="72" y="119"/>
                      <a:pt x="72" y="119"/>
                    </a:cubicBezTo>
                    <a:cubicBezTo>
                      <a:pt x="109" y="137"/>
                      <a:pt x="109" y="137"/>
                      <a:pt x="109" y="137"/>
                    </a:cubicBezTo>
                    <a:cubicBezTo>
                      <a:pt x="110" y="138"/>
                      <a:pt x="111" y="138"/>
                      <a:pt x="112" y="138"/>
                    </a:cubicBezTo>
                    <a:cubicBezTo>
                      <a:pt x="114" y="138"/>
                      <a:pt x="115" y="138"/>
                      <a:pt x="117" y="137"/>
                    </a:cubicBezTo>
                    <a:cubicBezTo>
                      <a:pt x="119" y="135"/>
                      <a:pt x="120" y="132"/>
                      <a:pt x="120" y="130"/>
                    </a:cubicBezTo>
                    <a:cubicBezTo>
                      <a:pt x="114" y="89"/>
                      <a:pt x="114" y="89"/>
                      <a:pt x="114" y="89"/>
                    </a:cubicBezTo>
                    <a:cubicBezTo>
                      <a:pt x="142" y="60"/>
                      <a:pt x="142" y="60"/>
                      <a:pt x="142" y="60"/>
                    </a:cubicBezTo>
                    <a:cubicBezTo>
                      <a:pt x="144" y="58"/>
                      <a:pt x="145" y="55"/>
                      <a:pt x="144" y="52"/>
                    </a:cubicBezTo>
                    <a:cubicBezTo>
                      <a:pt x="143" y="50"/>
                      <a:pt x="141" y="48"/>
                      <a:pt x="138" y="47"/>
                    </a:cubicBezTo>
                    <a:moveTo>
                      <a:pt x="101" y="81"/>
                    </a:moveTo>
                    <a:cubicBezTo>
                      <a:pt x="99" y="83"/>
                      <a:pt x="98" y="85"/>
                      <a:pt x="99" y="88"/>
                    </a:cubicBezTo>
                    <a:cubicBezTo>
                      <a:pt x="103" y="118"/>
                      <a:pt x="103" y="118"/>
                      <a:pt x="103" y="118"/>
                    </a:cubicBezTo>
                    <a:cubicBezTo>
                      <a:pt x="76" y="104"/>
                      <a:pt x="76" y="104"/>
                      <a:pt x="76" y="104"/>
                    </a:cubicBezTo>
                    <a:cubicBezTo>
                      <a:pt x="75" y="104"/>
                      <a:pt x="74" y="103"/>
                      <a:pt x="72" y="103"/>
                    </a:cubicBezTo>
                    <a:cubicBezTo>
                      <a:pt x="71" y="103"/>
                      <a:pt x="70" y="104"/>
                      <a:pt x="69" y="104"/>
                    </a:cubicBezTo>
                    <a:cubicBezTo>
                      <a:pt x="42" y="118"/>
                      <a:pt x="42" y="118"/>
                      <a:pt x="42" y="118"/>
                    </a:cubicBezTo>
                    <a:cubicBezTo>
                      <a:pt x="46" y="88"/>
                      <a:pt x="46" y="88"/>
                      <a:pt x="46" y="88"/>
                    </a:cubicBezTo>
                    <a:cubicBezTo>
                      <a:pt x="47" y="85"/>
                      <a:pt x="46" y="83"/>
                      <a:pt x="44" y="81"/>
                    </a:cubicBezTo>
                    <a:cubicBezTo>
                      <a:pt x="23" y="60"/>
                      <a:pt x="23" y="60"/>
                      <a:pt x="23" y="60"/>
                    </a:cubicBezTo>
                    <a:cubicBezTo>
                      <a:pt x="53" y="55"/>
                      <a:pt x="53" y="55"/>
                      <a:pt x="53" y="55"/>
                    </a:cubicBezTo>
                    <a:cubicBezTo>
                      <a:pt x="55" y="54"/>
                      <a:pt x="57" y="53"/>
                      <a:pt x="58" y="51"/>
                    </a:cubicBezTo>
                    <a:cubicBezTo>
                      <a:pt x="72" y="24"/>
                      <a:pt x="72" y="24"/>
                      <a:pt x="72" y="24"/>
                    </a:cubicBezTo>
                    <a:cubicBezTo>
                      <a:pt x="87" y="51"/>
                      <a:pt x="87" y="51"/>
                      <a:pt x="87" y="51"/>
                    </a:cubicBezTo>
                    <a:cubicBezTo>
                      <a:pt x="88" y="53"/>
                      <a:pt x="90" y="54"/>
                      <a:pt x="92" y="55"/>
                    </a:cubicBezTo>
                    <a:cubicBezTo>
                      <a:pt x="122" y="60"/>
                      <a:pt x="122" y="60"/>
                      <a:pt x="122" y="60"/>
                    </a:cubicBezTo>
                    <a:lnTo>
                      <a:pt x="101"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50" name="Freeform 11"/>
              <p:cNvSpPr>
                <a:spLocks noEditPoints="1"/>
              </p:cNvSpPr>
              <p:nvPr/>
            </p:nvSpPr>
            <p:spPr bwMode="auto">
              <a:xfrm>
                <a:off x="4649620" y="2481278"/>
                <a:ext cx="172376" cy="165320"/>
              </a:xfrm>
              <a:custGeom>
                <a:avLst/>
                <a:gdLst>
                  <a:gd name="T0" fmla="*/ 144 w 145"/>
                  <a:gd name="T1" fmla="*/ 52 h 139"/>
                  <a:gd name="T2" fmla="*/ 138 w 145"/>
                  <a:gd name="T3" fmla="*/ 47 h 139"/>
                  <a:gd name="T4" fmla="*/ 98 w 145"/>
                  <a:gd name="T5" fmla="*/ 41 h 139"/>
                  <a:gd name="T6" fmla="*/ 79 w 145"/>
                  <a:gd name="T7" fmla="*/ 4 h 139"/>
                  <a:gd name="T8" fmla="*/ 72 w 145"/>
                  <a:gd name="T9" fmla="*/ 0 h 139"/>
                  <a:gd name="T10" fmla="*/ 66 w 145"/>
                  <a:gd name="T11" fmla="*/ 4 h 139"/>
                  <a:gd name="T12" fmla="*/ 47 w 145"/>
                  <a:gd name="T13" fmla="*/ 41 h 139"/>
                  <a:gd name="T14" fmla="*/ 6 w 145"/>
                  <a:gd name="T15" fmla="*/ 47 h 139"/>
                  <a:gd name="T16" fmla="*/ 1 w 145"/>
                  <a:gd name="T17" fmla="*/ 52 h 139"/>
                  <a:gd name="T18" fmla="*/ 2 w 145"/>
                  <a:gd name="T19" fmla="*/ 60 h 139"/>
                  <a:gd name="T20" fmla="*/ 31 w 145"/>
                  <a:gd name="T21" fmla="*/ 89 h 139"/>
                  <a:gd name="T22" fmla="*/ 25 w 145"/>
                  <a:gd name="T23" fmla="*/ 130 h 139"/>
                  <a:gd name="T24" fmla="*/ 28 w 145"/>
                  <a:gd name="T25" fmla="*/ 137 h 139"/>
                  <a:gd name="T26" fmla="*/ 36 w 145"/>
                  <a:gd name="T27" fmla="*/ 137 h 139"/>
                  <a:gd name="T28" fmla="*/ 72 w 145"/>
                  <a:gd name="T29" fmla="*/ 119 h 139"/>
                  <a:gd name="T30" fmla="*/ 109 w 145"/>
                  <a:gd name="T31" fmla="*/ 137 h 139"/>
                  <a:gd name="T32" fmla="*/ 113 w 145"/>
                  <a:gd name="T33" fmla="*/ 138 h 139"/>
                  <a:gd name="T34" fmla="*/ 117 w 145"/>
                  <a:gd name="T35" fmla="*/ 137 h 139"/>
                  <a:gd name="T36" fmla="*/ 120 w 145"/>
                  <a:gd name="T37" fmla="*/ 130 h 139"/>
                  <a:gd name="T38" fmla="*/ 114 w 145"/>
                  <a:gd name="T39" fmla="*/ 89 h 139"/>
                  <a:gd name="T40" fmla="*/ 143 w 145"/>
                  <a:gd name="T41" fmla="*/ 60 h 139"/>
                  <a:gd name="T42" fmla="*/ 144 w 145"/>
                  <a:gd name="T43" fmla="*/ 52 h 139"/>
                  <a:gd name="T44" fmla="*/ 101 w 145"/>
                  <a:gd name="T45" fmla="*/ 81 h 139"/>
                  <a:gd name="T46" fmla="*/ 99 w 145"/>
                  <a:gd name="T47" fmla="*/ 88 h 139"/>
                  <a:gd name="T48" fmla="*/ 103 w 145"/>
                  <a:gd name="T49" fmla="*/ 118 h 139"/>
                  <a:gd name="T50" fmla="*/ 76 w 145"/>
                  <a:gd name="T51" fmla="*/ 104 h 139"/>
                  <a:gd name="T52" fmla="*/ 72 w 145"/>
                  <a:gd name="T53" fmla="*/ 103 h 139"/>
                  <a:gd name="T54" fmla="*/ 69 w 145"/>
                  <a:gd name="T55" fmla="*/ 104 h 139"/>
                  <a:gd name="T56" fmla="*/ 42 w 145"/>
                  <a:gd name="T57" fmla="*/ 118 h 139"/>
                  <a:gd name="T58" fmla="*/ 46 w 145"/>
                  <a:gd name="T59" fmla="*/ 88 h 139"/>
                  <a:gd name="T60" fmla="*/ 44 w 145"/>
                  <a:gd name="T61" fmla="*/ 81 h 139"/>
                  <a:gd name="T62" fmla="*/ 23 w 145"/>
                  <a:gd name="T63" fmla="*/ 60 h 139"/>
                  <a:gd name="T64" fmla="*/ 53 w 145"/>
                  <a:gd name="T65" fmla="*/ 55 h 139"/>
                  <a:gd name="T66" fmla="*/ 58 w 145"/>
                  <a:gd name="T67" fmla="*/ 51 h 139"/>
                  <a:gd name="T68" fmla="*/ 72 w 145"/>
                  <a:gd name="T69" fmla="*/ 24 h 139"/>
                  <a:gd name="T70" fmla="*/ 87 w 145"/>
                  <a:gd name="T71" fmla="*/ 51 h 139"/>
                  <a:gd name="T72" fmla="*/ 92 w 145"/>
                  <a:gd name="T73" fmla="*/ 55 h 139"/>
                  <a:gd name="T74" fmla="*/ 122 w 145"/>
                  <a:gd name="T75" fmla="*/ 60 h 139"/>
                  <a:gd name="T76" fmla="*/ 101 w 145"/>
                  <a:gd name="T77" fmla="*/ 8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5" h="139">
                    <a:moveTo>
                      <a:pt x="144" y="52"/>
                    </a:moveTo>
                    <a:cubicBezTo>
                      <a:pt x="143" y="50"/>
                      <a:pt x="141" y="48"/>
                      <a:pt x="138" y="47"/>
                    </a:cubicBezTo>
                    <a:cubicBezTo>
                      <a:pt x="98" y="41"/>
                      <a:pt x="98" y="41"/>
                      <a:pt x="98" y="41"/>
                    </a:cubicBezTo>
                    <a:cubicBezTo>
                      <a:pt x="79" y="4"/>
                      <a:pt x="79" y="4"/>
                      <a:pt x="79" y="4"/>
                    </a:cubicBezTo>
                    <a:cubicBezTo>
                      <a:pt x="78" y="2"/>
                      <a:pt x="75" y="0"/>
                      <a:pt x="72" y="0"/>
                    </a:cubicBezTo>
                    <a:cubicBezTo>
                      <a:pt x="70" y="0"/>
                      <a:pt x="67" y="2"/>
                      <a:pt x="66" y="4"/>
                    </a:cubicBezTo>
                    <a:cubicBezTo>
                      <a:pt x="47" y="41"/>
                      <a:pt x="47" y="41"/>
                      <a:pt x="47" y="41"/>
                    </a:cubicBezTo>
                    <a:cubicBezTo>
                      <a:pt x="6" y="47"/>
                      <a:pt x="6" y="47"/>
                      <a:pt x="6" y="47"/>
                    </a:cubicBezTo>
                    <a:cubicBezTo>
                      <a:pt x="4" y="48"/>
                      <a:pt x="2" y="50"/>
                      <a:pt x="1" y="52"/>
                    </a:cubicBezTo>
                    <a:cubicBezTo>
                      <a:pt x="0" y="55"/>
                      <a:pt x="0" y="58"/>
                      <a:pt x="2" y="60"/>
                    </a:cubicBezTo>
                    <a:cubicBezTo>
                      <a:pt x="31" y="89"/>
                      <a:pt x="31" y="89"/>
                      <a:pt x="31" y="89"/>
                    </a:cubicBezTo>
                    <a:cubicBezTo>
                      <a:pt x="25" y="130"/>
                      <a:pt x="25" y="130"/>
                      <a:pt x="25" y="130"/>
                    </a:cubicBezTo>
                    <a:cubicBezTo>
                      <a:pt x="25" y="132"/>
                      <a:pt x="26" y="135"/>
                      <a:pt x="28" y="137"/>
                    </a:cubicBezTo>
                    <a:cubicBezTo>
                      <a:pt x="30" y="138"/>
                      <a:pt x="33" y="139"/>
                      <a:pt x="36" y="137"/>
                    </a:cubicBezTo>
                    <a:cubicBezTo>
                      <a:pt x="72" y="119"/>
                      <a:pt x="72" y="119"/>
                      <a:pt x="72" y="119"/>
                    </a:cubicBezTo>
                    <a:cubicBezTo>
                      <a:pt x="109" y="137"/>
                      <a:pt x="109" y="137"/>
                      <a:pt x="109" y="137"/>
                    </a:cubicBezTo>
                    <a:cubicBezTo>
                      <a:pt x="110" y="138"/>
                      <a:pt x="111" y="138"/>
                      <a:pt x="113" y="138"/>
                    </a:cubicBezTo>
                    <a:cubicBezTo>
                      <a:pt x="114" y="138"/>
                      <a:pt x="116" y="138"/>
                      <a:pt x="117" y="137"/>
                    </a:cubicBezTo>
                    <a:cubicBezTo>
                      <a:pt x="119" y="135"/>
                      <a:pt x="120" y="132"/>
                      <a:pt x="120" y="130"/>
                    </a:cubicBezTo>
                    <a:cubicBezTo>
                      <a:pt x="114" y="89"/>
                      <a:pt x="114" y="89"/>
                      <a:pt x="114" y="89"/>
                    </a:cubicBezTo>
                    <a:cubicBezTo>
                      <a:pt x="143" y="60"/>
                      <a:pt x="143" y="60"/>
                      <a:pt x="143" y="60"/>
                    </a:cubicBezTo>
                    <a:cubicBezTo>
                      <a:pt x="144" y="58"/>
                      <a:pt x="145" y="55"/>
                      <a:pt x="144" y="52"/>
                    </a:cubicBezTo>
                    <a:moveTo>
                      <a:pt x="101" y="81"/>
                    </a:moveTo>
                    <a:cubicBezTo>
                      <a:pt x="99" y="83"/>
                      <a:pt x="98" y="85"/>
                      <a:pt x="99" y="88"/>
                    </a:cubicBezTo>
                    <a:cubicBezTo>
                      <a:pt x="103" y="118"/>
                      <a:pt x="103" y="118"/>
                      <a:pt x="103" y="118"/>
                    </a:cubicBezTo>
                    <a:cubicBezTo>
                      <a:pt x="76" y="104"/>
                      <a:pt x="76" y="104"/>
                      <a:pt x="76" y="104"/>
                    </a:cubicBezTo>
                    <a:cubicBezTo>
                      <a:pt x="75" y="104"/>
                      <a:pt x="74" y="103"/>
                      <a:pt x="72" y="103"/>
                    </a:cubicBezTo>
                    <a:cubicBezTo>
                      <a:pt x="71" y="103"/>
                      <a:pt x="70" y="104"/>
                      <a:pt x="69" y="104"/>
                    </a:cubicBezTo>
                    <a:cubicBezTo>
                      <a:pt x="42" y="118"/>
                      <a:pt x="42" y="118"/>
                      <a:pt x="42" y="118"/>
                    </a:cubicBezTo>
                    <a:cubicBezTo>
                      <a:pt x="46" y="88"/>
                      <a:pt x="46" y="88"/>
                      <a:pt x="46" y="88"/>
                    </a:cubicBezTo>
                    <a:cubicBezTo>
                      <a:pt x="47" y="85"/>
                      <a:pt x="46" y="83"/>
                      <a:pt x="44" y="81"/>
                    </a:cubicBezTo>
                    <a:cubicBezTo>
                      <a:pt x="23" y="60"/>
                      <a:pt x="23" y="60"/>
                      <a:pt x="23" y="60"/>
                    </a:cubicBezTo>
                    <a:cubicBezTo>
                      <a:pt x="53" y="55"/>
                      <a:pt x="53" y="55"/>
                      <a:pt x="53" y="55"/>
                    </a:cubicBezTo>
                    <a:cubicBezTo>
                      <a:pt x="55" y="54"/>
                      <a:pt x="57" y="53"/>
                      <a:pt x="58" y="51"/>
                    </a:cubicBezTo>
                    <a:cubicBezTo>
                      <a:pt x="72" y="24"/>
                      <a:pt x="72" y="24"/>
                      <a:pt x="72" y="24"/>
                    </a:cubicBezTo>
                    <a:cubicBezTo>
                      <a:pt x="87" y="51"/>
                      <a:pt x="87" y="51"/>
                      <a:pt x="87" y="51"/>
                    </a:cubicBezTo>
                    <a:cubicBezTo>
                      <a:pt x="88" y="53"/>
                      <a:pt x="90" y="54"/>
                      <a:pt x="92" y="55"/>
                    </a:cubicBezTo>
                    <a:cubicBezTo>
                      <a:pt x="122" y="60"/>
                      <a:pt x="122" y="60"/>
                      <a:pt x="122" y="60"/>
                    </a:cubicBezTo>
                    <a:lnTo>
                      <a:pt x="101"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51" name="Freeform 12"/>
              <p:cNvSpPr>
                <a:spLocks/>
              </p:cNvSpPr>
              <p:nvPr/>
            </p:nvSpPr>
            <p:spPr bwMode="auto">
              <a:xfrm>
                <a:off x="4512526" y="2191968"/>
                <a:ext cx="66531" cy="29737"/>
              </a:xfrm>
              <a:custGeom>
                <a:avLst/>
                <a:gdLst>
                  <a:gd name="T0" fmla="*/ 28 w 56"/>
                  <a:gd name="T1" fmla="*/ 25 h 25"/>
                  <a:gd name="T2" fmla="*/ 54 w 56"/>
                  <a:gd name="T3" fmla="*/ 13 h 25"/>
                  <a:gd name="T4" fmla="*/ 53 w 56"/>
                  <a:gd name="T5" fmla="*/ 3 h 25"/>
                  <a:gd name="T6" fmla="*/ 42 w 56"/>
                  <a:gd name="T7" fmla="*/ 4 h 25"/>
                  <a:gd name="T8" fmla="*/ 28 w 56"/>
                  <a:gd name="T9" fmla="*/ 10 h 25"/>
                  <a:gd name="T10" fmla="*/ 14 w 56"/>
                  <a:gd name="T11" fmla="*/ 4 h 25"/>
                  <a:gd name="T12" fmla="*/ 4 w 56"/>
                  <a:gd name="T13" fmla="*/ 3 h 25"/>
                  <a:gd name="T14" fmla="*/ 3 w 56"/>
                  <a:gd name="T15" fmla="*/ 13 h 25"/>
                  <a:gd name="T16" fmla="*/ 28 w 56"/>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5">
                    <a:moveTo>
                      <a:pt x="28" y="25"/>
                    </a:moveTo>
                    <a:cubicBezTo>
                      <a:pt x="38" y="25"/>
                      <a:pt x="47" y="21"/>
                      <a:pt x="54" y="13"/>
                    </a:cubicBezTo>
                    <a:cubicBezTo>
                      <a:pt x="56" y="10"/>
                      <a:pt x="56" y="6"/>
                      <a:pt x="53" y="3"/>
                    </a:cubicBezTo>
                    <a:cubicBezTo>
                      <a:pt x="50" y="0"/>
                      <a:pt x="45" y="1"/>
                      <a:pt x="42" y="4"/>
                    </a:cubicBezTo>
                    <a:cubicBezTo>
                      <a:pt x="39" y="8"/>
                      <a:pt x="34" y="10"/>
                      <a:pt x="28" y="10"/>
                    </a:cubicBezTo>
                    <a:cubicBezTo>
                      <a:pt x="23" y="10"/>
                      <a:pt x="18" y="8"/>
                      <a:pt x="14" y="4"/>
                    </a:cubicBezTo>
                    <a:cubicBezTo>
                      <a:pt x="12" y="1"/>
                      <a:pt x="7" y="0"/>
                      <a:pt x="4" y="3"/>
                    </a:cubicBezTo>
                    <a:cubicBezTo>
                      <a:pt x="1" y="6"/>
                      <a:pt x="0" y="10"/>
                      <a:pt x="3" y="13"/>
                    </a:cubicBezTo>
                    <a:cubicBezTo>
                      <a:pt x="9" y="21"/>
                      <a:pt x="19" y="25"/>
                      <a:pt x="28"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grpSp>
      </p:grpSp>
      <p:grpSp>
        <p:nvGrpSpPr>
          <p:cNvPr id="2068" name="Group 2067"/>
          <p:cNvGrpSpPr/>
          <p:nvPr/>
        </p:nvGrpSpPr>
        <p:grpSpPr>
          <a:xfrm>
            <a:off x="1848051" y="2023622"/>
            <a:ext cx="1742171" cy="1059007"/>
            <a:chOff x="1819175" y="2023622"/>
            <a:chExt cx="1742171" cy="1059007"/>
          </a:xfrm>
        </p:grpSpPr>
        <p:grpSp>
          <p:nvGrpSpPr>
            <p:cNvPr id="40" name="Group 39"/>
            <p:cNvGrpSpPr/>
            <p:nvPr/>
          </p:nvGrpSpPr>
          <p:grpSpPr>
            <a:xfrm>
              <a:off x="1819175" y="2023622"/>
              <a:ext cx="1742171" cy="1059007"/>
              <a:chOff x="1819175" y="2023622"/>
              <a:chExt cx="1742171" cy="1059007"/>
            </a:xfrm>
          </p:grpSpPr>
          <p:sp>
            <p:nvSpPr>
              <p:cNvPr id="11" name="Rectangle 10"/>
              <p:cNvSpPr/>
              <p:nvPr/>
            </p:nvSpPr>
            <p:spPr>
              <a:xfrm>
                <a:off x="1819175" y="2023622"/>
                <a:ext cx="1742171" cy="1017961"/>
              </a:xfrm>
              <a:prstGeom prst="rect">
                <a:avLst/>
              </a:prstGeom>
              <a:gradFill>
                <a:gsLst>
                  <a:gs pos="0">
                    <a:srgbClr val="00197B"/>
                  </a:gs>
                  <a:gs pos="100000">
                    <a:srgbClr val="00197B">
                      <a:alpha val="0"/>
                    </a:srgbClr>
                  </a:gs>
                </a:gsLst>
                <a:lin ang="5400000" scaled="0"/>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lumMod val="50000"/>
                    </a:schemeClr>
                  </a:solidFill>
                </a:endParaRPr>
              </a:p>
            </p:txBody>
          </p:sp>
          <p:sp>
            <p:nvSpPr>
              <p:cNvPr id="35" name="Rectangle 34"/>
              <p:cNvSpPr/>
              <p:nvPr/>
            </p:nvSpPr>
            <p:spPr>
              <a:xfrm>
                <a:off x="1927865" y="2694831"/>
                <a:ext cx="1505540" cy="387798"/>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pPr algn="ctr"/>
                <a:r>
                  <a:rPr lang="en-US" sz="1200" dirty="0">
                    <a:solidFill>
                      <a:schemeClr val="accent1">
                        <a:lumMod val="50000"/>
                      </a:schemeClr>
                    </a:solidFill>
                    <a:latin typeface="+mj-lt"/>
                  </a:rPr>
                  <a:t>Enable Self-service</a:t>
                </a:r>
              </a:p>
              <a:p>
                <a:pPr algn="ctr"/>
                <a:r>
                  <a:rPr lang="en-US" sz="1200" dirty="0">
                    <a:solidFill>
                      <a:schemeClr val="accent1">
                        <a:lumMod val="50000"/>
                      </a:schemeClr>
                    </a:solidFill>
                    <a:latin typeface="+mj-lt"/>
                  </a:rPr>
                  <a:t>Provisioning</a:t>
                </a:r>
              </a:p>
            </p:txBody>
          </p:sp>
        </p:grpSp>
        <p:grpSp>
          <p:nvGrpSpPr>
            <p:cNvPr id="2062" name="Group 2061"/>
            <p:cNvGrpSpPr/>
            <p:nvPr/>
          </p:nvGrpSpPr>
          <p:grpSpPr>
            <a:xfrm>
              <a:off x="2370709" y="2122917"/>
              <a:ext cx="639102" cy="505033"/>
              <a:chOff x="2358832" y="2122917"/>
              <a:chExt cx="639102" cy="505033"/>
            </a:xfrm>
          </p:grpSpPr>
          <p:sp>
            <p:nvSpPr>
              <p:cNvPr id="57" name="Freeform 18"/>
              <p:cNvSpPr>
                <a:spLocks/>
              </p:cNvSpPr>
              <p:nvPr/>
            </p:nvSpPr>
            <p:spPr bwMode="auto">
              <a:xfrm>
                <a:off x="2358832" y="2122917"/>
                <a:ext cx="639102" cy="445053"/>
              </a:xfrm>
              <a:custGeom>
                <a:avLst/>
                <a:gdLst>
                  <a:gd name="T0" fmla="*/ 426 w 537"/>
                  <a:gd name="T1" fmla="*/ 148 h 374"/>
                  <a:gd name="T2" fmla="*/ 275 w 537"/>
                  <a:gd name="T3" fmla="*/ 0 h 374"/>
                  <a:gd name="T4" fmla="*/ 176 w 537"/>
                  <a:gd name="T5" fmla="*/ 38 h 374"/>
                  <a:gd name="T6" fmla="*/ 129 w 537"/>
                  <a:gd name="T7" fmla="*/ 120 h 374"/>
                  <a:gd name="T8" fmla="*/ 127 w 537"/>
                  <a:gd name="T9" fmla="*/ 120 h 374"/>
                  <a:gd name="T10" fmla="*/ 0 w 537"/>
                  <a:gd name="T11" fmla="*/ 247 h 374"/>
                  <a:gd name="T12" fmla="*/ 127 w 537"/>
                  <a:gd name="T13" fmla="*/ 374 h 374"/>
                  <a:gd name="T14" fmla="*/ 216 w 537"/>
                  <a:gd name="T15" fmla="*/ 374 h 374"/>
                  <a:gd name="T16" fmla="*/ 227 w 537"/>
                  <a:gd name="T17" fmla="*/ 362 h 374"/>
                  <a:gd name="T18" fmla="*/ 216 w 537"/>
                  <a:gd name="T19" fmla="*/ 351 h 374"/>
                  <a:gd name="T20" fmla="*/ 127 w 537"/>
                  <a:gd name="T21" fmla="*/ 351 h 374"/>
                  <a:gd name="T22" fmla="*/ 23 w 537"/>
                  <a:gd name="T23" fmla="*/ 247 h 374"/>
                  <a:gd name="T24" fmla="*/ 127 w 537"/>
                  <a:gd name="T25" fmla="*/ 142 h 374"/>
                  <a:gd name="T26" fmla="*/ 137 w 537"/>
                  <a:gd name="T27" fmla="*/ 143 h 374"/>
                  <a:gd name="T28" fmla="*/ 150 w 537"/>
                  <a:gd name="T29" fmla="*/ 133 h 374"/>
                  <a:gd name="T30" fmla="*/ 192 w 537"/>
                  <a:gd name="T31" fmla="*/ 55 h 374"/>
                  <a:gd name="T32" fmla="*/ 275 w 537"/>
                  <a:gd name="T33" fmla="*/ 23 h 374"/>
                  <a:gd name="T34" fmla="*/ 403 w 537"/>
                  <a:gd name="T35" fmla="*/ 150 h 374"/>
                  <a:gd name="T36" fmla="*/ 402 w 537"/>
                  <a:gd name="T37" fmla="*/ 158 h 374"/>
                  <a:gd name="T38" fmla="*/ 402 w 537"/>
                  <a:gd name="T39" fmla="*/ 159 h 374"/>
                  <a:gd name="T40" fmla="*/ 406 w 537"/>
                  <a:gd name="T41" fmla="*/ 168 h 374"/>
                  <a:gd name="T42" fmla="*/ 415 w 537"/>
                  <a:gd name="T43" fmla="*/ 172 h 374"/>
                  <a:gd name="T44" fmla="*/ 424 w 537"/>
                  <a:gd name="T45" fmla="*/ 171 h 374"/>
                  <a:gd name="T46" fmla="*/ 514 w 537"/>
                  <a:gd name="T47" fmla="*/ 261 h 374"/>
                  <a:gd name="T48" fmla="*/ 424 w 537"/>
                  <a:gd name="T49" fmla="*/ 351 h 374"/>
                  <a:gd name="T50" fmla="*/ 330 w 537"/>
                  <a:gd name="T51" fmla="*/ 351 h 374"/>
                  <a:gd name="T52" fmla="*/ 319 w 537"/>
                  <a:gd name="T53" fmla="*/ 362 h 374"/>
                  <a:gd name="T54" fmla="*/ 330 w 537"/>
                  <a:gd name="T55" fmla="*/ 374 h 374"/>
                  <a:gd name="T56" fmla="*/ 424 w 537"/>
                  <a:gd name="T57" fmla="*/ 374 h 374"/>
                  <a:gd name="T58" fmla="*/ 537 w 537"/>
                  <a:gd name="T59" fmla="*/ 261 h 374"/>
                  <a:gd name="T60" fmla="*/ 426 w 537"/>
                  <a:gd name="T61" fmla="*/ 148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7" h="374">
                    <a:moveTo>
                      <a:pt x="426" y="148"/>
                    </a:moveTo>
                    <a:cubicBezTo>
                      <a:pt x="424" y="66"/>
                      <a:pt x="357" y="0"/>
                      <a:pt x="275" y="0"/>
                    </a:cubicBezTo>
                    <a:cubicBezTo>
                      <a:pt x="239" y="0"/>
                      <a:pt x="204" y="14"/>
                      <a:pt x="176" y="38"/>
                    </a:cubicBezTo>
                    <a:cubicBezTo>
                      <a:pt x="152" y="59"/>
                      <a:pt x="135" y="88"/>
                      <a:pt x="129" y="120"/>
                    </a:cubicBezTo>
                    <a:cubicBezTo>
                      <a:pt x="128" y="120"/>
                      <a:pt x="128" y="120"/>
                      <a:pt x="127" y="120"/>
                    </a:cubicBezTo>
                    <a:cubicBezTo>
                      <a:pt x="57" y="120"/>
                      <a:pt x="0" y="177"/>
                      <a:pt x="0" y="247"/>
                    </a:cubicBezTo>
                    <a:cubicBezTo>
                      <a:pt x="0" y="317"/>
                      <a:pt x="57" y="374"/>
                      <a:pt x="127" y="374"/>
                    </a:cubicBezTo>
                    <a:cubicBezTo>
                      <a:pt x="216" y="374"/>
                      <a:pt x="216" y="374"/>
                      <a:pt x="216" y="374"/>
                    </a:cubicBezTo>
                    <a:cubicBezTo>
                      <a:pt x="222" y="374"/>
                      <a:pt x="227" y="369"/>
                      <a:pt x="227" y="362"/>
                    </a:cubicBezTo>
                    <a:cubicBezTo>
                      <a:pt x="227" y="356"/>
                      <a:pt x="222" y="351"/>
                      <a:pt x="216" y="351"/>
                    </a:cubicBezTo>
                    <a:cubicBezTo>
                      <a:pt x="127" y="351"/>
                      <a:pt x="127" y="351"/>
                      <a:pt x="127" y="351"/>
                    </a:cubicBezTo>
                    <a:cubicBezTo>
                      <a:pt x="70" y="351"/>
                      <a:pt x="23" y="304"/>
                      <a:pt x="23" y="247"/>
                    </a:cubicBezTo>
                    <a:cubicBezTo>
                      <a:pt x="23" y="189"/>
                      <a:pt x="70" y="142"/>
                      <a:pt x="127" y="142"/>
                    </a:cubicBezTo>
                    <a:cubicBezTo>
                      <a:pt x="130" y="142"/>
                      <a:pt x="134" y="143"/>
                      <a:pt x="137" y="143"/>
                    </a:cubicBezTo>
                    <a:cubicBezTo>
                      <a:pt x="143" y="143"/>
                      <a:pt x="149" y="139"/>
                      <a:pt x="150" y="133"/>
                    </a:cubicBezTo>
                    <a:cubicBezTo>
                      <a:pt x="154" y="103"/>
                      <a:pt x="169" y="75"/>
                      <a:pt x="192" y="55"/>
                    </a:cubicBezTo>
                    <a:cubicBezTo>
                      <a:pt x="215" y="34"/>
                      <a:pt x="244" y="23"/>
                      <a:pt x="275" y="23"/>
                    </a:cubicBezTo>
                    <a:cubicBezTo>
                      <a:pt x="346" y="23"/>
                      <a:pt x="403" y="80"/>
                      <a:pt x="403" y="150"/>
                    </a:cubicBezTo>
                    <a:cubicBezTo>
                      <a:pt x="403" y="153"/>
                      <a:pt x="402" y="156"/>
                      <a:pt x="402" y="158"/>
                    </a:cubicBezTo>
                    <a:cubicBezTo>
                      <a:pt x="402" y="159"/>
                      <a:pt x="402" y="159"/>
                      <a:pt x="402" y="159"/>
                    </a:cubicBezTo>
                    <a:cubicBezTo>
                      <a:pt x="402" y="163"/>
                      <a:pt x="403" y="166"/>
                      <a:pt x="406" y="168"/>
                    </a:cubicBezTo>
                    <a:cubicBezTo>
                      <a:pt x="408" y="171"/>
                      <a:pt x="411" y="172"/>
                      <a:pt x="415" y="172"/>
                    </a:cubicBezTo>
                    <a:cubicBezTo>
                      <a:pt x="418" y="171"/>
                      <a:pt x="421" y="171"/>
                      <a:pt x="424" y="171"/>
                    </a:cubicBezTo>
                    <a:cubicBezTo>
                      <a:pt x="473" y="171"/>
                      <a:pt x="514" y="211"/>
                      <a:pt x="514" y="261"/>
                    </a:cubicBezTo>
                    <a:cubicBezTo>
                      <a:pt x="514" y="311"/>
                      <a:pt x="473" y="351"/>
                      <a:pt x="424" y="351"/>
                    </a:cubicBezTo>
                    <a:cubicBezTo>
                      <a:pt x="330" y="351"/>
                      <a:pt x="330" y="351"/>
                      <a:pt x="330" y="351"/>
                    </a:cubicBezTo>
                    <a:cubicBezTo>
                      <a:pt x="324" y="351"/>
                      <a:pt x="319" y="356"/>
                      <a:pt x="319" y="362"/>
                    </a:cubicBezTo>
                    <a:cubicBezTo>
                      <a:pt x="319" y="369"/>
                      <a:pt x="324" y="374"/>
                      <a:pt x="330" y="374"/>
                    </a:cubicBezTo>
                    <a:cubicBezTo>
                      <a:pt x="424" y="374"/>
                      <a:pt x="424" y="374"/>
                      <a:pt x="424" y="374"/>
                    </a:cubicBezTo>
                    <a:cubicBezTo>
                      <a:pt x="486" y="374"/>
                      <a:pt x="537" y="323"/>
                      <a:pt x="537" y="261"/>
                    </a:cubicBezTo>
                    <a:cubicBezTo>
                      <a:pt x="537" y="199"/>
                      <a:pt x="487" y="149"/>
                      <a:pt x="426" y="1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58" name="Freeform 19"/>
              <p:cNvSpPr>
                <a:spLocks/>
              </p:cNvSpPr>
              <p:nvPr/>
            </p:nvSpPr>
            <p:spPr bwMode="auto">
              <a:xfrm>
                <a:off x="2571530" y="2187432"/>
                <a:ext cx="129030" cy="113909"/>
              </a:xfrm>
              <a:custGeom>
                <a:avLst/>
                <a:gdLst>
                  <a:gd name="T0" fmla="*/ 96 w 108"/>
                  <a:gd name="T1" fmla="*/ 23 h 96"/>
                  <a:gd name="T2" fmla="*/ 108 w 108"/>
                  <a:gd name="T3" fmla="*/ 12 h 96"/>
                  <a:gd name="T4" fmla="*/ 96 w 108"/>
                  <a:gd name="T5" fmla="*/ 0 h 96"/>
                  <a:gd name="T6" fmla="*/ 1 w 108"/>
                  <a:gd name="T7" fmla="*/ 83 h 96"/>
                  <a:gd name="T8" fmla="*/ 11 w 108"/>
                  <a:gd name="T9" fmla="*/ 96 h 96"/>
                  <a:gd name="T10" fmla="*/ 13 w 108"/>
                  <a:gd name="T11" fmla="*/ 96 h 96"/>
                  <a:gd name="T12" fmla="*/ 24 w 108"/>
                  <a:gd name="T13" fmla="*/ 86 h 96"/>
                  <a:gd name="T14" fmla="*/ 96 w 108"/>
                  <a:gd name="T15" fmla="*/ 23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96">
                    <a:moveTo>
                      <a:pt x="96" y="23"/>
                    </a:moveTo>
                    <a:cubicBezTo>
                      <a:pt x="103" y="23"/>
                      <a:pt x="108" y="18"/>
                      <a:pt x="108" y="12"/>
                    </a:cubicBezTo>
                    <a:cubicBezTo>
                      <a:pt x="108" y="5"/>
                      <a:pt x="103" y="0"/>
                      <a:pt x="96" y="0"/>
                    </a:cubicBezTo>
                    <a:cubicBezTo>
                      <a:pt x="49" y="0"/>
                      <a:pt x="8" y="36"/>
                      <a:pt x="1" y="83"/>
                    </a:cubicBezTo>
                    <a:cubicBezTo>
                      <a:pt x="0" y="90"/>
                      <a:pt x="5" y="95"/>
                      <a:pt x="11" y="96"/>
                    </a:cubicBezTo>
                    <a:cubicBezTo>
                      <a:pt x="11" y="96"/>
                      <a:pt x="12" y="96"/>
                      <a:pt x="13" y="96"/>
                    </a:cubicBezTo>
                    <a:cubicBezTo>
                      <a:pt x="18" y="96"/>
                      <a:pt x="23" y="92"/>
                      <a:pt x="24" y="86"/>
                    </a:cubicBezTo>
                    <a:cubicBezTo>
                      <a:pt x="29" y="50"/>
                      <a:pt x="60" y="23"/>
                      <a:pt x="96"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59" name="Freeform 20"/>
              <p:cNvSpPr>
                <a:spLocks/>
              </p:cNvSpPr>
              <p:nvPr/>
            </p:nvSpPr>
            <p:spPr bwMode="auto">
              <a:xfrm>
                <a:off x="2613364" y="2403659"/>
                <a:ext cx="141631" cy="224291"/>
              </a:xfrm>
              <a:custGeom>
                <a:avLst/>
                <a:gdLst>
                  <a:gd name="T0" fmla="*/ 106 w 119"/>
                  <a:gd name="T1" fmla="*/ 63 h 188"/>
                  <a:gd name="T2" fmla="*/ 114 w 119"/>
                  <a:gd name="T3" fmla="*/ 59 h 188"/>
                  <a:gd name="T4" fmla="*/ 113 w 119"/>
                  <a:gd name="T5" fmla="*/ 43 h 188"/>
                  <a:gd name="T6" fmla="*/ 72 w 119"/>
                  <a:gd name="T7" fmla="*/ 6 h 188"/>
                  <a:gd name="T8" fmla="*/ 47 w 119"/>
                  <a:gd name="T9" fmla="*/ 6 h 188"/>
                  <a:gd name="T10" fmla="*/ 5 w 119"/>
                  <a:gd name="T11" fmla="*/ 43 h 188"/>
                  <a:gd name="T12" fmla="*/ 4 w 119"/>
                  <a:gd name="T13" fmla="*/ 59 h 188"/>
                  <a:gd name="T14" fmla="*/ 20 w 119"/>
                  <a:gd name="T15" fmla="*/ 60 h 188"/>
                  <a:gd name="T16" fmla="*/ 48 w 119"/>
                  <a:gd name="T17" fmla="*/ 36 h 188"/>
                  <a:gd name="T18" fmla="*/ 48 w 119"/>
                  <a:gd name="T19" fmla="*/ 176 h 188"/>
                  <a:gd name="T20" fmla="*/ 59 w 119"/>
                  <a:gd name="T21" fmla="*/ 188 h 188"/>
                  <a:gd name="T22" fmla="*/ 71 w 119"/>
                  <a:gd name="T23" fmla="*/ 176 h 188"/>
                  <a:gd name="T24" fmla="*/ 71 w 119"/>
                  <a:gd name="T25" fmla="*/ 36 h 188"/>
                  <a:gd name="T26" fmla="*/ 98 w 119"/>
                  <a:gd name="T27" fmla="*/ 60 h 188"/>
                  <a:gd name="T28" fmla="*/ 106 w 119"/>
                  <a:gd name="T29" fmla="*/ 6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188">
                    <a:moveTo>
                      <a:pt x="106" y="63"/>
                    </a:moveTo>
                    <a:cubicBezTo>
                      <a:pt x="109" y="63"/>
                      <a:pt x="112" y="62"/>
                      <a:pt x="114" y="59"/>
                    </a:cubicBezTo>
                    <a:cubicBezTo>
                      <a:pt x="119" y="55"/>
                      <a:pt x="118" y="47"/>
                      <a:pt x="113" y="43"/>
                    </a:cubicBezTo>
                    <a:cubicBezTo>
                      <a:pt x="72" y="6"/>
                      <a:pt x="72" y="6"/>
                      <a:pt x="72" y="6"/>
                    </a:cubicBezTo>
                    <a:cubicBezTo>
                      <a:pt x="65" y="0"/>
                      <a:pt x="54" y="0"/>
                      <a:pt x="47" y="6"/>
                    </a:cubicBezTo>
                    <a:cubicBezTo>
                      <a:pt x="5" y="43"/>
                      <a:pt x="5" y="43"/>
                      <a:pt x="5" y="43"/>
                    </a:cubicBezTo>
                    <a:cubicBezTo>
                      <a:pt x="0" y="47"/>
                      <a:pt x="0" y="55"/>
                      <a:pt x="4" y="59"/>
                    </a:cubicBezTo>
                    <a:cubicBezTo>
                      <a:pt x="8" y="64"/>
                      <a:pt x="16" y="65"/>
                      <a:pt x="20" y="60"/>
                    </a:cubicBezTo>
                    <a:cubicBezTo>
                      <a:pt x="48" y="36"/>
                      <a:pt x="48" y="36"/>
                      <a:pt x="48" y="36"/>
                    </a:cubicBezTo>
                    <a:cubicBezTo>
                      <a:pt x="48" y="176"/>
                      <a:pt x="48" y="176"/>
                      <a:pt x="48" y="176"/>
                    </a:cubicBezTo>
                    <a:cubicBezTo>
                      <a:pt x="48" y="183"/>
                      <a:pt x="53" y="188"/>
                      <a:pt x="59" y="188"/>
                    </a:cubicBezTo>
                    <a:cubicBezTo>
                      <a:pt x="66" y="188"/>
                      <a:pt x="71" y="183"/>
                      <a:pt x="71" y="176"/>
                    </a:cubicBezTo>
                    <a:cubicBezTo>
                      <a:pt x="71" y="36"/>
                      <a:pt x="71" y="36"/>
                      <a:pt x="71" y="36"/>
                    </a:cubicBezTo>
                    <a:cubicBezTo>
                      <a:pt x="98" y="60"/>
                      <a:pt x="98" y="60"/>
                      <a:pt x="98" y="60"/>
                    </a:cubicBezTo>
                    <a:cubicBezTo>
                      <a:pt x="100" y="62"/>
                      <a:pt x="103" y="63"/>
                      <a:pt x="106" y="6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grpSp>
      </p:grpSp>
      <p:grpSp>
        <p:nvGrpSpPr>
          <p:cNvPr id="2066" name="Group 2065"/>
          <p:cNvGrpSpPr/>
          <p:nvPr/>
        </p:nvGrpSpPr>
        <p:grpSpPr>
          <a:xfrm>
            <a:off x="5553778" y="2023622"/>
            <a:ext cx="1742171" cy="1059007"/>
            <a:chOff x="5524902" y="2023622"/>
            <a:chExt cx="1742171" cy="1059007"/>
          </a:xfrm>
        </p:grpSpPr>
        <p:grpSp>
          <p:nvGrpSpPr>
            <p:cNvPr id="38" name="Group 37"/>
            <p:cNvGrpSpPr/>
            <p:nvPr/>
          </p:nvGrpSpPr>
          <p:grpSpPr>
            <a:xfrm>
              <a:off x="5524902" y="2023622"/>
              <a:ext cx="1742171" cy="1059007"/>
              <a:chOff x="5524902" y="2023622"/>
              <a:chExt cx="1742171" cy="1059007"/>
            </a:xfrm>
          </p:grpSpPr>
          <p:sp>
            <p:nvSpPr>
              <p:cNvPr id="13" name="Rectangle 12"/>
              <p:cNvSpPr/>
              <p:nvPr/>
            </p:nvSpPr>
            <p:spPr>
              <a:xfrm>
                <a:off x="5524902" y="2023622"/>
                <a:ext cx="1742171" cy="1017961"/>
              </a:xfrm>
              <a:prstGeom prst="rect">
                <a:avLst/>
              </a:prstGeom>
              <a:gradFill>
                <a:gsLst>
                  <a:gs pos="0">
                    <a:srgbClr val="00197B"/>
                  </a:gs>
                  <a:gs pos="100000">
                    <a:srgbClr val="00197B">
                      <a:alpha val="0"/>
                    </a:srgbClr>
                  </a:gs>
                </a:gsLst>
                <a:lin ang="5400000" scaled="0"/>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lumMod val="50000"/>
                    </a:schemeClr>
                  </a:solidFill>
                </a:endParaRPr>
              </a:p>
            </p:txBody>
          </p:sp>
          <p:sp>
            <p:nvSpPr>
              <p:cNvPr id="37" name="Rectangle 36"/>
              <p:cNvSpPr/>
              <p:nvPr/>
            </p:nvSpPr>
            <p:spPr>
              <a:xfrm>
                <a:off x="5720930" y="2694831"/>
                <a:ext cx="1350113" cy="387798"/>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pPr algn="ctr"/>
                <a:r>
                  <a:rPr lang="en-US" sz="1200" dirty="0">
                    <a:solidFill>
                      <a:schemeClr val="accent1">
                        <a:lumMod val="50000"/>
                      </a:schemeClr>
                    </a:solidFill>
                    <a:latin typeface="+mj-lt"/>
                  </a:rPr>
                  <a:t>Secure Services</a:t>
                </a:r>
              </a:p>
              <a:p>
                <a:pPr algn="ctr"/>
                <a:r>
                  <a:rPr lang="en-US" sz="1200" dirty="0">
                    <a:solidFill>
                      <a:schemeClr val="accent1">
                        <a:lumMod val="50000"/>
                      </a:schemeClr>
                    </a:solidFill>
                    <a:latin typeface="+mj-lt"/>
                  </a:rPr>
                  <a:t>Applications</a:t>
                </a:r>
              </a:p>
            </p:txBody>
          </p:sp>
        </p:grpSp>
        <p:grpSp>
          <p:nvGrpSpPr>
            <p:cNvPr id="2064" name="Group 2063"/>
            <p:cNvGrpSpPr/>
            <p:nvPr/>
          </p:nvGrpSpPr>
          <p:grpSpPr>
            <a:xfrm>
              <a:off x="6144227" y="2097716"/>
              <a:ext cx="503520" cy="514608"/>
              <a:chOff x="6162699" y="2097716"/>
              <a:chExt cx="503520" cy="514608"/>
            </a:xfrm>
          </p:grpSpPr>
          <p:sp>
            <p:nvSpPr>
              <p:cNvPr id="60" name="Freeform 21"/>
              <p:cNvSpPr>
                <a:spLocks/>
              </p:cNvSpPr>
              <p:nvPr/>
            </p:nvSpPr>
            <p:spPr bwMode="auto">
              <a:xfrm>
                <a:off x="6353220" y="2097716"/>
                <a:ext cx="311991" cy="352817"/>
              </a:xfrm>
              <a:custGeom>
                <a:avLst/>
                <a:gdLst>
                  <a:gd name="T0" fmla="*/ 234 w 262"/>
                  <a:gd name="T1" fmla="*/ 37 h 296"/>
                  <a:gd name="T2" fmla="*/ 99 w 262"/>
                  <a:gd name="T3" fmla="*/ 37 h 296"/>
                  <a:gd name="T4" fmla="*/ 26 w 262"/>
                  <a:gd name="T5" fmla="*/ 111 h 296"/>
                  <a:gd name="T6" fmla="*/ 26 w 262"/>
                  <a:gd name="T7" fmla="*/ 122 h 296"/>
                  <a:gd name="T8" fmla="*/ 37 w 262"/>
                  <a:gd name="T9" fmla="*/ 122 h 296"/>
                  <a:gd name="T10" fmla="*/ 111 w 262"/>
                  <a:gd name="T11" fmla="*/ 49 h 296"/>
                  <a:gd name="T12" fmla="*/ 167 w 262"/>
                  <a:gd name="T13" fmla="*/ 25 h 296"/>
                  <a:gd name="T14" fmla="*/ 223 w 262"/>
                  <a:gd name="T15" fmla="*/ 49 h 296"/>
                  <a:gd name="T16" fmla="*/ 246 w 262"/>
                  <a:gd name="T17" fmla="*/ 105 h 296"/>
                  <a:gd name="T18" fmla="*/ 223 w 262"/>
                  <a:gd name="T19" fmla="*/ 161 h 296"/>
                  <a:gd name="T20" fmla="*/ 127 w 262"/>
                  <a:gd name="T21" fmla="*/ 257 h 296"/>
                  <a:gd name="T22" fmla="*/ 15 w 262"/>
                  <a:gd name="T23" fmla="*/ 257 h 296"/>
                  <a:gd name="T24" fmla="*/ 4 w 262"/>
                  <a:gd name="T25" fmla="*/ 257 h 296"/>
                  <a:gd name="T26" fmla="*/ 4 w 262"/>
                  <a:gd name="T27" fmla="*/ 268 h 296"/>
                  <a:gd name="T28" fmla="*/ 71 w 262"/>
                  <a:gd name="T29" fmla="*/ 296 h 296"/>
                  <a:gd name="T30" fmla="*/ 139 w 262"/>
                  <a:gd name="T31" fmla="*/ 268 h 296"/>
                  <a:gd name="T32" fmla="*/ 234 w 262"/>
                  <a:gd name="T33" fmla="*/ 173 h 296"/>
                  <a:gd name="T34" fmla="*/ 262 w 262"/>
                  <a:gd name="T35" fmla="*/ 105 h 296"/>
                  <a:gd name="T36" fmla="*/ 234 w 262"/>
                  <a:gd name="T37" fmla="*/ 3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2" h="296">
                    <a:moveTo>
                      <a:pt x="234" y="37"/>
                    </a:moveTo>
                    <a:cubicBezTo>
                      <a:pt x="197" y="0"/>
                      <a:pt x="137" y="0"/>
                      <a:pt x="99" y="37"/>
                    </a:cubicBezTo>
                    <a:cubicBezTo>
                      <a:pt x="26" y="111"/>
                      <a:pt x="26" y="111"/>
                      <a:pt x="26" y="111"/>
                    </a:cubicBezTo>
                    <a:cubicBezTo>
                      <a:pt x="23" y="114"/>
                      <a:pt x="23" y="119"/>
                      <a:pt x="26" y="122"/>
                    </a:cubicBezTo>
                    <a:cubicBezTo>
                      <a:pt x="29" y="125"/>
                      <a:pt x="34" y="125"/>
                      <a:pt x="37" y="122"/>
                    </a:cubicBezTo>
                    <a:cubicBezTo>
                      <a:pt x="111" y="49"/>
                      <a:pt x="111" y="49"/>
                      <a:pt x="111" y="49"/>
                    </a:cubicBezTo>
                    <a:cubicBezTo>
                      <a:pt x="125" y="34"/>
                      <a:pt x="145" y="25"/>
                      <a:pt x="167" y="25"/>
                    </a:cubicBezTo>
                    <a:cubicBezTo>
                      <a:pt x="188" y="25"/>
                      <a:pt x="208" y="34"/>
                      <a:pt x="223" y="49"/>
                    </a:cubicBezTo>
                    <a:cubicBezTo>
                      <a:pt x="238" y="64"/>
                      <a:pt x="246" y="84"/>
                      <a:pt x="246" y="105"/>
                    </a:cubicBezTo>
                    <a:cubicBezTo>
                      <a:pt x="246" y="126"/>
                      <a:pt x="238" y="146"/>
                      <a:pt x="223" y="161"/>
                    </a:cubicBezTo>
                    <a:cubicBezTo>
                      <a:pt x="127" y="257"/>
                      <a:pt x="127" y="257"/>
                      <a:pt x="127" y="257"/>
                    </a:cubicBezTo>
                    <a:cubicBezTo>
                      <a:pt x="96" y="288"/>
                      <a:pt x="46" y="288"/>
                      <a:pt x="15" y="257"/>
                    </a:cubicBezTo>
                    <a:cubicBezTo>
                      <a:pt x="12" y="254"/>
                      <a:pt x="7" y="254"/>
                      <a:pt x="4" y="257"/>
                    </a:cubicBezTo>
                    <a:cubicBezTo>
                      <a:pt x="0" y="260"/>
                      <a:pt x="0" y="265"/>
                      <a:pt x="4" y="268"/>
                    </a:cubicBezTo>
                    <a:cubicBezTo>
                      <a:pt x="22" y="287"/>
                      <a:pt x="47" y="296"/>
                      <a:pt x="71" y="296"/>
                    </a:cubicBezTo>
                    <a:cubicBezTo>
                      <a:pt x="96" y="296"/>
                      <a:pt x="120" y="287"/>
                      <a:pt x="139" y="268"/>
                    </a:cubicBezTo>
                    <a:cubicBezTo>
                      <a:pt x="234" y="173"/>
                      <a:pt x="234" y="173"/>
                      <a:pt x="234" y="173"/>
                    </a:cubicBezTo>
                    <a:cubicBezTo>
                      <a:pt x="252" y="155"/>
                      <a:pt x="262" y="131"/>
                      <a:pt x="262" y="105"/>
                    </a:cubicBezTo>
                    <a:cubicBezTo>
                      <a:pt x="262" y="79"/>
                      <a:pt x="252" y="55"/>
                      <a:pt x="234" y="3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61" name="Freeform 22"/>
              <p:cNvSpPr>
                <a:spLocks noEditPoints="1"/>
              </p:cNvSpPr>
              <p:nvPr/>
            </p:nvSpPr>
            <p:spPr bwMode="auto">
              <a:xfrm>
                <a:off x="6353220" y="2108805"/>
                <a:ext cx="312999" cy="342736"/>
              </a:xfrm>
              <a:custGeom>
                <a:avLst/>
                <a:gdLst>
                  <a:gd name="T0" fmla="*/ 71 w 263"/>
                  <a:gd name="T1" fmla="*/ 288 h 288"/>
                  <a:gd name="T2" fmla="*/ 3 w 263"/>
                  <a:gd name="T3" fmla="*/ 260 h 288"/>
                  <a:gd name="T4" fmla="*/ 0 w 263"/>
                  <a:gd name="T5" fmla="*/ 254 h 288"/>
                  <a:gd name="T6" fmla="*/ 3 w 263"/>
                  <a:gd name="T7" fmla="*/ 247 h 288"/>
                  <a:gd name="T8" fmla="*/ 15 w 263"/>
                  <a:gd name="T9" fmla="*/ 247 h 288"/>
                  <a:gd name="T10" fmla="*/ 71 w 263"/>
                  <a:gd name="T11" fmla="*/ 270 h 288"/>
                  <a:gd name="T12" fmla="*/ 127 w 263"/>
                  <a:gd name="T13" fmla="*/ 247 h 288"/>
                  <a:gd name="T14" fmla="*/ 222 w 263"/>
                  <a:gd name="T15" fmla="*/ 152 h 288"/>
                  <a:gd name="T16" fmla="*/ 245 w 263"/>
                  <a:gd name="T17" fmla="*/ 96 h 288"/>
                  <a:gd name="T18" fmla="*/ 222 w 263"/>
                  <a:gd name="T19" fmla="*/ 40 h 288"/>
                  <a:gd name="T20" fmla="*/ 167 w 263"/>
                  <a:gd name="T21" fmla="*/ 17 h 288"/>
                  <a:gd name="T22" fmla="*/ 111 w 263"/>
                  <a:gd name="T23" fmla="*/ 40 h 288"/>
                  <a:gd name="T24" fmla="*/ 38 w 263"/>
                  <a:gd name="T25" fmla="*/ 114 h 288"/>
                  <a:gd name="T26" fmla="*/ 25 w 263"/>
                  <a:gd name="T27" fmla="*/ 114 h 288"/>
                  <a:gd name="T28" fmla="*/ 23 w 263"/>
                  <a:gd name="T29" fmla="*/ 107 h 288"/>
                  <a:gd name="T30" fmla="*/ 25 w 263"/>
                  <a:gd name="T31" fmla="*/ 101 h 288"/>
                  <a:gd name="T32" fmla="*/ 99 w 263"/>
                  <a:gd name="T33" fmla="*/ 28 h 288"/>
                  <a:gd name="T34" fmla="*/ 167 w 263"/>
                  <a:gd name="T35" fmla="*/ 0 h 288"/>
                  <a:gd name="T36" fmla="*/ 235 w 263"/>
                  <a:gd name="T37" fmla="*/ 28 h 288"/>
                  <a:gd name="T38" fmla="*/ 263 w 263"/>
                  <a:gd name="T39" fmla="*/ 96 h 288"/>
                  <a:gd name="T40" fmla="*/ 235 w 263"/>
                  <a:gd name="T41" fmla="*/ 164 h 288"/>
                  <a:gd name="T42" fmla="*/ 139 w 263"/>
                  <a:gd name="T43" fmla="*/ 260 h 288"/>
                  <a:gd name="T44" fmla="*/ 71 w 263"/>
                  <a:gd name="T45" fmla="*/ 288 h 288"/>
                  <a:gd name="T46" fmla="*/ 9 w 263"/>
                  <a:gd name="T47" fmla="*/ 247 h 288"/>
                  <a:gd name="T48" fmla="*/ 4 w 263"/>
                  <a:gd name="T49" fmla="*/ 249 h 288"/>
                  <a:gd name="T50" fmla="*/ 2 w 263"/>
                  <a:gd name="T51" fmla="*/ 254 h 288"/>
                  <a:gd name="T52" fmla="*/ 4 w 263"/>
                  <a:gd name="T53" fmla="*/ 259 h 288"/>
                  <a:gd name="T54" fmla="*/ 71 w 263"/>
                  <a:gd name="T55" fmla="*/ 286 h 288"/>
                  <a:gd name="T56" fmla="*/ 138 w 263"/>
                  <a:gd name="T57" fmla="*/ 259 h 288"/>
                  <a:gd name="T58" fmla="*/ 234 w 263"/>
                  <a:gd name="T59" fmla="*/ 163 h 288"/>
                  <a:gd name="T60" fmla="*/ 261 w 263"/>
                  <a:gd name="T61" fmla="*/ 96 h 288"/>
                  <a:gd name="T62" fmla="*/ 234 w 263"/>
                  <a:gd name="T63" fmla="*/ 29 h 288"/>
                  <a:gd name="T64" fmla="*/ 167 w 263"/>
                  <a:gd name="T65" fmla="*/ 1 h 288"/>
                  <a:gd name="T66" fmla="*/ 100 w 263"/>
                  <a:gd name="T67" fmla="*/ 29 h 288"/>
                  <a:gd name="T68" fmla="*/ 27 w 263"/>
                  <a:gd name="T69" fmla="*/ 102 h 288"/>
                  <a:gd name="T70" fmla="*/ 25 w 263"/>
                  <a:gd name="T71" fmla="*/ 107 h 288"/>
                  <a:gd name="T72" fmla="*/ 27 w 263"/>
                  <a:gd name="T73" fmla="*/ 112 h 288"/>
                  <a:gd name="T74" fmla="*/ 37 w 263"/>
                  <a:gd name="T75" fmla="*/ 112 h 288"/>
                  <a:gd name="T76" fmla="*/ 110 w 263"/>
                  <a:gd name="T77" fmla="*/ 39 h 288"/>
                  <a:gd name="T78" fmla="*/ 167 w 263"/>
                  <a:gd name="T79" fmla="*/ 16 h 288"/>
                  <a:gd name="T80" fmla="*/ 224 w 263"/>
                  <a:gd name="T81" fmla="*/ 39 h 288"/>
                  <a:gd name="T82" fmla="*/ 247 w 263"/>
                  <a:gd name="T83" fmla="*/ 96 h 288"/>
                  <a:gd name="T84" fmla="*/ 224 w 263"/>
                  <a:gd name="T85" fmla="*/ 153 h 288"/>
                  <a:gd name="T86" fmla="*/ 128 w 263"/>
                  <a:gd name="T87" fmla="*/ 249 h 288"/>
                  <a:gd name="T88" fmla="*/ 71 w 263"/>
                  <a:gd name="T89" fmla="*/ 272 h 288"/>
                  <a:gd name="T90" fmla="*/ 14 w 263"/>
                  <a:gd name="T91" fmla="*/ 249 h 288"/>
                  <a:gd name="T92" fmla="*/ 9 w 263"/>
                  <a:gd name="T93" fmla="*/ 24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3" h="288">
                    <a:moveTo>
                      <a:pt x="71" y="288"/>
                    </a:moveTo>
                    <a:cubicBezTo>
                      <a:pt x="45" y="288"/>
                      <a:pt x="21" y="278"/>
                      <a:pt x="3" y="260"/>
                    </a:cubicBezTo>
                    <a:cubicBezTo>
                      <a:pt x="1" y="258"/>
                      <a:pt x="0" y="256"/>
                      <a:pt x="0" y="254"/>
                    </a:cubicBezTo>
                    <a:cubicBezTo>
                      <a:pt x="0" y="251"/>
                      <a:pt x="1" y="249"/>
                      <a:pt x="3" y="247"/>
                    </a:cubicBezTo>
                    <a:cubicBezTo>
                      <a:pt x="6" y="244"/>
                      <a:pt x="12" y="244"/>
                      <a:pt x="15" y="247"/>
                    </a:cubicBezTo>
                    <a:cubicBezTo>
                      <a:pt x="30" y="262"/>
                      <a:pt x="50" y="270"/>
                      <a:pt x="71" y="270"/>
                    </a:cubicBezTo>
                    <a:cubicBezTo>
                      <a:pt x="92" y="270"/>
                      <a:pt x="112" y="262"/>
                      <a:pt x="127" y="247"/>
                    </a:cubicBezTo>
                    <a:cubicBezTo>
                      <a:pt x="222" y="152"/>
                      <a:pt x="222" y="152"/>
                      <a:pt x="222" y="152"/>
                    </a:cubicBezTo>
                    <a:cubicBezTo>
                      <a:pt x="237" y="137"/>
                      <a:pt x="245" y="117"/>
                      <a:pt x="245" y="96"/>
                    </a:cubicBezTo>
                    <a:cubicBezTo>
                      <a:pt x="245" y="75"/>
                      <a:pt x="237" y="55"/>
                      <a:pt x="222" y="40"/>
                    </a:cubicBezTo>
                    <a:cubicBezTo>
                      <a:pt x="208" y="26"/>
                      <a:pt x="188" y="17"/>
                      <a:pt x="167" y="17"/>
                    </a:cubicBezTo>
                    <a:cubicBezTo>
                      <a:pt x="146" y="17"/>
                      <a:pt x="126" y="26"/>
                      <a:pt x="111" y="40"/>
                    </a:cubicBezTo>
                    <a:cubicBezTo>
                      <a:pt x="38" y="114"/>
                      <a:pt x="38" y="114"/>
                      <a:pt x="38" y="114"/>
                    </a:cubicBezTo>
                    <a:cubicBezTo>
                      <a:pt x="35" y="117"/>
                      <a:pt x="29" y="117"/>
                      <a:pt x="25" y="114"/>
                    </a:cubicBezTo>
                    <a:cubicBezTo>
                      <a:pt x="24" y="112"/>
                      <a:pt x="23" y="110"/>
                      <a:pt x="23" y="107"/>
                    </a:cubicBezTo>
                    <a:cubicBezTo>
                      <a:pt x="23" y="105"/>
                      <a:pt x="24" y="103"/>
                      <a:pt x="25" y="101"/>
                    </a:cubicBezTo>
                    <a:cubicBezTo>
                      <a:pt x="99" y="28"/>
                      <a:pt x="99" y="28"/>
                      <a:pt x="99" y="28"/>
                    </a:cubicBezTo>
                    <a:cubicBezTo>
                      <a:pt x="117" y="10"/>
                      <a:pt x="141" y="0"/>
                      <a:pt x="167" y="0"/>
                    </a:cubicBezTo>
                    <a:cubicBezTo>
                      <a:pt x="193" y="0"/>
                      <a:pt x="217" y="10"/>
                      <a:pt x="235" y="28"/>
                    </a:cubicBezTo>
                    <a:cubicBezTo>
                      <a:pt x="253" y="46"/>
                      <a:pt x="263" y="70"/>
                      <a:pt x="263" y="96"/>
                    </a:cubicBezTo>
                    <a:cubicBezTo>
                      <a:pt x="263" y="122"/>
                      <a:pt x="253" y="146"/>
                      <a:pt x="235" y="164"/>
                    </a:cubicBezTo>
                    <a:cubicBezTo>
                      <a:pt x="139" y="260"/>
                      <a:pt x="139" y="260"/>
                      <a:pt x="139" y="260"/>
                    </a:cubicBezTo>
                    <a:cubicBezTo>
                      <a:pt x="121" y="278"/>
                      <a:pt x="97" y="288"/>
                      <a:pt x="71" y="288"/>
                    </a:cubicBezTo>
                    <a:close/>
                    <a:moveTo>
                      <a:pt x="9" y="247"/>
                    </a:moveTo>
                    <a:cubicBezTo>
                      <a:pt x="7" y="247"/>
                      <a:pt x="6" y="247"/>
                      <a:pt x="4" y="249"/>
                    </a:cubicBezTo>
                    <a:cubicBezTo>
                      <a:pt x="3" y="250"/>
                      <a:pt x="2" y="252"/>
                      <a:pt x="2" y="254"/>
                    </a:cubicBezTo>
                    <a:cubicBezTo>
                      <a:pt x="2" y="255"/>
                      <a:pt x="3" y="257"/>
                      <a:pt x="4" y="259"/>
                    </a:cubicBezTo>
                    <a:cubicBezTo>
                      <a:pt x="22" y="276"/>
                      <a:pt x="46" y="286"/>
                      <a:pt x="71" y="286"/>
                    </a:cubicBezTo>
                    <a:cubicBezTo>
                      <a:pt x="96" y="286"/>
                      <a:pt x="120" y="276"/>
                      <a:pt x="138" y="259"/>
                    </a:cubicBezTo>
                    <a:cubicBezTo>
                      <a:pt x="234" y="163"/>
                      <a:pt x="234" y="163"/>
                      <a:pt x="234" y="163"/>
                    </a:cubicBezTo>
                    <a:cubicBezTo>
                      <a:pt x="251" y="145"/>
                      <a:pt x="261" y="121"/>
                      <a:pt x="261" y="96"/>
                    </a:cubicBezTo>
                    <a:cubicBezTo>
                      <a:pt x="261" y="71"/>
                      <a:pt x="251" y="47"/>
                      <a:pt x="234" y="29"/>
                    </a:cubicBezTo>
                    <a:cubicBezTo>
                      <a:pt x="216" y="11"/>
                      <a:pt x="192" y="1"/>
                      <a:pt x="167" y="1"/>
                    </a:cubicBezTo>
                    <a:cubicBezTo>
                      <a:pt x="142" y="1"/>
                      <a:pt x="118" y="11"/>
                      <a:pt x="100" y="29"/>
                    </a:cubicBezTo>
                    <a:cubicBezTo>
                      <a:pt x="27" y="102"/>
                      <a:pt x="27" y="102"/>
                      <a:pt x="27" y="102"/>
                    </a:cubicBezTo>
                    <a:cubicBezTo>
                      <a:pt x="25" y="104"/>
                      <a:pt x="25" y="105"/>
                      <a:pt x="25" y="107"/>
                    </a:cubicBezTo>
                    <a:cubicBezTo>
                      <a:pt x="25" y="109"/>
                      <a:pt x="25" y="111"/>
                      <a:pt x="27" y="112"/>
                    </a:cubicBezTo>
                    <a:cubicBezTo>
                      <a:pt x="29" y="115"/>
                      <a:pt x="34" y="115"/>
                      <a:pt x="37" y="112"/>
                    </a:cubicBezTo>
                    <a:cubicBezTo>
                      <a:pt x="110" y="39"/>
                      <a:pt x="110" y="39"/>
                      <a:pt x="110" y="39"/>
                    </a:cubicBezTo>
                    <a:cubicBezTo>
                      <a:pt x="125" y="24"/>
                      <a:pt x="145" y="16"/>
                      <a:pt x="167" y="16"/>
                    </a:cubicBezTo>
                    <a:cubicBezTo>
                      <a:pt x="188" y="16"/>
                      <a:pt x="209" y="24"/>
                      <a:pt x="224" y="39"/>
                    </a:cubicBezTo>
                    <a:cubicBezTo>
                      <a:pt x="239" y="54"/>
                      <a:pt x="247" y="74"/>
                      <a:pt x="247" y="96"/>
                    </a:cubicBezTo>
                    <a:cubicBezTo>
                      <a:pt x="247" y="118"/>
                      <a:pt x="239" y="138"/>
                      <a:pt x="224" y="153"/>
                    </a:cubicBezTo>
                    <a:cubicBezTo>
                      <a:pt x="128" y="249"/>
                      <a:pt x="128" y="249"/>
                      <a:pt x="128" y="249"/>
                    </a:cubicBezTo>
                    <a:cubicBezTo>
                      <a:pt x="113" y="264"/>
                      <a:pt x="93" y="272"/>
                      <a:pt x="71" y="272"/>
                    </a:cubicBezTo>
                    <a:cubicBezTo>
                      <a:pt x="50" y="272"/>
                      <a:pt x="29" y="264"/>
                      <a:pt x="14" y="249"/>
                    </a:cubicBezTo>
                    <a:cubicBezTo>
                      <a:pt x="13" y="247"/>
                      <a:pt x="11" y="247"/>
                      <a:pt x="9" y="2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62" name="Freeform 23"/>
              <p:cNvSpPr>
                <a:spLocks/>
              </p:cNvSpPr>
              <p:nvPr/>
            </p:nvSpPr>
            <p:spPr bwMode="auto">
              <a:xfrm>
                <a:off x="6163707" y="2265556"/>
                <a:ext cx="304934" cy="345256"/>
              </a:xfrm>
              <a:custGeom>
                <a:avLst/>
                <a:gdLst>
                  <a:gd name="T0" fmla="*/ 213 w 256"/>
                  <a:gd name="T1" fmla="*/ 189 h 290"/>
                  <a:gd name="T2" fmla="*/ 151 w 256"/>
                  <a:gd name="T3" fmla="*/ 251 h 290"/>
                  <a:gd name="T4" fmla="*/ 95 w 256"/>
                  <a:gd name="T5" fmla="*/ 274 h 290"/>
                  <a:gd name="T6" fmla="*/ 39 w 256"/>
                  <a:gd name="T7" fmla="*/ 251 h 290"/>
                  <a:gd name="T8" fmla="*/ 39 w 256"/>
                  <a:gd name="T9" fmla="*/ 138 h 290"/>
                  <a:gd name="T10" fmla="*/ 129 w 256"/>
                  <a:gd name="T11" fmla="*/ 48 h 290"/>
                  <a:gd name="T12" fmla="*/ 241 w 256"/>
                  <a:gd name="T13" fmla="*/ 48 h 290"/>
                  <a:gd name="T14" fmla="*/ 253 w 256"/>
                  <a:gd name="T15" fmla="*/ 48 h 290"/>
                  <a:gd name="T16" fmla="*/ 253 w 256"/>
                  <a:gd name="T17" fmla="*/ 37 h 290"/>
                  <a:gd name="T18" fmla="*/ 118 w 256"/>
                  <a:gd name="T19" fmla="*/ 37 h 290"/>
                  <a:gd name="T20" fmla="*/ 27 w 256"/>
                  <a:gd name="T21" fmla="*/ 127 h 290"/>
                  <a:gd name="T22" fmla="*/ 0 w 256"/>
                  <a:gd name="T23" fmla="*/ 195 h 290"/>
                  <a:gd name="T24" fmla="*/ 27 w 256"/>
                  <a:gd name="T25" fmla="*/ 262 h 290"/>
                  <a:gd name="T26" fmla="*/ 95 w 256"/>
                  <a:gd name="T27" fmla="*/ 290 h 290"/>
                  <a:gd name="T28" fmla="*/ 163 w 256"/>
                  <a:gd name="T29" fmla="*/ 262 h 290"/>
                  <a:gd name="T30" fmla="*/ 224 w 256"/>
                  <a:gd name="T31" fmla="*/ 200 h 290"/>
                  <a:gd name="T32" fmla="*/ 224 w 256"/>
                  <a:gd name="T33" fmla="*/ 189 h 290"/>
                  <a:gd name="T34" fmla="*/ 213 w 256"/>
                  <a:gd name="T35" fmla="*/ 189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90">
                    <a:moveTo>
                      <a:pt x="213" y="189"/>
                    </a:moveTo>
                    <a:cubicBezTo>
                      <a:pt x="151" y="251"/>
                      <a:pt x="151" y="251"/>
                      <a:pt x="151" y="251"/>
                    </a:cubicBezTo>
                    <a:cubicBezTo>
                      <a:pt x="136" y="266"/>
                      <a:pt x="116" y="274"/>
                      <a:pt x="95" y="274"/>
                    </a:cubicBezTo>
                    <a:cubicBezTo>
                      <a:pt x="74" y="274"/>
                      <a:pt x="54" y="266"/>
                      <a:pt x="39" y="251"/>
                    </a:cubicBezTo>
                    <a:cubicBezTo>
                      <a:pt x="8" y="220"/>
                      <a:pt x="8" y="170"/>
                      <a:pt x="39" y="138"/>
                    </a:cubicBezTo>
                    <a:cubicBezTo>
                      <a:pt x="129" y="48"/>
                      <a:pt x="129" y="48"/>
                      <a:pt x="129" y="48"/>
                    </a:cubicBezTo>
                    <a:cubicBezTo>
                      <a:pt x="160" y="17"/>
                      <a:pt x="210" y="17"/>
                      <a:pt x="241" y="48"/>
                    </a:cubicBezTo>
                    <a:cubicBezTo>
                      <a:pt x="244" y="52"/>
                      <a:pt x="250" y="52"/>
                      <a:pt x="253" y="48"/>
                    </a:cubicBezTo>
                    <a:cubicBezTo>
                      <a:pt x="256" y="45"/>
                      <a:pt x="256" y="40"/>
                      <a:pt x="253" y="37"/>
                    </a:cubicBezTo>
                    <a:cubicBezTo>
                      <a:pt x="215" y="0"/>
                      <a:pt x="155" y="0"/>
                      <a:pt x="118" y="37"/>
                    </a:cubicBezTo>
                    <a:cubicBezTo>
                      <a:pt x="27" y="127"/>
                      <a:pt x="27" y="127"/>
                      <a:pt x="27" y="127"/>
                    </a:cubicBezTo>
                    <a:cubicBezTo>
                      <a:pt x="10" y="145"/>
                      <a:pt x="0" y="169"/>
                      <a:pt x="0" y="195"/>
                    </a:cubicBezTo>
                    <a:cubicBezTo>
                      <a:pt x="0" y="220"/>
                      <a:pt x="10" y="244"/>
                      <a:pt x="27" y="262"/>
                    </a:cubicBezTo>
                    <a:cubicBezTo>
                      <a:pt x="45" y="280"/>
                      <a:pt x="69" y="290"/>
                      <a:pt x="95" y="290"/>
                    </a:cubicBezTo>
                    <a:cubicBezTo>
                      <a:pt x="121" y="290"/>
                      <a:pt x="145" y="280"/>
                      <a:pt x="163" y="262"/>
                    </a:cubicBezTo>
                    <a:cubicBezTo>
                      <a:pt x="224" y="200"/>
                      <a:pt x="224" y="200"/>
                      <a:pt x="224" y="200"/>
                    </a:cubicBezTo>
                    <a:cubicBezTo>
                      <a:pt x="228" y="197"/>
                      <a:pt x="228" y="192"/>
                      <a:pt x="224" y="189"/>
                    </a:cubicBezTo>
                    <a:cubicBezTo>
                      <a:pt x="221" y="186"/>
                      <a:pt x="216" y="186"/>
                      <a:pt x="213" y="18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63" name="Freeform 24"/>
              <p:cNvSpPr>
                <a:spLocks noEditPoints="1"/>
              </p:cNvSpPr>
              <p:nvPr/>
            </p:nvSpPr>
            <p:spPr bwMode="auto">
              <a:xfrm>
                <a:off x="6162699" y="2275132"/>
                <a:ext cx="306950" cy="337192"/>
              </a:xfrm>
              <a:custGeom>
                <a:avLst/>
                <a:gdLst>
                  <a:gd name="T0" fmla="*/ 96 w 258"/>
                  <a:gd name="T1" fmla="*/ 283 h 283"/>
                  <a:gd name="T2" fmla="*/ 28 w 258"/>
                  <a:gd name="T3" fmla="*/ 255 h 283"/>
                  <a:gd name="T4" fmla="*/ 0 w 258"/>
                  <a:gd name="T5" fmla="*/ 187 h 283"/>
                  <a:gd name="T6" fmla="*/ 28 w 258"/>
                  <a:gd name="T7" fmla="*/ 119 h 283"/>
                  <a:gd name="T8" fmla="*/ 118 w 258"/>
                  <a:gd name="T9" fmla="*/ 28 h 283"/>
                  <a:gd name="T10" fmla="*/ 186 w 258"/>
                  <a:gd name="T11" fmla="*/ 0 h 283"/>
                  <a:gd name="T12" fmla="*/ 254 w 258"/>
                  <a:gd name="T13" fmla="*/ 28 h 283"/>
                  <a:gd name="T14" fmla="*/ 254 w 258"/>
                  <a:gd name="T15" fmla="*/ 41 h 283"/>
                  <a:gd name="T16" fmla="*/ 242 w 258"/>
                  <a:gd name="T17" fmla="*/ 41 h 283"/>
                  <a:gd name="T18" fmla="*/ 186 w 258"/>
                  <a:gd name="T19" fmla="*/ 18 h 283"/>
                  <a:gd name="T20" fmla="*/ 130 w 258"/>
                  <a:gd name="T21" fmla="*/ 41 h 283"/>
                  <a:gd name="T22" fmla="*/ 40 w 258"/>
                  <a:gd name="T23" fmla="*/ 131 h 283"/>
                  <a:gd name="T24" fmla="*/ 17 w 258"/>
                  <a:gd name="T25" fmla="*/ 187 h 283"/>
                  <a:gd name="T26" fmla="*/ 40 w 258"/>
                  <a:gd name="T27" fmla="*/ 242 h 283"/>
                  <a:gd name="T28" fmla="*/ 96 w 258"/>
                  <a:gd name="T29" fmla="*/ 265 h 283"/>
                  <a:gd name="T30" fmla="*/ 152 w 258"/>
                  <a:gd name="T31" fmla="*/ 242 h 283"/>
                  <a:gd name="T32" fmla="*/ 214 w 258"/>
                  <a:gd name="T33" fmla="*/ 180 h 283"/>
                  <a:gd name="T34" fmla="*/ 226 w 258"/>
                  <a:gd name="T35" fmla="*/ 180 h 283"/>
                  <a:gd name="T36" fmla="*/ 226 w 258"/>
                  <a:gd name="T37" fmla="*/ 193 h 283"/>
                  <a:gd name="T38" fmla="*/ 164 w 258"/>
                  <a:gd name="T39" fmla="*/ 255 h 283"/>
                  <a:gd name="T40" fmla="*/ 96 w 258"/>
                  <a:gd name="T41" fmla="*/ 283 h 283"/>
                  <a:gd name="T42" fmla="*/ 186 w 258"/>
                  <a:gd name="T43" fmla="*/ 2 h 283"/>
                  <a:gd name="T44" fmla="*/ 119 w 258"/>
                  <a:gd name="T45" fmla="*/ 30 h 283"/>
                  <a:gd name="T46" fmla="*/ 29 w 258"/>
                  <a:gd name="T47" fmla="*/ 120 h 283"/>
                  <a:gd name="T48" fmla="*/ 2 w 258"/>
                  <a:gd name="T49" fmla="*/ 187 h 283"/>
                  <a:gd name="T50" fmla="*/ 29 w 258"/>
                  <a:gd name="T51" fmla="*/ 254 h 283"/>
                  <a:gd name="T52" fmla="*/ 96 w 258"/>
                  <a:gd name="T53" fmla="*/ 281 h 283"/>
                  <a:gd name="T54" fmla="*/ 163 w 258"/>
                  <a:gd name="T55" fmla="*/ 254 h 283"/>
                  <a:gd name="T56" fmla="*/ 225 w 258"/>
                  <a:gd name="T57" fmla="*/ 192 h 283"/>
                  <a:gd name="T58" fmla="*/ 225 w 258"/>
                  <a:gd name="T59" fmla="*/ 182 h 283"/>
                  <a:gd name="T60" fmla="*/ 215 w 258"/>
                  <a:gd name="T61" fmla="*/ 182 h 283"/>
                  <a:gd name="T62" fmla="*/ 153 w 258"/>
                  <a:gd name="T63" fmla="*/ 244 h 283"/>
                  <a:gd name="T64" fmla="*/ 96 w 258"/>
                  <a:gd name="T65" fmla="*/ 267 h 283"/>
                  <a:gd name="T66" fmla="*/ 39 w 258"/>
                  <a:gd name="T67" fmla="*/ 244 h 283"/>
                  <a:gd name="T68" fmla="*/ 16 w 258"/>
                  <a:gd name="T69" fmla="*/ 187 h 283"/>
                  <a:gd name="T70" fmla="*/ 39 w 258"/>
                  <a:gd name="T71" fmla="*/ 130 h 283"/>
                  <a:gd name="T72" fmla="*/ 129 w 258"/>
                  <a:gd name="T73" fmla="*/ 40 h 283"/>
                  <a:gd name="T74" fmla="*/ 186 w 258"/>
                  <a:gd name="T75" fmla="*/ 16 h 283"/>
                  <a:gd name="T76" fmla="*/ 243 w 258"/>
                  <a:gd name="T77" fmla="*/ 40 h 283"/>
                  <a:gd name="T78" fmla="*/ 253 w 258"/>
                  <a:gd name="T79" fmla="*/ 40 h 283"/>
                  <a:gd name="T80" fmla="*/ 253 w 258"/>
                  <a:gd name="T81" fmla="*/ 30 h 283"/>
                  <a:gd name="T82" fmla="*/ 186 w 258"/>
                  <a:gd name="T83" fmla="*/ 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8" h="283">
                    <a:moveTo>
                      <a:pt x="96" y="283"/>
                    </a:moveTo>
                    <a:cubicBezTo>
                      <a:pt x="70" y="283"/>
                      <a:pt x="46" y="273"/>
                      <a:pt x="28" y="255"/>
                    </a:cubicBezTo>
                    <a:cubicBezTo>
                      <a:pt x="10" y="237"/>
                      <a:pt x="0" y="213"/>
                      <a:pt x="0" y="187"/>
                    </a:cubicBezTo>
                    <a:cubicBezTo>
                      <a:pt x="0" y="161"/>
                      <a:pt x="10" y="137"/>
                      <a:pt x="28" y="119"/>
                    </a:cubicBezTo>
                    <a:cubicBezTo>
                      <a:pt x="118" y="28"/>
                      <a:pt x="118" y="28"/>
                      <a:pt x="118" y="28"/>
                    </a:cubicBezTo>
                    <a:cubicBezTo>
                      <a:pt x="136" y="10"/>
                      <a:pt x="160" y="0"/>
                      <a:pt x="186" y="0"/>
                    </a:cubicBezTo>
                    <a:cubicBezTo>
                      <a:pt x="212" y="0"/>
                      <a:pt x="236" y="10"/>
                      <a:pt x="254" y="28"/>
                    </a:cubicBezTo>
                    <a:cubicBezTo>
                      <a:pt x="258" y="32"/>
                      <a:pt x="258" y="38"/>
                      <a:pt x="254" y="41"/>
                    </a:cubicBezTo>
                    <a:cubicBezTo>
                      <a:pt x="251" y="44"/>
                      <a:pt x="245" y="44"/>
                      <a:pt x="242" y="41"/>
                    </a:cubicBezTo>
                    <a:cubicBezTo>
                      <a:pt x="227" y="26"/>
                      <a:pt x="207" y="18"/>
                      <a:pt x="186" y="18"/>
                    </a:cubicBezTo>
                    <a:cubicBezTo>
                      <a:pt x="165" y="18"/>
                      <a:pt x="145" y="26"/>
                      <a:pt x="130" y="41"/>
                    </a:cubicBezTo>
                    <a:cubicBezTo>
                      <a:pt x="40" y="131"/>
                      <a:pt x="40" y="131"/>
                      <a:pt x="40" y="131"/>
                    </a:cubicBezTo>
                    <a:cubicBezTo>
                      <a:pt x="26" y="146"/>
                      <a:pt x="17" y="166"/>
                      <a:pt x="17" y="187"/>
                    </a:cubicBezTo>
                    <a:cubicBezTo>
                      <a:pt x="17" y="208"/>
                      <a:pt x="26" y="228"/>
                      <a:pt x="40" y="242"/>
                    </a:cubicBezTo>
                    <a:cubicBezTo>
                      <a:pt x="55" y="257"/>
                      <a:pt x="75" y="265"/>
                      <a:pt x="96" y="265"/>
                    </a:cubicBezTo>
                    <a:cubicBezTo>
                      <a:pt x="117" y="265"/>
                      <a:pt x="137" y="257"/>
                      <a:pt x="152" y="242"/>
                    </a:cubicBezTo>
                    <a:cubicBezTo>
                      <a:pt x="214" y="180"/>
                      <a:pt x="214" y="180"/>
                      <a:pt x="214" y="180"/>
                    </a:cubicBezTo>
                    <a:cubicBezTo>
                      <a:pt x="217" y="177"/>
                      <a:pt x="223" y="177"/>
                      <a:pt x="226" y="180"/>
                    </a:cubicBezTo>
                    <a:cubicBezTo>
                      <a:pt x="230" y="184"/>
                      <a:pt x="230" y="190"/>
                      <a:pt x="226" y="193"/>
                    </a:cubicBezTo>
                    <a:cubicBezTo>
                      <a:pt x="164" y="255"/>
                      <a:pt x="164" y="255"/>
                      <a:pt x="164" y="255"/>
                    </a:cubicBezTo>
                    <a:cubicBezTo>
                      <a:pt x="146" y="273"/>
                      <a:pt x="122" y="283"/>
                      <a:pt x="96" y="283"/>
                    </a:cubicBezTo>
                    <a:close/>
                    <a:moveTo>
                      <a:pt x="186" y="2"/>
                    </a:moveTo>
                    <a:cubicBezTo>
                      <a:pt x="161" y="2"/>
                      <a:pt x="137" y="12"/>
                      <a:pt x="119" y="30"/>
                    </a:cubicBezTo>
                    <a:cubicBezTo>
                      <a:pt x="29" y="120"/>
                      <a:pt x="29" y="120"/>
                      <a:pt x="29" y="120"/>
                    </a:cubicBezTo>
                    <a:cubicBezTo>
                      <a:pt x="11" y="138"/>
                      <a:pt x="2" y="161"/>
                      <a:pt x="2" y="187"/>
                    </a:cubicBezTo>
                    <a:cubicBezTo>
                      <a:pt x="2" y="212"/>
                      <a:pt x="11" y="236"/>
                      <a:pt x="29" y="254"/>
                    </a:cubicBezTo>
                    <a:cubicBezTo>
                      <a:pt x="47" y="271"/>
                      <a:pt x="71" y="281"/>
                      <a:pt x="96" y="281"/>
                    </a:cubicBezTo>
                    <a:cubicBezTo>
                      <a:pt x="121" y="281"/>
                      <a:pt x="145" y="271"/>
                      <a:pt x="163" y="254"/>
                    </a:cubicBezTo>
                    <a:cubicBezTo>
                      <a:pt x="225" y="192"/>
                      <a:pt x="225" y="192"/>
                      <a:pt x="225" y="192"/>
                    </a:cubicBezTo>
                    <a:cubicBezTo>
                      <a:pt x="228" y="189"/>
                      <a:pt x="228" y="185"/>
                      <a:pt x="225" y="182"/>
                    </a:cubicBezTo>
                    <a:cubicBezTo>
                      <a:pt x="222" y="179"/>
                      <a:pt x="218" y="179"/>
                      <a:pt x="215" y="182"/>
                    </a:cubicBezTo>
                    <a:cubicBezTo>
                      <a:pt x="153" y="244"/>
                      <a:pt x="153" y="244"/>
                      <a:pt x="153" y="244"/>
                    </a:cubicBezTo>
                    <a:cubicBezTo>
                      <a:pt x="138" y="259"/>
                      <a:pt x="118" y="267"/>
                      <a:pt x="96" y="267"/>
                    </a:cubicBezTo>
                    <a:cubicBezTo>
                      <a:pt x="74" y="267"/>
                      <a:pt x="54" y="259"/>
                      <a:pt x="39" y="244"/>
                    </a:cubicBezTo>
                    <a:cubicBezTo>
                      <a:pt x="24" y="229"/>
                      <a:pt x="16" y="208"/>
                      <a:pt x="16" y="187"/>
                    </a:cubicBezTo>
                    <a:cubicBezTo>
                      <a:pt x="16" y="165"/>
                      <a:pt x="24" y="145"/>
                      <a:pt x="39" y="130"/>
                    </a:cubicBezTo>
                    <a:cubicBezTo>
                      <a:pt x="129" y="40"/>
                      <a:pt x="129" y="40"/>
                      <a:pt x="129" y="40"/>
                    </a:cubicBezTo>
                    <a:cubicBezTo>
                      <a:pt x="144" y="25"/>
                      <a:pt x="165" y="16"/>
                      <a:pt x="186" y="16"/>
                    </a:cubicBezTo>
                    <a:cubicBezTo>
                      <a:pt x="208" y="16"/>
                      <a:pt x="228" y="25"/>
                      <a:pt x="243" y="40"/>
                    </a:cubicBezTo>
                    <a:cubicBezTo>
                      <a:pt x="246" y="42"/>
                      <a:pt x="250" y="42"/>
                      <a:pt x="253" y="40"/>
                    </a:cubicBezTo>
                    <a:cubicBezTo>
                      <a:pt x="256" y="37"/>
                      <a:pt x="256" y="33"/>
                      <a:pt x="253" y="30"/>
                    </a:cubicBezTo>
                    <a:cubicBezTo>
                      <a:pt x="235" y="12"/>
                      <a:pt x="211" y="2"/>
                      <a:pt x="186"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2048" name="Freeform 25"/>
              <p:cNvSpPr>
                <a:spLocks/>
              </p:cNvSpPr>
              <p:nvPr/>
            </p:nvSpPr>
            <p:spPr bwMode="auto">
              <a:xfrm>
                <a:off x="6475698" y="2526640"/>
                <a:ext cx="19153" cy="75100"/>
              </a:xfrm>
              <a:custGeom>
                <a:avLst/>
                <a:gdLst>
                  <a:gd name="T0" fmla="*/ 8 w 16"/>
                  <a:gd name="T1" fmla="*/ 0 h 63"/>
                  <a:gd name="T2" fmla="*/ 0 w 16"/>
                  <a:gd name="T3" fmla="*/ 8 h 63"/>
                  <a:gd name="T4" fmla="*/ 0 w 16"/>
                  <a:gd name="T5" fmla="*/ 56 h 63"/>
                  <a:gd name="T6" fmla="*/ 8 w 16"/>
                  <a:gd name="T7" fmla="*/ 63 h 63"/>
                  <a:gd name="T8" fmla="*/ 16 w 16"/>
                  <a:gd name="T9" fmla="*/ 56 h 63"/>
                  <a:gd name="T10" fmla="*/ 16 w 16"/>
                  <a:gd name="T11" fmla="*/ 8 h 63"/>
                  <a:gd name="T12" fmla="*/ 8 w 16"/>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6" h="63">
                    <a:moveTo>
                      <a:pt x="8" y="0"/>
                    </a:moveTo>
                    <a:cubicBezTo>
                      <a:pt x="4" y="0"/>
                      <a:pt x="0" y="3"/>
                      <a:pt x="0" y="8"/>
                    </a:cubicBezTo>
                    <a:cubicBezTo>
                      <a:pt x="0" y="56"/>
                      <a:pt x="0" y="56"/>
                      <a:pt x="0" y="56"/>
                    </a:cubicBezTo>
                    <a:cubicBezTo>
                      <a:pt x="0" y="60"/>
                      <a:pt x="4" y="63"/>
                      <a:pt x="8" y="63"/>
                    </a:cubicBezTo>
                    <a:cubicBezTo>
                      <a:pt x="12" y="63"/>
                      <a:pt x="16" y="60"/>
                      <a:pt x="16" y="56"/>
                    </a:cubicBezTo>
                    <a:cubicBezTo>
                      <a:pt x="16" y="8"/>
                      <a:pt x="16" y="8"/>
                      <a:pt x="16" y="8"/>
                    </a:cubicBezTo>
                    <a:cubicBezTo>
                      <a:pt x="16" y="3"/>
                      <a:pt x="12"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2049" name="Freeform 26"/>
              <p:cNvSpPr>
                <a:spLocks noEditPoints="1"/>
              </p:cNvSpPr>
              <p:nvPr/>
            </p:nvSpPr>
            <p:spPr bwMode="auto">
              <a:xfrm>
                <a:off x="6474690" y="2525128"/>
                <a:ext cx="21169" cy="77620"/>
              </a:xfrm>
              <a:custGeom>
                <a:avLst/>
                <a:gdLst>
                  <a:gd name="T0" fmla="*/ 9 w 18"/>
                  <a:gd name="T1" fmla="*/ 65 h 65"/>
                  <a:gd name="T2" fmla="*/ 0 w 18"/>
                  <a:gd name="T3" fmla="*/ 57 h 65"/>
                  <a:gd name="T4" fmla="*/ 0 w 18"/>
                  <a:gd name="T5" fmla="*/ 9 h 65"/>
                  <a:gd name="T6" fmla="*/ 9 w 18"/>
                  <a:gd name="T7" fmla="*/ 0 h 65"/>
                  <a:gd name="T8" fmla="*/ 18 w 18"/>
                  <a:gd name="T9" fmla="*/ 9 h 65"/>
                  <a:gd name="T10" fmla="*/ 18 w 18"/>
                  <a:gd name="T11" fmla="*/ 57 h 65"/>
                  <a:gd name="T12" fmla="*/ 9 w 18"/>
                  <a:gd name="T13" fmla="*/ 65 h 65"/>
                  <a:gd name="T14" fmla="*/ 9 w 18"/>
                  <a:gd name="T15" fmla="*/ 2 h 65"/>
                  <a:gd name="T16" fmla="*/ 2 w 18"/>
                  <a:gd name="T17" fmla="*/ 9 h 65"/>
                  <a:gd name="T18" fmla="*/ 2 w 18"/>
                  <a:gd name="T19" fmla="*/ 57 h 65"/>
                  <a:gd name="T20" fmla="*/ 9 w 18"/>
                  <a:gd name="T21" fmla="*/ 64 h 65"/>
                  <a:gd name="T22" fmla="*/ 16 w 18"/>
                  <a:gd name="T23" fmla="*/ 57 h 65"/>
                  <a:gd name="T24" fmla="*/ 16 w 18"/>
                  <a:gd name="T25" fmla="*/ 9 h 65"/>
                  <a:gd name="T26" fmla="*/ 9 w 18"/>
                  <a:gd name="T27"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65">
                    <a:moveTo>
                      <a:pt x="9" y="65"/>
                    </a:moveTo>
                    <a:cubicBezTo>
                      <a:pt x="4" y="65"/>
                      <a:pt x="0" y="61"/>
                      <a:pt x="0" y="57"/>
                    </a:cubicBezTo>
                    <a:cubicBezTo>
                      <a:pt x="0" y="9"/>
                      <a:pt x="0" y="9"/>
                      <a:pt x="0" y="9"/>
                    </a:cubicBezTo>
                    <a:cubicBezTo>
                      <a:pt x="0" y="4"/>
                      <a:pt x="4" y="0"/>
                      <a:pt x="9" y="0"/>
                    </a:cubicBezTo>
                    <a:cubicBezTo>
                      <a:pt x="14" y="0"/>
                      <a:pt x="18" y="4"/>
                      <a:pt x="18" y="9"/>
                    </a:cubicBezTo>
                    <a:cubicBezTo>
                      <a:pt x="18" y="57"/>
                      <a:pt x="18" y="57"/>
                      <a:pt x="18" y="57"/>
                    </a:cubicBezTo>
                    <a:cubicBezTo>
                      <a:pt x="18" y="61"/>
                      <a:pt x="14" y="65"/>
                      <a:pt x="9" y="65"/>
                    </a:cubicBezTo>
                    <a:close/>
                    <a:moveTo>
                      <a:pt x="9" y="2"/>
                    </a:moveTo>
                    <a:cubicBezTo>
                      <a:pt x="5" y="2"/>
                      <a:pt x="2" y="5"/>
                      <a:pt x="2" y="9"/>
                    </a:cubicBezTo>
                    <a:cubicBezTo>
                      <a:pt x="2" y="57"/>
                      <a:pt x="2" y="57"/>
                      <a:pt x="2" y="57"/>
                    </a:cubicBezTo>
                    <a:cubicBezTo>
                      <a:pt x="2" y="60"/>
                      <a:pt x="5" y="64"/>
                      <a:pt x="9" y="64"/>
                    </a:cubicBezTo>
                    <a:cubicBezTo>
                      <a:pt x="13" y="64"/>
                      <a:pt x="16" y="60"/>
                      <a:pt x="16" y="57"/>
                    </a:cubicBezTo>
                    <a:cubicBezTo>
                      <a:pt x="16" y="9"/>
                      <a:pt x="16" y="9"/>
                      <a:pt x="16" y="9"/>
                    </a:cubicBezTo>
                    <a:cubicBezTo>
                      <a:pt x="16" y="5"/>
                      <a:pt x="13" y="2"/>
                      <a:pt x="9"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2051" name="Freeform 27"/>
              <p:cNvSpPr>
                <a:spLocks/>
              </p:cNvSpPr>
              <p:nvPr/>
            </p:nvSpPr>
            <p:spPr bwMode="auto">
              <a:xfrm>
                <a:off x="6510476" y="2506479"/>
                <a:ext cx="60483" cy="60483"/>
              </a:xfrm>
              <a:custGeom>
                <a:avLst/>
                <a:gdLst>
                  <a:gd name="T0" fmla="*/ 15 w 51"/>
                  <a:gd name="T1" fmla="*/ 3 h 51"/>
                  <a:gd name="T2" fmla="*/ 3 w 51"/>
                  <a:gd name="T3" fmla="*/ 3 h 51"/>
                  <a:gd name="T4" fmla="*/ 3 w 51"/>
                  <a:gd name="T5" fmla="*/ 14 h 51"/>
                  <a:gd name="T6" fmla="*/ 37 w 51"/>
                  <a:gd name="T7" fmla="*/ 48 h 51"/>
                  <a:gd name="T8" fmla="*/ 43 w 51"/>
                  <a:gd name="T9" fmla="*/ 51 h 51"/>
                  <a:gd name="T10" fmla="*/ 48 w 51"/>
                  <a:gd name="T11" fmla="*/ 48 h 51"/>
                  <a:gd name="T12" fmla="*/ 48 w 51"/>
                  <a:gd name="T13" fmla="*/ 37 h 51"/>
                  <a:gd name="T14" fmla="*/ 15 w 51"/>
                  <a:gd name="T15" fmla="*/ 3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1">
                    <a:moveTo>
                      <a:pt x="15" y="3"/>
                    </a:moveTo>
                    <a:cubicBezTo>
                      <a:pt x="11" y="0"/>
                      <a:pt x="6" y="0"/>
                      <a:pt x="3" y="3"/>
                    </a:cubicBezTo>
                    <a:cubicBezTo>
                      <a:pt x="0" y="6"/>
                      <a:pt x="0" y="11"/>
                      <a:pt x="3" y="14"/>
                    </a:cubicBezTo>
                    <a:cubicBezTo>
                      <a:pt x="37" y="48"/>
                      <a:pt x="37" y="48"/>
                      <a:pt x="37" y="48"/>
                    </a:cubicBezTo>
                    <a:cubicBezTo>
                      <a:pt x="39" y="50"/>
                      <a:pt x="41" y="51"/>
                      <a:pt x="43" y="51"/>
                    </a:cubicBezTo>
                    <a:cubicBezTo>
                      <a:pt x="45" y="51"/>
                      <a:pt x="47" y="50"/>
                      <a:pt x="48" y="48"/>
                    </a:cubicBezTo>
                    <a:cubicBezTo>
                      <a:pt x="51" y="45"/>
                      <a:pt x="51" y="40"/>
                      <a:pt x="48" y="37"/>
                    </a:cubicBezTo>
                    <a:lnTo>
                      <a:pt x="15"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2052" name="Freeform 28"/>
              <p:cNvSpPr>
                <a:spLocks noEditPoints="1"/>
              </p:cNvSpPr>
              <p:nvPr/>
            </p:nvSpPr>
            <p:spPr bwMode="auto">
              <a:xfrm>
                <a:off x="6508964" y="2504967"/>
                <a:ext cx="63507" cy="63003"/>
              </a:xfrm>
              <a:custGeom>
                <a:avLst/>
                <a:gdLst>
                  <a:gd name="T0" fmla="*/ 44 w 53"/>
                  <a:gd name="T1" fmla="*/ 53 h 53"/>
                  <a:gd name="T2" fmla="*/ 37 w 53"/>
                  <a:gd name="T3" fmla="*/ 50 h 53"/>
                  <a:gd name="T4" fmla="*/ 4 w 53"/>
                  <a:gd name="T5" fmla="*/ 16 h 53"/>
                  <a:gd name="T6" fmla="*/ 4 w 53"/>
                  <a:gd name="T7" fmla="*/ 4 h 53"/>
                  <a:gd name="T8" fmla="*/ 16 w 53"/>
                  <a:gd name="T9" fmla="*/ 4 h 53"/>
                  <a:gd name="T10" fmla="*/ 50 w 53"/>
                  <a:gd name="T11" fmla="*/ 37 h 53"/>
                  <a:gd name="T12" fmla="*/ 50 w 53"/>
                  <a:gd name="T13" fmla="*/ 50 h 53"/>
                  <a:gd name="T14" fmla="*/ 44 w 53"/>
                  <a:gd name="T15" fmla="*/ 53 h 53"/>
                  <a:gd name="T16" fmla="*/ 10 w 53"/>
                  <a:gd name="T17" fmla="*/ 3 h 53"/>
                  <a:gd name="T18" fmla="*/ 5 w 53"/>
                  <a:gd name="T19" fmla="*/ 5 h 53"/>
                  <a:gd name="T20" fmla="*/ 5 w 53"/>
                  <a:gd name="T21" fmla="*/ 15 h 53"/>
                  <a:gd name="T22" fmla="*/ 39 w 53"/>
                  <a:gd name="T23" fmla="*/ 49 h 53"/>
                  <a:gd name="T24" fmla="*/ 49 w 53"/>
                  <a:gd name="T25" fmla="*/ 49 h 53"/>
                  <a:gd name="T26" fmla="*/ 49 w 53"/>
                  <a:gd name="T27" fmla="*/ 39 h 53"/>
                  <a:gd name="T28" fmla="*/ 15 w 53"/>
                  <a:gd name="T29" fmla="*/ 5 h 53"/>
                  <a:gd name="T30" fmla="*/ 10 w 53"/>
                  <a:gd name="T31"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3">
                    <a:moveTo>
                      <a:pt x="44" y="53"/>
                    </a:moveTo>
                    <a:cubicBezTo>
                      <a:pt x="41" y="53"/>
                      <a:pt x="39" y="52"/>
                      <a:pt x="37" y="50"/>
                    </a:cubicBezTo>
                    <a:cubicBezTo>
                      <a:pt x="4" y="16"/>
                      <a:pt x="4" y="16"/>
                      <a:pt x="4" y="16"/>
                    </a:cubicBezTo>
                    <a:cubicBezTo>
                      <a:pt x="0" y="13"/>
                      <a:pt x="0" y="7"/>
                      <a:pt x="4" y="4"/>
                    </a:cubicBezTo>
                    <a:cubicBezTo>
                      <a:pt x="7" y="0"/>
                      <a:pt x="13" y="0"/>
                      <a:pt x="16" y="4"/>
                    </a:cubicBezTo>
                    <a:cubicBezTo>
                      <a:pt x="50" y="37"/>
                      <a:pt x="50" y="37"/>
                      <a:pt x="50" y="37"/>
                    </a:cubicBezTo>
                    <a:cubicBezTo>
                      <a:pt x="53" y="41"/>
                      <a:pt x="53" y="46"/>
                      <a:pt x="50" y="50"/>
                    </a:cubicBezTo>
                    <a:cubicBezTo>
                      <a:pt x="48" y="52"/>
                      <a:pt x="46" y="53"/>
                      <a:pt x="44" y="53"/>
                    </a:cubicBezTo>
                    <a:close/>
                    <a:moveTo>
                      <a:pt x="10" y="3"/>
                    </a:moveTo>
                    <a:cubicBezTo>
                      <a:pt x="8" y="3"/>
                      <a:pt x="6" y="4"/>
                      <a:pt x="5" y="5"/>
                    </a:cubicBezTo>
                    <a:cubicBezTo>
                      <a:pt x="2" y="8"/>
                      <a:pt x="2" y="12"/>
                      <a:pt x="5" y="15"/>
                    </a:cubicBezTo>
                    <a:cubicBezTo>
                      <a:pt x="39" y="49"/>
                      <a:pt x="39" y="49"/>
                      <a:pt x="39" y="49"/>
                    </a:cubicBezTo>
                    <a:cubicBezTo>
                      <a:pt x="41" y="51"/>
                      <a:pt x="46" y="51"/>
                      <a:pt x="49" y="49"/>
                    </a:cubicBezTo>
                    <a:cubicBezTo>
                      <a:pt x="51" y="46"/>
                      <a:pt x="51" y="41"/>
                      <a:pt x="49" y="39"/>
                    </a:cubicBezTo>
                    <a:cubicBezTo>
                      <a:pt x="15" y="5"/>
                      <a:pt x="15" y="5"/>
                      <a:pt x="15" y="5"/>
                    </a:cubicBezTo>
                    <a:cubicBezTo>
                      <a:pt x="14" y="4"/>
                      <a:pt x="12" y="3"/>
                      <a:pt x="10"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2053" name="Freeform 29"/>
              <p:cNvSpPr>
                <a:spLocks/>
              </p:cNvSpPr>
              <p:nvPr/>
            </p:nvSpPr>
            <p:spPr bwMode="auto">
              <a:xfrm>
                <a:off x="6523580" y="2469182"/>
                <a:ext cx="76108" cy="19153"/>
              </a:xfrm>
              <a:custGeom>
                <a:avLst/>
                <a:gdLst>
                  <a:gd name="T0" fmla="*/ 56 w 64"/>
                  <a:gd name="T1" fmla="*/ 0 h 16"/>
                  <a:gd name="T2" fmla="*/ 8 w 64"/>
                  <a:gd name="T3" fmla="*/ 0 h 16"/>
                  <a:gd name="T4" fmla="*/ 0 w 64"/>
                  <a:gd name="T5" fmla="*/ 8 h 16"/>
                  <a:gd name="T6" fmla="*/ 8 w 64"/>
                  <a:gd name="T7" fmla="*/ 16 h 16"/>
                  <a:gd name="T8" fmla="*/ 56 w 64"/>
                  <a:gd name="T9" fmla="*/ 16 h 16"/>
                  <a:gd name="T10" fmla="*/ 64 w 64"/>
                  <a:gd name="T11" fmla="*/ 8 h 16"/>
                  <a:gd name="T12" fmla="*/ 56 w 64"/>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64" h="16">
                    <a:moveTo>
                      <a:pt x="56" y="0"/>
                    </a:moveTo>
                    <a:cubicBezTo>
                      <a:pt x="8" y="0"/>
                      <a:pt x="8" y="0"/>
                      <a:pt x="8" y="0"/>
                    </a:cubicBezTo>
                    <a:cubicBezTo>
                      <a:pt x="3" y="0"/>
                      <a:pt x="0" y="4"/>
                      <a:pt x="0" y="8"/>
                    </a:cubicBezTo>
                    <a:cubicBezTo>
                      <a:pt x="0" y="12"/>
                      <a:pt x="3" y="16"/>
                      <a:pt x="8" y="16"/>
                    </a:cubicBezTo>
                    <a:cubicBezTo>
                      <a:pt x="56" y="16"/>
                      <a:pt x="56" y="16"/>
                      <a:pt x="56" y="16"/>
                    </a:cubicBezTo>
                    <a:cubicBezTo>
                      <a:pt x="60" y="16"/>
                      <a:pt x="64" y="12"/>
                      <a:pt x="64" y="8"/>
                    </a:cubicBezTo>
                    <a:cubicBezTo>
                      <a:pt x="64" y="4"/>
                      <a:pt x="60" y="0"/>
                      <a:pt x="5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2054" name="Freeform 30"/>
              <p:cNvSpPr>
                <a:spLocks noEditPoints="1"/>
              </p:cNvSpPr>
              <p:nvPr/>
            </p:nvSpPr>
            <p:spPr bwMode="auto">
              <a:xfrm>
                <a:off x="6522068" y="2468174"/>
                <a:ext cx="77620" cy="21673"/>
              </a:xfrm>
              <a:custGeom>
                <a:avLst/>
                <a:gdLst>
                  <a:gd name="T0" fmla="*/ 57 w 65"/>
                  <a:gd name="T1" fmla="*/ 18 h 18"/>
                  <a:gd name="T2" fmla="*/ 9 w 65"/>
                  <a:gd name="T3" fmla="*/ 18 h 18"/>
                  <a:gd name="T4" fmla="*/ 0 w 65"/>
                  <a:gd name="T5" fmla="*/ 9 h 18"/>
                  <a:gd name="T6" fmla="*/ 9 w 65"/>
                  <a:gd name="T7" fmla="*/ 0 h 18"/>
                  <a:gd name="T8" fmla="*/ 57 w 65"/>
                  <a:gd name="T9" fmla="*/ 0 h 18"/>
                  <a:gd name="T10" fmla="*/ 65 w 65"/>
                  <a:gd name="T11" fmla="*/ 9 h 18"/>
                  <a:gd name="T12" fmla="*/ 57 w 65"/>
                  <a:gd name="T13" fmla="*/ 18 h 18"/>
                  <a:gd name="T14" fmla="*/ 9 w 65"/>
                  <a:gd name="T15" fmla="*/ 2 h 18"/>
                  <a:gd name="T16" fmla="*/ 2 w 65"/>
                  <a:gd name="T17" fmla="*/ 9 h 18"/>
                  <a:gd name="T18" fmla="*/ 9 w 65"/>
                  <a:gd name="T19" fmla="*/ 16 h 18"/>
                  <a:gd name="T20" fmla="*/ 57 w 65"/>
                  <a:gd name="T21" fmla="*/ 16 h 18"/>
                  <a:gd name="T22" fmla="*/ 64 w 65"/>
                  <a:gd name="T23" fmla="*/ 9 h 18"/>
                  <a:gd name="T24" fmla="*/ 57 w 65"/>
                  <a:gd name="T25" fmla="*/ 2 h 18"/>
                  <a:gd name="T26" fmla="*/ 9 w 65"/>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18">
                    <a:moveTo>
                      <a:pt x="57" y="18"/>
                    </a:moveTo>
                    <a:cubicBezTo>
                      <a:pt x="9" y="18"/>
                      <a:pt x="9" y="18"/>
                      <a:pt x="9" y="18"/>
                    </a:cubicBezTo>
                    <a:cubicBezTo>
                      <a:pt x="4" y="18"/>
                      <a:pt x="0" y="14"/>
                      <a:pt x="0" y="9"/>
                    </a:cubicBezTo>
                    <a:cubicBezTo>
                      <a:pt x="0" y="4"/>
                      <a:pt x="4" y="0"/>
                      <a:pt x="9" y="0"/>
                    </a:cubicBezTo>
                    <a:cubicBezTo>
                      <a:pt x="57" y="0"/>
                      <a:pt x="57" y="0"/>
                      <a:pt x="57" y="0"/>
                    </a:cubicBezTo>
                    <a:cubicBezTo>
                      <a:pt x="61" y="0"/>
                      <a:pt x="65" y="4"/>
                      <a:pt x="65" y="9"/>
                    </a:cubicBezTo>
                    <a:cubicBezTo>
                      <a:pt x="65" y="14"/>
                      <a:pt x="61" y="18"/>
                      <a:pt x="57" y="18"/>
                    </a:cubicBezTo>
                    <a:close/>
                    <a:moveTo>
                      <a:pt x="9" y="2"/>
                    </a:moveTo>
                    <a:cubicBezTo>
                      <a:pt x="5" y="2"/>
                      <a:pt x="2" y="5"/>
                      <a:pt x="2" y="9"/>
                    </a:cubicBezTo>
                    <a:cubicBezTo>
                      <a:pt x="2" y="13"/>
                      <a:pt x="5" y="16"/>
                      <a:pt x="9" y="16"/>
                    </a:cubicBezTo>
                    <a:cubicBezTo>
                      <a:pt x="57" y="16"/>
                      <a:pt x="57" y="16"/>
                      <a:pt x="57" y="16"/>
                    </a:cubicBezTo>
                    <a:cubicBezTo>
                      <a:pt x="60" y="16"/>
                      <a:pt x="64" y="13"/>
                      <a:pt x="64" y="9"/>
                    </a:cubicBezTo>
                    <a:cubicBezTo>
                      <a:pt x="64" y="5"/>
                      <a:pt x="60" y="2"/>
                      <a:pt x="57" y="2"/>
                    </a:cubicBezTo>
                    <a:lnTo>
                      <a:pt x="9"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2055" name="Freeform 31"/>
              <p:cNvSpPr>
                <a:spLocks/>
              </p:cNvSpPr>
              <p:nvPr/>
            </p:nvSpPr>
            <p:spPr bwMode="auto">
              <a:xfrm>
                <a:off x="6305338" y="2137030"/>
                <a:ext cx="19153" cy="76108"/>
              </a:xfrm>
              <a:custGeom>
                <a:avLst/>
                <a:gdLst>
                  <a:gd name="T0" fmla="*/ 8 w 16"/>
                  <a:gd name="T1" fmla="*/ 64 h 64"/>
                  <a:gd name="T2" fmla="*/ 16 w 16"/>
                  <a:gd name="T3" fmla="*/ 56 h 64"/>
                  <a:gd name="T4" fmla="*/ 16 w 16"/>
                  <a:gd name="T5" fmla="*/ 8 h 64"/>
                  <a:gd name="T6" fmla="*/ 8 w 16"/>
                  <a:gd name="T7" fmla="*/ 0 h 64"/>
                  <a:gd name="T8" fmla="*/ 0 w 16"/>
                  <a:gd name="T9" fmla="*/ 8 h 64"/>
                  <a:gd name="T10" fmla="*/ 0 w 16"/>
                  <a:gd name="T11" fmla="*/ 56 h 64"/>
                  <a:gd name="T12" fmla="*/ 8 w 16"/>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16" h="64">
                    <a:moveTo>
                      <a:pt x="8" y="64"/>
                    </a:moveTo>
                    <a:cubicBezTo>
                      <a:pt x="12" y="64"/>
                      <a:pt x="16" y="61"/>
                      <a:pt x="16" y="56"/>
                    </a:cubicBezTo>
                    <a:cubicBezTo>
                      <a:pt x="16" y="8"/>
                      <a:pt x="16" y="8"/>
                      <a:pt x="16" y="8"/>
                    </a:cubicBezTo>
                    <a:cubicBezTo>
                      <a:pt x="16" y="4"/>
                      <a:pt x="12" y="0"/>
                      <a:pt x="8" y="0"/>
                    </a:cubicBezTo>
                    <a:cubicBezTo>
                      <a:pt x="3" y="0"/>
                      <a:pt x="0" y="4"/>
                      <a:pt x="0" y="8"/>
                    </a:cubicBezTo>
                    <a:cubicBezTo>
                      <a:pt x="0" y="56"/>
                      <a:pt x="0" y="56"/>
                      <a:pt x="0" y="56"/>
                    </a:cubicBezTo>
                    <a:cubicBezTo>
                      <a:pt x="0" y="61"/>
                      <a:pt x="3" y="64"/>
                      <a:pt x="8"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2056" name="Freeform 32"/>
              <p:cNvSpPr>
                <a:spLocks noEditPoints="1"/>
              </p:cNvSpPr>
              <p:nvPr/>
            </p:nvSpPr>
            <p:spPr bwMode="auto">
              <a:xfrm>
                <a:off x="6304330" y="2137030"/>
                <a:ext cx="21673" cy="77620"/>
              </a:xfrm>
              <a:custGeom>
                <a:avLst/>
                <a:gdLst>
                  <a:gd name="T0" fmla="*/ 9 w 18"/>
                  <a:gd name="T1" fmla="*/ 65 h 65"/>
                  <a:gd name="T2" fmla="*/ 0 w 18"/>
                  <a:gd name="T3" fmla="*/ 56 h 65"/>
                  <a:gd name="T4" fmla="*/ 0 w 18"/>
                  <a:gd name="T5" fmla="*/ 8 h 65"/>
                  <a:gd name="T6" fmla="*/ 9 w 18"/>
                  <a:gd name="T7" fmla="*/ 0 h 65"/>
                  <a:gd name="T8" fmla="*/ 18 w 18"/>
                  <a:gd name="T9" fmla="*/ 8 h 65"/>
                  <a:gd name="T10" fmla="*/ 18 w 18"/>
                  <a:gd name="T11" fmla="*/ 56 h 65"/>
                  <a:gd name="T12" fmla="*/ 9 w 18"/>
                  <a:gd name="T13" fmla="*/ 65 h 65"/>
                  <a:gd name="T14" fmla="*/ 9 w 18"/>
                  <a:gd name="T15" fmla="*/ 1 h 65"/>
                  <a:gd name="T16" fmla="*/ 2 w 18"/>
                  <a:gd name="T17" fmla="*/ 8 h 65"/>
                  <a:gd name="T18" fmla="*/ 2 w 18"/>
                  <a:gd name="T19" fmla="*/ 56 h 65"/>
                  <a:gd name="T20" fmla="*/ 9 w 18"/>
                  <a:gd name="T21" fmla="*/ 63 h 65"/>
                  <a:gd name="T22" fmla="*/ 16 w 18"/>
                  <a:gd name="T23" fmla="*/ 56 h 65"/>
                  <a:gd name="T24" fmla="*/ 16 w 18"/>
                  <a:gd name="T25" fmla="*/ 8 h 65"/>
                  <a:gd name="T26" fmla="*/ 9 w 18"/>
                  <a:gd name="T27"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65">
                    <a:moveTo>
                      <a:pt x="9" y="65"/>
                    </a:moveTo>
                    <a:cubicBezTo>
                      <a:pt x="4" y="65"/>
                      <a:pt x="0" y="61"/>
                      <a:pt x="0" y="56"/>
                    </a:cubicBezTo>
                    <a:cubicBezTo>
                      <a:pt x="0" y="8"/>
                      <a:pt x="0" y="8"/>
                      <a:pt x="0" y="8"/>
                    </a:cubicBezTo>
                    <a:cubicBezTo>
                      <a:pt x="0" y="3"/>
                      <a:pt x="4" y="0"/>
                      <a:pt x="9" y="0"/>
                    </a:cubicBezTo>
                    <a:cubicBezTo>
                      <a:pt x="14" y="0"/>
                      <a:pt x="18" y="3"/>
                      <a:pt x="18" y="8"/>
                    </a:cubicBezTo>
                    <a:cubicBezTo>
                      <a:pt x="18" y="56"/>
                      <a:pt x="18" y="56"/>
                      <a:pt x="18" y="56"/>
                    </a:cubicBezTo>
                    <a:cubicBezTo>
                      <a:pt x="18" y="61"/>
                      <a:pt x="14" y="65"/>
                      <a:pt x="9" y="65"/>
                    </a:cubicBezTo>
                    <a:close/>
                    <a:moveTo>
                      <a:pt x="9" y="1"/>
                    </a:moveTo>
                    <a:cubicBezTo>
                      <a:pt x="5" y="1"/>
                      <a:pt x="2" y="5"/>
                      <a:pt x="2" y="8"/>
                    </a:cubicBezTo>
                    <a:cubicBezTo>
                      <a:pt x="2" y="56"/>
                      <a:pt x="2" y="56"/>
                      <a:pt x="2" y="56"/>
                    </a:cubicBezTo>
                    <a:cubicBezTo>
                      <a:pt x="2" y="60"/>
                      <a:pt x="5" y="63"/>
                      <a:pt x="9" y="63"/>
                    </a:cubicBezTo>
                    <a:cubicBezTo>
                      <a:pt x="13" y="63"/>
                      <a:pt x="16" y="60"/>
                      <a:pt x="16" y="56"/>
                    </a:cubicBezTo>
                    <a:cubicBezTo>
                      <a:pt x="16" y="8"/>
                      <a:pt x="16" y="8"/>
                      <a:pt x="16" y="8"/>
                    </a:cubicBezTo>
                    <a:cubicBezTo>
                      <a:pt x="16" y="5"/>
                      <a:pt x="13" y="1"/>
                      <a:pt x="9"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2057" name="Freeform 33"/>
              <p:cNvSpPr>
                <a:spLocks/>
              </p:cNvSpPr>
              <p:nvPr/>
            </p:nvSpPr>
            <p:spPr bwMode="auto">
              <a:xfrm>
                <a:off x="6228222" y="2172816"/>
                <a:ext cx="61995" cy="59475"/>
              </a:xfrm>
              <a:custGeom>
                <a:avLst/>
                <a:gdLst>
                  <a:gd name="T0" fmla="*/ 37 w 52"/>
                  <a:gd name="T1" fmla="*/ 48 h 50"/>
                  <a:gd name="T2" fmla="*/ 43 w 52"/>
                  <a:gd name="T3" fmla="*/ 50 h 50"/>
                  <a:gd name="T4" fmla="*/ 48 w 52"/>
                  <a:gd name="T5" fmla="*/ 48 h 50"/>
                  <a:gd name="T6" fmla="*/ 48 w 52"/>
                  <a:gd name="T7" fmla="*/ 36 h 50"/>
                  <a:gd name="T8" fmla="*/ 15 w 52"/>
                  <a:gd name="T9" fmla="*/ 3 h 50"/>
                  <a:gd name="T10" fmla="*/ 3 w 52"/>
                  <a:gd name="T11" fmla="*/ 3 h 50"/>
                  <a:gd name="T12" fmla="*/ 3 w 52"/>
                  <a:gd name="T13" fmla="*/ 14 h 50"/>
                  <a:gd name="T14" fmla="*/ 37 w 52"/>
                  <a:gd name="T15" fmla="*/ 48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50">
                    <a:moveTo>
                      <a:pt x="37" y="48"/>
                    </a:moveTo>
                    <a:cubicBezTo>
                      <a:pt x="39" y="49"/>
                      <a:pt x="41" y="50"/>
                      <a:pt x="43" y="50"/>
                    </a:cubicBezTo>
                    <a:cubicBezTo>
                      <a:pt x="45" y="50"/>
                      <a:pt x="47" y="49"/>
                      <a:pt x="48" y="48"/>
                    </a:cubicBezTo>
                    <a:cubicBezTo>
                      <a:pt x="52" y="45"/>
                      <a:pt x="52" y="40"/>
                      <a:pt x="48" y="36"/>
                    </a:cubicBezTo>
                    <a:cubicBezTo>
                      <a:pt x="15" y="3"/>
                      <a:pt x="15" y="3"/>
                      <a:pt x="15" y="3"/>
                    </a:cubicBezTo>
                    <a:cubicBezTo>
                      <a:pt x="12" y="0"/>
                      <a:pt x="7" y="0"/>
                      <a:pt x="3" y="3"/>
                    </a:cubicBezTo>
                    <a:cubicBezTo>
                      <a:pt x="0" y="6"/>
                      <a:pt x="0" y="11"/>
                      <a:pt x="3" y="14"/>
                    </a:cubicBezTo>
                    <a:lnTo>
                      <a:pt x="37"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2058" name="Freeform 34"/>
              <p:cNvSpPr>
                <a:spLocks noEditPoints="1"/>
              </p:cNvSpPr>
              <p:nvPr/>
            </p:nvSpPr>
            <p:spPr bwMode="auto">
              <a:xfrm>
                <a:off x="6228222" y="2171808"/>
                <a:ext cx="61995" cy="61995"/>
              </a:xfrm>
              <a:custGeom>
                <a:avLst/>
                <a:gdLst>
                  <a:gd name="T0" fmla="*/ 43 w 52"/>
                  <a:gd name="T1" fmla="*/ 52 h 52"/>
                  <a:gd name="T2" fmla="*/ 36 w 52"/>
                  <a:gd name="T3" fmla="*/ 49 h 52"/>
                  <a:gd name="T4" fmla="*/ 3 w 52"/>
                  <a:gd name="T5" fmla="*/ 16 h 52"/>
                  <a:gd name="T6" fmla="*/ 0 w 52"/>
                  <a:gd name="T7" fmla="*/ 9 h 52"/>
                  <a:gd name="T8" fmla="*/ 3 w 52"/>
                  <a:gd name="T9" fmla="*/ 3 h 52"/>
                  <a:gd name="T10" fmla="*/ 15 w 52"/>
                  <a:gd name="T11" fmla="*/ 3 h 52"/>
                  <a:gd name="T12" fmla="*/ 49 w 52"/>
                  <a:gd name="T13" fmla="*/ 37 h 52"/>
                  <a:gd name="T14" fmla="*/ 52 w 52"/>
                  <a:gd name="T15" fmla="*/ 43 h 52"/>
                  <a:gd name="T16" fmla="*/ 49 w 52"/>
                  <a:gd name="T17" fmla="*/ 49 h 52"/>
                  <a:gd name="T18" fmla="*/ 43 w 52"/>
                  <a:gd name="T19" fmla="*/ 52 h 52"/>
                  <a:gd name="T20" fmla="*/ 9 w 52"/>
                  <a:gd name="T21" fmla="*/ 2 h 52"/>
                  <a:gd name="T22" fmla="*/ 4 w 52"/>
                  <a:gd name="T23" fmla="*/ 4 h 52"/>
                  <a:gd name="T24" fmla="*/ 2 w 52"/>
                  <a:gd name="T25" fmla="*/ 9 h 52"/>
                  <a:gd name="T26" fmla="*/ 4 w 52"/>
                  <a:gd name="T27" fmla="*/ 14 h 52"/>
                  <a:gd name="T28" fmla="*/ 38 w 52"/>
                  <a:gd name="T29" fmla="*/ 48 h 52"/>
                  <a:gd name="T30" fmla="*/ 48 w 52"/>
                  <a:gd name="T31" fmla="*/ 48 h 52"/>
                  <a:gd name="T32" fmla="*/ 50 w 52"/>
                  <a:gd name="T33" fmla="*/ 43 h 52"/>
                  <a:gd name="T34" fmla="*/ 48 w 52"/>
                  <a:gd name="T35" fmla="*/ 38 h 52"/>
                  <a:gd name="T36" fmla="*/ 14 w 52"/>
                  <a:gd name="T37" fmla="*/ 4 h 52"/>
                  <a:gd name="T38" fmla="*/ 9 w 52"/>
                  <a:gd name="T39"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52">
                    <a:moveTo>
                      <a:pt x="43" y="52"/>
                    </a:moveTo>
                    <a:cubicBezTo>
                      <a:pt x="40" y="52"/>
                      <a:pt x="38" y="51"/>
                      <a:pt x="36" y="49"/>
                    </a:cubicBezTo>
                    <a:cubicBezTo>
                      <a:pt x="3" y="16"/>
                      <a:pt x="3" y="16"/>
                      <a:pt x="3" y="16"/>
                    </a:cubicBezTo>
                    <a:cubicBezTo>
                      <a:pt x="1" y="14"/>
                      <a:pt x="0" y="12"/>
                      <a:pt x="0" y="9"/>
                    </a:cubicBezTo>
                    <a:cubicBezTo>
                      <a:pt x="0" y="7"/>
                      <a:pt x="1" y="5"/>
                      <a:pt x="3" y="3"/>
                    </a:cubicBezTo>
                    <a:cubicBezTo>
                      <a:pt x="6" y="0"/>
                      <a:pt x="12" y="0"/>
                      <a:pt x="15" y="3"/>
                    </a:cubicBezTo>
                    <a:cubicBezTo>
                      <a:pt x="49" y="37"/>
                      <a:pt x="49" y="37"/>
                      <a:pt x="49" y="37"/>
                    </a:cubicBezTo>
                    <a:cubicBezTo>
                      <a:pt x="51" y="38"/>
                      <a:pt x="52" y="41"/>
                      <a:pt x="52" y="43"/>
                    </a:cubicBezTo>
                    <a:cubicBezTo>
                      <a:pt x="52" y="45"/>
                      <a:pt x="51" y="48"/>
                      <a:pt x="49" y="49"/>
                    </a:cubicBezTo>
                    <a:cubicBezTo>
                      <a:pt x="47" y="51"/>
                      <a:pt x="45" y="52"/>
                      <a:pt x="43" y="52"/>
                    </a:cubicBezTo>
                    <a:close/>
                    <a:moveTo>
                      <a:pt x="9" y="2"/>
                    </a:moveTo>
                    <a:cubicBezTo>
                      <a:pt x="7" y="2"/>
                      <a:pt x="5" y="3"/>
                      <a:pt x="4" y="4"/>
                    </a:cubicBezTo>
                    <a:cubicBezTo>
                      <a:pt x="3" y="6"/>
                      <a:pt x="2" y="7"/>
                      <a:pt x="2" y="9"/>
                    </a:cubicBezTo>
                    <a:cubicBezTo>
                      <a:pt x="2" y="11"/>
                      <a:pt x="3" y="13"/>
                      <a:pt x="4" y="14"/>
                    </a:cubicBezTo>
                    <a:cubicBezTo>
                      <a:pt x="38" y="48"/>
                      <a:pt x="38" y="48"/>
                      <a:pt x="38" y="48"/>
                    </a:cubicBezTo>
                    <a:cubicBezTo>
                      <a:pt x="40" y="51"/>
                      <a:pt x="45" y="51"/>
                      <a:pt x="48" y="48"/>
                    </a:cubicBezTo>
                    <a:cubicBezTo>
                      <a:pt x="49" y="47"/>
                      <a:pt x="50" y="45"/>
                      <a:pt x="50" y="43"/>
                    </a:cubicBezTo>
                    <a:cubicBezTo>
                      <a:pt x="50" y="41"/>
                      <a:pt x="49" y="39"/>
                      <a:pt x="48" y="38"/>
                    </a:cubicBezTo>
                    <a:cubicBezTo>
                      <a:pt x="14" y="4"/>
                      <a:pt x="14" y="4"/>
                      <a:pt x="14" y="4"/>
                    </a:cubicBezTo>
                    <a:cubicBezTo>
                      <a:pt x="13" y="3"/>
                      <a:pt x="11" y="2"/>
                      <a:pt x="9"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2059" name="Freeform 35"/>
              <p:cNvSpPr>
                <a:spLocks/>
              </p:cNvSpPr>
              <p:nvPr/>
            </p:nvSpPr>
            <p:spPr bwMode="auto">
              <a:xfrm>
                <a:off x="6201005" y="2251443"/>
                <a:ext cx="76108" cy="19153"/>
              </a:xfrm>
              <a:custGeom>
                <a:avLst/>
                <a:gdLst>
                  <a:gd name="T0" fmla="*/ 8 w 64"/>
                  <a:gd name="T1" fmla="*/ 16 h 16"/>
                  <a:gd name="T2" fmla="*/ 56 w 64"/>
                  <a:gd name="T3" fmla="*/ 16 h 16"/>
                  <a:gd name="T4" fmla="*/ 64 w 64"/>
                  <a:gd name="T5" fmla="*/ 8 h 16"/>
                  <a:gd name="T6" fmla="*/ 56 w 64"/>
                  <a:gd name="T7" fmla="*/ 0 h 16"/>
                  <a:gd name="T8" fmla="*/ 8 w 64"/>
                  <a:gd name="T9" fmla="*/ 0 h 16"/>
                  <a:gd name="T10" fmla="*/ 0 w 64"/>
                  <a:gd name="T11" fmla="*/ 8 h 16"/>
                  <a:gd name="T12" fmla="*/ 8 w 6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4" h="16">
                    <a:moveTo>
                      <a:pt x="8" y="16"/>
                    </a:moveTo>
                    <a:cubicBezTo>
                      <a:pt x="56" y="16"/>
                      <a:pt x="56" y="16"/>
                      <a:pt x="56" y="16"/>
                    </a:cubicBezTo>
                    <a:cubicBezTo>
                      <a:pt x="60" y="16"/>
                      <a:pt x="64" y="12"/>
                      <a:pt x="64" y="8"/>
                    </a:cubicBezTo>
                    <a:cubicBezTo>
                      <a:pt x="64" y="4"/>
                      <a:pt x="60" y="0"/>
                      <a:pt x="56" y="0"/>
                    </a:cubicBezTo>
                    <a:cubicBezTo>
                      <a:pt x="8" y="0"/>
                      <a:pt x="8" y="0"/>
                      <a:pt x="8" y="0"/>
                    </a:cubicBezTo>
                    <a:cubicBezTo>
                      <a:pt x="4" y="0"/>
                      <a:pt x="0" y="4"/>
                      <a:pt x="0" y="8"/>
                    </a:cubicBezTo>
                    <a:cubicBezTo>
                      <a:pt x="0" y="12"/>
                      <a:pt x="4" y="16"/>
                      <a:pt x="8" y="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sp>
            <p:nvSpPr>
              <p:cNvPr id="2060" name="Freeform 36"/>
              <p:cNvSpPr>
                <a:spLocks noEditPoints="1"/>
              </p:cNvSpPr>
              <p:nvPr/>
            </p:nvSpPr>
            <p:spPr bwMode="auto">
              <a:xfrm>
                <a:off x="6199493" y="2250435"/>
                <a:ext cx="78628" cy="21169"/>
              </a:xfrm>
              <a:custGeom>
                <a:avLst/>
                <a:gdLst>
                  <a:gd name="T0" fmla="*/ 57 w 66"/>
                  <a:gd name="T1" fmla="*/ 18 h 18"/>
                  <a:gd name="T2" fmla="*/ 9 w 66"/>
                  <a:gd name="T3" fmla="*/ 18 h 18"/>
                  <a:gd name="T4" fmla="*/ 0 w 66"/>
                  <a:gd name="T5" fmla="*/ 9 h 18"/>
                  <a:gd name="T6" fmla="*/ 9 w 66"/>
                  <a:gd name="T7" fmla="*/ 0 h 18"/>
                  <a:gd name="T8" fmla="*/ 57 w 66"/>
                  <a:gd name="T9" fmla="*/ 0 h 18"/>
                  <a:gd name="T10" fmla="*/ 66 w 66"/>
                  <a:gd name="T11" fmla="*/ 9 h 18"/>
                  <a:gd name="T12" fmla="*/ 57 w 66"/>
                  <a:gd name="T13" fmla="*/ 18 h 18"/>
                  <a:gd name="T14" fmla="*/ 9 w 66"/>
                  <a:gd name="T15" fmla="*/ 2 h 18"/>
                  <a:gd name="T16" fmla="*/ 2 w 66"/>
                  <a:gd name="T17" fmla="*/ 9 h 18"/>
                  <a:gd name="T18" fmla="*/ 9 w 66"/>
                  <a:gd name="T19" fmla="*/ 16 h 18"/>
                  <a:gd name="T20" fmla="*/ 57 w 66"/>
                  <a:gd name="T21" fmla="*/ 16 h 18"/>
                  <a:gd name="T22" fmla="*/ 64 w 66"/>
                  <a:gd name="T23" fmla="*/ 9 h 18"/>
                  <a:gd name="T24" fmla="*/ 57 w 66"/>
                  <a:gd name="T25" fmla="*/ 2 h 18"/>
                  <a:gd name="T26" fmla="*/ 9 w 66"/>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18">
                    <a:moveTo>
                      <a:pt x="57" y="18"/>
                    </a:moveTo>
                    <a:cubicBezTo>
                      <a:pt x="9" y="18"/>
                      <a:pt x="9" y="18"/>
                      <a:pt x="9" y="18"/>
                    </a:cubicBezTo>
                    <a:cubicBezTo>
                      <a:pt x="4" y="18"/>
                      <a:pt x="0" y="14"/>
                      <a:pt x="0" y="9"/>
                    </a:cubicBezTo>
                    <a:cubicBezTo>
                      <a:pt x="0" y="4"/>
                      <a:pt x="4" y="0"/>
                      <a:pt x="9" y="0"/>
                    </a:cubicBezTo>
                    <a:cubicBezTo>
                      <a:pt x="57" y="0"/>
                      <a:pt x="57" y="0"/>
                      <a:pt x="57" y="0"/>
                    </a:cubicBezTo>
                    <a:cubicBezTo>
                      <a:pt x="62" y="0"/>
                      <a:pt x="66" y="4"/>
                      <a:pt x="66" y="9"/>
                    </a:cubicBezTo>
                    <a:cubicBezTo>
                      <a:pt x="66" y="14"/>
                      <a:pt x="62" y="18"/>
                      <a:pt x="57" y="18"/>
                    </a:cubicBezTo>
                    <a:close/>
                    <a:moveTo>
                      <a:pt x="9" y="2"/>
                    </a:moveTo>
                    <a:cubicBezTo>
                      <a:pt x="5" y="2"/>
                      <a:pt x="2" y="5"/>
                      <a:pt x="2" y="9"/>
                    </a:cubicBezTo>
                    <a:cubicBezTo>
                      <a:pt x="2" y="13"/>
                      <a:pt x="5" y="16"/>
                      <a:pt x="9" y="16"/>
                    </a:cubicBezTo>
                    <a:cubicBezTo>
                      <a:pt x="57" y="16"/>
                      <a:pt x="57" y="16"/>
                      <a:pt x="57" y="16"/>
                    </a:cubicBezTo>
                    <a:cubicBezTo>
                      <a:pt x="61" y="16"/>
                      <a:pt x="64" y="13"/>
                      <a:pt x="64" y="9"/>
                    </a:cubicBezTo>
                    <a:cubicBezTo>
                      <a:pt x="64" y="5"/>
                      <a:pt x="61" y="2"/>
                      <a:pt x="57" y="2"/>
                    </a:cubicBezTo>
                    <a:lnTo>
                      <a:pt x="9"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lumMod val="50000"/>
                    </a:schemeClr>
                  </a:solidFill>
                </a:endParaRPr>
              </a:p>
            </p:txBody>
          </p:sp>
        </p:grpSp>
      </p:grpSp>
      <p:grpSp>
        <p:nvGrpSpPr>
          <p:cNvPr id="14" name="Group 13"/>
          <p:cNvGrpSpPr/>
          <p:nvPr/>
        </p:nvGrpSpPr>
        <p:grpSpPr>
          <a:xfrm>
            <a:off x="4102492" y="3276818"/>
            <a:ext cx="939427" cy="940661"/>
            <a:chOff x="3896105" y="1142592"/>
            <a:chExt cx="1152198" cy="1153711"/>
          </a:xfrm>
        </p:grpSpPr>
        <p:sp>
          <p:nvSpPr>
            <p:cNvPr id="15" name="Oval 7"/>
            <p:cNvSpPr>
              <a:spLocks noChangeArrowheads="1"/>
            </p:cNvSpPr>
            <p:nvPr/>
          </p:nvSpPr>
          <p:spPr bwMode="auto">
            <a:xfrm>
              <a:off x="3896105" y="1142592"/>
              <a:ext cx="1152198" cy="1153711"/>
            </a:xfrm>
            <a:prstGeom prst="ellipse">
              <a:avLst/>
            </a:prstGeom>
            <a:solidFill>
              <a:srgbClr val="FF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noEditPoints="1"/>
            </p:cNvSpPr>
            <p:nvPr/>
          </p:nvSpPr>
          <p:spPr bwMode="auto">
            <a:xfrm>
              <a:off x="4195999" y="1361842"/>
              <a:ext cx="552410" cy="755028"/>
            </a:xfrm>
            <a:custGeom>
              <a:avLst/>
              <a:gdLst>
                <a:gd name="T0" fmla="*/ 452 w 464"/>
                <a:gd name="T1" fmla="*/ 35 h 634"/>
                <a:gd name="T2" fmla="*/ 12 w 464"/>
                <a:gd name="T3" fmla="*/ 35 h 634"/>
                <a:gd name="T4" fmla="*/ 0 w 464"/>
                <a:gd name="T5" fmla="*/ 49 h 634"/>
                <a:gd name="T6" fmla="*/ 0 w 464"/>
                <a:gd name="T7" fmla="*/ 398 h 634"/>
                <a:gd name="T8" fmla="*/ 60 w 464"/>
                <a:gd name="T9" fmla="*/ 512 h 634"/>
                <a:gd name="T10" fmla="*/ 223 w 464"/>
                <a:gd name="T11" fmla="*/ 631 h 634"/>
                <a:gd name="T12" fmla="*/ 232 w 464"/>
                <a:gd name="T13" fmla="*/ 634 h 634"/>
                <a:gd name="T14" fmla="*/ 241 w 464"/>
                <a:gd name="T15" fmla="*/ 631 h 634"/>
                <a:gd name="T16" fmla="*/ 404 w 464"/>
                <a:gd name="T17" fmla="*/ 512 h 634"/>
                <a:gd name="T18" fmla="*/ 464 w 464"/>
                <a:gd name="T19" fmla="*/ 398 h 634"/>
                <a:gd name="T20" fmla="*/ 464 w 464"/>
                <a:gd name="T21" fmla="*/ 49 h 634"/>
                <a:gd name="T22" fmla="*/ 452 w 464"/>
                <a:gd name="T23" fmla="*/ 35 h 634"/>
                <a:gd name="T24" fmla="*/ 433 w 464"/>
                <a:gd name="T25" fmla="*/ 398 h 634"/>
                <a:gd name="T26" fmla="*/ 386 w 464"/>
                <a:gd name="T27" fmla="*/ 487 h 634"/>
                <a:gd name="T28" fmla="*/ 232 w 464"/>
                <a:gd name="T29" fmla="*/ 600 h 634"/>
                <a:gd name="T30" fmla="*/ 77 w 464"/>
                <a:gd name="T31" fmla="*/ 487 h 634"/>
                <a:gd name="T32" fmla="*/ 30 w 464"/>
                <a:gd name="T33" fmla="*/ 398 h 634"/>
                <a:gd name="T34" fmla="*/ 30 w 464"/>
                <a:gd name="T35" fmla="*/ 61 h 634"/>
                <a:gd name="T36" fmla="*/ 433 w 464"/>
                <a:gd name="T37" fmla="*/ 61 h 634"/>
                <a:gd name="T38" fmla="*/ 433 w 464"/>
                <a:gd name="T39" fmla="*/ 398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4" h="634">
                  <a:moveTo>
                    <a:pt x="452" y="35"/>
                  </a:moveTo>
                  <a:cubicBezTo>
                    <a:pt x="308" y="0"/>
                    <a:pt x="156" y="0"/>
                    <a:pt x="12" y="35"/>
                  </a:cubicBezTo>
                  <a:cubicBezTo>
                    <a:pt x="5" y="36"/>
                    <a:pt x="0" y="42"/>
                    <a:pt x="0" y="49"/>
                  </a:cubicBezTo>
                  <a:cubicBezTo>
                    <a:pt x="0" y="398"/>
                    <a:pt x="0" y="398"/>
                    <a:pt x="0" y="398"/>
                  </a:cubicBezTo>
                  <a:cubicBezTo>
                    <a:pt x="0" y="444"/>
                    <a:pt x="22" y="486"/>
                    <a:pt x="60" y="512"/>
                  </a:cubicBezTo>
                  <a:cubicBezTo>
                    <a:pt x="116" y="551"/>
                    <a:pt x="173" y="593"/>
                    <a:pt x="223" y="631"/>
                  </a:cubicBezTo>
                  <a:cubicBezTo>
                    <a:pt x="225" y="633"/>
                    <a:pt x="229" y="634"/>
                    <a:pt x="232" y="634"/>
                  </a:cubicBezTo>
                  <a:cubicBezTo>
                    <a:pt x="235" y="634"/>
                    <a:pt x="238" y="633"/>
                    <a:pt x="241" y="631"/>
                  </a:cubicBezTo>
                  <a:cubicBezTo>
                    <a:pt x="291" y="593"/>
                    <a:pt x="348" y="551"/>
                    <a:pt x="404" y="512"/>
                  </a:cubicBezTo>
                  <a:cubicBezTo>
                    <a:pt x="442" y="486"/>
                    <a:pt x="464" y="444"/>
                    <a:pt x="464" y="398"/>
                  </a:cubicBezTo>
                  <a:cubicBezTo>
                    <a:pt x="464" y="49"/>
                    <a:pt x="464" y="49"/>
                    <a:pt x="464" y="49"/>
                  </a:cubicBezTo>
                  <a:cubicBezTo>
                    <a:pt x="464" y="42"/>
                    <a:pt x="459" y="36"/>
                    <a:pt x="452" y="35"/>
                  </a:cubicBezTo>
                  <a:moveTo>
                    <a:pt x="433" y="398"/>
                  </a:moveTo>
                  <a:cubicBezTo>
                    <a:pt x="433" y="434"/>
                    <a:pt x="416" y="466"/>
                    <a:pt x="386" y="487"/>
                  </a:cubicBezTo>
                  <a:cubicBezTo>
                    <a:pt x="333" y="524"/>
                    <a:pt x="280" y="564"/>
                    <a:pt x="232" y="600"/>
                  </a:cubicBezTo>
                  <a:cubicBezTo>
                    <a:pt x="184" y="564"/>
                    <a:pt x="130" y="524"/>
                    <a:pt x="77" y="487"/>
                  </a:cubicBezTo>
                  <a:cubicBezTo>
                    <a:pt x="48" y="467"/>
                    <a:pt x="30" y="434"/>
                    <a:pt x="30" y="398"/>
                  </a:cubicBezTo>
                  <a:cubicBezTo>
                    <a:pt x="30" y="61"/>
                    <a:pt x="30" y="61"/>
                    <a:pt x="30" y="61"/>
                  </a:cubicBezTo>
                  <a:cubicBezTo>
                    <a:pt x="163" y="32"/>
                    <a:pt x="301" y="32"/>
                    <a:pt x="433" y="61"/>
                  </a:cubicBezTo>
                  <a:lnTo>
                    <a:pt x="433" y="3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noEditPoints="1"/>
            </p:cNvSpPr>
            <p:nvPr/>
          </p:nvSpPr>
          <p:spPr bwMode="auto">
            <a:xfrm>
              <a:off x="4268578" y="1443998"/>
              <a:ext cx="407251" cy="582148"/>
            </a:xfrm>
            <a:custGeom>
              <a:avLst/>
              <a:gdLst>
                <a:gd name="T0" fmla="*/ 12 w 342"/>
                <a:gd name="T1" fmla="*/ 15 h 489"/>
                <a:gd name="T2" fmla="*/ 0 w 342"/>
                <a:gd name="T3" fmla="*/ 30 h 489"/>
                <a:gd name="T4" fmla="*/ 0 w 342"/>
                <a:gd name="T5" fmla="*/ 329 h 489"/>
                <a:gd name="T6" fmla="*/ 34 w 342"/>
                <a:gd name="T7" fmla="*/ 393 h 489"/>
                <a:gd name="T8" fmla="*/ 162 w 342"/>
                <a:gd name="T9" fmla="*/ 486 h 489"/>
                <a:gd name="T10" fmla="*/ 171 w 342"/>
                <a:gd name="T11" fmla="*/ 489 h 489"/>
                <a:gd name="T12" fmla="*/ 180 w 342"/>
                <a:gd name="T13" fmla="*/ 486 h 489"/>
                <a:gd name="T14" fmla="*/ 308 w 342"/>
                <a:gd name="T15" fmla="*/ 393 h 489"/>
                <a:gd name="T16" fmla="*/ 342 w 342"/>
                <a:gd name="T17" fmla="*/ 329 h 489"/>
                <a:gd name="T18" fmla="*/ 342 w 342"/>
                <a:gd name="T19" fmla="*/ 30 h 489"/>
                <a:gd name="T20" fmla="*/ 329 w 342"/>
                <a:gd name="T21" fmla="*/ 15 h 489"/>
                <a:gd name="T22" fmla="*/ 171 w 342"/>
                <a:gd name="T23" fmla="*/ 0 h 489"/>
                <a:gd name="T24" fmla="*/ 12 w 342"/>
                <a:gd name="T25" fmla="*/ 15 h 489"/>
                <a:gd name="T26" fmla="*/ 311 w 342"/>
                <a:gd name="T27" fmla="*/ 329 h 489"/>
                <a:gd name="T28" fmla="*/ 291 w 342"/>
                <a:gd name="T29" fmla="*/ 368 h 489"/>
                <a:gd name="T30" fmla="*/ 171 w 342"/>
                <a:gd name="T31" fmla="*/ 454 h 489"/>
                <a:gd name="T32" fmla="*/ 51 w 342"/>
                <a:gd name="T33" fmla="*/ 368 h 489"/>
                <a:gd name="T34" fmla="*/ 30 w 342"/>
                <a:gd name="T35" fmla="*/ 329 h 489"/>
                <a:gd name="T36" fmla="*/ 30 w 342"/>
                <a:gd name="T37" fmla="*/ 43 h 489"/>
                <a:gd name="T38" fmla="*/ 171 w 342"/>
                <a:gd name="T39" fmla="*/ 31 h 489"/>
                <a:gd name="T40" fmla="*/ 311 w 342"/>
                <a:gd name="T41" fmla="*/ 43 h 489"/>
                <a:gd name="T42" fmla="*/ 311 w 342"/>
                <a:gd name="T43" fmla="*/ 329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2" h="489">
                  <a:moveTo>
                    <a:pt x="12" y="15"/>
                  </a:moveTo>
                  <a:cubicBezTo>
                    <a:pt x="5" y="16"/>
                    <a:pt x="0" y="22"/>
                    <a:pt x="0" y="30"/>
                  </a:cubicBezTo>
                  <a:cubicBezTo>
                    <a:pt x="0" y="329"/>
                    <a:pt x="0" y="329"/>
                    <a:pt x="0" y="329"/>
                  </a:cubicBezTo>
                  <a:cubicBezTo>
                    <a:pt x="0" y="355"/>
                    <a:pt x="12" y="378"/>
                    <a:pt x="34" y="393"/>
                  </a:cubicBezTo>
                  <a:cubicBezTo>
                    <a:pt x="79" y="425"/>
                    <a:pt x="124" y="458"/>
                    <a:pt x="162" y="486"/>
                  </a:cubicBezTo>
                  <a:cubicBezTo>
                    <a:pt x="164" y="488"/>
                    <a:pt x="168" y="489"/>
                    <a:pt x="171" y="489"/>
                  </a:cubicBezTo>
                  <a:cubicBezTo>
                    <a:pt x="174" y="489"/>
                    <a:pt x="177" y="488"/>
                    <a:pt x="180" y="486"/>
                  </a:cubicBezTo>
                  <a:cubicBezTo>
                    <a:pt x="218" y="458"/>
                    <a:pt x="262" y="425"/>
                    <a:pt x="308" y="393"/>
                  </a:cubicBezTo>
                  <a:cubicBezTo>
                    <a:pt x="329" y="378"/>
                    <a:pt x="342" y="355"/>
                    <a:pt x="342" y="329"/>
                  </a:cubicBezTo>
                  <a:cubicBezTo>
                    <a:pt x="342" y="30"/>
                    <a:pt x="342" y="30"/>
                    <a:pt x="342" y="30"/>
                  </a:cubicBezTo>
                  <a:cubicBezTo>
                    <a:pt x="342" y="22"/>
                    <a:pt x="337" y="16"/>
                    <a:pt x="329" y="15"/>
                  </a:cubicBezTo>
                  <a:cubicBezTo>
                    <a:pt x="277" y="5"/>
                    <a:pt x="224" y="0"/>
                    <a:pt x="171" y="0"/>
                  </a:cubicBezTo>
                  <a:cubicBezTo>
                    <a:pt x="118" y="0"/>
                    <a:pt x="65" y="5"/>
                    <a:pt x="12" y="15"/>
                  </a:cubicBezTo>
                  <a:moveTo>
                    <a:pt x="311" y="329"/>
                  </a:moveTo>
                  <a:cubicBezTo>
                    <a:pt x="311" y="344"/>
                    <a:pt x="304" y="359"/>
                    <a:pt x="291" y="368"/>
                  </a:cubicBezTo>
                  <a:cubicBezTo>
                    <a:pt x="248" y="397"/>
                    <a:pt x="207" y="428"/>
                    <a:pt x="171" y="454"/>
                  </a:cubicBezTo>
                  <a:cubicBezTo>
                    <a:pt x="135" y="428"/>
                    <a:pt x="93" y="397"/>
                    <a:pt x="51" y="368"/>
                  </a:cubicBezTo>
                  <a:cubicBezTo>
                    <a:pt x="38" y="359"/>
                    <a:pt x="30" y="345"/>
                    <a:pt x="30" y="329"/>
                  </a:cubicBezTo>
                  <a:cubicBezTo>
                    <a:pt x="30" y="43"/>
                    <a:pt x="30" y="43"/>
                    <a:pt x="30" y="43"/>
                  </a:cubicBezTo>
                  <a:cubicBezTo>
                    <a:pt x="76" y="35"/>
                    <a:pt x="124" y="31"/>
                    <a:pt x="171" y="31"/>
                  </a:cubicBezTo>
                  <a:cubicBezTo>
                    <a:pt x="218" y="31"/>
                    <a:pt x="265" y="35"/>
                    <a:pt x="311" y="43"/>
                  </a:cubicBezTo>
                  <a:lnTo>
                    <a:pt x="311" y="3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p:cNvSpPr>
            <p:nvPr/>
          </p:nvSpPr>
          <p:spPr bwMode="auto">
            <a:xfrm>
              <a:off x="4362831" y="1620407"/>
              <a:ext cx="238907" cy="180945"/>
            </a:xfrm>
            <a:custGeom>
              <a:avLst/>
              <a:gdLst>
                <a:gd name="T0" fmla="*/ 27 w 201"/>
                <a:gd name="T1" fmla="*/ 66 h 152"/>
                <a:gd name="T2" fmla="*/ 6 w 201"/>
                <a:gd name="T3" fmla="*/ 66 h 152"/>
                <a:gd name="T4" fmla="*/ 6 w 201"/>
                <a:gd name="T5" fmla="*/ 87 h 152"/>
                <a:gd name="T6" fmla="*/ 65 w 201"/>
                <a:gd name="T7" fmla="*/ 147 h 152"/>
                <a:gd name="T8" fmla="*/ 76 w 201"/>
                <a:gd name="T9" fmla="*/ 152 h 152"/>
                <a:gd name="T10" fmla="*/ 76 w 201"/>
                <a:gd name="T11" fmla="*/ 152 h 152"/>
                <a:gd name="T12" fmla="*/ 87 w 201"/>
                <a:gd name="T13" fmla="*/ 147 h 152"/>
                <a:gd name="T14" fmla="*/ 196 w 201"/>
                <a:gd name="T15" fmla="*/ 27 h 152"/>
                <a:gd name="T16" fmla="*/ 195 w 201"/>
                <a:gd name="T17" fmla="*/ 5 h 152"/>
                <a:gd name="T18" fmla="*/ 173 w 201"/>
                <a:gd name="T19" fmla="*/ 6 h 152"/>
                <a:gd name="T20" fmla="*/ 75 w 201"/>
                <a:gd name="T21" fmla="*/ 114 h 152"/>
                <a:gd name="T22" fmla="*/ 27 w 201"/>
                <a:gd name="T23" fmla="*/ 6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152">
                  <a:moveTo>
                    <a:pt x="27" y="66"/>
                  </a:moveTo>
                  <a:cubicBezTo>
                    <a:pt x="22" y="60"/>
                    <a:pt x="12" y="60"/>
                    <a:pt x="6" y="66"/>
                  </a:cubicBezTo>
                  <a:cubicBezTo>
                    <a:pt x="0" y="72"/>
                    <a:pt x="0" y="81"/>
                    <a:pt x="6" y="87"/>
                  </a:cubicBezTo>
                  <a:cubicBezTo>
                    <a:pt x="65" y="147"/>
                    <a:pt x="65" y="147"/>
                    <a:pt x="65" y="147"/>
                  </a:cubicBezTo>
                  <a:cubicBezTo>
                    <a:pt x="68" y="150"/>
                    <a:pt x="72" y="152"/>
                    <a:pt x="76" y="152"/>
                  </a:cubicBezTo>
                  <a:cubicBezTo>
                    <a:pt x="76" y="152"/>
                    <a:pt x="76" y="152"/>
                    <a:pt x="76" y="152"/>
                  </a:cubicBezTo>
                  <a:cubicBezTo>
                    <a:pt x="80" y="152"/>
                    <a:pt x="84" y="150"/>
                    <a:pt x="87" y="147"/>
                  </a:cubicBezTo>
                  <a:cubicBezTo>
                    <a:pt x="196" y="27"/>
                    <a:pt x="196" y="27"/>
                    <a:pt x="196" y="27"/>
                  </a:cubicBezTo>
                  <a:cubicBezTo>
                    <a:pt x="201" y="20"/>
                    <a:pt x="201" y="11"/>
                    <a:pt x="195" y="5"/>
                  </a:cubicBezTo>
                  <a:cubicBezTo>
                    <a:pt x="188" y="0"/>
                    <a:pt x="179" y="0"/>
                    <a:pt x="173" y="6"/>
                  </a:cubicBezTo>
                  <a:cubicBezTo>
                    <a:pt x="75" y="114"/>
                    <a:pt x="75" y="114"/>
                    <a:pt x="75" y="114"/>
                  </a:cubicBezTo>
                  <a:lnTo>
                    <a:pt x="27"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 name="Group 18"/>
          <p:cNvGrpSpPr/>
          <p:nvPr/>
        </p:nvGrpSpPr>
        <p:grpSpPr>
          <a:xfrm>
            <a:off x="2549011" y="3276818"/>
            <a:ext cx="940660" cy="940661"/>
            <a:chOff x="1044338" y="1142592"/>
            <a:chExt cx="1153710" cy="1153711"/>
          </a:xfrm>
        </p:grpSpPr>
        <p:sp>
          <p:nvSpPr>
            <p:cNvPr id="20" name="Oval 11"/>
            <p:cNvSpPr>
              <a:spLocks noChangeArrowheads="1"/>
            </p:cNvSpPr>
            <p:nvPr/>
          </p:nvSpPr>
          <p:spPr bwMode="auto">
            <a:xfrm>
              <a:off x="1044338" y="1142592"/>
              <a:ext cx="1153710" cy="1153711"/>
            </a:xfrm>
            <a:prstGeom prst="ellipse">
              <a:avLst/>
            </a:prstGeom>
            <a:solidFill>
              <a:srgbClr val="19A9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p:cNvSpPr>
              <a:spLocks noEditPoints="1"/>
            </p:cNvSpPr>
            <p:nvPr/>
          </p:nvSpPr>
          <p:spPr bwMode="auto">
            <a:xfrm>
              <a:off x="1290806" y="1384524"/>
              <a:ext cx="422876" cy="421364"/>
            </a:xfrm>
            <a:custGeom>
              <a:avLst/>
              <a:gdLst>
                <a:gd name="T0" fmla="*/ 40 w 355"/>
                <a:gd name="T1" fmla="*/ 216 h 354"/>
                <a:gd name="T2" fmla="*/ 53 w 355"/>
                <a:gd name="T3" fmla="*/ 247 h 354"/>
                <a:gd name="T4" fmla="*/ 37 w 355"/>
                <a:gd name="T5" fmla="*/ 266 h 354"/>
                <a:gd name="T6" fmla="*/ 38 w 355"/>
                <a:gd name="T7" fmla="*/ 288 h 354"/>
                <a:gd name="T8" fmla="*/ 65 w 355"/>
                <a:gd name="T9" fmla="*/ 315 h 354"/>
                <a:gd name="T10" fmla="*/ 87 w 355"/>
                <a:gd name="T11" fmla="*/ 316 h 354"/>
                <a:gd name="T12" fmla="*/ 107 w 355"/>
                <a:gd name="T13" fmla="*/ 301 h 354"/>
                <a:gd name="T14" fmla="*/ 139 w 355"/>
                <a:gd name="T15" fmla="*/ 314 h 354"/>
                <a:gd name="T16" fmla="*/ 142 w 355"/>
                <a:gd name="T17" fmla="*/ 340 h 354"/>
                <a:gd name="T18" fmla="*/ 158 w 355"/>
                <a:gd name="T19" fmla="*/ 354 h 354"/>
                <a:gd name="T20" fmla="*/ 196 w 355"/>
                <a:gd name="T21" fmla="*/ 354 h 354"/>
                <a:gd name="T22" fmla="*/ 212 w 355"/>
                <a:gd name="T23" fmla="*/ 340 h 354"/>
                <a:gd name="T24" fmla="*/ 215 w 355"/>
                <a:gd name="T25" fmla="*/ 315 h 354"/>
                <a:gd name="T26" fmla="*/ 249 w 355"/>
                <a:gd name="T27" fmla="*/ 301 h 354"/>
                <a:gd name="T28" fmla="*/ 269 w 355"/>
                <a:gd name="T29" fmla="*/ 316 h 354"/>
                <a:gd name="T30" fmla="*/ 290 w 355"/>
                <a:gd name="T31" fmla="*/ 315 h 354"/>
                <a:gd name="T32" fmla="*/ 317 w 355"/>
                <a:gd name="T33" fmla="*/ 288 h 354"/>
                <a:gd name="T34" fmla="*/ 318 w 355"/>
                <a:gd name="T35" fmla="*/ 266 h 354"/>
                <a:gd name="T36" fmla="*/ 304 w 355"/>
                <a:gd name="T37" fmla="*/ 248 h 354"/>
                <a:gd name="T38" fmla="*/ 318 w 355"/>
                <a:gd name="T39" fmla="*/ 214 h 354"/>
                <a:gd name="T40" fmla="*/ 341 w 355"/>
                <a:gd name="T41" fmla="*/ 211 h 354"/>
                <a:gd name="T42" fmla="*/ 355 w 355"/>
                <a:gd name="T43" fmla="*/ 195 h 354"/>
                <a:gd name="T44" fmla="*/ 355 w 355"/>
                <a:gd name="T45" fmla="*/ 157 h 354"/>
                <a:gd name="T46" fmla="*/ 341 w 355"/>
                <a:gd name="T47" fmla="*/ 141 h 354"/>
                <a:gd name="T48" fmla="*/ 318 w 355"/>
                <a:gd name="T49" fmla="*/ 138 h 354"/>
                <a:gd name="T50" fmla="*/ 304 w 355"/>
                <a:gd name="T51" fmla="*/ 105 h 354"/>
                <a:gd name="T52" fmla="*/ 318 w 355"/>
                <a:gd name="T53" fmla="*/ 87 h 354"/>
                <a:gd name="T54" fmla="*/ 317 w 355"/>
                <a:gd name="T55" fmla="*/ 65 h 354"/>
                <a:gd name="T56" fmla="*/ 290 w 355"/>
                <a:gd name="T57" fmla="*/ 38 h 354"/>
                <a:gd name="T58" fmla="*/ 269 w 355"/>
                <a:gd name="T59" fmla="*/ 37 h 354"/>
                <a:gd name="T60" fmla="*/ 252 w 355"/>
                <a:gd name="T61" fmla="*/ 51 h 354"/>
                <a:gd name="T62" fmla="*/ 216 w 355"/>
                <a:gd name="T63" fmla="*/ 36 h 354"/>
                <a:gd name="T64" fmla="*/ 214 w 355"/>
                <a:gd name="T65" fmla="*/ 14 h 354"/>
                <a:gd name="T66" fmla="*/ 198 w 355"/>
                <a:gd name="T67" fmla="*/ 0 h 354"/>
                <a:gd name="T68" fmla="*/ 159 w 355"/>
                <a:gd name="T69" fmla="*/ 0 h 354"/>
                <a:gd name="T70" fmla="*/ 143 w 355"/>
                <a:gd name="T71" fmla="*/ 14 h 354"/>
                <a:gd name="T72" fmla="*/ 141 w 355"/>
                <a:gd name="T73" fmla="*/ 36 h 354"/>
                <a:gd name="T74" fmla="*/ 105 w 355"/>
                <a:gd name="T75" fmla="*/ 51 h 354"/>
                <a:gd name="T76" fmla="*/ 87 w 355"/>
                <a:gd name="T77" fmla="*/ 37 h 354"/>
                <a:gd name="T78" fmla="*/ 65 w 355"/>
                <a:gd name="T79" fmla="*/ 38 h 354"/>
                <a:gd name="T80" fmla="*/ 38 w 355"/>
                <a:gd name="T81" fmla="*/ 66 h 354"/>
                <a:gd name="T82" fmla="*/ 37 w 355"/>
                <a:gd name="T83" fmla="*/ 87 h 354"/>
                <a:gd name="T84" fmla="*/ 52 w 355"/>
                <a:gd name="T85" fmla="*/ 106 h 354"/>
                <a:gd name="T86" fmla="*/ 38 w 355"/>
                <a:gd name="T87" fmla="*/ 140 h 354"/>
                <a:gd name="T88" fmla="*/ 15 w 355"/>
                <a:gd name="T89" fmla="*/ 142 h 354"/>
                <a:gd name="T90" fmla="*/ 0 w 355"/>
                <a:gd name="T91" fmla="*/ 158 h 354"/>
                <a:gd name="T92" fmla="*/ 0 w 355"/>
                <a:gd name="T93" fmla="*/ 197 h 354"/>
                <a:gd name="T94" fmla="*/ 15 w 355"/>
                <a:gd name="T95" fmla="*/ 213 h 354"/>
                <a:gd name="T96" fmla="*/ 40 w 355"/>
                <a:gd name="T97" fmla="*/ 216 h 354"/>
                <a:gd name="T98" fmla="*/ 179 w 355"/>
                <a:gd name="T99" fmla="*/ 112 h 354"/>
                <a:gd name="T100" fmla="*/ 242 w 355"/>
                <a:gd name="T101" fmla="*/ 175 h 354"/>
                <a:gd name="T102" fmla="*/ 179 w 355"/>
                <a:gd name="T103" fmla="*/ 239 h 354"/>
                <a:gd name="T104" fmla="*/ 115 w 355"/>
                <a:gd name="T105" fmla="*/ 175 h 354"/>
                <a:gd name="T106" fmla="*/ 179 w 355"/>
                <a:gd name="T107" fmla="*/ 11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5" h="354">
                  <a:moveTo>
                    <a:pt x="40" y="216"/>
                  </a:moveTo>
                  <a:cubicBezTo>
                    <a:pt x="43" y="226"/>
                    <a:pt x="47" y="237"/>
                    <a:pt x="53" y="247"/>
                  </a:cubicBezTo>
                  <a:cubicBezTo>
                    <a:pt x="37" y="266"/>
                    <a:pt x="37" y="266"/>
                    <a:pt x="37" y="266"/>
                  </a:cubicBezTo>
                  <a:cubicBezTo>
                    <a:pt x="32" y="273"/>
                    <a:pt x="32" y="282"/>
                    <a:pt x="38" y="288"/>
                  </a:cubicBezTo>
                  <a:cubicBezTo>
                    <a:pt x="65" y="315"/>
                    <a:pt x="65" y="315"/>
                    <a:pt x="65" y="315"/>
                  </a:cubicBezTo>
                  <a:cubicBezTo>
                    <a:pt x="71" y="321"/>
                    <a:pt x="80" y="321"/>
                    <a:pt x="87" y="316"/>
                  </a:cubicBezTo>
                  <a:cubicBezTo>
                    <a:pt x="107" y="301"/>
                    <a:pt x="107" y="301"/>
                    <a:pt x="107" y="301"/>
                  </a:cubicBezTo>
                  <a:cubicBezTo>
                    <a:pt x="117" y="306"/>
                    <a:pt x="128" y="311"/>
                    <a:pt x="139" y="314"/>
                  </a:cubicBezTo>
                  <a:cubicBezTo>
                    <a:pt x="142" y="340"/>
                    <a:pt x="142" y="340"/>
                    <a:pt x="142" y="340"/>
                  </a:cubicBezTo>
                  <a:cubicBezTo>
                    <a:pt x="143" y="348"/>
                    <a:pt x="150" y="354"/>
                    <a:pt x="158" y="354"/>
                  </a:cubicBezTo>
                  <a:cubicBezTo>
                    <a:pt x="196" y="354"/>
                    <a:pt x="196" y="354"/>
                    <a:pt x="196" y="354"/>
                  </a:cubicBezTo>
                  <a:cubicBezTo>
                    <a:pt x="204" y="354"/>
                    <a:pt x="211" y="348"/>
                    <a:pt x="212" y="340"/>
                  </a:cubicBezTo>
                  <a:cubicBezTo>
                    <a:pt x="215" y="315"/>
                    <a:pt x="215" y="315"/>
                    <a:pt x="215" y="315"/>
                  </a:cubicBezTo>
                  <a:cubicBezTo>
                    <a:pt x="227" y="312"/>
                    <a:pt x="239" y="307"/>
                    <a:pt x="249" y="301"/>
                  </a:cubicBezTo>
                  <a:cubicBezTo>
                    <a:pt x="269" y="316"/>
                    <a:pt x="269" y="316"/>
                    <a:pt x="269" y="316"/>
                  </a:cubicBezTo>
                  <a:cubicBezTo>
                    <a:pt x="275" y="321"/>
                    <a:pt x="284" y="321"/>
                    <a:pt x="290" y="315"/>
                  </a:cubicBezTo>
                  <a:cubicBezTo>
                    <a:pt x="317" y="288"/>
                    <a:pt x="317" y="288"/>
                    <a:pt x="317" y="288"/>
                  </a:cubicBezTo>
                  <a:cubicBezTo>
                    <a:pt x="323" y="282"/>
                    <a:pt x="324" y="273"/>
                    <a:pt x="318" y="266"/>
                  </a:cubicBezTo>
                  <a:cubicBezTo>
                    <a:pt x="304" y="248"/>
                    <a:pt x="304" y="248"/>
                    <a:pt x="304" y="248"/>
                  </a:cubicBezTo>
                  <a:cubicBezTo>
                    <a:pt x="310" y="237"/>
                    <a:pt x="315" y="226"/>
                    <a:pt x="318" y="214"/>
                  </a:cubicBezTo>
                  <a:cubicBezTo>
                    <a:pt x="341" y="211"/>
                    <a:pt x="341" y="211"/>
                    <a:pt x="341" y="211"/>
                  </a:cubicBezTo>
                  <a:cubicBezTo>
                    <a:pt x="349" y="210"/>
                    <a:pt x="355" y="203"/>
                    <a:pt x="355" y="195"/>
                  </a:cubicBezTo>
                  <a:cubicBezTo>
                    <a:pt x="355" y="157"/>
                    <a:pt x="355" y="157"/>
                    <a:pt x="355" y="157"/>
                  </a:cubicBezTo>
                  <a:cubicBezTo>
                    <a:pt x="355" y="149"/>
                    <a:pt x="349" y="142"/>
                    <a:pt x="341" y="141"/>
                  </a:cubicBezTo>
                  <a:cubicBezTo>
                    <a:pt x="318" y="138"/>
                    <a:pt x="318" y="138"/>
                    <a:pt x="318" y="138"/>
                  </a:cubicBezTo>
                  <a:cubicBezTo>
                    <a:pt x="315" y="126"/>
                    <a:pt x="310" y="115"/>
                    <a:pt x="304" y="105"/>
                  </a:cubicBezTo>
                  <a:cubicBezTo>
                    <a:pt x="318" y="87"/>
                    <a:pt x="318" y="87"/>
                    <a:pt x="318" y="87"/>
                  </a:cubicBezTo>
                  <a:cubicBezTo>
                    <a:pt x="323" y="81"/>
                    <a:pt x="323" y="71"/>
                    <a:pt x="317" y="65"/>
                  </a:cubicBezTo>
                  <a:cubicBezTo>
                    <a:pt x="290" y="38"/>
                    <a:pt x="290" y="38"/>
                    <a:pt x="290" y="38"/>
                  </a:cubicBezTo>
                  <a:cubicBezTo>
                    <a:pt x="284" y="33"/>
                    <a:pt x="275" y="32"/>
                    <a:pt x="269" y="37"/>
                  </a:cubicBezTo>
                  <a:cubicBezTo>
                    <a:pt x="252" y="51"/>
                    <a:pt x="252" y="51"/>
                    <a:pt x="252" y="51"/>
                  </a:cubicBezTo>
                  <a:cubicBezTo>
                    <a:pt x="240" y="44"/>
                    <a:pt x="229" y="39"/>
                    <a:pt x="216" y="36"/>
                  </a:cubicBezTo>
                  <a:cubicBezTo>
                    <a:pt x="214" y="14"/>
                    <a:pt x="214" y="14"/>
                    <a:pt x="214" y="14"/>
                  </a:cubicBezTo>
                  <a:cubicBezTo>
                    <a:pt x="213" y="6"/>
                    <a:pt x="206" y="0"/>
                    <a:pt x="198" y="0"/>
                  </a:cubicBezTo>
                  <a:cubicBezTo>
                    <a:pt x="159" y="0"/>
                    <a:pt x="159" y="0"/>
                    <a:pt x="159" y="0"/>
                  </a:cubicBezTo>
                  <a:cubicBezTo>
                    <a:pt x="151" y="0"/>
                    <a:pt x="144" y="6"/>
                    <a:pt x="143" y="14"/>
                  </a:cubicBezTo>
                  <a:cubicBezTo>
                    <a:pt x="141" y="36"/>
                    <a:pt x="141" y="36"/>
                    <a:pt x="141" y="36"/>
                  </a:cubicBezTo>
                  <a:cubicBezTo>
                    <a:pt x="128" y="39"/>
                    <a:pt x="116" y="44"/>
                    <a:pt x="105" y="51"/>
                  </a:cubicBezTo>
                  <a:cubicBezTo>
                    <a:pt x="87" y="37"/>
                    <a:pt x="87" y="37"/>
                    <a:pt x="87" y="37"/>
                  </a:cubicBezTo>
                  <a:cubicBezTo>
                    <a:pt x="80" y="32"/>
                    <a:pt x="71" y="33"/>
                    <a:pt x="65" y="38"/>
                  </a:cubicBezTo>
                  <a:cubicBezTo>
                    <a:pt x="38" y="66"/>
                    <a:pt x="38" y="66"/>
                    <a:pt x="38" y="66"/>
                  </a:cubicBezTo>
                  <a:cubicBezTo>
                    <a:pt x="32" y="71"/>
                    <a:pt x="32" y="81"/>
                    <a:pt x="37" y="87"/>
                  </a:cubicBezTo>
                  <a:cubicBezTo>
                    <a:pt x="52" y="106"/>
                    <a:pt x="52" y="106"/>
                    <a:pt x="52" y="106"/>
                  </a:cubicBezTo>
                  <a:cubicBezTo>
                    <a:pt x="46" y="116"/>
                    <a:pt x="41" y="128"/>
                    <a:pt x="38" y="140"/>
                  </a:cubicBezTo>
                  <a:cubicBezTo>
                    <a:pt x="15" y="142"/>
                    <a:pt x="15" y="142"/>
                    <a:pt x="15" y="142"/>
                  </a:cubicBezTo>
                  <a:cubicBezTo>
                    <a:pt x="7" y="143"/>
                    <a:pt x="0" y="150"/>
                    <a:pt x="0" y="158"/>
                  </a:cubicBezTo>
                  <a:cubicBezTo>
                    <a:pt x="0" y="197"/>
                    <a:pt x="0" y="197"/>
                    <a:pt x="0" y="197"/>
                  </a:cubicBezTo>
                  <a:cubicBezTo>
                    <a:pt x="0" y="205"/>
                    <a:pt x="7" y="212"/>
                    <a:pt x="15" y="213"/>
                  </a:cubicBezTo>
                  <a:lnTo>
                    <a:pt x="40" y="216"/>
                  </a:lnTo>
                  <a:close/>
                  <a:moveTo>
                    <a:pt x="179" y="112"/>
                  </a:moveTo>
                  <a:cubicBezTo>
                    <a:pt x="213" y="112"/>
                    <a:pt x="242" y="140"/>
                    <a:pt x="242" y="175"/>
                  </a:cubicBezTo>
                  <a:cubicBezTo>
                    <a:pt x="242" y="210"/>
                    <a:pt x="213" y="239"/>
                    <a:pt x="179" y="239"/>
                  </a:cubicBezTo>
                  <a:cubicBezTo>
                    <a:pt x="144" y="239"/>
                    <a:pt x="115" y="210"/>
                    <a:pt x="115" y="175"/>
                  </a:cubicBezTo>
                  <a:cubicBezTo>
                    <a:pt x="115" y="140"/>
                    <a:pt x="144" y="112"/>
                    <a:pt x="179" y="1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p:cNvSpPr>
              <a:spLocks noEditPoints="1"/>
            </p:cNvSpPr>
            <p:nvPr/>
          </p:nvSpPr>
          <p:spPr bwMode="auto">
            <a:xfrm>
              <a:off x="1656223" y="1599742"/>
              <a:ext cx="347776" cy="349289"/>
            </a:xfrm>
            <a:custGeom>
              <a:avLst/>
              <a:gdLst>
                <a:gd name="T0" fmla="*/ 250 w 292"/>
                <a:gd name="T1" fmla="*/ 44 h 293"/>
                <a:gd name="T2" fmla="*/ 230 w 292"/>
                <a:gd name="T3" fmla="*/ 27 h 293"/>
                <a:gd name="T4" fmla="*/ 209 w 292"/>
                <a:gd name="T5" fmla="*/ 28 h 293"/>
                <a:gd name="T6" fmla="*/ 197 w 292"/>
                <a:gd name="T7" fmla="*/ 38 h 293"/>
                <a:gd name="T8" fmla="*/ 168 w 292"/>
                <a:gd name="T9" fmla="*/ 28 h 293"/>
                <a:gd name="T10" fmla="*/ 165 w 292"/>
                <a:gd name="T11" fmla="*/ 13 h 293"/>
                <a:gd name="T12" fmla="*/ 148 w 292"/>
                <a:gd name="T13" fmla="*/ 0 h 293"/>
                <a:gd name="T14" fmla="*/ 121 w 292"/>
                <a:gd name="T15" fmla="*/ 2 h 293"/>
                <a:gd name="T16" fmla="*/ 106 w 292"/>
                <a:gd name="T17" fmla="*/ 18 h 293"/>
                <a:gd name="T18" fmla="*/ 106 w 292"/>
                <a:gd name="T19" fmla="*/ 34 h 293"/>
                <a:gd name="T20" fmla="*/ 78 w 292"/>
                <a:gd name="T21" fmla="*/ 48 h 293"/>
                <a:gd name="T22" fmla="*/ 64 w 292"/>
                <a:gd name="T23" fmla="*/ 40 h 293"/>
                <a:gd name="T24" fmla="*/ 43 w 292"/>
                <a:gd name="T25" fmla="*/ 43 h 293"/>
                <a:gd name="T26" fmla="*/ 26 w 292"/>
                <a:gd name="T27" fmla="*/ 63 h 293"/>
                <a:gd name="T28" fmla="*/ 27 w 292"/>
                <a:gd name="T29" fmla="*/ 84 h 293"/>
                <a:gd name="T30" fmla="*/ 38 w 292"/>
                <a:gd name="T31" fmla="*/ 97 h 293"/>
                <a:gd name="T32" fmla="*/ 30 w 292"/>
                <a:gd name="T33" fmla="*/ 125 h 293"/>
                <a:gd name="T34" fmla="*/ 13 w 292"/>
                <a:gd name="T35" fmla="*/ 129 h 293"/>
                <a:gd name="T36" fmla="*/ 0 w 292"/>
                <a:gd name="T37" fmla="*/ 146 h 293"/>
                <a:gd name="T38" fmla="*/ 2 w 292"/>
                <a:gd name="T39" fmla="*/ 172 h 293"/>
                <a:gd name="T40" fmla="*/ 18 w 292"/>
                <a:gd name="T41" fmla="*/ 187 h 293"/>
                <a:gd name="T42" fmla="*/ 36 w 292"/>
                <a:gd name="T43" fmla="*/ 187 h 293"/>
                <a:gd name="T44" fmla="*/ 49 w 292"/>
                <a:gd name="T45" fmla="*/ 212 h 293"/>
                <a:gd name="T46" fmla="*/ 39 w 292"/>
                <a:gd name="T47" fmla="*/ 227 h 293"/>
                <a:gd name="T48" fmla="*/ 42 w 292"/>
                <a:gd name="T49" fmla="*/ 248 h 293"/>
                <a:gd name="T50" fmla="*/ 62 w 292"/>
                <a:gd name="T51" fmla="*/ 265 h 293"/>
                <a:gd name="T52" fmla="*/ 83 w 292"/>
                <a:gd name="T53" fmla="*/ 265 h 293"/>
                <a:gd name="T54" fmla="*/ 96 w 292"/>
                <a:gd name="T55" fmla="*/ 252 h 293"/>
                <a:gd name="T56" fmla="*/ 123 w 292"/>
                <a:gd name="T57" fmla="*/ 261 h 293"/>
                <a:gd name="T58" fmla="*/ 127 w 292"/>
                <a:gd name="T59" fmla="*/ 279 h 293"/>
                <a:gd name="T60" fmla="*/ 144 w 292"/>
                <a:gd name="T61" fmla="*/ 292 h 293"/>
                <a:gd name="T62" fmla="*/ 171 w 292"/>
                <a:gd name="T63" fmla="*/ 290 h 293"/>
                <a:gd name="T64" fmla="*/ 185 w 292"/>
                <a:gd name="T65" fmla="*/ 274 h 293"/>
                <a:gd name="T66" fmla="*/ 186 w 292"/>
                <a:gd name="T67" fmla="*/ 256 h 293"/>
                <a:gd name="T68" fmla="*/ 213 w 292"/>
                <a:gd name="T69" fmla="*/ 243 h 293"/>
                <a:gd name="T70" fmla="*/ 228 w 292"/>
                <a:gd name="T71" fmla="*/ 252 h 293"/>
                <a:gd name="T72" fmla="*/ 249 w 292"/>
                <a:gd name="T73" fmla="*/ 249 h 293"/>
                <a:gd name="T74" fmla="*/ 266 w 292"/>
                <a:gd name="T75" fmla="*/ 229 h 293"/>
                <a:gd name="T76" fmla="*/ 265 w 292"/>
                <a:gd name="T77" fmla="*/ 208 h 293"/>
                <a:gd name="T78" fmla="*/ 253 w 292"/>
                <a:gd name="T79" fmla="*/ 195 h 293"/>
                <a:gd name="T80" fmla="*/ 263 w 292"/>
                <a:gd name="T81" fmla="*/ 167 h 293"/>
                <a:gd name="T82" fmla="*/ 279 w 292"/>
                <a:gd name="T83" fmla="*/ 164 h 293"/>
                <a:gd name="T84" fmla="*/ 291 w 292"/>
                <a:gd name="T85" fmla="*/ 146 h 293"/>
                <a:gd name="T86" fmla="*/ 289 w 292"/>
                <a:gd name="T87" fmla="*/ 120 h 293"/>
                <a:gd name="T88" fmla="*/ 274 w 292"/>
                <a:gd name="T89" fmla="*/ 105 h 293"/>
                <a:gd name="T90" fmla="*/ 258 w 292"/>
                <a:gd name="T91" fmla="*/ 105 h 293"/>
                <a:gd name="T92" fmla="*/ 244 w 292"/>
                <a:gd name="T93" fmla="*/ 78 h 293"/>
                <a:gd name="T94" fmla="*/ 253 w 292"/>
                <a:gd name="T95" fmla="*/ 65 h 293"/>
                <a:gd name="T96" fmla="*/ 250 w 292"/>
                <a:gd name="T97" fmla="*/ 44 h 293"/>
                <a:gd name="T98" fmla="*/ 151 w 292"/>
                <a:gd name="T99" fmla="*/ 197 h 293"/>
                <a:gd name="T100" fmla="*/ 95 w 292"/>
                <a:gd name="T101" fmla="*/ 149 h 293"/>
                <a:gd name="T102" fmla="*/ 142 w 292"/>
                <a:gd name="T103" fmla="*/ 93 h 293"/>
                <a:gd name="T104" fmla="*/ 198 w 292"/>
                <a:gd name="T105" fmla="*/ 141 h 293"/>
                <a:gd name="T106" fmla="*/ 151 w 292"/>
                <a:gd name="T107" fmla="*/ 197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2" h="293">
                  <a:moveTo>
                    <a:pt x="250" y="44"/>
                  </a:moveTo>
                  <a:cubicBezTo>
                    <a:pt x="230" y="27"/>
                    <a:pt x="230" y="27"/>
                    <a:pt x="230" y="27"/>
                  </a:cubicBezTo>
                  <a:cubicBezTo>
                    <a:pt x="224" y="22"/>
                    <a:pt x="215" y="22"/>
                    <a:pt x="209" y="28"/>
                  </a:cubicBezTo>
                  <a:cubicBezTo>
                    <a:pt x="197" y="38"/>
                    <a:pt x="197" y="38"/>
                    <a:pt x="197" y="38"/>
                  </a:cubicBezTo>
                  <a:cubicBezTo>
                    <a:pt x="188" y="33"/>
                    <a:pt x="178" y="30"/>
                    <a:pt x="168" y="28"/>
                  </a:cubicBezTo>
                  <a:cubicBezTo>
                    <a:pt x="165" y="13"/>
                    <a:pt x="165" y="13"/>
                    <a:pt x="165" y="13"/>
                  </a:cubicBezTo>
                  <a:cubicBezTo>
                    <a:pt x="163" y="5"/>
                    <a:pt x="156" y="0"/>
                    <a:pt x="148" y="0"/>
                  </a:cubicBezTo>
                  <a:cubicBezTo>
                    <a:pt x="121" y="2"/>
                    <a:pt x="121" y="2"/>
                    <a:pt x="121" y="2"/>
                  </a:cubicBezTo>
                  <a:cubicBezTo>
                    <a:pt x="113" y="3"/>
                    <a:pt x="107" y="10"/>
                    <a:pt x="106" y="18"/>
                  </a:cubicBezTo>
                  <a:cubicBezTo>
                    <a:pt x="106" y="34"/>
                    <a:pt x="106" y="34"/>
                    <a:pt x="106" y="34"/>
                  </a:cubicBezTo>
                  <a:cubicBezTo>
                    <a:pt x="96" y="37"/>
                    <a:pt x="86" y="42"/>
                    <a:pt x="78" y="48"/>
                  </a:cubicBezTo>
                  <a:cubicBezTo>
                    <a:pt x="64" y="40"/>
                    <a:pt x="64" y="40"/>
                    <a:pt x="64" y="40"/>
                  </a:cubicBezTo>
                  <a:cubicBezTo>
                    <a:pt x="57" y="35"/>
                    <a:pt x="48" y="36"/>
                    <a:pt x="43" y="43"/>
                  </a:cubicBezTo>
                  <a:cubicBezTo>
                    <a:pt x="26" y="63"/>
                    <a:pt x="26" y="63"/>
                    <a:pt x="26" y="63"/>
                  </a:cubicBezTo>
                  <a:cubicBezTo>
                    <a:pt x="21" y="69"/>
                    <a:pt x="21" y="78"/>
                    <a:pt x="27" y="84"/>
                  </a:cubicBezTo>
                  <a:cubicBezTo>
                    <a:pt x="38" y="97"/>
                    <a:pt x="38" y="97"/>
                    <a:pt x="38" y="97"/>
                  </a:cubicBezTo>
                  <a:cubicBezTo>
                    <a:pt x="34" y="106"/>
                    <a:pt x="31" y="115"/>
                    <a:pt x="30" y="125"/>
                  </a:cubicBezTo>
                  <a:cubicBezTo>
                    <a:pt x="13" y="129"/>
                    <a:pt x="13" y="129"/>
                    <a:pt x="13" y="129"/>
                  </a:cubicBezTo>
                  <a:cubicBezTo>
                    <a:pt x="5" y="130"/>
                    <a:pt x="0" y="138"/>
                    <a:pt x="0" y="146"/>
                  </a:cubicBezTo>
                  <a:cubicBezTo>
                    <a:pt x="2" y="172"/>
                    <a:pt x="2" y="172"/>
                    <a:pt x="2" y="172"/>
                  </a:cubicBezTo>
                  <a:cubicBezTo>
                    <a:pt x="3" y="180"/>
                    <a:pt x="10" y="187"/>
                    <a:pt x="18" y="187"/>
                  </a:cubicBezTo>
                  <a:cubicBezTo>
                    <a:pt x="36" y="187"/>
                    <a:pt x="36" y="187"/>
                    <a:pt x="36" y="187"/>
                  </a:cubicBezTo>
                  <a:cubicBezTo>
                    <a:pt x="39" y="196"/>
                    <a:pt x="43" y="204"/>
                    <a:pt x="49" y="212"/>
                  </a:cubicBezTo>
                  <a:cubicBezTo>
                    <a:pt x="39" y="227"/>
                    <a:pt x="39" y="227"/>
                    <a:pt x="39" y="227"/>
                  </a:cubicBezTo>
                  <a:cubicBezTo>
                    <a:pt x="34" y="234"/>
                    <a:pt x="35" y="243"/>
                    <a:pt x="42" y="248"/>
                  </a:cubicBezTo>
                  <a:cubicBezTo>
                    <a:pt x="62" y="265"/>
                    <a:pt x="62" y="265"/>
                    <a:pt x="62" y="265"/>
                  </a:cubicBezTo>
                  <a:cubicBezTo>
                    <a:pt x="68" y="270"/>
                    <a:pt x="77" y="270"/>
                    <a:pt x="83" y="265"/>
                  </a:cubicBezTo>
                  <a:cubicBezTo>
                    <a:pt x="96" y="252"/>
                    <a:pt x="96" y="252"/>
                    <a:pt x="96" y="252"/>
                  </a:cubicBezTo>
                  <a:cubicBezTo>
                    <a:pt x="105" y="256"/>
                    <a:pt x="114" y="259"/>
                    <a:pt x="123" y="261"/>
                  </a:cubicBezTo>
                  <a:cubicBezTo>
                    <a:pt x="127" y="279"/>
                    <a:pt x="127" y="279"/>
                    <a:pt x="127" y="279"/>
                  </a:cubicBezTo>
                  <a:cubicBezTo>
                    <a:pt x="129" y="287"/>
                    <a:pt x="136" y="293"/>
                    <a:pt x="144" y="292"/>
                  </a:cubicBezTo>
                  <a:cubicBezTo>
                    <a:pt x="171" y="290"/>
                    <a:pt x="171" y="290"/>
                    <a:pt x="171" y="290"/>
                  </a:cubicBezTo>
                  <a:cubicBezTo>
                    <a:pt x="179" y="289"/>
                    <a:pt x="185" y="282"/>
                    <a:pt x="185" y="274"/>
                  </a:cubicBezTo>
                  <a:cubicBezTo>
                    <a:pt x="186" y="256"/>
                    <a:pt x="186" y="256"/>
                    <a:pt x="186" y="256"/>
                  </a:cubicBezTo>
                  <a:cubicBezTo>
                    <a:pt x="195" y="253"/>
                    <a:pt x="205" y="248"/>
                    <a:pt x="213" y="243"/>
                  </a:cubicBezTo>
                  <a:cubicBezTo>
                    <a:pt x="228" y="252"/>
                    <a:pt x="228" y="252"/>
                    <a:pt x="228" y="252"/>
                  </a:cubicBezTo>
                  <a:cubicBezTo>
                    <a:pt x="234" y="257"/>
                    <a:pt x="243" y="256"/>
                    <a:pt x="249" y="249"/>
                  </a:cubicBezTo>
                  <a:cubicBezTo>
                    <a:pt x="266" y="229"/>
                    <a:pt x="266" y="229"/>
                    <a:pt x="266" y="229"/>
                  </a:cubicBezTo>
                  <a:cubicBezTo>
                    <a:pt x="271" y="223"/>
                    <a:pt x="271" y="214"/>
                    <a:pt x="265" y="208"/>
                  </a:cubicBezTo>
                  <a:cubicBezTo>
                    <a:pt x="253" y="195"/>
                    <a:pt x="253" y="195"/>
                    <a:pt x="253" y="195"/>
                  </a:cubicBezTo>
                  <a:cubicBezTo>
                    <a:pt x="258" y="186"/>
                    <a:pt x="261" y="177"/>
                    <a:pt x="263" y="167"/>
                  </a:cubicBezTo>
                  <a:cubicBezTo>
                    <a:pt x="279" y="164"/>
                    <a:pt x="279" y="164"/>
                    <a:pt x="279" y="164"/>
                  </a:cubicBezTo>
                  <a:cubicBezTo>
                    <a:pt x="287" y="162"/>
                    <a:pt x="292" y="155"/>
                    <a:pt x="291" y="146"/>
                  </a:cubicBezTo>
                  <a:cubicBezTo>
                    <a:pt x="289" y="120"/>
                    <a:pt x="289" y="120"/>
                    <a:pt x="289" y="120"/>
                  </a:cubicBezTo>
                  <a:cubicBezTo>
                    <a:pt x="289" y="112"/>
                    <a:pt x="282" y="106"/>
                    <a:pt x="274" y="105"/>
                  </a:cubicBezTo>
                  <a:cubicBezTo>
                    <a:pt x="258" y="105"/>
                    <a:pt x="258" y="105"/>
                    <a:pt x="258" y="105"/>
                  </a:cubicBezTo>
                  <a:cubicBezTo>
                    <a:pt x="254" y="96"/>
                    <a:pt x="250" y="87"/>
                    <a:pt x="244" y="78"/>
                  </a:cubicBezTo>
                  <a:cubicBezTo>
                    <a:pt x="253" y="65"/>
                    <a:pt x="253" y="65"/>
                    <a:pt x="253" y="65"/>
                  </a:cubicBezTo>
                  <a:cubicBezTo>
                    <a:pt x="258" y="58"/>
                    <a:pt x="256" y="49"/>
                    <a:pt x="250" y="44"/>
                  </a:cubicBezTo>
                  <a:moveTo>
                    <a:pt x="151" y="197"/>
                  </a:moveTo>
                  <a:cubicBezTo>
                    <a:pt x="122" y="199"/>
                    <a:pt x="97" y="178"/>
                    <a:pt x="95" y="149"/>
                  </a:cubicBezTo>
                  <a:cubicBezTo>
                    <a:pt x="92" y="121"/>
                    <a:pt x="114" y="96"/>
                    <a:pt x="142" y="93"/>
                  </a:cubicBezTo>
                  <a:cubicBezTo>
                    <a:pt x="171" y="91"/>
                    <a:pt x="196" y="112"/>
                    <a:pt x="198" y="141"/>
                  </a:cubicBezTo>
                  <a:cubicBezTo>
                    <a:pt x="201" y="169"/>
                    <a:pt x="179" y="194"/>
                    <a:pt x="151" y="19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p:cNvSpPr>
              <a:spLocks noEditPoints="1"/>
            </p:cNvSpPr>
            <p:nvPr/>
          </p:nvSpPr>
          <p:spPr bwMode="auto">
            <a:xfrm>
              <a:off x="1429916" y="1807400"/>
              <a:ext cx="282253" cy="281749"/>
            </a:xfrm>
            <a:custGeom>
              <a:avLst/>
              <a:gdLst>
                <a:gd name="T0" fmla="*/ 15 w 237"/>
                <a:gd name="T1" fmla="*/ 93 h 237"/>
                <a:gd name="T2" fmla="*/ 1 w 237"/>
                <a:gd name="T3" fmla="*/ 109 h 237"/>
                <a:gd name="T4" fmla="*/ 0 w 237"/>
                <a:gd name="T5" fmla="*/ 125 h 237"/>
                <a:gd name="T6" fmla="*/ 14 w 237"/>
                <a:gd name="T7" fmla="*/ 142 h 237"/>
                <a:gd name="T8" fmla="*/ 26 w 237"/>
                <a:gd name="T9" fmla="*/ 143 h 237"/>
                <a:gd name="T10" fmla="*/ 35 w 237"/>
                <a:gd name="T11" fmla="*/ 164 h 237"/>
                <a:gd name="T12" fmla="*/ 27 w 237"/>
                <a:gd name="T13" fmla="*/ 173 h 237"/>
                <a:gd name="T14" fmla="*/ 28 w 237"/>
                <a:gd name="T15" fmla="*/ 195 h 237"/>
                <a:gd name="T16" fmla="*/ 39 w 237"/>
                <a:gd name="T17" fmla="*/ 206 h 237"/>
                <a:gd name="T18" fmla="*/ 61 w 237"/>
                <a:gd name="T19" fmla="*/ 208 h 237"/>
                <a:gd name="T20" fmla="*/ 70 w 237"/>
                <a:gd name="T21" fmla="*/ 200 h 237"/>
                <a:gd name="T22" fmla="*/ 92 w 237"/>
                <a:gd name="T23" fmla="*/ 210 h 237"/>
                <a:gd name="T24" fmla="*/ 93 w 237"/>
                <a:gd name="T25" fmla="*/ 222 h 237"/>
                <a:gd name="T26" fmla="*/ 109 w 237"/>
                <a:gd name="T27" fmla="*/ 236 h 237"/>
                <a:gd name="T28" fmla="*/ 125 w 237"/>
                <a:gd name="T29" fmla="*/ 237 h 237"/>
                <a:gd name="T30" fmla="*/ 141 w 237"/>
                <a:gd name="T31" fmla="*/ 223 h 237"/>
                <a:gd name="T32" fmla="*/ 142 w 237"/>
                <a:gd name="T33" fmla="*/ 211 h 237"/>
                <a:gd name="T34" fmla="*/ 166 w 237"/>
                <a:gd name="T35" fmla="*/ 202 h 237"/>
                <a:gd name="T36" fmla="*/ 175 w 237"/>
                <a:gd name="T37" fmla="*/ 209 h 237"/>
                <a:gd name="T38" fmla="*/ 196 w 237"/>
                <a:gd name="T39" fmla="*/ 208 h 237"/>
                <a:gd name="T40" fmla="*/ 207 w 237"/>
                <a:gd name="T41" fmla="*/ 197 h 237"/>
                <a:gd name="T42" fmla="*/ 209 w 237"/>
                <a:gd name="T43" fmla="*/ 176 h 237"/>
                <a:gd name="T44" fmla="*/ 202 w 237"/>
                <a:gd name="T45" fmla="*/ 167 h 237"/>
                <a:gd name="T46" fmla="*/ 212 w 237"/>
                <a:gd name="T47" fmla="*/ 144 h 237"/>
                <a:gd name="T48" fmla="*/ 222 w 237"/>
                <a:gd name="T49" fmla="*/ 143 h 237"/>
                <a:gd name="T50" fmla="*/ 237 w 237"/>
                <a:gd name="T51" fmla="*/ 127 h 237"/>
                <a:gd name="T52" fmla="*/ 237 w 237"/>
                <a:gd name="T53" fmla="*/ 111 h 237"/>
                <a:gd name="T54" fmla="*/ 223 w 237"/>
                <a:gd name="T55" fmla="*/ 95 h 237"/>
                <a:gd name="T56" fmla="*/ 213 w 237"/>
                <a:gd name="T57" fmla="*/ 94 h 237"/>
                <a:gd name="T58" fmla="*/ 204 w 237"/>
                <a:gd name="T59" fmla="*/ 71 h 237"/>
                <a:gd name="T60" fmla="*/ 210 w 237"/>
                <a:gd name="T61" fmla="*/ 63 h 237"/>
                <a:gd name="T62" fmla="*/ 209 w 237"/>
                <a:gd name="T63" fmla="*/ 42 h 237"/>
                <a:gd name="T64" fmla="*/ 198 w 237"/>
                <a:gd name="T65" fmla="*/ 30 h 237"/>
                <a:gd name="T66" fmla="*/ 177 w 237"/>
                <a:gd name="T67" fmla="*/ 29 h 237"/>
                <a:gd name="T68" fmla="*/ 169 w 237"/>
                <a:gd name="T69" fmla="*/ 35 h 237"/>
                <a:gd name="T70" fmla="*/ 146 w 237"/>
                <a:gd name="T71" fmla="*/ 25 h 237"/>
                <a:gd name="T72" fmla="*/ 145 w 237"/>
                <a:gd name="T73" fmla="*/ 15 h 237"/>
                <a:gd name="T74" fmla="*/ 129 w 237"/>
                <a:gd name="T75" fmla="*/ 0 h 237"/>
                <a:gd name="T76" fmla="*/ 113 w 237"/>
                <a:gd name="T77" fmla="*/ 0 h 237"/>
                <a:gd name="T78" fmla="*/ 96 w 237"/>
                <a:gd name="T79" fmla="*/ 14 h 237"/>
                <a:gd name="T80" fmla="*/ 95 w 237"/>
                <a:gd name="T81" fmla="*/ 24 h 237"/>
                <a:gd name="T82" fmla="*/ 71 w 237"/>
                <a:gd name="T83" fmla="*/ 34 h 237"/>
                <a:gd name="T84" fmla="*/ 63 w 237"/>
                <a:gd name="T85" fmla="*/ 27 h 237"/>
                <a:gd name="T86" fmla="*/ 42 w 237"/>
                <a:gd name="T87" fmla="*/ 28 h 237"/>
                <a:gd name="T88" fmla="*/ 30 w 237"/>
                <a:gd name="T89" fmla="*/ 40 h 237"/>
                <a:gd name="T90" fmla="*/ 29 w 237"/>
                <a:gd name="T91" fmla="*/ 61 h 237"/>
                <a:gd name="T92" fmla="*/ 35 w 237"/>
                <a:gd name="T93" fmla="*/ 70 h 237"/>
                <a:gd name="T94" fmla="*/ 26 w 237"/>
                <a:gd name="T95" fmla="*/ 92 h 237"/>
                <a:gd name="T96" fmla="*/ 15 w 237"/>
                <a:gd name="T97" fmla="*/ 93 h 237"/>
                <a:gd name="T98" fmla="*/ 120 w 237"/>
                <a:gd name="T99" fmla="*/ 75 h 237"/>
                <a:gd name="T100" fmla="*/ 161 w 237"/>
                <a:gd name="T101" fmla="*/ 118 h 237"/>
                <a:gd name="T102" fmla="*/ 119 w 237"/>
                <a:gd name="T103" fmla="*/ 160 h 237"/>
                <a:gd name="T104" fmla="*/ 77 w 237"/>
                <a:gd name="T105" fmla="*/ 117 h 237"/>
                <a:gd name="T106" fmla="*/ 120 w 237"/>
                <a:gd name="T107" fmla="*/ 7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237">
                  <a:moveTo>
                    <a:pt x="15" y="93"/>
                  </a:moveTo>
                  <a:cubicBezTo>
                    <a:pt x="7" y="94"/>
                    <a:pt x="1" y="101"/>
                    <a:pt x="1" y="109"/>
                  </a:cubicBezTo>
                  <a:cubicBezTo>
                    <a:pt x="0" y="125"/>
                    <a:pt x="0" y="125"/>
                    <a:pt x="0" y="125"/>
                  </a:cubicBezTo>
                  <a:cubicBezTo>
                    <a:pt x="0" y="134"/>
                    <a:pt x="6" y="141"/>
                    <a:pt x="14" y="142"/>
                  </a:cubicBezTo>
                  <a:cubicBezTo>
                    <a:pt x="26" y="143"/>
                    <a:pt x="26" y="143"/>
                    <a:pt x="26" y="143"/>
                  </a:cubicBezTo>
                  <a:cubicBezTo>
                    <a:pt x="28" y="150"/>
                    <a:pt x="31" y="157"/>
                    <a:pt x="35" y="164"/>
                  </a:cubicBezTo>
                  <a:cubicBezTo>
                    <a:pt x="27" y="173"/>
                    <a:pt x="27" y="173"/>
                    <a:pt x="27" y="173"/>
                  </a:cubicBezTo>
                  <a:cubicBezTo>
                    <a:pt x="22" y="180"/>
                    <a:pt x="22" y="189"/>
                    <a:pt x="28" y="195"/>
                  </a:cubicBezTo>
                  <a:cubicBezTo>
                    <a:pt x="39" y="206"/>
                    <a:pt x="39" y="206"/>
                    <a:pt x="39" y="206"/>
                  </a:cubicBezTo>
                  <a:cubicBezTo>
                    <a:pt x="45" y="212"/>
                    <a:pt x="54" y="213"/>
                    <a:pt x="61" y="208"/>
                  </a:cubicBezTo>
                  <a:cubicBezTo>
                    <a:pt x="70" y="200"/>
                    <a:pt x="70" y="200"/>
                    <a:pt x="70" y="200"/>
                  </a:cubicBezTo>
                  <a:cubicBezTo>
                    <a:pt x="77" y="204"/>
                    <a:pt x="84" y="207"/>
                    <a:pt x="92" y="210"/>
                  </a:cubicBezTo>
                  <a:cubicBezTo>
                    <a:pt x="93" y="222"/>
                    <a:pt x="93" y="222"/>
                    <a:pt x="93" y="222"/>
                  </a:cubicBezTo>
                  <a:cubicBezTo>
                    <a:pt x="94" y="230"/>
                    <a:pt x="101" y="236"/>
                    <a:pt x="109" y="236"/>
                  </a:cubicBezTo>
                  <a:cubicBezTo>
                    <a:pt x="125" y="237"/>
                    <a:pt x="125" y="237"/>
                    <a:pt x="125" y="237"/>
                  </a:cubicBezTo>
                  <a:cubicBezTo>
                    <a:pt x="133" y="237"/>
                    <a:pt x="140" y="231"/>
                    <a:pt x="141" y="223"/>
                  </a:cubicBezTo>
                  <a:cubicBezTo>
                    <a:pt x="142" y="211"/>
                    <a:pt x="142" y="211"/>
                    <a:pt x="142" y="211"/>
                  </a:cubicBezTo>
                  <a:cubicBezTo>
                    <a:pt x="151" y="209"/>
                    <a:pt x="158" y="206"/>
                    <a:pt x="166" y="202"/>
                  </a:cubicBezTo>
                  <a:cubicBezTo>
                    <a:pt x="175" y="209"/>
                    <a:pt x="175" y="209"/>
                    <a:pt x="175" y="209"/>
                  </a:cubicBezTo>
                  <a:cubicBezTo>
                    <a:pt x="181" y="214"/>
                    <a:pt x="190" y="214"/>
                    <a:pt x="196" y="208"/>
                  </a:cubicBezTo>
                  <a:cubicBezTo>
                    <a:pt x="207" y="197"/>
                    <a:pt x="207" y="197"/>
                    <a:pt x="207" y="197"/>
                  </a:cubicBezTo>
                  <a:cubicBezTo>
                    <a:pt x="213" y="191"/>
                    <a:pt x="214" y="182"/>
                    <a:pt x="209" y="176"/>
                  </a:cubicBezTo>
                  <a:cubicBezTo>
                    <a:pt x="202" y="167"/>
                    <a:pt x="202" y="167"/>
                    <a:pt x="202" y="167"/>
                  </a:cubicBezTo>
                  <a:cubicBezTo>
                    <a:pt x="206" y="160"/>
                    <a:pt x="210" y="152"/>
                    <a:pt x="212" y="144"/>
                  </a:cubicBezTo>
                  <a:cubicBezTo>
                    <a:pt x="222" y="143"/>
                    <a:pt x="222" y="143"/>
                    <a:pt x="222" y="143"/>
                  </a:cubicBezTo>
                  <a:cubicBezTo>
                    <a:pt x="231" y="142"/>
                    <a:pt x="237" y="135"/>
                    <a:pt x="237" y="127"/>
                  </a:cubicBezTo>
                  <a:cubicBezTo>
                    <a:pt x="237" y="111"/>
                    <a:pt x="237" y="111"/>
                    <a:pt x="237" y="111"/>
                  </a:cubicBezTo>
                  <a:cubicBezTo>
                    <a:pt x="237" y="103"/>
                    <a:pt x="231" y="96"/>
                    <a:pt x="223" y="95"/>
                  </a:cubicBezTo>
                  <a:cubicBezTo>
                    <a:pt x="213" y="94"/>
                    <a:pt x="213" y="94"/>
                    <a:pt x="213" y="94"/>
                  </a:cubicBezTo>
                  <a:cubicBezTo>
                    <a:pt x="211" y="86"/>
                    <a:pt x="208" y="78"/>
                    <a:pt x="204" y="71"/>
                  </a:cubicBezTo>
                  <a:cubicBezTo>
                    <a:pt x="210" y="63"/>
                    <a:pt x="210" y="63"/>
                    <a:pt x="210" y="63"/>
                  </a:cubicBezTo>
                  <a:cubicBezTo>
                    <a:pt x="215" y="57"/>
                    <a:pt x="215" y="48"/>
                    <a:pt x="209" y="42"/>
                  </a:cubicBezTo>
                  <a:cubicBezTo>
                    <a:pt x="198" y="30"/>
                    <a:pt x="198" y="30"/>
                    <a:pt x="198" y="30"/>
                  </a:cubicBezTo>
                  <a:cubicBezTo>
                    <a:pt x="192" y="24"/>
                    <a:pt x="183" y="24"/>
                    <a:pt x="177" y="29"/>
                  </a:cubicBezTo>
                  <a:cubicBezTo>
                    <a:pt x="169" y="35"/>
                    <a:pt x="169" y="35"/>
                    <a:pt x="169" y="35"/>
                  </a:cubicBezTo>
                  <a:cubicBezTo>
                    <a:pt x="162" y="30"/>
                    <a:pt x="154" y="27"/>
                    <a:pt x="146" y="25"/>
                  </a:cubicBezTo>
                  <a:cubicBezTo>
                    <a:pt x="145" y="15"/>
                    <a:pt x="145" y="15"/>
                    <a:pt x="145" y="15"/>
                  </a:cubicBezTo>
                  <a:cubicBezTo>
                    <a:pt x="144" y="6"/>
                    <a:pt x="137" y="0"/>
                    <a:pt x="129" y="0"/>
                  </a:cubicBezTo>
                  <a:cubicBezTo>
                    <a:pt x="113" y="0"/>
                    <a:pt x="113" y="0"/>
                    <a:pt x="113" y="0"/>
                  </a:cubicBezTo>
                  <a:cubicBezTo>
                    <a:pt x="104" y="0"/>
                    <a:pt x="98" y="6"/>
                    <a:pt x="96" y="14"/>
                  </a:cubicBezTo>
                  <a:cubicBezTo>
                    <a:pt x="95" y="24"/>
                    <a:pt x="95" y="24"/>
                    <a:pt x="95" y="24"/>
                  </a:cubicBezTo>
                  <a:cubicBezTo>
                    <a:pt x="87" y="26"/>
                    <a:pt x="79" y="30"/>
                    <a:pt x="71" y="34"/>
                  </a:cubicBezTo>
                  <a:cubicBezTo>
                    <a:pt x="63" y="27"/>
                    <a:pt x="63" y="27"/>
                    <a:pt x="63" y="27"/>
                  </a:cubicBezTo>
                  <a:cubicBezTo>
                    <a:pt x="57" y="22"/>
                    <a:pt x="48" y="23"/>
                    <a:pt x="42" y="28"/>
                  </a:cubicBezTo>
                  <a:cubicBezTo>
                    <a:pt x="30" y="40"/>
                    <a:pt x="30" y="40"/>
                    <a:pt x="30" y="40"/>
                  </a:cubicBezTo>
                  <a:cubicBezTo>
                    <a:pt x="24" y="45"/>
                    <a:pt x="24" y="55"/>
                    <a:pt x="29" y="61"/>
                  </a:cubicBezTo>
                  <a:cubicBezTo>
                    <a:pt x="35" y="70"/>
                    <a:pt x="35" y="70"/>
                    <a:pt x="35" y="70"/>
                  </a:cubicBezTo>
                  <a:cubicBezTo>
                    <a:pt x="31" y="77"/>
                    <a:pt x="28" y="84"/>
                    <a:pt x="26" y="92"/>
                  </a:cubicBezTo>
                  <a:lnTo>
                    <a:pt x="15" y="93"/>
                  </a:lnTo>
                  <a:close/>
                  <a:moveTo>
                    <a:pt x="120" y="75"/>
                  </a:moveTo>
                  <a:cubicBezTo>
                    <a:pt x="143" y="75"/>
                    <a:pt x="162" y="95"/>
                    <a:pt x="161" y="118"/>
                  </a:cubicBezTo>
                  <a:cubicBezTo>
                    <a:pt x="161" y="141"/>
                    <a:pt x="142" y="160"/>
                    <a:pt x="119" y="160"/>
                  </a:cubicBezTo>
                  <a:cubicBezTo>
                    <a:pt x="95" y="159"/>
                    <a:pt x="77" y="140"/>
                    <a:pt x="77" y="117"/>
                  </a:cubicBezTo>
                  <a:cubicBezTo>
                    <a:pt x="77" y="94"/>
                    <a:pt x="96" y="75"/>
                    <a:pt x="120"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 name="Group 23"/>
          <p:cNvGrpSpPr/>
          <p:nvPr/>
        </p:nvGrpSpPr>
        <p:grpSpPr>
          <a:xfrm>
            <a:off x="5654740" y="3276818"/>
            <a:ext cx="939839" cy="940661"/>
            <a:chOff x="6737791" y="1142592"/>
            <a:chExt cx="1152702" cy="1153711"/>
          </a:xfrm>
        </p:grpSpPr>
        <p:sp>
          <p:nvSpPr>
            <p:cNvPr id="25" name="Oval 15"/>
            <p:cNvSpPr>
              <a:spLocks noChangeArrowheads="1"/>
            </p:cNvSpPr>
            <p:nvPr/>
          </p:nvSpPr>
          <p:spPr bwMode="auto">
            <a:xfrm>
              <a:off x="6737791" y="1142592"/>
              <a:ext cx="1152702" cy="1153711"/>
            </a:xfrm>
            <a:prstGeom prst="ellipse">
              <a:avLst/>
            </a:prstGeom>
            <a:solidFill>
              <a:srgbClr val="177E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6"/>
            <p:cNvSpPr>
              <a:spLocks noEditPoints="1"/>
            </p:cNvSpPr>
            <p:nvPr/>
          </p:nvSpPr>
          <p:spPr bwMode="auto">
            <a:xfrm>
              <a:off x="6991315" y="1392588"/>
              <a:ext cx="665815" cy="666824"/>
            </a:xfrm>
            <a:custGeom>
              <a:avLst/>
              <a:gdLst>
                <a:gd name="T0" fmla="*/ 376 w 559"/>
                <a:gd name="T1" fmla="*/ 0 h 560"/>
                <a:gd name="T2" fmla="*/ 193 w 559"/>
                <a:gd name="T3" fmla="*/ 183 h 560"/>
                <a:gd name="T4" fmla="*/ 235 w 559"/>
                <a:gd name="T5" fmla="*/ 300 h 560"/>
                <a:gd name="T6" fmla="*/ 209 w 559"/>
                <a:gd name="T7" fmla="*/ 327 h 560"/>
                <a:gd name="T8" fmla="*/ 197 w 559"/>
                <a:gd name="T9" fmla="*/ 315 h 560"/>
                <a:gd name="T10" fmla="*/ 173 w 559"/>
                <a:gd name="T11" fmla="*/ 315 h 560"/>
                <a:gd name="T12" fmla="*/ 15 w 559"/>
                <a:gd name="T13" fmla="*/ 472 h 560"/>
                <a:gd name="T14" fmla="*/ 0 w 559"/>
                <a:gd name="T15" fmla="*/ 509 h 560"/>
                <a:gd name="T16" fmla="*/ 15 w 559"/>
                <a:gd name="T17" fmla="*/ 545 h 560"/>
                <a:gd name="T18" fmla="*/ 52 w 559"/>
                <a:gd name="T19" fmla="*/ 560 h 560"/>
                <a:gd name="T20" fmla="*/ 88 w 559"/>
                <a:gd name="T21" fmla="*/ 545 h 560"/>
                <a:gd name="T22" fmla="*/ 246 w 559"/>
                <a:gd name="T23" fmla="*/ 388 h 560"/>
                <a:gd name="T24" fmla="*/ 246 w 559"/>
                <a:gd name="T25" fmla="*/ 364 h 560"/>
                <a:gd name="T26" fmla="*/ 233 w 559"/>
                <a:gd name="T27" fmla="*/ 351 h 560"/>
                <a:gd name="T28" fmla="*/ 260 w 559"/>
                <a:gd name="T29" fmla="*/ 324 h 560"/>
                <a:gd name="T30" fmla="*/ 376 w 559"/>
                <a:gd name="T31" fmla="*/ 366 h 560"/>
                <a:gd name="T32" fmla="*/ 559 w 559"/>
                <a:gd name="T33" fmla="*/ 183 h 560"/>
                <a:gd name="T34" fmla="*/ 376 w 559"/>
                <a:gd name="T35" fmla="*/ 0 h 560"/>
                <a:gd name="T36" fmla="*/ 524 w 559"/>
                <a:gd name="T37" fmla="*/ 183 h 560"/>
                <a:gd name="T38" fmla="*/ 376 w 559"/>
                <a:gd name="T39" fmla="*/ 331 h 560"/>
                <a:gd name="T40" fmla="*/ 227 w 559"/>
                <a:gd name="T41" fmla="*/ 183 h 560"/>
                <a:gd name="T42" fmla="*/ 376 w 559"/>
                <a:gd name="T43" fmla="*/ 34 h 560"/>
                <a:gd name="T44" fmla="*/ 524 w 559"/>
                <a:gd name="T45" fmla="*/ 183 h 560"/>
                <a:gd name="T46" fmla="*/ 209 w 559"/>
                <a:gd name="T47" fmla="*/ 376 h 560"/>
                <a:gd name="T48" fmla="*/ 64 w 559"/>
                <a:gd name="T49" fmla="*/ 521 h 560"/>
                <a:gd name="T50" fmla="*/ 40 w 559"/>
                <a:gd name="T51" fmla="*/ 521 h 560"/>
                <a:gd name="T52" fmla="*/ 35 w 559"/>
                <a:gd name="T53" fmla="*/ 509 h 560"/>
                <a:gd name="T54" fmla="*/ 40 w 559"/>
                <a:gd name="T55" fmla="*/ 497 h 560"/>
                <a:gd name="T56" fmla="*/ 185 w 559"/>
                <a:gd name="T57" fmla="*/ 351 h 560"/>
                <a:gd name="T58" fmla="*/ 209 w 559"/>
                <a:gd name="T59" fmla="*/ 376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59" h="560">
                  <a:moveTo>
                    <a:pt x="376" y="0"/>
                  </a:moveTo>
                  <a:cubicBezTo>
                    <a:pt x="275" y="0"/>
                    <a:pt x="193" y="82"/>
                    <a:pt x="193" y="183"/>
                  </a:cubicBezTo>
                  <a:cubicBezTo>
                    <a:pt x="193" y="226"/>
                    <a:pt x="208" y="267"/>
                    <a:pt x="235" y="300"/>
                  </a:cubicBezTo>
                  <a:cubicBezTo>
                    <a:pt x="209" y="327"/>
                    <a:pt x="209" y="327"/>
                    <a:pt x="209" y="327"/>
                  </a:cubicBezTo>
                  <a:cubicBezTo>
                    <a:pt x="197" y="315"/>
                    <a:pt x="197" y="315"/>
                    <a:pt x="197" y="315"/>
                  </a:cubicBezTo>
                  <a:cubicBezTo>
                    <a:pt x="190" y="308"/>
                    <a:pt x="179" y="308"/>
                    <a:pt x="173" y="315"/>
                  </a:cubicBezTo>
                  <a:cubicBezTo>
                    <a:pt x="15" y="472"/>
                    <a:pt x="15" y="472"/>
                    <a:pt x="15" y="472"/>
                  </a:cubicBezTo>
                  <a:cubicBezTo>
                    <a:pt x="6" y="482"/>
                    <a:pt x="0" y="495"/>
                    <a:pt x="0" y="509"/>
                  </a:cubicBezTo>
                  <a:cubicBezTo>
                    <a:pt x="0" y="523"/>
                    <a:pt x="6" y="536"/>
                    <a:pt x="15" y="545"/>
                  </a:cubicBezTo>
                  <a:cubicBezTo>
                    <a:pt x="25" y="555"/>
                    <a:pt x="38" y="560"/>
                    <a:pt x="52" y="560"/>
                  </a:cubicBezTo>
                  <a:cubicBezTo>
                    <a:pt x="66" y="560"/>
                    <a:pt x="79" y="555"/>
                    <a:pt x="88" y="545"/>
                  </a:cubicBezTo>
                  <a:cubicBezTo>
                    <a:pt x="246" y="388"/>
                    <a:pt x="246" y="388"/>
                    <a:pt x="246" y="388"/>
                  </a:cubicBezTo>
                  <a:cubicBezTo>
                    <a:pt x="252" y="381"/>
                    <a:pt x="252" y="370"/>
                    <a:pt x="246" y="364"/>
                  </a:cubicBezTo>
                  <a:cubicBezTo>
                    <a:pt x="233" y="351"/>
                    <a:pt x="233" y="351"/>
                    <a:pt x="233" y="351"/>
                  </a:cubicBezTo>
                  <a:cubicBezTo>
                    <a:pt x="260" y="324"/>
                    <a:pt x="260" y="324"/>
                    <a:pt x="260" y="324"/>
                  </a:cubicBezTo>
                  <a:cubicBezTo>
                    <a:pt x="292" y="351"/>
                    <a:pt x="333" y="366"/>
                    <a:pt x="376" y="366"/>
                  </a:cubicBezTo>
                  <a:cubicBezTo>
                    <a:pt x="477" y="366"/>
                    <a:pt x="559" y="284"/>
                    <a:pt x="559" y="183"/>
                  </a:cubicBezTo>
                  <a:cubicBezTo>
                    <a:pt x="559" y="82"/>
                    <a:pt x="477" y="0"/>
                    <a:pt x="376" y="0"/>
                  </a:cubicBezTo>
                  <a:moveTo>
                    <a:pt x="524" y="183"/>
                  </a:moveTo>
                  <a:cubicBezTo>
                    <a:pt x="524" y="265"/>
                    <a:pt x="458" y="331"/>
                    <a:pt x="376" y="331"/>
                  </a:cubicBezTo>
                  <a:cubicBezTo>
                    <a:pt x="294" y="331"/>
                    <a:pt x="227" y="265"/>
                    <a:pt x="227" y="183"/>
                  </a:cubicBezTo>
                  <a:cubicBezTo>
                    <a:pt x="227" y="101"/>
                    <a:pt x="294" y="34"/>
                    <a:pt x="376" y="34"/>
                  </a:cubicBezTo>
                  <a:cubicBezTo>
                    <a:pt x="458" y="34"/>
                    <a:pt x="524" y="101"/>
                    <a:pt x="524" y="183"/>
                  </a:cubicBezTo>
                  <a:moveTo>
                    <a:pt x="209" y="376"/>
                  </a:moveTo>
                  <a:cubicBezTo>
                    <a:pt x="64" y="521"/>
                    <a:pt x="64" y="521"/>
                    <a:pt x="64" y="521"/>
                  </a:cubicBezTo>
                  <a:cubicBezTo>
                    <a:pt x="57" y="528"/>
                    <a:pt x="46" y="528"/>
                    <a:pt x="40" y="521"/>
                  </a:cubicBezTo>
                  <a:cubicBezTo>
                    <a:pt x="36" y="518"/>
                    <a:pt x="35" y="513"/>
                    <a:pt x="35" y="509"/>
                  </a:cubicBezTo>
                  <a:cubicBezTo>
                    <a:pt x="35" y="504"/>
                    <a:pt x="36" y="500"/>
                    <a:pt x="40" y="497"/>
                  </a:cubicBezTo>
                  <a:cubicBezTo>
                    <a:pt x="185" y="351"/>
                    <a:pt x="185" y="351"/>
                    <a:pt x="185" y="351"/>
                  </a:cubicBezTo>
                  <a:lnTo>
                    <a:pt x="209" y="3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7"/>
            <p:cNvSpPr>
              <a:spLocks/>
            </p:cNvSpPr>
            <p:nvPr/>
          </p:nvSpPr>
          <p:spPr bwMode="auto">
            <a:xfrm>
              <a:off x="7492818" y="1572524"/>
              <a:ext cx="32258" cy="32258"/>
            </a:xfrm>
            <a:custGeom>
              <a:avLst/>
              <a:gdLst>
                <a:gd name="T0" fmla="*/ 19 w 27"/>
                <a:gd name="T1" fmla="*/ 2 h 27"/>
                <a:gd name="T2" fmla="*/ 4 w 27"/>
                <a:gd name="T3" fmla="*/ 7 h 27"/>
                <a:gd name="T4" fmla="*/ 3 w 27"/>
                <a:gd name="T5" fmla="*/ 11 h 27"/>
                <a:gd name="T6" fmla="*/ 8 w 27"/>
                <a:gd name="T7" fmla="*/ 25 h 27"/>
                <a:gd name="T8" fmla="*/ 13 w 27"/>
                <a:gd name="T9" fmla="*/ 27 h 27"/>
                <a:gd name="T10" fmla="*/ 22 w 27"/>
                <a:gd name="T11" fmla="*/ 20 h 27"/>
                <a:gd name="T12" fmla="*/ 24 w 27"/>
                <a:gd name="T13" fmla="*/ 17 h 27"/>
                <a:gd name="T14" fmla="*/ 19 w 27"/>
                <a:gd name="T15" fmla="*/ 2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7">
                  <a:moveTo>
                    <a:pt x="19" y="2"/>
                  </a:moveTo>
                  <a:cubicBezTo>
                    <a:pt x="13" y="0"/>
                    <a:pt x="7" y="2"/>
                    <a:pt x="4" y="7"/>
                  </a:cubicBezTo>
                  <a:cubicBezTo>
                    <a:pt x="3" y="11"/>
                    <a:pt x="3" y="11"/>
                    <a:pt x="3" y="11"/>
                  </a:cubicBezTo>
                  <a:cubicBezTo>
                    <a:pt x="0" y="16"/>
                    <a:pt x="2" y="23"/>
                    <a:pt x="8" y="25"/>
                  </a:cubicBezTo>
                  <a:cubicBezTo>
                    <a:pt x="9" y="26"/>
                    <a:pt x="11" y="27"/>
                    <a:pt x="13" y="27"/>
                  </a:cubicBezTo>
                  <a:cubicBezTo>
                    <a:pt x="17" y="27"/>
                    <a:pt x="21" y="24"/>
                    <a:pt x="22" y="20"/>
                  </a:cubicBezTo>
                  <a:cubicBezTo>
                    <a:pt x="24" y="17"/>
                    <a:pt x="24" y="17"/>
                    <a:pt x="24" y="17"/>
                  </a:cubicBezTo>
                  <a:cubicBezTo>
                    <a:pt x="27" y="11"/>
                    <a:pt x="24" y="5"/>
                    <a:pt x="19"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8"/>
            <p:cNvSpPr>
              <a:spLocks noEditPoints="1"/>
            </p:cNvSpPr>
            <p:nvPr/>
          </p:nvSpPr>
          <p:spPr bwMode="auto">
            <a:xfrm>
              <a:off x="7284152" y="1535731"/>
              <a:ext cx="221770" cy="207154"/>
            </a:xfrm>
            <a:custGeom>
              <a:avLst/>
              <a:gdLst>
                <a:gd name="T0" fmla="*/ 178 w 186"/>
                <a:gd name="T1" fmla="*/ 66 h 174"/>
                <a:gd name="T2" fmla="*/ 164 w 186"/>
                <a:gd name="T3" fmla="*/ 71 h 174"/>
                <a:gd name="T4" fmla="*/ 145 w 186"/>
                <a:gd name="T5" fmla="*/ 110 h 174"/>
                <a:gd name="T6" fmla="*/ 143 w 186"/>
                <a:gd name="T7" fmla="*/ 110 h 174"/>
                <a:gd name="T8" fmla="*/ 137 w 186"/>
                <a:gd name="T9" fmla="*/ 111 h 174"/>
                <a:gd name="T10" fmla="*/ 103 w 186"/>
                <a:gd name="T11" fmla="*/ 53 h 174"/>
                <a:gd name="T12" fmla="*/ 110 w 186"/>
                <a:gd name="T13" fmla="*/ 32 h 174"/>
                <a:gd name="T14" fmla="*/ 78 w 186"/>
                <a:gd name="T15" fmla="*/ 0 h 174"/>
                <a:gd name="T16" fmla="*/ 46 w 186"/>
                <a:gd name="T17" fmla="*/ 32 h 174"/>
                <a:gd name="T18" fmla="*/ 52 w 186"/>
                <a:gd name="T19" fmla="*/ 51 h 174"/>
                <a:gd name="T20" fmla="*/ 40 w 186"/>
                <a:gd name="T21" fmla="*/ 68 h 174"/>
                <a:gd name="T22" fmla="*/ 32 w 186"/>
                <a:gd name="T23" fmla="*/ 67 h 174"/>
                <a:gd name="T24" fmla="*/ 0 w 186"/>
                <a:gd name="T25" fmla="*/ 99 h 174"/>
                <a:gd name="T26" fmla="*/ 32 w 186"/>
                <a:gd name="T27" fmla="*/ 131 h 174"/>
                <a:gd name="T28" fmla="*/ 64 w 186"/>
                <a:gd name="T29" fmla="*/ 99 h 174"/>
                <a:gd name="T30" fmla="*/ 58 w 186"/>
                <a:gd name="T31" fmla="*/ 80 h 174"/>
                <a:gd name="T32" fmla="*/ 69 w 186"/>
                <a:gd name="T33" fmla="*/ 63 h 174"/>
                <a:gd name="T34" fmla="*/ 78 w 186"/>
                <a:gd name="T35" fmla="*/ 64 h 174"/>
                <a:gd name="T36" fmla="*/ 84 w 186"/>
                <a:gd name="T37" fmla="*/ 64 h 174"/>
                <a:gd name="T38" fmla="*/ 118 w 186"/>
                <a:gd name="T39" fmla="*/ 122 h 174"/>
                <a:gd name="T40" fmla="*/ 110 w 186"/>
                <a:gd name="T41" fmla="*/ 142 h 174"/>
                <a:gd name="T42" fmla="*/ 143 w 186"/>
                <a:gd name="T43" fmla="*/ 174 h 174"/>
                <a:gd name="T44" fmla="*/ 175 w 186"/>
                <a:gd name="T45" fmla="*/ 142 h 174"/>
                <a:gd name="T46" fmla="*/ 165 w 186"/>
                <a:gd name="T47" fmla="*/ 120 h 174"/>
                <a:gd name="T48" fmla="*/ 184 w 186"/>
                <a:gd name="T49" fmla="*/ 81 h 174"/>
                <a:gd name="T50" fmla="*/ 178 w 186"/>
                <a:gd name="T51" fmla="*/ 66 h 174"/>
                <a:gd name="T52" fmla="*/ 32 w 186"/>
                <a:gd name="T53" fmla="*/ 109 h 174"/>
                <a:gd name="T54" fmla="*/ 22 w 186"/>
                <a:gd name="T55" fmla="*/ 99 h 174"/>
                <a:gd name="T56" fmla="*/ 32 w 186"/>
                <a:gd name="T57" fmla="*/ 89 h 174"/>
                <a:gd name="T58" fmla="*/ 42 w 186"/>
                <a:gd name="T59" fmla="*/ 99 h 174"/>
                <a:gd name="T60" fmla="*/ 32 w 186"/>
                <a:gd name="T61" fmla="*/ 109 h 174"/>
                <a:gd name="T62" fmla="*/ 68 w 186"/>
                <a:gd name="T63" fmla="*/ 32 h 174"/>
                <a:gd name="T64" fmla="*/ 78 w 186"/>
                <a:gd name="T65" fmla="*/ 22 h 174"/>
                <a:gd name="T66" fmla="*/ 88 w 186"/>
                <a:gd name="T67" fmla="*/ 32 h 174"/>
                <a:gd name="T68" fmla="*/ 78 w 186"/>
                <a:gd name="T69" fmla="*/ 43 h 174"/>
                <a:gd name="T70" fmla="*/ 68 w 186"/>
                <a:gd name="T71" fmla="*/ 32 h 174"/>
                <a:gd name="T72" fmla="*/ 143 w 186"/>
                <a:gd name="T73" fmla="*/ 152 h 174"/>
                <a:gd name="T74" fmla="*/ 132 w 186"/>
                <a:gd name="T75" fmla="*/ 142 h 174"/>
                <a:gd name="T76" fmla="*/ 143 w 186"/>
                <a:gd name="T77" fmla="*/ 132 h 174"/>
                <a:gd name="T78" fmla="*/ 153 w 186"/>
                <a:gd name="T79" fmla="*/ 142 h 174"/>
                <a:gd name="T80" fmla="*/ 143 w 186"/>
                <a:gd name="T81" fmla="*/ 15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6" h="174">
                  <a:moveTo>
                    <a:pt x="178" y="66"/>
                  </a:moveTo>
                  <a:cubicBezTo>
                    <a:pt x="173" y="63"/>
                    <a:pt x="166" y="66"/>
                    <a:pt x="164" y="71"/>
                  </a:cubicBezTo>
                  <a:cubicBezTo>
                    <a:pt x="145" y="110"/>
                    <a:pt x="145" y="110"/>
                    <a:pt x="145" y="110"/>
                  </a:cubicBezTo>
                  <a:cubicBezTo>
                    <a:pt x="144" y="110"/>
                    <a:pt x="143" y="110"/>
                    <a:pt x="143" y="110"/>
                  </a:cubicBezTo>
                  <a:cubicBezTo>
                    <a:pt x="141" y="110"/>
                    <a:pt x="139" y="110"/>
                    <a:pt x="137" y="111"/>
                  </a:cubicBezTo>
                  <a:cubicBezTo>
                    <a:pt x="103" y="53"/>
                    <a:pt x="103" y="53"/>
                    <a:pt x="103" y="53"/>
                  </a:cubicBezTo>
                  <a:cubicBezTo>
                    <a:pt x="107" y="47"/>
                    <a:pt x="110" y="40"/>
                    <a:pt x="110" y="32"/>
                  </a:cubicBezTo>
                  <a:cubicBezTo>
                    <a:pt x="110" y="15"/>
                    <a:pt x="96" y="0"/>
                    <a:pt x="78" y="0"/>
                  </a:cubicBezTo>
                  <a:cubicBezTo>
                    <a:pt x="60" y="0"/>
                    <a:pt x="46" y="15"/>
                    <a:pt x="46" y="32"/>
                  </a:cubicBezTo>
                  <a:cubicBezTo>
                    <a:pt x="46" y="39"/>
                    <a:pt x="48" y="45"/>
                    <a:pt x="52" y="51"/>
                  </a:cubicBezTo>
                  <a:cubicBezTo>
                    <a:pt x="40" y="68"/>
                    <a:pt x="40" y="68"/>
                    <a:pt x="40" y="68"/>
                  </a:cubicBezTo>
                  <a:cubicBezTo>
                    <a:pt x="37" y="67"/>
                    <a:pt x="34" y="67"/>
                    <a:pt x="32" y="67"/>
                  </a:cubicBezTo>
                  <a:cubicBezTo>
                    <a:pt x="14" y="67"/>
                    <a:pt x="0" y="81"/>
                    <a:pt x="0" y="99"/>
                  </a:cubicBezTo>
                  <a:cubicBezTo>
                    <a:pt x="0" y="117"/>
                    <a:pt x="14" y="131"/>
                    <a:pt x="32" y="131"/>
                  </a:cubicBezTo>
                  <a:cubicBezTo>
                    <a:pt x="49" y="131"/>
                    <a:pt x="64" y="117"/>
                    <a:pt x="64" y="99"/>
                  </a:cubicBezTo>
                  <a:cubicBezTo>
                    <a:pt x="64" y="92"/>
                    <a:pt x="61" y="86"/>
                    <a:pt x="58" y="80"/>
                  </a:cubicBezTo>
                  <a:cubicBezTo>
                    <a:pt x="69" y="63"/>
                    <a:pt x="69" y="63"/>
                    <a:pt x="69" y="63"/>
                  </a:cubicBezTo>
                  <a:cubicBezTo>
                    <a:pt x="72" y="64"/>
                    <a:pt x="75" y="64"/>
                    <a:pt x="78" y="64"/>
                  </a:cubicBezTo>
                  <a:cubicBezTo>
                    <a:pt x="80" y="64"/>
                    <a:pt x="82" y="64"/>
                    <a:pt x="84" y="64"/>
                  </a:cubicBezTo>
                  <a:cubicBezTo>
                    <a:pt x="118" y="122"/>
                    <a:pt x="118" y="122"/>
                    <a:pt x="118" y="122"/>
                  </a:cubicBezTo>
                  <a:cubicBezTo>
                    <a:pt x="113" y="127"/>
                    <a:pt x="110" y="134"/>
                    <a:pt x="110" y="142"/>
                  </a:cubicBezTo>
                  <a:cubicBezTo>
                    <a:pt x="110" y="160"/>
                    <a:pt x="125" y="174"/>
                    <a:pt x="143" y="174"/>
                  </a:cubicBezTo>
                  <a:cubicBezTo>
                    <a:pt x="160" y="174"/>
                    <a:pt x="175" y="160"/>
                    <a:pt x="175" y="142"/>
                  </a:cubicBezTo>
                  <a:cubicBezTo>
                    <a:pt x="175" y="133"/>
                    <a:pt x="171" y="125"/>
                    <a:pt x="165" y="120"/>
                  </a:cubicBezTo>
                  <a:cubicBezTo>
                    <a:pt x="184" y="81"/>
                    <a:pt x="184" y="81"/>
                    <a:pt x="184" y="81"/>
                  </a:cubicBezTo>
                  <a:cubicBezTo>
                    <a:pt x="186" y="75"/>
                    <a:pt x="184" y="69"/>
                    <a:pt x="178" y="66"/>
                  </a:cubicBezTo>
                  <a:moveTo>
                    <a:pt x="32" y="109"/>
                  </a:moveTo>
                  <a:cubicBezTo>
                    <a:pt x="26" y="109"/>
                    <a:pt x="22" y="105"/>
                    <a:pt x="22" y="99"/>
                  </a:cubicBezTo>
                  <a:cubicBezTo>
                    <a:pt x="22" y="93"/>
                    <a:pt x="26" y="89"/>
                    <a:pt x="32" y="89"/>
                  </a:cubicBezTo>
                  <a:cubicBezTo>
                    <a:pt x="37" y="89"/>
                    <a:pt x="42" y="93"/>
                    <a:pt x="42" y="99"/>
                  </a:cubicBezTo>
                  <a:cubicBezTo>
                    <a:pt x="42" y="105"/>
                    <a:pt x="37" y="109"/>
                    <a:pt x="32" y="109"/>
                  </a:cubicBezTo>
                  <a:moveTo>
                    <a:pt x="68" y="32"/>
                  </a:moveTo>
                  <a:cubicBezTo>
                    <a:pt x="68" y="27"/>
                    <a:pt x="73" y="22"/>
                    <a:pt x="78" y="22"/>
                  </a:cubicBezTo>
                  <a:cubicBezTo>
                    <a:pt x="84" y="22"/>
                    <a:pt x="88" y="27"/>
                    <a:pt x="88" y="32"/>
                  </a:cubicBezTo>
                  <a:cubicBezTo>
                    <a:pt x="88" y="38"/>
                    <a:pt x="84" y="43"/>
                    <a:pt x="78" y="43"/>
                  </a:cubicBezTo>
                  <a:cubicBezTo>
                    <a:pt x="73" y="43"/>
                    <a:pt x="68" y="38"/>
                    <a:pt x="68" y="32"/>
                  </a:cubicBezTo>
                  <a:moveTo>
                    <a:pt x="143" y="152"/>
                  </a:moveTo>
                  <a:cubicBezTo>
                    <a:pt x="137" y="152"/>
                    <a:pt x="132" y="148"/>
                    <a:pt x="132" y="142"/>
                  </a:cubicBezTo>
                  <a:cubicBezTo>
                    <a:pt x="132" y="137"/>
                    <a:pt x="137" y="132"/>
                    <a:pt x="143" y="132"/>
                  </a:cubicBezTo>
                  <a:cubicBezTo>
                    <a:pt x="148" y="132"/>
                    <a:pt x="153" y="137"/>
                    <a:pt x="153" y="142"/>
                  </a:cubicBezTo>
                  <a:cubicBezTo>
                    <a:pt x="153" y="148"/>
                    <a:pt x="148" y="152"/>
                    <a:pt x="143" y="1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9"/>
            <p:cNvSpPr>
              <a:spLocks noEditPoints="1"/>
            </p:cNvSpPr>
            <p:nvPr/>
          </p:nvSpPr>
          <p:spPr bwMode="auto">
            <a:xfrm>
              <a:off x="7498867" y="1491881"/>
              <a:ext cx="76108" cy="76108"/>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2 w 64"/>
                <a:gd name="T13" fmla="*/ 32 h 64"/>
                <a:gd name="T14" fmla="*/ 32 w 64"/>
                <a:gd name="T15" fmla="*/ 22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5" y="0"/>
                    <a:pt x="0" y="14"/>
                    <a:pt x="0" y="32"/>
                  </a:cubicBezTo>
                  <a:cubicBezTo>
                    <a:pt x="0" y="49"/>
                    <a:pt x="15" y="64"/>
                    <a:pt x="32" y="64"/>
                  </a:cubicBezTo>
                  <a:cubicBezTo>
                    <a:pt x="50" y="64"/>
                    <a:pt x="64" y="49"/>
                    <a:pt x="64" y="32"/>
                  </a:cubicBezTo>
                  <a:cubicBezTo>
                    <a:pt x="64" y="14"/>
                    <a:pt x="50" y="0"/>
                    <a:pt x="32" y="0"/>
                  </a:cubicBezTo>
                  <a:moveTo>
                    <a:pt x="32" y="42"/>
                  </a:moveTo>
                  <a:cubicBezTo>
                    <a:pt x="27" y="42"/>
                    <a:pt x="22" y="37"/>
                    <a:pt x="22" y="32"/>
                  </a:cubicBezTo>
                  <a:cubicBezTo>
                    <a:pt x="22" y="26"/>
                    <a:pt x="27" y="22"/>
                    <a:pt x="32" y="22"/>
                  </a:cubicBezTo>
                  <a:cubicBezTo>
                    <a:pt x="38" y="22"/>
                    <a:pt x="42" y="26"/>
                    <a:pt x="42" y="32"/>
                  </a:cubicBezTo>
                  <a:cubicBezTo>
                    <a:pt x="42" y="37"/>
                    <a:pt x="38" y="42"/>
                    <a:pt x="32" y="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 name="Rectangle 29"/>
          <p:cNvSpPr/>
          <p:nvPr/>
        </p:nvSpPr>
        <p:spPr>
          <a:xfrm>
            <a:off x="3877819" y="4341366"/>
            <a:ext cx="1388362" cy="509767"/>
          </a:xfrm>
          <a:prstGeom prst="rect">
            <a:avLst/>
          </a:prstGeom>
          <a:solidFill>
            <a:srgbClr val="004BAF"/>
          </a:solid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noAutofit/>
          </a:bodyPr>
          <a:lstStyle/>
          <a:p>
            <a:pPr algn="ctr"/>
            <a:r>
              <a:rPr lang="en-US" sz="1300" dirty="0">
                <a:solidFill>
                  <a:srgbClr val="FFFFFF"/>
                </a:solidFill>
                <a:latin typeface="+mj-lt"/>
              </a:rPr>
              <a:t>Security and</a:t>
            </a:r>
          </a:p>
          <a:p>
            <a:pPr algn="ctr"/>
            <a:r>
              <a:rPr lang="en-US" sz="1300" dirty="0">
                <a:solidFill>
                  <a:srgbClr val="FFFFFF"/>
                </a:solidFill>
                <a:latin typeface="+mj-lt"/>
              </a:rPr>
              <a:t>Compliance</a:t>
            </a:r>
          </a:p>
        </p:txBody>
      </p:sp>
      <p:sp>
        <p:nvSpPr>
          <p:cNvPr id="31" name="Rectangle 30"/>
          <p:cNvSpPr/>
          <p:nvPr/>
        </p:nvSpPr>
        <p:spPr>
          <a:xfrm>
            <a:off x="2325160" y="4341366"/>
            <a:ext cx="1388362" cy="509767"/>
          </a:xfrm>
          <a:prstGeom prst="rect">
            <a:avLst/>
          </a:prstGeom>
          <a:solidFill>
            <a:srgbClr val="004BAF"/>
          </a:solid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noAutofit/>
          </a:bodyPr>
          <a:lstStyle/>
          <a:p>
            <a:pPr algn="ctr"/>
            <a:r>
              <a:rPr lang="en-US" sz="1300" dirty="0">
                <a:solidFill>
                  <a:srgbClr val="FFFFFF"/>
                </a:solidFill>
                <a:latin typeface="+mj-lt"/>
              </a:rPr>
              <a:t>Automation</a:t>
            </a:r>
          </a:p>
          <a:p>
            <a:pPr algn="ctr"/>
            <a:r>
              <a:rPr lang="en-US" sz="1300" dirty="0">
                <a:solidFill>
                  <a:srgbClr val="FFFFFF"/>
                </a:solidFill>
                <a:latin typeface="+mj-lt"/>
              </a:rPr>
              <a:t>and Assurance</a:t>
            </a:r>
          </a:p>
        </p:txBody>
      </p:sp>
      <p:sp>
        <p:nvSpPr>
          <p:cNvPr id="32" name="Rectangle 31"/>
          <p:cNvSpPr/>
          <p:nvPr/>
        </p:nvSpPr>
        <p:spPr>
          <a:xfrm>
            <a:off x="5430478" y="4341366"/>
            <a:ext cx="1388362" cy="509767"/>
          </a:xfrm>
          <a:prstGeom prst="rect">
            <a:avLst/>
          </a:prstGeom>
          <a:solidFill>
            <a:srgbClr val="004BAF"/>
          </a:solid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noAutofit/>
          </a:bodyPr>
          <a:lstStyle/>
          <a:p>
            <a:pPr algn="ctr"/>
            <a:r>
              <a:rPr lang="en-US" sz="1300" dirty="0">
                <a:solidFill>
                  <a:srgbClr val="FFFFFF"/>
                </a:solidFill>
                <a:latin typeface="+mj-lt"/>
              </a:rPr>
              <a:t>Insights and</a:t>
            </a:r>
          </a:p>
          <a:p>
            <a:pPr algn="ctr"/>
            <a:r>
              <a:rPr lang="en-US" sz="1300" dirty="0">
                <a:solidFill>
                  <a:srgbClr val="FFFFFF"/>
                </a:solidFill>
                <a:latin typeface="+mj-lt"/>
              </a:rPr>
              <a:t>Experiences</a:t>
            </a:r>
          </a:p>
        </p:txBody>
      </p:sp>
    </p:spTree>
    <p:extLst>
      <p:ext uri="{BB962C8B-B14F-4D97-AF65-F5344CB8AC3E}">
        <p14:creationId xmlns:p14="http://schemas.microsoft.com/office/powerpoint/2010/main" val="139150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341314"/>
            <a:ext cx="8667730" cy="731837"/>
          </a:xfrm>
        </p:spPr>
        <p:txBody>
          <a:bodyPr/>
          <a:lstStyle/>
          <a:p>
            <a:r>
              <a:rPr lang="en-US" sz="3000" dirty="0"/>
              <a:t>How Cisco Can Help: Digital Network Architecture</a:t>
            </a:r>
          </a:p>
        </p:txBody>
      </p:sp>
      <p:sp>
        <p:nvSpPr>
          <p:cNvPr id="6" name="TextBox 5"/>
          <p:cNvSpPr txBox="1"/>
          <p:nvPr/>
        </p:nvSpPr>
        <p:spPr>
          <a:xfrm>
            <a:off x="433890" y="839943"/>
            <a:ext cx="8671605" cy="338554"/>
          </a:xfrm>
          <a:prstGeom prst="rect">
            <a:avLst/>
          </a:prstGeom>
          <a:noFill/>
        </p:spPr>
        <p:txBody>
          <a:bodyPr wrap="square" rtlCol="0">
            <a:spAutoFit/>
          </a:bodyPr>
          <a:lstStyle/>
          <a:p>
            <a:r>
              <a:rPr lang="en-US" sz="1600" dirty="0"/>
              <a:t>Digital Network Architecture (DNA) </a:t>
            </a:r>
            <a:r>
              <a:rPr lang="en-US" sz="1600"/>
              <a:t>Enables </a:t>
            </a:r>
            <a:r>
              <a:rPr lang="en-US" sz="1600" smtClean="0"/>
              <a:t>Enterprises to </a:t>
            </a:r>
            <a:r>
              <a:rPr lang="en-US" sz="1600" dirty="0"/>
              <a:t>Accelerate Digital Transformation</a:t>
            </a:r>
          </a:p>
        </p:txBody>
      </p:sp>
      <p:sp>
        <p:nvSpPr>
          <p:cNvPr id="7" name="Rectangle 6"/>
          <p:cNvSpPr/>
          <p:nvPr/>
        </p:nvSpPr>
        <p:spPr>
          <a:xfrm>
            <a:off x="6874816" y="1946894"/>
            <a:ext cx="1162947" cy="418576"/>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r>
              <a:rPr lang="en-US" sz="1300" dirty="0">
                <a:solidFill>
                  <a:schemeClr val="accent1">
                    <a:lumMod val="50000"/>
                  </a:schemeClr>
                </a:solidFill>
                <a:latin typeface="+mj-lt"/>
              </a:rPr>
              <a:t>Automation</a:t>
            </a:r>
          </a:p>
          <a:p>
            <a:r>
              <a:rPr lang="en-US" sz="1300" dirty="0">
                <a:solidFill>
                  <a:schemeClr val="accent1">
                    <a:lumMod val="50000"/>
                  </a:schemeClr>
                </a:solidFill>
                <a:latin typeface="+mj-lt"/>
              </a:rPr>
              <a:t>&amp; Assurance</a:t>
            </a:r>
          </a:p>
        </p:txBody>
      </p:sp>
      <p:sp>
        <p:nvSpPr>
          <p:cNvPr id="8" name="Rectangle 7"/>
          <p:cNvSpPr/>
          <p:nvPr/>
        </p:nvSpPr>
        <p:spPr>
          <a:xfrm>
            <a:off x="6874816" y="2924448"/>
            <a:ext cx="1271502" cy="418576"/>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r>
              <a:rPr lang="en-US" sz="1300" dirty="0">
                <a:solidFill>
                  <a:schemeClr val="accent1">
                    <a:lumMod val="50000"/>
                  </a:schemeClr>
                </a:solidFill>
                <a:latin typeface="+mj-lt"/>
              </a:rPr>
              <a:t>Security</a:t>
            </a:r>
          </a:p>
          <a:p>
            <a:r>
              <a:rPr lang="en-US" sz="1300" dirty="0">
                <a:solidFill>
                  <a:schemeClr val="accent1">
                    <a:lumMod val="50000"/>
                  </a:schemeClr>
                </a:solidFill>
                <a:latin typeface="+mj-lt"/>
              </a:rPr>
              <a:t>&amp; Compliance</a:t>
            </a:r>
          </a:p>
        </p:txBody>
      </p:sp>
      <p:sp>
        <p:nvSpPr>
          <p:cNvPr id="9" name="Rectangle 8"/>
          <p:cNvSpPr/>
          <p:nvPr/>
        </p:nvSpPr>
        <p:spPr>
          <a:xfrm>
            <a:off x="6874816" y="3901499"/>
            <a:ext cx="1293944" cy="418576"/>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r>
              <a:rPr lang="en-US" sz="1300" dirty="0">
                <a:solidFill>
                  <a:schemeClr val="accent1">
                    <a:lumMod val="50000"/>
                  </a:schemeClr>
                </a:solidFill>
                <a:latin typeface="+mj-lt"/>
              </a:rPr>
              <a:t>Insights</a:t>
            </a:r>
          </a:p>
          <a:p>
            <a:r>
              <a:rPr lang="en-US" sz="1300" dirty="0">
                <a:solidFill>
                  <a:schemeClr val="accent1">
                    <a:lumMod val="50000"/>
                  </a:schemeClr>
                </a:solidFill>
                <a:latin typeface="+mj-lt"/>
              </a:rPr>
              <a:t>&amp; Experiences</a:t>
            </a:r>
          </a:p>
        </p:txBody>
      </p:sp>
      <p:grpSp>
        <p:nvGrpSpPr>
          <p:cNvPr id="4111" name="Group 4110"/>
          <p:cNvGrpSpPr/>
          <p:nvPr/>
        </p:nvGrpSpPr>
        <p:grpSpPr>
          <a:xfrm>
            <a:off x="349250" y="1555750"/>
            <a:ext cx="5562600" cy="3162300"/>
            <a:chOff x="349250" y="1555750"/>
            <a:chExt cx="5562600" cy="3162300"/>
          </a:xfrm>
        </p:grpSpPr>
        <p:sp>
          <p:nvSpPr>
            <p:cNvPr id="32" name="Pentagon 31"/>
            <p:cNvSpPr/>
            <p:nvPr/>
          </p:nvSpPr>
          <p:spPr>
            <a:xfrm>
              <a:off x="349250" y="1555750"/>
              <a:ext cx="5562600" cy="3162300"/>
            </a:xfrm>
            <a:prstGeom prst="homePlate">
              <a:avLst>
                <a:gd name="adj" fmla="val 14859"/>
              </a:avLst>
            </a:prstGeom>
            <a:gradFill flip="none" rotWithShape="1">
              <a:gsLst>
                <a:gs pos="0">
                  <a:srgbClr val="00197B"/>
                </a:gs>
                <a:gs pos="100000">
                  <a:srgbClr val="00197B">
                    <a:alpha val="0"/>
                  </a:srgbClr>
                </a:gs>
              </a:gsLst>
              <a:lin ang="108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2208100" y="1617983"/>
              <a:ext cx="2004074" cy="172355"/>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pPr algn="ctr"/>
              <a:r>
                <a:rPr lang="en-US" sz="1000" dirty="0">
                  <a:solidFill>
                    <a:srgbClr val="FFFFFF"/>
                  </a:solidFill>
                  <a:latin typeface="+mj-lt"/>
                </a:rPr>
                <a:t>Network-Enabled Applications</a:t>
              </a:r>
            </a:p>
          </p:txBody>
        </p:sp>
        <p:sp>
          <p:nvSpPr>
            <p:cNvPr id="11" name="Rectangle 10"/>
            <p:cNvSpPr/>
            <p:nvPr/>
          </p:nvSpPr>
          <p:spPr>
            <a:xfrm>
              <a:off x="2018144" y="2481583"/>
              <a:ext cx="2383986" cy="172355"/>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pPr algn="ctr"/>
              <a:r>
                <a:rPr lang="en-US" sz="1000" dirty="0">
                  <a:solidFill>
                    <a:srgbClr val="FFFFFF"/>
                  </a:solidFill>
                  <a:latin typeface="+mj-lt"/>
                </a:rPr>
                <a:t>Open APIs | Developers Environment</a:t>
              </a:r>
            </a:p>
          </p:txBody>
        </p:sp>
        <p:sp>
          <p:nvSpPr>
            <p:cNvPr id="12" name="Rectangle 11"/>
            <p:cNvSpPr/>
            <p:nvPr/>
          </p:nvSpPr>
          <p:spPr>
            <a:xfrm>
              <a:off x="1852233" y="3573783"/>
              <a:ext cx="2715808" cy="172355"/>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pPr algn="ctr"/>
              <a:r>
                <a:rPr lang="en-US" sz="1000" dirty="0">
                  <a:solidFill>
                    <a:srgbClr val="FFFFFF"/>
                  </a:solidFill>
                  <a:latin typeface="+mj-lt"/>
                </a:rPr>
                <a:t>Open &amp; Programmable | Standards-Based</a:t>
              </a:r>
            </a:p>
          </p:txBody>
        </p:sp>
        <p:sp>
          <p:nvSpPr>
            <p:cNvPr id="13" name="Rectangle 12"/>
            <p:cNvSpPr/>
            <p:nvPr/>
          </p:nvSpPr>
          <p:spPr>
            <a:xfrm>
              <a:off x="2024556" y="4461516"/>
              <a:ext cx="2371162" cy="172355"/>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pPr algn="ctr"/>
              <a:r>
                <a:rPr lang="en-US" sz="1000" dirty="0">
                  <a:solidFill>
                    <a:srgbClr val="FFFFFF"/>
                  </a:solidFill>
                  <a:latin typeface="+mj-lt"/>
                </a:rPr>
                <a:t>Cloud-Enabled | Software-Delivered</a:t>
              </a:r>
            </a:p>
          </p:txBody>
        </p:sp>
        <p:grpSp>
          <p:nvGrpSpPr>
            <p:cNvPr id="4097" name="Group 4096"/>
            <p:cNvGrpSpPr/>
            <p:nvPr/>
          </p:nvGrpSpPr>
          <p:grpSpPr>
            <a:xfrm>
              <a:off x="1081131" y="1824031"/>
              <a:ext cx="4261017" cy="627510"/>
              <a:chOff x="1081131" y="1824031"/>
              <a:chExt cx="4261017" cy="627510"/>
            </a:xfrm>
          </p:grpSpPr>
          <p:sp>
            <p:nvSpPr>
              <p:cNvPr id="50" name="Rectangle 21"/>
              <p:cNvSpPr>
                <a:spLocks noChangeArrowheads="1"/>
              </p:cNvSpPr>
              <p:nvPr/>
            </p:nvSpPr>
            <p:spPr bwMode="auto">
              <a:xfrm>
                <a:off x="1081131" y="1824031"/>
                <a:ext cx="4261017" cy="627510"/>
              </a:xfrm>
              <a:prstGeom prst="rect">
                <a:avLst/>
              </a:prstGeom>
              <a:solidFill>
                <a:srgbClr val="177E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4"/>
              <p:cNvSpPr>
                <a:spLocks/>
              </p:cNvSpPr>
              <p:nvPr/>
            </p:nvSpPr>
            <p:spPr bwMode="auto">
              <a:xfrm>
                <a:off x="1200081" y="1942981"/>
                <a:ext cx="256044" cy="165824"/>
              </a:xfrm>
              <a:custGeom>
                <a:avLst/>
                <a:gdLst>
                  <a:gd name="T0" fmla="*/ 170 w 215"/>
                  <a:gd name="T1" fmla="*/ 48 h 139"/>
                  <a:gd name="T2" fmla="*/ 170 w 215"/>
                  <a:gd name="T3" fmla="*/ 48 h 139"/>
                  <a:gd name="T4" fmla="*/ 122 w 215"/>
                  <a:gd name="T5" fmla="*/ 0 h 139"/>
                  <a:gd name="T6" fmla="*/ 78 w 215"/>
                  <a:gd name="T7" fmla="*/ 28 h 139"/>
                  <a:gd name="T8" fmla="*/ 61 w 215"/>
                  <a:gd name="T9" fmla="*/ 20 h 139"/>
                  <a:gd name="T10" fmla="*/ 39 w 215"/>
                  <a:gd name="T11" fmla="*/ 43 h 139"/>
                  <a:gd name="T12" fmla="*/ 41 w 215"/>
                  <a:gd name="T13" fmla="*/ 52 h 139"/>
                  <a:gd name="T14" fmla="*/ 0 w 215"/>
                  <a:gd name="T15" fmla="*/ 95 h 139"/>
                  <a:gd name="T16" fmla="*/ 43 w 215"/>
                  <a:gd name="T17" fmla="*/ 139 h 139"/>
                  <a:gd name="T18" fmla="*/ 170 w 215"/>
                  <a:gd name="T19" fmla="*/ 139 h 139"/>
                  <a:gd name="T20" fmla="*/ 215 w 215"/>
                  <a:gd name="T21" fmla="*/ 93 h 139"/>
                  <a:gd name="T22" fmla="*/ 170 w 215"/>
                  <a:gd name="T23" fmla="*/ 4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5" h="139">
                    <a:moveTo>
                      <a:pt x="170" y="48"/>
                    </a:moveTo>
                    <a:cubicBezTo>
                      <a:pt x="170" y="48"/>
                      <a:pt x="170" y="48"/>
                      <a:pt x="170" y="48"/>
                    </a:cubicBezTo>
                    <a:cubicBezTo>
                      <a:pt x="170" y="21"/>
                      <a:pt x="148" y="0"/>
                      <a:pt x="122" y="0"/>
                    </a:cubicBezTo>
                    <a:cubicBezTo>
                      <a:pt x="102" y="0"/>
                      <a:pt x="85" y="12"/>
                      <a:pt x="78" y="28"/>
                    </a:cubicBezTo>
                    <a:cubicBezTo>
                      <a:pt x="74" y="23"/>
                      <a:pt x="68" y="20"/>
                      <a:pt x="61" y="20"/>
                    </a:cubicBezTo>
                    <a:cubicBezTo>
                      <a:pt x="49" y="20"/>
                      <a:pt x="39" y="30"/>
                      <a:pt x="39" y="43"/>
                    </a:cubicBezTo>
                    <a:cubicBezTo>
                      <a:pt x="39" y="46"/>
                      <a:pt x="39" y="49"/>
                      <a:pt x="41" y="52"/>
                    </a:cubicBezTo>
                    <a:cubicBezTo>
                      <a:pt x="18" y="53"/>
                      <a:pt x="0" y="72"/>
                      <a:pt x="0" y="95"/>
                    </a:cubicBezTo>
                    <a:cubicBezTo>
                      <a:pt x="0" y="119"/>
                      <a:pt x="20" y="139"/>
                      <a:pt x="43" y="139"/>
                    </a:cubicBezTo>
                    <a:cubicBezTo>
                      <a:pt x="170" y="139"/>
                      <a:pt x="170" y="139"/>
                      <a:pt x="170" y="139"/>
                    </a:cubicBezTo>
                    <a:cubicBezTo>
                      <a:pt x="195" y="139"/>
                      <a:pt x="215" y="118"/>
                      <a:pt x="215" y="93"/>
                    </a:cubicBezTo>
                    <a:cubicBezTo>
                      <a:pt x="215" y="68"/>
                      <a:pt x="195" y="48"/>
                      <a:pt x="170"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cxnSp>
            <p:nvCxnSpPr>
              <p:cNvPr id="15" name="Straight Connector 14"/>
              <p:cNvCxnSpPr/>
              <p:nvPr/>
            </p:nvCxnSpPr>
            <p:spPr>
              <a:xfrm>
                <a:off x="2101850" y="2146300"/>
                <a:ext cx="219075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2478206" y="2193808"/>
                <a:ext cx="1463862" cy="172355"/>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pPr algn="ctr"/>
                <a:r>
                  <a:rPr lang="en-US" sz="1000" dirty="0">
                    <a:solidFill>
                      <a:srgbClr val="FFFFFF"/>
                    </a:solidFill>
                    <a:latin typeface="+mj-lt"/>
                  </a:rPr>
                  <a:t>Policy | Orchestration</a:t>
                </a:r>
              </a:p>
            </p:txBody>
          </p:sp>
          <p:sp>
            <p:nvSpPr>
              <p:cNvPr id="28" name="Rectangle 27"/>
              <p:cNvSpPr/>
              <p:nvPr/>
            </p:nvSpPr>
            <p:spPr>
              <a:xfrm>
                <a:off x="2045396" y="1884976"/>
                <a:ext cx="2329484" cy="218521"/>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pPr algn="ctr"/>
                <a:r>
                  <a:rPr lang="en-US" sz="1300" dirty="0">
                    <a:solidFill>
                      <a:srgbClr val="FFFFFF"/>
                    </a:solidFill>
                    <a:latin typeface="+mj-lt"/>
                  </a:rPr>
                  <a:t>Cloud Service Management</a:t>
                </a:r>
              </a:p>
            </p:txBody>
          </p:sp>
        </p:grpSp>
        <p:grpSp>
          <p:nvGrpSpPr>
            <p:cNvPr id="4104" name="Group 4103"/>
            <p:cNvGrpSpPr/>
            <p:nvPr/>
          </p:nvGrpSpPr>
          <p:grpSpPr>
            <a:xfrm>
              <a:off x="1081131" y="3783676"/>
              <a:ext cx="4261017" cy="627510"/>
              <a:chOff x="1081131" y="3783676"/>
              <a:chExt cx="4261017" cy="627510"/>
            </a:xfrm>
          </p:grpSpPr>
          <p:sp>
            <p:nvSpPr>
              <p:cNvPr id="51" name="Rectangle 22"/>
              <p:cNvSpPr>
                <a:spLocks noChangeArrowheads="1"/>
              </p:cNvSpPr>
              <p:nvPr/>
            </p:nvSpPr>
            <p:spPr bwMode="auto">
              <a:xfrm>
                <a:off x="1081131" y="3783676"/>
                <a:ext cx="4261017" cy="62751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103" name="Group 4102"/>
              <p:cNvGrpSpPr/>
              <p:nvPr/>
            </p:nvGrpSpPr>
            <p:grpSpPr>
              <a:xfrm>
                <a:off x="1208649" y="3903129"/>
                <a:ext cx="221266" cy="225803"/>
                <a:chOff x="1208649" y="3903129"/>
                <a:chExt cx="221266" cy="225803"/>
              </a:xfrm>
            </p:grpSpPr>
            <p:sp>
              <p:nvSpPr>
                <p:cNvPr id="58" name="Freeform 29"/>
                <p:cNvSpPr>
                  <a:spLocks/>
                </p:cNvSpPr>
                <p:nvPr/>
              </p:nvSpPr>
              <p:spPr bwMode="auto">
                <a:xfrm>
                  <a:off x="1276188" y="3973189"/>
                  <a:ext cx="33266" cy="22681"/>
                </a:xfrm>
                <a:custGeom>
                  <a:avLst/>
                  <a:gdLst>
                    <a:gd name="T0" fmla="*/ 27 w 28"/>
                    <a:gd name="T1" fmla="*/ 2 h 19"/>
                    <a:gd name="T2" fmla="*/ 23 w 28"/>
                    <a:gd name="T3" fmla="*/ 1 h 19"/>
                    <a:gd name="T4" fmla="*/ 2 w 28"/>
                    <a:gd name="T5" fmla="*/ 13 h 19"/>
                    <a:gd name="T6" fmla="*/ 1 w 28"/>
                    <a:gd name="T7" fmla="*/ 18 h 19"/>
                    <a:gd name="T8" fmla="*/ 3 w 28"/>
                    <a:gd name="T9" fmla="*/ 19 h 19"/>
                    <a:gd name="T10" fmla="*/ 5 w 28"/>
                    <a:gd name="T11" fmla="*/ 19 h 19"/>
                    <a:gd name="T12" fmla="*/ 26 w 28"/>
                    <a:gd name="T13" fmla="*/ 6 h 19"/>
                    <a:gd name="T14" fmla="*/ 27 w 28"/>
                    <a:gd name="T15" fmla="*/ 2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9">
                      <a:moveTo>
                        <a:pt x="27" y="2"/>
                      </a:moveTo>
                      <a:cubicBezTo>
                        <a:pt x="26" y="1"/>
                        <a:pt x="24" y="0"/>
                        <a:pt x="23" y="1"/>
                      </a:cubicBezTo>
                      <a:cubicBezTo>
                        <a:pt x="2" y="13"/>
                        <a:pt x="2" y="13"/>
                        <a:pt x="2" y="13"/>
                      </a:cubicBezTo>
                      <a:cubicBezTo>
                        <a:pt x="0" y="14"/>
                        <a:pt x="0" y="16"/>
                        <a:pt x="1" y="18"/>
                      </a:cubicBezTo>
                      <a:cubicBezTo>
                        <a:pt x="1" y="19"/>
                        <a:pt x="2" y="19"/>
                        <a:pt x="3" y="19"/>
                      </a:cubicBezTo>
                      <a:cubicBezTo>
                        <a:pt x="4" y="19"/>
                        <a:pt x="4" y="19"/>
                        <a:pt x="5" y="19"/>
                      </a:cubicBezTo>
                      <a:cubicBezTo>
                        <a:pt x="26" y="6"/>
                        <a:pt x="26" y="6"/>
                        <a:pt x="26" y="6"/>
                      </a:cubicBezTo>
                      <a:cubicBezTo>
                        <a:pt x="27" y="6"/>
                        <a:pt x="28" y="4"/>
                        <a:pt x="27"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30"/>
                <p:cNvSpPr>
                  <a:spLocks/>
                </p:cNvSpPr>
                <p:nvPr/>
              </p:nvSpPr>
              <p:spPr bwMode="auto">
                <a:xfrm>
                  <a:off x="1330119" y="3973189"/>
                  <a:ext cx="33266" cy="22681"/>
                </a:xfrm>
                <a:custGeom>
                  <a:avLst/>
                  <a:gdLst>
                    <a:gd name="T0" fmla="*/ 2 w 28"/>
                    <a:gd name="T1" fmla="*/ 6 h 19"/>
                    <a:gd name="T2" fmla="*/ 23 w 28"/>
                    <a:gd name="T3" fmla="*/ 19 h 19"/>
                    <a:gd name="T4" fmla="*/ 24 w 28"/>
                    <a:gd name="T5" fmla="*/ 19 h 19"/>
                    <a:gd name="T6" fmla="*/ 27 w 28"/>
                    <a:gd name="T7" fmla="*/ 18 h 19"/>
                    <a:gd name="T8" fmla="*/ 26 w 28"/>
                    <a:gd name="T9" fmla="*/ 13 h 19"/>
                    <a:gd name="T10" fmla="*/ 5 w 28"/>
                    <a:gd name="T11" fmla="*/ 1 h 19"/>
                    <a:gd name="T12" fmla="*/ 1 w 28"/>
                    <a:gd name="T13" fmla="*/ 2 h 19"/>
                    <a:gd name="T14" fmla="*/ 2 w 28"/>
                    <a:gd name="T15" fmla="*/ 6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9">
                      <a:moveTo>
                        <a:pt x="2" y="6"/>
                      </a:moveTo>
                      <a:cubicBezTo>
                        <a:pt x="23" y="19"/>
                        <a:pt x="23" y="19"/>
                        <a:pt x="23" y="19"/>
                      </a:cubicBezTo>
                      <a:cubicBezTo>
                        <a:pt x="23" y="19"/>
                        <a:pt x="24" y="19"/>
                        <a:pt x="24" y="19"/>
                      </a:cubicBezTo>
                      <a:cubicBezTo>
                        <a:pt x="25" y="19"/>
                        <a:pt x="26" y="19"/>
                        <a:pt x="27" y="18"/>
                      </a:cubicBezTo>
                      <a:cubicBezTo>
                        <a:pt x="28" y="16"/>
                        <a:pt x="27" y="14"/>
                        <a:pt x="26" y="13"/>
                      </a:cubicBezTo>
                      <a:cubicBezTo>
                        <a:pt x="5" y="1"/>
                        <a:pt x="5" y="1"/>
                        <a:pt x="5" y="1"/>
                      </a:cubicBezTo>
                      <a:cubicBezTo>
                        <a:pt x="3" y="0"/>
                        <a:pt x="1" y="1"/>
                        <a:pt x="1" y="2"/>
                      </a:cubicBezTo>
                      <a:cubicBezTo>
                        <a:pt x="0" y="4"/>
                        <a:pt x="0" y="6"/>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31"/>
                <p:cNvSpPr>
                  <a:spLocks/>
                </p:cNvSpPr>
                <p:nvPr/>
              </p:nvSpPr>
              <p:spPr bwMode="auto">
                <a:xfrm>
                  <a:off x="1276188" y="4067441"/>
                  <a:ext cx="33266" cy="22177"/>
                </a:xfrm>
                <a:custGeom>
                  <a:avLst/>
                  <a:gdLst>
                    <a:gd name="T0" fmla="*/ 2 w 28"/>
                    <a:gd name="T1" fmla="*/ 6 h 19"/>
                    <a:gd name="T2" fmla="*/ 23 w 28"/>
                    <a:gd name="T3" fmla="*/ 18 h 19"/>
                    <a:gd name="T4" fmla="*/ 24 w 28"/>
                    <a:gd name="T5" fmla="*/ 19 h 19"/>
                    <a:gd name="T6" fmla="*/ 27 w 28"/>
                    <a:gd name="T7" fmla="*/ 17 h 19"/>
                    <a:gd name="T8" fmla="*/ 26 w 28"/>
                    <a:gd name="T9" fmla="*/ 13 h 19"/>
                    <a:gd name="T10" fmla="*/ 5 w 28"/>
                    <a:gd name="T11" fmla="*/ 1 h 19"/>
                    <a:gd name="T12" fmla="*/ 1 w 28"/>
                    <a:gd name="T13" fmla="*/ 2 h 19"/>
                    <a:gd name="T14" fmla="*/ 2 w 28"/>
                    <a:gd name="T15" fmla="*/ 6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9">
                      <a:moveTo>
                        <a:pt x="2" y="6"/>
                      </a:moveTo>
                      <a:cubicBezTo>
                        <a:pt x="23" y="18"/>
                        <a:pt x="23" y="18"/>
                        <a:pt x="23" y="18"/>
                      </a:cubicBezTo>
                      <a:cubicBezTo>
                        <a:pt x="23" y="18"/>
                        <a:pt x="24" y="19"/>
                        <a:pt x="24" y="19"/>
                      </a:cubicBezTo>
                      <a:cubicBezTo>
                        <a:pt x="25" y="19"/>
                        <a:pt x="26" y="18"/>
                        <a:pt x="27" y="17"/>
                      </a:cubicBezTo>
                      <a:cubicBezTo>
                        <a:pt x="28" y="16"/>
                        <a:pt x="27" y="14"/>
                        <a:pt x="26" y="13"/>
                      </a:cubicBezTo>
                      <a:cubicBezTo>
                        <a:pt x="5" y="1"/>
                        <a:pt x="5" y="1"/>
                        <a:pt x="5" y="1"/>
                      </a:cubicBezTo>
                      <a:cubicBezTo>
                        <a:pt x="3" y="0"/>
                        <a:pt x="2" y="0"/>
                        <a:pt x="1" y="2"/>
                      </a:cubicBezTo>
                      <a:cubicBezTo>
                        <a:pt x="0" y="3"/>
                        <a:pt x="0" y="5"/>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32"/>
                <p:cNvSpPr>
                  <a:spLocks noEditPoints="1"/>
                </p:cNvSpPr>
                <p:nvPr/>
              </p:nvSpPr>
              <p:spPr bwMode="auto">
                <a:xfrm>
                  <a:off x="1208649" y="3903129"/>
                  <a:ext cx="221266" cy="225803"/>
                </a:xfrm>
                <a:custGeom>
                  <a:avLst/>
                  <a:gdLst>
                    <a:gd name="T0" fmla="*/ 186 w 186"/>
                    <a:gd name="T1" fmla="*/ 107 h 190"/>
                    <a:gd name="T2" fmla="*/ 186 w 186"/>
                    <a:gd name="T3" fmla="*/ 107 h 190"/>
                    <a:gd name="T4" fmla="*/ 185 w 186"/>
                    <a:gd name="T5" fmla="*/ 106 h 190"/>
                    <a:gd name="T6" fmla="*/ 185 w 186"/>
                    <a:gd name="T7" fmla="*/ 106 h 190"/>
                    <a:gd name="T8" fmla="*/ 141 w 186"/>
                    <a:gd name="T9" fmla="*/ 80 h 190"/>
                    <a:gd name="T10" fmla="*/ 141 w 186"/>
                    <a:gd name="T11" fmla="*/ 29 h 190"/>
                    <a:gd name="T12" fmla="*/ 141 w 186"/>
                    <a:gd name="T13" fmla="*/ 28 h 190"/>
                    <a:gd name="T14" fmla="*/ 141 w 186"/>
                    <a:gd name="T15" fmla="*/ 28 h 190"/>
                    <a:gd name="T16" fmla="*/ 140 w 186"/>
                    <a:gd name="T17" fmla="*/ 28 h 190"/>
                    <a:gd name="T18" fmla="*/ 140 w 186"/>
                    <a:gd name="T19" fmla="*/ 27 h 190"/>
                    <a:gd name="T20" fmla="*/ 47 w 186"/>
                    <a:gd name="T21" fmla="*/ 27 h 190"/>
                    <a:gd name="T22" fmla="*/ 46 w 186"/>
                    <a:gd name="T23" fmla="*/ 28 h 190"/>
                    <a:gd name="T24" fmla="*/ 46 w 186"/>
                    <a:gd name="T25" fmla="*/ 28 h 190"/>
                    <a:gd name="T26" fmla="*/ 46 w 186"/>
                    <a:gd name="T27" fmla="*/ 28 h 190"/>
                    <a:gd name="T28" fmla="*/ 45 w 186"/>
                    <a:gd name="T29" fmla="*/ 29 h 190"/>
                    <a:gd name="T30" fmla="*/ 45 w 186"/>
                    <a:gd name="T31" fmla="*/ 80 h 190"/>
                    <a:gd name="T32" fmla="*/ 1 w 186"/>
                    <a:gd name="T33" fmla="*/ 106 h 190"/>
                    <a:gd name="T34" fmla="*/ 1 w 186"/>
                    <a:gd name="T35" fmla="*/ 106 h 190"/>
                    <a:gd name="T36" fmla="*/ 1 w 186"/>
                    <a:gd name="T37" fmla="*/ 107 h 190"/>
                    <a:gd name="T38" fmla="*/ 0 w 186"/>
                    <a:gd name="T39" fmla="*/ 107 h 190"/>
                    <a:gd name="T40" fmla="*/ 0 w 186"/>
                    <a:gd name="T41" fmla="*/ 108 h 190"/>
                    <a:gd name="T42" fmla="*/ 47 w 186"/>
                    <a:gd name="T43" fmla="*/ 189 h 190"/>
                    <a:gd name="T44" fmla="*/ 47 w 186"/>
                    <a:gd name="T45" fmla="*/ 190 h 190"/>
                    <a:gd name="T46" fmla="*/ 48 w 186"/>
                    <a:gd name="T47" fmla="*/ 190 h 190"/>
                    <a:gd name="T48" fmla="*/ 49 w 186"/>
                    <a:gd name="T49" fmla="*/ 190 h 190"/>
                    <a:gd name="T50" fmla="*/ 49 w 186"/>
                    <a:gd name="T51" fmla="*/ 190 h 190"/>
                    <a:gd name="T52" fmla="*/ 93 w 186"/>
                    <a:gd name="T53" fmla="*/ 164 h 190"/>
                    <a:gd name="T54" fmla="*/ 137 w 186"/>
                    <a:gd name="T55" fmla="*/ 190 h 190"/>
                    <a:gd name="T56" fmla="*/ 138 w 186"/>
                    <a:gd name="T57" fmla="*/ 190 h 190"/>
                    <a:gd name="T58" fmla="*/ 139 w 186"/>
                    <a:gd name="T59" fmla="*/ 190 h 190"/>
                    <a:gd name="T60" fmla="*/ 139 w 186"/>
                    <a:gd name="T61" fmla="*/ 190 h 190"/>
                    <a:gd name="T62" fmla="*/ 140 w 186"/>
                    <a:gd name="T63" fmla="*/ 189 h 190"/>
                    <a:gd name="T64" fmla="*/ 186 w 186"/>
                    <a:gd name="T65" fmla="*/ 108 h 190"/>
                    <a:gd name="T66" fmla="*/ 138 w 186"/>
                    <a:gd name="T67" fmla="*/ 131 h 190"/>
                    <a:gd name="T68" fmla="*/ 177 w 186"/>
                    <a:gd name="T69" fmla="*/ 108 h 190"/>
                    <a:gd name="T70" fmla="*/ 90 w 186"/>
                    <a:gd name="T71" fmla="*/ 103 h 190"/>
                    <a:gd name="T72" fmla="*/ 135 w 186"/>
                    <a:gd name="T73" fmla="*/ 80 h 190"/>
                    <a:gd name="T74" fmla="*/ 135 w 186"/>
                    <a:gd name="T75" fmla="*/ 35 h 190"/>
                    <a:gd name="T76" fmla="*/ 51 w 186"/>
                    <a:gd name="T77" fmla="*/ 182 h 190"/>
                    <a:gd name="T78" fmla="*/ 90 w 186"/>
                    <a:gd name="T79" fmla="*/ 159 h 190"/>
                    <a:gd name="T80" fmla="*/ 135 w 186"/>
                    <a:gd name="T81" fmla="*/ 182 h 190"/>
                    <a:gd name="T82" fmla="*/ 93 w 186"/>
                    <a:gd name="T83" fmla="*/ 7 h 190"/>
                    <a:gd name="T84" fmla="*/ 54 w 186"/>
                    <a:gd name="T85" fmla="*/ 30 h 190"/>
                    <a:gd name="T86" fmla="*/ 87 w 186"/>
                    <a:gd name="T87" fmla="*/ 108 h 190"/>
                    <a:gd name="T88" fmla="*/ 48 w 186"/>
                    <a:gd name="T89" fmla="*/ 86 h 190"/>
                    <a:gd name="T90" fmla="*/ 45 w 186"/>
                    <a:gd name="T91" fmla="*/ 182 h 190"/>
                    <a:gd name="T92" fmla="*/ 141 w 186"/>
                    <a:gd name="T93" fmla="*/ 182 h 190"/>
                    <a:gd name="T94" fmla="*/ 180 w 186"/>
                    <a:gd name="T95" fmla="*/ 15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6" h="190">
                      <a:moveTo>
                        <a:pt x="186" y="108"/>
                      </a:moveTo>
                      <a:cubicBezTo>
                        <a:pt x="186" y="108"/>
                        <a:pt x="186" y="108"/>
                        <a:pt x="186" y="107"/>
                      </a:cubicBezTo>
                      <a:cubicBezTo>
                        <a:pt x="186" y="107"/>
                        <a:pt x="186" y="107"/>
                        <a:pt x="186" y="107"/>
                      </a:cubicBezTo>
                      <a:cubicBezTo>
                        <a:pt x="186" y="107"/>
                        <a:pt x="186" y="107"/>
                        <a:pt x="186" y="107"/>
                      </a:cubicBezTo>
                      <a:cubicBezTo>
                        <a:pt x="186" y="107"/>
                        <a:pt x="186" y="107"/>
                        <a:pt x="186" y="107"/>
                      </a:cubicBezTo>
                      <a:cubicBezTo>
                        <a:pt x="186" y="107"/>
                        <a:pt x="186" y="107"/>
                        <a:pt x="186" y="107"/>
                      </a:cubicBezTo>
                      <a:cubicBezTo>
                        <a:pt x="186" y="107"/>
                        <a:pt x="186" y="107"/>
                        <a:pt x="186" y="107"/>
                      </a:cubicBezTo>
                      <a:cubicBezTo>
                        <a:pt x="186" y="107"/>
                        <a:pt x="186" y="107"/>
                        <a:pt x="186" y="106"/>
                      </a:cubicBezTo>
                      <a:cubicBezTo>
                        <a:pt x="186" y="106"/>
                        <a:pt x="185" y="106"/>
                        <a:pt x="185" y="106"/>
                      </a:cubicBezTo>
                      <a:cubicBezTo>
                        <a:pt x="185" y="106"/>
                        <a:pt x="185" y="106"/>
                        <a:pt x="185" y="106"/>
                      </a:cubicBezTo>
                      <a:cubicBezTo>
                        <a:pt x="185" y="106"/>
                        <a:pt x="185" y="106"/>
                        <a:pt x="185" y="106"/>
                      </a:cubicBezTo>
                      <a:cubicBezTo>
                        <a:pt x="185" y="106"/>
                        <a:pt x="185" y="106"/>
                        <a:pt x="185" y="106"/>
                      </a:cubicBezTo>
                      <a:cubicBezTo>
                        <a:pt x="185" y="106"/>
                        <a:pt x="185" y="106"/>
                        <a:pt x="185" y="106"/>
                      </a:cubicBezTo>
                      <a:cubicBezTo>
                        <a:pt x="185" y="106"/>
                        <a:pt x="185" y="106"/>
                        <a:pt x="185" y="106"/>
                      </a:cubicBezTo>
                      <a:cubicBezTo>
                        <a:pt x="185" y="106"/>
                        <a:pt x="141" y="80"/>
                        <a:pt x="141" y="80"/>
                      </a:cubicBezTo>
                      <a:cubicBezTo>
                        <a:pt x="141" y="30"/>
                        <a:pt x="141" y="30"/>
                        <a:pt x="141" y="30"/>
                      </a:cubicBezTo>
                      <a:cubicBezTo>
                        <a:pt x="141" y="30"/>
                        <a:pt x="141" y="30"/>
                        <a:pt x="141" y="30"/>
                      </a:cubicBezTo>
                      <a:cubicBezTo>
                        <a:pt x="141" y="29"/>
                        <a:pt x="141" y="29"/>
                        <a:pt x="141" y="29"/>
                      </a:cubicBezTo>
                      <a:cubicBezTo>
                        <a:pt x="141" y="29"/>
                        <a:pt x="141" y="29"/>
                        <a:pt x="141" y="29"/>
                      </a:cubicBezTo>
                      <a:cubicBezTo>
                        <a:pt x="141" y="29"/>
                        <a:pt x="141" y="29"/>
                        <a:pt x="141" y="29"/>
                      </a:cubicBezTo>
                      <a:cubicBezTo>
                        <a:pt x="141" y="29"/>
                        <a:pt x="141" y="29"/>
                        <a:pt x="141" y="28"/>
                      </a:cubicBezTo>
                      <a:cubicBezTo>
                        <a:pt x="141" y="28"/>
                        <a:pt x="141" y="28"/>
                        <a:pt x="141" y="28"/>
                      </a:cubicBezTo>
                      <a:cubicBezTo>
                        <a:pt x="141" y="28"/>
                        <a:pt x="141" y="28"/>
                        <a:pt x="141" y="28"/>
                      </a:cubicBezTo>
                      <a:cubicBezTo>
                        <a:pt x="141" y="28"/>
                        <a:pt x="141" y="28"/>
                        <a:pt x="141" y="28"/>
                      </a:cubicBezTo>
                      <a:cubicBezTo>
                        <a:pt x="141" y="28"/>
                        <a:pt x="141" y="28"/>
                        <a:pt x="141" y="28"/>
                      </a:cubicBezTo>
                      <a:cubicBezTo>
                        <a:pt x="140" y="28"/>
                        <a:pt x="140" y="28"/>
                        <a:pt x="140" y="28"/>
                      </a:cubicBezTo>
                      <a:cubicBezTo>
                        <a:pt x="140" y="28"/>
                        <a:pt x="140" y="28"/>
                        <a:pt x="140" y="28"/>
                      </a:cubicBezTo>
                      <a:cubicBezTo>
                        <a:pt x="140" y="27"/>
                        <a:pt x="140" y="27"/>
                        <a:pt x="140" y="27"/>
                      </a:cubicBezTo>
                      <a:cubicBezTo>
                        <a:pt x="140" y="27"/>
                        <a:pt x="140" y="27"/>
                        <a:pt x="140" y="27"/>
                      </a:cubicBezTo>
                      <a:cubicBezTo>
                        <a:pt x="140" y="27"/>
                        <a:pt x="140" y="27"/>
                        <a:pt x="140" y="27"/>
                      </a:cubicBezTo>
                      <a:cubicBezTo>
                        <a:pt x="140" y="27"/>
                        <a:pt x="95" y="1"/>
                        <a:pt x="95" y="1"/>
                      </a:cubicBezTo>
                      <a:cubicBezTo>
                        <a:pt x="94" y="0"/>
                        <a:pt x="93" y="0"/>
                        <a:pt x="92" y="1"/>
                      </a:cubicBezTo>
                      <a:cubicBezTo>
                        <a:pt x="47" y="27"/>
                        <a:pt x="47" y="27"/>
                        <a:pt x="47" y="27"/>
                      </a:cubicBezTo>
                      <a:cubicBezTo>
                        <a:pt x="47" y="27"/>
                        <a:pt x="47" y="27"/>
                        <a:pt x="46" y="27"/>
                      </a:cubicBezTo>
                      <a:cubicBezTo>
                        <a:pt x="46" y="27"/>
                        <a:pt x="46" y="27"/>
                        <a:pt x="46" y="27"/>
                      </a:cubicBezTo>
                      <a:cubicBezTo>
                        <a:pt x="46" y="27"/>
                        <a:pt x="46" y="27"/>
                        <a:pt x="46" y="28"/>
                      </a:cubicBezTo>
                      <a:cubicBezTo>
                        <a:pt x="46" y="28"/>
                        <a:pt x="46" y="28"/>
                        <a:pt x="46" y="28"/>
                      </a:cubicBezTo>
                      <a:cubicBezTo>
                        <a:pt x="46" y="28"/>
                        <a:pt x="46" y="28"/>
                        <a:pt x="46" y="28"/>
                      </a:cubicBezTo>
                      <a:cubicBezTo>
                        <a:pt x="46" y="28"/>
                        <a:pt x="46" y="28"/>
                        <a:pt x="46" y="28"/>
                      </a:cubicBezTo>
                      <a:cubicBezTo>
                        <a:pt x="46" y="28"/>
                        <a:pt x="46" y="28"/>
                        <a:pt x="46" y="28"/>
                      </a:cubicBezTo>
                      <a:cubicBezTo>
                        <a:pt x="46" y="28"/>
                        <a:pt x="46" y="28"/>
                        <a:pt x="46" y="28"/>
                      </a:cubicBezTo>
                      <a:cubicBezTo>
                        <a:pt x="46" y="28"/>
                        <a:pt x="46" y="28"/>
                        <a:pt x="46" y="28"/>
                      </a:cubicBezTo>
                      <a:cubicBezTo>
                        <a:pt x="45" y="29"/>
                        <a:pt x="45" y="29"/>
                        <a:pt x="45" y="29"/>
                      </a:cubicBezTo>
                      <a:cubicBezTo>
                        <a:pt x="45" y="29"/>
                        <a:pt x="45" y="29"/>
                        <a:pt x="45" y="29"/>
                      </a:cubicBezTo>
                      <a:cubicBezTo>
                        <a:pt x="45" y="29"/>
                        <a:pt x="45" y="29"/>
                        <a:pt x="45" y="29"/>
                      </a:cubicBezTo>
                      <a:cubicBezTo>
                        <a:pt x="45" y="29"/>
                        <a:pt x="45" y="29"/>
                        <a:pt x="45" y="30"/>
                      </a:cubicBezTo>
                      <a:cubicBezTo>
                        <a:pt x="45" y="30"/>
                        <a:pt x="45" y="30"/>
                        <a:pt x="45" y="30"/>
                      </a:cubicBezTo>
                      <a:cubicBezTo>
                        <a:pt x="45" y="80"/>
                        <a:pt x="45" y="80"/>
                        <a:pt x="45" y="80"/>
                      </a:cubicBezTo>
                      <a:cubicBezTo>
                        <a:pt x="2" y="106"/>
                        <a:pt x="2" y="106"/>
                        <a:pt x="2" y="106"/>
                      </a:cubicBezTo>
                      <a:cubicBezTo>
                        <a:pt x="2" y="106"/>
                        <a:pt x="2" y="106"/>
                        <a:pt x="2" y="106"/>
                      </a:cubicBezTo>
                      <a:cubicBezTo>
                        <a:pt x="1" y="106"/>
                        <a:pt x="1" y="106"/>
                        <a:pt x="1" y="106"/>
                      </a:cubicBezTo>
                      <a:cubicBezTo>
                        <a:pt x="1" y="106"/>
                        <a:pt x="1" y="106"/>
                        <a:pt x="1" y="106"/>
                      </a:cubicBezTo>
                      <a:cubicBezTo>
                        <a:pt x="1" y="106"/>
                        <a:pt x="1" y="106"/>
                        <a:pt x="1" y="106"/>
                      </a:cubicBezTo>
                      <a:cubicBezTo>
                        <a:pt x="1" y="106"/>
                        <a:pt x="1" y="106"/>
                        <a:pt x="1" y="106"/>
                      </a:cubicBezTo>
                      <a:cubicBezTo>
                        <a:pt x="1" y="106"/>
                        <a:pt x="1" y="106"/>
                        <a:pt x="1" y="106"/>
                      </a:cubicBezTo>
                      <a:cubicBezTo>
                        <a:pt x="1" y="107"/>
                        <a:pt x="1" y="107"/>
                        <a:pt x="1" y="107"/>
                      </a:cubicBezTo>
                      <a:cubicBezTo>
                        <a:pt x="1" y="107"/>
                        <a:pt x="1" y="107"/>
                        <a:pt x="1" y="107"/>
                      </a:cubicBezTo>
                      <a:cubicBezTo>
                        <a:pt x="1" y="107"/>
                        <a:pt x="1" y="107"/>
                        <a:pt x="1" y="107"/>
                      </a:cubicBezTo>
                      <a:cubicBezTo>
                        <a:pt x="1" y="107"/>
                        <a:pt x="1" y="107"/>
                        <a:pt x="1" y="107"/>
                      </a:cubicBezTo>
                      <a:cubicBezTo>
                        <a:pt x="0" y="107"/>
                        <a:pt x="0" y="107"/>
                        <a:pt x="0" y="107"/>
                      </a:cubicBezTo>
                      <a:cubicBezTo>
                        <a:pt x="0" y="107"/>
                        <a:pt x="0" y="107"/>
                        <a:pt x="0" y="107"/>
                      </a:cubicBezTo>
                      <a:cubicBezTo>
                        <a:pt x="0" y="108"/>
                        <a:pt x="0" y="108"/>
                        <a:pt x="0" y="108"/>
                      </a:cubicBezTo>
                      <a:cubicBezTo>
                        <a:pt x="0" y="108"/>
                        <a:pt x="0" y="108"/>
                        <a:pt x="0" y="108"/>
                      </a:cubicBezTo>
                      <a:cubicBezTo>
                        <a:pt x="0" y="161"/>
                        <a:pt x="0" y="161"/>
                        <a:pt x="0" y="161"/>
                      </a:cubicBezTo>
                      <a:cubicBezTo>
                        <a:pt x="0" y="162"/>
                        <a:pt x="1" y="163"/>
                        <a:pt x="2" y="163"/>
                      </a:cubicBezTo>
                      <a:cubicBezTo>
                        <a:pt x="47" y="189"/>
                        <a:pt x="47" y="189"/>
                        <a:pt x="47" y="189"/>
                      </a:cubicBezTo>
                      <a:cubicBezTo>
                        <a:pt x="47" y="189"/>
                        <a:pt x="47" y="189"/>
                        <a:pt x="47" y="189"/>
                      </a:cubicBezTo>
                      <a:cubicBezTo>
                        <a:pt x="47" y="189"/>
                        <a:pt x="47" y="190"/>
                        <a:pt x="47" y="190"/>
                      </a:cubicBezTo>
                      <a:cubicBezTo>
                        <a:pt x="47" y="190"/>
                        <a:pt x="47" y="190"/>
                        <a:pt x="47" y="190"/>
                      </a:cubicBezTo>
                      <a:cubicBezTo>
                        <a:pt x="47" y="190"/>
                        <a:pt x="48" y="190"/>
                        <a:pt x="48" y="190"/>
                      </a:cubicBezTo>
                      <a:cubicBezTo>
                        <a:pt x="48" y="190"/>
                        <a:pt x="48" y="190"/>
                        <a:pt x="48" y="190"/>
                      </a:cubicBezTo>
                      <a:cubicBezTo>
                        <a:pt x="48" y="190"/>
                        <a:pt x="48" y="190"/>
                        <a:pt x="48" y="190"/>
                      </a:cubicBezTo>
                      <a:cubicBezTo>
                        <a:pt x="48" y="190"/>
                        <a:pt x="48" y="190"/>
                        <a:pt x="48" y="190"/>
                      </a:cubicBezTo>
                      <a:cubicBezTo>
                        <a:pt x="48" y="190"/>
                        <a:pt x="49" y="190"/>
                        <a:pt x="49" y="190"/>
                      </a:cubicBezTo>
                      <a:cubicBezTo>
                        <a:pt x="49" y="190"/>
                        <a:pt x="49" y="190"/>
                        <a:pt x="49" y="190"/>
                      </a:cubicBezTo>
                      <a:cubicBezTo>
                        <a:pt x="49" y="190"/>
                        <a:pt x="49" y="190"/>
                        <a:pt x="49" y="190"/>
                      </a:cubicBezTo>
                      <a:cubicBezTo>
                        <a:pt x="49" y="190"/>
                        <a:pt x="49" y="190"/>
                        <a:pt x="49" y="190"/>
                      </a:cubicBezTo>
                      <a:cubicBezTo>
                        <a:pt x="49" y="190"/>
                        <a:pt x="49" y="190"/>
                        <a:pt x="49" y="190"/>
                      </a:cubicBezTo>
                      <a:cubicBezTo>
                        <a:pt x="50" y="190"/>
                        <a:pt x="50" y="189"/>
                        <a:pt x="50" y="189"/>
                      </a:cubicBezTo>
                      <a:cubicBezTo>
                        <a:pt x="50" y="189"/>
                        <a:pt x="50" y="189"/>
                        <a:pt x="50" y="189"/>
                      </a:cubicBezTo>
                      <a:cubicBezTo>
                        <a:pt x="93" y="164"/>
                        <a:pt x="93" y="164"/>
                        <a:pt x="93" y="164"/>
                      </a:cubicBezTo>
                      <a:cubicBezTo>
                        <a:pt x="137" y="189"/>
                        <a:pt x="137" y="189"/>
                        <a:pt x="137" y="189"/>
                      </a:cubicBezTo>
                      <a:cubicBezTo>
                        <a:pt x="137" y="189"/>
                        <a:pt x="137" y="189"/>
                        <a:pt x="137" y="189"/>
                      </a:cubicBezTo>
                      <a:cubicBezTo>
                        <a:pt x="137" y="189"/>
                        <a:pt x="137" y="190"/>
                        <a:pt x="137" y="190"/>
                      </a:cubicBezTo>
                      <a:cubicBezTo>
                        <a:pt x="137" y="190"/>
                        <a:pt x="137" y="190"/>
                        <a:pt x="137" y="190"/>
                      </a:cubicBezTo>
                      <a:cubicBezTo>
                        <a:pt x="137" y="190"/>
                        <a:pt x="137" y="190"/>
                        <a:pt x="137" y="190"/>
                      </a:cubicBezTo>
                      <a:cubicBezTo>
                        <a:pt x="138" y="190"/>
                        <a:pt x="138" y="190"/>
                        <a:pt x="138" y="190"/>
                      </a:cubicBezTo>
                      <a:cubicBezTo>
                        <a:pt x="138" y="190"/>
                        <a:pt x="138" y="190"/>
                        <a:pt x="138" y="190"/>
                      </a:cubicBezTo>
                      <a:cubicBezTo>
                        <a:pt x="138" y="190"/>
                        <a:pt x="138" y="190"/>
                        <a:pt x="138" y="190"/>
                      </a:cubicBezTo>
                      <a:cubicBezTo>
                        <a:pt x="138" y="190"/>
                        <a:pt x="138" y="190"/>
                        <a:pt x="139" y="190"/>
                      </a:cubicBezTo>
                      <a:cubicBezTo>
                        <a:pt x="139" y="190"/>
                        <a:pt x="139" y="190"/>
                        <a:pt x="139" y="190"/>
                      </a:cubicBezTo>
                      <a:cubicBezTo>
                        <a:pt x="139" y="190"/>
                        <a:pt x="139" y="190"/>
                        <a:pt x="139" y="190"/>
                      </a:cubicBezTo>
                      <a:cubicBezTo>
                        <a:pt x="139" y="190"/>
                        <a:pt x="139" y="190"/>
                        <a:pt x="139" y="190"/>
                      </a:cubicBezTo>
                      <a:cubicBezTo>
                        <a:pt x="139" y="190"/>
                        <a:pt x="139" y="190"/>
                        <a:pt x="139" y="190"/>
                      </a:cubicBezTo>
                      <a:cubicBezTo>
                        <a:pt x="139" y="190"/>
                        <a:pt x="140" y="189"/>
                        <a:pt x="140" y="189"/>
                      </a:cubicBezTo>
                      <a:cubicBezTo>
                        <a:pt x="140" y="189"/>
                        <a:pt x="140" y="189"/>
                        <a:pt x="140" y="189"/>
                      </a:cubicBezTo>
                      <a:cubicBezTo>
                        <a:pt x="185" y="163"/>
                        <a:pt x="185" y="163"/>
                        <a:pt x="185" y="163"/>
                      </a:cubicBezTo>
                      <a:cubicBezTo>
                        <a:pt x="186" y="163"/>
                        <a:pt x="186" y="162"/>
                        <a:pt x="186" y="161"/>
                      </a:cubicBezTo>
                      <a:cubicBezTo>
                        <a:pt x="186" y="108"/>
                        <a:pt x="186" y="108"/>
                        <a:pt x="186" y="108"/>
                      </a:cubicBezTo>
                      <a:cubicBezTo>
                        <a:pt x="186" y="108"/>
                        <a:pt x="186" y="108"/>
                        <a:pt x="186" y="108"/>
                      </a:cubicBezTo>
                      <a:moveTo>
                        <a:pt x="177" y="108"/>
                      </a:moveTo>
                      <a:cubicBezTo>
                        <a:pt x="138" y="131"/>
                        <a:pt x="138" y="131"/>
                        <a:pt x="138" y="131"/>
                      </a:cubicBezTo>
                      <a:cubicBezTo>
                        <a:pt x="99" y="108"/>
                        <a:pt x="99" y="108"/>
                        <a:pt x="99" y="108"/>
                      </a:cubicBezTo>
                      <a:cubicBezTo>
                        <a:pt x="138" y="86"/>
                        <a:pt x="138" y="86"/>
                        <a:pt x="138" y="86"/>
                      </a:cubicBezTo>
                      <a:lnTo>
                        <a:pt x="177" y="108"/>
                      </a:lnTo>
                      <a:close/>
                      <a:moveTo>
                        <a:pt x="51" y="35"/>
                      </a:moveTo>
                      <a:cubicBezTo>
                        <a:pt x="90" y="58"/>
                        <a:pt x="90" y="58"/>
                        <a:pt x="90" y="58"/>
                      </a:cubicBezTo>
                      <a:cubicBezTo>
                        <a:pt x="90" y="103"/>
                        <a:pt x="90" y="103"/>
                        <a:pt x="90" y="103"/>
                      </a:cubicBezTo>
                      <a:cubicBezTo>
                        <a:pt x="51" y="80"/>
                        <a:pt x="51" y="80"/>
                        <a:pt x="51" y="80"/>
                      </a:cubicBezTo>
                      <a:lnTo>
                        <a:pt x="51" y="35"/>
                      </a:lnTo>
                      <a:close/>
                      <a:moveTo>
                        <a:pt x="135" y="80"/>
                      </a:moveTo>
                      <a:cubicBezTo>
                        <a:pt x="96" y="103"/>
                        <a:pt x="96" y="103"/>
                        <a:pt x="96" y="103"/>
                      </a:cubicBezTo>
                      <a:cubicBezTo>
                        <a:pt x="96" y="58"/>
                        <a:pt x="96" y="58"/>
                        <a:pt x="96" y="58"/>
                      </a:cubicBezTo>
                      <a:cubicBezTo>
                        <a:pt x="135" y="35"/>
                        <a:pt x="135" y="35"/>
                        <a:pt x="135" y="35"/>
                      </a:cubicBezTo>
                      <a:lnTo>
                        <a:pt x="135" y="80"/>
                      </a:lnTo>
                      <a:close/>
                      <a:moveTo>
                        <a:pt x="90" y="159"/>
                      </a:moveTo>
                      <a:cubicBezTo>
                        <a:pt x="51" y="182"/>
                        <a:pt x="51" y="182"/>
                        <a:pt x="51" y="182"/>
                      </a:cubicBezTo>
                      <a:cubicBezTo>
                        <a:pt x="51" y="136"/>
                        <a:pt x="51" y="136"/>
                        <a:pt x="51" y="136"/>
                      </a:cubicBezTo>
                      <a:cubicBezTo>
                        <a:pt x="90" y="113"/>
                        <a:pt x="90" y="113"/>
                        <a:pt x="90" y="113"/>
                      </a:cubicBezTo>
                      <a:lnTo>
                        <a:pt x="90" y="159"/>
                      </a:lnTo>
                      <a:close/>
                      <a:moveTo>
                        <a:pt x="96" y="113"/>
                      </a:moveTo>
                      <a:cubicBezTo>
                        <a:pt x="135" y="136"/>
                        <a:pt x="135" y="136"/>
                        <a:pt x="135" y="136"/>
                      </a:cubicBezTo>
                      <a:cubicBezTo>
                        <a:pt x="135" y="182"/>
                        <a:pt x="135" y="182"/>
                        <a:pt x="135" y="182"/>
                      </a:cubicBezTo>
                      <a:cubicBezTo>
                        <a:pt x="96" y="159"/>
                        <a:pt x="96" y="159"/>
                        <a:pt x="96" y="159"/>
                      </a:cubicBezTo>
                      <a:lnTo>
                        <a:pt x="96" y="113"/>
                      </a:lnTo>
                      <a:close/>
                      <a:moveTo>
                        <a:pt x="93" y="7"/>
                      </a:moveTo>
                      <a:cubicBezTo>
                        <a:pt x="132" y="30"/>
                        <a:pt x="132" y="30"/>
                        <a:pt x="132" y="30"/>
                      </a:cubicBezTo>
                      <a:cubicBezTo>
                        <a:pt x="93" y="52"/>
                        <a:pt x="93" y="52"/>
                        <a:pt x="93" y="52"/>
                      </a:cubicBezTo>
                      <a:cubicBezTo>
                        <a:pt x="54" y="30"/>
                        <a:pt x="54" y="30"/>
                        <a:pt x="54" y="30"/>
                      </a:cubicBezTo>
                      <a:lnTo>
                        <a:pt x="93" y="7"/>
                      </a:lnTo>
                      <a:close/>
                      <a:moveTo>
                        <a:pt x="48" y="86"/>
                      </a:moveTo>
                      <a:cubicBezTo>
                        <a:pt x="87" y="108"/>
                        <a:pt x="87" y="108"/>
                        <a:pt x="87" y="108"/>
                      </a:cubicBezTo>
                      <a:cubicBezTo>
                        <a:pt x="48" y="131"/>
                        <a:pt x="48" y="131"/>
                        <a:pt x="48" y="131"/>
                      </a:cubicBezTo>
                      <a:cubicBezTo>
                        <a:pt x="9" y="108"/>
                        <a:pt x="9" y="108"/>
                        <a:pt x="9" y="108"/>
                      </a:cubicBezTo>
                      <a:lnTo>
                        <a:pt x="48" y="86"/>
                      </a:lnTo>
                      <a:close/>
                      <a:moveTo>
                        <a:pt x="6" y="113"/>
                      </a:moveTo>
                      <a:cubicBezTo>
                        <a:pt x="45" y="136"/>
                        <a:pt x="45" y="136"/>
                        <a:pt x="45" y="136"/>
                      </a:cubicBezTo>
                      <a:cubicBezTo>
                        <a:pt x="45" y="182"/>
                        <a:pt x="45" y="182"/>
                        <a:pt x="45" y="182"/>
                      </a:cubicBezTo>
                      <a:cubicBezTo>
                        <a:pt x="6" y="159"/>
                        <a:pt x="6" y="159"/>
                        <a:pt x="6" y="159"/>
                      </a:cubicBezTo>
                      <a:lnTo>
                        <a:pt x="6" y="113"/>
                      </a:lnTo>
                      <a:close/>
                      <a:moveTo>
                        <a:pt x="141" y="182"/>
                      </a:moveTo>
                      <a:cubicBezTo>
                        <a:pt x="141" y="136"/>
                        <a:pt x="141" y="136"/>
                        <a:pt x="141" y="136"/>
                      </a:cubicBezTo>
                      <a:cubicBezTo>
                        <a:pt x="180" y="113"/>
                        <a:pt x="180" y="113"/>
                        <a:pt x="180" y="113"/>
                      </a:cubicBezTo>
                      <a:cubicBezTo>
                        <a:pt x="180" y="159"/>
                        <a:pt x="180" y="159"/>
                        <a:pt x="180" y="159"/>
                      </a:cubicBezTo>
                      <a:lnTo>
                        <a:pt x="141" y="1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33"/>
                <p:cNvSpPr>
                  <a:spLocks/>
                </p:cNvSpPr>
                <p:nvPr/>
              </p:nvSpPr>
              <p:spPr bwMode="auto">
                <a:xfrm>
                  <a:off x="1330119" y="4067441"/>
                  <a:ext cx="33266" cy="22177"/>
                </a:xfrm>
                <a:custGeom>
                  <a:avLst/>
                  <a:gdLst>
                    <a:gd name="T0" fmla="*/ 27 w 28"/>
                    <a:gd name="T1" fmla="*/ 2 h 19"/>
                    <a:gd name="T2" fmla="*/ 23 w 28"/>
                    <a:gd name="T3" fmla="*/ 1 h 19"/>
                    <a:gd name="T4" fmla="*/ 2 w 28"/>
                    <a:gd name="T5" fmla="*/ 13 h 19"/>
                    <a:gd name="T6" fmla="*/ 1 w 28"/>
                    <a:gd name="T7" fmla="*/ 17 h 19"/>
                    <a:gd name="T8" fmla="*/ 3 w 28"/>
                    <a:gd name="T9" fmla="*/ 19 h 19"/>
                    <a:gd name="T10" fmla="*/ 5 w 28"/>
                    <a:gd name="T11" fmla="*/ 18 h 19"/>
                    <a:gd name="T12" fmla="*/ 26 w 28"/>
                    <a:gd name="T13" fmla="*/ 6 h 19"/>
                    <a:gd name="T14" fmla="*/ 27 w 28"/>
                    <a:gd name="T15" fmla="*/ 2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9">
                      <a:moveTo>
                        <a:pt x="27" y="2"/>
                      </a:moveTo>
                      <a:cubicBezTo>
                        <a:pt x="26" y="0"/>
                        <a:pt x="24" y="0"/>
                        <a:pt x="23" y="1"/>
                      </a:cubicBezTo>
                      <a:cubicBezTo>
                        <a:pt x="2" y="13"/>
                        <a:pt x="2" y="13"/>
                        <a:pt x="2" y="13"/>
                      </a:cubicBezTo>
                      <a:cubicBezTo>
                        <a:pt x="0" y="14"/>
                        <a:pt x="0" y="16"/>
                        <a:pt x="1" y="17"/>
                      </a:cubicBezTo>
                      <a:cubicBezTo>
                        <a:pt x="1" y="18"/>
                        <a:pt x="2" y="19"/>
                        <a:pt x="3" y="19"/>
                      </a:cubicBezTo>
                      <a:cubicBezTo>
                        <a:pt x="4" y="19"/>
                        <a:pt x="4" y="18"/>
                        <a:pt x="5" y="18"/>
                      </a:cubicBezTo>
                      <a:cubicBezTo>
                        <a:pt x="26" y="6"/>
                        <a:pt x="26" y="6"/>
                        <a:pt x="26" y="6"/>
                      </a:cubicBezTo>
                      <a:cubicBezTo>
                        <a:pt x="27" y="5"/>
                        <a:pt x="28" y="3"/>
                        <a:pt x="27"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4"/>
                <p:cNvSpPr>
                  <a:spLocks/>
                </p:cNvSpPr>
                <p:nvPr/>
              </p:nvSpPr>
              <p:spPr bwMode="auto">
                <a:xfrm>
                  <a:off x="1222762" y="4067441"/>
                  <a:ext cx="33266" cy="22177"/>
                </a:xfrm>
                <a:custGeom>
                  <a:avLst/>
                  <a:gdLst>
                    <a:gd name="T0" fmla="*/ 27 w 28"/>
                    <a:gd name="T1" fmla="*/ 2 h 19"/>
                    <a:gd name="T2" fmla="*/ 23 w 28"/>
                    <a:gd name="T3" fmla="*/ 1 h 19"/>
                    <a:gd name="T4" fmla="*/ 2 w 28"/>
                    <a:gd name="T5" fmla="*/ 13 h 19"/>
                    <a:gd name="T6" fmla="*/ 1 w 28"/>
                    <a:gd name="T7" fmla="*/ 17 h 19"/>
                    <a:gd name="T8" fmla="*/ 3 w 28"/>
                    <a:gd name="T9" fmla="*/ 19 h 19"/>
                    <a:gd name="T10" fmla="*/ 5 w 28"/>
                    <a:gd name="T11" fmla="*/ 18 h 19"/>
                    <a:gd name="T12" fmla="*/ 26 w 28"/>
                    <a:gd name="T13" fmla="*/ 6 h 19"/>
                    <a:gd name="T14" fmla="*/ 27 w 28"/>
                    <a:gd name="T15" fmla="*/ 2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9">
                      <a:moveTo>
                        <a:pt x="27" y="2"/>
                      </a:moveTo>
                      <a:cubicBezTo>
                        <a:pt x="26" y="0"/>
                        <a:pt x="24" y="0"/>
                        <a:pt x="23" y="1"/>
                      </a:cubicBezTo>
                      <a:cubicBezTo>
                        <a:pt x="2" y="13"/>
                        <a:pt x="2" y="13"/>
                        <a:pt x="2" y="13"/>
                      </a:cubicBezTo>
                      <a:cubicBezTo>
                        <a:pt x="0" y="14"/>
                        <a:pt x="0" y="16"/>
                        <a:pt x="1" y="17"/>
                      </a:cubicBezTo>
                      <a:cubicBezTo>
                        <a:pt x="1" y="18"/>
                        <a:pt x="2" y="19"/>
                        <a:pt x="3" y="19"/>
                      </a:cubicBezTo>
                      <a:cubicBezTo>
                        <a:pt x="4" y="19"/>
                        <a:pt x="4" y="18"/>
                        <a:pt x="5" y="18"/>
                      </a:cubicBezTo>
                      <a:cubicBezTo>
                        <a:pt x="26" y="6"/>
                        <a:pt x="26" y="6"/>
                        <a:pt x="26" y="6"/>
                      </a:cubicBezTo>
                      <a:cubicBezTo>
                        <a:pt x="27" y="5"/>
                        <a:pt x="28" y="3"/>
                        <a:pt x="27"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6" name="Freeform 35"/>
                <p:cNvSpPr>
                  <a:spLocks/>
                </p:cNvSpPr>
                <p:nvPr/>
              </p:nvSpPr>
              <p:spPr bwMode="auto">
                <a:xfrm>
                  <a:off x="1383545" y="4067441"/>
                  <a:ext cx="33266" cy="22177"/>
                </a:xfrm>
                <a:custGeom>
                  <a:avLst/>
                  <a:gdLst>
                    <a:gd name="T0" fmla="*/ 26 w 28"/>
                    <a:gd name="T1" fmla="*/ 13 h 19"/>
                    <a:gd name="T2" fmla="*/ 5 w 28"/>
                    <a:gd name="T3" fmla="*/ 1 h 19"/>
                    <a:gd name="T4" fmla="*/ 1 w 28"/>
                    <a:gd name="T5" fmla="*/ 2 h 19"/>
                    <a:gd name="T6" fmla="*/ 2 w 28"/>
                    <a:gd name="T7" fmla="*/ 6 h 19"/>
                    <a:gd name="T8" fmla="*/ 23 w 28"/>
                    <a:gd name="T9" fmla="*/ 18 h 19"/>
                    <a:gd name="T10" fmla="*/ 24 w 28"/>
                    <a:gd name="T11" fmla="*/ 19 h 19"/>
                    <a:gd name="T12" fmla="*/ 27 w 28"/>
                    <a:gd name="T13" fmla="*/ 17 h 19"/>
                    <a:gd name="T14" fmla="*/ 26 w 28"/>
                    <a:gd name="T15" fmla="*/ 1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9">
                      <a:moveTo>
                        <a:pt x="26" y="13"/>
                      </a:moveTo>
                      <a:cubicBezTo>
                        <a:pt x="5" y="1"/>
                        <a:pt x="5" y="1"/>
                        <a:pt x="5" y="1"/>
                      </a:cubicBezTo>
                      <a:cubicBezTo>
                        <a:pt x="3" y="0"/>
                        <a:pt x="1" y="0"/>
                        <a:pt x="1" y="2"/>
                      </a:cubicBezTo>
                      <a:cubicBezTo>
                        <a:pt x="0" y="3"/>
                        <a:pt x="0" y="5"/>
                        <a:pt x="2" y="6"/>
                      </a:cubicBezTo>
                      <a:cubicBezTo>
                        <a:pt x="23" y="18"/>
                        <a:pt x="23" y="18"/>
                        <a:pt x="23" y="18"/>
                      </a:cubicBezTo>
                      <a:cubicBezTo>
                        <a:pt x="23" y="18"/>
                        <a:pt x="24" y="19"/>
                        <a:pt x="24" y="19"/>
                      </a:cubicBezTo>
                      <a:cubicBezTo>
                        <a:pt x="25" y="19"/>
                        <a:pt x="26" y="18"/>
                        <a:pt x="27" y="17"/>
                      </a:cubicBezTo>
                      <a:cubicBezTo>
                        <a:pt x="28" y="16"/>
                        <a:pt x="27" y="14"/>
                        <a:pt x="26"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22" name="Straight Connector 21"/>
              <p:cNvCxnSpPr/>
              <p:nvPr/>
            </p:nvCxnSpPr>
            <p:spPr>
              <a:xfrm>
                <a:off x="2712968" y="4114800"/>
                <a:ext cx="97638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1760061" y="4175008"/>
                <a:ext cx="2900153" cy="172355"/>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pPr algn="ctr"/>
                <a:r>
                  <a:rPr lang="en-US" sz="1000" dirty="0">
                    <a:solidFill>
                      <a:srgbClr val="FFFFFF"/>
                    </a:solidFill>
                    <a:latin typeface="+mj-lt"/>
                  </a:rPr>
                  <a:t>Physical &amp; Virtual Infrastructure | App Hosting</a:t>
                </a:r>
              </a:p>
            </p:txBody>
          </p:sp>
          <p:sp>
            <p:nvSpPr>
              <p:cNvPr id="29" name="Rectangle 28"/>
              <p:cNvSpPr/>
              <p:nvPr/>
            </p:nvSpPr>
            <p:spPr>
              <a:xfrm>
                <a:off x="2625683" y="3866176"/>
                <a:ext cx="1168910" cy="218521"/>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pPr algn="ctr"/>
                <a:r>
                  <a:rPr lang="en-US" sz="1300" dirty="0">
                    <a:solidFill>
                      <a:srgbClr val="FFFFFF"/>
                    </a:solidFill>
                    <a:latin typeface="+mj-lt"/>
                  </a:rPr>
                  <a:t>Virtualization</a:t>
                </a:r>
              </a:p>
            </p:txBody>
          </p:sp>
        </p:grpSp>
        <p:grpSp>
          <p:nvGrpSpPr>
            <p:cNvPr id="4101" name="Group 4100"/>
            <p:cNvGrpSpPr/>
            <p:nvPr/>
          </p:nvGrpSpPr>
          <p:grpSpPr>
            <a:xfrm>
              <a:off x="1081131" y="2702545"/>
              <a:ext cx="2038272" cy="830127"/>
              <a:chOff x="1081131" y="2702545"/>
              <a:chExt cx="2038272" cy="830127"/>
            </a:xfrm>
          </p:grpSpPr>
          <p:sp>
            <p:nvSpPr>
              <p:cNvPr id="49" name="Rectangle 20"/>
              <p:cNvSpPr>
                <a:spLocks noChangeArrowheads="1"/>
              </p:cNvSpPr>
              <p:nvPr/>
            </p:nvSpPr>
            <p:spPr bwMode="auto">
              <a:xfrm>
                <a:off x="1081131" y="2702545"/>
                <a:ext cx="2038272" cy="830127"/>
              </a:xfrm>
              <a:prstGeom prst="rect">
                <a:avLst/>
              </a:prstGeom>
              <a:solidFill>
                <a:srgbClr val="19A72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cxnSp>
            <p:nvCxnSpPr>
              <p:cNvPr id="17" name="Straight Connector 16"/>
              <p:cNvCxnSpPr/>
              <p:nvPr/>
            </p:nvCxnSpPr>
            <p:spPr>
              <a:xfrm>
                <a:off x="1619250" y="3028950"/>
                <a:ext cx="93345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1171390" y="3088414"/>
                <a:ext cx="1854995" cy="326243"/>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pPr algn="ctr"/>
                <a:r>
                  <a:rPr lang="en-US" sz="1000" dirty="0">
                    <a:solidFill>
                      <a:srgbClr val="FFFFFF"/>
                    </a:solidFill>
                    <a:latin typeface="+mj-lt"/>
                  </a:rPr>
                  <a:t>Abstraction &amp; Policy Control</a:t>
                </a:r>
              </a:p>
              <a:p>
                <a:pPr algn="ctr"/>
                <a:r>
                  <a:rPr lang="en-US" sz="1000" dirty="0">
                    <a:solidFill>
                      <a:srgbClr val="FFFFFF"/>
                    </a:solidFill>
                    <a:latin typeface="+mj-lt"/>
                  </a:rPr>
                  <a:t>from Core to Edge</a:t>
                </a:r>
              </a:p>
            </p:txBody>
          </p:sp>
          <p:sp>
            <p:nvSpPr>
              <p:cNvPr id="30" name="Rectangle 29"/>
              <p:cNvSpPr/>
              <p:nvPr/>
            </p:nvSpPr>
            <p:spPr>
              <a:xfrm>
                <a:off x="1562941" y="2767626"/>
                <a:ext cx="1071895" cy="218521"/>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pPr algn="ctr"/>
                <a:r>
                  <a:rPr lang="en-US" sz="1300" dirty="0">
                    <a:solidFill>
                      <a:srgbClr val="FFFFFF"/>
                    </a:solidFill>
                    <a:latin typeface="+mj-lt"/>
                  </a:rPr>
                  <a:t>Automation</a:t>
                </a:r>
              </a:p>
            </p:txBody>
          </p:sp>
        </p:grpSp>
        <p:grpSp>
          <p:nvGrpSpPr>
            <p:cNvPr id="4100" name="Group 4099"/>
            <p:cNvGrpSpPr/>
            <p:nvPr/>
          </p:nvGrpSpPr>
          <p:grpSpPr>
            <a:xfrm>
              <a:off x="3305388" y="2702545"/>
              <a:ext cx="2036760" cy="830127"/>
              <a:chOff x="3305388" y="2702545"/>
              <a:chExt cx="2036760" cy="830127"/>
            </a:xfrm>
          </p:grpSpPr>
          <p:sp>
            <p:nvSpPr>
              <p:cNvPr id="52" name="Rectangle 23"/>
              <p:cNvSpPr>
                <a:spLocks noChangeArrowheads="1"/>
              </p:cNvSpPr>
              <p:nvPr/>
            </p:nvSpPr>
            <p:spPr bwMode="auto">
              <a:xfrm>
                <a:off x="3305388" y="2702545"/>
                <a:ext cx="2036760" cy="830127"/>
              </a:xfrm>
              <a:prstGeom prst="rect">
                <a:avLst/>
              </a:prstGeom>
              <a:solidFill>
                <a:srgbClr val="0A4E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099" name="Group 4098"/>
              <p:cNvGrpSpPr/>
              <p:nvPr/>
            </p:nvGrpSpPr>
            <p:grpSpPr>
              <a:xfrm>
                <a:off x="3424338" y="2821998"/>
                <a:ext cx="242939" cy="243948"/>
                <a:chOff x="3424338" y="2821998"/>
                <a:chExt cx="242939" cy="243948"/>
              </a:xfrm>
            </p:grpSpPr>
            <p:sp>
              <p:nvSpPr>
                <p:cNvPr id="54" name="Freeform 25"/>
                <p:cNvSpPr>
                  <a:spLocks noEditPoints="1"/>
                </p:cNvSpPr>
                <p:nvPr/>
              </p:nvSpPr>
              <p:spPr bwMode="auto">
                <a:xfrm>
                  <a:off x="3424338" y="2821998"/>
                  <a:ext cx="242939" cy="243948"/>
                </a:xfrm>
                <a:custGeom>
                  <a:avLst/>
                  <a:gdLst>
                    <a:gd name="T0" fmla="*/ 137 w 204"/>
                    <a:gd name="T1" fmla="*/ 0 h 205"/>
                    <a:gd name="T2" fmla="*/ 70 w 204"/>
                    <a:gd name="T3" fmla="*/ 67 h 205"/>
                    <a:gd name="T4" fmla="*/ 86 w 204"/>
                    <a:gd name="T5" fmla="*/ 110 h 205"/>
                    <a:gd name="T6" fmla="*/ 76 w 204"/>
                    <a:gd name="T7" fmla="*/ 119 h 205"/>
                    <a:gd name="T8" fmla="*/ 72 w 204"/>
                    <a:gd name="T9" fmla="*/ 115 h 205"/>
                    <a:gd name="T10" fmla="*/ 63 w 204"/>
                    <a:gd name="T11" fmla="*/ 115 h 205"/>
                    <a:gd name="T12" fmla="*/ 5 w 204"/>
                    <a:gd name="T13" fmla="*/ 173 h 205"/>
                    <a:gd name="T14" fmla="*/ 0 w 204"/>
                    <a:gd name="T15" fmla="*/ 186 h 205"/>
                    <a:gd name="T16" fmla="*/ 5 w 204"/>
                    <a:gd name="T17" fmla="*/ 199 h 205"/>
                    <a:gd name="T18" fmla="*/ 19 w 204"/>
                    <a:gd name="T19" fmla="*/ 205 h 205"/>
                    <a:gd name="T20" fmla="*/ 32 w 204"/>
                    <a:gd name="T21" fmla="*/ 199 h 205"/>
                    <a:gd name="T22" fmla="*/ 90 w 204"/>
                    <a:gd name="T23" fmla="*/ 142 h 205"/>
                    <a:gd name="T24" fmla="*/ 90 w 204"/>
                    <a:gd name="T25" fmla="*/ 133 h 205"/>
                    <a:gd name="T26" fmla="*/ 85 w 204"/>
                    <a:gd name="T27" fmla="*/ 128 h 205"/>
                    <a:gd name="T28" fmla="*/ 95 w 204"/>
                    <a:gd name="T29" fmla="*/ 118 h 205"/>
                    <a:gd name="T30" fmla="*/ 137 w 204"/>
                    <a:gd name="T31" fmla="*/ 134 h 205"/>
                    <a:gd name="T32" fmla="*/ 204 w 204"/>
                    <a:gd name="T33" fmla="*/ 67 h 205"/>
                    <a:gd name="T34" fmla="*/ 137 w 204"/>
                    <a:gd name="T35" fmla="*/ 0 h 205"/>
                    <a:gd name="T36" fmla="*/ 191 w 204"/>
                    <a:gd name="T37" fmla="*/ 67 h 205"/>
                    <a:gd name="T38" fmla="*/ 137 w 204"/>
                    <a:gd name="T39" fmla="*/ 121 h 205"/>
                    <a:gd name="T40" fmla="*/ 83 w 204"/>
                    <a:gd name="T41" fmla="*/ 67 h 205"/>
                    <a:gd name="T42" fmla="*/ 137 w 204"/>
                    <a:gd name="T43" fmla="*/ 12 h 205"/>
                    <a:gd name="T44" fmla="*/ 191 w 204"/>
                    <a:gd name="T45" fmla="*/ 67 h 205"/>
                    <a:gd name="T46" fmla="*/ 76 w 204"/>
                    <a:gd name="T47" fmla="*/ 137 h 205"/>
                    <a:gd name="T48" fmla="*/ 23 w 204"/>
                    <a:gd name="T49" fmla="*/ 190 h 205"/>
                    <a:gd name="T50" fmla="*/ 14 w 204"/>
                    <a:gd name="T51" fmla="*/ 190 h 205"/>
                    <a:gd name="T52" fmla="*/ 12 w 204"/>
                    <a:gd name="T53" fmla="*/ 186 h 205"/>
                    <a:gd name="T54" fmla="*/ 14 w 204"/>
                    <a:gd name="T55" fmla="*/ 181 h 205"/>
                    <a:gd name="T56" fmla="*/ 67 w 204"/>
                    <a:gd name="T57" fmla="*/ 128 h 205"/>
                    <a:gd name="T58" fmla="*/ 76 w 204"/>
                    <a:gd name="T59" fmla="*/ 13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4" h="205">
                      <a:moveTo>
                        <a:pt x="137" y="0"/>
                      </a:moveTo>
                      <a:cubicBezTo>
                        <a:pt x="100" y="0"/>
                        <a:pt x="70" y="30"/>
                        <a:pt x="70" y="67"/>
                      </a:cubicBezTo>
                      <a:cubicBezTo>
                        <a:pt x="70" y="82"/>
                        <a:pt x="76" y="98"/>
                        <a:pt x="86" y="110"/>
                      </a:cubicBezTo>
                      <a:cubicBezTo>
                        <a:pt x="76" y="119"/>
                        <a:pt x="76" y="119"/>
                        <a:pt x="76" y="119"/>
                      </a:cubicBezTo>
                      <a:cubicBezTo>
                        <a:pt x="72" y="115"/>
                        <a:pt x="72" y="115"/>
                        <a:pt x="72" y="115"/>
                      </a:cubicBezTo>
                      <a:cubicBezTo>
                        <a:pt x="69" y="113"/>
                        <a:pt x="65" y="113"/>
                        <a:pt x="63" y="115"/>
                      </a:cubicBezTo>
                      <a:cubicBezTo>
                        <a:pt x="5" y="173"/>
                        <a:pt x="5" y="173"/>
                        <a:pt x="5" y="173"/>
                      </a:cubicBezTo>
                      <a:cubicBezTo>
                        <a:pt x="2" y="176"/>
                        <a:pt x="0" y="181"/>
                        <a:pt x="0" y="186"/>
                      </a:cubicBezTo>
                      <a:cubicBezTo>
                        <a:pt x="0" y="191"/>
                        <a:pt x="2" y="196"/>
                        <a:pt x="5" y="199"/>
                      </a:cubicBezTo>
                      <a:cubicBezTo>
                        <a:pt x="9" y="203"/>
                        <a:pt x="14" y="205"/>
                        <a:pt x="19" y="205"/>
                      </a:cubicBezTo>
                      <a:cubicBezTo>
                        <a:pt x="24" y="205"/>
                        <a:pt x="29" y="203"/>
                        <a:pt x="32" y="199"/>
                      </a:cubicBezTo>
                      <a:cubicBezTo>
                        <a:pt x="90" y="142"/>
                        <a:pt x="90" y="142"/>
                        <a:pt x="90" y="142"/>
                      </a:cubicBezTo>
                      <a:cubicBezTo>
                        <a:pt x="92" y="139"/>
                        <a:pt x="92" y="135"/>
                        <a:pt x="90" y="133"/>
                      </a:cubicBezTo>
                      <a:cubicBezTo>
                        <a:pt x="85" y="128"/>
                        <a:pt x="85" y="128"/>
                        <a:pt x="85" y="128"/>
                      </a:cubicBezTo>
                      <a:cubicBezTo>
                        <a:pt x="95" y="118"/>
                        <a:pt x="95" y="118"/>
                        <a:pt x="95" y="118"/>
                      </a:cubicBezTo>
                      <a:cubicBezTo>
                        <a:pt x="107" y="128"/>
                        <a:pt x="122" y="134"/>
                        <a:pt x="137" y="134"/>
                      </a:cubicBezTo>
                      <a:cubicBezTo>
                        <a:pt x="174" y="134"/>
                        <a:pt x="204" y="104"/>
                        <a:pt x="204" y="67"/>
                      </a:cubicBezTo>
                      <a:cubicBezTo>
                        <a:pt x="204" y="30"/>
                        <a:pt x="174" y="0"/>
                        <a:pt x="137" y="0"/>
                      </a:cubicBezTo>
                      <a:moveTo>
                        <a:pt x="191" y="67"/>
                      </a:moveTo>
                      <a:cubicBezTo>
                        <a:pt x="191" y="97"/>
                        <a:pt x="167" y="121"/>
                        <a:pt x="137" y="121"/>
                      </a:cubicBezTo>
                      <a:cubicBezTo>
                        <a:pt x="107" y="121"/>
                        <a:pt x="83" y="97"/>
                        <a:pt x="83" y="67"/>
                      </a:cubicBezTo>
                      <a:cubicBezTo>
                        <a:pt x="83" y="37"/>
                        <a:pt x="107" y="12"/>
                        <a:pt x="137" y="12"/>
                      </a:cubicBezTo>
                      <a:cubicBezTo>
                        <a:pt x="167" y="12"/>
                        <a:pt x="191" y="37"/>
                        <a:pt x="191" y="67"/>
                      </a:cubicBezTo>
                      <a:moveTo>
                        <a:pt x="76" y="137"/>
                      </a:moveTo>
                      <a:cubicBezTo>
                        <a:pt x="23" y="190"/>
                        <a:pt x="23" y="190"/>
                        <a:pt x="23" y="190"/>
                      </a:cubicBezTo>
                      <a:cubicBezTo>
                        <a:pt x="21" y="193"/>
                        <a:pt x="17" y="193"/>
                        <a:pt x="14" y="190"/>
                      </a:cubicBezTo>
                      <a:cubicBezTo>
                        <a:pt x="13" y="189"/>
                        <a:pt x="12" y="188"/>
                        <a:pt x="12" y="186"/>
                      </a:cubicBezTo>
                      <a:cubicBezTo>
                        <a:pt x="12" y="184"/>
                        <a:pt x="13" y="183"/>
                        <a:pt x="14" y="181"/>
                      </a:cubicBezTo>
                      <a:cubicBezTo>
                        <a:pt x="67" y="128"/>
                        <a:pt x="67" y="128"/>
                        <a:pt x="67" y="128"/>
                      </a:cubicBezTo>
                      <a:lnTo>
                        <a:pt x="76" y="1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6"/>
                <p:cNvSpPr>
                  <a:spLocks/>
                </p:cNvSpPr>
                <p:nvPr/>
              </p:nvSpPr>
              <p:spPr bwMode="auto">
                <a:xfrm>
                  <a:off x="3607802" y="2887521"/>
                  <a:ext cx="10585" cy="11593"/>
                </a:xfrm>
                <a:custGeom>
                  <a:avLst/>
                  <a:gdLst>
                    <a:gd name="T0" fmla="*/ 6 w 9"/>
                    <a:gd name="T1" fmla="*/ 1 h 10"/>
                    <a:gd name="T2" fmla="*/ 1 w 9"/>
                    <a:gd name="T3" fmla="*/ 3 h 10"/>
                    <a:gd name="T4" fmla="*/ 1 w 9"/>
                    <a:gd name="T5" fmla="*/ 4 h 10"/>
                    <a:gd name="T6" fmla="*/ 2 w 9"/>
                    <a:gd name="T7" fmla="*/ 9 h 10"/>
                    <a:gd name="T8" fmla="*/ 4 w 9"/>
                    <a:gd name="T9" fmla="*/ 10 h 10"/>
                    <a:gd name="T10" fmla="*/ 8 w 9"/>
                    <a:gd name="T11" fmla="*/ 8 h 10"/>
                    <a:gd name="T12" fmla="*/ 8 w 9"/>
                    <a:gd name="T13" fmla="*/ 6 h 10"/>
                    <a:gd name="T14" fmla="*/ 6 w 9"/>
                    <a:gd name="T15" fmla="*/ 1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6" y="1"/>
                      </a:moveTo>
                      <a:cubicBezTo>
                        <a:pt x="4" y="0"/>
                        <a:pt x="2" y="1"/>
                        <a:pt x="1" y="3"/>
                      </a:cubicBezTo>
                      <a:cubicBezTo>
                        <a:pt x="1" y="4"/>
                        <a:pt x="1" y="4"/>
                        <a:pt x="1" y="4"/>
                      </a:cubicBezTo>
                      <a:cubicBezTo>
                        <a:pt x="0" y="6"/>
                        <a:pt x="0" y="9"/>
                        <a:pt x="2" y="9"/>
                      </a:cubicBezTo>
                      <a:cubicBezTo>
                        <a:pt x="3" y="10"/>
                        <a:pt x="4" y="10"/>
                        <a:pt x="4" y="10"/>
                      </a:cubicBezTo>
                      <a:cubicBezTo>
                        <a:pt x="6" y="10"/>
                        <a:pt x="7" y="9"/>
                        <a:pt x="8" y="8"/>
                      </a:cubicBezTo>
                      <a:cubicBezTo>
                        <a:pt x="8" y="6"/>
                        <a:pt x="8" y="6"/>
                        <a:pt x="8" y="6"/>
                      </a:cubicBezTo>
                      <a:cubicBezTo>
                        <a:pt x="9" y="4"/>
                        <a:pt x="8" y="2"/>
                        <a:pt x="6"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7"/>
                <p:cNvSpPr>
                  <a:spLocks noEditPoints="1"/>
                </p:cNvSpPr>
                <p:nvPr/>
              </p:nvSpPr>
              <p:spPr bwMode="auto">
                <a:xfrm>
                  <a:off x="3531191" y="2874417"/>
                  <a:ext cx="81148" cy="74596"/>
                </a:xfrm>
                <a:custGeom>
                  <a:avLst/>
                  <a:gdLst>
                    <a:gd name="T0" fmla="*/ 65 w 68"/>
                    <a:gd name="T1" fmla="*/ 24 h 63"/>
                    <a:gd name="T2" fmla="*/ 59 w 68"/>
                    <a:gd name="T3" fmla="*/ 26 h 63"/>
                    <a:gd name="T4" fmla="*/ 53 w 68"/>
                    <a:gd name="T5" fmla="*/ 40 h 63"/>
                    <a:gd name="T6" fmla="*/ 52 w 68"/>
                    <a:gd name="T7" fmla="*/ 40 h 63"/>
                    <a:gd name="T8" fmla="*/ 50 w 68"/>
                    <a:gd name="T9" fmla="*/ 40 h 63"/>
                    <a:gd name="T10" fmla="*/ 37 w 68"/>
                    <a:gd name="T11" fmla="*/ 19 h 63"/>
                    <a:gd name="T12" fmla="*/ 40 w 68"/>
                    <a:gd name="T13" fmla="*/ 12 h 63"/>
                    <a:gd name="T14" fmla="*/ 28 w 68"/>
                    <a:gd name="T15" fmla="*/ 0 h 63"/>
                    <a:gd name="T16" fmla="*/ 16 w 68"/>
                    <a:gd name="T17" fmla="*/ 12 h 63"/>
                    <a:gd name="T18" fmla="*/ 19 w 68"/>
                    <a:gd name="T19" fmla="*/ 18 h 63"/>
                    <a:gd name="T20" fmla="*/ 14 w 68"/>
                    <a:gd name="T21" fmla="*/ 25 h 63"/>
                    <a:gd name="T22" fmla="*/ 11 w 68"/>
                    <a:gd name="T23" fmla="*/ 24 h 63"/>
                    <a:gd name="T24" fmla="*/ 0 w 68"/>
                    <a:gd name="T25" fmla="*/ 36 h 63"/>
                    <a:gd name="T26" fmla="*/ 11 w 68"/>
                    <a:gd name="T27" fmla="*/ 48 h 63"/>
                    <a:gd name="T28" fmla="*/ 23 w 68"/>
                    <a:gd name="T29" fmla="*/ 36 h 63"/>
                    <a:gd name="T30" fmla="*/ 21 w 68"/>
                    <a:gd name="T31" fmla="*/ 29 h 63"/>
                    <a:gd name="T32" fmla="*/ 25 w 68"/>
                    <a:gd name="T33" fmla="*/ 23 h 63"/>
                    <a:gd name="T34" fmla="*/ 28 w 68"/>
                    <a:gd name="T35" fmla="*/ 23 h 63"/>
                    <a:gd name="T36" fmla="*/ 30 w 68"/>
                    <a:gd name="T37" fmla="*/ 23 h 63"/>
                    <a:gd name="T38" fmla="*/ 43 w 68"/>
                    <a:gd name="T39" fmla="*/ 44 h 63"/>
                    <a:gd name="T40" fmla="*/ 40 w 68"/>
                    <a:gd name="T41" fmla="*/ 52 h 63"/>
                    <a:gd name="T42" fmla="*/ 52 w 68"/>
                    <a:gd name="T43" fmla="*/ 63 h 63"/>
                    <a:gd name="T44" fmla="*/ 63 w 68"/>
                    <a:gd name="T45" fmla="*/ 52 h 63"/>
                    <a:gd name="T46" fmla="*/ 60 w 68"/>
                    <a:gd name="T47" fmla="*/ 44 h 63"/>
                    <a:gd name="T48" fmla="*/ 67 w 68"/>
                    <a:gd name="T49" fmla="*/ 29 h 63"/>
                    <a:gd name="T50" fmla="*/ 65 w 68"/>
                    <a:gd name="T51" fmla="*/ 24 h 63"/>
                    <a:gd name="T52" fmla="*/ 11 w 68"/>
                    <a:gd name="T53" fmla="*/ 40 h 63"/>
                    <a:gd name="T54" fmla="*/ 8 w 68"/>
                    <a:gd name="T55" fmla="*/ 36 h 63"/>
                    <a:gd name="T56" fmla="*/ 11 w 68"/>
                    <a:gd name="T57" fmla="*/ 32 h 63"/>
                    <a:gd name="T58" fmla="*/ 15 w 68"/>
                    <a:gd name="T59" fmla="*/ 36 h 63"/>
                    <a:gd name="T60" fmla="*/ 11 w 68"/>
                    <a:gd name="T61" fmla="*/ 40 h 63"/>
                    <a:gd name="T62" fmla="*/ 24 w 68"/>
                    <a:gd name="T63" fmla="*/ 12 h 63"/>
                    <a:gd name="T64" fmla="*/ 28 w 68"/>
                    <a:gd name="T65" fmla="*/ 8 h 63"/>
                    <a:gd name="T66" fmla="*/ 32 w 68"/>
                    <a:gd name="T67" fmla="*/ 12 h 63"/>
                    <a:gd name="T68" fmla="*/ 28 w 68"/>
                    <a:gd name="T69" fmla="*/ 15 h 63"/>
                    <a:gd name="T70" fmla="*/ 24 w 68"/>
                    <a:gd name="T71" fmla="*/ 12 h 63"/>
                    <a:gd name="T72" fmla="*/ 52 w 68"/>
                    <a:gd name="T73" fmla="*/ 56 h 63"/>
                    <a:gd name="T74" fmla="*/ 48 w 68"/>
                    <a:gd name="T75" fmla="*/ 52 h 63"/>
                    <a:gd name="T76" fmla="*/ 52 w 68"/>
                    <a:gd name="T77" fmla="*/ 48 h 63"/>
                    <a:gd name="T78" fmla="*/ 55 w 68"/>
                    <a:gd name="T79" fmla="*/ 52 h 63"/>
                    <a:gd name="T80" fmla="*/ 52 w 68"/>
                    <a:gd name="T81" fmla="*/ 5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8" h="63">
                      <a:moveTo>
                        <a:pt x="65" y="24"/>
                      </a:moveTo>
                      <a:cubicBezTo>
                        <a:pt x="63" y="23"/>
                        <a:pt x="60" y="24"/>
                        <a:pt x="59" y="26"/>
                      </a:cubicBezTo>
                      <a:cubicBezTo>
                        <a:pt x="53" y="40"/>
                        <a:pt x="53" y="40"/>
                        <a:pt x="53" y="40"/>
                      </a:cubicBezTo>
                      <a:cubicBezTo>
                        <a:pt x="52" y="40"/>
                        <a:pt x="52" y="40"/>
                        <a:pt x="52" y="40"/>
                      </a:cubicBezTo>
                      <a:cubicBezTo>
                        <a:pt x="51" y="40"/>
                        <a:pt x="50" y="40"/>
                        <a:pt x="50" y="40"/>
                      </a:cubicBezTo>
                      <a:cubicBezTo>
                        <a:pt x="37" y="19"/>
                        <a:pt x="37" y="19"/>
                        <a:pt x="37" y="19"/>
                      </a:cubicBezTo>
                      <a:cubicBezTo>
                        <a:pt x="39" y="17"/>
                        <a:pt x="40" y="14"/>
                        <a:pt x="40" y="12"/>
                      </a:cubicBezTo>
                      <a:cubicBezTo>
                        <a:pt x="40" y="5"/>
                        <a:pt x="35" y="0"/>
                        <a:pt x="28" y="0"/>
                      </a:cubicBezTo>
                      <a:cubicBezTo>
                        <a:pt x="22" y="0"/>
                        <a:pt x="16" y="5"/>
                        <a:pt x="16" y="12"/>
                      </a:cubicBezTo>
                      <a:cubicBezTo>
                        <a:pt x="16" y="14"/>
                        <a:pt x="17" y="16"/>
                        <a:pt x="19" y="18"/>
                      </a:cubicBezTo>
                      <a:cubicBezTo>
                        <a:pt x="14" y="25"/>
                        <a:pt x="14" y="25"/>
                        <a:pt x="14" y="25"/>
                      </a:cubicBezTo>
                      <a:cubicBezTo>
                        <a:pt x="13" y="24"/>
                        <a:pt x="12" y="24"/>
                        <a:pt x="11" y="24"/>
                      </a:cubicBezTo>
                      <a:cubicBezTo>
                        <a:pt x="5" y="24"/>
                        <a:pt x="0" y="30"/>
                        <a:pt x="0" y="36"/>
                      </a:cubicBezTo>
                      <a:cubicBezTo>
                        <a:pt x="0" y="42"/>
                        <a:pt x="5" y="48"/>
                        <a:pt x="11" y="48"/>
                      </a:cubicBezTo>
                      <a:cubicBezTo>
                        <a:pt x="18" y="48"/>
                        <a:pt x="23" y="42"/>
                        <a:pt x="23" y="36"/>
                      </a:cubicBezTo>
                      <a:cubicBezTo>
                        <a:pt x="23" y="33"/>
                        <a:pt x="22" y="31"/>
                        <a:pt x="21" y="29"/>
                      </a:cubicBezTo>
                      <a:cubicBezTo>
                        <a:pt x="25" y="23"/>
                        <a:pt x="25" y="23"/>
                        <a:pt x="25" y="23"/>
                      </a:cubicBezTo>
                      <a:cubicBezTo>
                        <a:pt x="26" y="23"/>
                        <a:pt x="27" y="23"/>
                        <a:pt x="28" y="23"/>
                      </a:cubicBezTo>
                      <a:cubicBezTo>
                        <a:pt x="29" y="23"/>
                        <a:pt x="30" y="23"/>
                        <a:pt x="30" y="23"/>
                      </a:cubicBezTo>
                      <a:cubicBezTo>
                        <a:pt x="43" y="44"/>
                        <a:pt x="43" y="44"/>
                        <a:pt x="43" y="44"/>
                      </a:cubicBezTo>
                      <a:cubicBezTo>
                        <a:pt x="41" y="46"/>
                        <a:pt x="40" y="49"/>
                        <a:pt x="40" y="52"/>
                      </a:cubicBezTo>
                      <a:cubicBezTo>
                        <a:pt x="40" y="58"/>
                        <a:pt x="45" y="63"/>
                        <a:pt x="52" y="63"/>
                      </a:cubicBezTo>
                      <a:cubicBezTo>
                        <a:pt x="58" y="63"/>
                        <a:pt x="63" y="58"/>
                        <a:pt x="63" y="52"/>
                      </a:cubicBezTo>
                      <a:cubicBezTo>
                        <a:pt x="63" y="49"/>
                        <a:pt x="62" y="46"/>
                        <a:pt x="60" y="44"/>
                      </a:cubicBezTo>
                      <a:cubicBezTo>
                        <a:pt x="67" y="29"/>
                        <a:pt x="67" y="29"/>
                        <a:pt x="67" y="29"/>
                      </a:cubicBezTo>
                      <a:cubicBezTo>
                        <a:pt x="68" y="27"/>
                        <a:pt x="67" y="25"/>
                        <a:pt x="65" y="24"/>
                      </a:cubicBezTo>
                      <a:moveTo>
                        <a:pt x="11" y="40"/>
                      </a:moveTo>
                      <a:cubicBezTo>
                        <a:pt x="9" y="40"/>
                        <a:pt x="8" y="38"/>
                        <a:pt x="8" y="36"/>
                      </a:cubicBezTo>
                      <a:cubicBezTo>
                        <a:pt x="8" y="34"/>
                        <a:pt x="9" y="32"/>
                        <a:pt x="11" y="32"/>
                      </a:cubicBezTo>
                      <a:cubicBezTo>
                        <a:pt x="13" y="32"/>
                        <a:pt x="15" y="34"/>
                        <a:pt x="15" y="36"/>
                      </a:cubicBezTo>
                      <a:cubicBezTo>
                        <a:pt x="15" y="38"/>
                        <a:pt x="13" y="40"/>
                        <a:pt x="11" y="40"/>
                      </a:cubicBezTo>
                      <a:moveTo>
                        <a:pt x="24" y="12"/>
                      </a:moveTo>
                      <a:cubicBezTo>
                        <a:pt x="24" y="10"/>
                        <a:pt x="26" y="8"/>
                        <a:pt x="28" y="8"/>
                      </a:cubicBezTo>
                      <a:cubicBezTo>
                        <a:pt x="30" y="8"/>
                        <a:pt x="32" y="10"/>
                        <a:pt x="32" y="12"/>
                      </a:cubicBezTo>
                      <a:cubicBezTo>
                        <a:pt x="32" y="14"/>
                        <a:pt x="30" y="15"/>
                        <a:pt x="28" y="15"/>
                      </a:cubicBezTo>
                      <a:cubicBezTo>
                        <a:pt x="26" y="15"/>
                        <a:pt x="24" y="14"/>
                        <a:pt x="24" y="12"/>
                      </a:cubicBezTo>
                      <a:moveTo>
                        <a:pt x="52" y="56"/>
                      </a:moveTo>
                      <a:cubicBezTo>
                        <a:pt x="50" y="56"/>
                        <a:pt x="48" y="54"/>
                        <a:pt x="48" y="52"/>
                      </a:cubicBezTo>
                      <a:cubicBezTo>
                        <a:pt x="48" y="50"/>
                        <a:pt x="50" y="48"/>
                        <a:pt x="52" y="48"/>
                      </a:cubicBezTo>
                      <a:cubicBezTo>
                        <a:pt x="54" y="48"/>
                        <a:pt x="55" y="50"/>
                        <a:pt x="55" y="52"/>
                      </a:cubicBezTo>
                      <a:cubicBezTo>
                        <a:pt x="55" y="54"/>
                        <a:pt x="54" y="56"/>
                        <a:pt x="52" y="5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8"/>
                <p:cNvSpPr>
                  <a:spLocks noEditPoints="1"/>
                </p:cNvSpPr>
                <p:nvPr/>
              </p:nvSpPr>
              <p:spPr bwMode="auto">
                <a:xfrm>
                  <a:off x="3608810" y="2857280"/>
                  <a:ext cx="28729" cy="28729"/>
                </a:xfrm>
                <a:custGeom>
                  <a:avLst/>
                  <a:gdLst>
                    <a:gd name="T0" fmla="*/ 12 w 24"/>
                    <a:gd name="T1" fmla="*/ 0 h 24"/>
                    <a:gd name="T2" fmla="*/ 0 w 24"/>
                    <a:gd name="T3" fmla="*/ 12 h 24"/>
                    <a:gd name="T4" fmla="*/ 12 w 24"/>
                    <a:gd name="T5" fmla="*/ 24 h 24"/>
                    <a:gd name="T6" fmla="*/ 24 w 24"/>
                    <a:gd name="T7" fmla="*/ 12 h 24"/>
                    <a:gd name="T8" fmla="*/ 12 w 24"/>
                    <a:gd name="T9" fmla="*/ 0 h 24"/>
                    <a:gd name="T10" fmla="*/ 12 w 24"/>
                    <a:gd name="T11" fmla="*/ 16 h 24"/>
                    <a:gd name="T12" fmla="*/ 8 w 24"/>
                    <a:gd name="T13" fmla="*/ 12 h 24"/>
                    <a:gd name="T14" fmla="*/ 12 w 24"/>
                    <a:gd name="T15" fmla="*/ 8 h 24"/>
                    <a:gd name="T16" fmla="*/ 16 w 24"/>
                    <a:gd name="T17" fmla="*/ 12 h 24"/>
                    <a:gd name="T18" fmla="*/ 12 w 24"/>
                    <a:gd name="T1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0"/>
                      </a:moveTo>
                      <a:cubicBezTo>
                        <a:pt x="6" y="0"/>
                        <a:pt x="0" y="5"/>
                        <a:pt x="0" y="12"/>
                      </a:cubicBezTo>
                      <a:cubicBezTo>
                        <a:pt x="0" y="18"/>
                        <a:pt x="6" y="24"/>
                        <a:pt x="12" y="24"/>
                      </a:cubicBezTo>
                      <a:cubicBezTo>
                        <a:pt x="19" y="24"/>
                        <a:pt x="24" y="18"/>
                        <a:pt x="24" y="12"/>
                      </a:cubicBezTo>
                      <a:cubicBezTo>
                        <a:pt x="24" y="5"/>
                        <a:pt x="19" y="0"/>
                        <a:pt x="12" y="0"/>
                      </a:cubicBezTo>
                      <a:moveTo>
                        <a:pt x="12" y="16"/>
                      </a:moveTo>
                      <a:cubicBezTo>
                        <a:pt x="10" y="16"/>
                        <a:pt x="8" y="14"/>
                        <a:pt x="8" y="12"/>
                      </a:cubicBezTo>
                      <a:cubicBezTo>
                        <a:pt x="8" y="10"/>
                        <a:pt x="10" y="8"/>
                        <a:pt x="12" y="8"/>
                      </a:cubicBezTo>
                      <a:cubicBezTo>
                        <a:pt x="14" y="8"/>
                        <a:pt x="16" y="10"/>
                        <a:pt x="16" y="12"/>
                      </a:cubicBezTo>
                      <a:cubicBezTo>
                        <a:pt x="16" y="14"/>
                        <a:pt x="14" y="16"/>
                        <a:pt x="12" y="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20" name="Straight Connector 19"/>
              <p:cNvCxnSpPr/>
              <p:nvPr/>
            </p:nvCxnSpPr>
            <p:spPr>
              <a:xfrm>
                <a:off x="3900418" y="3028950"/>
                <a:ext cx="85573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3674291" y="3088414"/>
                <a:ext cx="1319592" cy="326243"/>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pPr algn="ctr"/>
                <a:r>
                  <a:rPr lang="en-US" sz="1000" dirty="0">
                    <a:solidFill>
                      <a:srgbClr val="FFFFFF"/>
                    </a:solidFill>
                    <a:latin typeface="+mj-lt"/>
                  </a:rPr>
                  <a:t>Network Data,</a:t>
                </a:r>
              </a:p>
              <a:p>
                <a:pPr algn="ctr"/>
                <a:r>
                  <a:rPr lang="en-US" sz="1000" dirty="0">
                    <a:solidFill>
                      <a:srgbClr val="FFFFFF"/>
                    </a:solidFill>
                    <a:latin typeface="+mj-lt"/>
                  </a:rPr>
                  <a:t>Contextual Insights</a:t>
                </a:r>
              </a:p>
            </p:txBody>
          </p:sp>
          <p:sp>
            <p:nvSpPr>
              <p:cNvPr id="31" name="Rectangle 30"/>
              <p:cNvSpPr/>
              <p:nvPr/>
            </p:nvSpPr>
            <p:spPr>
              <a:xfrm>
                <a:off x="3892300" y="2767626"/>
                <a:ext cx="883575" cy="218521"/>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tIns="18288" bIns="0" rtlCol="0" anchor="ctr" anchorCtr="0">
                <a:spAutoFit/>
              </a:bodyPr>
              <a:lstStyle/>
              <a:p>
                <a:pPr algn="ctr"/>
                <a:r>
                  <a:rPr lang="en-US" sz="1300" dirty="0">
                    <a:solidFill>
                      <a:srgbClr val="FFFFFF"/>
                    </a:solidFill>
                    <a:latin typeface="+mj-lt"/>
                  </a:rPr>
                  <a:t>Analytics</a:t>
                </a:r>
              </a:p>
            </p:txBody>
          </p:sp>
        </p:grpSp>
      </p:grpSp>
      <p:grpSp>
        <p:nvGrpSpPr>
          <p:cNvPr id="79" name="Group 78"/>
          <p:cNvGrpSpPr/>
          <p:nvPr/>
        </p:nvGrpSpPr>
        <p:grpSpPr>
          <a:xfrm>
            <a:off x="6075462" y="2765295"/>
            <a:ext cx="735916" cy="736883"/>
            <a:chOff x="3896105" y="1142592"/>
            <a:chExt cx="1152198" cy="1153711"/>
          </a:xfrm>
          <a:solidFill>
            <a:srgbClr val="004BAF"/>
          </a:solidFill>
        </p:grpSpPr>
        <p:sp>
          <p:nvSpPr>
            <p:cNvPr id="80" name="Oval 7"/>
            <p:cNvSpPr>
              <a:spLocks noChangeArrowheads="1"/>
            </p:cNvSpPr>
            <p:nvPr/>
          </p:nvSpPr>
          <p:spPr bwMode="auto">
            <a:xfrm>
              <a:off x="3896105" y="1142592"/>
              <a:ext cx="1152198" cy="11537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8"/>
            <p:cNvSpPr>
              <a:spLocks noEditPoints="1"/>
            </p:cNvSpPr>
            <p:nvPr/>
          </p:nvSpPr>
          <p:spPr bwMode="auto">
            <a:xfrm>
              <a:off x="4195999" y="1361842"/>
              <a:ext cx="552410" cy="755028"/>
            </a:xfrm>
            <a:custGeom>
              <a:avLst/>
              <a:gdLst>
                <a:gd name="T0" fmla="*/ 452 w 464"/>
                <a:gd name="T1" fmla="*/ 35 h 634"/>
                <a:gd name="T2" fmla="*/ 12 w 464"/>
                <a:gd name="T3" fmla="*/ 35 h 634"/>
                <a:gd name="T4" fmla="*/ 0 w 464"/>
                <a:gd name="T5" fmla="*/ 49 h 634"/>
                <a:gd name="T6" fmla="*/ 0 w 464"/>
                <a:gd name="T7" fmla="*/ 398 h 634"/>
                <a:gd name="T8" fmla="*/ 60 w 464"/>
                <a:gd name="T9" fmla="*/ 512 h 634"/>
                <a:gd name="T10" fmla="*/ 223 w 464"/>
                <a:gd name="T11" fmla="*/ 631 h 634"/>
                <a:gd name="T12" fmla="*/ 232 w 464"/>
                <a:gd name="T13" fmla="*/ 634 h 634"/>
                <a:gd name="T14" fmla="*/ 241 w 464"/>
                <a:gd name="T15" fmla="*/ 631 h 634"/>
                <a:gd name="T16" fmla="*/ 404 w 464"/>
                <a:gd name="T17" fmla="*/ 512 h 634"/>
                <a:gd name="T18" fmla="*/ 464 w 464"/>
                <a:gd name="T19" fmla="*/ 398 h 634"/>
                <a:gd name="T20" fmla="*/ 464 w 464"/>
                <a:gd name="T21" fmla="*/ 49 h 634"/>
                <a:gd name="T22" fmla="*/ 452 w 464"/>
                <a:gd name="T23" fmla="*/ 35 h 634"/>
                <a:gd name="T24" fmla="*/ 433 w 464"/>
                <a:gd name="T25" fmla="*/ 398 h 634"/>
                <a:gd name="T26" fmla="*/ 386 w 464"/>
                <a:gd name="T27" fmla="*/ 487 h 634"/>
                <a:gd name="T28" fmla="*/ 232 w 464"/>
                <a:gd name="T29" fmla="*/ 600 h 634"/>
                <a:gd name="T30" fmla="*/ 77 w 464"/>
                <a:gd name="T31" fmla="*/ 487 h 634"/>
                <a:gd name="T32" fmla="*/ 30 w 464"/>
                <a:gd name="T33" fmla="*/ 398 h 634"/>
                <a:gd name="T34" fmla="*/ 30 w 464"/>
                <a:gd name="T35" fmla="*/ 61 h 634"/>
                <a:gd name="T36" fmla="*/ 433 w 464"/>
                <a:gd name="T37" fmla="*/ 61 h 634"/>
                <a:gd name="T38" fmla="*/ 433 w 464"/>
                <a:gd name="T39" fmla="*/ 398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4" h="634">
                  <a:moveTo>
                    <a:pt x="452" y="35"/>
                  </a:moveTo>
                  <a:cubicBezTo>
                    <a:pt x="308" y="0"/>
                    <a:pt x="156" y="0"/>
                    <a:pt x="12" y="35"/>
                  </a:cubicBezTo>
                  <a:cubicBezTo>
                    <a:pt x="5" y="36"/>
                    <a:pt x="0" y="42"/>
                    <a:pt x="0" y="49"/>
                  </a:cubicBezTo>
                  <a:cubicBezTo>
                    <a:pt x="0" y="398"/>
                    <a:pt x="0" y="398"/>
                    <a:pt x="0" y="398"/>
                  </a:cubicBezTo>
                  <a:cubicBezTo>
                    <a:pt x="0" y="444"/>
                    <a:pt x="22" y="486"/>
                    <a:pt x="60" y="512"/>
                  </a:cubicBezTo>
                  <a:cubicBezTo>
                    <a:pt x="116" y="551"/>
                    <a:pt x="173" y="593"/>
                    <a:pt x="223" y="631"/>
                  </a:cubicBezTo>
                  <a:cubicBezTo>
                    <a:pt x="225" y="633"/>
                    <a:pt x="229" y="634"/>
                    <a:pt x="232" y="634"/>
                  </a:cubicBezTo>
                  <a:cubicBezTo>
                    <a:pt x="235" y="634"/>
                    <a:pt x="238" y="633"/>
                    <a:pt x="241" y="631"/>
                  </a:cubicBezTo>
                  <a:cubicBezTo>
                    <a:pt x="291" y="593"/>
                    <a:pt x="348" y="551"/>
                    <a:pt x="404" y="512"/>
                  </a:cubicBezTo>
                  <a:cubicBezTo>
                    <a:pt x="442" y="486"/>
                    <a:pt x="464" y="444"/>
                    <a:pt x="464" y="398"/>
                  </a:cubicBezTo>
                  <a:cubicBezTo>
                    <a:pt x="464" y="49"/>
                    <a:pt x="464" y="49"/>
                    <a:pt x="464" y="49"/>
                  </a:cubicBezTo>
                  <a:cubicBezTo>
                    <a:pt x="464" y="42"/>
                    <a:pt x="459" y="36"/>
                    <a:pt x="452" y="35"/>
                  </a:cubicBezTo>
                  <a:moveTo>
                    <a:pt x="433" y="398"/>
                  </a:moveTo>
                  <a:cubicBezTo>
                    <a:pt x="433" y="434"/>
                    <a:pt x="416" y="466"/>
                    <a:pt x="386" y="487"/>
                  </a:cubicBezTo>
                  <a:cubicBezTo>
                    <a:pt x="333" y="524"/>
                    <a:pt x="280" y="564"/>
                    <a:pt x="232" y="600"/>
                  </a:cubicBezTo>
                  <a:cubicBezTo>
                    <a:pt x="184" y="564"/>
                    <a:pt x="130" y="524"/>
                    <a:pt x="77" y="487"/>
                  </a:cubicBezTo>
                  <a:cubicBezTo>
                    <a:pt x="48" y="467"/>
                    <a:pt x="30" y="434"/>
                    <a:pt x="30" y="398"/>
                  </a:cubicBezTo>
                  <a:cubicBezTo>
                    <a:pt x="30" y="61"/>
                    <a:pt x="30" y="61"/>
                    <a:pt x="30" y="61"/>
                  </a:cubicBezTo>
                  <a:cubicBezTo>
                    <a:pt x="163" y="32"/>
                    <a:pt x="301" y="32"/>
                    <a:pt x="433" y="61"/>
                  </a:cubicBezTo>
                  <a:lnTo>
                    <a:pt x="433"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9"/>
            <p:cNvSpPr>
              <a:spLocks noEditPoints="1"/>
            </p:cNvSpPr>
            <p:nvPr/>
          </p:nvSpPr>
          <p:spPr bwMode="auto">
            <a:xfrm>
              <a:off x="4268578" y="1443998"/>
              <a:ext cx="407251" cy="582148"/>
            </a:xfrm>
            <a:custGeom>
              <a:avLst/>
              <a:gdLst>
                <a:gd name="T0" fmla="*/ 12 w 342"/>
                <a:gd name="T1" fmla="*/ 15 h 489"/>
                <a:gd name="T2" fmla="*/ 0 w 342"/>
                <a:gd name="T3" fmla="*/ 30 h 489"/>
                <a:gd name="T4" fmla="*/ 0 w 342"/>
                <a:gd name="T5" fmla="*/ 329 h 489"/>
                <a:gd name="T6" fmla="*/ 34 w 342"/>
                <a:gd name="T7" fmla="*/ 393 h 489"/>
                <a:gd name="T8" fmla="*/ 162 w 342"/>
                <a:gd name="T9" fmla="*/ 486 h 489"/>
                <a:gd name="T10" fmla="*/ 171 w 342"/>
                <a:gd name="T11" fmla="*/ 489 h 489"/>
                <a:gd name="T12" fmla="*/ 180 w 342"/>
                <a:gd name="T13" fmla="*/ 486 h 489"/>
                <a:gd name="T14" fmla="*/ 308 w 342"/>
                <a:gd name="T15" fmla="*/ 393 h 489"/>
                <a:gd name="T16" fmla="*/ 342 w 342"/>
                <a:gd name="T17" fmla="*/ 329 h 489"/>
                <a:gd name="T18" fmla="*/ 342 w 342"/>
                <a:gd name="T19" fmla="*/ 30 h 489"/>
                <a:gd name="T20" fmla="*/ 329 w 342"/>
                <a:gd name="T21" fmla="*/ 15 h 489"/>
                <a:gd name="T22" fmla="*/ 171 w 342"/>
                <a:gd name="T23" fmla="*/ 0 h 489"/>
                <a:gd name="T24" fmla="*/ 12 w 342"/>
                <a:gd name="T25" fmla="*/ 15 h 489"/>
                <a:gd name="T26" fmla="*/ 311 w 342"/>
                <a:gd name="T27" fmla="*/ 329 h 489"/>
                <a:gd name="T28" fmla="*/ 291 w 342"/>
                <a:gd name="T29" fmla="*/ 368 h 489"/>
                <a:gd name="T30" fmla="*/ 171 w 342"/>
                <a:gd name="T31" fmla="*/ 454 h 489"/>
                <a:gd name="T32" fmla="*/ 51 w 342"/>
                <a:gd name="T33" fmla="*/ 368 h 489"/>
                <a:gd name="T34" fmla="*/ 30 w 342"/>
                <a:gd name="T35" fmla="*/ 329 h 489"/>
                <a:gd name="T36" fmla="*/ 30 w 342"/>
                <a:gd name="T37" fmla="*/ 43 h 489"/>
                <a:gd name="T38" fmla="*/ 171 w 342"/>
                <a:gd name="T39" fmla="*/ 31 h 489"/>
                <a:gd name="T40" fmla="*/ 311 w 342"/>
                <a:gd name="T41" fmla="*/ 43 h 489"/>
                <a:gd name="T42" fmla="*/ 311 w 342"/>
                <a:gd name="T43" fmla="*/ 329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2" h="489">
                  <a:moveTo>
                    <a:pt x="12" y="15"/>
                  </a:moveTo>
                  <a:cubicBezTo>
                    <a:pt x="5" y="16"/>
                    <a:pt x="0" y="22"/>
                    <a:pt x="0" y="30"/>
                  </a:cubicBezTo>
                  <a:cubicBezTo>
                    <a:pt x="0" y="329"/>
                    <a:pt x="0" y="329"/>
                    <a:pt x="0" y="329"/>
                  </a:cubicBezTo>
                  <a:cubicBezTo>
                    <a:pt x="0" y="355"/>
                    <a:pt x="12" y="378"/>
                    <a:pt x="34" y="393"/>
                  </a:cubicBezTo>
                  <a:cubicBezTo>
                    <a:pt x="79" y="425"/>
                    <a:pt x="124" y="458"/>
                    <a:pt x="162" y="486"/>
                  </a:cubicBezTo>
                  <a:cubicBezTo>
                    <a:pt x="164" y="488"/>
                    <a:pt x="168" y="489"/>
                    <a:pt x="171" y="489"/>
                  </a:cubicBezTo>
                  <a:cubicBezTo>
                    <a:pt x="174" y="489"/>
                    <a:pt x="177" y="488"/>
                    <a:pt x="180" y="486"/>
                  </a:cubicBezTo>
                  <a:cubicBezTo>
                    <a:pt x="218" y="458"/>
                    <a:pt x="262" y="425"/>
                    <a:pt x="308" y="393"/>
                  </a:cubicBezTo>
                  <a:cubicBezTo>
                    <a:pt x="329" y="378"/>
                    <a:pt x="342" y="355"/>
                    <a:pt x="342" y="329"/>
                  </a:cubicBezTo>
                  <a:cubicBezTo>
                    <a:pt x="342" y="30"/>
                    <a:pt x="342" y="30"/>
                    <a:pt x="342" y="30"/>
                  </a:cubicBezTo>
                  <a:cubicBezTo>
                    <a:pt x="342" y="22"/>
                    <a:pt x="337" y="16"/>
                    <a:pt x="329" y="15"/>
                  </a:cubicBezTo>
                  <a:cubicBezTo>
                    <a:pt x="277" y="5"/>
                    <a:pt x="224" y="0"/>
                    <a:pt x="171" y="0"/>
                  </a:cubicBezTo>
                  <a:cubicBezTo>
                    <a:pt x="118" y="0"/>
                    <a:pt x="65" y="5"/>
                    <a:pt x="12" y="15"/>
                  </a:cubicBezTo>
                  <a:moveTo>
                    <a:pt x="311" y="329"/>
                  </a:moveTo>
                  <a:cubicBezTo>
                    <a:pt x="311" y="344"/>
                    <a:pt x="304" y="359"/>
                    <a:pt x="291" y="368"/>
                  </a:cubicBezTo>
                  <a:cubicBezTo>
                    <a:pt x="248" y="397"/>
                    <a:pt x="207" y="428"/>
                    <a:pt x="171" y="454"/>
                  </a:cubicBezTo>
                  <a:cubicBezTo>
                    <a:pt x="135" y="428"/>
                    <a:pt x="93" y="397"/>
                    <a:pt x="51" y="368"/>
                  </a:cubicBezTo>
                  <a:cubicBezTo>
                    <a:pt x="38" y="359"/>
                    <a:pt x="30" y="345"/>
                    <a:pt x="30" y="329"/>
                  </a:cubicBezTo>
                  <a:cubicBezTo>
                    <a:pt x="30" y="43"/>
                    <a:pt x="30" y="43"/>
                    <a:pt x="30" y="43"/>
                  </a:cubicBezTo>
                  <a:cubicBezTo>
                    <a:pt x="76" y="35"/>
                    <a:pt x="124" y="31"/>
                    <a:pt x="171" y="31"/>
                  </a:cubicBezTo>
                  <a:cubicBezTo>
                    <a:pt x="218" y="31"/>
                    <a:pt x="265" y="35"/>
                    <a:pt x="311" y="43"/>
                  </a:cubicBezTo>
                  <a:lnTo>
                    <a:pt x="311" y="3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0"/>
            <p:cNvSpPr>
              <a:spLocks/>
            </p:cNvSpPr>
            <p:nvPr/>
          </p:nvSpPr>
          <p:spPr bwMode="auto">
            <a:xfrm>
              <a:off x="4362831" y="1620407"/>
              <a:ext cx="238907" cy="180945"/>
            </a:xfrm>
            <a:custGeom>
              <a:avLst/>
              <a:gdLst>
                <a:gd name="T0" fmla="*/ 27 w 201"/>
                <a:gd name="T1" fmla="*/ 66 h 152"/>
                <a:gd name="T2" fmla="*/ 6 w 201"/>
                <a:gd name="T3" fmla="*/ 66 h 152"/>
                <a:gd name="T4" fmla="*/ 6 w 201"/>
                <a:gd name="T5" fmla="*/ 87 h 152"/>
                <a:gd name="T6" fmla="*/ 65 w 201"/>
                <a:gd name="T7" fmla="*/ 147 h 152"/>
                <a:gd name="T8" fmla="*/ 76 w 201"/>
                <a:gd name="T9" fmla="*/ 152 h 152"/>
                <a:gd name="T10" fmla="*/ 76 w 201"/>
                <a:gd name="T11" fmla="*/ 152 h 152"/>
                <a:gd name="T12" fmla="*/ 87 w 201"/>
                <a:gd name="T13" fmla="*/ 147 h 152"/>
                <a:gd name="T14" fmla="*/ 196 w 201"/>
                <a:gd name="T15" fmla="*/ 27 h 152"/>
                <a:gd name="T16" fmla="*/ 195 w 201"/>
                <a:gd name="T17" fmla="*/ 5 h 152"/>
                <a:gd name="T18" fmla="*/ 173 w 201"/>
                <a:gd name="T19" fmla="*/ 6 h 152"/>
                <a:gd name="T20" fmla="*/ 75 w 201"/>
                <a:gd name="T21" fmla="*/ 114 h 152"/>
                <a:gd name="T22" fmla="*/ 27 w 201"/>
                <a:gd name="T23" fmla="*/ 6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152">
                  <a:moveTo>
                    <a:pt x="27" y="66"/>
                  </a:moveTo>
                  <a:cubicBezTo>
                    <a:pt x="22" y="60"/>
                    <a:pt x="12" y="60"/>
                    <a:pt x="6" y="66"/>
                  </a:cubicBezTo>
                  <a:cubicBezTo>
                    <a:pt x="0" y="72"/>
                    <a:pt x="0" y="81"/>
                    <a:pt x="6" y="87"/>
                  </a:cubicBezTo>
                  <a:cubicBezTo>
                    <a:pt x="65" y="147"/>
                    <a:pt x="65" y="147"/>
                    <a:pt x="65" y="147"/>
                  </a:cubicBezTo>
                  <a:cubicBezTo>
                    <a:pt x="68" y="150"/>
                    <a:pt x="72" y="152"/>
                    <a:pt x="76" y="152"/>
                  </a:cubicBezTo>
                  <a:cubicBezTo>
                    <a:pt x="76" y="152"/>
                    <a:pt x="76" y="152"/>
                    <a:pt x="76" y="152"/>
                  </a:cubicBezTo>
                  <a:cubicBezTo>
                    <a:pt x="80" y="152"/>
                    <a:pt x="84" y="150"/>
                    <a:pt x="87" y="147"/>
                  </a:cubicBezTo>
                  <a:cubicBezTo>
                    <a:pt x="196" y="27"/>
                    <a:pt x="196" y="27"/>
                    <a:pt x="196" y="27"/>
                  </a:cubicBezTo>
                  <a:cubicBezTo>
                    <a:pt x="201" y="20"/>
                    <a:pt x="201" y="11"/>
                    <a:pt x="195" y="5"/>
                  </a:cubicBezTo>
                  <a:cubicBezTo>
                    <a:pt x="188" y="0"/>
                    <a:pt x="179" y="0"/>
                    <a:pt x="173" y="6"/>
                  </a:cubicBezTo>
                  <a:cubicBezTo>
                    <a:pt x="75" y="114"/>
                    <a:pt x="75" y="114"/>
                    <a:pt x="75" y="114"/>
                  </a:cubicBezTo>
                  <a:lnTo>
                    <a:pt x="2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4" name="Group 83"/>
          <p:cNvGrpSpPr/>
          <p:nvPr/>
        </p:nvGrpSpPr>
        <p:grpSpPr>
          <a:xfrm>
            <a:off x="6074496" y="1788245"/>
            <a:ext cx="736882" cy="736883"/>
            <a:chOff x="1044338" y="1142592"/>
            <a:chExt cx="1153710" cy="1153711"/>
          </a:xfrm>
          <a:solidFill>
            <a:srgbClr val="004BAF"/>
          </a:solidFill>
        </p:grpSpPr>
        <p:sp>
          <p:nvSpPr>
            <p:cNvPr id="85" name="Oval 11"/>
            <p:cNvSpPr>
              <a:spLocks noChangeArrowheads="1"/>
            </p:cNvSpPr>
            <p:nvPr/>
          </p:nvSpPr>
          <p:spPr bwMode="auto">
            <a:xfrm>
              <a:off x="1044338" y="1142592"/>
              <a:ext cx="1153710" cy="11537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2"/>
            <p:cNvSpPr>
              <a:spLocks noEditPoints="1"/>
            </p:cNvSpPr>
            <p:nvPr/>
          </p:nvSpPr>
          <p:spPr bwMode="auto">
            <a:xfrm>
              <a:off x="1290806" y="1384524"/>
              <a:ext cx="422876" cy="421364"/>
            </a:xfrm>
            <a:custGeom>
              <a:avLst/>
              <a:gdLst>
                <a:gd name="T0" fmla="*/ 40 w 355"/>
                <a:gd name="T1" fmla="*/ 216 h 354"/>
                <a:gd name="T2" fmla="*/ 53 w 355"/>
                <a:gd name="T3" fmla="*/ 247 h 354"/>
                <a:gd name="T4" fmla="*/ 37 w 355"/>
                <a:gd name="T5" fmla="*/ 266 h 354"/>
                <a:gd name="T6" fmla="*/ 38 w 355"/>
                <a:gd name="T7" fmla="*/ 288 h 354"/>
                <a:gd name="T8" fmla="*/ 65 w 355"/>
                <a:gd name="T9" fmla="*/ 315 h 354"/>
                <a:gd name="T10" fmla="*/ 87 w 355"/>
                <a:gd name="T11" fmla="*/ 316 h 354"/>
                <a:gd name="T12" fmla="*/ 107 w 355"/>
                <a:gd name="T13" fmla="*/ 301 h 354"/>
                <a:gd name="T14" fmla="*/ 139 w 355"/>
                <a:gd name="T15" fmla="*/ 314 h 354"/>
                <a:gd name="T16" fmla="*/ 142 w 355"/>
                <a:gd name="T17" fmla="*/ 340 h 354"/>
                <a:gd name="T18" fmla="*/ 158 w 355"/>
                <a:gd name="T19" fmla="*/ 354 h 354"/>
                <a:gd name="T20" fmla="*/ 196 w 355"/>
                <a:gd name="T21" fmla="*/ 354 h 354"/>
                <a:gd name="T22" fmla="*/ 212 w 355"/>
                <a:gd name="T23" fmla="*/ 340 h 354"/>
                <a:gd name="T24" fmla="*/ 215 w 355"/>
                <a:gd name="T25" fmla="*/ 315 h 354"/>
                <a:gd name="T26" fmla="*/ 249 w 355"/>
                <a:gd name="T27" fmla="*/ 301 h 354"/>
                <a:gd name="T28" fmla="*/ 269 w 355"/>
                <a:gd name="T29" fmla="*/ 316 h 354"/>
                <a:gd name="T30" fmla="*/ 290 w 355"/>
                <a:gd name="T31" fmla="*/ 315 h 354"/>
                <a:gd name="T32" fmla="*/ 317 w 355"/>
                <a:gd name="T33" fmla="*/ 288 h 354"/>
                <a:gd name="T34" fmla="*/ 318 w 355"/>
                <a:gd name="T35" fmla="*/ 266 h 354"/>
                <a:gd name="T36" fmla="*/ 304 w 355"/>
                <a:gd name="T37" fmla="*/ 248 h 354"/>
                <a:gd name="T38" fmla="*/ 318 w 355"/>
                <a:gd name="T39" fmla="*/ 214 h 354"/>
                <a:gd name="T40" fmla="*/ 341 w 355"/>
                <a:gd name="T41" fmla="*/ 211 h 354"/>
                <a:gd name="T42" fmla="*/ 355 w 355"/>
                <a:gd name="T43" fmla="*/ 195 h 354"/>
                <a:gd name="T44" fmla="*/ 355 w 355"/>
                <a:gd name="T45" fmla="*/ 157 h 354"/>
                <a:gd name="T46" fmla="*/ 341 w 355"/>
                <a:gd name="T47" fmla="*/ 141 h 354"/>
                <a:gd name="T48" fmla="*/ 318 w 355"/>
                <a:gd name="T49" fmla="*/ 138 h 354"/>
                <a:gd name="T50" fmla="*/ 304 w 355"/>
                <a:gd name="T51" fmla="*/ 105 h 354"/>
                <a:gd name="T52" fmla="*/ 318 w 355"/>
                <a:gd name="T53" fmla="*/ 87 h 354"/>
                <a:gd name="T54" fmla="*/ 317 w 355"/>
                <a:gd name="T55" fmla="*/ 65 h 354"/>
                <a:gd name="T56" fmla="*/ 290 w 355"/>
                <a:gd name="T57" fmla="*/ 38 h 354"/>
                <a:gd name="T58" fmla="*/ 269 w 355"/>
                <a:gd name="T59" fmla="*/ 37 h 354"/>
                <a:gd name="T60" fmla="*/ 252 w 355"/>
                <a:gd name="T61" fmla="*/ 51 h 354"/>
                <a:gd name="T62" fmla="*/ 216 w 355"/>
                <a:gd name="T63" fmla="*/ 36 h 354"/>
                <a:gd name="T64" fmla="*/ 214 w 355"/>
                <a:gd name="T65" fmla="*/ 14 h 354"/>
                <a:gd name="T66" fmla="*/ 198 w 355"/>
                <a:gd name="T67" fmla="*/ 0 h 354"/>
                <a:gd name="T68" fmla="*/ 159 w 355"/>
                <a:gd name="T69" fmla="*/ 0 h 354"/>
                <a:gd name="T70" fmla="*/ 143 w 355"/>
                <a:gd name="T71" fmla="*/ 14 h 354"/>
                <a:gd name="T72" fmla="*/ 141 w 355"/>
                <a:gd name="T73" fmla="*/ 36 h 354"/>
                <a:gd name="T74" fmla="*/ 105 w 355"/>
                <a:gd name="T75" fmla="*/ 51 h 354"/>
                <a:gd name="T76" fmla="*/ 87 w 355"/>
                <a:gd name="T77" fmla="*/ 37 h 354"/>
                <a:gd name="T78" fmla="*/ 65 w 355"/>
                <a:gd name="T79" fmla="*/ 38 h 354"/>
                <a:gd name="T80" fmla="*/ 38 w 355"/>
                <a:gd name="T81" fmla="*/ 66 h 354"/>
                <a:gd name="T82" fmla="*/ 37 w 355"/>
                <a:gd name="T83" fmla="*/ 87 h 354"/>
                <a:gd name="T84" fmla="*/ 52 w 355"/>
                <a:gd name="T85" fmla="*/ 106 h 354"/>
                <a:gd name="T86" fmla="*/ 38 w 355"/>
                <a:gd name="T87" fmla="*/ 140 h 354"/>
                <a:gd name="T88" fmla="*/ 15 w 355"/>
                <a:gd name="T89" fmla="*/ 142 h 354"/>
                <a:gd name="T90" fmla="*/ 0 w 355"/>
                <a:gd name="T91" fmla="*/ 158 h 354"/>
                <a:gd name="T92" fmla="*/ 0 w 355"/>
                <a:gd name="T93" fmla="*/ 197 h 354"/>
                <a:gd name="T94" fmla="*/ 15 w 355"/>
                <a:gd name="T95" fmla="*/ 213 h 354"/>
                <a:gd name="T96" fmla="*/ 40 w 355"/>
                <a:gd name="T97" fmla="*/ 216 h 354"/>
                <a:gd name="T98" fmla="*/ 179 w 355"/>
                <a:gd name="T99" fmla="*/ 112 h 354"/>
                <a:gd name="T100" fmla="*/ 242 w 355"/>
                <a:gd name="T101" fmla="*/ 175 h 354"/>
                <a:gd name="T102" fmla="*/ 179 w 355"/>
                <a:gd name="T103" fmla="*/ 239 h 354"/>
                <a:gd name="T104" fmla="*/ 115 w 355"/>
                <a:gd name="T105" fmla="*/ 175 h 354"/>
                <a:gd name="T106" fmla="*/ 179 w 355"/>
                <a:gd name="T107" fmla="*/ 11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5" h="354">
                  <a:moveTo>
                    <a:pt x="40" y="216"/>
                  </a:moveTo>
                  <a:cubicBezTo>
                    <a:pt x="43" y="226"/>
                    <a:pt x="47" y="237"/>
                    <a:pt x="53" y="247"/>
                  </a:cubicBezTo>
                  <a:cubicBezTo>
                    <a:pt x="37" y="266"/>
                    <a:pt x="37" y="266"/>
                    <a:pt x="37" y="266"/>
                  </a:cubicBezTo>
                  <a:cubicBezTo>
                    <a:pt x="32" y="273"/>
                    <a:pt x="32" y="282"/>
                    <a:pt x="38" y="288"/>
                  </a:cubicBezTo>
                  <a:cubicBezTo>
                    <a:pt x="65" y="315"/>
                    <a:pt x="65" y="315"/>
                    <a:pt x="65" y="315"/>
                  </a:cubicBezTo>
                  <a:cubicBezTo>
                    <a:pt x="71" y="321"/>
                    <a:pt x="80" y="321"/>
                    <a:pt x="87" y="316"/>
                  </a:cubicBezTo>
                  <a:cubicBezTo>
                    <a:pt x="107" y="301"/>
                    <a:pt x="107" y="301"/>
                    <a:pt x="107" y="301"/>
                  </a:cubicBezTo>
                  <a:cubicBezTo>
                    <a:pt x="117" y="306"/>
                    <a:pt x="128" y="311"/>
                    <a:pt x="139" y="314"/>
                  </a:cubicBezTo>
                  <a:cubicBezTo>
                    <a:pt x="142" y="340"/>
                    <a:pt x="142" y="340"/>
                    <a:pt x="142" y="340"/>
                  </a:cubicBezTo>
                  <a:cubicBezTo>
                    <a:pt x="143" y="348"/>
                    <a:pt x="150" y="354"/>
                    <a:pt x="158" y="354"/>
                  </a:cubicBezTo>
                  <a:cubicBezTo>
                    <a:pt x="196" y="354"/>
                    <a:pt x="196" y="354"/>
                    <a:pt x="196" y="354"/>
                  </a:cubicBezTo>
                  <a:cubicBezTo>
                    <a:pt x="204" y="354"/>
                    <a:pt x="211" y="348"/>
                    <a:pt x="212" y="340"/>
                  </a:cubicBezTo>
                  <a:cubicBezTo>
                    <a:pt x="215" y="315"/>
                    <a:pt x="215" y="315"/>
                    <a:pt x="215" y="315"/>
                  </a:cubicBezTo>
                  <a:cubicBezTo>
                    <a:pt x="227" y="312"/>
                    <a:pt x="239" y="307"/>
                    <a:pt x="249" y="301"/>
                  </a:cubicBezTo>
                  <a:cubicBezTo>
                    <a:pt x="269" y="316"/>
                    <a:pt x="269" y="316"/>
                    <a:pt x="269" y="316"/>
                  </a:cubicBezTo>
                  <a:cubicBezTo>
                    <a:pt x="275" y="321"/>
                    <a:pt x="284" y="321"/>
                    <a:pt x="290" y="315"/>
                  </a:cubicBezTo>
                  <a:cubicBezTo>
                    <a:pt x="317" y="288"/>
                    <a:pt x="317" y="288"/>
                    <a:pt x="317" y="288"/>
                  </a:cubicBezTo>
                  <a:cubicBezTo>
                    <a:pt x="323" y="282"/>
                    <a:pt x="324" y="273"/>
                    <a:pt x="318" y="266"/>
                  </a:cubicBezTo>
                  <a:cubicBezTo>
                    <a:pt x="304" y="248"/>
                    <a:pt x="304" y="248"/>
                    <a:pt x="304" y="248"/>
                  </a:cubicBezTo>
                  <a:cubicBezTo>
                    <a:pt x="310" y="237"/>
                    <a:pt x="315" y="226"/>
                    <a:pt x="318" y="214"/>
                  </a:cubicBezTo>
                  <a:cubicBezTo>
                    <a:pt x="341" y="211"/>
                    <a:pt x="341" y="211"/>
                    <a:pt x="341" y="211"/>
                  </a:cubicBezTo>
                  <a:cubicBezTo>
                    <a:pt x="349" y="210"/>
                    <a:pt x="355" y="203"/>
                    <a:pt x="355" y="195"/>
                  </a:cubicBezTo>
                  <a:cubicBezTo>
                    <a:pt x="355" y="157"/>
                    <a:pt x="355" y="157"/>
                    <a:pt x="355" y="157"/>
                  </a:cubicBezTo>
                  <a:cubicBezTo>
                    <a:pt x="355" y="149"/>
                    <a:pt x="349" y="142"/>
                    <a:pt x="341" y="141"/>
                  </a:cubicBezTo>
                  <a:cubicBezTo>
                    <a:pt x="318" y="138"/>
                    <a:pt x="318" y="138"/>
                    <a:pt x="318" y="138"/>
                  </a:cubicBezTo>
                  <a:cubicBezTo>
                    <a:pt x="315" y="126"/>
                    <a:pt x="310" y="115"/>
                    <a:pt x="304" y="105"/>
                  </a:cubicBezTo>
                  <a:cubicBezTo>
                    <a:pt x="318" y="87"/>
                    <a:pt x="318" y="87"/>
                    <a:pt x="318" y="87"/>
                  </a:cubicBezTo>
                  <a:cubicBezTo>
                    <a:pt x="323" y="81"/>
                    <a:pt x="323" y="71"/>
                    <a:pt x="317" y="65"/>
                  </a:cubicBezTo>
                  <a:cubicBezTo>
                    <a:pt x="290" y="38"/>
                    <a:pt x="290" y="38"/>
                    <a:pt x="290" y="38"/>
                  </a:cubicBezTo>
                  <a:cubicBezTo>
                    <a:pt x="284" y="33"/>
                    <a:pt x="275" y="32"/>
                    <a:pt x="269" y="37"/>
                  </a:cubicBezTo>
                  <a:cubicBezTo>
                    <a:pt x="252" y="51"/>
                    <a:pt x="252" y="51"/>
                    <a:pt x="252" y="51"/>
                  </a:cubicBezTo>
                  <a:cubicBezTo>
                    <a:pt x="240" y="44"/>
                    <a:pt x="229" y="39"/>
                    <a:pt x="216" y="36"/>
                  </a:cubicBezTo>
                  <a:cubicBezTo>
                    <a:pt x="214" y="14"/>
                    <a:pt x="214" y="14"/>
                    <a:pt x="214" y="14"/>
                  </a:cubicBezTo>
                  <a:cubicBezTo>
                    <a:pt x="213" y="6"/>
                    <a:pt x="206" y="0"/>
                    <a:pt x="198" y="0"/>
                  </a:cubicBezTo>
                  <a:cubicBezTo>
                    <a:pt x="159" y="0"/>
                    <a:pt x="159" y="0"/>
                    <a:pt x="159" y="0"/>
                  </a:cubicBezTo>
                  <a:cubicBezTo>
                    <a:pt x="151" y="0"/>
                    <a:pt x="144" y="6"/>
                    <a:pt x="143" y="14"/>
                  </a:cubicBezTo>
                  <a:cubicBezTo>
                    <a:pt x="141" y="36"/>
                    <a:pt x="141" y="36"/>
                    <a:pt x="141" y="36"/>
                  </a:cubicBezTo>
                  <a:cubicBezTo>
                    <a:pt x="128" y="39"/>
                    <a:pt x="116" y="44"/>
                    <a:pt x="105" y="51"/>
                  </a:cubicBezTo>
                  <a:cubicBezTo>
                    <a:pt x="87" y="37"/>
                    <a:pt x="87" y="37"/>
                    <a:pt x="87" y="37"/>
                  </a:cubicBezTo>
                  <a:cubicBezTo>
                    <a:pt x="80" y="32"/>
                    <a:pt x="71" y="33"/>
                    <a:pt x="65" y="38"/>
                  </a:cubicBezTo>
                  <a:cubicBezTo>
                    <a:pt x="38" y="66"/>
                    <a:pt x="38" y="66"/>
                    <a:pt x="38" y="66"/>
                  </a:cubicBezTo>
                  <a:cubicBezTo>
                    <a:pt x="32" y="71"/>
                    <a:pt x="32" y="81"/>
                    <a:pt x="37" y="87"/>
                  </a:cubicBezTo>
                  <a:cubicBezTo>
                    <a:pt x="52" y="106"/>
                    <a:pt x="52" y="106"/>
                    <a:pt x="52" y="106"/>
                  </a:cubicBezTo>
                  <a:cubicBezTo>
                    <a:pt x="46" y="116"/>
                    <a:pt x="41" y="128"/>
                    <a:pt x="38" y="140"/>
                  </a:cubicBezTo>
                  <a:cubicBezTo>
                    <a:pt x="15" y="142"/>
                    <a:pt x="15" y="142"/>
                    <a:pt x="15" y="142"/>
                  </a:cubicBezTo>
                  <a:cubicBezTo>
                    <a:pt x="7" y="143"/>
                    <a:pt x="0" y="150"/>
                    <a:pt x="0" y="158"/>
                  </a:cubicBezTo>
                  <a:cubicBezTo>
                    <a:pt x="0" y="197"/>
                    <a:pt x="0" y="197"/>
                    <a:pt x="0" y="197"/>
                  </a:cubicBezTo>
                  <a:cubicBezTo>
                    <a:pt x="0" y="205"/>
                    <a:pt x="7" y="212"/>
                    <a:pt x="15" y="213"/>
                  </a:cubicBezTo>
                  <a:lnTo>
                    <a:pt x="40" y="216"/>
                  </a:lnTo>
                  <a:close/>
                  <a:moveTo>
                    <a:pt x="179" y="112"/>
                  </a:moveTo>
                  <a:cubicBezTo>
                    <a:pt x="213" y="112"/>
                    <a:pt x="242" y="140"/>
                    <a:pt x="242" y="175"/>
                  </a:cubicBezTo>
                  <a:cubicBezTo>
                    <a:pt x="242" y="210"/>
                    <a:pt x="213" y="239"/>
                    <a:pt x="179" y="239"/>
                  </a:cubicBezTo>
                  <a:cubicBezTo>
                    <a:pt x="144" y="239"/>
                    <a:pt x="115" y="210"/>
                    <a:pt x="115" y="175"/>
                  </a:cubicBezTo>
                  <a:cubicBezTo>
                    <a:pt x="115" y="140"/>
                    <a:pt x="144" y="112"/>
                    <a:pt x="179" y="1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13"/>
            <p:cNvSpPr>
              <a:spLocks noEditPoints="1"/>
            </p:cNvSpPr>
            <p:nvPr/>
          </p:nvSpPr>
          <p:spPr bwMode="auto">
            <a:xfrm>
              <a:off x="1656223" y="1599742"/>
              <a:ext cx="347776" cy="349289"/>
            </a:xfrm>
            <a:custGeom>
              <a:avLst/>
              <a:gdLst>
                <a:gd name="T0" fmla="*/ 250 w 292"/>
                <a:gd name="T1" fmla="*/ 44 h 293"/>
                <a:gd name="T2" fmla="*/ 230 w 292"/>
                <a:gd name="T3" fmla="*/ 27 h 293"/>
                <a:gd name="T4" fmla="*/ 209 w 292"/>
                <a:gd name="T5" fmla="*/ 28 h 293"/>
                <a:gd name="T6" fmla="*/ 197 w 292"/>
                <a:gd name="T7" fmla="*/ 38 h 293"/>
                <a:gd name="T8" fmla="*/ 168 w 292"/>
                <a:gd name="T9" fmla="*/ 28 h 293"/>
                <a:gd name="T10" fmla="*/ 165 w 292"/>
                <a:gd name="T11" fmla="*/ 13 h 293"/>
                <a:gd name="T12" fmla="*/ 148 w 292"/>
                <a:gd name="T13" fmla="*/ 0 h 293"/>
                <a:gd name="T14" fmla="*/ 121 w 292"/>
                <a:gd name="T15" fmla="*/ 2 h 293"/>
                <a:gd name="T16" fmla="*/ 106 w 292"/>
                <a:gd name="T17" fmla="*/ 18 h 293"/>
                <a:gd name="T18" fmla="*/ 106 w 292"/>
                <a:gd name="T19" fmla="*/ 34 h 293"/>
                <a:gd name="T20" fmla="*/ 78 w 292"/>
                <a:gd name="T21" fmla="*/ 48 h 293"/>
                <a:gd name="T22" fmla="*/ 64 w 292"/>
                <a:gd name="T23" fmla="*/ 40 h 293"/>
                <a:gd name="T24" fmla="*/ 43 w 292"/>
                <a:gd name="T25" fmla="*/ 43 h 293"/>
                <a:gd name="T26" fmla="*/ 26 w 292"/>
                <a:gd name="T27" fmla="*/ 63 h 293"/>
                <a:gd name="T28" fmla="*/ 27 w 292"/>
                <a:gd name="T29" fmla="*/ 84 h 293"/>
                <a:gd name="T30" fmla="*/ 38 w 292"/>
                <a:gd name="T31" fmla="*/ 97 h 293"/>
                <a:gd name="T32" fmla="*/ 30 w 292"/>
                <a:gd name="T33" fmla="*/ 125 h 293"/>
                <a:gd name="T34" fmla="*/ 13 w 292"/>
                <a:gd name="T35" fmla="*/ 129 h 293"/>
                <a:gd name="T36" fmla="*/ 0 w 292"/>
                <a:gd name="T37" fmla="*/ 146 h 293"/>
                <a:gd name="T38" fmla="*/ 2 w 292"/>
                <a:gd name="T39" fmla="*/ 172 h 293"/>
                <a:gd name="T40" fmla="*/ 18 w 292"/>
                <a:gd name="T41" fmla="*/ 187 h 293"/>
                <a:gd name="T42" fmla="*/ 36 w 292"/>
                <a:gd name="T43" fmla="*/ 187 h 293"/>
                <a:gd name="T44" fmla="*/ 49 w 292"/>
                <a:gd name="T45" fmla="*/ 212 h 293"/>
                <a:gd name="T46" fmla="*/ 39 w 292"/>
                <a:gd name="T47" fmla="*/ 227 h 293"/>
                <a:gd name="T48" fmla="*/ 42 w 292"/>
                <a:gd name="T49" fmla="*/ 248 h 293"/>
                <a:gd name="T50" fmla="*/ 62 w 292"/>
                <a:gd name="T51" fmla="*/ 265 h 293"/>
                <a:gd name="T52" fmla="*/ 83 w 292"/>
                <a:gd name="T53" fmla="*/ 265 h 293"/>
                <a:gd name="T54" fmla="*/ 96 w 292"/>
                <a:gd name="T55" fmla="*/ 252 h 293"/>
                <a:gd name="T56" fmla="*/ 123 w 292"/>
                <a:gd name="T57" fmla="*/ 261 h 293"/>
                <a:gd name="T58" fmla="*/ 127 w 292"/>
                <a:gd name="T59" fmla="*/ 279 h 293"/>
                <a:gd name="T60" fmla="*/ 144 w 292"/>
                <a:gd name="T61" fmla="*/ 292 h 293"/>
                <a:gd name="T62" fmla="*/ 171 w 292"/>
                <a:gd name="T63" fmla="*/ 290 h 293"/>
                <a:gd name="T64" fmla="*/ 185 w 292"/>
                <a:gd name="T65" fmla="*/ 274 h 293"/>
                <a:gd name="T66" fmla="*/ 186 w 292"/>
                <a:gd name="T67" fmla="*/ 256 h 293"/>
                <a:gd name="T68" fmla="*/ 213 w 292"/>
                <a:gd name="T69" fmla="*/ 243 h 293"/>
                <a:gd name="T70" fmla="*/ 228 w 292"/>
                <a:gd name="T71" fmla="*/ 252 h 293"/>
                <a:gd name="T72" fmla="*/ 249 w 292"/>
                <a:gd name="T73" fmla="*/ 249 h 293"/>
                <a:gd name="T74" fmla="*/ 266 w 292"/>
                <a:gd name="T75" fmla="*/ 229 h 293"/>
                <a:gd name="T76" fmla="*/ 265 w 292"/>
                <a:gd name="T77" fmla="*/ 208 h 293"/>
                <a:gd name="T78" fmla="*/ 253 w 292"/>
                <a:gd name="T79" fmla="*/ 195 h 293"/>
                <a:gd name="T80" fmla="*/ 263 w 292"/>
                <a:gd name="T81" fmla="*/ 167 h 293"/>
                <a:gd name="T82" fmla="*/ 279 w 292"/>
                <a:gd name="T83" fmla="*/ 164 h 293"/>
                <a:gd name="T84" fmla="*/ 291 w 292"/>
                <a:gd name="T85" fmla="*/ 146 h 293"/>
                <a:gd name="T86" fmla="*/ 289 w 292"/>
                <a:gd name="T87" fmla="*/ 120 h 293"/>
                <a:gd name="T88" fmla="*/ 274 w 292"/>
                <a:gd name="T89" fmla="*/ 105 h 293"/>
                <a:gd name="T90" fmla="*/ 258 w 292"/>
                <a:gd name="T91" fmla="*/ 105 h 293"/>
                <a:gd name="T92" fmla="*/ 244 w 292"/>
                <a:gd name="T93" fmla="*/ 78 h 293"/>
                <a:gd name="T94" fmla="*/ 253 w 292"/>
                <a:gd name="T95" fmla="*/ 65 h 293"/>
                <a:gd name="T96" fmla="*/ 250 w 292"/>
                <a:gd name="T97" fmla="*/ 44 h 293"/>
                <a:gd name="T98" fmla="*/ 151 w 292"/>
                <a:gd name="T99" fmla="*/ 197 h 293"/>
                <a:gd name="T100" fmla="*/ 95 w 292"/>
                <a:gd name="T101" fmla="*/ 149 h 293"/>
                <a:gd name="T102" fmla="*/ 142 w 292"/>
                <a:gd name="T103" fmla="*/ 93 h 293"/>
                <a:gd name="T104" fmla="*/ 198 w 292"/>
                <a:gd name="T105" fmla="*/ 141 h 293"/>
                <a:gd name="T106" fmla="*/ 151 w 292"/>
                <a:gd name="T107" fmla="*/ 197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2" h="293">
                  <a:moveTo>
                    <a:pt x="250" y="44"/>
                  </a:moveTo>
                  <a:cubicBezTo>
                    <a:pt x="230" y="27"/>
                    <a:pt x="230" y="27"/>
                    <a:pt x="230" y="27"/>
                  </a:cubicBezTo>
                  <a:cubicBezTo>
                    <a:pt x="224" y="22"/>
                    <a:pt x="215" y="22"/>
                    <a:pt x="209" y="28"/>
                  </a:cubicBezTo>
                  <a:cubicBezTo>
                    <a:pt x="197" y="38"/>
                    <a:pt x="197" y="38"/>
                    <a:pt x="197" y="38"/>
                  </a:cubicBezTo>
                  <a:cubicBezTo>
                    <a:pt x="188" y="33"/>
                    <a:pt x="178" y="30"/>
                    <a:pt x="168" y="28"/>
                  </a:cubicBezTo>
                  <a:cubicBezTo>
                    <a:pt x="165" y="13"/>
                    <a:pt x="165" y="13"/>
                    <a:pt x="165" y="13"/>
                  </a:cubicBezTo>
                  <a:cubicBezTo>
                    <a:pt x="163" y="5"/>
                    <a:pt x="156" y="0"/>
                    <a:pt x="148" y="0"/>
                  </a:cubicBezTo>
                  <a:cubicBezTo>
                    <a:pt x="121" y="2"/>
                    <a:pt x="121" y="2"/>
                    <a:pt x="121" y="2"/>
                  </a:cubicBezTo>
                  <a:cubicBezTo>
                    <a:pt x="113" y="3"/>
                    <a:pt x="107" y="10"/>
                    <a:pt x="106" y="18"/>
                  </a:cubicBezTo>
                  <a:cubicBezTo>
                    <a:pt x="106" y="34"/>
                    <a:pt x="106" y="34"/>
                    <a:pt x="106" y="34"/>
                  </a:cubicBezTo>
                  <a:cubicBezTo>
                    <a:pt x="96" y="37"/>
                    <a:pt x="86" y="42"/>
                    <a:pt x="78" y="48"/>
                  </a:cubicBezTo>
                  <a:cubicBezTo>
                    <a:pt x="64" y="40"/>
                    <a:pt x="64" y="40"/>
                    <a:pt x="64" y="40"/>
                  </a:cubicBezTo>
                  <a:cubicBezTo>
                    <a:pt x="57" y="35"/>
                    <a:pt x="48" y="36"/>
                    <a:pt x="43" y="43"/>
                  </a:cubicBezTo>
                  <a:cubicBezTo>
                    <a:pt x="26" y="63"/>
                    <a:pt x="26" y="63"/>
                    <a:pt x="26" y="63"/>
                  </a:cubicBezTo>
                  <a:cubicBezTo>
                    <a:pt x="21" y="69"/>
                    <a:pt x="21" y="78"/>
                    <a:pt x="27" y="84"/>
                  </a:cubicBezTo>
                  <a:cubicBezTo>
                    <a:pt x="38" y="97"/>
                    <a:pt x="38" y="97"/>
                    <a:pt x="38" y="97"/>
                  </a:cubicBezTo>
                  <a:cubicBezTo>
                    <a:pt x="34" y="106"/>
                    <a:pt x="31" y="115"/>
                    <a:pt x="30" y="125"/>
                  </a:cubicBezTo>
                  <a:cubicBezTo>
                    <a:pt x="13" y="129"/>
                    <a:pt x="13" y="129"/>
                    <a:pt x="13" y="129"/>
                  </a:cubicBezTo>
                  <a:cubicBezTo>
                    <a:pt x="5" y="130"/>
                    <a:pt x="0" y="138"/>
                    <a:pt x="0" y="146"/>
                  </a:cubicBezTo>
                  <a:cubicBezTo>
                    <a:pt x="2" y="172"/>
                    <a:pt x="2" y="172"/>
                    <a:pt x="2" y="172"/>
                  </a:cubicBezTo>
                  <a:cubicBezTo>
                    <a:pt x="3" y="180"/>
                    <a:pt x="10" y="187"/>
                    <a:pt x="18" y="187"/>
                  </a:cubicBezTo>
                  <a:cubicBezTo>
                    <a:pt x="36" y="187"/>
                    <a:pt x="36" y="187"/>
                    <a:pt x="36" y="187"/>
                  </a:cubicBezTo>
                  <a:cubicBezTo>
                    <a:pt x="39" y="196"/>
                    <a:pt x="43" y="204"/>
                    <a:pt x="49" y="212"/>
                  </a:cubicBezTo>
                  <a:cubicBezTo>
                    <a:pt x="39" y="227"/>
                    <a:pt x="39" y="227"/>
                    <a:pt x="39" y="227"/>
                  </a:cubicBezTo>
                  <a:cubicBezTo>
                    <a:pt x="34" y="234"/>
                    <a:pt x="35" y="243"/>
                    <a:pt x="42" y="248"/>
                  </a:cubicBezTo>
                  <a:cubicBezTo>
                    <a:pt x="62" y="265"/>
                    <a:pt x="62" y="265"/>
                    <a:pt x="62" y="265"/>
                  </a:cubicBezTo>
                  <a:cubicBezTo>
                    <a:pt x="68" y="270"/>
                    <a:pt x="77" y="270"/>
                    <a:pt x="83" y="265"/>
                  </a:cubicBezTo>
                  <a:cubicBezTo>
                    <a:pt x="96" y="252"/>
                    <a:pt x="96" y="252"/>
                    <a:pt x="96" y="252"/>
                  </a:cubicBezTo>
                  <a:cubicBezTo>
                    <a:pt x="105" y="256"/>
                    <a:pt x="114" y="259"/>
                    <a:pt x="123" y="261"/>
                  </a:cubicBezTo>
                  <a:cubicBezTo>
                    <a:pt x="127" y="279"/>
                    <a:pt x="127" y="279"/>
                    <a:pt x="127" y="279"/>
                  </a:cubicBezTo>
                  <a:cubicBezTo>
                    <a:pt x="129" y="287"/>
                    <a:pt x="136" y="293"/>
                    <a:pt x="144" y="292"/>
                  </a:cubicBezTo>
                  <a:cubicBezTo>
                    <a:pt x="171" y="290"/>
                    <a:pt x="171" y="290"/>
                    <a:pt x="171" y="290"/>
                  </a:cubicBezTo>
                  <a:cubicBezTo>
                    <a:pt x="179" y="289"/>
                    <a:pt x="185" y="282"/>
                    <a:pt x="185" y="274"/>
                  </a:cubicBezTo>
                  <a:cubicBezTo>
                    <a:pt x="186" y="256"/>
                    <a:pt x="186" y="256"/>
                    <a:pt x="186" y="256"/>
                  </a:cubicBezTo>
                  <a:cubicBezTo>
                    <a:pt x="195" y="253"/>
                    <a:pt x="205" y="248"/>
                    <a:pt x="213" y="243"/>
                  </a:cubicBezTo>
                  <a:cubicBezTo>
                    <a:pt x="228" y="252"/>
                    <a:pt x="228" y="252"/>
                    <a:pt x="228" y="252"/>
                  </a:cubicBezTo>
                  <a:cubicBezTo>
                    <a:pt x="234" y="257"/>
                    <a:pt x="243" y="256"/>
                    <a:pt x="249" y="249"/>
                  </a:cubicBezTo>
                  <a:cubicBezTo>
                    <a:pt x="266" y="229"/>
                    <a:pt x="266" y="229"/>
                    <a:pt x="266" y="229"/>
                  </a:cubicBezTo>
                  <a:cubicBezTo>
                    <a:pt x="271" y="223"/>
                    <a:pt x="271" y="214"/>
                    <a:pt x="265" y="208"/>
                  </a:cubicBezTo>
                  <a:cubicBezTo>
                    <a:pt x="253" y="195"/>
                    <a:pt x="253" y="195"/>
                    <a:pt x="253" y="195"/>
                  </a:cubicBezTo>
                  <a:cubicBezTo>
                    <a:pt x="258" y="186"/>
                    <a:pt x="261" y="177"/>
                    <a:pt x="263" y="167"/>
                  </a:cubicBezTo>
                  <a:cubicBezTo>
                    <a:pt x="279" y="164"/>
                    <a:pt x="279" y="164"/>
                    <a:pt x="279" y="164"/>
                  </a:cubicBezTo>
                  <a:cubicBezTo>
                    <a:pt x="287" y="162"/>
                    <a:pt x="292" y="155"/>
                    <a:pt x="291" y="146"/>
                  </a:cubicBezTo>
                  <a:cubicBezTo>
                    <a:pt x="289" y="120"/>
                    <a:pt x="289" y="120"/>
                    <a:pt x="289" y="120"/>
                  </a:cubicBezTo>
                  <a:cubicBezTo>
                    <a:pt x="289" y="112"/>
                    <a:pt x="282" y="106"/>
                    <a:pt x="274" y="105"/>
                  </a:cubicBezTo>
                  <a:cubicBezTo>
                    <a:pt x="258" y="105"/>
                    <a:pt x="258" y="105"/>
                    <a:pt x="258" y="105"/>
                  </a:cubicBezTo>
                  <a:cubicBezTo>
                    <a:pt x="254" y="96"/>
                    <a:pt x="250" y="87"/>
                    <a:pt x="244" y="78"/>
                  </a:cubicBezTo>
                  <a:cubicBezTo>
                    <a:pt x="253" y="65"/>
                    <a:pt x="253" y="65"/>
                    <a:pt x="253" y="65"/>
                  </a:cubicBezTo>
                  <a:cubicBezTo>
                    <a:pt x="258" y="58"/>
                    <a:pt x="256" y="49"/>
                    <a:pt x="250" y="44"/>
                  </a:cubicBezTo>
                  <a:moveTo>
                    <a:pt x="151" y="197"/>
                  </a:moveTo>
                  <a:cubicBezTo>
                    <a:pt x="122" y="199"/>
                    <a:pt x="97" y="178"/>
                    <a:pt x="95" y="149"/>
                  </a:cubicBezTo>
                  <a:cubicBezTo>
                    <a:pt x="92" y="121"/>
                    <a:pt x="114" y="96"/>
                    <a:pt x="142" y="93"/>
                  </a:cubicBezTo>
                  <a:cubicBezTo>
                    <a:pt x="171" y="91"/>
                    <a:pt x="196" y="112"/>
                    <a:pt x="198" y="141"/>
                  </a:cubicBezTo>
                  <a:cubicBezTo>
                    <a:pt x="201" y="169"/>
                    <a:pt x="179" y="194"/>
                    <a:pt x="151" y="19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4"/>
            <p:cNvSpPr>
              <a:spLocks noEditPoints="1"/>
            </p:cNvSpPr>
            <p:nvPr/>
          </p:nvSpPr>
          <p:spPr bwMode="auto">
            <a:xfrm>
              <a:off x="1429916" y="1807400"/>
              <a:ext cx="282253" cy="281749"/>
            </a:xfrm>
            <a:custGeom>
              <a:avLst/>
              <a:gdLst>
                <a:gd name="T0" fmla="*/ 15 w 237"/>
                <a:gd name="T1" fmla="*/ 93 h 237"/>
                <a:gd name="T2" fmla="*/ 1 w 237"/>
                <a:gd name="T3" fmla="*/ 109 h 237"/>
                <a:gd name="T4" fmla="*/ 0 w 237"/>
                <a:gd name="T5" fmla="*/ 125 h 237"/>
                <a:gd name="T6" fmla="*/ 14 w 237"/>
                <a:gd name="T7" fmla="*/ 142 h 237"/>
                <a:gd name="T8" fmla="*/ 26 w 237"/>
                <a:gd name="T9" fmla="*/ 143 h 237"/>
                <a:gd name="T10" fmla="*/ 35 w 237"/>
                <a:gd name="T11" fmla="*/ 164 h 237"/>
                <a:gd name="T12" fmla="*/ 27 w 237"/>
                <a:gd name="T13" fmla="*/ 173 h 237"/>
                <a:gd name="T14" fmla="*/ 28 w 237"/>
                <a:gd name="T15" fmla="*/ 195 h 237"/>
                <a:gd name="T16" fmla="*/ 39 w 237"/>
                <a:gd name="T17" fmla="*/ 206 h 237"/>
                <a:gd name="T18" fmla="*/ 61 w 237"/>
                <a:gd name="T19" fmla="*/ 208 h 237"/>
                <a:gd name="T20" fmla="*/ 70 w 237"/>
                <a:gd name="T21" fmla="*/ 200 h 237"/>
                <a:gd name="T22" fmla="*/ 92 w 237"/>
                <a:gd name="T23" fmla="*/ 210 h 237"/>
                <a:gd name="T24" fmla="*/ 93 w 237"/>
                <a:gd name="T25" fmla="*/ 222 h 237"/>
                <a:gd name="T26" fmla="*/ 109 w 237"/>
                <a:gd name="T27" fmla="*/ 236 h 237"/>
                <a:gd name="T28" fmla="*/ 125 w 237"/>
                <a:gd name="T29" fmla="*/ 237 h 237"/>
                <a:gd name="T30" fmla="*/ 141 w 237"/>
                <a:gd name="T31" fmla="*/ 223 h 237"/>
                <a:gd name="T32" fmla="*/ 142 w 237"/>
                <a:gd name="T33" fmla="*/ 211 h 237"/>
                <a:gd name="T34" fmla="*/ 166 w 237"/>
                <a:gd name="T35" fmla="*/ 202 h 237"/>
                <a:gd name="T36" fmla="*/ 175 w 237"/>
                <a:gd name="T37" fmla="*/ 209 h 237"/>
                <a:gd name="T38" fmla="*/ 196 w 237"/>
                <a:gd name="T39" fmla="*/ 208 h 237"/>
                <a:gd name="T40" fmla="*/ 207 w 237"/>
                <a:gd name="T41" fmla="*/ 197 h 237"/>
                <a:gd name="T42" fmla="*/ 209 w 237"/>
                <a:gd name="T43" fmla="*/ 176 h 237"/>
                <a:gd name="T44" fmla="*/ 202 w 237"/>
                <a:gd name="T45" fmla="*/ 167 h 237"/>
                <a:gd name="T46" fmla="*/ 212 w 237"/>
                <a:gd name="T47" fmla="*/ 144 h 237"/>
                <a:gd name="T48" fmla="*/ 222 w 237"/>
                <a:gd name="T49" fmla="*/ 143 h 237"/>
                <a:gd name="T50" fmla="*/ 237 w 237"/>
                <a:gd name="T51" fmla="*/ 127 h 237"/>
                <a:gd name="T52" fmla="*/ 237 w 237"/>
                <a:gd name="T53" fmla="*/ 111 h 237"/>
                <a:gd name="T54" fmla="*/ 223 w 237"/>
                <a:gd name="T55" fmla="*/ 95 h 237"/>
                <a:gd name="T56" fmla="*/ 213 w 237"/>
                <a:gd name="T57" fmla="*/ 94 h 237"/>
                <a:gd name="T58" fmla="*/ 204 w 237"/>
                <a:gd name="T59" fmla="*/ 71 h 237"/>
                <a:gd name="T60" fmla="*/ 210 w 237"/>
                <a:gd name="T61" fmla="*/ 63 h 237"/>
                <a:gd name="T62" fmla="*/ 209 w 237"/>
                <a:gd name="T63" fmla="*/ 42 h 237"/>
                <a:gd name="T64" fmla="*/ 198 w 237"/>
                <a:gd name="T65" fmla="*/ 30 h 237"/>
                <a:gd name="T66" fmla="*/ 177 w 237"/>
                <a:gd name="T67" fmla="*/ 29 h 237"/>
                <a:gd name="T68" fmla="*/ 169 w 237"/>
                <a:gd name="T69" fmla="*/ 35 h 237"/>
                <a:gd name="T70" fmla="*/ 146 w 237"/>
                <a:gd name="T71" fmla="*/ 25 h 237"/>
                <a:gd name="T72" fmla="*/ 145 w 237"/>
                <a:gd name="T73" fmla="*/ 15 h 237"/>
                <a:gd name="T74" fmla="*/ 129 w 237"/>
                <a:gd name="T75" fmla="*/ 0 h 237"/>
                <a:gd name="T76" fmla="*/ 113 w 237"/>
                <a:gd name="T77" fmla="*/ 0 h 237"/>
                <a:gd name="T78" fmla="*/ 96 w 237"/>
                <a:gd name="T79" fmla="*/ 14 h 237"/>
                <a:gd name="T80" fmla="*/ 95 w 237"/>
                <a:gd name="T81" fmla="*/ 24 h 237"/>
                <a:gd name="T82" fmla="*/ 71 w 237"/>
                <a:gd name="T83" fmla="*/ 34 h 237"/>
                <a:gd name="T84" fmla="*/ 63 w 237"/>
                <a:gd name="T85" fmla="*/ 27 h 237"/>
                <a:gd name="T86" fmla="*/ 42 w 237"/>
                <a:gd name="T87" fmla="*/ 28 h 237"/>
                <a:gd name="T88" fmla="*/ 30 w 237"/>
                <a:gd name="T89" fmla="*/ 40 h 237"/>
                <a:gd name="T90" fmla="*/ 29 w 237"/>
                <a:gd name="T91" fmla="*/ 61 h 237"/>
                <a:gd name="T92" fmla="*/ 35 w 237"/>
                <a:gd name="T93" fmla="*/ 70 h 237"/>
                <a:gd name="T94" fmla="*/ 26 w 237"/>
                <a:gd name="T95" fmla="*/ 92 h 237"/>
                <a:gd name="T96" fmla="*/ 15 w 237"/>
                <a:gd name="T97" fmla="*/ 93 h 237"/>
                <a:gd name="T98" fmla="*/ 120 w 237"/>
                <a:gd name="T99" fmla="*/ 75 h 237"/>
                <a:gd name="T100" fmla="*/ 161 w 237"/>
                <a:gd name="T101" fmla="*/ 118 h 237"/>
                <a:gd name="T102" fmla="*/ 119 w 237"/>
                <a:gd name="T103" fmla="*/ 160 h 237"/>
                <a:gd name="T104" fmla="*/ 77 w 237"/>
                <a:gd name="T105" fmla="*/ 117 h 237"/>
                <a:gd name="T106" fmla="*/ 120 w 237"/>
                <a:gd name="T107" fmla="*/ 7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237">
                  <a:moveTo>
                    <a:pt x="15" y="93"/>
                  </a:moveTo>
                  <a:cubicBezTo>
                    <a:pt x="7" y="94"/>
                    <a:pt x="1" y="101"/>
                    <a:pt x="1" y="109"/>
                  </a:cubicBezTo>
                  <a:cubicBezTo>
                    <a:pt x="0" y="125"/>
                    <a:pt x="0" y="125"/>
                    <a:pt x="0" y="125"/>
                  </a:cubicBezTo>
                  <a:cubicBezTo>
                    <a:pt x="0" y="134"/>
                    <a:pt x="6" y="141"/>
                    <a:pt x="14" y="142"/>
                  </a:cubicBezTo>
                  <a:cubicBezTo>
                    <a:pt x="26" y="143"/>
                    <a:pt x="26" y="143"/>
                    <a:pt x="26" y="143"/>
                  </a:cubicBezTo>
                  <a:cubicBezTo>
                    <a:pt x="28" y="150"/>
                    <a:pt x="31" y="157"/>
                    <a:pt x="35" y="164"/>
                  </a:cubicBezTo>
                  <a:cubicBezTo>
                    <a:pt x="27" y="173"/>
                    <a:pt x="27" y="173"/>
                    <a:pt x="27" y="173"/>
                  </a:cubicBezTo>
                  <a:cubicBezTo>
                    <a:pt x="22" y="180"/>
                    <a:pt x="22" y="189"/>
                    <a:pt x="28" y="195"/>
                  </a:cubicBezTo>
                  <a:cubicBezTo>
                    <a:pt x="39" y="206"/>
                    <a:pt x="39" y="206"/>
                    <a:pt x="39" y="206"/>
                  </a:cubicBezTo>
                  <a:cubicBezTo>
                    <a:pt x="45" y="212"/>
                    <a:pt x="54" y="213"/>
                    <a:pt x="61" y="208"/>
                  </a:cubicBezTo>
                  <a:cubicBezTo>
                    <a:pt x="70" y="200"/>
                    <a:pt x="70" y="200"/>
                    <a:pt x="70" y="200"/>
                  </a:cubicBezTo>
                  <a:cubicBezTo>
                    <a:pt x="77" y="204"/>
                    <a:pt x="84" y="207"/>
                    <a:pt x="92" y="210"/>
                  </a:cubicBezTo>
                  <a:cubicBezTo>
                    <a:pt x="93" y="222"/>
                    <a:pt x="93" y="222"/>
                    <a:pt x="93" y="222"/>
                  </a:cubicBezTo>
                  <a:cubicBezTo>
                    <a:pt x="94" y="230"/>
                    <a:pt x="101" y="236"/>
                    <a:pt x="109" y="236"/>
                  </a:cubicBezTo>
                  <a:cubicBezTo>
                    <a:pt x="125" y="237"/>
                    <a:pt x="125" y="237"/>
                    <a:pt x="125" y="237"/>
                  </a:cubicBezTo>
                  <a:cubicBezTo>
                    <a:pt x="133" y="237"/>
                    <a:pt x="140" y="231"/>
                    <a:pt x="141" y="223"/>
                  </a:cubicBezTo>
                  <a:cubicBezTo>
                    <a:pt x="142" y="211"/>
                    <a:pt x="142" y="211"/>
                    <a:pt x="142" y="211"/>
                  </a:cubicBezTo>
                  <a:cubicBezTo>
                    <a:pt x="151" y="209"/>
                    <a:pt x="158" y="206"/>
                    <a:pt x="166" y="202"/>
                  </a:cubicBezTo>
                  <a:cubicBezTo>
                    <a:pt x="175" y="209"/>
                    <a:pt x="175" y="209"/>
                    <a:pt x="175" y="209"/>
                  </a:cubicBezTo>
                  <a:cubicBezTo>
                    <a:pt x="181" y="214"/>
                    <a:pt x="190" y="214"/>
                    <a:pt x="196" y="208"/>
                  </a:cubicBezTo>
                  <a:cubicBezTo>
                    <a:pt x="207" y="197"/>
                    <a:pt x="207" y="197"/>
                    <a:pt x="207" y="197"/>
                  </a:cubicBezTo>
                  <a:cubicBezTo>
                    <a:pt x="213" y="191"/>
                    <a:pt x="214" y="182"/>
                    <a:pt x="209" y="176"/>
                  </a:cubicBezTo>
                  <a:cubicBezTo>
                    <a:pt x="202" y="167"/>
                    <a:pt x="202" y="167"/>
                    <a:pt x="202" y="167"/>
                  </a:cubicBezTo>
                  <a:cubicBezTo>
                    <a:pt x="206" y="160"/>
                    <a:pt x="210" y="152"/>
                    <a:pt x="212" y="144"/>
                  </a:cubicBezTo>
                  <a:cubicBezTo>
                    <a:pt x="222" y="143"/>
                    <a:pt x="222" y="143"/>
                    <a:pt x="222" y="143"/>
                  </a:cubicBezTo>
                  <a:cubicBezTo>
                    <a:pt x="231" y="142"/>
                    <a:pt x="237" y="135"/>
                    <a:pt x="237" y="127"/>
                  </a:cubicBezTo>
                  <a:cubicBezTo>
                    <a:pt x="237" y="111"/>
                    <a:pt x="237" y="111"/>
                    <a:pt x="237" y="111"/>
                  </a:cubicBezTo>
                  <a:cubicBezTo>
                    <a:pt x="237" y="103"/>
                    <a:pt x="231" y="96"/>
                    <a:pt x="223" y="95"/>
                  </a:cubicBezTo>
                  <a:cubicBezTo>
                    <a:pt x="213" y="94"/>
                    <a:pt x="213" y="94"/>
                    <a:pt x="213" y="94"/>
                  </a:cubicBezTo>
                  <a:cubicBezTo>
                    <a:pt x="211" y="86"/>
                    <a:pt x="208" y="78"/>
                    <a:pt x="204" y="71"/>
                  </a:cubicBezTo>
                  <a:cubicBezTo>
                    <a:pt x="210" y="63"/>
                    <a:pt x="210" y="63"/>
                    <a:pt x="210" y="63"/>
                  </a:cubicBezTo>
                  <a:cubicBezTo>
                    <a:pt x="215" y="57"/>
                    <a:pt x="215" y="48"/>
                    <a:pt x="209" y="42"/>
                  </a:cubicBezTo>
                  <a:cubicBezTo>
                    <a:pt x="198" y="30"/>
                    <a:pt x="198" y="30"/>
                    <a:pt x="198" y="30"/>
                  </a:cubicBezTo>
                  <a:cubicBezTo>
                    <a:pt x="192" y="24"/>
                    <a:pt x="183" y="24"/>
                    <a:pt x="177" y="29"/>
                  </a:cubicBezTo>
                  <a:cubicBezTo>
                    <a:pt x="169" y="35"/>
                    <a:pt x="169" y="35"/>
                    <a:pt x="169" y="35"/>
                  </a:cubicBezTo>
                  <a:cubicBezTo>
                    <a:pt x="162" y="30"/>
                    <a:pt x="154" y="27"/>
                    <a:pt x="146" y="25"/>
                  </a:cubicBezTo>
                  <a:cubicBezTo>
                    <a:pt x="145" y="15"/>
                    <a:pt x="145" y="15"/>
                    <a:pt x="145" y="15"/>
                  </a:cubicBezTo>
                  <a:cubicBezTo>
                    <a:pt x="144" y="6"/>
                    <a:pt x="137" y="0"/>
                    <a:pt x="129" y="0"/>
                  </a:cubicBezTo>
                  <a:cubicBezTo>
                    <a:pt x="113" y="0"/>
                    <a:pt x="113" y="0"/>
                    <a:pt x="113" y="0"/>
                  </a:cubicBezTo>
                  <a:cubicBezTo>
                    <a:pt x="104" y="0"/>
                    <a:pt x="98" y="6"/>
                    <a:pt x="96" y="14"/>
                  </a:cubicBezTo>
                  <a:cubicBezTo>
                    <a:pt x="95" y="24"/>
                    <a:pt x="95" y="24"/>
                    <a:pt x="95" y="24"/>
                  </a:cubicBezTo>
                  <a:cubicBezTo>
                    <a:pt x="87" y="26"/>
                    <a:pt x="79" y="30"/>
                    <a:pt x="71" y="34"/>
                  </a:cubicBezTo>
                  <a:cubicBezTo>
                    <a:pt x="63" y="27"/>
                    <a:pt x="63" y="27"/>
                    <a:pt x="63" y="27"/>
                  </a:cubicBezTo>
                  <a:cubicBezTo>
                    <a:pt x="57" y="22"/>
                    <a:pt x="48" y="23"/>
                    <a:pt x="42" y="28"/>
                  </a:cubicBezTo>
                  <a:cubicBezTo>
                    <a:pt x="30" y="40"/>
                    <a:pt x="30" y="40"/>
                    <a:pt x="30" y="40"/>
                  </a:cubicBezTo>
                  <a:cubicBezTo>
                    <a:pt x="24" y="45"/>
                    <a:pt x="24" y="55"/>
                    <a:pt x="29" y="61"/>
                  </a:cubicBezTo>
                  <a:cubicBezTo>
                    <a:pt x="35" y="70"/>
                    <a:pt x="35" y="70"/>
                    <a:pt x="35" y="70"/>
                  </a:cubicBezTo>
                  <a:cubicBezTo>
                    <a:pt x="31" y="77"/>
                    <a:pt x="28" y="84"/>
                    <a:pt x="26" y="92"/>
                  </a:cubicBezTo>
                  <a:lnTo>
                    <a:pt x="15" y="93"/>
                  </a:lnTo>
                  <a:close/>
                  <a:moveTo>
                    <a:pt x="120" y="75"/>
                  </a:moveTo>
                  <a:cubicBezTo>
                    <a:pt x="143" y="75"/>
                    <a:pt x="162" y="95"/>
                    <a:pt x="161" y="118"/>
                  </a:cubicBezTo>
                  <a:cubicBezTo>
                    <a:pt x="161" y="141"/>
                    <a:pt x="142" y="160"/>
                    <a:pt x="119" y="160"/>
                  </a:cubicBezTo>
                  <a:cubicBezTo>
                    <a:pt x="95" y="159"/>
                    <a:pt x="77" y="140"/>
                    <a:pt x="77" y="117"/>
                  </a:cubicBezTo>
                  <a:cubicBezTo>
                    <a:pt x="77" y="94"/>
                    <a:pt x="96" y="75"/>
                    <a:pt x="120" y="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9" name="Group 88"/>
          <p:cNvGrpSpPr/>
          <p:nvPr/>
        </p:nvGrpSpPr>
        <p:grpSpPr>
          <a:xfrm>
            <a:off x="6075139" y="3742346"/>
            <a:ext cx="736240" cy="736883"/>
            <a:chOff x="6737791" y="1142592"/>
            <a:chExt cx="1152702" cy="1153711"/>
          </a:xfrm>
          <a:solidFill>
            <a:srgbClr val="004BAF"/>
          </a:solidFill>
        </p:grpSpPr>
        <p:sp>
          <p:nvSpPr>
            <p:cNvPr id="90" name="Oval 15"/>
            <p:cNvSpPr>
              <a:spLocks noChangeArrowheads="1"/>
            </p:cNvSpPr>
            <p:nvPr/>
          </p:nvSpPr>
          <p:spPr bwMode="auto">
            <a:xfrm>
              <a:off x="6737791" y="1142592"/>
              <a:ext cx="1152702" cy="115371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16"/>
            <p:cNvSpPr>
              <a:spLocks noEditPoints="1"/>
            </p:cNvSpPr>
            <p:nvPr/>
          </p:nvSpPr>
          <p:spPr bwMode="auto">
            <a:xfrm>
              <a:off x="6991315" y="1392588"/>
              <a:ext cx="665815" cy="666824"/>
            </a:xfrm>
            <a:custGeom>
              <a:avLst/>
              <a:gdLst>
                <a:gd name="T0" fmla="*/ 376 w 559"/>
                <a:gd name="T1" fmla="*/ 0 h 560"/>
                <a:gd name="T2" fmla="*/ 193 w 559"/>
                <a:gd name="T3" fmla="*/ 183 h 560"/>
                <a:gd name="T4" fmla="*/ 235 w 559"/>
                <a:gd name="T5" fmla="*/ 300 h 560"/>
                <a:gd name="T6" fmla="*/ 209 w 559"/>
                <a:gd name="T7" fmla="*/ 327 h 560"/>
                <a:gd name="T8" fmla="*/ 197 w 559"/>
                <a:gd name="T9" fmla="*/ 315 h 560"/>
                <a:gd name="T10" fmla="*/ 173 w 559"/>
                <a:gd name="T11" fmla="*/ 315 h 560"/>
                <a:gd name="T12" fmla="*/ 15 w 559"/>
                <a:gd name="T13" fmla="*/ 472 h 560"/>
                <a:gd name="T14" fmla="*/ 0 w 559"/>
                <a:gd name="T15" fmla="*/ 509 h 560"/>
                <a:gd name="T16" fmla="*/ 15 w 559"/>
                <a:gd name="T17" fmla="*/ 545 h 560"/>
                <a:gd name="T18" fmla="*/ 52 w 559"/>
                <a:gd name="T19" fmla="*/ 560 h 560"/>
                <a:gd name="T20" fmla="*/ 88 w 559"/>
                <a:gd name="T21" fmla="*/ 545 h 560"/>
                <a:gd name="T22" fmla="*/ 246 w 559"/>
                <a:gd name="T23" fmla="*/ 388 h 560"/>
                <a:gd name="T24" fmla="*/ 246 w 559"/>
                <a:gd name="T25" fmla="*/ 364 h 560"/>
                <a:gd name="T26" fmla="*/ 233 w 559"/>
                <a:gd name="T27" fmla="*/ 351 h 560"/>
                <a:gd name="T28" fmla="*/ 260 w 559"/>
                <a:gd name="T29" fmla="*/ 324 h 560"/>
                <a:gd name="T30" fmla="*/ 376 w 559"/>
                <a:gd name="T31" fmla="*/ 366 h 560"/>
                <a:gd name="T32" fmla="*/ 559 w 559"/>
                <a:gd name="T33" fmla="*/ 183 h 560"/>
                <a:gd name="T34" fmla="*/ 376 w 559"/>
                <a:gd name="T35" fmla="*/ 0 h 560"/>
                <a:gd name="T36" fmla="*/ 524 w 559"/>
                <a:gd name="T37" fmla="*/ 183 h 560"/>
                <a:gd name="T38" fmla="*/ 376 w 559"/>
                <a:gd name="T39" fmla="*/ 331 h 560"/>
                <a:gd name="T40" fmla="*/ 227 w 559"/>
                <a:gd name="T41" fmla="*/ 183 h 560"/>
                <a:gd name="T42" fmla="*/ 376 w 559"/>
                <a:gd name="T43" fmla="*/ 34 h 560"/>
                <a:gd name="T44" fmla="*/ 524 w 559"/>
                <a:gd name="T45" fmla="*/ 183 h 560"/>
                <a:gd name="T46" fmla="*/ 209 w 559"/>
                <a:gd name="T47" fmla="*/ 376 h 560"/>
                <a:gd name="T48" fmla="*/ 64 w 559"/>
                <a:gd name="T49" fmla="*/ 521 h 560"/>
                <a:gd name="T50" fmla="*/ 40 w 559"/>
                <a:gd name="T51" fmla="*/ 521 h 560"/>
                <a:gd name="T52" fmla="*/ 35 w 559"/>
                <a:gd name="T53" fmla="*/ 509 h 560"/>
                <a:gd name="T54" fmla="*/ 40 w 559"/>
                <a:gd name="T55" fmla="*/ 497 h 560"/>
                <a:gd name="T56" fmla="*/ 185 w 559"/>
                <a:gd name="T57" fmla="*/ 351 h 560"/>
                <a:gd name="T58" fmla="*/ 209 w 559"/>
                <a:gd name="T59" fmla="*/ 376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59" h="560">
                  <a:moveTo>
                    <a:pt x="376" y="0"/>
                  </a:moveTo>
                  <a:cubicBezTo>
                    <a:pt x="275" y="0"/>
                    <a:pt x="193" y="82"/>
                    <a:pt x="193" y="183"/>
                  </a:cubicBezTo>
                  <a:cubicBezTo>
                    <a:pt x="193" y="226"/>
                    <a:pt x="208" y="267"/>
                    <a:pt x="235" y="300"/>
                  </a:cubicBezTo>
                  <a:cubicBezTo>
                    <a:pt x="209" y="327"/>
                    <a:pt x="209" y="327"/>
                    <a:pt x="209" y="327"/>
                  </a:cubicBezTo>
                  <a:cubicBezTo>
                    <a:pt x="197" y="315"/>
                    <a:pt x="197" y="315"/>
                    <a:pt x="197" y="315"/>
                  </a:cubicBezTo>
                  <a:cubicBezTo>
                    <a:pt x="190" y="308"/>
                    <a:pt x="179" y="308"/>
                    <a:pt x="173" y="315"/>
                  </a:cubicBezTo>
                  <a:cubicBezTo>
                    <a:pt x="15" y="472"/>
                    <a:pt x="15" y="472"/>
                    <a:pt x="15" y="472"/>
                  </a:cubicBezTo>
                  <a:cubicBezTo>
                    <a:pt x="6" y="482"/>
                    <a:pt x="0" y="495"/>
                    <a:pt x="0" y="509"/>
                  </a:cubicBezTo>
                  <a:cubicBezTo>
                    <a:pt x="0" y="523"/>
                    <a:pt x="6" y="536"/>
                    <a:pt x="15" y="545"/>
                  </a:cubicBezTo>
                  <a:cubicBezTo>
                    <a:pt x="25" y="555"/>
                    <a:pt x="38" y="560"/>
                    <a:pt x="52" y="560"/>
                  </a:cubicBezTo>
                  <a:cubicBezTo>
                    <a:pt x="66" y="560"/>
                    <a:pt x="79" y="555"/>
                    <a:pt x="88" y="545"/>
                  </a:cubicBezTo>
                  <a:cubicBezTo>
                    <a:pt x="246" y="388"/>
                    <a:pt x="246" y="388"/>
                    <a:pt x="246" y="388"/>
                  </a:cubicBezTo>
                  <a:cubicBezTo>
                    <a:pt x="252" y="381"/>
                    <a:pt x="252" y="370"/>
                    <a:pt x="246" y="364"/>
                  </a:cubicBezTo>
                  <a:cubicBezTo>
                    <a:pt x="233" y="351"/>
                    <a:pt x="233" y="351"/>
                    <a:pt x="233" y="351"/>
                  </a:cubicBezTo>
                  <a:cubicBezTo>
                    <a:pt x="260" y="324"/>
                    <a:pt x="260" y="324"/>
                    <a:pt x="260" y="324"/>
                  </a:cubicBezTo>
                  <a:cubicBezTo>
                    <a:pt x="292" y="351"/>
                    <a:pt x="333" y="366"/>
                    <a:pt x="376" y="366"/>
                  </a:cubicBezTo>
                  <a:cubicBezTo>
                    <a:pt x="477" y="366"/>
                    <a:pt x="559" y="284"/>
                    <a:pt x="559" y="183"/>
                  </a:cubicBezTo>
                  <a:cubicBezTo>
                    <a:pt x="559" y="82"/>
                    <a:pt x="477" y="0"/>
                    <a:pt x="376" y="0"/>
                  </a:cubicBezTo>
                  <a:moveTo>
                    <a:pt x="524" y="183"/>
                  </a:moveTo>
                  <a:cubicBezTo>
                    <a:pt x="524" y="265"/>
                    <a:pt x="458" y="331"/>
                    <a:pt x="376" y="331"/>
                  </a:cubicBezTo>
                  <a:cubicBezTo>
                    <a:pt x="294" y="331"/>
                    <a:pt x="227" y="265"/>
                    <a:pt x="227" y="183"/>
                  </a:cubicBezTo>
                  <a:cubicBezTo>
                    <a:pt x="227" y="101"/>
                    <a:pt x="294" y="34"/>
                    <a:pt x="376" y="34"/>
                  </a:cubicBezTo>
                  <a:cubicBezTo>
                    <a:pt x="458" y="34"/>
                    <a:pt x="524" y="101"/>
                    <a:pt x="524" y="183"/>
                  </a:cubicBezTo>
                  <a:moveTo>
                    <a:pt x="209" y="376"/>
                  </a:moveTo>
                  <a:cubicBezTo>
                    <a:pt x="64" y="521"/>
                    <a:pt x="64" y="521"/>
                    <a:pt x="64" y="521"/>
                  </a:cubicBezTo>
                  <a:cubicBezTo>
                    <a:pt x="57" y="528"/>
                    <a:pt x="46" y="528"/>
                    <a:pt x="40" y="521"/>
                  </a:cubicBezTo>
                  <a:cubicBezTo>
                    <a:pt x="36" y="518"/>
                    <a:pt x="35" y="513"/>
                    <a:pt x="35" y="509"/>
                  </a:cubicBezTo>
                  <a:cubicBezTo>
                    <a:pt x="35" y="504"/>
                    <a:pt x="36" y="500"/>
                    <a:pt x="40" y="497"/>
                  </a:cubicBezTo>
                  <a:cubicBezTo>
                    <a:pt x="185" y="351"/>
                    <a:pt x="185" y="351"/>
                    <a:pt x="185" y="351"/>
                  </a:cubicBezTo>
                  <a:lnTo>
                    <a:pt x="209"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7"/>
            <p:cNvSpPr>
              <a:spLocks/>
            </p:cNvSpPr>
            <p:nvPr/>
          </p:nvSpPr>
          <p:spPr bwMode="auto">
            <a:xfrm>
              <a:off x="7492818" y="1572524"/>
              <a:ext cx="32258" cy="32258"/>
            </a:xfrm>
            <a:custGeom>
              <a:avLst/>
              <a:gdLst>
                <a:gd name="T0" fmla="*/ 19 w 27"/>
                <a:gd name="T1" fmla="*/ 2 h 27"/>
                <a:gd name="T2" fmla="*/ 4 w 27"/>
                <a:gd name="T3" fmla="*/ 7 h 27"/>
                <a:gd name="T4" fmla="*/ 3 w 27"/>
                <a:gd name="T5" fmla="*/ 11 h 27"/>
                <a:gd name="T6" fmla="*/ 8 w 27"/>
                <a:gd name="T7" fmla="*/ 25 h 27"/>
                <a:gd name="T8" fmla="*/ 13 w 27"/>
                <a:gd name="T9" fmla="*/ 27 h 27"/>
                <a:gd name="T10" fmla="*/ 22 w 27"/>
                <a:gd name="T11" fmla="*/ 20 h 27"/>
                <a:gd name="T12" fmla="*/ 24 w 27"/>
                <a:gd name="T13" fmla="*/ 17 h 27"/>
                <a:gd name="T14" fmla="*/ 19 w 27"/>
                <a:gd name="T15" fmla="*/ 2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7">
                  <a:moveTo>
                    <a:pt x="19" y="2"/>
                  </a:moveTo>
                  <a:cubicBezTo>
                    <a:pt x="13" y="0"/>
                    <a:pt x="7" y="2"/>
                    <a:pt x="4" y="7"/>
                  </a:cubicBezTo>
                  <a:cubicBezTo>
                    <a:pt x="3" y="11"/>
                    <a:pt x="3" y="11"/>
                    <a:pt x="3" y="11"/>
                  </a:cubicBezTo>
                  <a:cubicBezTo>
                    <a:pt x="0" y="16"/>
                    <a:pt x="2" y="23"/>
                    <a:pt x="8" y="25"/>
                  </a:cubicBezTo>
                  <a:cubicBezTo>
                    <a:pt x="9" y="26"/>
                    <a:pt x="11" y="27"/>
                    <a:pt x="13" y="27"/>
                  </a:cubicBezTo>
                  <a:cubicBezTo>
                    <a:pt x="17" y="27"/>
                    <a:pt x="21" y="24"/>
                    <a:pt x="22" y="20"/>
                  </a:cubicBezTo>
                  <a:cubicBezTo>
                    <a:pt x="24" y="17"/>
                    <a:pt x="24" y="17"/>
                    <a:pt x="24" y="17"/>
                  </a:cubicBezTo>
                  <a:cubicBezTo>
                    <a:pt x="27" y="11"/>
                    <a:pt x="24" y="5"/>
                    <a:pt x="19"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8"/>
            <p:cNvSpPr>
              <a:spLocks noEditPoints="1"/>
            </p:cNvSpPr>
            <p:nvPr/>
          </p:nvSpPr>
          <p:spPr bwMode="auto">
            <a:xfrm>
              <a:off x="7284152" y="1535731"/>
              <a:ext cx="221770" cy="207154"/>
            </a:xfrm>
            <a:custGeom>
              <a:avLst/>
              <a:gdLst>
                <a:gd name="T0" fmla="*/ 178 w 186"/>
                <a:gd name="T1" fmla="*/ 66 h 174"/>
                <a:gd name="T2" fmla="*/ 164 w 186"/>
                <a:gd name="T3" fmla="*/ 71 h 174"/>
                <a:gd name="T4" fmla="*/ 145 w 186"/>
                <a:gd name="T5" fmla="*/ 110 h 174"/>
                <a:gd name="T6" fmla="*/ 143 w 186"/>
                <a:gd name="T7" fmla="*/ 110 h 174"/>
                <a:gd name="T8" fmla="*/ 137 w 186"/>
                <a:gd name="T9" fmla="*/ 111 h 174"/>
                <a:gd name="T10" fmla="*/ 103 w 186"/>
                <a:gd name="T11" fmla="*/ 53 h 174"/>
                <a:gd name="T12" fmla="*/ 110 w 186"/>
                <a:gd name="T13" fmla="*/ 32 h 174"/>
                <a:gd name="T14" fmla="*/ 78 w 186"/>
                <a:gd name="T15" fmla="*/ 0 h 174"/>
                <a:gd name="T16" fmla="*/ 46 w 186"/>
                <a:gd name="T17" fmla="*/ 32 h 174"/>
                <a:gd name="T18" fmla="*/ 52 w 186"/>
                <a:gd name="T19" fmla="*/ 51 h 174"/>
                <a:gd name="T20" fmla="*/ 40 w 186"/>
                <a:gd name="T21" fmla="*/ 68 h 174"/>
                <a:gd name="T22" fmla="*/ 32 w 186"/>
                <a:gd name="T23" fmla="*/ 67 h 174"/>
                <a:gd name="T24" fmla="*/ 0 w 186"/>
                <a:gd name="T25" fmla="*/ 99 h 174"/>
                <a:gd name="T26" fmla="*/ 32 w 186"/>
                <a:gd name="T27" fmla="*/ 131 h 174"/>
                <a:gd name="T28" fmla="*/ 64 w 186"/>
                <a:gd name="T29" fmla="*/ 99 h 174"/>
                <a:gd name="T30" fmla="*/ 58 w 186"/>
                <a:gd name="T31" fmla="*/ 80 h 174"/>
                <a:gd name="T32" fmla="*/ 69 w 186"/>
                <a:gd name="T33" fmla="*/ 63 h 174"/>
                <a:gd name="T34" fmla="*/ 78 w 186"/>
                <a:gd name="T35" fmla="*/ 64 h 174"/>
                <a:gd name="T36" fmla="*/ 84 w 186"/>
                <a:gd name="T37" fmla="*/ 64 h 174"/>
                <a:gd name="T38" fmla="*/ 118 w 186"/>
                <a:gd name="T39" fmla="*/ 122 h 174"/>
                <a:gd name="T40" fmla="*/ 110 w 186"/>
                <a:gd name="T41" fmla="*/ 142 h 174"/>
                <a:gd name="T42" fmla="*/ 143 w 186"/>
                <a:gd name="T43" fmla="*/ 174 h 174"/>
                <a:gd name="T44" fmla="*/ 175 w 186"/>
                <a:gd name="T45" fmla="*/ 142 h 174"/>
                <a:gd name="T46" fmla="*/ 165 w 186"/>
                <a:gd name="T47" fmla="*/ 120 h 174"/>
                <a:gd name="T48" fmla="*/ 184 w 186"/>
                <a:gd name="T49" fmla="*/ 81 h 174"/>
                <a:gd name="T50" fmla="*/ 178 w 186"/>
                <a:gd name="T51" fmla="*/ 66 h 174"/>
                <a:gd name="T52" fmla="*/ 32 w 186"/>
                <a:gd name="T53" fmla="*/ 109 h 174"/>
                <a:gd name="T54" fmla="*/ 22 w 186"/>
                <a:gd name="T55" fmla="*/ 99 h 174"/>
                <a:gd name="T56" fmla="*/ 32 w 186"/>
                <a:gd name="T57" fmla="*/ 89 h 174"/>
                <a:gd name="T58" fmla="*/ 42 w 186"/>
                <a:gd name="T59" fmla="*/ 99 h 174"/>
                <a:gd name="T60" fmla="*/ 32 w 186"/>
                <a:gd name="T61" fmla="*/ 109 h 174"/>
                <a:gd name="T62" fmla="*/ 68 w 186"/>
                <a:gd name="T63" fmla="*/ 32 h 174"/>
                <a:gd name="T64" fmla="*/ 78 w 186"/>
                <a:gd name="T65" fmla="*/ 22 h 174"/>
                <a:gd name="T66" fmla="*/ 88 w 186"/>
                <a:gd name="T67" fmla="*/ 32 h 174"/>
                <a:gd name="T68" fmla="*/ 78 w 186"/>
                <a:gd name="T69" fmla="*/ 43 h 174"/>
                <a:gd name="T70" fmla="*/ 68 w 186"/>
                <a:gd name="T71" fmla="*/ 32 h 174"/>
                <a:gd name="T72" fmla="*/ 143 w 186"/>
                <a:gd name="T73" fmla="*/ 152 h 174"/>
                <a:gd name="T74" fmla="*/ 132 w 186"/>
                <a:gd name="T75" fmla="*/ 142 h 174"/>
                <a:gd name="T76" fmla="*/ 143 w 186"/>
                <a:gd name="T77" fmla="*/ 132 h 174"/>
                <a:gd name="T78" fmla="*/ 153 w 186"/>
                <a:gd name="T79" fmla="*/ 142 h 174"/>
                <a:gd name="T80" fmla="*/ 143 w 186"/>
                <a:gd name="T81" fmla="*/ 15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6" h="174">
                  <a:moveTo>
                    <a:pt x="178" y="66"/>
                  </a:moveTo>
                  <a:cubicBezTo>
                    <a:pt x="173" y="63"/>
                    <a:pt x="166" y="66"/>
                    <a:pt x="164" y="71"/>
                  </a:cubicBezTo>
                  <a:cubicBezTo>
                    <a:pt x="145" y="110"/>
                    <a:pt x="145" y="110"/>
                    <a:pt x="145" y="110"/>
                  </a:cubicBezTo>
                  <a:cubicBezTo>
                    <a:pt x="144" y="110"/>
                    <a:pt x="143" y="110"/>
                    <a:pt x="143" y="110"/>
                  </a:cubicBezTo>
                  <a:cubicBezTo>
                    <a:pt x="141" y="110"/>
                    <a:pt x="139" y="110"/>
                    <a:pt x="137" y="111"/>
                  </a:cubicBezTo>
                  <a:cubicBezTo>
                    <a:pt x="103" y="53"/>
                    <a:pt x="103" y="53"/>
                    <a:pt x="103" y="53"/>
                  </a:cubicBezTo>
                  <a:cubicBezTo>
                    <a:pt x="107" y="47"/>
                    <a:pt x="110" y="40"/>
                    <a:pt x="110" y="32"/>
                  </a:cubicBezTo>
                  <a:cubicBezTo>
                    <a:pt x="110" y="15"/>
                    <a:pt x="96" y="0"/>
                    <a:pt x="78" y="0"/>
                  </a:cubicBezTo>
                  <a:cubicBezTo>
                    <a:pt x="60" y="0"/>
                    <a:pt x="46" y="15"/>
                    <a:pt x="46" y="32"/>
                  </a:cubicBezTo>
                  <a:cubicBezTo>
                    <a:pt x="46" y="39"/>
                    <a:pt x="48" y="45"/>
                    <a:pt x="52" y="51"/>
                  </a:cubicBezTo>
                  <a:cubicBezTo>
                    <a:pt x="40" y="68"/>
                    <a:pt x="40" y="68"/>
                    <a:pt x="40" y="68"/>
                  </a:cubicBezTo>
                  <a:cubicBezTo>
                    <a:pt x="37" y="67"/>
                    <a:pt x="34" y="67"/>
                    <a:pt x="32" y="67"/>
                  </a:cubicBezTo>
                  <a:cubicBezTo>
                    <a:pt x="14" y="67"/>
                    <a:pt x="0" y="81"/>
                    <a:pt x="0" y="99"/>
                  </a:cubicBezTo>
                  <a:cubicBezTo>
                    <a:pt x="0" y="117"/>
                    <a:pt x="14" y="131"/>
                    <a:pt x="32" y="131"/>
                  </a:cubicBezTo>
                  <a:cubicBezTo>
                    <a:pt x="49" y="131"/>
                    <a:pt x="64" y="117"/>
                    <a:pt x="64" y="99"/>
                  </a:cubicBezTo>
                  <a:cubicBezTo>
                    <a:pt x="64" y="92"/>
                    <a:pt x="61" y="86"/>
                    <a:pt x="58" y="80"/>
                  </a:cubicBezTo>
                  <a:cubicBezTo>
                    <a:pt x="69" y="63"/>
                    <a:pt x="69" y="63"/>
                    <a:pt x="69" y="63"/>
                  </a:cubicBezTo>
                  <a:cubicBezTo>
                    <a:pt x="72" y="64"/>
                    <a:pt x="75" y="64"/>
                    <a:pt x="78" y="64"/>
                  </a:cubicBezTo>
                  <a:cubicBezTo>
                    <a:pt x="80" y="64"/>
                    <a:pt x="82" y="64"/>
                    <a:pt x="84" y="64"/>
                  </a:cubicBezTo>
                  <a:cubicBezTo>
                    <a:pt x="118" y="122"/>
                    <a:pt x="118" y="122"/>
                    <a:pt x="118" y="122"/>
                  </a:cubicBezTo>
                  <a:cubicBezTo>
                    <a:pt x="113" y="127"/>
                    <a:pt x="110" y="134"/>
                    <a:pt x="110" y="142"/>
                  </a:cubicBezTo>
                  <a:cubicBezTo>
                    <a:pt x="110" y="160"/>
                    <a:pt x="125" y="174"/>
                    <a:pt x="143" y="174"/>
                  </a:cubicBezTo>
                  <a:cubicBezTo>
                    <a:pt x="160" y="174"/>
                    <a:pt x="175" y="160"/>
                    <a:pt x="175" y="142"/>
                  </a:cubicBezTo>
                  <a:cubicBezTo>
                    <a:pt x="175" y="133"/>
                    <a:pt x="171" y="125"/>
                    <a:pt x="165" y="120"/>
                  </a:cubicBezTo>
                  <a:cubicBezTo>
                    <a:pt x="184" y="81"/>
                    <a:pt x="184" y="81"/>
                    <a:pt x="184" y="81"/>
                  </a:cubicBezTo>
                  <a:cubicBezTo>
                    <a:pt x="186" y="75"/>
                    <a:pt x="184" y="69"/>
                    <a:pt x="178" y="66"/>
                  </a:cubicBezTo>
                  <a:moveTo>
                    <a:pt x="32" y="109"/>
                  </a:moveTo>
                  <a:cubicBezTo>
                    <a:pt x="26" y="109"/>
                    <a:pt x="22" y="105"/>
                    <a:pt x="22" y="99"/>
                  </a:cubicBezTo>
                  <a:cubicBezTo>
                    <a:pt x="22" y="93"/>
                    <a:pt x="26" y="89"/>
                    <a:pt x="32" y="89"/>
                  </a:cubicBezTo>
                  <a:cubicBezTo>
                    <a:pt x="37" y="89"/>
                    <a:pt x="42" y="93"/>
                    <a:pt x="42" y="99"/>
                  </a:cubicBezTo>
                  <a:cubicBezTo>
                    <a:pt x="42" y="105"/>
                    <a:pt x="37" y="109"/>
                    <a:pt x="32" y="109"/>
                  </a:cubicBezTo>
                  <a:moveTo>
                    <a:pt x="68" y="32"/>
                  </a:moveTo>
                  <a:cubicBezTo>
                    <a:pt x="68" y="27"/>
                    <a:pt x="73" y="22"/>
                    <a:pt x="78" y="22"/>
                  </a:cubicBezTo>
                  <a:cubicBezTo>
                    <a:pt x="84" y="22"/>
                    <a:pt x="88" y="27"/>
                    <a:pt x="88" y="32"/>
                  </a:cubicBezTo>
                  <a:cubicBezTo>
                    <a:pt x="88" y="38"/>
                    <a:pt x="84" y="43"/>
                    <a:pt x="78" y="43"/>
                  </a:cubicBezTo>
                  <a:cubicBezTo>
                    <a:pt x="73" y="43"/>
                    <a:pt x="68" y="38"/>
                    <a:pt x="68" y="32"/>
                  </a:cubicBezTo>
                  <a:moveTo>
                    <a:pt x="143" y="152"/>
                  </a:moveTo>
                  <a:cubicBezTo>
                    <a:pt x="137" y="152"/>
                    <a:pt x="132" y="148"/>
                    <a:pt x="132" y="142"/>
                  </a:cubicBezTo>
                  <a:cubicBezTo>
                    <a:pt x="132" y="137"/>
                    <a:pt x="137" y="132"/>
                    <a:pt x="143" y="132"/>
                  </a:cubicBezTo>
                  <a:cubicBezTo>
                    <a:pt x="148" y="132"/>
                    <a:pt x="153" y="137"/>
                    <a:pt x="153" y="142"/>
                  </a:cubicBezTo>
                  <a:cubicBezTo>
                    <a:pt x="153" y="148"/>
                    <a:pt x="148" y="152"/>
                    <a:pt x="143" y="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9"/>
            <p:cNvSpPr>
              <a:spLocks noEditPoints="1"/>
            </p:cNvSpPr>
            <p:nvPr/>
          </p:nvSpPr>
          <p:spPr bwMode="auto">
            <a:xfrm>
              <a:off x="7498867" y="1491881"/>
              <a:ext cx="76108" cy="76108"/>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2 w 64"/>
                <a:gd name="T13" fmla="*/ 32 h 64"/>
                <a:gd name="T14" fmla="*/ 32 w 64"/>
                <a:gd name="T15" fmla="*/ 22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5" y="0"/>
                    <a:pt x="0" y="14"/>
                    <a:pt x="0" y="32"/>
                  </a:cubicBezTo>
                  <a:cubicBezTo>
                    <a:pt x="0" y="49"/>
                    <a:pt x="15" y="64"/>
                    <a:pt x="32" y="64"/>
                  </a:cubicBezTo>
                  <a:cubicBezTo>
                    <a:pt x="50" y="64"/>
                    <a:pt x="64" y="49"/>
                    <a:pt x="64" y="32"/>
                  </a:cubicBezTo>
                  <a:cubicBezTo>
                    <a:pt x="64" y="14"/>
                    <a:pt x="50" y="0"/>
                    <a:pt x="32" y="0"/>
                  </a:cubicBezTo>
                  <a:moveTo>
                    <a:pt x="32" y="42"/>
                  </a:moveTo>
                  <a:cubicBezTo>
                    <a:pt x="27" y="42"/>
                    <a:pt x="22" y="37"/>
                    <a:pt x="22" y="32"/>
                  </a:cubicBezTo>
                  <a:cubicBezTo>
                    <a:pt x="22" y="26"/>
                    <a:pt x="27" y="22"/>
                    <a:pt x="32" y="22"/>
                  </a:cubicBezTo>
                  <a:cubicBezTo>
                    <a:pt x="38" y="22"/>
                    <a:pt x="42" y="26"/>
                    <a:pt x="42" y="32"/>
                  </a:cubicBezTo>
                  <a:cubicBezTo>
                    <a:pt x="42" y="37"/>
                    <a:pt x="38" y="42"/>
                    <a:pt x="32" y="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18336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05" name="Rectangle 204"/>
          <p:cNvSpPr>
            <a:spLocks noChangeAspect="1"/>
          </p:cNvSpPr>
          <p:nvPr/>
        </p:nvSpPr>
        <p:spPr>
          <a:xfrm>
            <a:off x="1" y="4529667"/>
            <a:ext cx="1032932" cy="613833"/>
          </a:xfrm>
          <a:prstGeom prst="rect">
            <a:avLst/>
          </a:prstGeom>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37766" y="341314"/>
            <a:ext cx="8667730" cy="731837"/>
          </a:xfrm>
        </p:spPr>
        <p:txBody>
          <a:bodyPr/>
          <a:lstStyle/>
          <a:p>
            <a:r>
              <a:rPr lang="en-US" sz="3000" dirty="0"/>
              <a:t>How Cisco Can </a:t>
            </a:r>
            <a:r>
              <a:rPr lang="en-US" sz="3000" dirty="0" smtClean="0"/>
              <a:t>Help: Open Network Architecture</a:t>
            </a:r>
            <a:endParaRPr lang="en-US" sz="3000" dirty="0"/>
          </a:p>
        </p:txBody>
      </p:sp>
      <p:sp>
        <p:nvSpPr>
          <p:cNvPr id="6" name="TextBox 5"/>
          <p:cNvSpPr txBox="1"/>
          <p:nvPr/>
        </p:nvSpPr>
        <p:spPr>
          <a:xfrm>
            <a:off x="457454" y="819995"/>
            <a:ext cx="4799647" cy="338554"/>
          </a:xfrm>
          <a:prstGeom prst="rect">
            <a:avLst/>
          </a:prstGeom>
          <a:noFill/>
        </p:spPr>
        <p:txBody>
          <a:bodyPr wrap="none" rtlCol="0">
            <a:spAutoFit/>
          </a:bodyPr>
          <a:lstStyle/>
          <a:p>
            <a:r>
              <a:rPr lang="en-US" sz="1600" dirty="0"/>
              <a:t>Positions service providers to deliver DNA services</a:t>
            </a:r>
          </a:p>
        </p:txBody>
      </p:sp>
      <p:grpSp>
        <p:nvGrpSpPr>
          <p:cNvPr id="73" name="Group 72"/>
          <p:cNvGrpSpPr/>
          <p:nvPr/>
        </p:nvGrpSpPr>
        <p:grpSpPr>
          <a:xfrm>
            <a:off x="2778558" y="1112986"/>
            <a:ext cx="5998387" cy="3503974"/>
            <a:chOff x="1587171" y="1054135"/>
            <a:chExt cx="5998387" cy="3503974"/>
          </a:xfrm>
        </p:grpSpPr>
        <p:sp>
          <p:nvSpPr>
            <p:cNvPr id="74" name="Freeform 111"/>
            <p:cNvSpPr>
              <a:spLocks/>
            </p:cNvSpPr>
            <p:nvPr/>
          </p:nvSpPr>
          <p:spPr bwMode="auto">
            <a:xfrm>
              <a:off x="1587171" y="1054135"/>
              <a:ext cx="5998387" cy="3503974"/>
            </a:xfrm>
            <a:custGeom>
              <a:avLst/>
              <a:gdLst>
                <a:gd name="T0" fmla="*/ 300 w 5038"/>
                <a:gd name="T1" fmla="*/ 143 h 2943"/>
                <a:gd name="T2" fmla="*/ 300 w 5038"/>
                <a:gd name="T3" fmla="*/ 144 h 2943"/>
                <a:gd name="T4" fmla="*/ 0 w 5038"/>
                <a:gd name="T5" fmla="*/ 272 h 2943"/>
                <a:gd name="T6" fmla="*/ 300 w 5038"/>
                <a:gd name="T7" fmla="*/ 401 h 2943"/>
                <a:gd name="T8" fmla="*/ 300 w 5038"/>
                <a:gd name="T9" fmla="*/ 2943 h 2943"/>
                <a:gd name="T10" fmla="*/ 2519 w 5038"/>
                <a:gd name="T11" fmla="*/ 2800 h 2943"/>
                <a:gd name="T12" fmla="*/ 4738 w 5038"/>
                <a:gd name="T13" fmla="*/ 2943 h 2943"/>
                <a:gd name="T14" fmla="*/ 4738 w 5038"/>
                <a:gd name="T15" fmla="*/ 401 h 2943"/>
                <a:gd name="T16" fmla="*/ 5038 w 5038"/>
                <a:gd name="T17" fmla="*/ 272 h 2943"/>
                <a:gd name="T18" fmla="*/ 4738 w 5038"/>
                <a:gd name="T19" fmla="*/ 144 h 2943"/>
                <a:gd name="T20" fmla="*/ 4738 w 5038"/>
                <a:gd name="T21" fmla="*/ 143 h 2943"/>
                <a:gd name="T22" fmla="*/ 2519 w 5038"/>
                <a:gd name="T23" fmla="*/ 0 h 2943"/>
                <a:gd name="T24" fmla="*/ 300 w 5038"/>
                <a:gd name="T25" fmla="*/ 143 h 2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38" h="2943">
                  <a:moveTo>
                    <a:pt x="300" y="143"/>
                  </a:moveTo>
                  <a:cubicBezTo>
                    <a:pt x="300" y="144"/>
                    <a:pt x="300" y="144"/>
                    <a:pt x="300" y="144"/>
                  </a:cubicBezTo>
                  <a:cubicBezTo>
                    <a:pt x="109" y="182"/>
                    <a:pt x="0" y="226"/>
                    <a:pt x="0" y="272"/>
                  </a:cubicBezTo>
                  <a:cubicBezTo>
                    <a:pt x="0" y="319"/>
                    <a:pt x="109" y="363"/>
                    <a:pt x="300" y="401"/>
                  </a:cubicBezTo>
                  <a:cubicBezTo>
                    <a:pt x="300" y="2943"/>
                    <a:pt x="300" y="2943"/>
                    <a:pt x="300" y="2943"/>
                  </a:cubicBezTo>
                  <a:cubicBezTo>
                    <a:pt x="725" y="2858"/>
                    <a:pt x="1559" y="2800"/>
                    <a:pt x="2519" y="2800"/>
                  </a:cubicBezTo>
                  <a:cubicBezTo>
                    <a:pt x="3479" y="2800"/>
                    <a:pt x="4313" y="2858"/>
                    <a:pt x="4738" y="2943"/>
                  </a:cubicBezTo>
                  <a:cubicBezTo>
                    <a:pt x="4738" y="401"/>
                    <a:pt x="4738" y="401"/>
                    <a:pt x="4738" y="401"/>
                  </a:cubicBezTo>
                  <a:cubicBezTo>
                    <a:pt x="4929" y="363"/>
                    <a:pt x="5038" y="319"/>
                    <a:pt x="5038" y="272"/>
                  </a:cubicBezTo>
                  <a:cubicBezTo>
                    <a:pt x="5038" y="226"/>
                    <a:pt x="4929" y="182"/>
                    <a:pt x="4738" y="144"/>
                  </a:cubicBezTo>
                  <a:cubicBezTo>
                    <a:pt x="4738" y="143"/>
                    <a:pt x="4738" y="143"/>
                    <a:pt x="4738" y="143"/>
                  </a:cubicBezTo>
                  <a:cubicBezTo>
                    <a:pt x="4313" y="58"/>
                    <a:pt x="3479" y="0"/>
                    <a:pt x="2519" y="0"/>
                  </a:cubicBezTo>
                  <a:cubicBezTo>
                    <a:pt x="1559" y="0"/>
                    <a:pt x="725" y="58"/>
                    <a:pt x="300" y="143"/>
                  </a:cubicBezTo>
                </a:path>
              </a:pathLst>
            </a:custGeom>
            <a:gradFill flip="none" rotWithShape="1">
              <a:gsLst>
                <a:gs pos="50000">
                  <a:srgbClr val="049FD9"/>
                </a:gs>
                <a:gs pos="0">
                  <a:srgbClr val="004BAF"/>
                </a:gs>
                <a:gs pos="100000">
                  <a:srgbClr val="004BAF"/>
                </a:gs>
              </a:gsLst>
              <a:lin ang="0" scaled="1"/>
              <a:tileRect/>
            </a:gradFill>
            <a:ln>
              <a:noFill/>
            </a:ln>
          </p:spPr>
          <p:txBody>
            <a:bodyPr vert="horz" wrap="square" lIns="91440" tIns="45720" rIns="91440" bIns="45720" numCol="1" anchor="t" anchorCtr="0" compatLnSpc="1">
              <a:prstTxWarp prst="textNoShape">
                <a:avLst/>
              </a:prstTxWarp>
            </a:bodyPr>
            <a:lstStyle/>
            <a:p>
              <a:endParaRPr lang="en-US"/>
            </a:p>
          </p:txBody>
        </p:sp>
        <p:grpSp>
          <p:nvGrpSpPr>
            <p:cNvPr id="75" name="Group 74"/>
            <p:cNvGrpSpPr/>
            <p:nvPr/>
          </p:nvGrpSpPr>
          <p:grpSpPr>
            <a:xfrm>
              <a:off x="5956553" y="1366882"/>
              <a:ext cx="220259" cy="217738"/>
              <a:chOff x="5956553" y="1366882"/>
              <a:chExt cx="220259" cy="217738"/>
            </a:xfrm>
          </p:grpSpPr>
          <p:sp>
            <p:nvSpPr>
              <p:cNvPr id="157" name="Freeform 67"/>
              <p:cNvSpPr>
                <a:spLocks/>
              </p:cNvSpPr>
              <p:nvPr/>
            </p:nvSpPr>
            <p:spPr bwMode="auto">
              <a:xfrm>
                <a:off x="6060382" y="1366882"/>
                <a:ext cx="116430" cy="115421"/>
              </a:xfrm>
              <a:custGeom>
                <a:avLst/>
                <a:gdLst>
                  <a:gd name="T0" fmla="*/ 90 w 98"/>
                  <a:gd name="T1" fmla="*/ 18 h 97"/>
                  <a:gd name="T2" fmla="*/ 79 w 98"/>
                  <a:gd name="T3" fmla="*/ 7 h 97"/>
                  <a:gd name="T4" fmla="*/ 53 w 98"/>
                  <a:gd name="T5" fmla="*/ 6 h 97"/>
                  <a:gd name="T6" fmla="*/ 33 w 98"/>
                  <a:gd name="T7" fmla="*/ 23 h 97"/>
                  <a:gd name="T8" fmla="*/ 33 w 98"/>
                  <a:gd name="T9" fmla="*/ 24 h 97"/>
                  <a:gd name="T10" fmla="*/ 14 w 98"/>
                  <a:gd name="T11" fmla="*/ 55 h 97"/>
                  <a:gd name="T12" fmla="*/ 2 w 98"/>
                  <a:gd name="T13" fmla="*/ 59 h 97"/>
                  <a:gd name="T14" fmla="*/ 0 w 98"/>
                  <a:gd name="T15" fmla="*/ 61 h 97"/>
                  <a:gd name="T16" fmla="*/ 1 w 98"/>
                  <a:gd name="T17" fmla="*/ 64 h 97"/>
                  <a:gd name="T18" fmla="*/ 34 w 98"/>
                  <a:gd name="T19" fmla="*/ 96 h 97"/>
                  <a:gd name="T20" fmla="*/ 36 w 98"/>
                  <a:gd name="T21" fmla="*/ 97 h 97"/>
                  <a:gd name="T22" fmla="*/ 36 w 98"/>
                  <a:gd name="T23" fmla="*/ 97 h 97"/>
                  <a:gd name="T24" fmla="*/ 39 w 98"/>
                  <a:gd name="T25" fmla="*/ 95 h 97"/>
                  <a:gd name="T26" fmla="*/ 43 w 98"/>
                  <a:gd name="T27" fmla="*/ 83 h 97"/>
                  <a:gd name="T28" fmla="*/ 74 w 98"/>
                  <a:gd name="T29" fmla="*/ 64 h 97"/>
                  <a:gd name="T30" fmla="*/ 75 w 98"/>
                  <a:gd name="T31" fmla="*/ 63 h 97"/>
                  <a:gd name="T32" fmla="*/ 91 w 98"/>
                  <a:gd name="T33" fmla="*/ 45 h 97"/>
                  <a:gd name="T34" fmla="*/ 90 w 98"/>
                  <a:gd name="T35" fmla="*/ 1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 h="97">
                    <a:moveTo>
                      <a:pt x="90" y="18"/>
                    </a:moveTo>
                    <a:cubicBezTo>
                      <a:pt x="79" y="7"/>
                      <a:pt x="79" y="7"/>
                      <a:pt x="79" y="7"/>
                    </a:cubicBezTo>
                    <a:cubicBezTo>
                      <a:pt x="72" y="0"/>
                      <a:pt x="60" y="0"/>
                      <a:pt x="53" y="6"/>
                    </a:cubicBezTo>
                    <a:cubicBezTo>
                      <a:pt x="33" y="23"/>
                      <a:pt x="33" y="23"/>
                      <a:pt x="33" y="23"/>
                    </a:cubicBezTo>
                    <a:cubicBezTo>
                      <a:pt x="33" y="23"/>
                      <a:pt x="33" y="23"/>
                      <a:pt x="33" y="24"/>
                    </a:cubicBezTo>
                    <a:cubicBezTo>
                      <a:pt x="14" y="55"/>
                      <a:pt x="14" y="55"/>
                      <a:pt x="14" y="55"/>
                    </a:cubicBezTo>
                    <a:cubicBezTo>
                      <a:pt x="2" y="59"/>
                      <a:pt x="2" y="59"/>
                      <a:pt x="2" y="59"/>
                    </a:cubicBezTo>
                    <a:cubicBezTo>
                      <a:pt x="1" y="59"/>
                      <a:pt x="0" y="60"/>
                      <a:pt x="0" y="61"/>
                    </a:cubicBezTo>
                    <a:cubicBezTo>
                      <a:pt x="0" y="62"/>
                      <a:pt x="0" y="63"/>
                      <a:pt x="1" y="64"/>
                    </a:cubicBezTo>
                    <a:cubicBezTo>
                      <a:pt x="34" y="96"/>
                      <a:pt x="34" y="96"/>
                      <a:pt x="34" y="96"/>
                    </a:cubicBezTo>
                    <a:cubicBezTo>
                      <a:pt x="34" y="97"/>
                      <a:pt x="35" y="97"/>
                      <a:pt x="36" y="97"/>
                    </a:cubicBezTo>
                    <a:cubicBezTo>
                      <a:pt x="36" y="97"/>
                      <a:pt x="36" y="97"/>
                      <a:pt x="36" y="97"/>
                    </a:cubicBezTo>
                    <a:cubicBezTo>
                      <a:pt x="37" y="97"/>
                      <a:pt x="38" y="96"/>
                      <a:pt x="39" y="95"/>
                    </a:cubicBezTo>
                    <a:cubicBezTo>
                      <a:pt x="43" y="83"/>
                      <a:pt x="43" y="83"/>
                      <a:pt x="43" y="83"/>
                    </a:cubicBezTo>
                    <a:cubicBezTo>
                      <a:pt x="74" y="64"/>
                      <a:pt x="74" y="64"/>
                      <a:pt x="74" y="64"/>
                    </a:cubicBezTo>
                    <a:cubicBezTo>
                      <a:pt x="74" y="64"/>
                      <a:pt x="75" y="64"/>
                      <a:pt x="75" y="63"/>
                    </a:cubicBezTo>
                    <a:cubicBezTo>
                      <a:pt x="91" y="45"/>
                      <a:pt x="91" y="45"/>
                      <a:pt x="91" y="45"/>
                    </a:cubicBezTo>
                    <a:cubicBezTo>
                      <a:pt x="98" y="37"/>
                      <a:pt x="97" y="25"/>
                      <a:pt x="90"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8"/>
              <p:cNvSpPr>
                <a:spLocks/>
              </p:cNvSpPr>
              <p:nvPr/>
            </p:nvSpPr>
            <p:spPr bwMode="auto">
              <a:xfrm>
                <a:off x="5956553" y="1372930"/>
                <a:ext cx="215722" cy="211690"/>
              </a:xfrm>
              <a:custGeom>
                <a:avLst/>
                <a:gdLst>
                  <a:gd name="T0" fmla="*/ 168 w 181"/>
                  <a:gd name="T1" fmla="*/ 120 h 178"/>
                  <a:gd name="T2" fmla="*/ 134 w 181"/>
                  <a:gd name="T3" fmla="*/ 112 h 178"/>
                  <a:gd name="T4" fmla="*/ 69 w 181"/>
                  <a:gd name="T5" fmla="*/ 46 h 178"/>
                  <a:gd name="T6" fmla="*/ 60 w 181"/>
                  <a:gd name="T7" fmla="*/ 12 h 178"/>
                  <a:gd name="T8" fmla="*/ 24 w 181"/>
                  <a:gd name="T9" fmla="*/ 5 h 178"/>
                  <a:gd name="T10" fmla="*/ 22 w 181"/>
                  <a:gd name="T11" fmla="*/ 7 h 178"/>
                  <a:gd name="T12" fmla="*/ 23 w 181"/>
                  <a:gd name="T13" fmla="*/ 10 h 178"/>
                  <a:gd name="T14" fmla="*/ 43 w 181"/>
                  <a:gd name="T15" fmla="*/ 29 h 178"/>
                  <a:gd name="T16" fmla="*/ 30 w 181"/>
                  <a:gd name="T17" fmla="*/ 42 h 178"/>
                  <a:gd name="T18" fmla="*/ 10 w 181"/>
                  <a:gd name="T19" fmla="*/ 23 h 178"/>
                  <a:gd name="T20" fmla="*/ 7 w 181"/>
                  <a:gd name="T21" fmla="*/ 22 h 178"/>
                  <a:gd name="T22" fmla="*/ 5 w 181"/>
                  <a:gd name="T23" fmla="*/ 24 h 178"/>
                  <a:gd name="T24" fmla="*/ 13 w 181"/>
                  <a:gd name="T25" fmla="*/ 60 h 178"/>
                  <a:gd name="T26" fmla="*/ 47 w 181"/>
                  <a:gd name="T27" fmla="*/ 68 h 178"/>
                  <a:gd name="T28" fmla="*/ 71 w 181"/>
                  <a:gd name="T29" fmla="*/ 93 h 178"/>
                  <a:gd name="T30" fmla="*/ 41 w 181"/>
                  <a:gd name="T31" fmla="*/ 123 h 178"/>
                  <a:gd name="T32" fmla="*/ 22 w 181"/>
                  <a:gd name="T33" fmla="*/ 134 h 178"/>
                  <a:gd name="T34" fmla="*/ 20 w 181"/>
                  <a:gd name="T35" fmla="*/ 135 h 178"/>
                  <a:gd name="T36" fmla="*/ 12 w 181"/>
                  <a:gd name="T37" fmla="*/ 152 h 178"/>
                  <a:gd name="T38" fmla="*/ 12 w 181"/>
                  <a:gd name="T39" fmla="*/ 156 h 178"/>
                  <a:gd name="T40" fmla="*/ 23 w 181"/>
                  <a:gd name="T41" fmla="*/ 167 h 178"/>
                  <a:gd name="T42" fmla="*/ 25 w 181"/>
                  <a:gd name="T43" fmla="*/ 168 h 178"/>
                  <a:gd name="T44" fmla="*/ 27 w 181"/>
                  <a:gd name="T45" fmla="*/ 167 h 178"/>
                  <a:gd name="T46" fmla="*/ 44 w 181"/>
                  <a:gd name="T47" fmla="*/ 159 h 178"/>
                  <a:gd name="T48" fmla="*/ 45 w 181"/>
                  <a:gd name="T49" fmla="*/ 158 h 178"/>
                  <a:gd name="T50" fmla="*/ 56 w 181"/>
                  <a:gd name="T51" fmla="*/ 138 h 178"/>
                  <a:gd name="T52" fmla="*/ 87 w 181"/>
                  <a:gd name="T53" fmla="*/ 108 h 178"/>
                  <a:gd name="T54" fmla="*/ 112 w 181"/>
                  <a:gd name="T55" fmla="*/ 133 h 178"/>
                  <a:gd name="T56" fmla="*/ 121 w 181"/>
                  <a:gd name="T57" fmla="*/ 168 h 178"/>
                  <a:gd name="T58" fmla="*/ 144 w 181"/>
                  <a:gd name="T59" fmla="*/ 178 h 178"/>
                  <a:gd name="T60" fmla="*/ 157 w 181"/>
                  <a:gd name="T61" fmla="*/ 175 h 178"/>
                  <a:gd name="T62" fmla="*/ 159 w 181"/>
                  <a:gd name="T63" fmla="*/ 173 h 178"/>
                  <a:gd name="T64" fmla="*/ 158 w 181"/>
                  <a:gd name="T65" fmla="*/ 170 h 178"/>
                  <a:gd name="T66" fmla="*/ 138 w 181"/>
                  <a:gd name="T67" fmla="*/ 151 h 178"/>
                  <a:gd name="T68" fmla="*/ 151 w 181"/>
                  <a:gd name="T69" fmla="*/ 138 h 178"/>
                  <a:gd name="T70" fmla="*/ 171 w 181"/>
                  <a:gd name="T71" fmla="*/ 157 h 178"/>
                  <a:gd name="T72" fmla="*/ 174 w 181"/>
                  <a:gd name="T73" fmla="*/ 158 h 178"/>
                  <a:gd name="T74" fmla="*/ 176 w 181"/>
                  <a:gd name="T75" fmla="*/ 156 h 178"/>
                  <a:gd name="T76" fmla="*/ 168 w 181"/>
                  <a:gd name="T77" fmla="*/ 12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1" h="178">
                    <a:moveTo>
                      <a:pt x="168" y="120"/>
                    </a:moveTo>
                    <a:cubicBezTo>
                      <a:pt x="159" y="111"/>
                      <a:pt x="146" y="108"/>
                      <a:pt x="134" y="112"/>
                    </a:cubicBezTo>
                    <a:cubicBezTo>
                      <a:pt x="69" y="46"/>
                      <a:pt x="69" y="46"/>
                      <a:pt x="69" y="46"/>
                    </a:cubicBezTo>
                    <a:cubicBezTo>
                      <a:pt x="73" y="34"/>
                      <a:pt x="70" y="21"/>
                      <a:pt x="60" y="12"/>
                    </a:cubicBezTo>
                    <a:cubicBezTo>
                      <a:pt x="51" y="3"/>
                      <a:pt x="37" y="0"/>
                      <a:pt x="24" y="5"/>
                    </a:cubicBezTo>
                    <a:cubicBezTo>
                      <a:pt x="23" y="5"/>
                      <a:pt x="23" y="6"/>
                      <a:pt x="22" y="7"/>
                    </a:cubicBezTo>
                    <a:cubicBezTo>
                      <a:pt x="22" y="8"/>
                      <a:pt x="22" y="9"/>
                      <a:pt x="23" y="10"/>
                    </a:cubicBezTo>
                    <a:cubicBezTo>
                      <a:pt x="43" y="29"/>
                      <a:pt x="43" y="29"/>
                      <a:pt x="43" y="29"/>
                    </a:cubicBezTo>
                    <a:cubicBezTo>
                      <a:pt x="30" y="42"/>
                      <a:pt x="30" y="42"/>
                      <a:pt x="30" y="42"/>
                    </a:cubicBezTo>
                    <a:cubicBezTo>
                      <a:pt x="10" y="23"/>
                      <a:pt x="10" y="23"/>
                      <a:pt x="10" y="23"/>
                    </a:cubicBezTo>
                    <a:cubicBezTo>
                      <a:pt x="9" y="22"/>
                      <a:pt x="8" y="22"/>
                      <a:pt x="7" y="22"/>
                    </a:cubicBezTo>
                    <a:cubicBezTo>
                      <a:pt x="6" y="22"/>
                      <a:pt x="6" y="23"/>
                      <a:pt x="5" y="24"/>
                    </a:cubicBezTo>
                    <a:cubicBezTo>
                      <a:pt x="0" y="36"/>
                      <a:pt x="3" y="50"/>
                      <a:pt x="13" y="60"/>
                    </a:cubicBezTo>
                    <a:cubicBezTo>
                      <a:pt x="22" y="69"/>
                      <a:pt x="35" y="72"/>
                      <a:pt x="47" y="68"/>
                    </a:cubicBezTo>
                    <a:cubicBezTo>
                      <a:pt x="71" y="93"/>
                      <a:pt x="71" y="93"/>
                      <a:pt x="71" y="93"/>
                    </a:cubicBezTo>
                    <a:cubicBezTo>
                      <a:pt x="41" y="123"/>
                      <a:pt x="41" y="123"/>
                      <a:pt x="41" y="123"/>
                    </a:cubicBezTo>
                    <a:cubicBezTo>
                      <a:pt x="22" y="134"/>
                      <a:pt x="22" y="134"/>
                      <a:pt x="22" y="134"/>
                    </a:cubicBezTo>
                    <a:cubicBezTo>
                      <a:pt x="21" y="134"/>
                      <a:pt x="21" y="135"/>
                      <a:pt x="20" y="135"/>
                    </a:cubicBezTo>
                    <a:cubicBezTo>
                      <a:pt x="12" y="152"/>
                      <a:pt x="12" y="152"/>
                      <a:pt x="12" y="152"/>
                    </a:cubicBezTo>
                    <a:cubicBezTo>
                      <a:pt x="11" y="154"/>
                      <a:pt x="11" y="155"/>
                      <a:pt x="12" y="156"/>
                    </a:cubicBezTo>
                    <a:cubicBezTo>
                      <a:pt x="23" y="167"/>
                      <a:pt x="23" y="167"/>
                      <a:pt x="23" y="167"/>
                    </a:cubicBezTo>
                    <a:cubicBezTo>
                      <a:pt x="24" y="167"/>
                      <a:pt x="25" y="168"/>
                      <a:pt x="25" y="168"/>
                    </a:cubicBezTo>
                    <a:cubicBezTo>
                      <a:pt x="26" y="168"/>
                      <a:pt x="26" y="168"/>
                      <a:pt x="27" y="167"/>
                    </a:cubicBezTo>
                    <a:cubicBezTo>
                      <a:pt x="44" y="159"/>
                      <a:pt x="44" y="159"/>
                      <a:pt x="44" y="159"/>
                    </a:cubicBezTo>
                    <a:cubicBezTo>
                      <a:pt x="45" y="159"/>
                      <a:pt x="45" y="158"/>
                      <a:pt x="45" y="158"/>
                    </a:cubicBezTo>
                    <a:cubicBezTo>
                      <a:pt x="56" y="138"/>
                      <a:pt x="56" y="138"/>
                      <a:pt x="56" y="138"/>
                    </a:cubicBezTo>
                    <a:cubicBezTo>
                      <a:pt x="87" y="108"/>
                      <a:pt x="87" y="108"/>
                      <a:pt x="87" y="108"/>
                    </a:cubicBezTo>
                    <a:cubicBezTo>
                      <a:pt x="112" y="133"/>
                      <a:pt x="112" y="133"/>
                      <a:pt x="112" y="133"/>
                    </a:cubicBezTo>
                    <a:cubicBezTo>
                      <a:pt x="108" y="145"/>
                      <a:pt x="112" y="159"/>
                      <a:pt x="121" y="168"/>
                    </a:cubicBezTo>
                    <a:cubicBezTo>
                      <a:pt x="127" y="174"/>
                      <a:pt x="136" y="178"/>
                      <a:pt x="144" y="178"/>
                    </a:cubicBezTo>
                    <a:cubicBezTo>
                      <a:pt x="149" y="178"/>
                      <a:pt x="153" y="177"/>
                      <a:pt x="157" y="175"/>
                    </a:cubicBezTo>
                    <a:cubicBezTo>
                      <a:pt x="158" y="175"/>
                      <a:pt x="158" y="174"/>
                      <a:pt x="159" y="173"/>
                    </a:cubicBezTo>
                    <a:cubicBezTo>
                      <a:pt x="159" y="172"/>
                      <a:pt x="159" y="171"/>
                      <a:pt x="158" y="170"/>
                    </a:cubicBezTo>
                    <a:cubicBezTo>
                      <a:pt x="138" y="151"/>
                      <a:pt x="138" y="151"/>
                      <a:pt x="138" y="151"/>
                    </a:cubicBezTo>
                    <a:cubicBezTo>
                      <a:pt x="151" y="138"/>
                      <a:pt x="151" y="138"/>
                      <a:pt x="151" y="138"/>
                    </a:cubicBezTo>
                    <a:cubicBezTo>
                      <a:pt x="171" y="157"/>
                      <a:pt x="171" y="157"/>
                      <a:pt x="171" y="157"/>
                    </a:cubicBezTo>
                    <a:cubicBezTo>
                      <a:pt x="172" y="158"/>
                      <a:pt x="173" y="158"/>
                      <a:pt x="174" y="158"/>
                    </a:cubicBezTo>
                    <a:cubicBezTo>
                      <a:pt x="175" y="158"/>
                      <a:pt x="176" y="157"/>
                      <a:pt x="176" y="156"/>
                    </a:cubicBezTo>
                    <a:cubicBezTo>
                      <a:pt x="181" y="144"/>
                      <a:pt x="178" y="130"/>
                      <a:pt x="168" y="1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6" name="Group 75"/>
            <p:cNvGrpSpPr/>
            <p:nvPr/>
          </p:nvGrpSpPr>
          <p:grpSpPr>
            <a:xfrm>
              <a:off x="6314914" y="1350249"/>
              <a:ext cx="248988" cy="252516"/>
              <a:chOff x="6314914" y="1350249"/>
              <a:chExt cx="248988" cy="252516"/>
            </a:xfrm>
          </p:grpSpPr>
          <p:sp>
            <p:nvSpPr>
              <p:cNvPr id="89" name="Freeform 69"/>
              <p:cNvSpPr>
                <a:spLocks noEditPoints="1"/>
              </p:cNvSpPr>
              <p:nvPr/>
            </p:nvSpPr>
            <p:spPr bwMode="auto">
              <a:xfrm>
                <a:off x="6365317" y="1402667"/>
                <a:ext cx="148687" cy="148687"/>
              </a:xfrm>
              <a:custGeom>
                <a:avLst/>
                <a:gdLst>
                  <a:gd name="T0" fmla="*/ 63 w 125"/>
                  <a:gd name="T1" fmla="*/ 0 h 125"/>
                  <a:gd name="T2" fmla="*/ 0 w 125"/>
                  <a:gd name="T3" fmla="*/ 62 h 125"/>
                  <a:gd name="T4" fmla="*/ 63 w 125"/>
                  <a:gd name="T5" fmla="*/ 125 h 125"/>
                  <a:gd name="T6" fmla="*/ 125 w 125"/>
                  <a:gd name="T7" fmla="*/ 62 h 125"/>
                  <a:gd name="T8" fmla="*/ 63 w 125"/>
                  <a:gd name="T9" fmla="*/ 0 h 125"/>
                  <a:gd name="T10" fmla="*/ 63 w 125"/>
                  <a:gd name="T11" fmla="*/ 114 h 125"/>
                  <a:gd name="T12" fmla="*/ 11 w 125"/>
                  <a:gd name="T13" fmla="*/ 62 h 125"/>
                  <a:gd name="T14" fmla="*/ 63 w 125"/>
                  <a:gd name="T15" fmla="*/ 10 h 125"/>
                  <a:gd name="T16" fmla="*/ 115 w 125"/>
                  <a:gd name="T17" fmla="*/ 62 h 125"/>
                  <a:gd name="T18" fmla="*/ 63 w 125"/>
                  <a:gd name="T19" fmla="*/ 11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63" y="0"/>
                    </a:moveTo>
                    <a:cubicBezTo>
                      <a:pt x="28" y="0"/>
                      <a:pt x="0" y="28"/>
                      <a:pt x="0" y="62"/>
                    </a:cubicBezTo>
                    <a:cubicBezTo>
                      <a:pt x="0" y="97"/>
                      <a:pt x="28" y="125"/>
                      <a:pt x="63" y="125"/>
                    </a:cubicBezTo>
                    <a:cubicBezTo>
                      <a:pt x="97" y="125"/>
                      <a:pt x="125" y="97"/>
                      <a:pt x="125" y="62"/>
                    </a:cubicBezTo>
                    <a:cubicBezTo>
                      <a:pt x="125" y="28"/>
                      <a:pt x="97" y="0"/>
                      <a:pt x="63" y="0"/>
                    </a:cubicBezTo>
                    <a:moveTo>
                      <a:pt x="63" y="114"/>
                    </a:moveTo>
                    <a:cubicBezTo>
                      <a:pt x="34" y="114"/>
                      <a:pt x="11" y="91"/>
                      <a:pt x="11" y="62"/>
                    </a:cubicBezTo>
                    <a:cubicBezTo>
                      <a:pt x="11" y="34"/>
                      <a:pt x="34" y="10"/>
                      <a:pt x="63" y="10"/>
                    </a:cubicBezTo>
                    <a:cubicBezTo>
                      <a:pt x="91" y="10"/>
                      <a:pt x="115" y="34"/>
                      <a:pt x="115" y="62"/>
                    </a:cubicBezTo>
                    <a:cubicBezTo>
                      <a:pt x="115" y="91"/>
                      <a:pt x="91" y="114"/>
                      <a:pt x="63" y="1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0"/>
              <p:cNvSpPr>
                <a:spLocks noEditPoints="1"/>
              </p:cNvSpPr>
              <p:nvPr/>
            </p:nvSpPr>
            <p:spPr bwMode="auto">
              <a:xfrm>
                <a:off x="6314914" y="1350249"/>
                <a:ext cx="248988" cy="252516"/>
              </a:xfrm>
              <a:custGeom>
                <a:avLst/>
                <a:gdLst>
                  <a:gd name="T0" fmla="*/ 205 w 209"/>
                  <a:gd name="T1" fmla="*/ 96 h 212"/>
                  <a:gd name="T2" fmla="*/ 193 w 209"/>
                  <a:gd name="T3" fmla="*/ 67 h 212"/>
                  <a:gd name="T4" fmla="*/ 187 w 209"/>
                  <a:gd name="T5" fmla="*/ 39 h 212"/>
                  <a:gd name="T6" fmla="*/ 161 w 209"/>
                  <a:gd name="T7" fmla="*/ 28 h 212"/>
                  <a:gd name="T8" fmla="*/ 135 w 209"/>
                  <a:gd name="T9" fmla="*/ 10 h 212"/>
                  <a:gd name="T10" fmla="*/ 117 w 209"/>
                  <a:gd name="T11" fmla="*/ 6 h 212"/>
                  <a:gd name="T12" fmla="*/ 86 w 209"/>
                  <a:gd name="T13" fmla="*/ 11 h 212"/>
                  <a:gd name="T14" fmla="*/ 66 w 209"/>
                  <a:gd name="T15" fmla="*/ 9 h 212"/>
                  <a:gd name="T16" fmla="*/ 41 w 209"/>
                  <a:gd name="T17" fmla="*/ 34 h 212"/>
                  <a:gd name="T18" fmla="*/ 18 w 209"/>
                  <a:gd name="T19" fmla="*/ 55 h 212"/>
                  <a:gd name="T20" fmla="*/ 10 w 209"/>
                  <a:gd name="T21" fmla="*/ 72 h 212"/>
                  <a:gd name="T22" fmla="*/ 8 w 209"/>
                  <a:gd name="T23" fmla="*/ 103 h 212"/>
                  <a:gd name="T24" fmla="*/ 2 w 209"/>
                  <a:gd name="T25" fmla="*/ 130 h 212"/>
                  <a:gd name="T26" fmla="*/ 20 w 209"/>
                  <a:gd name="T27" fmla="*/ 152 h 212"/>
                  <a:gd name="T28" fmla="*/ 35 w 209"/>
                  <a:gd name="T29" fmla="*/ 179 h 212"/>
                  <a:gd name="T30" fmla="*/ 50 w 209"/>
                  <a:gd name="T31" fmla="*/ 191 h 212"/>
                  <a:gd name="T32" fmla="*/ 80 w 209"/>
                  <a:gd name="T33" fmla="*/ 200 h 212"/>
                  <a:gd name="T34" fmla="*/ 105 w 209"/>
                  <a:gd name="T35" fmla="*/ 212 h 212"/>
                  <a:gd name="T36" fmla="*/ 131 w 209"/>
                  <a:gd name="T37" fmla="*/ 199 h 212"/>
                  <a:gd name="T38" fmla="*/ 161 w 209"/>
                  <a:gd name="T39" fmla="*/ 190 h 212"/>
                  <a:gd name="T40" fmla="*/ 175 w 209"/>
                  <a:gd name="T41" fmla="*/ 178 h 212"/>
                  <a:gd name="T42" fmla="*/ 190 w 209"/>
                  <a:gd name="T43" fmla="*/ 151 h 212"/>
                  <a:gd name="T44" fmla="*/ 208 w 209"/>
                  <a:gd name="T45" fmla="*/ 129 h 212"/>
                  <a:gd name="T46" fmla="*/ 198 w 209"/>
                  <a:gd name="T47" fmla="*/ 127 h 212"/>
                  <a:gd name="T48" fmla="*/ 180 w 209"/>
                  <a:gd name="T49" fmla="*/ 153 h 212"/>
                  <a:gd name="T50" fmla="*/ 174 w 209"/>
                  <a:gd name="T51" fmla="*/ 168 h 212"/>
                  <a:gd name="T52" fmla="*/ 150 w 209"/>
                  <a:gd name="T53" fmla="*/ 187 h 212"/>
                  <a:gd name="T54" fmla="*/ 135 w 209"/>
                  <a:gd name="T55" fmla="*/ 189 h 212"/>
                  <a:gd name="T56" fmla="*/ 111 w 209"/>
                  <a:gd name="T57" fmla="*/ 199 h 212"/>
                  <a:gd name="T58" fmla="*/ 96 w 209"/>
                  <a:gd name="T59" fmla="*/ 194 h 212"/>
                  <a:gd name="T60" fmla="*/ 70 w 209"/>
                  <a:gd name="T61" fmla="*/ 192 h 212"/>
                  <a:gd name="T62" fmla="*/ 58 w 209"/>
                  <a:gd name="T63" fmla="*/ 182 h 212"/>
                  <a:gd name="T64" fmla="*/ 31 w 209"/>
                  <a:gd name="T65" fmla="*/ 166 h 212"/>
                  <a:gd name="T66" fmla="*/ 21 w 209"/>
                  <a:gd name="T67" fmla="*/ 136 h 212"/>
                  <a:gd name="T68" fmla="*/ 13 w 209"/>
                  <a:gd name="T69" fmla="*/ 122 h 212"/>
                  <a:gd name="T70" fmla="*/ 13 w 209"/>
                  <a:gd name="T71" fmla="*/ 91 h 212"/>
                  <a:gd name="T72" fmla="*/ 21 w 209"/>
                  <a:gd name="T73" fmla="*/ 78 h 212"/>
                  <a:gd name="T74" fmla="*/ 30 w 209"/>
                  <a:gd name="T75" fmla="*/ 47 h 212"/>
                  <a:gd name="T76" fmla="*/ 57 w 209"/>
                  <a:gd name="T77" fmla="*/ 31 h 212"/>
                  <a:gd name="T78" fmla="*/ 68 w 209"/>
                  <a:gd name="T79" fmla="*/ 20 h 212"/>
                  <a:gd name="T80" fmla="*/ 94 w 209"/>
                  <a:gd name="T81" fmla="*/ 18 h 212"/>
                  <a:gd name="T82" fmla="*/ 109 w 209"/>
                  <a:gd name="T83" fmla="*/ 13 h 212"/>
                  <a:gd name="T84" fmla="*/ 134 w 209"/>
                  <a:gd name="T85" fmla="*/ 22 h 212"/>
                  <a:gd name="T86" fmla="*/ 149 w 209"/>
                  <a:gd name="T87" fmla="*/ 24 h 212"/>
                  <a:gd name="T88" fmla="*/ 174 w 209"/>
                  <a:gd name="T89" fmla="*/ 44 h 212"/>
                  <a:gd name="T90" fmla="*/ 179 w 209"/>
                  <a:gd name="T91" fmla="*/ 58 h 212"/>
                  <a:gd name="T92" fmla="*/ 197 w 209"/>
                  <a:gd name="T93" fmla="*/ 84 h 212"/>
                  <a:gd name="T94" fmla="*/ 193 w 209"/>
                  <a:gd name="T95" fmla="*/ 11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9" h="212">
                    <a:moveTo>
                      <a:pt x="201" y="110"/>
                    </a:moveTo>
                    <a:cubicBezTo>
                      <a:pt x="199" y="107"/>
                      <a:pt x="199" y="104"/>
                      <a:pt x="201" y="101"/>
                    </a:cubicBezTo>
                    <a:cubicBezTo>
                      <a:pt x="205" y="96"/>
                      <a:pt x="205" y="96"/>
                      <a:pt x="205" y="96"/>
                    </a:cubicBezTo>
                    <a:cubicBezTo>
                      <a:pt x="208" y="92"/>
                      <a:pt x="209" y="87"/>
                      <a:pt x="208" y="82"/>
                    </a:cubicBezTo>
                    <a:cubicBezTo>
                      <a:pt x="206" y="77"/>
                      <a:pt x="203" y="73"/>
                      <a:pt x="199" y="70"/>
                    </a:cubicBezTo>
                    <a:cubicBezTo>
                      <a:pt x="193" y="67"/>
                      <a:pt x="193" y="67"/>
                      <a:pt x="193" y="67"/>
                    </a:cubicBezTo>
                    <a:cubicBezTo>
                      <a:pt x="190" y="66"/>
                      <a:pt x="189" y="63"/>
                      <a:pt x="190" y="60"/>
                    </a:cubicBezTo>
                    <a:cubicBezTo>
                      <a:pt x="191" y="53"/>
                      <a:pt x="191" y="53"/>
                      <a:pt x="191" y="53"/>
                    </a:cubicBezTo>
                    <a:cubicBezTo>
                      <a:pt x="191" y="49"/>
                      <a:pt x="190" y="43"/>
                      <a:pt x="187" y="39"/>
                    </a:cubicBezTo>
                    <a:cubicBezTo>
                      <a:pt x="184" y="36"/>
                      <a:pt x="179" y="33"/>
                      <a:pt x="174" y="33"/>
                    </a:cubicBezTo>
                    <a:cubicBezTo>
                      <a:pt x="168" y="33"/>
                      <a:pt x="168" y="33"/>
                      <a:pt x="168" y="33"/>
                    </a:cubicBezTo>
                    <a:cubicBezTo>
                      <a:pt x="164" y="33"/>
                      <a:pt x="162" y="30"/>
                      <a:pt x="161" y="28"/>
                    </a:cubicBezTo>
                    <a:cubicBezTo>
                      <a:pt x="159" y="21"/>
                      <a:pt x="159" y="21"/>
                      <a:pt x="159" y="21"/>
                    </a:cubicBezTo>
                    <a:cubicBezTo>
                      <a:pt x="157" y="14"/>
                      <a:pt x="150" y="9"/>
                      <a:pt x="142" y="9"/>
                    </a:cubicBezTo>
                    <a:cubicBezTo>
                      <a:pt x="140" y="9"/>
                      <a:pt x="137" y="9"/>
                      <a:pt x="135" y="10"/>
                    </a:cubicBezTo>
                    <a:cubicBezTo>
                      <a:pt x="129" y="13"/>
                      <a:pt x="129" y="13"/>
                      <a:pt x="129" y="13"/>
                    </a:cubicBezTo>
                    <a:cubicBezTo>
                      <a:pt x="127" y="14"/>
                      <a:pt x="123" y="13"/>
                      <a:pt x="121" y="11"/>
                    </a:cubicBezTo>
                    <a:cubicBezTo>
                      <a:pt x="117" y="6"/>
                      <a:pt x="117" y="6"/>
                      <a:pt x="117" y="6"/>
                    </a:cubicBezTo>
                    <a:cubicBezTo>
                      <a:pt x="114" y="2"/>
                      <a:pt x="109" y="0"/>
                      <a:pt x="104" y="0"/>
                    </a:cubicBezTo>
                    <a:cubicBezTo>
                      <a:pt x="99" y="0"/>
                      <a:pt x="94" y="2"/>
                      <a:pt x="91" y="6"/>
                    </a:cubicBezTo>
                    <a:cubicBezTo>
                      <a:pt x="86" y="11"/>
                      <a:pt x="86" y="11"/>
                      <a:pt x="86" y="11"/>
                    </a:cubicBezTo>
                    <a:cubicBezTo>
                      <a:pt x="84" y="13"/>
                      <a:pt x="81" y="14"/>
                      <a:pt x="78" y="13"/>
                    </a:cubicBezTo>
                    <a:cubicBezTo>
                      <a:pt x="72" y="11"/>
                      <a:pt x="72" y="11"/>
                      <a:pt x="72" y="11"/>
                    </a:cubicBezTo>
                    <a:cubicBezTo>
                      <a:pt x="70" y="10"/>
                      <a:pt x="68" y="9"/>
                      <a:pt x="66" y="9"/>
                    </a:cubicBezTo>
                    <a:cubicBezTo>
                      <a:pt x="58" y="9"/>
                      <a:pt x="51" y="15"/>
                      <a:pt x="49" y="22"/>
                    </a:cubicBezTo>
                    <a:cubicBezTo>
                      <a:pt x="47" y="28"/>
                      <a:pt x="47" y="28"/>
                      <a:pt x="47" y="28"/>
                    </a:cubicBezTo>
                    <a:cubicBezTo>
                      <a:pt x="46" y="31"/>
                      <a:pt x="44" y="33"/>
                      <a:pt x="41" y="34"/>
                    </a:cubicBezTo>
                    <a:cubicBezTo>
                      <a:pt x="34" y="34"/>
                      <a:pt x="34" y="34"/>
                      <a:pt x="34" y="34"/>
                    </a:cubicBezTo>
                    <a:cubicBezTo>
                      <a:pt x="29" y="34"/>
                      <a:pt x="24" y="37"/>
                      <a:pt x="21" y="41"/>
                    </a:cubicBezTo>
                    <a:cubicBezTo>
                      <a:pt x="18" y="45"/>
                      <a:pt x="17" y="50"/>
                      <a:pt x="18" y="55"/>
                    </a:cubicBezTo>
                    <a:cubicBezTo>
                      <a:pt x="19" y="61"/>
                      <a:pt x="19" y="61"/>
                      <a:pt x="19" y="61"/>
                    </a:cubicBezTo>
                    <a:cubicBezTo>
                      <a:pt x="20" y="64"/>
                      <a:pt x="18" y="67"/>
                      <a:pt x="16" y="69"/>
                    </a:cubicBezTo>
                    <a:cubicBezTo>
                      <a:pt x="10" y="72"/>
                      <a:pt x="10" y="72"/>
                      <a:pt x="10" y="72"/>
                    </a:cubicBezTo>
                    <a:cubicBezTo>
                      <a:pt x="5" y="74"/>
                      <a:pt x="2" y="78"/>
                      <a:pt x="1" y="83"/>
                    </a:cubicBezTo>
                    <a:cubicBezTo>
                      <a:pt x="0" y="88"/>
                      <a:pt x="1" y="94"/>
                      <a:pt x="4" y="98"/>
                    </a:cubicBezTo>
                    <a:cubicBezTo>
                      <a:pt x="8" y="103"/>
                      <a:pt x="8" y="103"/>
                      <a:pt x="8" y="103"/>
                    </a:cubicBezTo>
                    <a:cubicBezTo>
                      <a:pt x="10" y="105"/>
                      <a:pt x="10" y="109"/>
                      <a:pt x="8" y="111"/>
                    </a:cubicBezTo>
                    <a:cubicBezTo>
                      <a:pt x="4" y="116"/>
                      <a:pt x="4" y="116"/>
                      <a:pt x="4" y="116"/>
                    </a:cubicBezTo>
                    <a:cubicBezTo>
                      <a:pt x="1" y="120"/>
                      <a:pt x="0" y="126"/>
                      <a:pt x="2" y="130"/>
                    </a:cubicBezTo>
                    <a:cubicBezTo>
                      <a:pt x="3" y="135"/>
                      <a:pt x="6" y="140"/>
                      <a:pt x="10" y="142"/>
                    </a:cubicBezTo>
                    <a:cubicBezTo>
                      <a:pt x="16" y="145"/>
                      <a:pt x="16" y="145"/>
                      <a:pt x="16" y="145"/>
                    </a:cubicBezTo>
                    <a:cubicBezTo>
                      <a:pt x="19" y="146"/>
                      <a:pt x="20" y="149"/>
                      <a:pt x="20" y="152"/>
                    </a:cubicBezTo>
                    <a:cubicBezTo>
                      <a:pt x="19" y="159"/>
                      <a:pt x="19" y="159"/>
                      <a:pt x="19" y="159"/>
                    </a:cubicBezTo>
                    <a:cubicBezTo>
                      <a:pt x="18" y="164"/>
                      <a:pt x="19" y="169"/>
                      <a:pt x="22" y="173"/>
                    </a:cubicBezTo>
                    <a:cubicBezTo>
                      <a:pt x="26" y="177"/>
                      <a:pt x="30" y="179"/>
                      <a:pt x="35" y="179"/>
                    </a:cubicBezTo>
                    <a:cubicBezTo>
                      <a:pt x="42" y="180"/>
                      <a:pt x="42" y="180"/>
                      <a:pt x="42" y="180"/>
                    </a:cubicBezTo>
                    <a:cubicBezTo>
                      <a:pt x="45" y="180"/>
                      <a:pt x="47" y="182"/>
                      <a:pt x="48" y="185"/>
                    </a:cubicBezTo>
                    <a:cubicBezTo>
                      <a:pt x="50" y="191"/>
                      <a:pt x="50" y="191"/>
                      <a:pt x="50" y="191"/>
                    </a:cubicBezTo>
                    <a:cubicBezTo>
                      <a:pt x="52" y="198"/>
                      <a:pt x="59" y="204"/>
                      <a:pt x="67" y="204"/>
                    </a:cubicBezTo>
                    <a:cubicBezTo>
                      <a:pt x="69" y="204"/>
                      <a:pt x="72" y="203"/>
                      <a:pt x="74" y="202"/>
                    </a:cubicBezTo>
                    <a:cubicBezTo>
                      <a:pt x="80" y="200"/>
                      <a:pt x="80" y="200"/>
                      <a:pt x="80" y="200"/>
                    </a:cubicBezTo>
                    <a:cubicBezTo>
                      <a:pt x="83" y="198"/>
                      <a:pt x="86" y="199"/>
                      <a:pt x="88" y="201"/>
                    </a:cubicBezTo>
                    <a:cubicBezTo>
                      <a:pt x="92" y="206"/>
                      <a:pt x="92" y="206"/>
                      <a:pt x="92" y="206"/>
                    </a:cubicBezTo>
                    <a:cubicBezTo>
                      <a:pt x="95" y="210"/>
                      <a:pt x="100" y="212"/>
                      <a:pt x="105" y="212"/>
                    </a:cubicBezTo>
                    <a:cubicBezTo>
                      <a:pt x="110" y="212"/>
                      <a:pt x="115" y="210"/>
                      <a:pt x="119" y="206"/>
                    </a:cubicBezTo>
                    <a:cubicBezTo>
                      <a:pt x="123" y="201"/>
                      <a:pt x="123" y="201"/>
                      <a:pt x="123" y="201"/>
                    </a:cubicBezTo>
                    <a:cubicBezTo>
                      <a:pt x="125" y="199"/>
                      <a:pt x="128" y="198"/>
                      <a:pt x="131" y="199"/>
                    </a:cubicBezTo>
                    <a:cubicBezTo>
                      <a:pt x="137" y="202"/>
                      <a:pt x="137" y="202"/>
                      <a:pt x="137" y="202"/>
                    </a:cubicBezTo>
                    <a:cubicBezTo>
                      <a:pt x="139" y="203"/>
                      <a:pt x="141" y="203"/>
                      <a:pt x="143" y="203"/>
                    </a:cubicBezTo>
                    <a:cubicBezTo>
                      <a:pt x="151" y="203"/>
                      <a:pt x="158" y="198"/>
                      <a:pt x="161" y="190"/>
                    </a:cubicBezTo>
                    <a:cubicBezTo>
                      <a:pt x="162" y="184"/>
                      <a:pt x="162" y="184"/>
                      <a:pt x="162" y="184"/>
                    </a:cubicBezTo>
                    <a:cubicBezTo>
                      <a:pt x="163" y="181"/>
                      <a:pt x="166" y="179"/>
                      <a:pt x="169" y="179"/>
                    </a:cubicBezTo>
                    <a:cubicBezTo>
                      <a:pt x="175" y="178"/>
                      <a:pt x="175" y="178"/>
                      <a:pt x="175" y="178"/>
                    </a:cubicBezTo>
                    <a:cubicBezTo>
                      <a:pt x="180" y="178"/>
                      <a:pt x="185" y="176"/>
                      <a:pt x="188" y="172"/>
                    </a:cubicBezTo>
                    <a:cubicBezTo>
                      <a:pt x="191" y="168"/>
                      <a:pt x="192" y="162"/>
                      <a:pt x="191" y="157"/>
                    </a:cubicBezTo>
                    <a:cubicBezTo>
                      <a:pt x="190" y="151"/>
                      <a:pt x="190" y="151"/>
                      <a:pt x="190" y="151"/>
                    </a:cubicBezTo>
                    <a:cubicBezTo>
                      <a:pt x="190" y="148"/>
                      <a:pt x="191" y="145"/>
                      <a:pt x="194" y="144"/>
                    </a:cubicBezTo>
                    <a:cubicBezTo>
                      <a:pt x="199" y="141"/>
                      <a:pt x="199" y="141"/>
                      <a:pt x="199" y="141"/>
                    </a:cubicBezTo>
                    <a:cubicBezTo>
                      <a:pt x="204" y="138"/>
                      <a:pt x="207" y="134"/>
                      <a:pt x="208" y="129"/>
                    </a:cubicBezTo>
                    <a:cubicBezTo>
                      <a:pt x="209" y="124"/>
                      <a:pt x="208" y="119"/>
                      <a:pt x="205" y="115"/>
                    </a:cubicBezTo>
                    <a:lnTo>
                      <a:pt x="201" y="110"/>
                    </a:lnTo>
                    <a:close/>
                    <a:moveTo>
                      <a:pt x="198" y="127"/>
                    </a:moveTo>
                    <a:cubicBezTo>
                      <a:pt x="197" y="129"/>
                      <a:pt x="196" y="130"/>
                      <a:pt x="194" y="131"/>
                    </a:cubicBezTo>
                    <a:cubicBezTo>
                      <a:pt x="189" y="134"/>
                      <a:pt x="189" y="134"/>
                      <a:pt x="189" y="134"/>
                    </a:cubicBezTo>
                    <a:cubicBezTo>
                      <a:pt x="182" y="138"/>
                      <a:pt x="178" y="146"/>
                      <a:pt x="180" y="153"/>
                    </a:cubicBezTo>
                    <a:cubicBezTo>
                      <a:pt x="181" y="159"/>
                      <a:pt x="181" y="159"/>
                      <a:pt x="181" y="159"/>
                    </a:cubicBezTo>
                    <a:cubicBezTo>
                      <a:pt x="181" y="161"/>
                      <a:pt x="181" y="163"/>
                      <a:pt x="180" y="165"/>
                    </a:cubicBezTo>
                    <a:cubicBezTo>
                      <a:pt x="178" y="167"/>
                      <a:pt x="176" y="167"/>
                      <a:pt x="174" y="168"/>
                    </a:cubicBezTo>
                    <a:cubicBezTo>
                      <a:pt x="168" y="168"/>
                      <a:pt x="168" y="168"/>
                      <a:pt x="168" y="168"/>
                    </a:cubicBezTo>
                    <a:cubicBezTo>
                      <a:pt x="160" y="168"/>
                      <a:pt x="154" y="174"/>
                      <a:pt x="152" y="181"/>
                    </a:cubicBezTo>
                    <a:cubicBezTo>
                      <a:pt x="150" y="187"/>
                      <a:pt x="150" y="187"/>
                      <a:pt x="150" y="187"/>
                    </a:cubicBezTo>
                    <a:cubicBezTo>
                      <a:pt x="149" y="190"/>
                      <a:pt x="147" y="192"/>
                      <a:pt x="143" y="192"/>
                    </a:cubicBezTo>
                    <a:cubicBezTo>
                      <a:pt x="143" y="192"/>
                      <a:pt x="142" y="192"/>
                      <a:pt x="141" y="192"/>
                    </a:cubicBezTo>
                    <a:cubicBezTo>
                      <a:pt x="135" y="189"/>
                      <a:pt x="135" y="189"/>
                      <a:pt x="135" y="189"/>
                    </a:cubicBezTo>
                    <a:cubicBezTo>
                      <a:pt x="133" y="189"/>
                      <a:pt x="130" y="188"/>
                      <a:pt x="128" y="188"/>
                    </a:cubicBezTo>
                    <a:cubicBezTo>
                      <a:pt x="123" y="188"/>
                      <a:pt x="118" y="190"/>
                      <a:pt x="115" y="194"/>
                    </a:cubicBezTo>
                    <a:cubicBezTo>
                      <a:pt x="111" y="199"/>
                      <a:pt x="111" y="199"/>
                      <a:pt x="111" y="199"/>
                    </a:cubicBezTo>
                    <a:cubicBezTo>
                      <a:pt x="109" y="200"/>
                      <a:pt x="107" y="201"/>
                      <a:pt x="105" y="201"/>
                    </a:cubicBezTo>
                    <a:cubicBezTo>
                      <a:pt x="103" y="201"/>
                      <a:pt x="101" y="201"/>
                      <a:pt x="100" y="199"/>
                    </a:cubicBezTo>
                    <a:cubicBezTo>
                      <a:pt x="96" y="194"/>
                      <a:pt x="96" y="194"/>
                      <a:pt x="96" y="194"/>
                    </a:cubicBezTo>
                    <a:cubicBezTo>
                      <a:pt x="92" y="191"/>
                      <a:pt x="88" y="188"/>
                      <a:pt x="83" y="188"/>
                    </a:cubicBezTo>
                    <a:cubicBezTo>
                      <a:pt x="80" y="188"/>
                      <a:pt x="78" y="189"/>
                      <a:pt x="76" y="190"/>
                    </a:cubicBezTo>
                    <a:cubicBezTo>
                      <a:pt x="70" y="192"/>
                      <a:pt x="70" y="192"/>
                      <a:pt x="70" y="192"/>
                    </a:cubicBezTo>
                    <a:cubicBezTo>
                      <a:pt x="69" y="193"/>
                      <a:pt x="68" y="193"/>
                      <a:pt x="67" y="193"/>
                    </a:cubicBezTo>
                    <a:cubicBezTo>
                      <a:pt x="64" y="193"/>
                      <a:pt x="61" y="191"/>
                      <a:pt x="60" y="188"/>
                    </a:cubicBezTo>
                    <a:cubicBezTo>
                      <a:pt x="58" y="182"/>
                      <a:pt x="58" y="182"/>
                      <a:pt x="58" y="182"/>
                    </a:cubicBezTo>
                    <a:cubicBezTo>
                      <a:pt x="56" y="174"/>
                      <a:pt x="50" y="169"/>
                      <a:pt x="42" y="169"/>
                    </a:cubicBezTo>
                    <a:cubicBezTo>
                      <a:pt x="36" y="169"/>
                      <a:pt x="36" y="169"/>
                      <a:pt x="36" y="169"/>
                    </a:cubicBezTo>
                    <a:cubicBezTo>
                      <a:pt x="34" y="169"/>
                      <a:pt x="32" y="168"/>
                      <a:pt x="31" y="166"/>
                    </a:cubicBezTo>
                    <a:cubicBezTo>
                      <a:pt x="29" y="164"/>
                      <a:pt x="29" y="162"/>
                      <a:pt x="29" y="160"/>
                    </a:cubicBezTo>
                    <a:cubicBezTo>
                      <a:pt x="30" y="154"/>
                      <a:pt x="30" y="154"/>
                      <a:pt x="30" y="154"/>
                    </a:cubicBezTo>
                    <a:cubicBezTo>
                      <a:pt x="31" y="147"/>
                      <a:pt x="28" y="139"/>
                      <a:pt x="21" y="136"/>
                    </a:cubicBezTo>
                    <a:cubicBezTo>
                      <a:pt x="15" y="133"/>
                      <a:pt x="15" y="133"/>
                      <a:pt x="15" y="133"/>
                    </a:cubicBezTo>
                    <a:cubicBezTo>
                      <a:pt x="14" y="132"/>
                      <a:pt x="12" y="130"/>
                      <a:pt x="12" y="128"/>
                    </a:cubicBezTo>
                    <a:cubicBezTo>
                      <a:pt x="11" y="126"/>
                      <a:pt x="12" y="124"/>
                      <a:pt x="13" y="122"/>
                    </a:cubicBezTo>
                    <a:cubicBezTo>
                      <a:pt x="17" y="117"/>
                      <a:pt x="17" y="117"/>
                      <a:pt x="17" y="117"/>
                    </a:cubicBezTo>
                    <a:cubicBezTo>
                      <a:pt x="21" y="111"/>
                      <a:pt x="21" y="103"/>
                      <a:pt x="17" y="96"/>
                    </a:cubicBezTo>
                    <a:cubicBezTo>
                      <a:pt x="13" y="91"/>
                      <a:pt x="13" y="91"/>
                      <a:pt x="13" y="91"/>
                    </a:cubicBezTo>
                    <a:cubicBezTo>
                      <a:pt x="12" y="90"/>
                      <a:pt x="11" y="88"/>
                      <a:pt x="12" y="86"/>
                    </a:cubicBezTo>
                    <a:cubicBezTo>
                      <a:pt x="12" y="84"/>
                      <a:pt x="13" y="82"/>
                      <a:pt x="15" y="81"/>
                    </a:cubicBezTo>
                    <a:cubicBezTo>
                      <a:pt x="21" y="78"/>
                      <a:pt x="21" y="78"/>
                      <a:pt x="21" y="78"/>
                    </a:cubicBezTo>
                    <a:cubicBezTo>
                      <a:pt x="27" y="74"/>
                      <a:pt x="31" y="67"/>
                      <a:pt x="29" y="59"/>
                    </a:cubicBezTo>
                    <a:cubicBezTo>
                      <a:pt x="28" y="53"/>
                      <a:pt x="28" y="53"/>
                      <a:pt x="28" y="53"/>
                    </a:cubicBezTo>
                    <a:cubicBezTo>
                      <a:pt x="28" y="51"/>
                      <a:pt x="28" y="49"/>
                      <a:pt x="30" y="47"/>
                    </a:cubicBezTo>
                    <a:cubicBezTo>
                      <a:pt x="31" y="46"/>
                      <a:pt x="33" y="45"/>
                      <a:pt x="35" y="45"/>
                    </a:cubicBezTo>
                    <a:cubicBezTo>
                      <a:pt x="41" y="44"/>
                      <a:pt x="41" y="44"/>
                      <a:pt x="41" y="44"/>
                    </a:cubicBezTo>
                    <a:cubicBezTo>
                      <a:pt x="49" y="44"/>
                      <a:pt x="55" y="39"/>
                      <a:pt x="57" y="31"/>
                    </a:cubicBezTo>
                    <a:cubicBezTo>
                      <a:pt x="59" y="25"/>
                      <a:pt x="59" y="25"/>
                      <a:pt x="59" y="25"/>
                    </a:cubicBezTo>
                    <a:cubicBezTo>
                      <a:pt x="60" y="22"/>
                      <a:pt x="63" y="20"/>
                      <a:pt x="66" y="20"/>
                    </a:cubicBezTo>
                    <a:cubicBezTo>
                      <a:pt x="67" y="20"/>
                      <a:pt x="68" y="20"/>
                      <a:pt x="68" y="20"/>
                    </a:cubicBezTo>
                    <a:cubicBezTo>
                      <a:pt x="74" y="23"/>
                      <a:pt x="74" y="23"/>
                      <a:pt x="74" y="23"/>
                    </a:cubicBezTo>
                    <a:cubicBezTo>
                      <a:pt x="77" y="24"/>
                      <a:pt x="79" y="24"/>
                      <a:pt x="81" y="24"/>
                    </a:cubicBezTo>
                    <a:cubicBezTo>
                      <a:pt x="86" y="24"/>
                      <a:pt x="91" y="22"/>
                      <a:pt x="94" y="18"/>
                    </a:cubicBezTo>
                    <a:cubicBezTo>
                      <a:pt x="99" y="13"/>
                      <a:pt x="99" y="13"/>
                      <a:pt x="99" y="13"/>
                    </a:cubicBezTo>
                    <a:cubicBezTo>
                      <a:pt x="100" y="12"/>
                      <a:pt x="102" y="11"/>
                      <a:pt x="104" y="11"/>
                    </a:cubicBezTo>
                    <a:cubicBezTo>
                      <a:pt x="106" y="11"/>
                      <a:pt x="108" y="12"/>
                      <a:pt x="109" y="13"/>
                    </a:cubicBezTo>
                    <a:cubicBezTo>
                      <a:pt x="114" y="18"/>
                      <a:pt x="114" y="18"/>
                      <a:pt x="114" y="18"/>
                    </a:cubicBezTo>
                    <a:cubicBezTo>
                      <a:pt x="117" y="22"/>
                      <a:pt x="122" y="24"/>
                      <a:pt x="127" y="24"/>
                    </a:cubicBezTo>
                    <a:cubicBezTo>
                      <a:pt x="129" y="24"/>
                      <a:pt x="131" y="23"/>
                      <a:pt x="134" y="22"/>
                    </a:cubicBezTo>
                    <a:cubicBezTo>
                      <a:pt x="140" y="20"/>
                      <a:pt x="140" y="20"/>
                      <a:pt x="140" y="20"/>
                    </a:cubicBezTo>
                    <a:cubicBezTo>
                      <a:pt x="140" y="20"/>
                      <a:pt x="141" y="19"/>
                      <a:pt x="142" y="19"/>
                    </a:cubicBezTo>
                    <a:cubicBezTo>
                      <a:pt x="145" y="19"/>
                      <a:pt x="148" y="21"/>
                      <a:pt x="149" y="24"/>
                    </a:cubicBezTo>
                    <a:cubicBezTo>
                      <a:pt x="151" y="31"/>
                      <a:pt x="151" y="31"/>
                      <a:pt x="151" y="31"/>
                    </a:cubicBezTo>
                    <a:cubicBezTo>
                      <a:pt x="153" y="38"/>
                      <a:pt x="160" y="43"/>
                      <a:pt x="167" y="43"/>
                    </a:cubicBezTo>
                    <a:cubicBezTo>
                      <a:pt x="174" y="44"/>
                      <a:pt x="174" y="44"/>
                      <a:pt x="174" y="44"/>
                    </a:cubicBezTo>
                    <a:cubicBezTo>
                      <a:pt x="176" y="44"/>
                      <a:pt x="177" y="45"/>
                      <a:pt x="179" y="46"/>
                    </a:cubicBezTo>
                    <a:cubicBezTo>
                      <a:pt x="180" y="48"/>
                      <a:pt x="181" y="50"/>
                      <a:pt x="180" y="52"/>
                    </a:cubicBezTo>
                    <a:cubicBezTo>
                      <a:pt x="179" y="58"/>
                      <a:pt x="179" y="58"/>
                      <a:pt x="179" y="58"/>
                    </a:cubicBezTo>
                    <a:cubicBezTo>
                      <a:pt x="178" y="66"/>
                      <a:pt x="181" y="73"/>
                      <a:pt x="188" y="77"/>
                    </a:cubicBezTo>
                    <a:cubicBezTo>
                      <a:pt x="194" y="80"/>
                      <a:pt x="194" y="80"/>
                      <a:pt x="194" y="80"/>
                    </a:cubicBezTo>
                    <a:cubicBezTo>
                      <a:pt x="196" y="81"/>
                      <a:pt x="197" y="82"/>
                      <a:pt x="197" y="84"/>
                    </a:cubicBezTo>
                    <a:cubicBezTo>
                      <a:pt x="198" y="86"/>
                      <a:pt x="197" y="88"/>
                      <a:pt x="196" y="90"/>
                    </a:cubicBezTo>
                    <a:cubicBezTo>
                      <a:pt x="193" y="95"/>
                      <a:pt x="193" y="95"/>
                      <a:pt x="193" y="95"/>
                    </a:cubicBezTo>
                    <a:cubicBezTo>
                      <a:pt x="188" y="101"/>
                      <a:pt x="188" y="110"/>
                      <a:pt x="193" y="116"/>
                    </a:cubicBezTo>
                    <a:cubicBezTo>
                      <a:pt x="197" y="121"/>
                      <a:pt x="197" y="121"/>
                      <a:pt x="197" y="121"/>
                    </a:cubicBezTo>
                    <a:cubicBezTo>
                      <a:pt x="198" y="123"/>
                      <a:pt x="198" y="125"/>
                      <a:pt x="198" y="1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1"/>
              <p:cNvSpPr>
                <a:spLocks/>
              </p:cNvSpPr>
              <p:nvPr/>
            </p:nvSpPr>
            <p:spPr bwMode="auto">
              <a:xfrm>
                <a:off x="6410175" y="1453574"/>
                <a:ext cx="59475" cy="45362"/>
              </a:xfrm>
              <a:custGeom>
                <a:avLst/>
                <a:gdLst>
                  <a:gd name="T0" fmla="*/ 40 w 50"/>
                  <a:gd name="T1" fmla="*/ 2 h 38"/>
                  <a:gd name="T2" fmla="*/ 17 w 50"/>
                  <a:gd name="T3" fmla="*/ 25 h 38"/>
                  <a:gd name="T4" fmla="*/ 9 w 50"/>
                  <a:gd name="T5" fmla="*/ 17 h 38"/>
                  <a:gd name="T6" fmla="*/ 2 w 50"/>
                  <a:gd name="T7" fmla="*/ 17 h 38"/>
                  <a:gd name="T8" fmla="*/ 2 w 50"/>
                  <a:gd name="T9" fmla="*/ 25 h 38"/>
                  <a:gd name="T10" fmla="*/ 13 w 50"/>
                  <a:gd name="T11" fmla="*/ 36 h 38"/>
                  <a:gd name="T12" fmla="*/ 17 w 50"/>
                  <a:gd name="T13" fmla="*/ 38 h 38"/>
                  <a:gd name="T14" fmla="*/ 20 w 50"/>
                  <a:gd name="T15" fmla="*/ 36 h 38"/>
                  <a:gd name="T16" fmla="*/ 47 w 50"/>
                  <a:gd name="T17" fmla="*/ 9 h 38"/>
                  <a:gd name="T18" fmla="*/ 48 w 50"/>
                  <a:gd name="T19" fmla="*/ 2 h 38"/>
                  <a:gd name="T20" fmla="*/ 40 w 50"/>
                  <a:gd name="T21"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38">
                    <a:moveTo>
                      <a:pt x="40" y="2"/>
                    </a:moveTo>
                    <a:cubicBezTo>
                      <a:pt x="17" y="25"/>
                      <a:pt x="17" y="25"/>
                      <a:pt x="17" y="25"/>
                    </a:cubicBezTo>
                    <a:cubicBezTo>
                      <a:pt x="9" y="17"/>
                      <a:pt x="9" y="17"/>
                      <a:pt x="9" y="17"/>
                    </a:cubicBezTo>
                    <a:cubicBezTo>
                      <a:pt x="7" y="15"/>
                      <a:pt x="4" y="15"/>
                      <a:pt x="2" y="17"/>
                    </a:cubicBezTo>
                    <a:cubicBezTo>
                      <a:pt x="0" y="20"/>
                      <a:pt x="0" y="23"/>
                      <a:pt x="2" y="25"/>
                    </a:cubicBezTo>
                    <a:cubicBezTo>
                      <a:pt x="13" y="36"/>
                      <a:pt x="13" y="36"/>
                      <a:pt x="13" y="36"/>
                    </a:cubicBezTo>
                    <a:cubicBezTo>
                      <a:pt x="14" y="37"/>
                      <a:pt x="15" y="38"/>
                      <a:pt x="17" y="38"/>
                    </a:cubicBezTo>
                    <a:cubicBezTo>
                      <a:pt x="18" y="38"/>
                      <a:pt x="19" y="37"/>
                      <a:pt x="20" y="36"/>
                    </a:cubicBezTo>
                    <a:cubicBezTo>
                      <a:pt x="47" y="9"/>
                      <a:pt x="47" y="9"/>
                      <a:pt x="47" y="9"/>
                    </a:cubicBezTo>
                    <a:cubicBezTo>
                      <a:pt x="50" y="7"/>
                      <a:pt x="50" y="4"/>
                      <a:pt x="48" y="2"/>
                    </a:cubicBezTo>
                    <a:cubicBezTo>
                      <a:pt x="45" y="0"/>
                      <a:pt x="42" y="0"/>
                      <a:pt x="40"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7" name="Group 76"/>
            <p:cNvGrpSpPr/>
            <p:nvPr/>
          </p:nvGrpSpPr>
          <p:grpSpPr>
            <a:xfrm>
              <a:off x="6731742" y="1358313"/>
              <a:ext cx="222779" cy="222779"/>
              <a:chOff x="6731742" y="1358313"/>
              <a:chExt cx="222779" cy="222779"/>
            </a:xfrm>
          </p:grpSpPr>
          <p:sp>
            <p:nvSpPr>
              <p:cNvPr id="80" name="Rectangle 72"/>
              <p:cNvSpPr>
                <a:spLocks noChangeArrowheads="1"/>
              </p:cNvSpPr>
              <p:nvPr/>
            </p:nvSpPr>
            <p:spPr bwMode="auto">
              <a:xfrm>
                <a:off x="6762992" y="1527665"/>
                <a:ext cx="54435" cy="534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73"/>
              <p:cNvSpPr>
                <a:spLocks noChangeArrowheads="1"/>
              </p:cNvSpPr>
              <p:nvPr/>
            </p:nvSpPr>
            <p:spPr bwMode="auto">
              <a:xfrm>
                <a:off x="6833051" y="1527665"/>
                <a:ext cx="53427" cy="534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74"/>
              <p:cNvSpPr>
                <a:spLocks noChangeArrowheads="1"/>
              </p:cNvSpPr>
              <p:nvPr/>
            </p:nvSpPr>
            <p:spPr bwMode="auto">
              <a:xfrm>
                <a:off x="6899582" y="1527665"/>
                <a:ext cx="54939" cy="534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75"/>
              <p:cNvSpPr>
                <a:spLocks noChangeArrowheads="1"/>
              </p:cNvSpPr>
              <p:nvPr/>
            </p:nvSpPr>
            <p:spPr bwMode="auto">
              <a:xfrm>
                <a:off x="6762992" y="1458614"/>
                <a:ext cx="54435" cy="534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76"/>
              <p:cNvSpPr>
                <a:spLocks noChangeArrowheads="1"/>
              </p:cNvSpPr>
              <p:nvPr/>
            </p:nvSpPr>
            <p:spPr bwMode="auto">
              <a:xfrm>
                <a:off x="6833051" y="1458614"/>
                <a:ext cx="53427" cy="534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77"/>
              <p:cNvSpPr>
                <a:spLocks noChangeArrowheads="1"/>
              </p:cNvSpPr>
              <p:nvPr/>
            </p:nvSpPr>
            <p:spPr bwMode="auto">
              <a:xfrm>
                <a:off x="6899582" y="1458614"/>
                <a:ext cx="54939" cy="534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78"/>
              <p:cNvSpPr>
                <a:spLocks noChangeArrowheads="1"/>
              </p:cNvSpPr>
              <p:nvPr/>
            </p:nvSpPr>
            <p:spPr bwMode="auto">
              <a:xfrm>
                <a:off x="6731742" y="1358313"/>
                <a:ext cx="85684" cy="856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79"/>
              <p:cNvSpPr>
                <a:spLocks noChangeArrowheads="1"/>
              </p:cNvSpPr>
              <p:nvPr/>
            </p:nvSpPr>
            <p:spPr bwMode="auto">
              <a:xfrm>
                <a:off x="6833051" y="1389563"/>
                <a:ext cx="53427" cy="54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80"/>
              <p:cNvSpPr>
                <a:spLocks noChangeArrowheads="1"/>
              </p:cNvSpPr>
              <p:nvPr/>
            </p:nvSpPr>
            <p:spPr bwMode="auto">
              <a:xfrm>
                <a:off x="6899582" y="1389563"/>
                <a:ext cx="54939" cy="54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8" name="TextBox 77"/>
            <p:cNvSpPr txBox="1"/>
            <p:nvPr/>
          </p:nvSpPr>
          <p:spPr>
            <a:xfrm>
              <a:off x="3265644" y="1138190"/>
              <a:ext cx="2358723" cy="430887"/>
            </a:xfrm>
            <a:prstGeom prst="rect">
              <a:avLst/>
            </a:prstGeom>
            <a:noFill/>
          </p:spPr>
          <p:txBody>
            <a:bodyPr wrap="none" rtlCol="0" anchor="ctr" anchorCtr="0">
              <a:spAutoFit/>
            </a:bodyPr>
            <a:lstStyle/>
            <a:p>
              <a:pPr algn="ctr"/>
              <a:r>
                <a:rPr lang="en-US" sz="2200" dirty="0">
                  <a:solidFill>
                    <a:schemeClr val="bg1"/>
                  </a:solidFill>
                </a:rPr>
                <a:t>Service Creation</a:t>
              </a:r>
            </a:p>
          </p:txBody>
        </p:sp>
        <p:sp>
          <p:nvSpPr>
            <p:cNvPr id="79" name="TextBox 78"/>
            <p:cNvSpPr txBox="1"/>
            <p:nvPr/>
          </p:nvSpPr>
          <p:spPr>
            <a:xfrm>
              <a:off x="3906075" y="1489985"/>
              <a:ext cx="1077860" cy="307777"/>
            </a:xfrm>
            <a:prstGeom prst="rect">
              <a:avLst/>
            </a:prstGeom>
            <a:noFill/>
          </p:spPr>
          <p:txBody>
            <a:bodyPr wrap="none" rtlCol="0" anchor="ctr" anchorCtr="0">
              <a:spAutoFit/>
            </a:bodyPr>
            <a:lstStyle/>
            <a:p>
              <a:pPr algn="ctr"/>
              <a:r>
                <a:rPr lang="en-US" sz="1400" dirty="0">
                  <a:solidFill>
                    <a:schemeClr val="bg1"/>
                  </a:solidFill>
                </a:rPr>
                <a:t>OSS | BSS</a:t>
              </a:r>
            </a:p>
          </p:txBody>
        </p:sp>
      </p:grpSp>
      <p:grpSp>
        <p:nvGrpSpPr>
          <p:cNvPr id="159" name="Group 158"/>
          <p:cNvGrpSpPr/>
          <p:nvPr/>
        </p:nvGrpSpPr>
        <p:grpSpPr>
          <a:xfrm>
            <a:off x="3035610" y="3160515"/>
            <a:ext cx="5484283" cy="720317"/>
            <a:chOff x="1844223" y="3101664"/>
            <a:chExt cx="5484283" cy="720317"/>
          </a:xfrm>
        </p:grpSpPr>
        <p:sp>
          <p:nvSpPr>
            <p:cNvPr id="160" name="Rectangle 60"/>
            <p:cNvSpPr>
              <a:spLocks noChangeArrowheads="1"/>
            </p:cNvSpPr>
            <p:nvPr/>
          </p:nvSpPr>
          <p:spPr bwMode="auto">
            <a:xfrm>
              <a:off x="1844223" y="3392049"/>
              <a:ext cx="5484283" cy="429932"/>
            </a:xfrm>
            <a:prstGeom prst="rect">
              <a:avLst/>
            </a:prstGeom>
            <a:gradFill>
              <a:gsLst>
                <a:gs pos="0">
                  <a:srgbClr val="00197B"/>
                </a:gs>
                <a:gs pos="100000">
                  <a:srgbClr val="004BAF"/>
                </a:gs>
              </a:gsLst>
              <a:lin ang="162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163" name="Rectangle 64"/>
            <p:cNvSpPr>
              <a:spLocks noChangeArrowheads="1"/>
            </p:cNvSpPr>
            <p:nvPr/>
          </p:nvSpPr>
          <p:spPr bwMode="auto">
            <a:xfrm>
              <a:off x="1844223" y="3101732"/>
              <a:ext cx="5484283" cy="2903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endParaRPr lang="en-US" sz="1600">
                <a:solidFill>
                  <a:srgbClr val="004990"/>
                </a:solidFill>
              </a:endParaRPr>
            </a:p>
          </p:txBody>
        </p:sp>
        <p:sp>
          <p:nvSpPr>
            <p:cNvPr id="164" name="Rectangle 163"/>
            <p:cNvSpPr/>
            <p:nvPr/>
          </p:nvSpPr>
          <p:spPr>
            <a:xfrm>
              <a:off x="3376860" y="3101664"/>
              <a:ext cx="2136290" cy="338554"/>
            </a:xfrm>
            <a:prstGeom prst="rect">
              <a:avLst/>
            </a:prstGeom>
          </p:spPr>
          <p:txBody>
            <a:bodyPr wrap="none" anchor="ctr" anchorCtr="0">
              <a:spAutoFit/>
            </a:bodyPr>
            <a:lstStyle/>
            <a:p>
              <a:pPr lvl="0" algn="ctr"/>
              <a:r>
                <a:rPr lang="en-US" sz="1600" dirty="0">
                  <a:solidFill>
                    <a:srgbClr val="004990"/>
                  </a:solidFill>
                </a:rPr>
                <a:t>Network Abstraction</a:t>
              </a:r>
            </a:p>
          </p:txBody>
        </p:sp>
        <p:sp>
          <p:nvSpPr>
            <p:cNvPr id="165" name="Rectangle 164"/>
            <p:cNvSpPr/>
            <p:nvPr/>
          </p:nvSpPr>
          <p:spPr>
            <a:xfrm>
              <a:off x="3077188" y="3470995"/>
              <a:ext cx="3000951" cy="276999"/>
            </a:xfrm>
            <a:prstGeom prst="rect">
              <a:avLst/>
            </a:prstGeom>
          </p:spPr>
          <p:txBody>
            <a:bodyPr wrap="none" anchor="ctr" anchorCtr="0">
              <a:spAutoFit/>
            </a:bodyPr>
            <a:lstStyle/>
            <a:p>
              <a:pPr lvl="0" algn="ctr"/>
              <a:r>
                <a:rPr lang="en-US" sz="1200" dirty="0">
                  <a:solidFill>
                    <a:srgbClr val="FFFFFF"/>
                  </a:solidFill>
                </a:rPr>
                <a:t>Orchestration • Automation • Assurance</a:t>
              </a:r>
            </a:p>
          </p:txBody>
        </p:sp>
      </p:grpSp>
      <p:grpSp>
        <p:nvGrpSpPr>
          <p:cNvPr id="166" name="Group 165"/>
          <p:cNvGrpSpPr/>
          <p:nvPr/>
        </p:nvGrpSpPr>
        <p:grpSpPr>
          <a:xfrm>
            <a:off x="3035610" y="1893542"/>
            <a:ext cx="5484283" cy="1061903"/>
            <a:chOff x="1844223" y="1834691"/>
            <a:chExt cx="5484283" cy="1061903"/>
          </a:xfrm>
        </p:grpSpPr>
        <p:sp>
          <p:nvSpPr>
            <p:cNvPr id="167" name="Rectangle 61"/>
            <p:cNvSpPr>
              <a:spLocks noChangeArrowheads="1"/>
            </p:cNvSpPr>
            <p:nvPr/>
          </p:nvSpPr>
          <p:spPr bwMode="auto">
            <a:xfrm>
              <a:off x="1844223" y="2144086"/>
              <a:ext cx="5484283" cy="752508"/>
            </a:xfrm>
            <a:prstGeom prst="rect">
              <a:avLst/>
            </a:prstGeom>
            <a:gradFill>
              <a:gsLst>
                <a:gs pos="0">
                  <a:srgbClr val="00197B"/>
                </a:gs>
                <a:gs pos="100000">
                  <a:srgbClr val="004BAF"/>
                </a:gs>
              </a:gsLst>
              <a:lin ang="162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168" name="Rectangle 63"/>
            <p:cNvSpPr>
              <a:spLocks noChangeArrowheads="1"/>
            </p:cNvSpPr>
            <p:nvPr/>
          </p:nvSpPr>
          <p:spPr bwMode="auto">
            <a:xfrm>
              <a:off x="1844223" y="1852761"/>
              <a:ext cx="5484283" cy="2913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endParaRPr lang="en-US" sz="1600" dirty="0">
                <a:solidFill>
                  <a:srgbClr val="004990"/>
                </a:solidFill>
              </a:endParaRPr>
            </a:p>
          </p:txBody>
        </p:sp>
        <p:sp>
          <p:nvSpPr>
            <p:cNvPr id="169" name="Freeform 66"/>
            <p:cNvSpPr>
              <a:spLocks/>
            </p:cNvSpPr>
            <p:nvPr/>
          </p:nvSpPr>
          <p:spPr bwMode="auto">
            <a:xfrm>
              <a:off x="6698476" y="1906187"/>
              <a:ext cx="285782" cy="184473"/>
            </a:xfrm>
            <a:custGeom>
              <a:avLst/>
              <a:gdLst>
                <a:gd name="T0" fmla="*/ 189 w 240"/>
                <a:gd name="T1" fmla="*/ 54 h 155"/>
                <a:gd name="T2" fmla="*/ 189 w 240"/>
                <a:gd name="T3" fmla="*/ 54 h 155"/>
                <a:gd name="T4" fmla="*/ 136 w 240"/>
                <a:gd name="T5" fmla="*/ 0 h 155"/>
                <a:gd name="T6" fmla="*/ 87 w 240"/>
                <a:gd name="T7" fmla="*/ 32 h 155"/>
                <a:gd name="T8" fmla="*/ 68 w 240"/>
                <a:gd name="T9" fmla="*/ 23 h 155"/>
                <a:gd name="T10" fmla="*/ 43 w 240"/>
                <a:gd name="T11" fmla="*/ 48 h 155"/>
                <a:gd name="T12" fmla="*/ 45 w 240"/>
                <a:gd name="T13" fmla="*/ 58 h 155"/>
                <a:gd name="T14" fmla="*/ 0 w 240"/>
                <a:gd name="T15" fmla="*/ 106 h 155"/>
                <a:gd name="T16" fmla="*/ 48 w 240"/>
                <a:gd name="T17" fmla="*/ 155 h 155"/>
                <a:gd name="T18" fmla="*/ 189 w 240"/>
                <a:gd name="T19" fmla="*/ 155 h 155"/>
                <a:gd name="T20" fmla="*/ 240 w 240"/>
                <a:gd name="T21" fmla="*/ 104 h 155"/>
                <a:gd name="T22" fmla="*/ 189 w 240"/>
                <a:gd name="T23" fmla="*/ 5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55">
                  <a:moveTo>
                    <a:pt x="189" y="54"/>
                  </a:moveTo>
                  <a:cubicBezTo>
                    <a:pt x="189" y="54"/>
                    <a:pt x="189" y="54"/>
                    <a:pt x="189" y="54"/>
                  </a:cubicBezTo>
                  <a:cubicBezTo>
                    <a:pt x="189" y="24"/>
                    <a:pt x="165" y="0"/>
                    <a:pt x="136" y="0"/>
                  </a:cubicBezTo>
                  <a:cubicBezTo>
                    <a:pt x="114" y="0"/>
                    <a:pt x="95" y="13"/>
                    <a:pt x="87" y="32"/>
                  </a:cubicBezTo>
                  <a:cubicBezTo>
                    <a:pt x="82" y="26"/>
                    <a:pt x="75" y="23"/>
                    <a:pt x="68" y="23"/>
                  </a:cubicBezTo>
                  <a:cubicBezTo>
                    <a:pt x="54" y="23"/>
                    <a:pt x="43" y="34"/>
                    <a:pt x="43" y="48"/>
                  </a:cubicBezTo>
                  <a:cubicBezTo>
                    <a:pt x="43" y="51"/>
                    <a:pt x="44" y="55"/>
                    <a:pt x="45" y="58"/>
                  </a:cubicBezTo>
                  <a:cubicBezTo>
                    <a:pt x="20" y="60"/>
                    <a:pt x="0" y="81"/>
                    <a:pt x="0" y="106"/>
                  </a:cubicBezTo>
                  <a:cubicBezTo>
                    <a:pt x="0" y="133"/>
                    <a:pt x="22" y="155"/>
                    <a:pt x="48" y="155"/>
                  </a:cubicBezTo>
                  <a:cubicBezTo>
                    <a:pt x="189" y="155"/>
                    <a:pt x="189" y="155"/>
                    <a:pt x="189" y="155"/>
                  </a:cubicBezTo>
                  <a:cubicBezTo>
                    <a:pt x="217" y="155"/>
                    <a:pt x="240" y="132"/>
                    <a:pt x="240" y="104"/>
                  </a:cubicBezTo>
                  <a:cubicBezTo>
                    <a:pt x="240" y="76"/>
                    <a:pt x="217" y="54"/>
                    <a:pt x="189" y="54"/>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cxnSp>
          <p:nvCxnSpPr>
            <p:cNvPr id="170" name="Straight Connector 169"/>
            <p:cNvCxnSpPr/>
            <p:nvPr/>
          </p:nvCxnSpPr>
          <p:spPr>
            <a:xfrm>
              <a:off x="3757498" y="2513535"/>
              <a:ext cx="165723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sp>
          <p:nvSpPr>
            <p:cNvPr id="171" name="Rectangle 170"/>
            <p:cNvSpPr/>
            <p:nvPr/>
          </p:nvSpPr>
          <p:spPr>
            <a:xfrm>
              <a:off x="3943907" y="1834691"/>
              <a:ext cx="1002197" cy="338554"/>
            </a:xfrm>
            <a:prstGeom prst="rect">
              <a:avLst/>
            </a:prstGeom>
          </p:spPr>
          <p:txBody>
            <a:bodyPr wrap="none" anchor="ctr" anchorCtr="0">
              <a:spAutoFit/>
            </a:bodyPr>
            <a:lstStyle/>
            <a:p>
              <a:pPr lvl="0" algn="ctr"/>
              <a:r>
                <a:rPr lang="en-US" sz="1600" dirty="0">
                  <a:solidFill>
                    <a:srgbClr val="004990"/>
                  </a:solidFill>
                </a:rPr>
                <a:t>Services</a:t>
              </a:r>
            </a:p>
          </p:txBody>
        </p:sp>
        <p:sp>
          <p:nvSpPr>
            <p:cNvPr id="172" name="Rectangle 171"/>
            <p:cNvSpPr/>
            <p:nvPr/>
          </p:nvSpPr>
          <p:spPr>
            <a:xfrm>
              <a:off x="3106235" y="2204022"/>
              <a:ext cx="2942857" cy="276999"/>
            </a:xfrm>
            <a:prstGeom prst="rect">
              <a:avLst/>
            </a:prstGeom>
          </p:spPr>
          <p:txBody>
            <a:bodyPr wrap="none" anchor="ctr" anchorCtr="0">
              <a:spAutoFit/>
            </a:bodyPr>
            <a:lstStyle/>
            <a:p>
              <a:pPr lvl="0" algn="ctr"/>
              <a:r>
                <a:rPr lang="en-US" sz="1200" dirty="0">
                  <a:solidFill>
                    <a:srgbClr val="FFFFFF"/>
                  </a:solidFill>
                </a:rPr>
                <a:t>Public • Private Cloud and/or On-</a:t>
              </a:r>
              <a:r>
                <a:rPr lang="en-US" sz="1200" dirty="0" err="1">
                  <a:solidFill>
                    <a:srgbClr val="FFFFFF"/>
                  </a:solidFill>
                </a:rPr>
                <a:t>Prem</a:t>
              </a:r>
              <a:endParaRPr lang="en-US" sz="1200" dirty="0">
                <a:solidFill>
                  <a:srgbClr val="FFFFFF"/>
                </a:solidFill>
              </a:endParaRPr>
            </a:p>
          </p:txBody>
        </p:sp>
        <p:sp>
          <p:nvSpPr>
            <p:cNvPr id="173" name="Rectangle 172"/>
            <p:cNvSpPr/>
            <p:nvPr/>
          </p:nvSpPr>
          <p:spPr>
            <a:xfrm>
              <a:off x="2855622" y="2581646"/>
              <a:ext cx="3444084" cy="276999"/>
            </a:xfrm>
            <a:prstGeom prst="rect">
              <a:avLst/>
            </a:prstGeom>
          </p:spPr>
          <p:txBody>
            <a:bodyPr wrap="none" anchor="ctr" anchorCtr="0">
              <a:spAutoFit/>
            </a:bodyPr>
            <a:lstStyle/>
            <a:p>
              <a:pPr lvl="0" algn="ctr"/>
              <a:r>
                <a:rPr lang="en-US" sz="1200" dirty="0">
                  <a:solidFill>
                    <a:srgbClr val="FFFFFF"/>
                  </a:solidFill>
                </a:rPr>
                <a:t>Business • IoT • Video • Mobile • Collaboration</a:t>
              </a:r>
            </a:p>
          </p:txBody>
        </p:sp>
      </p:grpSp>
      <p:grpSp>
        <p:nvGrpSpPr>
          <p:cNvPr id="174" name="Group 173"/>
          <p:cNvGrpSpPr/>
          <p:nvPr/>
        </p:nvGrpSpPr>
        <p:grpSpPr>
          <a:xfrm>
            <a:off x="3035610" y="3867606"/>
            <a:ext cx="5484283" cy="916941"/>
            <a:chOff x="1844223" y="3808755"/>
            <a:chExt cx="5484283" cy="916941"/>
          </a:xfrm>
        </p:grpSpPr>
        <p:sp>
          <p:nvSpPr>
            <p:cNvPr id="175" name="Rectangle 65"/>
            <p:cNvSpPr>
              <a:spLocks noChangeArrowheads="1"/>
            </p:cNvSpPr>
            <p:nvPr/>
          </p:nvSpPr>
          <p:spPr bwMode="auto">
            <a:xfrm>
              <a:off x="1844223" y="4006454"/>
              <a:ext cx="5484283" cy="2903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endParaRPr lang="en-US" sz="1600">
                <a:solidFill>
                  <a:srgbClr val="004990"/>
                </a:solidFill>
              </a:endParaRPr>
            </a:p>
          </p:txBody>
        </p:sp>
        <p:grpSp>
          <p:nvGrpSpPr>
            <p:cNvPr id="176" name="Group 175"/>
            <p:cNvGrpSpPr/>
            <p:nvPr/>
          </p:nvGrpSpPr>
          <p:grpSpPr>
            <a:xfrm>
              <a:off x="6730734" y="4038712"/>
              <a:ext cx="221266" cy="224795"/>
              <a:chOff x="6730734" y="4038712"/>
              <a:chExt cx="221266" cy="224795"/>
            </a:xfrm>
          </p:grpSpPr>
          <p:sp>
            <p:nvSpPr>
              <p:cNvPr id="181" name="Freeform 81"/>
              <p:cNvSpPr>
                <a:spLocks/>
              </p:cNvSpPr>
              <p:nvPr/>
            </p:nvSpPr>
            <p:spPr bwMode="auto">
              <a:xfrm>
                <a:off x="6797265" y="4108771"/>
                <a:ext cx="33266" cy="22681"/>
              </a:xfrm>
              <a:custGeom>
                <a:avLst/>
                <a:gdLst>
                  <a:gd name="T0" fmla="*/ 27 w 28"/>
                  <a:gd name="T1" fmla="*/ 2 h 19"/>
                  <a:gd name="T2" fmla="*/ 23 w 28"/>
                  <a:gd name="T3" fmla="*/ 1 h 19"/>
                  <a:gd name="T4" fmla="*/ 2 w 28"/>
                  <a:gd name="T5" fmla="*/ 13 h 19"/>
                  <a:gd name="T6" fmla="*/ 1 w 28"/>
                  <a:gd name="T7" fmla="*/ 17 h 19"/>
                  <a:gd name="T8" fmla="*/ 4 w 28"/>
                  <a:gd name="T9" fmla="*/ 19 h 19"/>
                  <a:gd name="T10" fmla="*/ 5 w 28"/>
                  <a:gd name="T11" fmla="*/ 18 h 19"/>
                  <a:gd name="T12" fmla="*/ 26 w 28"/>
                  <a:gd name="T13" fmla="*/ 6 h 19"/>
                  <a:gd name="T14" fmla="*/ 27 w 28"/>
                  <a:gd name="T15" fmla="*/ 2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9">
                    <a:moveTo>
                      <a:pt x="27" y="2"/>
                    </a:moveTo>
                    <a:cubicBezTo>
                      <a:pt x="27" y="0"/>
                      <a:pt x="25" y="0"/>
                      <a:pt x="23" y="1"/>
                    </a:cubicBezTo>
                    <a:cubicBezTo>
                      <a:pt x="2" y="13"/>
                      <a:pt x="2" y="13"/>
                      <a:pt x="2" y="13"/>
                    </a:cubicBezTo>
                    <a:cubicBezTo>
                      <a:pt x="1" y="14"/>
                      <a:pt x="0" y="16"/>
                      <a:pt x="1" y="17"/>
                    </a:cubicBezTo>
                    <a:cubicBezTo>
                      <a:pt x="2" y="18"/>
                      <a:pt x="3" y="19"/>
                      <a:pt x="4" y="19"/>
                    </a:cubicBezTo>
                    <a:cubicBezTo>
                      <a:pt x="4" y="19"/>
                      <a:pt x="5" y="18"/>
                      <a:pt x="5" y="18"/>
                    </a:cubicBezTo>
                    <a:cubicBezTo>
                      <a:pt x="26" y="6"/>
                      <a:pt x="26" y="6"/>
                      <a:pt x="26" y="6"/>
                    </a:cubicBezTo>
                    <a:cubicBezTo>
                      <a:pt x="28" y="5"/>
                      <a:pt x="28" y="3"/>
                      <a:pt x="27" y="2"/>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82"/>
              <p:cNvSpPr>
                <a:spLocks/>
              </p:cNvSpPr>
              <p:nvPr/>
            </p:nvSpPr>
            <p:spPr bwMode="auto">
              <a:xfrm>
                <a:off x="6850692" y="4108771"/>
                <a:ext cx="33770" cy="22681"/>
              </a:xfrm>
              <a:custGeom>
                <a:avLst/>
                <a:gdLst>
                  <a:gd name="T0" fmla="*/ 2 w 28"/>
                  <a:gd name="T1" fmla="*/ 6 h 19"/>
                  <a:gd name="T2" fmla="*/ 23 w 28"/>
                  <a:gd name="T3" fmla="*/ 18 h 19"/>
                  <a:gd name="T4" fmla="*/ 25 w 28"/>
                  <a:gd name="T5" fmla="*/ 19 h 19"/>
                  <a:gd name="T6" fmla="*/ 27 w 28"/>
                  <a:gd name="T7" fmla="*/ 17 h 19"/>
                  <a:gd name="T8" fmla="*/ 26 w 28"/>
                  <a:gd name="T9" fmla="*/ 13 h 19"/>
                  <a:gd name="T10" fmla="*/ 5 w 28"/>
                  <a:gd name="T11" fmla="*/ 1 h 19"/>
                  <a:gd name="T12" fmla="*/ 1 w 28"/>
                  <a:gd name="T13" fmla="*/ 2 h 19"/>
                  <a:gd name="T14" fmla="*/ 2 w 28"/>
                  <a:gd name="T15" fmla="*/ 6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9">
                    <a:moveTo>
                      <a:pt x="2" y="6"/>
                    </a:moveTo>
                    <a:cubicBezTo>
                      <a:pt x="23" y="18"/>
                      <a:pt x="23" y="18"/>
                      <a:pt x="23" y="18"/>
                    </a:cubicBezTo>
                    <a:cubicBezTo>
                      <a:pt x="24" y="18"/>
                      <a:pt x="24" y="19"/>
                      <a:pt x="25" y="19"/>
                    </a:cubicBezTo>
                    <a:cubicBezTo>
                      <a:pt x="26" y="19"/>
                      <a:pt x="27" y="18"/>
                      <a:pt x="27" y="17"/>
                    </a:cubicBezTo>
                    <a:cubicBezTo>
                      <a:pt x="28" y="16"/>
                      <a:pt x="28" y="14"/>
                      <a:pt x="26" y="13"/>
                    </a:cubicBezTo>
                    <a:cubicBezTo>
                      <a:pt x="5" y="1"/>
                      <a:pt x="5" y="1"/>
                      <a:pt x="5" y="1"/>
                    </a:cubicBezTo>
                    <a:cubicBezTo>
                      <a:pt x="4" y="0"/>
                      <a:pt x="2" y="0"/>
                      <a:pt x="1" y="2"/>
                    </a:cubicBezTo>
                    <a:cubicBezTo>
                      <a:pt x="0" y="3"/>
                      <a:pt x="1" y="5"/>
                      <a:pt x="2" y="6"/>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83"/>
              <p:cNvSpPr>
                <a:spLocks/>
              </p:cNvSpPr>
              <p:nvPr/>
            </p:nvSpPr>
            <p:spPr bwMode="auto">
              <a:xfrm>
                <a:off x="6797265" y="4203024"/>
                <a:ext cx="33266" cy="21169"/>
              </a:xfrm>
              <a:custGeom>
                <a:avLst/>
                <a:gdLst>
                  <a:gd name="T0" fmla="*/ 2 w 28"/>
                  <a:gd name="T1" fmla="*/ 6 h 18"/>
                  <a:gd name="T2" fmla="*/ 23 w 28"/>
                  <a:gd name="T3" fmla="*/ 18 h 18"/>
                  <a:gd name="T4" fmla="*/ 25 w 28"/>
                  <a:gd name="T5" fmla="*/ 18 h 18"/>
                  <a:gd name="T6" fmla="*/ 27 w 28"/>
                  <a:gd name="T7" fmla="*/ 17 h 18"/>
                  <a:gd name="T8" fmla="*/ 26 w 28"/>
                  <a:gd name="T9" fmla="*/ 13 h 18"/>
                  <a:gd name="T10" fmla="*/ 5 w 28"/>
                  <a:gd name="T11" fmla="*/ 0 h 18"/>
                  <a:gd name="T12" fmla="*/ 1 w 28"/>
                  <a:gd name="T13" fmla="*/ 1 h 18"/>
                  <a:gd name="T14" fmla="*/ 2 w 28"/>
                  <a:gd name="T15" fmla="*/ 6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8">
                    <a:moveTo>
                      <a:pt x="2" y="6"/>
                    </a:moveTo>
                    <a:cubicBezTo>
                      <a:pt x="23" y="18"/>
                      <a:pt x="23" y="18"/>
                      <a:pt x="23" y="18"/>
                    </a:cubicBezTo>
                    <a:cubicBezTo>
                      <a:pt x="24" y="18"/>
                      <a:pt x="24" y="18"/>
                      <a:pt x="25" y="18"/>
                    </a:cubicBezTo>
                    <a:cubicBezTo>
                      <a:pt x="26" y="18"/>
                      <a:pt x="27" y="18"/>
                      <a:pt x="27" y="17"/>
                    </a:cubicBezTo>
                    <a:cubicBezTo>
                      <a:pt x="28" y="15"/>
                      <a:pt x="28" y="13"/>
                      <a:pt x="26" y="13"/>
                    </a:cubicBezTo>
                    <a:cubicBezTo>
                      <a:pt x="5" y="0"/>
                      <a:pt x="5" y="0"/>
                      <a:pt x="5" y="0"/>
                    </a:cubicBezTo>
                    <a:cubicBezTo>
                      <a:pt x="4" y="0"/>
                      <a:pt x="2" y="0"/>
                      <a:pt x="1" y="1"/>
                    </a:cubicBezTo>
                    <a:cubicBezTo>
                      <a:pt x="0" y="3"/>
                      <a:pt x="1" y="5"/>
                      <a:pt x="2" y="6"/>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84"/>
              <p:cNvSpPr>
                <a:spLocks noEditPoints="1"/>
              </p:cNvSpPr>
              <p:nvPr/>
            </p:nvSpPr>
            <p:spPr bwMode="auto">
              <a:xfrm>
                <a:off x="6730734" y="4038712"/>
                <a:ext cx="221266" cy="224795"/>
              </a:xfrm>
              <a:custGeom>
                <a:avLst/>
                <a:gdLst>
                  <a:gd name="T0" fmla="*/ 186 w 186"/>
                  <a:gd name="T1" fmla="*/ 107 h 189"/>
                  <a:gd name="T2" fmla="*/ 185 w 186"/>
                  <a:gd name="T3" fmla="*/ 106 h 189"/>
                  <a:gd name="T4" fmla="*/ 185 w 186"/>
                  <a:gd name="T5" fmla="*/ 106 h 189"/>
                  <a:gd name="T6" fmla="*/ 185 w 186"/>
                  <a:gd name="T7" fmla="*/ 105 h 189"/>
                  <a:gd name="T8" fmla="*/ 141 w 186"/>
                  <a:gd name="T9" fmla="*/ 80 h 189"/>
                  <a:gd name="T10" fmla="*/ 141 w 186"/>
                  <a:gd name="T11" fmla="*/ 28 h 189"/>
                  <a:gd name="T12" fmla="*/ 141 w 186"/>
                  <a:gd name="T13" fmla="*/ 28 h 189"/>
                  <a:gd name="T14" fmla="*/ 140 w 186"/>
                  <a:gd name="T15" fmla="*/ 27 h 189"/>
                  <a:gd name="T16" fmla="*/ 140 w 186"/>
                  <a:gd name="T17" fmla="*/ 27 h 189"/>
                  <a:gd name="T18" fmla="*/ 139 w 186"/>
                  <a:gd name="T19" fmla="*/ 27 h 189"/>
                  <a:gd name="T20" fmla="*/ 46 w 186"/>
                  <a:gd name="T21" fmla="*/ 27 h 189"/>
                  <a:gd name="T22" fmla="*/ 46 w 186"/>
                  <a:gd name="T23" fmla="*/ 27 h 189"/>
                  <a:gd name="T24" fmla="*/ 45 w 186"/>
                  <a:gd name="T25" fmla="*/ 27 h 189"/>
                  <a:gd name="T26" fmla="*/ 45 w 186"/>
                  <a:gd name="T27" fmla="*/ 28 h 189"/>
                  <a:gd name="T28" fmla="*/ 45 w 186"/>
                  <a:gd name="T29" fmla="*/ 28 h 189"/>
                  <a:gd name="T30" fmla="*/ 45 w 186"/>
                  <a:gd name="T31" fmla="*/ 80 h 189"/>
                  <a:gd name="T32" fmla="*/ 1 w 186"/>
                  <a:gd name="T33" fmla="*/ 105 h 189"/>
                  <a:gd name="T34" fmla="*/ 1 w 186"/>
                  <a:gd name="T35" fmla="*/ 106 h 189"/>
                  <a:gd name="T36" fmla="*/ 0 w 186"/>
                  <a:gd name="T37" fmla="*/ 106 h 189"/>
                  <a:gd name="T38" fmla="*/ 0 w 186"/>
                  <a:gd name="T39" fmla="*/ 107 h 189"/>
                  <a:gd name="T40" fmla="*/ 0 w 186"/>
                  <a:gd name="T41" fmla="*/ 108 h 189"/>
                  <a:gd name="T42" fmla="*/ 46 w 186"/>
                  <a:gd name="T43" fmla="*/ 189 h 189"/>
                  <a:gd name="T44" fmla="*/ 47 w 186"/>
                  <a:gd name="T45" fmla="*/ 189 h 189"/>
                  <a:gd name="T46" fmla="*/ 48 w 186"/>
                  <a:gd name="T47" fmla="*/ 189 h 189"/>
                  <a:gd name="T48" fmla="*/ 48 w 186"/>
                  <a:gd name="T49" fmla="*/ 189 h 189"/>
                  <a:gd name="T50" fmla="*/ 49 w 186"/>
                  <a:gd name="T51" fmla="*/ 189 h 189"/>
                  <a:gd name="T52" fmla="*/ 93 w 186"/>
                  <a:gd name="T53" fmla="*/ 164 h 189"/>
                  <a:gd name="T54" fmla="*/ 137 w 186"/>
                  <a:gd name="T55" fmla="*/ 189 h 189"/>
                  <a:gd name="T56" fmla="*/ 137 w 186"/>
                  <a:gd name="T57" fmla="*/ 189 h 189"/>
                  <a:gd name="T58" fmla="*/ 138 w 186"/>
                  <a:gd name="T59" fmla="*/ 189 h 189"/>
                  <a:gd name="T60" fmla="*/ 139 w 186"/>
                  <a:gd name="T61" fmla="*/ 189 h 189"/>
                  <a:gd name="T62" fmla="*/ 139 w 186"/>
                  <a:gd name="T63" fmla="*/ 189 h 189"/>
                  <a:gd name="T64" fmla="*/ 186 w 186"/>
                  <a:gd name="T65" fmla="*/ 108 h 189"/>
                  <a:gd name="T66" fmla="*/ 138 w 186"/>
                  <a:gd name="T67" fmla="*/ 130 h 189"/>
                  <a:gd name="T68" fmla="*/ 177 w 186"/>
                  <a:gd name="T69" fmla="*/ 108 h 189"/>
                  <a:gd name="T70" fmla="*/ 90 w 186"/>
                  <a:gd name="T71" fmla="*/ 103 h 189"/>
                  <a:gd name="T72" fmla="*/ 135 w 186"/>
                  <a:gd name="T73" fmla="*/ 80 h 189"/>
                  <a:gd name="T74" fmla="*/ 135 w 186"/>
                  <a:gd name="T75" fmla="*/ 34 h 189"/>
                  <a:gd name="T76" fmla="*/ 51 w 186"/>
                  <a:gd name="T77" fmla="*/ 181 h 189"/>
                  <a:gd name="T78" fmla="*/ 90 w 186"/>
                  <a:gd name="T79" fmla="*/ 158 h 189"/>
                  <a:gd name="T80" fmla="*/ 135 w 186"/>
                  <a:gd name="T81" fmla="*/ 181 h 189"/>
                  <a:gd name="T82" fmla="*/ 93 w 186"/>
                  <a:gd name="T83" fmla="*/ 7 h 189"/>
                  <a:gd name="T84" fmla="*/ 54 w 186"/>
                  <a:gd name="T85" fmla="*/ 29 h 189"/>
                  <a:gd name="T86" fmla="*/ 87 w 186"/>
                  <a:gd name="T87" fmla="*/ 108 h 189"/>
                  <a:gd name="T88" fmla="*/ 48 w 186"/>
                  <a:gd name="T89" fmla="*/ 85 h 189"/>
                  <a:gd name="T90" fmla="*/ 45 w 186"/>
                  <a:gd name="T91" fmla="*/ 181 h 189"/>
                  <a:gd name="T92" fmla="*/ 141 w 186"/>
                  <a:gd name="T93" fmla="*/ 181 h 189"/>
                  <a:gd name="T94" fmla="*/ 180 w 186"/>
                  <a:gd name="T95" fmla="*/ 15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6" h="189">
                    <a:moveTo>
                      <a:pt x="186" y="108"/>
                    </a:moveTo>
                    <a:cubicBezTo>
                      <a:pt x="186" y="108"/>
                      <a:pt x="186" y="107"/>
                      <a:pt x="186" y="107"/>
                    </a:cubicBezTo>
                    <a:cubicBezTo>
                      <a:pt x="186" y="107"/>
                      <a:pt x="186" y="107"/>
                      <a:pt x="186" y="107"/>
                    </a:cubicBezTo>
                    <a:cubicBezTo>
                      <a:pt x="186" y="107"/>
                      <a:pt x="186" y="107"/>
                      <a:pt x="186" y="107"/>
                    </a:cubicBezTo>
                    <a:cubicBezTo>
                      <a:pt x="186" y="107"/>
                      <a:pt x="186" y="107"/>
                      <a:pt x="186" y="107"/>
                    </a:cubicBezTo>
                    <a:cubicBezTo>
                      <a:pt x="185" y="106"/>
                      <a:pt x="185" y="106"/>
                      <a:pt x="185" y="106"/>
                    </a:cubicBezTo>
                    <a:cubicBezTo>
                      <a:pt x="185" y="106"/>
                      <a:pt x="185" y="106"/>
                      <a:pt x="185" y="106"/>
                    </a:cubicBezTo>
                    <a:cubicBezTo>
                      <a:pt x="185" y="106"/>
                      <a:pt x="185" y="106"/>
                      <a:pt x="185" y="106"/>
                    </a:cubicBezTo>
                    <a:cubicBezTo>
                      <a:pt x="185" y="106"/>
                      <a:pt x="185" y="106"/>
                      <a:pt x="185" y="106"/>
                    </a:cubicBezTo>
                    <a:cubicBezTo>
                      <a:pt x="185" y="106"/>
                      <a:pt x="185" y="106"/>
                      <a:pt x="185" y="106"/>
                    </a:cubicBezTo>
                    <a:cubicBezTo>
                      <a:pt x="185" y="106"/>
                      <a:pt x="185" y="106"/>
                      <a:pt x="185" y="106"/>
                    </a:cubicBezTo>
                    <a:cubicBezTo>
                      <a:pt x="185" y="106"/>
                      <a:pt x="185" y="105"/>
                      <a:pt x="185" y="105"/>
                    </a:cubicBezTo>
                    <a:cubicBezTo>
                      <a:pt x="185" y="105"/>
                      <a:pt x="185" y="105"/>
                      <a:pt x="185" y="105"/>
                    </a:cubicBezTo>
                    <a:cubicBezTo>
                      <a:pt x="184" y="105"/>
                      <a:pt x="184" y="105"/>
                      <a:pt x="184" y="105"/>
                    </a:cubicBezTo>
                    <a:cubicBezTo>
                      <a:pt x="184" y="105"/>
                      <a:pt x="141" y="80"/>
                      <a:pt x="141" y="80"/>
                    </a:cubicBezTo>
                    <a:cubicBezTo>
                      <a:pt x="141" y="29"/>
                      <a:pt x="141" y="29"/>
                      <a:pt x="141" y="29"/>
                    </a:cubicBezTo>
                    <a:cubicBezTo>
                      <a:pt x="141" y="29"/>
                      <a:pt x="141" y="29"/>
                      <a:pt x="141" y="29"/>
                    </a:cubicBezTo>
                    <a:cubicBezTo>
                      <a:pt x="141" y="29"/>
                      <a:pt x="141" y="29"/>
                      <a:pt x="141" y="28"/>
                    </a:cubicBezTo>
                    <a:cubicBezTo>
                      <a:pt x="141" y="28"/>
                      <a:pt x="141" y="28"/>
                      <a:pt x="141" y="28"/>
                    </a:cubicBezTo>
                    <a:cubicBezTo>
                      <a:pt x="141" y="28"/>
                      <a:pt x="141" y="28"/>
                      <a:pt x="141" y="28"/>
                    </a:cubicBezTo>
                    <a:cubicBezTo>
                      <a:pt x="141" y="28"/>
                      <a:pt x="141" y="28"/>
                      <a:pt x="141" y="28"/>
                    </a:cubicBezTo>
                    <a:cubicBezTo>
                      <a:pt x="141" y="28"/>
                      <a:pt x="140" y="28"/>
                      <a:pt x="140" y="28"/>
                    </a:cubicBezTo>
                    <a:cubicBezTo>
                      <a:pt x="140" y="28"/>
                      <a:pt x="140" y="28"/>
                      <a:pt x="140" y="28"/>
                    </a:cubicBezTo>
                    <a:cubicBezTo>
                      <a:pt x="140" y="28"/>
                      <a:pt x="140" y="28"/>
                      <a:pt x="140" y="27"/>
                    </a:cubicBezTo>
                    <a:cubicBezTo>
                      <a:pt x="140" y="27"/>
                      <a:pt x="140" y="27"/>
                      <a:pt x="140" y="27"/>
                    </a:cubicBezTo>
                    <a:cubicBezTo>
                      <a:pt x="140" y="27"/>
                      <a:pt x="140" y="27"/>
                      <a:pt x="140" y="27"/>
                    </a:cubicBezTo>
                    <a:cubicBezTo>
                      <a:pt x="140" y="27"/>
                      <a:pt x="140" y="27"/>
                      <a:pt x="140" y="27"/>
                    </a:cubicBezTo>
                    <a:cubicBezTo>
                      <a:pt x="140" y="27"/>
                      <a:pt x="140" y="27"/>
                      <a:pt x="140" y="27"/>
                    </a:cubicBezTo>
                    <a:cubicBezTo>
                      <a:pt x="140" y="27"/>
                      <a:pt x="140" y="27"/>
                      <a:pt x="140" y="27"/>
                    </a:cubicBezTo>
                    <a:cubicBezTo>
                      <a:pt x="140" y="27"/>
                      <a:pt x="139" y="27"/>
                      <a:pt x="139" y="27"/>
                    </a:cubicBezTo>
                    <a:cubicBezTo>
                      <a:pt x="139" y="27"/>
                      <a:pt x="94" y="0"/>
                      <a:pt x="94" y="0"/>
                    </a:cubicBezTo>
                    <a:cubicBezTo>
                      <a:pt x="93" y="0"/>
                      <a:pt x="92" y="0"/>
                      <a:pt x="91" y="0"/>
                    </a:cubicBezTo>
                    <a:cubicBezTo>
                      <a:pt x="46" y="27"/>
                      <a:pt x="46" y="27"/>
                      <a:pt x="46" y="27"/>
                    </a:cubicBezTo>
                    <a:cubicBezTo>
                      <a:pt x="46" y="27"/>
                      <a:pt x="46" y="27"/>
                      <a:pt x="46" y="27"/>
                    </a:cubicBezTo>
                    <a:cubicBezTo>
                      <a:pt x="46" y="27"/>
                      <a:pt x="46" y="27"/>
                      <a:pt x="46" y="27"/>
                    </a:cubicBezTo>
                    <a:cubicBezTo>
                      <a:pt x="46" y="27"/>
                      <a:pt x="46" y="27"/>
                      <a:pt x="46" y="27"/>
                    </a:cubicBezTo>
                    <a:cubicBezTo>
                      <a:pt x="46" y="27"/>
                      <a:pt x="46" y="27"/>
                      <a:pt x="46" y="27"/>
                    </a:cubicBezTo>
                    <a:cubicBezTo>
                      <a:pt x="46" y="27"/>
                      <a:pt x="46" y="27"/>
                      <a:pt x="46" y="27"/>
                    </a:cubicBezTo>
                    <a:cubicBezTo>
                      <a:pt x="46" y="27"/>
                      <a:pt x="46" y="27"/>
                      <a:pt x="45" y="27"/>
                    </a:cubicBezTo>
                    <a:cubicBezTo>
                      <a:pt x="45" y="28"/>
                      <a:pt x="45" y="28"/>
                      <a:pt x="45" y="28"/>
                    </a:cubicBezTo>
                    <a:cubicBezTo>
                      <a:pt x="45" y="28"/>
                      <a:pt x="45" y="28"/>
                      <a:pt x="45" y="28"/>
                    </a:cubicBezTo>
                    <a:cubicBezTo>
                      <a:pt x="45" y="28"/>
                      <a:pt x="45" y="28"/>
                      <a:pt x="45" y="28"/>
                    </a:cubicBezTo>
                    <a:cubicBezTo>
                      <a:pt x="45" y="28"/>
                      <a:pt x="45" y="28"/>
                      <a:pt x="45" y="28"/>
                    </a:cubicBezTo>
                    <a:cubicBezTo>
                      <a:pt x="45" y="28"/>
                      <a:pt x="45" y="28"/>
                      <a:pt x="45" y="28"/>
                    </a:cubicBezTo>
                    <a:cubicBezTo>
                      <a:pt x="45" y="28"/>
                      <a:pt x="45" y="28"/>
                      <a:pt x="45" y="28"/>
                    </a:cubicBezTo>
                    <a:cubicBezTo>
                      <a:pt x="45" y="29"/>
                      <a:pt x="45" y="29"/>
                      <a:pt x="45" y="29"/>
                    </a:cubicBezTo>
                    <a:cubicBezTo>
                      <a:pt x="45" y="29"/>
                      <a:pt x="45" y="29"/>
                      <a:pt x="45" y="29"/>
                    </a:cubicBezTo>
                    <a:cubicBezTo>
                      <a:pt x="45" y="80"/>
                      <a:pt x="45" y="80"/>
                      <a:pt x="45" y="80"/>
                    </a:cubicBezTo>
                    <a:cubicBezTo>
                      <a:pt x="1" y="105"/>
                      <a:pt x="1" y="105"/>
                      <a:pt x="1" y="105"/>
                    </a:cubicBezTo>
                    <a:cubicBezTo>
                      <a:pt x="1" y="105"/>
                      <a:pt x="1" y="105"/>
                      <a:pt x="1" y="105"/>
                    </a:cubicBezTo>
                    <a:cubicBezTo>
                      <a:pt x="1" y="105"/>
                      <a:pt x="1" y="105"/>
                      <a:pt x="1" y="105"/>
                    </a:cubicBezTo>
                    <a:cubicBezTo>
                      <a:pt x="1" y="105"/>
                      <a:pt x="1" y="106"/>
                      <a:pt x="1" y="106"/>
                    </a:cubicBezTo>
                    <a:cubicBezTo>
                      <a:pt x="1" y="106"/>
                      <a:pt x="1" y="106"/>
                      <a:pt x="1" y="106"/>
                    </a:cubicBezTo>
                    <a:cubicBezTo>
                      <a:pt x="1" y="106"/>
                      <a:pt x="1" y="106"/>
                      <a:pt x="1" y="106"/>
                    </a:cubicBezTo>
                    <a:cubicBezTo>
                      <a:pt x="1" y="106"/>
                      <a:pt x="1" y="106"/>
                      <a:pt x="1" y="106"/>
                    </a:cubicBezTo>
                    <a:cubicBezTo>
                      <a:pt x="0" y="106"/>
                      <a:pt x="0" y="106"/>
                      <a:pt x="0" y="106"/>
                    </a:cubicBezTo>
                    <a:cubicBezTo>
                      <a:pt x="0" y="106"/>
                      <a:pt x="0" y="106"/>
                      <a:pt x="0" y="106"/>
                    </a:cubicBezTo>
                    <a:cubicBezTo>
                      <a:pt x="0" y="106"/>
                      <a:pt x="0" y="106"/>
                      <a:pt x="0" y="107"/>
                    </a:cubicBezTo>
                    <a:cubicBezTo>
                      <a:pt x="0" y="107"/>
                      <a:pt x="0" y="107"/>
                      <a:pt x="0" y="107"/>
                    </a:cubicBezTo>
                    <a:cubicBezTo>
                      <a:pt x="0" y="107"/>
                      <a:pt x="0" y="107"/>
                      <a:pt x="0" y="107"/>
                    </a:cubicBezTo>
                    <a:cubicBezTo>
                      <a:pt x="0" y="107"/>
                      <a:pt x="0" y="107"/>
                      <a:pt x="0" y="107"/>
                    </a:cubicBezTo>
                    <a:cubicBezTo>
                      <a:pt x="0" y="107"/>
                      <a:pt x="0" y="108"/>
                      <a:pt x="0" y="108"/>
                    </a:cubicBezTo>
                    <a:cubicBezTo>
                      <a:pt x="0" y="108"/>
                      <a:pt x="0" y="108"/>
                      <a:pt x="0" y="108"/>
                    </a:cubicBezTo>
                    <a:cubicBezTo>
                      <a:pt x="0" y="160"/>
                      <a:pt x="0" y="160"/>
                      <a:pt x="0" y="160"/>
                    </a:cubicBezTo>
                    <a:cubicBezTo>
                      <a:pt x="0" y="161"/>
                      <a:pt x="1" y="162"/>
                      <a:pt x="1" y="163"/>
                    </a:cubicBezTo>
                    <a:cubicBezTo>
                      <a:pt x="46" y="189"/>
                      <a:pt x="46" y="189"/>
                      <a:pt x="46" y="189"/>
                    </a:cubicBezTo>
                    <a:cubicBezTo>
                      <a:pt x="46" y="189"/>
                      <a:pt x="46" y="189"/>
                      <a:pt x="46" y="189"/>
                    </a:cubicBezTo>
                    <a:cubicBezTo>
                      <a:pt x="47" y="189"/>
                      <a:pt x="47" y="189"/>
                      <a:pt x="47" y="189"/>
                    </a:cubicBezTo>
                    <a:cubicBezTo>
                      <a:pt x="47" y="189"/>
                      <a:pt x="47" y="189"/>
                      <a:pt x="47" y="189"/>
                    </a:cubicBezTo>
                    <a:cubicBezTo>
                      <a:pt x="47" y="189"/>
                      <a:pt x="47" y="189"/>
                      <a:pt x="47" y="189"/>
                    </a:cubicBezTo>
                    <a:cubicBezTo>
                      <a:pt x="47" y="189"/>
                      <a:pt x="47" y="189"/>
                      <a:pt x="47" y="189"/>
                    </a:cubicBezTo>
                    <a:cubicBezTo>
                      <a:pt x="48" y="189"/>
                      <a:pt x="48" y="189"/>
                      <a:pt x="48" y="189"/>
                    </a:cubicBezTo>
                    <a:cubicBezTo>
                      <a:pt x="48" y="189"/>
                      <a:pt x="48" y="189"/>
                      <a:pt x="48" y="189"/>
                    </a:cubicBezTo>
                    <a:cubicBezTo>
                      <a:pt x="48" y="189"/>
                      <a:pt x="48" y="189"/>
                      <a:pt x="48" y="189"/>
                    </a:cubicBezTo>
                    <a:cubicBezTo>
                      <a:pt x="48" y="189"/>
                      <a:pt x="48" y="189"/>
                      <a:pt x="48" y="189"/>
                    </a:cubicBezTo>
                    <a:cubicBezTo>
                      <a:pt x="48" y="189"/>
                      <a:pt x="49" y="189"/>
                      <a:pt x="49" y="189"/>
                    </a:cubicBezTo>
                    <a:cubicBezTo>
                      <a:pt x="49" y="189"/>
                      <a:pt x="49" y="189"/>
                      <a:pt x="49" y="189"/>
                    </a:cubicBezTo>
                    <a:cubicBezTo>
                      <a:pt x="49" y="189"/>
                      <a:pt x="49" y="189"/>
                      <a:pt x="49" y="189"/>
                    </a:cubicBezTo>
                    <a:cubicBezTo>
                      <a:pt x="49" y="189"/>
                      <a:pt x="49" y="189"/>
                      <a:pt x="49" y="189"/>
                    </a:cubicBezTo>
                    <a:cubicBezTo>
                      <a:pt x="49" y="189"/>
                      <a:pt x="49" y="189"/>
                      <a:pt x="49" y="189"/>
                    </a:cubicBezTo>
                    <a:cubicBezTo>
                      <a:pt x="93" y="164"/>
                      <a:pt x="93" y="164"/>
                      <a:pt x="93" y="164"/>
                    </a:cubicBezTo>
                    <a:cubicBezTo>
                      <a:pt x="136" y="189"/>
                      <a:pt x="136" y="189"/>
                      <a:pt x="136" y="189"/>
                    </a:cubicBezTo>
                    <a:cubicBezTo>
                      <a:pt x="136" y="189"/>
                      <a:pt x="136" y="189"/>
                      <a:pt x="136" y="189"/>
                    </a:cubicBezTo>
                    <a:cubicBezTo>
                      <a:pt x="136" y="189"/>
                      <a:pt x="137" y="189"/>
                      <a:pt x="137" y="189"/>
                    </a:cubicBezTo>
                    <a:cubicBezTo>
                      <a:pt x="137" y="189"/>
                      <a:pt x="137" y="189"/>
                      <a:pt x="137" y="189"/>
                    </a:cubicBezTo>
                    <a:cubicBezTo>
                      <a:pt x="137" y="189"/>
                      <a:pt x="137" y="189"/>
                      <a:pt x="137" y="189"/>
                    </a:cubicBezTo>
                    <a:cubicBezTo>
                      <a:pt x="137" y="189"/>
                      <a:pt x="137" y="189"/>
                      <a:pt x="137" y="189"/>
                    </a:cubicBezTo>
                    <a:cubicBezTo>
                      <a:pt x="137" y="189"/>
                      <a:pt x="137" y="189"/>
                      <a:pt x="137" y="189"/>
                    </a:cubicBezTo>
                    <a:cubicBezTo>
                      <a:pt x="138" y="189"/>
                      <a:pt x="138" y="189"/>
                      <a:pt x="138" y="189"/>
                    </a:cubicBezTo>
                    <a:cubicBezTo>
                      <a:pt x="138" y="189"/>
                      <a:pt x="138" y="189"/>
                      <a:pt x="138" y="189"/>
                    </a:cubicBezTo>
                    <a:cubicBezTo>
                      <a:pt x="138" y="189"/>
                      <a:pt x="138" y="189"/>
                      <a:pt x="138" y="189"/>
                    </a:cubicBezTo>
                    <a:cubicBezTo>
                      <a:pt x="138" y="189"/>
                      <a:pt x="138" y="189"/>
                      <a:pt x="139" y="189"/>
                    </a:cubicBezTo>
                    <a:cubicBezTo>
                      <a:pt x="139" y="189"/>
                      <a:pt x="139" y="189"/>
                      <a:pt x="139" y="189"/>
                    </a:cubicBezTo>
                    <a:cubicBezTo>
                      <a:pt x="139" y="189"/>
                      <a:pt x="139" y="189"/>
                      <a:pt x="139" y="189"/>
                    </a:cubicBezTo>
                    <a:cubicBezTo>
                      <a:pt x="139" y="189"/>
                      <a:pt x="139" y="189"/>
                      <a:pt x="139" y="189"/>
                    </a:cubicBezTo>
                    <a:cubicBezTo>
                      <a:pt x="139" y="189"/>
                      <a:pt x="139" y="189"/>
                      <a:pt x="139" y="189"/>
                    </a:cubicBezTo>
                    <a:cubicBezTo>
                      <a:pt x="184" y="163"/>
                      <a:pt x="184" y="163"/>
                      <a:pt x="184" y="163"/>
                    </a:cubicBezTo>
                    <a:cubicBezTo>
                      <a:pt x="185" y="162"/>
                      <a:pt x="186" y="161"/>
                      <a:pt x="186" y="160"/>
                    </a:cubicBezTo>
                    <a:cubicBezTo>
                      <a:pt x="186" y="108"/>
                      <a:pt x="186" y="108"/>
                      <a:pt x="186" y="108"/>
                    </a:cubicBezTo>
                    <a:cubicBezTo>
                      <a:pt x="186" y="108"/>
                      <a:pt x="186" y="108"/>
                      <a:pt x="186" y="108"/>
                    </a:cubicBezTo>
                    <a:moveTo>
                      <a:pt x="177" y="108"/>
                    </a:moveTo>
                    <a:cubicBezTo>
                      <a:pt x="138" y="130"/>
                      <a:pt x="138" y="130"/>
                      <a:pt x="138" y="130"/>
                    </a:cubicBezTo>
                    <a:cubicBezTo>
                      <a:pt x="99" y="108"/>
                      <a:pt x="99" y="108"/>
                      <a:pt x="99" y="108"/>
                    </a:cubicBezTo>
                    <a:cubicBezTo>
                      <a:pt x="138" y="85"/>
                      <a:pt x="138" y="85"/>
                      <a:pt x="138" y="85"/>
                    </a:cubicBezTo>
                    <a:lnTo>
                      <a:pt x="177" y="108"/>
                    </a:lnTo>
                    <a:close/>
                    <a:moveTo>
                      <a:pt x="51" y="34"/>
                    </a:moveTo>
                    <a:cubicBezTo>
                      <a:pt x="90" y="57"/>
                      <a:pt x="90" y="57"/>
                      <a:pt x="90" y="57"/>
                    </a:cubicBezTo>
                    <a:cubicBezTo>
                      <a:pt x="90" y="103"/>
                      <a:pt x="90" y="103"/>
                      <a:pt x="90" y="103"/>
                    </a:cubicBezTo>
                    <a:cubicBezTo>
                      <a:pt x="51" y="80"/>
                      <a:pt x="51" y="80"/>
                      <a:pt x="51" y="80"/>
                    </a:cubicBezTo>
                    <a:lnTo>
                      <a:pt x="51" y="34"/>
                    </a:lnTo>
                    <a:close/>
                    <a:moveTo>
                      <a:pt x="135" y="80"/>
                    </a:moveTo>
                    <a:cubicBezTo>
                      <a:pt x="96" y="103"/>
                      <a:pt x="96" y="103"/>
                      <a:pt x="96" y="103"/>
                    </a:cubicBezTo>
                    <a:cubicBezTo>
                      <a:pt x="96" y="57"/>
                      <a:pt x="96" y="57"/>
                      <a:pt x="96" y="57"/>
                    </a:cubicBezTo>
                    <a:cubicBezTo>
                      <a:pt x="135" y="34"/>
                      <a:pt x="135" y="34"/>
                      <a:pt x="135" y="34"/>
                    </a:cubicBezTo>
                    <a:lnTo>
                      <a:pt x="135" y="80"/>
                    </a:lnTo>
                    <a:close/>
                    <a:moveTo>
                      <a:pt x="90" y="158"/>
                    </a:moveTo>
                    <a:cubicBezTo>
                      <a:pt x="51" y="181"/>
                      <a:pt x="51" y="181"/>
                      <a:pt x="51" y="181"/>
                    </a:cubicBezTo>
                    <a:cubicBezTo>
                      <a:pt x="51" y="136"/>
                      <a:pt x="51" y="136"/>
                      <a:pt x="51" y="136"/>
                    </a:cubicBezTo>
                    <a:cubicBezTo>
                      <a:pt x="90" y="113"/>
                      <a:pt x="90" y="113"/>
                      <a:pt x="90" y="113"/>
                    </a:cubicBezTo>
                    <a:lnTo>
                      <a:pt x="90" y="158"/>
                    </a:lnTo>
                    <a:close/>
                    <a:moveTo>
                      <a:pt x="96" y="113"/>
                    </a:moveTo>
                    <a:cubicBezTo>
                      <a:pt x="135" y="136"/>
                      <a:pt x="135" y="136"/>
                      <a:pt x="135" y="136"/>
                    </a:cubicBezTo>
                    <a:cubicBezTo>
                      <a:pt x="135" y="181"/>
                      <a:pt x="135" y="181"/>
                      <a:pt x="135" y="181"/>
                    </a:cubicBezTo>
                    <a:cubicBezTo>
                      <a:pt x="96" y="158"/>
                      <a:pt x="96" y="158"/>
                      <a:pt x="96" y="158"/>
                    </a:cubicBezTo>
                    <a:lnTo>
                      <a:pt x="96" y="113"/>
                    </a:lnTo>
                    <a:close/>
                    <a:moveTo>
                      <a:pt x="93" y="7"/>
                    </a:moveTo>
                    <a:cubicBezTo>
                      <a:pt x="132" y="29"/>
                      <a:pt x="132" y="29"/>
                      <a:pt x="132" y="29"/>
                    </a:cubicBezTo>
                    <a:cubicBezTo>
                      <a:pt x="93" y="52"/>
                      <a:pt x="93" y="52"/>
                      <a:pt x="93" y="52"/>
                    </a:cubicBezTo>
                    <a:cubicBezTo>
                      <a:pt x="54" y="29"/>
                      <a:pt x="54" y="29"/>
                      <a:pt x="54" y="29"/>
                    </a:cubicBezTo>
                    <a:lnTo>
                      <a:pt x="93" y="7"/>
                    </a:lnTo>
                    <a:close/>
                    <a:moveTo>
                      <a:pt x="48" y="85"/>
                    </a:moveTo>
                    <a:cubicBezTo>
                      <a:pt x="87" y="108"/>
                      <a:pt x="87" y="108"/>
                      <a:pt x="87" y="108"/>
                    </a:cubicBezTo>
                    <a:cubicBezTo>
                      <a:pt x="48" y="130"/>
                      <a:pt x="48" y="130"/>
                      <a:pt x="48" y="130"/>
                    </a:cubicBezTo>
                    <a:cubicBezTo>
                      <a:pt x="9" y="108"/>
                      <a:pt x="9" y="108"/>
                      <a:pt x="9" y="108"/>
                    </a:cubicBezTo>
                    <a:lnTo>
                      <a:pt x="48" y="85"/>
                    </a:lnTo>
                    <a:close/>
                    <a:moveTo>
                      <a:pt x="6" y="113"/>
                    </a:moveTo>
                    <a:cubicBezTo>
                      <a:pt x="45" y="136"/>
                      <a:pt x="45" y="136"/>
                      <a:pt x="45" y="136"/>
                    </a:cubicBezTo>
                    <a:cubicBezTo>
                      <a:pt x="45" y="181"/>
                      <a:pt x="45" y="181"/>
                      <a:pt x="45" y="181"/>
                    </a:cubicBezTo>
                    <a:cubicBezTo>
                      <a:pt x="6" y="158"/>
                      <a:pt x="6" y="158"/>
                      <a:pt x="6" y="158"/>
                    </a:cubicBezTo>
                    <a:lnTo>
                      <a:pt x="6" y="113"/>
                    </a:lnTo>
                    <a:close/>
                    <a:moveTo>
                      <a:pt x="141" y="181"/>
                    </a:moveTo>
                    <a:cubicBezTo>
                      <a:pt x="141" y="136"/>
                      <a:pt x="141" y="136"/>
                      <a:pt x="141" y="136"/>
                    </a:cubicBezTo>
                    <a:cubicBezTo>
                      <a:pt x="180" y="113"/>
                      <a:pt x="180" y="113"/>
                      <a:pt x="180" y="113"/>
                    </a:cubicBezTo>
                    <a:cubicBezTo>
                      <a:pt x="180" y="158"/>
                      <a:pt x="180" y="158"/>
                      <a:pt x="180" y="158"/>
                    </a:cubicBezTo>
                    <a:lnTo>
                      <a:pt x="141" y="181"/>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85"/>
              <p:cNvSpPr>
                <a:spLocks/>
              </p:cNvSpPr>
              <p:nvPr/>
            </p:nvSpPr>
            <p:spPr bwMode="auto">
              <a:xfrm>
                <a:off x="6850692" y="4203024"/>
                <a:ext cx="33770" cy="21169"/>
              </a:xfrm>
              <a:custGeom>
                <a:avLst/>
                <a:gdLst>
                  <a:gd name="T0" fmla="*/ 27 w 28"/>
                  <a:gd name="T1" fmla="*/ 1 h 18"/>
                  <a:gd name="T2" fmla="*/ 23 w 28"/>
                  <a:gd name="T3" fmla="*/ 0 h 18"/>
                  <a:gd name="T4" fmla="*/ 2 w 28"/>
                  <a:gd name="T5" fmla="*/ 13 h 18"/>
                  <a:gd name="T6" fmla="*/ 1 w 28"/>
                  <a:gd name="T7" fmla="*/ 17 h 18"/>
                  <a:gd name="T8" fmla="*/ 4 w 28"/>
                  <a:gd name="T9" fmla="*/ 18 h 18"/>
                  <a:gd name="T10" fmla="*/ 5 w 28"/>
                  <a:gd name="T11" fmla="*/ 18 h 18"/>
                  <a:gd name="T12" fmla="*/ 26 w 28"/>
                  <a:gd name="T13" fmla="*/ 6 h 18"/>
                  <a:gd name="T14" fmla="*/ 27 w 28"/>
                  <a:gd name="T15" fmla="*/ 1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8">
                    <a:moveTo>
                      <a:pt x="27" y="1"/>
                    </a:moveTo>
                    <a:cubicBezTo>
                      <a:pt x="27" y="0"/>
                      <a:pt x="25" y="0"/>
                      <a:pt x="23" y="0"/>
                    </a:cubicBezTo>
                    <a:cubicBezTo>
                      <a:pt x="2" y="13"/>
                      <a:pt x="2" y="13"/>
                      <a:pt x="2" y="13"/>
                    </a:cubicBezTo>
                    <a:cubicBezTo>
                      <a:pt x="1" y="13"/>
                      <a:pt x="0" y="15"/>
                      <a:pt x="1" y="17"/>
                    </a:cubicBezTo>
                    <a:cubicBezTo>
                      <a:pt x="2" y="18"/>
                      <a:pt x="3" y="18"/>
                      <a:pt x="4" y="18"/>
                    </a:cubicBezTo>
                    <a:cubicBezTo>
                      <a:pt x="4" y="18"/>
                      <a:pt x="5" y="18"/>
                      <a:pt x="5" y="18"/>
                    </a:cubicBezTo>
                    <a:cubicBezTo>
                      <a:pt x="26" y="6"/>
                      <a:pt x="26" y="6"/>
                      <a:pt x="26" y="6"/>
                    </a:cubicBezTo>
                    <a:cubicBezTo>
                      <a:pt x="28" y="5"/>
                      <a:pt x="28" y="3"/>
                      <a:pt x="27" y="1"/>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86"/>
              <p:cNvSpPr>
                <a:spLocks/>
              </p:cNvSpPr>
              <p:nvPr/>
            </p:nvSpPr>
            <p:spPr bwMode="auto">
              <a:xfrm>
                <a:off x="6744847" y="4203024"/>
                <a:ext cx="32258" cy="21169"/>
              </a:xfrm>
              <a:custGeom>
                <a:avLst/>
                <a:gdLst>
                  <a:gd name="T0" fmla="*/ 27 w 27"/>
                  <a:gd name="T1" fmla="*/ 1 h 18"/>
                  <a:gd name="T2" fmla="*/ 22 w 27"/>
                  <a:gd name="T3" fmla="*/ 0 h 18"/>
                  <a:gd name="T4" fmla="*/ 1 w 27"/>
                  <a:gd name="T5" fmla="*/ 13 h 18"/>
                  <a:gd name="T6" fmla="*/ 0 w 27"/>
                  <a:gd name="T7" fmla="*/ 17 h 18"/>
                  <a:gd name="T8" fmla="*/ 3 w 27"/>
                  <a:gd name="T9" fmla="*/ 18 h 18"/>
                  <a:gd name="T10" fmla="*/ 5 w 27"/>
                  <a:gd name="T11" fmla="*/ 18 h 18"/>
                  <a:gd name="T12" fmla="*/ 25 w 27"/>
                  <a:gd name="T13" fmla="*/ 6 h 18"/>
                  <a:gd name="T14" fmla="*/ 27 w 27"/>
                  <a:gd name="T15" fmla="*/ 1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8">
                    <a:moveTo>
                      <a:pt x="27" y="1"/>
                    </a:moveTo>
                    <a:cubicBezTo>
                      <a:pt x="26" y="0"/>
                      <a:pt x="24" y="0"/>
                      <a:pt x="22" y="0"/>
                    </a:cubicBezTo>
                    <a:cubicBezTo>
                      <a:pt x="1" y="13"/>
                      <a:pt x="1" y="13"/>
                      <a:pt x="1" y="13"/>
                    </a:cubicBezTo>
                    <a:cubicBezTo>
                      <a:pt x="0" y="13"/>
                      <a:pt x="0" y="15"/>
                      <a:pt x="0" y="17"/>
                    </a:cubicBezTo>
                    <a:cubicBezTo>
                      <a:pt x="1" y="18"/>
                      <a:pt x="2" y="18"/>
                      <a:pt x="3" y="18"/>
                    </a:cubicBezTo>
                    <a:cubicBezTo>
                      <a:pt x="4" y="18"/>
                      <a:pt x="4" y="18"/>
                      <a:pt x="5" y="18"/>
                    </a:cubicBezTo>
                    <a:cubicBezTo>
                      <a:pt x="25" y="6"/>
                      <a:pt x="25" y="6"/>
                      <a:pt x="25" y="6"/>
                    </a:cubicBezTo>
                    <a:cubicBezTo>
                      <a:pt x="27" y="5"/>
                      <a:pt x="27" y="3"/>
                      <a:pt x="27" y="1"/>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87"/>
              <p:cNvSpPr>
                <a:spLocks/>
              </p:cNvSpPr>
              <p:nvPr/>
            </p:nvSpPr>
            <p:spPr bwMode="auto">
              <a:xfrm>
                <a:off x="6904622" y="4203024"/>
                <a:ext cx="33266" cy="21169"/>
              </a:xfrm>
              <a:custGeom>
                <a:avLst/>
                <a:gdLst>
                  <a:gd name="T0" fmla="*/ 26 w 28"/>
                  <a:gd name="T1" fmla="*/ 13 h 18"/>
                  <a:gd name="T2" fmla="*/ 5 w 28"/>
                  <a:gd name="T3" fmla="*/ 0 h 18"/>
                  <a:gd name="T4" fmla="*/ 1 w 28"/>
                  <a:gd name="T5" fmla="*/ 1 h 18"/>
                  <a:gd name="T6" fmla="*/ 2 w 28"/>
                  <a:gd name="T7" fmla="*/ 6 h 18"/>
                  <a:gd name="T8" fmla="*/ 23 w 28"/>
                  <a:gd name="T9" fmla="*/ 18 h 18"/>
                  <a:gd name="T10" fmla="*/ 25 w 28"/>
                  <a:gd name="T11" fmla="*/ 18 h 18"/>
                  <a:gd name="T12" fmla="*/ 27 w 28"/>
                  <a:gd name="T13" fmla="*/ 17 h 18"/>
                  <a:gd name="T14" fmla="*/ 26 w 28"/>
                  <a:gd name="T15" fmla="*/ 13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8">
                    <a:moveTo>
                      <a:pt x="26" y="13"/>
                    </a:moveTo>
                    <a:cubicBezTo>
                      <a:pt x="5" y="0"/>
                      <a:pt x="5" y="0"/>
                      <a:pt x="5" y="0"/>
                    </a:cubicBezTo>
                    <a:cubicBezTo>
                      <a:pt x="4" y="0"/>
                      <a:pt x="2" y="0"/>
                      <a:pt x="1" y="1"/>
                    </a:cubicBezTo>
                    <a:cubicBezTo>
                      <a:pt x="0" y="3"/>
                      <a:pt x="1" y="5"/>
                      <a:pt x="2" y="6"/>
                    </a:cubicBezTo>
                    <a:cubicBezTo>
                      <a:pt x="23" y="18"/>
                      <a:pt x="23" y="18"/>
                      <a:pt x="23" y="18"/>
                    </a:cubicBezTo>
                    <a:cubicBezTo>
                      <a:pt x="24" y="18"/>
                      <a:pt x="24" y="18"/>
                      <a:pt x="25" y="18"/>
                    </a:cubicBezTo>
                    <a:cubicBezTo>
                      <a:pt x="26" y="18"/>
                      <a:pt x="27" y="18"/>
                      <a:pt x="27" y="17"/>
                    </a:cubicBezTo>
                    <a:cubicBezTo>
                      <a:pt x="28" y="15"/>
                      <a:pt x="28" y="13"/>
                      <a:pt x="26" y="13"/>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7" name="Rectangle 103"/>
            <p:cNvSpPr>
              <a:spLocks noChangeArrowheads="1"/>
            </p:cNvSpPr>
            <p:nvPr/>
          </p:nvSpPr>
          <p:spPr bwMode="auto">
            <a:xfrm>
              <a:off x="1844223" y="4296772"/>
              <a:ext cx="5484283" cy="428924"/>
            </a:xfrm>
            <a:prstGeom prst="rect">
              <a:avLst/>
            </a:prstGeom>
            <a:gradFill>
              <a:gsLst>
                <a:gs pos="0">
                  <a:srgbClr val="00197B"/>
                </a:gs>
                <a:gs pos="100000">
                  <a:srgbClr val="004BAF"/>
                </a:gs>
              </a:gsLst>
              <a:lin ang="162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178" name="Rectangle 177"/>
            <p:cNvSpPr/>
            <p:nvPr/>
          </p:nvSpPr>
          <p:spPr>
            <a:xfrm>
              <a:off x="3720512" y="4006454"/>
              <a:ext cx="1448987" cy="338554"/>
            </a:xfrm>
            <a:prstGeom prst="rect">
              <a:avLst/>
            </a:prstGeom>
          </p:spPr>
          <p:txBody>
            <a:bodyPr wrap="none" anchor="ctr" anchorCtr="0">
              <a:spAutoFit/>
            </a:bodyPr>
            <a:lstStyle/>
            <a:p>
              <a:pPr lvl="0" algn="ctr"/>
              <a:r>
                <a:rPr lang="en-US" sz="1600" dirty="0">
                  <a:solidFill>
                    <a:srgbClr val="004990"/>
                  </a:solidFill>
                </a:rPr>
                <a:t>Infrastructure</a:t>
              </a:r>
            </a:p>
          </p:txBody>
        </p:sp>
        <p:sp>
          <p:nvSpPr>
            <p:cNvPr id="179" name="Rectangle 178"/>
            <p:cNvSpPr/>
            <p:nvPr/>
          </p:nvSpPr>
          <p:spPr>
            <a:xfrm>
              <a:off x="3736317" y="4375785"/>
              <a:ext cx="1417376" cy="276999"/>
            </a:xfrm>
            <a:prstGeom prst="rect">
              <a:avLst/>
            </a:prstGeom>
          </p:spPr>
          <p:txBody>
            <a:bodyPr wrap="none" anchor="ctr" anchorCtr="0">
              <a:spAutoFit/>
            </a:bodyPr>
            <a:lstStyle/>
            <a:p>
              <a:pPr lvl="0" algn="ctr"/>
              <a:r>
                <a:rPr lang="en-US" sz="1200" dirty="0">
                  <a:solidFill>
                    <a:srgbClr val="FFFFFF"/>
                  </a:solidFill>
                </a:rPr>
                <a:t>Physical &amp; Virtual</a:t>
              </a:r>
            </a:p>
          </p:txBody>
        </p:sp>
        <p:sp>
          <p:nvSpPr>
            <p:cNvPr id="180" name="Rectangle 179"/>
            <p:cNvSpPr/>
            <p:nvPr/>
          </p:nvSpPr>
          <p:spPr>
            <a:xfrm>
              <a:off x="3735514" y="3808755"/>
              <a:ext cx="1418978" cy="200055"/>
            </a:xfrm>
            <a:prstGeom prst="rect">
              <a:avLst/>
            </a:prstGeom>
          </p:spPr>
          <p:txBody>
            <a:bodyPr wrap="none" anchor="ctr" anchorCtr="0">
              <a:spAutoFit/>
            </a:bodyPr>
            <a:lstStyle/>
            <a:p>
              <a:pPr lvl="0" algn="ctr"/>
              <a:r>
                <a:rPr lang="pt-BR" sz="700" spc="150" dirty="0">
                  <a:solidFill>
                    <a:srgbClr val="FFFFFF"/>
                  </a:solidFill>
                </a:rPr>
                <a:t>Streaming Telemetry</a:t>
              </a:r>
              <a:endParaRPr lang="en-US" sz="700" spc="150" dirty="0">
                <a:solidFill>
                  <a:srgbClr val="FFFFFF"/>
                </a:solidFill>
              </a:endParaRPr>
            </a:p>
          </p:txBody>
        </p:sp>
      </p:grpSp>
      <p:grpSp>
        <p:nvGrpSpPr>
          <p:cNvPr id="188" name="Group 187"/>
          <p:cNvGrpSpPr/>
          <p:nvPr/>
        </p:nvGrpSpPr>
        <p:grpSpPr>
          <a:xfrm>
            <a:off x="3235708" y="1665144"/>
            <a:ext cx="492935" cy="492935"/>
            <a:chOff x="2044321" y="1606293"/>
            <a:chExt cx="492935" cy="492935"/>
          </a:xfrm>
        </p:grpSpPr>
        <p:sp>
          <p:nvSpPr>
            <p:cNvPr id="189" name="Oval 93"/>
            <p:cNvSpPr>
              <a:spLocks noChangeArrowheads="1"/>
            </p:cNvSpPr>
            <p:nvPr/>
          </p:nvSpPr>
          <p:spPr bwMode="auto">
            <a:xfrm>
              <a:off x="2045329" y="1608309"/>
              <a:ext cx="490919" cy="489407"/>
            </a:xfrm>
            <a:prstGeom prst="ellipse">
              <a:avLst/>
            </a:prstGeom>
            <a:solidFill>
              <a:srgbClr val="1A9E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94"/>
            <p:cNvSpPr>
              <a:spLocks noChangeArrowheads="1"/>
            </p:cNvSpPr>
            <p:nvPr/>
          </p:nvSpPr>
          <p:spPr bwMode="auto">
            <a:xfrm>
              <a:off x="2044321" y="1606293"/>
              <a:ext cx="492935" cy="492935"/>
            </a:xfrm>
            <a:prstGeom prst="ellipse">
              <a:avLst/>
            </a:prstGeom>
            <a:solidFill>
              <a:srgbClr val="19A921"/>
            </a:solidFill>
            <a:ln w="9525">
              <a:solidFill>
                <a:srgbClr val="FFFFFF"/>
              </a:solidFill>
              <a:round/>
              <a:headEnd/>
              <a:tailEnd/>
            </a:ln>
          </p:spPr>
          <p:txBody>
            <a:bodyPr vert="horz" wrap="none" lIns="91440" tIns="45720" rIns="91440" bIns="45720" numCol="1" anchor="ctr" anchorCtr="0" compatLnSpc="1">
              <a:prstTxWarp prst="textNoShape">
                <a:avLst/>
              </a:prstTxWarp>
            </a:bodyPr>
            <a:lstStyle/>
            <a:p>
              <a:pPr algn="ctr"/>
              <a:r>
                <a:rPr lang="en-US" sz="800" dirty="0">
                  <a:solidFill>
                    <a:schemeClr val="bg1"/>
                  </a:solidFill>
                </a:rPr>
                <a:t>Open</a:t>
              </a:r>
              <a:br>
                <a:rPr lang="en-US" sz="800" dirty="0">
                  <a:solidFill>
                    <a:schemeClr val="bg1"/>
                  </a:solidFill>
                </a:rPr>
              </a:br>
              <a:r>
                <a:rPr lang="en-US" sz="800" dirty="0">
                  <a:solidFill>
                    <a:schemeClr val="bg1"/>
                  </a:solidFill>
                </a:rPr>
                <a:t>APIs</a:t>
              </a:r>
            </a:p>
          </p:txBody>
        </p:sp>
        <p:sp>
          <p:nvSpPr>
            <p:cNvPr id="191" name="Freeform 96"/>
            <p:cNvSpPr>
              <a:spLocks/>
            </p:cNvSpPr>
            <p:nvPr/>
          </p:nvSpPr>
          <p:spPr bwMode="auto">
            <a:xfrm>
              <a:off x="2253995" y="1653671"/>
              <a:ext cx="73587" cy="48890"/>
            </a:xfrm>
            <a:custGeom>
              <a:avLst/>
              <a:gdLst>
                <a:gd name="T0" fmla="*/ 0 w 146"/>
                <a:gd name="T1" fmla="*/ 97 h 97"/>
                <a:gd name="T2" fmla="*/ 73 w 146"/>
                <a:gd name="T3" fmla="*/ 0 h 97"/>
                <a:gd name="T4" fmla="*/ 146 w 146"/>
                <a:gd name="T5" fmla="*/ 97 h 97"/>
                <a:gd name="T6" fmla="*/ 0 w 146"/>
                <a:gd name="T7" fmla="*/ 97 h 97"/>
              </a:gdLst>
              <a:ahLst/>
              <a:cxnLst>
                <a:cxn ang="0">
                  <a:pos x="T0" y="T1"/>
                </a:cxn>
                <a:cxn ang="0">
                  <a:pos x="T2" y="T3"/>
                </a:cxn>
                <a:cxn ang="0">
                  <a:pos x="T4" y="T5"/>
                </a:cxn>
                <a:cxn ang="0">
                  <a:pos x="T6" y="T7"/>
                </a:cxn>
              </a:cxnLst>
              <a:rect l="0" t="0" r="r" b="b"/>
              <a:pathLst>
                <a:path w="146" h="97">
                  <a:moveTo>
                    <a:pt x="0" y="97"/>
                  </a:moveTo>
                  <a:lnTo>
                    <a:pt x="73" y="0"/>
                  </a:lnTo>
                  <a:lnTo>
                    <a:pt x="146" y="97"/>
                  </a:lnTo>
                  <a:lnTo>
                    <a:pt x="0" y="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97"/>
            <p:cNvSpPr>
              <a:spLocks/>
            </p:cNvSpPr>
            <p:nvPr/>
          </p:nvSpPr>
          <p:spPr bwMode="auto">
            <a:xfrm>
              <a:off x="2253995" y="2003968"/>
              <a:ext cx="73587" cy="49898"/>
            </a:xfrm>
            <a:custGeom>
              <a:avLst/>
              <a:gdLst>
                <a:gd name="T0" fmla="*/ 146 w 146"/>
                <a:gd name="T1" fmla="*/ 0 h 99"/>
                <a:gd name="T2" fmla="*/ 73 w 146"/>
                <a:gd name="T3" fmla="*/ 99 h 99"/>
                <a:gd name="T4" fmla="*/ 0 w 146"/>
                <a:gd name="T5" fmla="*/ 0 h 99"/>
                <a:gd name="T6" fmla="*/ 146 w 146"/>
                <a:gd name="T7" fmla="*/ 0 h 99"/>
              </a:gdLst>
              <a:ahLst/>
              <a:cxnLst>
                <a:cxn ang="0">
                  <a:pos x="T0" y="T1"/>
                </a:cxn>
                <a:cxn ang="0">
                  <a:pos x="T2" y="T3"/>
                </a:cxn>
                <a:cxn ang="0">
                  <a:pos x="T4" y="T5"/>
                </a:cxn>
                <a:cxn ang="0">
                  <a:pos x="T6" y="T7"/>
                </a:cxn>
              </a:cxnLst>
              <a:rect l="0" t="0" r="r" b="b"/>
              <a:pathLst>
                <a:path w="146" h="99">
                  <a:moveTo>
                    <a:pt x="146" y="0"/>
                  </a:moveTo>
                  <a:lnTo>
                    <a:pt x="73" y="99"/>
                  </a:lnTo>
                  <a:lnTo>
                    <a:pt x="0" y="0"/>
                  </a:lnTo>
                  <a:lnTo>
                    <a:pt x="1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3" name="Group 192"/>
          <p:cNvGrpSpPr/>
          <p:nvPr/>
        </p:nvGrpSpPr>
        <p:grpSpPr>
          <a:xfrm>
            <a:off x="3235708" y="3729625"/>
            <a:ext cx="492935" cy="492935"/>
            <a:chOff x="2044321" y="3670774"/>
            <a:chExt cx="492935" cy="492935"/>
          </a:xfrm>
        </p:grpSpPr>
        <p:sp>
          <p:nvSpPr>
            <p:cNvPr id="194" name="Oval 98"/>
            <p:cNvSpPr>
              <a:spLocks noChangeArrowheads="1"/>
            </p:cNvSpPr>
            <p:nvPr/>
          </p:nvSpPr>
          <p:spPr bwMode="auto">
            <a:xfrm>
              <a:off x="2045329" y="3671782"/>
              <a:ext cx="490919" cy="489407"/>
            </a:xfrm>
            <a:prstGeom prst="ellipse">
              <a:avLst/>
            </a:prstGeom>
            <a:solidFill>
              <a:srgbClr val="1A9E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99"/>
            <p:cNvSpPr>
              <a:spLocks noChangeArrowheads="1"/>
            </p:cNvSpPr>
            <p:nvPr/>
          </p:nvSpPr>
          <p:spPr bwMode="auto">
            <a:xfrm>
              <a:off x="2044321" y="3670774"/>
              <a:ext cx="492935" cy="492935"/>
            </a:xfrm>
            <a:prstGeom prst="ellipse">
              <a:avLst/>
            </a:prstGeom>
            <a:solidFill>
              <a:srgbClr val="19A921"/>
            </a:solidFill>
            <a:ln w="9525">
              <a:solidFill>
                <a:srgbClr val="FFFFFF"/>
              </a:solidFill>
              <a:round/>
              <a:headEnd/>
              <a:tailEnd/>
            </a:ln>
          </p:spPr>
          <p:txBody>
            <a:bodyPr vert="horz" wrap="none" lIns="91440" tIns="45720" rIns="91440" bIns="45720" numCol="1" anchor="ctr" anchorCtr="0" compatLnSpc="1">
              <a:prstTxWarp prst="textNoShape">
                <a:avLst/>
              </a:prstTxWarp>
            </a:bodyPr>
            <a:lstStyle/>
            <a:p>
              <a:pPr algn="ctr"/>
              <a:r>
                <a:rPr lang="en-US" sz="800" dirty="0">
                  <a:solidFill>
                    <a:schemeClr val="bg1"/>
                  </a:solidFill>
                </a:rPr>
                <a:t>Open</a:t>
              </a:r>
              <a:br>
                <a:rPr lang="en-US" sz="800" dirty="0">
                  <a:solidFill>
                    <a:schemeClr val="bg1"/>
                  </a:solidFill>
                </a:rPr>
              </a:br>
              <a:r>
                <a:rPr lang="en-US" sz="800" dirty="0">
                  <a:solidFill>
                    <a:schemeClr val="bg1"/>
                  </a:solidFill>
                </a:rPr>
                <a:t>APIs</a:t>
              </a:r>
            </a:p>
          </p:txBody>
        </p:sp>
        <p:sp>
          <p:nvSpPr>
            <p:cNvPr id="196" name="Freeform 101"/>
            <p:cNvSpPr>
              <a:spLocks/>
            </p:cNvSpPr>
            <p:nvPr/>
          </p:nvSpPr>
          <p:spPr bwMode="auto">
            <a:xfrm>
              <a:off x="2253995" y="3717145"/>
              <a:ext cx="73587" cy="49898"/>
            </a:xfrm>
            <a:custGeom>
              <a:avLst/>
              <a:gdLst>
                <a:gd name="T0" fmla="*/ 0 w 146"/>
                <a:gd name="T1" fmla="*/ 99 h 99"/>
                <a:gd name="T2" fmla="*/ 73 w 146"/>
                <a:gd name="T3" fmla="*/ 0 h 99"/>
                <a:gd name="T4" fmla="*/ 146 w 146"/>
                <a:gd name="T5" fmla="*/ 99 h 99"/>
                <a:gd name="T6" fmla="*/ 0 w 146"/>
                <a:gd name="T7" fmla="*/ 99 h 99"/>
              </a:gdLst>
              <a:ahLst/>
              <a:cxnLst>
                <a:cxn ang="0">
                  <a:pos x="T0" y="T1"/>
                </a:cxn>
                <a:cxn ang="0">
                  <a:pos x="T2" y="T3"/>
                </a:cxn>
                <a:cxn ang="0">
                  <a:pos x="T4" y="T5"/>
                </a:cxn>
                <a:cxn ang="0">
                  <a:pos x="T6" y="T7"/>
                </a:cxn>
              </a:cxnLst>
              <a:rect l="0" t="0" r="r" b="b"/>
              <a:pathLst>
                <a:path w="146" h="99">
                  <a:moveTo>
                    <a:pt x="0" y="99"/>
                  </a:moveTo>
                  <a:lnTo>
                    <a:pt x="73" y="0"/>
                  </a:lnTo>
                  <a:lnTo>
                    <a:pt x="146" y="99"/>
                  </a:lnTo>
                  <a:lnTo>
                    <a:pt x="0"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02"/>
            <p:cNvSpPr>
              <a:spLocks/>
            </p:cNvSpPr>
            <p:nvPr/>
          </p:nvSpPr>
          <p:spPr bwMode="auto">
            <a:xfrm>
              <a:off x="2253995" y="4068449"/>
              <a:ext cx="73587" cy="48890"/>
            </a:xfrm>
            <a:custGeom>
              <a:avLst/>
              <a:gdLst>
                <a:gd name="T0" fmla="*/ 146 w 146"/>
                <a:gd name="T1" fmla="*/ 0 h 97"/>
                <a:gd name="T2" fmla="*/ 73 w 146"/>
                <a:gd name="T3" fmla="*/ 97 h 97"/>
                <a:gd name="T4" fmla="*/ 0 w 146"/>
                <a:gd name="T5" fmla="*/ 0 h 97"/>
                <a:gd name="T6" fmla="*/ 146 w 146"/>
                <a:gd name="T7" fmla="*/ 0 h 97"/>
              </a:gdLst>
              <a:ahLst/>
              <a:cxnLst>
                <a:cxn ang="0">
                  <a:pos x="T0" y="T1"/>
                </a:cxn>
                <a:cxn ang="0">
                  <a:pos x="T2" y="T3"/>
                </a:cxn>
                <a:cxn ang="0">
                  <a:pos x="T4" y="T5"/>
                </a:cxn>
                <a:cxn ang="0">
                  <a:pos x="T6" y="T7"/>
                </a:cxn>
              </a:cxnLst>
              <a:rect l="0" t="0" r="r" b="b"/>
              <a:pathLst>
                <a:path w="146" h="97">
                  <a:moveTo>
                    <a:pt x="146" y="0"/>
                  </a:moveTo>
                  <a:lnTo>
                    <a:pt x="73" y="97"/>
                  </a:lnTo>
                  <a:lnTo>
                    <a:pt x="0" y="0"/>
                  </a:lnTo>
                  <a:lnTo>
                    <a:pt x="1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8" name="Rectangle 3"/>
          <p:cNvSpPr/>
          <p:nvPr/>
        </p:nvSpPr>
        <p:spPr>
          <a:xfrm>
            <a:off x="2771267" y="1445691"/>
            <a:ext cx="370840" cy="3478686"/>
          </a:xfrm>
          <a:custGeom>
            <a:avLst/>
            <a:gdLst/>
            <a:ahLst/>
            <a:cxnLst/>
            <a:rect l="l" t="t" r="r" b="b"/>
            <a:pathLst>
              <a:path w="370840" h="3478686">
                <a:moveTo>
                  <a:pt x="0" y="0"/>
                </a:moveTo>
                <a:lnTo>
                  <a:pt x="1766" y="0"/>
                </a:lnTo>
                <a:cubicBezTo>
                  <a:pt x="12493" y="54516"/>
                  <a:pt x="145261" y="105563"/>
                  <a:pt x="370840" y="150086"/>
                </a:cubicBezTo>
                <a:lnTo>
                  <a:pt x="370840" y="3163274"/>
                </a:lnTo>
                <a:lnTo>
                  <a:pt x="370840" y="3317240"/>
                </a:lnTo>
                <a:lnTo>
                  <a:pt x="370840" y="3478686"/>
                </a:lnTo>
                <a:cubicBezTo>
                  <a:pt x="134468" y="3432025"/>
                  <a:pt x="0" y="3378216"/>
                  <a:pt x="0" y="3320980"/>
                </a:cubicBezTo>
                <a:lnTo>
                  <a:pt x="1096" y="3317240"/>
                </a:lnTo>
                <a:lnTo>
                  <a:pt x="0" y="3317240"/>
                </a:lnTo>
                <a:close/>
              </a:path>
            </a:pathLst>
          </a:custGeom>
          <a:solidFill>
            <a:srgbClr val="0A2B4F">
              <a:alpha val="20000"/>
            </a:srgbClr>
          </a:soli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Rectangle 3"/>
          <p:cNvSpPr/>
          <p:nvPr/>
        </p:nvSpPr>
        <p:spPr>
          <a:xfrm flipH="1">
            <a:off x="8406105" y="1445691"/>
            <a:ext cx="370840" cy="3478686"/>
          </a:xfrm>
          <a:custGeom>
            <a:avLst/>
            <a:gdLst/>
            <a:ahLst/>
            <a:cxnLst/>
            <a:rect l="l" t="t" r="r" b="b"/>
            <a:pathLst>
              <a:path w="370840" h="3478686">
                <a:moveTo>
                  <a:pt x="0" y="0"/>
                </a:moveTo>
                <a:lnTo>
                  <a:pt x="1766" y="0"/>
                </a:lnTo>
                <a:cubicBezTo>
                  <a:pt x="12493" y="54516"/>
                  <a:pt x="145261" y="105563"/>
                  <a:pt x="370840" y="150086"/>
                </a:cubicBezTo>
                <a:lnTo>
                  <a:pt x="370840" y="3163274"/>
                </a:lnTo>
                <a:lnTo>
                  <a:pt x="370840" y="3317240"/>
                </a:lnTo>
                <a:lnTo>
                  <a:pt x="370840" y="3478686"/>
                </a:lnTo>
                <a:cubicBezTo>
                  <a:pt x="134468" y="3432025"/>
                  <a:pt x="0" y="3378216"/>
                  <a:pt x="0" y="3320980"/>
                </a:cubicBezTo>
                <a:lnTo>
                  <a:pt x="1096" y="3317240"/>
                </a:lnTo>
                <a:lnTo>
                  <a:pt x="0" y="3317240"/>
                </a:lnTo>
                <a:close/>
              </a:path>
            </a:pathLst>
          </a:custGeom>
          <a:solidFill>
            <a:srgbClr val="0A2B4F">
              <a:alpha val="20000"/>
            </a:srgbClr>
          </a:soli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0" name="Group 199"/>
          <p:cNvGrpSpPr/>
          <p:nvPr/>
        </p:nvGrpSpPr>
        <p:grpSpPr>
          <a:xfrm>
            <a:off x="3235708" y="2784077"/>
            <a:ext cx="492935" cy="491927"/>
            <a:chOff x="2044321" y="2725226"/>
            <a:chExt cx="492935" cy="491927"/>
          </a:xfrm>
        </p:grpSpPr>
        <p:sp>
          <p:nvSpPr>
            <p:cNvPr id="201" name="Oval 88"/>
            <p:cNvSpPr>
              <a:spLocks noChangeArrowheads="1"/>
            </p:cNvSpPr>
            <p:nvPr/>
          </p:nvSpPr>
          <p:spPr bwMode="auto">
            <a:xfrm>
              <a:off x="2045329" y="2726738"/>
              <a:ext cx="490919" cy="489407"/>
            </a:xfrm>
            <a:prstGeom prst="ellipse">
              <a:avLst/>
            </a:prstGeom>
            <a:solidFill>
              <a:srgbClr val="1A9E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89"/>
            <p:cNvSpPr>
              <a:spLocks noChangeArrowheads="1"/>
            </p:cNvSpPr>
            <p:nvPr/>
          </p:nvSpPr>
          <p:spPr bwMode="auto">
            <a:xfrm>
              <a:off x="2044321" y="2725226"/>
              <a:ext cx="492935" cy="491927"/>
            </a:xfrm>
            <a:prstGeom prst="ellipse">
              <a:avLst/>
            </a:prstGeom>
            <a:solidFill>
              <a:srgbClr val="19A921"/>
            </a:solidFill>
            <a:ln w="9525">
              <a:solidFill>
                <a:srgbClr val="FFFFFF"/>
              </a:solidFill>
              <a:round/>
              <a:headEnd/>
              <a:tailEnd/>
            </a:ln>
          </p:spPr>
          <p:txBody>
            <a:bodyPr vert="horz" wrap="none" lIns="91440" tIns="45720" rIns="91440" bIns="45720" numCol="1" anchor="ctr" anchorCtr="0" compatLnSpc="1">
              <a:prstTxWarp prst="textNoShape">
                <a:avLst/>
              </a:prstTxWarp>
            </a:bodyPr>
            <a:lstStyle/>
            <a:p>
              <a:pPr algn="ctr"/>
              <a:r>
                <a:rPr lang="en-US" sz="800" dirty="0">
                  <a:solidFill>
                    <a:schemeClr val="bg1"/>
                  </a:solidFill>
                </a:rPr>
                <a:t>Open</a:t>
              </a:r>
              <a:br>
                <a:rPr lang="en-US" sz="800" dirty="0">
                  <a:solidFill>
                    <a:schemeClr val="bg1"/>
                  </a:solidFill>
                </a:rPr>
              </a:br>
              <a:r>
                <a:rPr lang="en-US" sz="800" dirty="0">
                  <a:solidFill>
                    <a:schemeClr val="bg1"/>
                  </a:solidFill>
                </a:rPr>
                <a:t>APIs</a:t>
              </a:r>
            </a:p>
          </p:txBody>
        </p:sp>
        <p:sp>
          <p:nvSpPr>
            <p:cNvPr id="203" name="Freeform 92"/>
            <p:cNvSpPr>
              <a:spLocks/>
            </p:cNvSpPr>
            <p:nvPr/>
          </p:nvSpPr>
          <p:spPr bwMode="auto">
            <a:xfrm>
              <a:off x="2253995" y="3122901"/>
              <a:ext cx="73587" cy="48890"/>
            </a:xfrm>
            <a:custGeom>
              <a:avLst/>
              <a:gdLst>
                <a:gd name="T0" fmla="*/ 146 w 146"/>
                <a:gd name="T1" fmla="*/ 0 h 97"/>
                <a:gd name="T2" fmla="*/ 73 w 146"/>
                <a:gd name="T3" fmla="*/ 97 h 97"/>
                <a:gd name="T4" fmla="*/ 0 w 146"/>
                <a:gd name="T5" fmla="*/ 0 h 97"/>
                <a:gd name="T6" fmla="*/ 146 w 146"/>
                <a:gd name="T7" fmla="*/ 0 h 97"/>
              </a:gdLst>
              <a:ahLst/>
              <a:cxnLst>
                <a:cxn ang="0">
                  <a:pos x="T0" y="T1"/>
                </a:cxn>
                <a:cxn ang="0">
                  <a:pos x="T2" y="T3"/>
                </a:cxn>
                <a:cxn ang="0">
                  <a:pos x="T4" y="T5"/>
                </a:cxn>
                <a:cxn ang="0">
                  <a:pos x="T6" y="T7"/>
                </a:cxn>
              </a:cxnLst>
              <a:rect l="0" t="0" r="r" b="b"/>
              <a:pathLst>
                <a:path w="146" h="97">
                  <a:moveTo>
                    <a:pt x="146" y="0"/>
                  </a:moveTo>
                  <a:lnTo>
                    <a:pt x="73" y="97"/>
                  </a:lnTo>
                  <a:lnTo>
                    <a:pt x="0" y="0"/>
                  </a:lnTo>
                  <a:lnTo>
                    <a:pt x="1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96"/>
            <p:cNvSpPr>
              <a:spLocks/>
            </p:cNvSpPr>
            <p:nvPr/>
          </p:nvSpPr>
          <p:spPr bwMode="auto">
            <a:xfrm>
              <a:off x="2253995" y="2781431"/>
              <a:ext cx="73587" cy="48890"/>
            </a:xfrm>
            <a:custGeom>
              <a:avLst/>
              <a:gdLst>
                <a:gd name="T0" fmla="*/ 0 w 146"/>
                <a:gd name="T1" fmla="*/ 97 h 97"/>
                <a:gd name="T2" fmla="*/ 73 w 146"/>
                <a:gd name="T3" fmla="*/ 0 h 97"/>
                <a:gd name="T4" fmla="*/ 146 w 146"/>
                <a:gd name="T5" fmla="*/ 97 h 97"/>
                <a:gd name="T6" fmla="*/ 0 w 146"/>
                <a:gd name="T7" fmla="*/ 97 h 97"/>
              </a:gdLst>
              <a:ahLst/>
              <a:cxnLst>
                <a:cxn ang="0">
                  <a:pos x="T0" y="T1"/>
                </a:cxn>
                <a:cxn ang="0">
                  <a:pos x="T2" y="T3"/>
                </a:cxn>
                <a:cxn ang="0">
                  <a:pos x="T4" y="T5"/>
                </a:cxn>
                <a:cxn ang="0">
                  <a:pos x="T6" y="T7"/>
                </a:cxn>
              </a:cxnLst>
              <a:rect l="0" t="0" r="r" b="b"/>
              <a:pathLst>
                <a:path w="146" h="97">
                  <a:moveTo>
                    <a:pt x="0" y="97"/>
                  </a:moveTo>
                  <a:lnTo>
                    <a:pt x="73" y="0"/>
                  </a:lnTo>
                  <a:lnTo>
                    <a:pt x="146" y="97"/>
                  </a:lnTo>
                  <a:lnTo>
                    <a:pt x="0" y="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p:cNvGrpSpPr/>
          <p:nvPr/>
        </p:nvGrpSpPr>
        <p:grpSpPr>
          <a:xfrm>
            <a:off x="165062" y="2142443"/>
            <a:ext cx="3980810" cy="1251318"/>
            <a:chOff x="6369805" y="1852762"/>
            <a:chExt cx="3980810" cy="1043832"/>
          </a:xfrm>
        </p:grpSpPr>
        <p:sp>
          <p:nvSpPr>
            <p:cNvPr id="4" name="TextBox 3"/>
            <p:cNvSpPr txBox="1"/>
            <p:nvPr/>
          </p:nvSpPr>
          <p:spPr>
            <a:xfrm>
              <a:off x="6369805" y="1852762"/>
              <a:ext cx="2520928" cy="1043832"/>
            </a:xfrm>
            <a:prstGeom prst="rect">
              <a:avLst/>
            </a:prstGeom>
            <a:solidFill>
              <a:srgbClr val="00197B"/>
            </a:solidFill>
            <a:ln>
              <a:solidFill>
                <a:srgbClr val="FFFFFF"/>
              </a:solidFill>
            </a:ln>
          </p:spPr>
          <p:txBody>
            <a:bodyPr wrap="square" rtlCol="0" anchor="ctr" anchorCtr="0">
              <a:noAutofit/>
            </a:bodyPr>
            <a:lstStyle/>
            <a:p>
              <a:pPr marL="171450" indent="-171450">
                <a:buFont typeface="Wingdings" panose="05000000000000000000" pitchFamily="2" charset="2"/>
                <a:buChar char="§"/>
              </a:pPr>
              <a:r>
                <a:rPr lang="en-US" sz="1200" dirty="0">
                  <a:solidFill>
                    <a:schemeClr val="bg1"/>
                  </a:solidFill>
                </a:rPr>
                <a:t>Software-defined </a:t>
              </a:r>
              <a:r>
                <a:rPr lang="en-US" sz="1200" dirty="0" smtClean="0">
                  <a:solidFill>
                    <a:schemeClr val="bg1"/>
                  </a:solidFill>
                </a:rPr>
                <a:t>WAN</a:t>
              </a:r>
            </a:p>
            <a:p>
              <a:pPr marL="171450" indent="-171450">
                <a:buFont typeface="Wingdings" panose="05000000000000000000" pitchFamily="2" charset="2"/>
                <a:buChar char="§"/>
              </a:pPr>
              <a:r>
                <a:rPr lang="en-US" sz="1200" dirty="0" smtClean="0">
                  <a:solidFill>
                    <a:schemeClr val="bg1"/>
                  </a:solidFill>
                </a:rPr>
                <a:t>Virtual </a:t>
              </a:r>
              <a:r>
                <a:rPr lang="en-US" sz="1200" dirty="0">
                  <a:solidFill>
                    <a:schemeClr val="bg1"/>
                  </a:solidFill>
                </a:rPr>
                <a:t>Managed </a:t>
              </a:r>
              <a:r>
                <a:rPr lang="en-US" sz="1200" dirty="0" smtClean="0">
                  <a:solidFill>
                    <a:schemeClr val="bg1"/>
                  </a:solidFill>
                </a:rPr>
                <a:t>Services</a:t>
              </a:r>
            </a:p>
            <a:p>
              <a:pPr marL="171450" indent="-171450">
                <a:buFont typeface="Wingdings" panose="05000000000000000000" pitchFamily="2" charset="2"/>
                <a:buChar char="§"/>
              </a:pPr>
              <a:r>
                <a:rPr lang="en-US" sz="1200" dirty="0" smtClean="0">
                  <a:solidFill>
                    <a:schemeClr val="bg1"/>
                  </a:solidFill>
                </a:rPr>
                <a:t>Meraki Cloud Managed Services</a:t>
              </a:r>
            </a:p>
            <a:p>
              <a:pPr marL="171450" indent="-171450">
                <a:buFont typeface="Wingdings" panose="05000000000000000000" pitchFamily="2" charset="2"/>
                <a:buChar char="§"/>
              </a:pPr>
              <a:r>
                <a:rPr lang="en-US" sz="1200" dirty="0" smtClean="0">
                  <a:solidFill>
                    <a:schemeClr val="bg1"/>
                  </a:solidFill>
                </a:rPr>
                <a:t>Collaboration Mobile Convergence</a:t>
              </a:r>
              <a:endParaRPr lang="en-US" sz="1200" dirty="0">
                <a:solidFill>
                  <a:schemeClr val="bg1"/>
                </a:solidFill>
              </a:endParaRPr>
            </a:p>
          </p:txBody>
        </p:sp>
        <p:cxnSp>
          <p:nvCxnSpPr>
            <p:cNvPr id="8" name="Straight Connector 7"/>
            <p:cNvCxnSpPr>
              <a:endCxn id="4" idx="3"/>
            </p:cNvCxnSpPr>
            <p:nvPr/>
          </p:nvCxnSpPr>
          <p:spPr>
            <a:xfrm flipH="1">
              <a:off x="8890733" y="2367802"/>
              <a:ext cx="1459882" cy="6876"/>
            </a:xfrm>
            <a:prstGeom prst="line">
              <a:avLst/>
            </a:prstGeom>
            <a:ln w="28575" cap="rnd">
              <a:solidFill>
                <a:srgbClr val="FF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49513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89661" y="829339"/>
            <a:ext cx="8635069" cy="3168210"/>
          </a:xfrm>
        </p:spPr>
        <p:txBody>
          <a:bodyPr/>
          <a:lstStyle/>
          <a:p>
            <a:pPr>
              <a:lnSpc>
                <a:spcPct val="85000"/>
              </a:lnSpc>
            </a:pPr>
            <a:r>
              <a:rPr lang="en-US" sz="1400" b="1" smtClean="0"/>
              <a:t>February </a:t>
            </a:r>
            <a:r>
              <a:rPr lang="en-US" sz="1400" b="1" dirty="0"/>
              <a:t>23, 2017: </a:t>
            </a:r>
            <a:r>
              <a:rPr lang="en-US" sz="1400" dirty="0">
                <a:hlinkClick r:id="rId2"/>
              </a:rPr>
              <a:t>Cisco to Automate NTT DOCOMO’s Network Device Provisioning</a:t>
            </a:r>
            <a:endParaRPr lang="en-US" sz="1400" dirty="0"/>
          </a:p>
          <a:p>
            <a:pPr lvl="0">
              <a:lnSpc>
                <a:spcPct val="85000"/>
              </a:lnSpc>
            </a:pPr>
            <a:r>
              <a:rPr lang="en-US" sz="1400" b="1" dirty="0"/>
              <a:t>February 26, 2017: </a:t>
            </a:r>
            <a:r>
              <a:rPr lang="en-US" sz="1400" dirty="0">
                <a:hlinkClick r:id="rId3"/>
              </a:rPr>
              <a:t>Cisco and Ericsson to Help You Work Better From Your Mobile Phone</a:t>
            </a:r>
            <a:endParaRPr lang="en-US" sz="1400" dirty="0"/>
          </a:p>
          <a:p>
            <a:pPr lvl="0">
              <a:lnSpc>
                <a:spcPct val="85000"/>
              </a:lnSpc>
            </a:pPr>
            <a:r>
              <a:rPr lang="en-US" sz="1400" b="1" dirty="0"/>
              <a:t>February 27, 2017: </a:t>
            </a:r>
            <a:r>
              <a:rPr lang="en-US" sz="1400" dirty="0">
                <a:hlinkClick r:id="rId4"/>
              </a:rPr>
              <a:t>Altice Makes Bold Moves to Virtualize Its Global Mobile Network With Cisco</a:t>
            </a:r>
            <a:endParaRPr lang="en-US" sz="1400" dirty="0"/>
          </a:p>
          <a:p>
            <a:pPr lvl="0">
              <a:lnSpc>
                <a:spcPct val="85000"/>
              </a:lnSpc>
            </a:pPr>
            <a:r>
              <a:rPr lang="en-US" sz="1400" b="1" dirty="0"/>
              <a:t>February 27, 2017: </a:t>
            </a:r>
            <a:r>
              <a:rPr lang="en-US" sz="1400" dirty="0">
                <a:hlinkClick r:id="rId5"/>
              </a:rPr>
              <a:t>Cisco Keeps Steady Drumbeat on Security With New Solutions for Mobile Networks</a:t>
            </a:r>
            <a:endParaRPr lang="en-US" sz="1400" dirty="0"/>
          </a:p>
          <a:p>
            <a:pPr lvl="0">
              <a:lnSpc>
                <a:spcPct val="85000"/>
              </a:lnSpc>
            </a:pPr>
            <a:r>
              <a:rPr lang="en-US" sz="1400" b="1" dirty="0"/>
              <a:t>February 27, 2017: </a:t>
            </a:r>
            <a:r>
              <a:rPr lang="en-US" sz="1400" dirty="0">
                <a:hlinkClick r:id="rId6"/>
              </a:rPr>
              <a:t>Verizon and Cisco Bring 5G Innovations to the Enterprise</a:t>
            </a:r>
            <a:endParaRPr lang="en-US" sz="1400" dirty="0"/>
          </a:p>
          <a:p>
            <a:pPr lvl="0">
              <a:lnSpc>
                <a:spcPct val="85000"/>
              </a:lnSpc>
            </a:pPr>
            <a:r>
              <a:rPr lang="en-US" sz="1400" b="1" dirty="0"/>
              <a:t>February 28, 2017:</a:t>
            </a:r>
            <a:r>
              <a:rPr lang="en-US" sz="1400" dirty="0">
                <a:hlinkClick r:id="rId7"/>
              </a:rPr>
              <a:t>Cisco and Reliance Jio Build World’s Largest All-IP Digital Services Platform</a:t>
            </a:r>
            <a:endParaRPr lang="en-US" sz="1400" dirty="0"/>
          </a:p>
          <a:p>
            <a:pPr lvl="0">
              <a:lnSpc>
                <a:spcPct val="85000"/>
              </a:lnSpc>
            </a:pPr>
            <a:r>
              <a:rPr lang="en-US" sz="1400" b="1" dirty="0"/>
              <a:t>February 28, 2017:</a:t>
            </a:r>
            <a:r>
              <a:rPr lang="en-US" sz="1400" dirty="0">
                <a:hlinkClick r:id="rId8"/>
              </a:rPr>
              <a:t>Cisco Network Services Orchestrator a Key Technology Enabler for Telstra’s Network of the Future</a:t>
            </a:r>
            <a:endParaRPr lang="en-US" sz="1400" dirty="0"/>
          </a:p>
          <a:p>
            <a:pPr lvl="0">
              <a:lnSpc>
                <a:spcPct val="85000"/>
              </a:lnSpc>
            </a:pPr>
            <a:r>
              <a:rPr lang="en-US" sz="1400" b="1" dirty="0"/>
              <a:t>February 28, 2017:</a:t>
            </a:r>
            <a:r>
              <a:rPr lang="en-US" sz="1400" dirty="0">
                <a:hlinkClick r:id="rId9"/>
              </a:rPr>
              <a:t>Saudi Telecom Company and Cisco Sign Managed Services Agreement to Drive Network Capabilities for Digital Era</a:t>
            </a:r>
            <a:endParaRPr lang="en-US" sz="1400" dirty="0"/>
          </a:p>
          <a:p>
            <a:pPr lvl="0">
              <a:lnSpc>
                <a:spcPct val="85000"/>
              </a:lnSpc>
            </a:pPr>
            <a:r>
              <a:rPr lang="en-US" sz="1400" b="1" dirty="0"/>
              <a:t>February 28, 2017:</a:t>
            </a:r>
            <a:r>
              <a:rPr lang="en-US" sz="1400" dirty="0">
                <a:hlinkClick r:id="rId10"/>
              </a:rPr>
              <a:t>Vodafone Launches GigaTV with Cisco</a:t>
            </a:r>
            <a:endParaRPr lang="en-US" sz="1400" dirty="0"/>
          </a:p>
          <a:p>
            <a:pPr lvl="0">
              <a:lnSpc>
                <a:spcPct val="85000"/>
              </a:lnSpc>
            </a:pPr>
            <a:r>
              <a:rPr lang="en-US" sz="1400" b="1" dirty="0"/>
              <a:t>March 1, 2017:</a:t>
            </a:r>
            <a:r>
              <a:rPr lang="en-US" sz="1400" dirty="0">
                <a:hlinkClick r:id="rId11"/>
              </a:rPr>
              <a:t>Ericsson and Cisco Transform Korek Telecom’s core UP network</a:t>
            </a:r>
            <a:endParaRPr lang="en-US" sz="1400" dirty="0"/>
          </a:p>
          <a:p>
            <a:pPr lvl="0">
              <a:lnSpc>
                <a:spcPct val="85000"/>
              </a:lnSpc>
            </a:pPr>
            <a:r>
              <a:rPr lang="en-US" sz="1400" b="1" dirty="0"/>
              <a:t>March 1, 2017:</a:t>
            </a:r>
            <a:r>
              <a:rPr lang="en-US" sz="1400" dirty="0">
                <a:hlinkClick r:id="rId12"/>
              </a:rPr>
              <a:t>Innovation to Cisco’s Network Services Orchestrator (NSO) Offers Service Providers Future Horizontal Scalability</a:t>
            </a:r>
            <a:endParaRPr lang="en-US" sz="1400" dirty="0"/>
          </a:p>
          <a:p>
            <a:pPr>
              <a:lnSpc>
                <a:spcPct val="85000"/>
              </a:lnSpc>
            </a:pPr>
            <a:endParaRPr lang="en-US" sz="1400" dirty="0"/>
          </a:p>
        </p:txBody>
      </p:sp>
      <p:sp>
        <p:nvSpPr>
          <p:cNvPr id="3" name="Title 2"/>
          <p:cNvSpPr txBox="1">
            <a:spLocks/>
          </p:cNvSpPr>
          <p:nvPr/>
        </p:nvSpPr>
        <p:spPr>
          <a:xfrm>
            <a:off x="486268" y="144487"/>
            <a:ext cx="8345488" cy="731837"/>
          </a:xfrm>
          <a:prstGeom prst="rect">
            <a:avLst/>
          </a:prstGeom>
        </p:spPr>
        <p:txBody>
          <a:bodyPr/>
          <a:lstStyle>
            <a:lvl1pPr algn="l" defTabSz="684196"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dirty="0" smtClean="0"/>
              <a:t>Cisco Press Releases at MWC 2017</a:t>
            </a:r>
            <a:endParaRPr lang="en-US" dirty="0"/>
          </a:p>
        </p:txBody>
      </p:sp>
    </p:spTree>
    <p:extLst>
      <p:ext uri="{BB962C8B-B14F-4D97-AF65-F5344CB8AC3E}">
        <p14:creationId xmlns:p14="http://schemas.microsoft.com/office/powerpoint/2010/main" val="1141811457"/>
      </p:ext>
    </p:extLst>
  </p:cSld>
  <p:clrMapOvr>
    <a:masterClrMapping/>
  </p:clrMapOvr>
  <p:transition spd="med">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257" y="152929"/>
            <a:ext cx="8345488" cy="731837"/>
          </a:xfrm>
        </p:spPr>
        <p:txBody>
          <a:bodyPr/>
          <a:lstStyle/>
          <a:p>
            <a:r>
              <a:rPr lang="en-US" dirty="0" smtClean="0"/>
              <a:t>New SP Business Services </a:t>
            </a:r>
            <a:endParaRPr lang="en-US" dirty="0"/>
          </a:p>
        </p:txBody>
      </p:sp>
      <p:sp>
        <p:nvSpPr>
          <p:cNvPr id="4" name="TextBox 3"/>
          <p:cNvSpPr txBox="1"/>
          <p:nvPr/>
        </p:nvSpPr>
        <p:spPr>
          <a:xfrm>
            <a:off x="4697506" y="836579"/>
            <a:ext cx="4208604" cy="307777"/>
          </a:xfrm>
          <a:prstGeom prst="rect">
            <a:avLst/>
          </a:prstGeom>
          <a:noFill/>
        </p:spPr>
        <p:txBody>
          <a:bodyPr wrap="square" rtlCol="0">
            <a:spAutoFit/>
          </a:bodyPr>
          <a:lstStyle/>
          <a:p>
            <a:r>
              <a:rPr lang="en-US" sz="1400" b="1" dirty="0" smtClean="0"/>
              <a:t>February 26, 2017 Press Release</a:t>
            </a:r>
          </a:p>
        </p:txBody>
      </p:sp>
      <p:sp>
        <p:nvSpPr>
          <p:cNvPr id="7" name="TextBox 6"/>
          <p:cNvSpPr txBox="1"/>
          <p:nvPr/>
        </p:nvSpPr>
        <p:spPr>
          <a:xfrm>
            <a:off x="237893" y="836579"/>
            <a:ext cx="4217566" cy="307777"/>
          </a:xfrm>
          <a:prstGeom prst="rect">
            <a:avLst/>
          </a:prstGeom>
          <a:noFill/>
        </p:spPr>
        <p:txBody>
          <a:bodyPr wrap="square" rtlCol="0">
            <a:spAutoFit/>
          </a:bodyPr>
          <a:lstStyle/>
          <a:p>
            <a:r>
              <a:rPr lang="en-US" sz="1400" b="1" dirty="0" smtClean="0"/>
              <a:t>February 28, 2017 Blog SP360: Service Provider</a:t>
            </a:r>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l="16865" t="14989" r="33734" b="18824"/>
          <a:stretch/>
        </p:blipFill>
        <p:spPr>
          <a:xfrm>
            <a:off x="286871" y="1239381"/>
            <a:ext cx="4168588" cy="3404337"/>
          </a:xfrm>
          <a:prstGeom prst="rect">
            <a:avLst/>
          </a:prstGeom>
          <a:ln>
            <a:solidFill>
              <a:schemeClr val="accent1"/>
            </a:solidFill>
          </a:ln>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12721" t="18998" r="36072" b="14815"/>
          <a:stretch/>
        </p:blipFill>
        <p:spPr>
          <a:xfrm>
            <a:off x="4641313" y="1239381"/>
            <a:ext cx="4320989" cy="3404337"/>
          </a:xfrm>
          <a:prstGeom prst="rect">
            <a:avLst/>
          </a:prstGeom>
          <a:ln>
            <a:solidFill>
              <a:schemeClr val="accent1"/>
            </a:solidFill>
          </a:ln>
        </p:spPr>
      </p:pic>
    </p:spTree>
    <p:extLst>
      <p:ext uri="{BB962C8B-B14F-4D97-AF65-F5344CB8AC3E}">
        <p14:creationId xmlns:p14="http://schemas.microsoft.com/office/powerpoint/2010/main" val="79998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Services – More Info</a:t>
            </a:r>
            <a:endParaRPr lang="en-US" dirty="0"/>
          </a:p>
        </p:txBody>
      </p:sp>
      <p:sp>
        <p:nvSpPr>
          <p:cNvPr id="5" name="TextBox 4"/>
          <p:cNvSpPr txBox="1"/>
          <p:nvPr/>
        </p:nvSpPr>
        <p:spPr>
          <a:xfrm>
            <a:off x="478506" y="1166191"/>
            <a:ext cx="6319679" cy="3354765"/>
          </a:xfrm>
          <a:prstGeom prst="rect">
            <a:avLst/>
          </a:prstGeom>
          <a:noFill/>
        </p:spPr>
        <p:txBody>
          <a:bodyPr wrap="none" rtlCol="0">
            <a:spAutoFit/>
          </a:bodyPr>
          <a:lstStyle/>
          <a:p>
            <a:r>
              <a:rPr lang="en-US" b="1" dirty="0" smtClean="0"/>
              <a:t>Cisco Blogs</a:t>
            </a:r>
            <a:r>
              <a:rPr lang="en-US" b="1" dirty="0"/>
              <a:t>, </a:t>
            </a:r>
            <a:r>
              <a:rPr lang="en-US" b="1" dirty="0" smtClean="0"/>
              <a:t>Releases</a:t>
            </a:r>
            <a:r>
              <a:rPr lang="en-US" b="1" dirty="0"/>
              <a:t>, etc</a:t>
            </a:r>
            <a:r>
              <a:rPr lang="en-US" b="1" dirty="0" smtClean="0"/>
              <a:t>.</a:t>
            </a:r>
            <a:endParaRPr lang="en-US" dirty="0"/>
          </a:p>
          <a:p>
            <a:pPr marL="398463" indent="-161925">
              <a:buFont typeface="Wingdings" panose="05000000000000000000" pitchFamily="2" charset="2"/>
              <a:buChar char="§"/>
            </a:pPr>
            <a:r>
              <a:rPr lang="en-US" sz="1600" dirty="0" smtClean="0">
                <a:hlinkClick r:id="rId2"/>
              </a:rPr>
              <a:t>SP360 Blog: Creating Business Services and the Next Element</a:t>
            </a:r>
            <a:endParaRPr lang="en-US" sz="1600" dirty="0"/>
          </a:p>
          <a:p>
            <a:endParaRPr lang="en-US" sz="1600" b="1" dirty="0" smtClean="0"/>
          </a:p>
          <a:p>
            <a:endParaRPr lang="en-US" sz="1600" b="1" dirty="0"/>
          </a:p>
          <a:p>
            <a:endParaRPr lang="en-US" sz="1600" b="1" dirty="0" smtClean="0"/>
          </a:p>
          <a:p>
            <a:r>
              <a:rPr lang="en-US" b="1" dirty="0" smtClean="0"/>
              <a:t>For </a:t>
            </a:r>
            <a:r>
              <a:rPr lang="en-US" b="1" dirty="0"/>
              <a:t>more information, visit:</a:t>
            </a:r>
            <a:endParaRPr lang="en-US" dirty="0"/>
          </a:p>
          <a:p>
            <a:pPr marL="398463" indent="-161925">
              <a:buFont typeface="Wingdings" panose="05000000000000000000" pitchFamily="2" charset="2"/>
              <a:buChar char="§"/>
            </a:pPr>
            <a:r>
              <a:rPr lang="en-US" sz="1600" dirty="0">
                <a:hlinkClick r:id="rId3"/>
              </a:rPr>
              <a:t>Collaboration Mobile Convergence</a:t>
            </a:r>
            <a:endParaRPr lang="en-US" sz="1600" dirty="0"/>
          </a:p>
          <a:p>
            <a:pPr marL="398463" indent="-161925">
              <a:buFont typeface="Wingdings" panose="05000000000000000000" pitchFamily="2" charset="2"/>
              <a:buChar char="§"/>
            </a:pPr>
            <a:r>
              <a:rPr lang="en-US" sz="1600" dirty="0">
                <a:hlinkClick r:id="rId4"/>
              </a:rPr>
              <a:t>Meraki cloud managed services</a:t>
            </a:r>
            <a:endParaRPr lang="en-US" sz="1600" dirty="0"/>
          </a:p>
          <a:p>
            <a:pPr marL="398463" indent="-161925">
              <a:buFont typeface="Wingdings" panose="05000000000000000000" pitchFamily="2" charset="2"/>
              <a:buChar char="§"/>
            </a:pPr>
            <a:r>
              <a:rPr lang="en-US" sz="1600" dirty="0">
                <a:hlinkClick r:id="rId5"/>
              </a:rPr>
              <a:t>Cisco Virtual Managed </a:t>
            </a:r>
            <a:r>
              <a:rPr lang="en-US" sz="1600" dirty="0" smtClean="0">
                <a:hlinkClick r:id="rId5"/>
              </a:rPr>
              <a:t>Services</a:t>
            </a:r>
            <a:endParaRPr lang="en-US" sz="1600" dirty="0"/>
          </a:p>
          <a:p>
            <a:pPr marL="398463" indent="-161925">
              <a:buFont typeface="Wingdings" panose="05000000000000000000" pitchFamily="2" charset="2"/>
              <a:buChar char="§"/>
            </a:pPr>
            <a:r>
              <a:rPr lang="en-US" sz="1600" dirty="0" smtClean="0">
                <a:hlinkClick r:id="rId6"/>
              </a:rPr>
              <a:t>ngena </a:t>
            </a:r>
            <a:r>
              <a:rPr lang="en-US" sz="1600" dirty="0">
                <a:hlinkClick r:id="rId6"/>
              </a:rPr>
              <a:t>– The Shared </a:t>
            </a:r>
            <a:r>
              <a:rPr lang="en-US" sz="1600" dirty="0" smtClean="0">
                <a:hlinkClick r:id="rId6"/>
              </a:rPr>
              <a:t>Network</a:t>
            </a:r>
            <a:endParaRPr lang="en-US" sz="1600" dirty="0" smtClean="0"/>
          </a:p>
          <a:p>
            <a:pPr marL="398463" indent="-161925">
              <a:buFont typeface="Wingdings" panose="05000000000000000000" pitchFamily="2" charset="2"/>
              <a:buChar char="§"/>
            </a:pPr>
            <a:r>
              <a:rPr lang="en-US" sz="1600" dirty="0" smtClean="0">
                <a:hlinkClick r:id="rId7"/>
              </a:rPr>
              <a:t>Cloud and Network Services Solutions</a:t>
            </a:r>
            <a:endParaRPr lang="en-US" sz="1600" dirty="0" smtClean="0"/>
          </a:p>
          <a:p>
            <a:pPr marL="398463" indent="-161925">
              <a:buFont typeface="Wingdings" panose="05000000000000000000" pitchFamily="2" charset="2"/>
              <a:buChar char="§"/>
            </a:pPr>
            <a:r>
              <a:rPr lang="en-US" sz="1600" dirty="0" smtClean="0">
                <a:hlinkClick r:id="rId8"/>
              </a:rPr>
              <a:t>Cisco Spark</a:t>
            </a:r>
            <a:endParaRPr lang="en-US" sz="1600" dirty="0"/>
          </a:p>
          <a:p>
            <a:endParaRPr lang="en-US" sz="1600" dirty="0"/>
          </a:p>
        </p:txBody>
      </p:sp>
    </p:spTree>
    <p:extLst>
      <p:ext uri="{BB962C8B-B14F-4D97-AF65-F5344CB8AC3E}">
        <p14:creationId xmlns:p14="http://schemas.microsoft.com/office/powerpoint/2010/main" val="208211322"/>
      </p:ext>
    </p:extLst>
  </p:cSld>
  <p:clrMapOvr>
    <a:masterClrMapping/>
  </p:clrMapOvr>
  <p:transition spd="med">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437766" y="912505"/>
            <a:ext cx="8179484" cy="4138623"/>
          </a:xfrm>
          <a:prstGeom prst="rect">
            <a:avLst/>
          </a:prstGeom>
        </p:spPr>
      </p:pic>
      <p:sp>
        <p:nvSpPr>
          <p:cNvPr id="17" name="Rounded Rectangle 16"/>
          <p:cNvSpPr/>
          <p:nvPr/>
        </p:nvSpPr>
        <p:spPr>
          <a:xfrm>
            <a:off x="3216905" y="2782206"/>
            <a:ext cx="1037853" cy="455339"/>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61257" y="238672"/>
            <a:ext cx="8770775" cy="731837"/>
          </a:xfrm>
        </p:spPr>
        <p:txBody>
          <a:bodyPr/>
          <a:lstStyle/>
          <a:p>
            <a:r>
              <a:rPr lang="en-US" sz="2800" dirty="0" smtClean="0"/>
              <a:t>MWC2017 </a:t>
            </a:r>
            <a:r>
              <a:rPr lang="en-US" sz="2800" dirty="0"/>
              <a:t>Demo </a:t>
            </a:r>
            <a:r>
              <a:rPr lang="en-US" sz="2800" dirty="0" smtClean="0"/>
              <a:t>Zone 5 – Protect</a:t>
            </a:r>
            <a:r>
              <a:rPr lang="en-US" sz="2800" dirty="0"/>
              <a:t/>
            </a:r>
            <a:br>
              <a:rPr lang="en-US" sz="2800" dirty="0"/>
            </a:br>
            <a:endParaRPr lang="en-US" sz="2800" dirty="0"/>
          </a:p>
        </p:txBody>
      </p:sp>
      <p:grpSp>
        <p:nvGrpSpPr>
          <p:cNvPr id="19" name="Group 18"/>
          <p:cNvGrpSpPr/>
          <p:nvPr/>
        </p:nvGrpSpPr>
        <p:grpSpPr>
          <a:xfrm>
            <a:off x="6692946" y="2462320"/>
            <a:ext cx="1541152" cy="369332"/>
            <a:chOff x="6692946" y="2462320"/>
            <a:chExt cx="1541152" cy="369332"/>
          </a:xfrm>
        </p:grpSpPr>
        <p:sp>
          <p:nvSpPr>
            <p:cNvPr id="11" name="Rounded Rectangle 10"/>
            <p:cNvSpPr/>
            <p:nvPr/>
          </p:nvSpPr>
          <p:spPr>
            <a:xfrm>
              <a:off x="7023284" y="2462320"/>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 name="TextBox 3"/>
            <p:cNvSpPr txBox="1"/>
            <p:nvPr/>
          </p:nvSpPr>
          <p:spPr>
            <a:xfrm>
              <a:off x="6692946" y="2462320"/>
              <a:ext cx="1541152" cy="369332"/>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3 </a:t>
              </a: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 </a:t>
              </a: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Create </a:t>
              </a:r>
              <a:b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IoT  Services</a:t>
              </a:r>
              <a:endPar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endParaRPr>
            </a:p>
          </p:txBody>
        </p:sp>
      </p:grpSp>
      <p:grpSp>
        <p:nvGrpSpPr>
          <p:cNvPr id="20" name="Group 19"/>
          <p:cNvGrpSpPr/>
          <p:nvPr/>
        </p:nvGrpSpPr>
        <p:grpSpPr>
          <a:xfrm>
            <a:off x="5095808" y="1851807"/>
            <a:ext cx="1541152" cy="507831"/>
            <a:chOff x="5095808" y="1851807"/>
            <a:chExt cx="1541152" cy="507831"/>
          </a:xfrm>
        </p:grpSpPr>
        <p:sp>
          <p:nvSpPr>
            <p:cNvPr id="15" name="Rounded Rectangle 14"/>
            <p:cNvSpPr/>
            <p:nvPr/>
          </p:nvSpPr>
          <p:spPr>
            <a:xfrm>
              <a:off x="5411430" y="1921055"/>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TextBox 4"/>
            <p:cNvSpPr txBox="1"/>
            <p:nvPr/>
          </p:nvSpPr>
          <p:spPr>
            <a:xfrm>
              <a:off x="5095808" y="1851807"/>
              <a:ext cx="1541152" cy="507831"/>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4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Create </a:t>
              </a:r>
              <a:r>
                <a:rPr lang="en-US" sz="900" smtClean="0">
                  <a:solidFill>
                    <a:srgbClr val="C00000"/>
                  </a:solidFill>
                  <a:effectLst>
                    <a:outerShdw blurRad="50800" dist="76200" dir="2700000" algn="tl" rotWithShape="0">
                      <a:prstClr val="black">
                        <a:alpha val="40000"/>
                      </a:prstClr>
                    </a:outerShdw>
                  </a:effectLst>
                  <a:ea typeface="Courier" charset="0"/>
                  <a:cs typeface="Courier" charset="0"/>
                </a:rPr>
                <a:t>Business </a:t>
              </a:r>
              <a:br>
                <a:rPr lang="en-US" sz="900" smtClean="0">
                  <a:solidFill>
                    <a:srgbClr val="C00000"/>
                  </a:solidFill>
                  <a:effectLst>
                    <a:outerShdw blurRad="50800" dist="76200" dir="2700000" algn="tl" rotWithShape="0">
                      <a:prstClr val="black">
                        <a:alpha val="40000"/>
                      </a:prstClr>
                    </a:outerShdw>
                  </a:effectLst>
                  <a:ea typeface="Courier" charset="0"/>
                  <a:cs typeface="Courier" charset="0"/>
                </a:rPr>
              </a:br>
              <a:r>
                <a:rPr lang="en-US" sz="900" smtClean="0">
                  <a:solidFill>
                    <a:srgbClr val="C00000"/>
                  </a:solidFill>
                  <a:effectLst>
                    <a:outerShdw blurRad="50800" dist="76200" dir="2700000" algn="tl" rotWithShape="0">
                      <a:prstClr val="black">
                        <a:alpha val="40000"/>
                      </a:prstClr>
                    </a:outerShdw>
                  </a:effectLst>
                  <a:ea typeface="Courier" charset="0"/>
                  <a:cs typeface="Courier" charset="0"/>
                </a:rPr>
                <a:t>Services</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grpSp>
        <p:nvGrpSpPr>
          <p:cNvPr id="21" name="Group 20"/>
          <p:cNvGrpSpPr/>
          <p:nvPr/>
        </p:nvGrpSpPr>
        <p:grpSpPr>
          <a:xfrm>
            <a:off x="4371250" y="1275010"/>
            <a:ext cx="909908" cy="413674"/>
            <a:chOff x="4371250" y="1275010"/>
            <a:chExt cx="909908" cy="413674"/>
          </a:xfrm>
        </p:grpSpPr>
        <p:sp>
          <p:nvSpPr>
            <p:cNvPr id="16" name="Rounded Rectangle 15"/>
            <p:cNvSpPr/>
            <p:nvPr/>
          </p:nvSpPr>
          <p:spPr>
            <a:xfrm>
              <a:off x="4371250" y="1319352"/>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TextBox 5"/>
            <p:cNvSpPr txBox="1"/>
            <p:nvPr/>
          </p:nvSpPr>
          <p:spPr>
            <a:xfrm>
              <a:off x="4458154" y="1275010"/>
              <a:ext cx="736100" cy="369332"/>
            </a:xfrm>
            <a:prstGeom prst="rect">
              <a:avLst/>
            </a:prstGeom>
            <a:noFill/>
          </p:spPr>
          <p:txBody>
            <a:bodyPr wrap="non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5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Protect</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sp>
        <p:nvSpPr>
          <p:cNvPr id="7" name="TextBox 6"/>
          <p:cNvSpPr txBox="1"/>
          <p:nvPr/>
        </p:nvSpPr>
        <p:spPr>
          <a:xfrm>
            <a:off x="3125231" y="2762847"/>
            <a:ext cx="1210588" cy="507831"/>
          </a:xfrm>
          <a:prstGeom prst="rect">
            <a:avLst/>
          </a:prstGeom>
          <a:noFill/>
        </p:spPr>
        <p:txBody>
          <a:bodyPr wrap="none" rtlCol="0">
            <a:spAutoFit/>
          </a:bodyPr>
          <a:lstStyle/>
          <a:p>
            <a:pPr algn="ct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Zone 1 –</a:t>
            </a:r>
            <a:b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Simplify, Automate, </a:t>
            </a:r>
            <a:b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Virtualize</a:t>
            </a:r>
            <a:endPar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endParaRPr>
          </a:p>
        </p:txBody>
      </p:sp>
      <p:grpSp>
        <p:nvGrpSpPr>
          <p:cNvPr id="18" name="Group 17"/>
          <p:cNvGrpSpPr/>
          <p:nvPr/>
        </p:nvGrpSpPr>
        <p:grpSpPr>
          <a:xfrm>
            <a:off x="5166510" y="3046920"/>
            <a:ext cx="1541152" cy="507831"/>
            <a:chOff x="5166510" y="3046920"/>
            <a:chExt cx="1541152" cy="507831"/>
          </a:xfrm>
        </p:grpSpPr>
        <p:sp>
          <p:nvSpPr>
            <p:cNvPr id="12" name="Rounded Rectangle 11"/>
            <p:cNvSpPr/>
            <p:nvPr/>
          </p:nvSpPr>
          <p:spPr>
            <a:xfrm>
              <a:off x="5530940" y="3116169"/>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 name="TextBox 9"/>
            <p:cNvSpPr txBox="1"/>
            <p:nvPr/>
          </p:nvSpPr>
          <p:spPr>
            <a:xfrm>
              <a:off x="5166510" y="3046920"/>
              <a:ext cx="1541152" cy="507831"/>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2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Create Video </a:t>
              </a:r>
              <a:b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Services</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sp>
        <p:nvSpPr>
          <p:cNvPr id="36" name="Rounded Rectangle 35"/>
          <p:cNvSpPr/>
          <p:nvPr/>
        </p:nvSpPr>
        <p:spPr>
          <a:xfrm>
            <a:off x="4318412" y="982397"/>
            <a:ext cx="1078301" cy="1209635"/>
          </a:xfrm>
          <a:prstGeom prst="roundRect">
            <a:avLst/>
          </a:prstGeom>
          <a:noFill/>
          <a:ln>
            <a:solidFill>
              <a:srgbClr val="FF00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2" name="Rectangle 31"/>
          <p:cNvSpPr/>
          <p:nvPr/>
        </p:nvSpPr>
        <p:spPr bwMode="auto">
          <a:xfrm>
            <a:off x="29455" y="1092721"/>
            <a:ext cx="4225303" cy="3908397"/>
          </a:xfrm>
          <a:prstGeom prst="rect">
            <a:avLst/>
          </a:prstGeom>
          <a:solidFill>
            <a:schemeClr val="bg1">
              <a:lumMod val="8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defTabSz="914378">
              <a:spcBef>
                <a:spcPct val="50000"/>
              </a:spcBef>
            </a:pPr>
            <a:endParaRPr lang="en-US" sz="2000">
              <a:solidFill>
                <a:srgbClr val="58585B"/>
              </a:solidFill>
              <a:latin typeface="Arial"/>
            </a:endParaRPr>
          </a:p>
        </p:txBody>
      </p:sp>
      <p:pic>
        <p:nvPicPr>
          <p:cNvPr id="33" name="Picture 4" descr="big dots"/>
          <p:cNvPicPr>
            <a:picLocks noChangeAspect="1" noChangeArrowheads="1"/>
          </p:cNvPicPr>
          <p:nvPr/>
        </p:nvPicPr>
        <p:blipFill>
          <a:blip r:embed="rId3">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7762" y="4379727"/>
            <a:ext cx="4226996" cy="497128"/>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a:xfrm>
            <a:off x="269543" y="1929515"/>
            <a:ext cx="3782055" cy="2246769"/>
          </a:xfrm>
          <a:prstGeom prst="rect">
            <a:avLst/>
          </a:prstGeom>
        </p:spPr>
        <p:txBody>
          <a:bodyPr wrap="square">
            <a:spAutoFit/>
          </a:bodyPr>
          <a:lstStyle/>
          <a:p>
            <a:r>
              <a:rPr lang="en-US" sz="2000" dirty="0" smtClean="0"/>
              <a:t>Cisco’s holistic security solutions across the </a:t>
            </a:r>
            <a:r>
              <a:rPr lang="en-US" sz="2000" b="1" i="1" dirty="0" smtClean="0"/>
              <a:t>network</a:t>
            </a:r>
            <a:r>
              <a:rPr lang="en-US" sz="2000" dirty="0" smtClean="0"/>
              <a:t>, </a:t>
            </a:r>
            <a:r>
              <a:rPr lang="en-US" sz="2000" b="1" i="1" dirty="0" smtClean="0"/>
              <a:t>cloud</a:t>
            </a:r>
            <a:r>
              <a:rPr lang="en-US" sz="2000" dirty="0" smtClean="0"/>
              <a:t> and </a:t>
            </a:r>
            <a:r>
              <a:rPr lang="en-US" sz="2000" b="1" i="1" dirty="0" smtClean="0"/>
              <a:t>device</a:t>
            </a:r>
            <a:r>
              <a:rPr lang="en-US" sz="2000" dirty="0" smtClean="0"/>
              <a:t> enable service providers to protect their business, protect their customers and monetize new opportunities </a:t>
            </a:r>
          </a:p>
        </p:txBody>
      </p:sp>
      <p:sp>
        <p:nvSpPr>
          <p:cNvPr id="35" name="Rectangle 34"/>
          <p:cNvSpPr/>
          <p:nvPr/>
        </p:nvSpPr>
        <p:spPr>
          <a:xfrm>
            <a:off x="114613" y="1205332"/>
            <a:ext cx="3088203" cy="369126"/>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Key Takeaway…</a:t>
            </a:r>
          </a:p>
        </p:txBody>
      </p:sp>
    </p:spTree>
    <p:extLst>
      <p:ext uri="{BB962C8B-B14F-4D97-AF65-F5344CB8AC3E}">
        <p14:creationId xmlns:p14="http://schemas.microsoft.com/office/powerpoint/2010/main" val="1783339142"/>
      </p:ext>
    </p:extLst>
  </p:cSld>
  <p:clrMapOvr>
    <a:masterClrMapping/>
  </p:clrMapOvr>
  <p:transition spd="med">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4541538" y="725169"/>
            <a:ext cx="6013399" cy="1207480"/>
            <a:chOff x="4664231" y="876726"/>
            <a:chExt cx="6013399" cy="1207480"/>
          </a:xfrm>
        </p:grpSpPr>
        <p:grpSp>
          <p:nvGrpSpPr>
            <p:cNvPr id="4" name="Group 3"/>
            <p:cNvGrpSpPr/>
            <p:nvPr/>
          </p:nvGrpSpPr>
          <p:grpSpPr>
            <a:xfrm>
              <a:off x="6644176" y="876726"/>
              <a:ext cx="2053510" cy="1207480"/>
              <a:chOff x="2453344" y="767336"/>
              <a:chExt cx="1620329" cy="1066683"/>
            </a:xfrm>
          </p:grpSpPr>
          <p:sp>
            <p:nvSpPr>
              <p:cNvPr id="52" name="Freeform 48"/>
              <p:cNvSpPr>
                <a:spLocks/>
              </p:cNvSpPr>
              <p:nvPr/>
            </p:nvSpPr>
            <p:spPr bwMode="auto">
              <a:xfrm>
                <a:off x="2453344" y="767336"/>
                <a:ext cx="1620329" cy="1066683"/>
              </a:xfrm>
              <a:custGeom>
                <a:avLst/>
                <a:gdLst>
                  <a:gd name="T0" fmla="*/ 361 w 432"/>
                  <a:gd name="T1" fmla="*/ 121 h 268"/>
                  <a:gd name="T2" fmla="*/ 364 w 432"/>
                  <a:gd name="T3" fmla="*/ 96 h 268"/>
                  <a:gd name="T4" fmla="*/ 268 w 432"/>
                  <a:gd name="T5" fmla="*/ 0 h 268"/>
                  <a:gd name="T6" fmla="*/ 175 w 432"/>
                  <a:gd name="T7" fmla="*/ 71 h 268"/>
                  <a:gd name="T8" fmla="*/ 138 w 432"/>
                  <a:gd name="T9" fmla="*/ 62 h 268"/>
                  <a:gd name="T10" fmla="*/ 54 w 432"/>
                  <a:gd name="T11" fmla="*/ 146 h 268"/>
                  <a:gd name="T12" fmla="*/ 55 w 432"/>
                  <a:gd name="T13" fmla="*/ 156 h 268"/>
                  <a:gd name="T14" fmla="*/ 54 w 432"/>
                  <a:gd name="T15" fmla="*/ 156 h 268"/>
                  <a:gd name="T16" fmla="*/ 0 w 432"/>
                  <a:gd name="T17" fmla="*/ 212 h 268"/>
                  <a:gd name="T18" fmla="*/ 54 w 432"/>
                  <a:gd name="T19" fmla="*/ 268 h 268"/>
                  <a:gd name="T20" fmla="*/ 360 w 432"/>
                  <a:gd name="T21" fmla="*/ 268 h 268"/>
                  <a:gd name="T22" fmla="*/ 432 w 432"/>
                  <a:gd name="T23" fmla="*/ 194 h 268"/>
                  <a:gd name="T24" fmla="*/ 361 w 432"/>
                  <a:gd name="T25" fmla="*/ 12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268">
                    <a:moveTo>
                      <a:pt x="361" y="121"/>
                    </a:moveTo>
                    <a:cubicBezTo>
                      <a:pt x="363" y="113"/>
                      <a:pt x="364" y="104"/>
                      <a:pt x="364" y="96"/>
                    </a:cubicBezTo>
                    <a:cubicBezTo>
                      <a:pt x="364" y="43"/>
                      <a:pt x="321" y="0"/>
                      <a:pt x="268" y="0"/>
                    </a:cubicBezTo>
                    <a:cubicBezTo>
                      <a:pt x="224" y="0"/>
                      <a:pt x="186" y="30"/>
                      <a:pt x="175" y="71"/>
                    </a:cubicBezTo>
                    <a:cubicBezTo>
                      <a:pt x="164" y="65"/>
                      <a:pt x="151" y="62"/>
                      <a:pt x="138" y="62"/>
                    </a:cubicBezTo>
                    <a:cubicBezTo>
                      <a:pt x="92" y="62"/>
                      <a:pt x="54" y="100"/>
                      <a:pt x="54" y="146"/>
                    </a:cubicBezTo>
                    <a:cubicBezTo>
                      <a:pt x="54" y="149"/>
                      <a:pt x="54" y="153"/>
                      <a:pt x="55" y="156"/>
                    </a:cubicBezTo>
                    <a:cubicBezTo>
                      <a:pt x="54" y="156"/>
                      <a:pt x="54" y="156"/>
                      <a:pt x="54" y="156"/>
                    </a:cubicBezTo>
                    <a:cubicBezTo>
                      <a:pt x="24" y="156"/>
                      <a:pt x="0" y="182"/>
                      <a:pt x="0" y="212"/>
                    </a:cubicBezTo>
                    <a:cubicBezTo>
                      <a:pt x="0" y="242"/>
                      <a:pt x="24" y="268"/>
                      <a:pt x="54" y="268"/>
                    </a:cubicBezTo>
                    <a:cubicBezTo>
                      <a:pt x="360" y="268"/>
                      <a:pt x="360" y="268"/>
                      <a:pt x="360" y="268"/>
                    </a:cubicBezTo>
                    <a:cubicBezTo>
                      <a:pt x="400" y="268"/>
                      <a:pt x="432" y="234"/>
                      <a:pt x="432" y="194"/>
                    </a:cubicBezTo>
                    <a:cubicBezTo>
                      <a:pt x="432" y="155"/>
                      <a:pt x="400" y="121"/>
                      <a:pt x="361" y="121"/>
                    </a:cubicBezTo>
                    <a:close/>
                  </a:path>
                </a:pathLst>
              </a:custGeom>
              <a:solidFill>
                <a:srgbClr val="002855"/>
              </a:solidFill>
              <a:ln w="25400" cap="flat" cmpd="sng" algn="ctr">
                <a:noFill/>
                <a:prstDash val="solid"/>
              </a:ln>
              <a:effectLst/>
            </p:spPr>
            <p:txBody>
              <a:bodyPr lIns="91396" tIns="45698" rIns="91396" bIns="45698" rtlCol="0" anchor="ctr"/>
              <a:lstStyle/>
              <a:p>
                <a:pPr algn="ctr" defTabSz="684490">
                  <a:defRPr/>
                </a:pPr>
                <a:endParaRPr lang="en-US" kern="0" dirty="0" smtClean="0">
                  <a:solidFill>
                    <a:srgbClr val="FFFFFF"/>
                  </a:solidFill>
                  <a:latin typeface="CiscoSansTT Light"/>
                  <a:cs typeface="CiscoSansTT Light"/>
                </a:endParaRPr>
              </a:p>
            </p:txBody>
          </p:sp>
          <p:pic>
            <p:nvPicPr>
              <p:cNvPr id="137" name="Picture 136" descr="TalosLogo_dropshadow_ps.png"/>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a:off x="2686632" y="1169386"/>
                <a:ext cx="1114563" cy="371521"/>
              </a:xfrm>
              <a:prstGeom prst="rect">
                <a:avLst/>
              </a:prstGeom>
            </p:spPr>
          </p:pic>
        </p:grpSp>
        <p:sp>
          <p:nvSpPr>
            <p:cNvPr id="86" name="TextBox 85"/>
            <p:cNvSpPr txBox="1"/>
            <p:nvPr/>
          </p:nvSpPr>
          <p:spPr>
            <a:xfrm>
              <a:off x="4664231" y="1696209"/>
              <a:ext cx="6013399" cy="338554"/>
            </a:xfrm>
            <a:prstGeom prst="rect">
              <a:avLst/>
            </a:prstGeom>
            <a:noFill/>
          </p:spPr>
          <p:txBody>
            <a:bodyPr wrap="square" rtlCol="0">
              <a:spAutoFit/>
            </a:bodyPr>
            <a:lstStyle/>
            <a:p>
              <a:pPr algn="ctr"/>
              <a:r>
                <a:rPr lang="en-US" sz="1600" kern="0" smtClean="0">
                  <a:solidFill>
                    <a:schemeClr val="bg2"/>
                  </a:solidFill>
                  <a:sym typeface="Arial"/>
                </a:rPr>
                <a:t>Threat Intelligence</a:t>
              </a:r>
              <a:endParaRPr lang="en-US" sz="1600" kern="0" dirty="0">
                <a:solidFill>
                  <a:schemeClr val="bg2"/>
                </a:solidFill>
                <a:sym typeface="Arial"/>
              </a:endParaRPr>
            </a:p>
          </p:txBody>
        </p:sp>
      </p:grpSp>
      <p:sp>
        <p:nvSpPr>
          <p:cNvPr id="57" name="Trapezoid 78"/>
          <p:cNvSpPr/>
          <p:nvPr/>
        </p:nvSpPr>
        <p:spPr>
          <a:xfrm rot="21600000">
            <a:off x="1200151" y="2730162"/>
            <a:ext cx="6981824" cy="847394"/>
          </a:xfrm>
          <a:custGeom>
            <a:avLst/>
            <a:gdLst>
              <a:gd name="connsiteX0" fmla="*/ 0 w 6070600"/>
              <a:gd name="connsiteY0" fmla="*/ 9076059 h 9076059"/>
              <a:gd name="connsiteX1" fmla="*/ 2689276 w 6070600"/>
              <a:gd name="connsiteY1" fmla="*/ 0 h 9076059"/>
              <a:gd name="connsiteX2" fmla="*/ 3381324 w 6070600"/>
              <a:gd name="connsiteY2" fmla="*/ 0 h 9076059"/>
              <a:gd name="connsiteX3" fmla="*/ 6070600 w 6070600"/>
              <a:gd name="connsiteY3" fmla="*/ 9076059 h 9076059"/>
              <a:gd name="connsiteX4" fmla="*/ 0 w 6070600"/>
              <a:gd name="connsiteY4" fmla="*/ 9076059 h 9076059"/>
              <a:gd name="connsiteX0" fmla="*/ 0 w 6070600"/>
              <a:gd name="connsiteY0" fmla="*/ 9076059 h 9540517"/>
              <a:gd name="connsiteX1" fmla="*/ 2689276 w 6070600"/>
              <a:gd name="connsiteY1" fmla="*/ 0 h 9540517"/>
              <a:gd name="connsiteX2" fmla="*/ 3381324 w 6070600"/>
              <a:gd name="connsiteY2" fmla="*/ 0 h 9540517"/>
              <a:gd name="connsiteX3" fmla="*/ 6070600 w 6070600"/>
              <a:gd name="connsiteY3" fmla="*/ 9076059 h 9540517"/>
              <a:gd name="connsiteX4" fmla="*/ 0 w 6070600"/>
              <a:gd name="connsiteY4" fmla="*/ 9076059 h 9540517"/>
              <a:gd name="connsiteX0" fmla="*/ 0 w 6070600"/>
              <a:gd name="connsiteY0" fmla="*/ 9076059 h 9791558"/>
              <a:gd name="connsiteX1" fmla="*/ 2689276 w 6070600"/>
              <a:gd name="connsiteY1" fmla="*/ 0 h 9791558"/>
              <a:gd name="connsiteX2" fmla="*/ 3381324 w 6070600"/>
              <a:gd name="connsiteY2" fmla="*/ 0 h 9791558"/>
              <a:gd name="connsiteX3" fmla="*/ 6070600 w 6070600"/>
              <a:gd name="connsiteY3" fmla="*/ 9076059 h 9791558"/>
              <a:gd name="connsiteX4" fmla="*/ 0 w 6070600"/>
              <a:gd name="connsiteY4" fmla="*/ 9076059 h 9791558"/>
              <a:gd name="connsiteX0" fmla="*/ 0 w 6956880"/>
              <a:gd name="connsiteY0" fmla="*/ 9076059 h 9797497"/>
              <a:gd name="connsiteX1" fmla="*/ 2689276 w 6956880"/>
              <a:gd name="connsiteY1" fmla="*/ 0 h 9797497"/>
              <a:gd name="connsiteX2" fmla="*/ 3381324 w 6956880"/>
              <a:gd name="connsiteY2" fmla="*/ 0 h 9797497"/>
              <a:gd name="connsiteX3" fmla="*/ 6956880 w 6956880"/>
              <a:gd name="connsiteY3" fmla="*/ 9087085 h 9797497"/>
              <a:gd name="connsiteX4" fmla="*/ 0 w 6956880"/>
              <a:gd name="connsiteY4" fmla="*/ 9076059 h 9797497"/>
              <a:gd name="connsiteX0" fmla="*/ 0 w 6956880"/>
              <a:gd name="connsiteY0" fmla="*/ 9076059 h 9797497"/>
              <a:gd name="connsiteX1" fmla="*/ 2689276 w 6956880"/>
              <a:gd name="connsiteY1" fmla="*/ 0 h 9797497"/>
              <a:gd name="connsiteX2" fmla="*/ 3457194 w 6956880"/>
              <a:gd name="connsiteY2" fmla="*/ 12172 h 9797497"/>
              <a:gd name="connsiteX3" fmla="*/ 3381324 w 6956880"/>
              <a:gd name="connsiteY3" fmla="*/ 0 h 9797497"/>
              <a:gd name="connsiteX4" fmla="*/ 6956880 w 6956880"/>
              <a:gd name="connsiteY4" fmla="*/ 9087085 h 9797497"/>
              <a:gd name="connsiteX5" fmla="*/ 0 w 6956880"/>
              <a:gd name="connsiteY5" fmla="*/ 9076059 h 9797497"/>
              <a:gd name="connsiteX0" fmla="*/ 1 w 7314651"/>
              <a:gd name="connsiteY0" fmla="*/ 9076062 h 9797498"/>
              <a:gd name="connsiteX1" fmla="*/ 3047047 w 7314651"/>
              <a:gd name="connsiteY1" fmla="*/ 0 h 9797498"/>
              <a:gd name="connsiteX2" fmla="*/ 3814965 w 7314651"/>
              <a:gd name="connsiteY2" fmla="*/ 12172 h 9797498"/>
              <a:gd name="connsiteX3" fmla="*/ 3739095 w 7314651"/>
              <a:gd name="connsiteY3" fmla="*/ 0 h 9797498"/>
              <a:gd name="connsiteX4" fmla="*/ 7314651 w 7314651"/>
              <a:gd name="connsiteY4" fmla="*/ 9087085 h 9797498"/>
              <a:gd name="connsiteX5" fmla="*/ 1 w 7314651"/>
              <a:gd name="connsiteY5" fmla="*/ 9076062 h 9797498"/>
              <a:gd name="connsiteX0" fmla="*/ 0 w 7631762"/>
              <a:gd name="connsiteY0" fmla="*/ 9076065 h 9797500"/>
              <a:gd name="connsiteX1" fmla="*/ 3364158 w 7631762"/>
              <a:gd name="connsiteY1" fmla="*/ 0 h 9797500"/>
              <a:gd name="connsiteX2" fmla="*/ 4132076 w 7631762"/>
              <a:gd name="connsiteY2" fmla="*/ 12172 h 9797500"/>
              <a:gd name="connsiteX3" fmla="*/ 4056206 w 7631762"/>
              <a:gd name="connsiteY3" fmla="*/ 0 h 9797500"/>
              <a:gd name="connsiteX4" fmla="*/ 7631762 w 7631762"/>
              <a:gd name="connsiteY4" fmla="*/ 9087085 h 9797500"/>
              <a:gd name="connsiteX5" fmla="*/ 0 w 7631762"/>
              <a:gd name="connsiteY5" fmla="*/ 9076065 h 9797500"/>
              <a:gd name="connsiteX0" fmla="*/ 0 w 7631762"/>
              <a:gd name="connsiteY0" fmla="*/ 9076065 h 9797500"/>
              <a:gd name="connsiteX1" fmla="*/ 3364158 w 7631762"/>
              <a:gd name="connsiteY1" fmla="*/ 0 h 9797500"/>
              <a:gd name="connsiteX2" fmla="*/ 4132076 w 7631762"/>
              <a:gd name="connsiteY2" fmla="*/ 12172 h 9797500"/>
              <a:gd name="connsiteX3" fmla="*/ 4218826 w 7631762"/>
              <a:gd name="connsiteY3" fmla="*/ 176421 h 9797500"/>
              <a:gd name="connsiteX4" fmla="*/ 7631762 w 7631762"/>
              <a:gd name="connsiteY4" fmla="*/ 9087085 h 9797500"/>
              <a:gd name="connsiteX5" fmla="*/ 0 w 7631762"/>
              <a:gd name="connsiteY5" fmla="*/ 9076065 h 9797500"/>
              <a:gd name="connsiteX0" fmla="*/ 0 w 7631762"/>
              <a:gd name="connsiteY0" fmla="*/ 9146589 h 9868024"/>
              <a:gd name="connsiteX1" fmla="*/ 3364158 w 7631762"/>
              <a:gd name="connsiteY1" fmla="*/ 70524 h 9868024"/>
              <a:gd name="connsiteX2" fmla="*/ 3888145 w 7631762"/>
              <a:gd name="connsiteY2" fmla="*/ 0 h 9868024"/>
              <a:gd name="connsiteX3" fmla="*/ 4218826 w 7631762"/>
              <a:gd name="connsiteY3" fmla="*/ 246945 h 9868024"/>
              <a:gd name="connsiteX4" fmla="*/ 7631762 w 7631762"/>
              <a:gd name="connsiteY4" fmla="*/ 9157609 h 9868024"/>
              <a:gd name="connsiteX5" fmla="*/ 0 w 7631762"/>
              <a:gd name="connsiteY5" fmla="*/ 9146589 h 9868024"/>
              <a:gd name="connsiteX0" fmla="*/ 0 w 7631762"/>
              <a:gd name="connsiteY0" fmla="*/ 9146589 h 9868024"/>
              <a:gd name="connsiteX1" fmla="*/ 3364158 w 7631762"/>
              <a:gd name="connsiteY1" fmla="*/ 70524 h 9868024"/>
              <a:gd name="connsiteX2" fmla="*/ 3888145 w 7631762"/>
              <a:gd name="connsiteY2" fmla="*/ 0 h 9868024"/>
              <a:gd name="connsiteX3" fmla="*/ 4096862 w 7631762"/>
              <a:gd name="connsiteY3" fmla="*/ 76039 h 9868024"/>
              <a:gd name="connsiteX4" fmla="*/ 7631762 w 7631762"/>
              <a:gd name="connsiteY4" fmla="*/ 9157609 h 9868024"/>
              <a:gd name="connsiteX5" fmla="*/ 0 w 7631762"/>
              <a:gd name="connsiteY5" fmla="*/ 9146589 h 9868024"/>
              <a:gd name="connsiteX0" fmla="*/ 0 w 7631762"/>
              <a:gd name="connsiteY0" fmla="*/ 9146589 h 9868024"/>
              <a:gd name="connsiteX1" fmla="*/ 3364158 w 7631762"/>
              <a:gd name="connsiteY1" fmla="*/ 70524 h 9868024"/>
              <a:gd name="connsiteX2" fmla="*/ 3888145 w 7631762"/>
              <a:gd name="connsiteY2" fmla="*/ 0 h 9868024"/>
              <a:gd name="connsiteX3" fmla="*/ 4096862 w 7631762"/>
              <a:gd name="connsiteY3" fmla="*/ 76039 h 9868024"/>
              <a:gd name="connsiteX4" fmla="*/ 7631762 w 7631762"/>
              <a:gd name="connsiteY4" fmla="*/ 9157609 h 9868024"/>
              <a:gd name="connsiteX5" fmla="*/ 0 w 7631762"/>
              <a:gd name="connsiteY5" fmla="*/ 9146589 h 9868024"/>
              <a:gd name="connsiteX0" fmla="*/ 0 w 7631762"/>
              <a:gd name="connsiteY0" fmla="*/ 9146589 h 9868024"/>
              <a:gd name="connsiteX1" fmla="*/ 3347897 w 7631762"/>
              <a:gd name="connsiteY1" fmla="*/ 70525 h 9868024"/>
              <a:gd name="connsiteX2" fmla="*/ 3888145 w 7631762"/>
              <a:gd name="connsiteY2" fmla="*/ 0 h 9868024"/>
              <a:gd name="connsiteX3" fmla="*/ 4096862 w 7631762"/>
              <a:gd name="connsiteY3" fmla="*/ 76039 h 9868024"/>
              <a:gd name="connsiteX4" fmla="*/ 7631762 w 7631762"/>
              <a:gd name="connsiteY4" fmla="*/ 9157609 h 9868024"/>
              <a:gd name="connsiteX5" fmla="*/ 0 w 7631762"/>
              <a:gd name="connsiteY5" fmla="*/ 9146589 h 9868024"/>
              <a:gd name="connsiteX0" fmla="*/ 0 w 7631762"/>
              <a:gd name="connsiteY0" fmla="*/ 9146589 h 9868024"/>
              <a:gd name="connsiteX1" fmla="*/ 3347897 w 7631762"/>
              <a:gd name="connsiteY1" fmla="*/ 70525 h 9868024"/>
              <a:gd name="connsiteX2" fmla="*/ 3888145 w 7631762"/>
              <a:gd name="connsiteY2" fmla="*/ 0 h 9868024"/>
              <a:gd name="connsiteX3" fmla="*/ 4096862 w 7631762"/>
              <a:gd name="connsiteY3" fmla="*/ 76039 h 9868024"/>
              <a:gd name="connsiteX4" fmla="*/ 7631762 w 7631762"/>
              <a:gd name="connsiteY4" fmla="*/ 9157609 h 9868024"/>
              <a:gd name="connsiteX5" fmla="*/ 0 w 7631762"/>
              <a:gd name="connsiteY5" fmla="*/ 9146589 h 9868024"/>
              <a:gd name="connsiteX0" fmla="*/ 0 w 7631762"/>
              <a:gd name="connsiteY0" fmla="*/ 9146589 h 9868024"/>
              <a:gd name="connsiteX1" fmla="*/ 3347897 w 7631762"/>
              <a:gd name="connsiteY1" fmla="*/ 70525 h 9868024"/>
              <a:gd name="connsiteX2" fmla="*/ 3888145 w 7631762"/>
              <a:gd name="connsiteY2" fmla="*/ 0 h 9868024"/>
              <a:gd name="connsiteX3" fmla="*/ 4096862 w 7631762"/>
              <a:gd name="connsiteY3" fmla="*/ 76039 h 9868024"/>
              <a:gd name="connsiteX4" fmla="*/ 7631762 w 7631762"/>
              <a:gd name="connsiteY4" fmla="*/ 9157609 h 9868024"/>
              <a:gd name="connsiteX5" fmla="*/ 0 w 7631762"/>
              <a:gd name="connsiteY5" fmla="*/ 9146589 h 9868024"/>
              <a:gd name="connsiteX0" fmla="*/ 0 w 7631762"/>
              <a:gd name="connsiteY0" fmla="*/ 9146589 h 9620448"/>
              <a:gd name="connsiteX1" fmla="*/ 3347897 w 7631762"/>
              <a:gd name="connsiteY1" fmla="*/ 70525 h 9620448"/>
              <a:gd name="connsiteX2" fmla="*/ 3888145 w 7631762"/>
              <a:gd name="connsiteY2" fmla="*/ 0 h 9620448"/>
              <a:gd name="connsiteX3" fmla="*/ 4096862 w 7631762"/>
              <a:gd name="connsiteY3" fmla="*/ 76039 h 9620448"/>
              <a:gd name="connsiteX4" fmla="*/ 7631762 w 7631762"/>
              <a:gd name="connsiteY4" fmla="*/ 9157609 h 9620448"/>
              <a:gd name="connsiteX5" fmla="*/ 0 w 7631762"/>
              <a:gd name="connsiteY5" fmla="*/ 9146589 h 9620448"/>
              <a:gd name="connsiteX0" fmla="*/ 0 w 7631762"/>
              <a:gd name="connsiteY0" fmla="*/ 9146589 h 9170499"/>
              <a:gd name="connsiteX1" fmla="*/ 3347897 w 7631762"/>
              <a:gd name="connsiteY1" fmla="*/ 70525 h 9170499"/>
              <a:gd name="connsiteX2" fmla="*/ 3888145 w 7631762"/>
              <a:gd name="connsiteY2" fmla="*/ 0 h 9170499"/>
              <a:gd name="connsiteX3" fmla="*/ 4096862 w 7631762"/>
              <a:gd name="connsiteY3" fmla="*/ 76039 h 9170499"/>
              <a:gd name="connsiteX4" fmla="*/ 7631762 w 7631762"/>
              <a:gd name="connsiteY4" fmla="*/ 9157609 h 9170499"/>
              <a:gd name="connsiteX5" fmla="*/ 0 w 7631762"/>
              <a:gd name="connsiteY5" fmla="*/ 9146589 h 9170499"/>
              <a:gd name="connsiteX0" fmla="*/ 0 w 7631762"/>
              <a:gd name="connsiteY0" fmla="*/ 9146589 h 9170499"/>
              <a:gd name="connsiteX1" fmla="*/ 3347897 w 7631762"/>
              <a:gd name="connsiteY1" fmla="*/ 70525 h 9170499"/>
              <a:gd name="connsiteX2" fmla="*/ 3888145 w 7631762"/>
              <a:gd name="connsiteY2" fmla="*/ 0 h 9170499"/>
              <a:gd name="connsiteX3" fmla="*/ 4096862 w 7631762"/>
              <a:gd name="connsiteY3" fmla="*/ 76039 h 9170499"/>
              <a:gd name="connsiteX4" fmla="*/ 7631762 w 7631762"/>
              <a:gd name="connsiteY4" fmla="*/ 9157609 h 9170499"/>
              <a:gd name="connsiteX5" fmla="*/ 0 w 7631762"/>
              <a:gd name="connsiteY5" fmla="*/ 9146589 h 9170499"/>
              <a:gd name="connsiteX0" fmla="*/ 0 w 7631762"/>
              <a:gd name="connsiteY0" fmla="*/ 9146589 h 9170499"/>
              <a:gd name="connsiteX1" fmla="*/ 3347897 w 7631762"/>
              <a:gd name="connsiteY1" fmla="*/ 70525 h 9170499"/>
              <a:gd name="connsiteX2" fmla="*/ 3888145 w 7631762"/>
              <a:gd name="connsiteY2" fmla="*/ 0 h 9170499"/>
              <a:gd name="connsiteX3" fmla="*/ 4096862 w 7631762"/>
              <a:gd name="connsiteY3" fmla="*/ 76039 h 9170499"/>
              <a:gd name="connsiteX4" fmla="*/ 7631762 w 7631762"/>
              <a:gd name="connsiteY4" fmla="*/ 9157609 h 9170499"/>
              <a:gd name="connsiteX5" fmla="*/ 0 w 7631762"/>
              <a:gd name="connsiteY5" fmla="*/ 9146589 h 9170499"/>
              <a:gd name="connsiteX0" fmla="*/ 0 w 7631762"/>
              <a:gd name="connsiteY0" fmla="*/ 9146589 h 9170499"/>
              <a:gd name="connsiteX1" fmla="*/ 3347897 w 7631762"/>
              <a:gd name="connsiteY1" fmla="*/ 70525 h 9170499"/>
              <a:gd name="connsiteX2" fmla="*/ 3888145 w 7631762"/>
              <a:gd name="connsiteY2" fmla="*/ 0 h 9170499"/>
              <a:gd name="connsiteX3" fmla="*/ 4096862 w 7631762"/>
              <a:gd name="connsiteY3" fmla="*/ 76039 h 9170499"/>
              <a:gd name="connsiteX4" fmla="*/ 7631762 w 7631762"/>
              <a:gd name="connsiteY4" fmla="*/ 9157609 h 9170499"/>
              <a:gd name="connsiteX5" fmla="*/ 0 w 7631762"/>
              <a:gd name="connsiteY5" fmla="*/ 9146589 h 9170499"/>
              <a:gd name="connsiteX0" fmla="*/ 0 w 7631762"/>
              <a:gd name="connsiteY0" fmla="*/ 9146589 h 9170499"/>
              <a:gd name="connsiteX1" fmla="*/ 3347897 w 7631762"/>
              <a:gd name="connsiteY1" fmla="*/ 70525 h 9170499"/>
              <a:gd name="connsiteX2" fmla="*/ 3888145 w 7631762"/>
              <a:gd name="connsiteY2" fmla="*/ 0 h 9170499"/>
              <a:gd name="connsiteX3" fmla="*/ 4096862 w 7631762"/>
              <a:gd name="connsiteY3" fmla="*/ 76039 h 9170499"/>
              <a:gd name="connsiteX4" fmla="*/ 7631762 w 7631762"/>
              <a:gd name="connsiteY4" fmla="*/ 9157609 h 9170499"/>
              <a:gd name="connsiteX5" fmla="*/ 0 w 7631762"/>
              <a:gd name="connsiteY5" fmla="*/ 9146589 h 9170499"/>
              <a:gd name="connsiteX0" fmla="*/ 0 w 7631762"/>
              <a:gd name="connsiteY0" fmla="*/ 9146589 h 9170499"/>
              <a:gd name="connsiteX1" fmla="*/ 3347897 w 7631762"/>
              <a:gd name="connsiteY1" fmla="*/ 70525 h 9170499"/>
              <a:gd name="connsiteX2" fmla="*/ 3888145 w 7631762"/>
              <a:gd name="connsiteY2" fmla="*/ 0 h 9170499"/>
              <a:gd name="connsiteX3" fmla="*/ 4096862 w 7631762"/>
              <a:gd name="connsiteY3" fmla="*/ 76039 h 9170499"/>
              <a:gd name="connsiteX4" fmla="*/ 7631762 w 7631762"/>
              <a:gd name="connsiteY4" fmla="*/ 9157609 h 9170499"/>
              <a:gd name="connsiteX5" fmla="*/ 0 w 7631762"/>
              <a:gd name="connsiteY5" fmla="*/ 9146589 h 9170499"/>
              <a:gd name="connsiteX0" fmla="*/ 0 w 7796655"/>
              <a:gd name="connsiteY0" fmla="*/ 9146589 h 9170503"/>
              <a:gd name="connsiteX1" fmla="*/ 3347897 w 7796655"/>
              <a:gd name="connsiteY1" fmla="*/ 70525 h 9170503"/>
              <a:gd name="connsiteX2" fmla="*/ 3888145 w 7796655"/>
              <a:gd name="connsiteY2" fmla="*/ 0 h 9170503"/>
              <a:gd name="connsiteX3" fmla="*/ 4096862 w 7796655"/>
              <a:gd name="connsiteY3" fmla="*/ 76039 h 9170503"/>
              <a:gd name="connsiteX4" fmla="*/ 7796656 w 7796655"/>
              <a:gd name="connsiteY4" fmla="*/ 9157612 h 9170503"/>
              <a:gd name="connsiteX5" fmla="*/ 0 w 7796655"/>
              <a:gd name="connsiteY5" fmla="*/ 9146589 h 9170503"/>
              <a:gd name="connsiteX0" fmla="*/ 0 w 7765248"/>
              <a:gd name="connsiteY0" fmla="*/ 9146589 h 9170502"/>
              <a:gd name="connsiteX1" fmla="*/ 3347897 w 7765248"/>
              <a:gd name="connsiteY1" fmla="*/ 70525 h 9170502"/>
              <a:gd name="connsiteX2" fmla="*/ 3888145 w 7765248"/>
              <a:gd name="connsiteY2" fmla="*/ 0 h 9170502"/>
              <a:gd name="connsiteX3" fmla="*/ 4096862 w 7765248"/>
              <a:gd name="connsiteY3" fmla="*/ 76039 h 9170502"/>
              <a:gd name="connsiteX4" fmla="*/ 7765248 w 7765248"/>
              <a:gd name="connsiteY4" fmla="*/ 9157612 h 9170502"/>
              <a:gd name="connsiteX5" fmla="*/ 0 w 7765248"/>
              <a:gd name="connsiteY5" fmla="*/ 9146589 h 9170502"/>
              <a:gd name="connsiteX0" fmla="*/ 0 w 7765248"/>
              <a:gd name="connsiteY0" fmla="*/ 9146589 h 9170502"/>
              <a:gd name="connsiteX1" fmla="*/ 3347897 w 7765248"/>
              <a:gd name="connsiteY1" fmla="*/ 70525 h 9170502"/>
              <a:gd name="connsiteX2" fmla="*/ 3888145 w 7765248"/>
              <a:gd name="connsiteY2" fmla="*/ 0 h 9170502"/>
              <a:gd name="connsiteX3" fmla="*/ 4096862 w 7765248"/>
              <a:gd name="connsiteY3" fmla="*/ 76039 h 9170502"/>
              <a:gd name="connsiteX4" fmla="*/ 7765248 w 7765248"/>
              <a:gd name="connsiteY4" fmla="*/ 9157612 h 9170502"/>
              <a:gd name="connsiteX5" fmla="*/ 0 w 7765248"/>
              <a:gd name="connsiteY5" fmla="*/ 9146589 h 9170502"/>
              <a:gd name="connsiteX0" fmla="*/ 0 w 7765248"/>
              <a:gd name="connsiteY0" fmla="*/ 9146589 h 9170502"/>
              <a:gd name="connsiteX1" fmla="*/ 3347897 w 7765248"/>
              <a:gd name="connsiteY1" fmla="*/ 70525 h 9170502"/>
              <a:gd name="connsiteX2" fmla="*/ 3888145 w 7765248"/>
              <a:gd name="connsiteY2" fmla="*/ 0 h 9170502"/>
              <a:gd name="connsiteX3" fmla="*/ 4096862 w 7765248"/>
              <a:gd name="connsiteY3" fmla="*/ 76039 h 9170502"/>
              <a:gd name="connsiteX4" fmla="*/ 7765248 w 7765248"/>
              <a:gd name="connsiteY4" fmla="*/ 9157612 h 9170502"/>
              <a:gd name="connsiteX5" fmla="*/ 0 w 7765248"/>
              <a:gd name="connsiteY5" fmla="*/ 9146589 h 9170502"/>
              <a:gd name="connsiteX0" fmla="*/ 0 w 7765248"/>
              <a:gd name="connsiteY0" fmla="*/ 9146589 h 9170502"/>
              <a:gd name="connsiteX1" fmla="*/ 3347897 w 7765248"/>
              <a:gd name="connsiteY1" fmla="*/ 70525 h 9170502"/>
              <a:gd name="connsiteX2" fmla="*/ 3888145 w 7765248"/>
              <a:gd name="connsiteY2" fmla="*/ 0 h 9170502"/>
              <a:gd name="connsiteX3" fmla="*/ 4096862 w 7765248"/>
              <a:gd name="connsiteY3" fmla="*/ 76039 h 9170502"/>
              <a:gd name="connsiteX4" fmla="*/ 7765248 w 7765248"/>
              <a:gd name="connsiteY4" fmla="*/ 9157612 h 9170502"/>
              <a:gd name="connsiteX5" fmla="*/ 0 w 7765248"/>
              <a:gd name="connsiteY5" fmla="*/ 9146589 h 9170502"/>
              <a:gd name="connsiteX0" fmla="*/ 0 w 7796655"/>
              <a:gd name="connsiteY0" fmla="*/ 9146589 h 9170502"/>
              <a:gd name="connsiteX1" fmla="*/ 3347897 w 7796655"/>
              <a:gd name="connsiteY1" fmla="*/ 70525 h 9170502"/>
              <a:gd name="connsiteX2" fmla="*/ 3888145 w 7796655"/>
              <a:gd name="connsiteY2" fmla="*/ 0 h 9170502"/>
              <a:gd name="connsiteX3" fmla="*/ 4096862 w 7796655"/>
              <a:gd name="connsiteY3" fmla="*/ 76039 h 9170502"/>
              <a:gd name="connsiteX4" fmla="*/ 7796655 w 7796655"/>
              <a:gd name="connsiteY4" fmla="*/ 9157612 h 9170502"/>
              <a:gd name="connsiteX5" fmla="*/ 0 w 7796655"/>
              <a:gd name="connsiteY5" fmla="*/ 9146589 h 917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6655" h="9170502">
                <a:moveTo>
                  <a:pt x="0" y="9146589"/>
                </a:moveTo>
                <a:cubicBezTo>
                  <a:pt x="973443" y="6299691"/>
                  <a:pt x="1990743" y="3517484"/>
                  <a:pt x="3347897" y="70525"/>
                </a:cubicBezTo>
                <a:lnTo>
                  <a:pt x="3888145" y="0"/>
                </a:lnTo>
                <a:lnTo>
                  <a:pt x="4096862" y="76039"/>
                </a:lnTo>
                <a:cubicBezTo>
                  <a:pt x="5481148" y="3117935"/>
                  <a:pt x="6682208" y="6144253"/>
                  <a:pt x="7796655" y="9157612"/>
                </a:cubicBezTo>
                <a:cubicBezTo>
                  <a:pt x="5324250" y="9189853"/>
                  <a:pt x="1302690" y="9152130"/>
                  <a:pt x="0" y="9146589"/>
                </a:cubicBezTo>
                <a:close/>
              </a:path>
            </a:pathLst>
          </a:custGeom>
          <a:gradFill>
            <a:gsLst>
              <a:gs pos="32000">
                <a:schemeClr val="bg1">
                  <a:lumMod val="95000"/>
                  <a:alpha val="46000"/>
                </a:schemeClr>
              </a:gs>
              <a:gs pos="100000">
                <a:schemeClr val="bg1">
                  <a:lumMod val="85000"/>
                </a:schemeClr>
              </a:gs>
            </a:gsLst>
            <a:lin ang="5400000" scaled="0"/>
          </a:gradFill>
        </p:spPr>
        <p:txBody>
          <a:bodyPr wrap="square" anchor="ctr">
            <a:noAutofit/>
          </a:bodyPr>
          <a:lstStyle/>
          <a:p>
            <a:pPr algn="ctr" fontAlgn="auto">
              <a:spcBef>
                <a:spcPts val="0"/>
              </a:spcBef>
              <a:spcAft>
                <a:spcPts val="0"/>
              </a:spcAft>
            </a:pPr>
            <a:endParaRPr lang="en-IN" sz="2400" kern="0" dirty="0">
              <a:solidFill>
                <a:srgbClr val="FFFFFF"/>
              </a:solidFill>
              <a:latin typeface="Arial"/>
              <a:cs typeface="Arial"/>
              <a:sym typeface="Arial"/>
            </a:endParaRPr>
          </a:p>
        </p:txBody>
      </p:sp>
      <p:grpSp>
        <p:nvGrpSpPr>
          <p:cNvPr id="61" name="Group 60"/>
          <p:cNvGrpSpPr>
            <a:grpSpLocks noChangeAspect="1"/>
          </p:cNvGrpSpPr>
          <p:nvPr/>
        </p:nvGrpSpPr>
        <p:grpSpPr>
          <a:xfrm>
            <a:off x="3893660" y="1645539"/>
            <a:ext cx="1399034" cy="1399032"/>
            <a:chOff x="585560" y="1537966"/>
            <a:chExt cx="1865376" cy="1865376"/>
          </a:xfrm>
        </p:grpSpPr>
        <p:sp>
          <p:nvSpPr>
            <p:cNvPr id="63" name="Oval 62"/>
            <p:cNvSpPr>
              <a:spLocks noChangeAspect="1"/>
            </p:cNvSpPr>
            <p:nvPr/>
          </p:nvSpPr>
          <p:spPr>
            <a:xfrm>
              <a:off x="660927" y="1613333"/>
              <a:ext cx="1736126" cy="1736127"/>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9525">
              <a:no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62" fontAlgn="auto">
                <a:spcBef>
                  <a:spcPts val="0"/>
                </a:spcBef>
                <a:spcAft>
                  <a:spcPts val="0"/>
                </a:spcAft>
              </a:pPr>
              <a:endParaRPr lang="en-US" sz="2000" b="1" dirty="0">
                <a:solidFill>
                  <a:srgbClr val="FFFFFF">
                    <a:lumMod val="95000"/>
                  </a:srgbClr>
                </a:solidFill>
              </a:endParaRPr>
            </a:p>
          </p:txBody>
        </p:sp>
        <p:sp>
          <p:nvSpPr>
            <p:cNvPr id="64" name="Oval 63"/>
            <p:cNvSpPr>
              <a:spLocks noChangeAspect="1"/>
            </p:cNvSpPr>
            <p:nvPr/>
          </p:nvSpPr>
          <p:spPr>
            <a:xfrm>
              <a:off x="585560" y="1537966"/>
              <a:ext cx="1865376" cy="1865376"/>
            </a:xfrm>
            <a:prstGeom prst="ellipse">
              <a:avLst/>
            </a:prstGeom>
            <a:noFill/>
            <a:ln w="57150">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62" fontAlgn="auto">
                <a:spcBef>
                  <a:spcPts val="0"/>
                </a:spcBef>
                <a:spcAft>
                  <a:spcPts val="0"/>
                </a:spcAft>
              </a:pPr>
              <a:endParaRPr lang="en-US" sz="2000" b="1" dirty="0">
                <a:solidFill>
                  <a:srgbClr val="FFFFFF">
                    <a:lumMod val="95000"/>
                  </a:srgbClr>
                </a:solidFill>
              </a:endParaRPr>
            </a:p>
          </p:txBody>
        </p:sp>
      </p:grpSp>
      <p:sp>
        <p:nvSpPr>
          <p:cNvPr id="3" name="Title 2"/>
          <p:cNvSpPr>
            <a:spLocks noGrp="1"/>
          </p:cNvSpPr>
          <p:nvPr>
            <p:ph type="title"/>
          </p:nvPr>
        </p:nvSpPr>
        <p:spPr/>
        <p:txBody>
          <a:bodyPr/>
          <a:lstStyle/>
          <a:p>
            <a:r>
              <a:rPr lang="en-US" dirty="0"/>
              <a:t>See Once, </a:t>
            </a:r>
            <a:r>
              <a:rPr lang="en-US" dirty="0" smtClean="0"/>
              <a:t>Enforce Everywhere</a:t>
            </a:r>
            <a:endParaRPr lang="en-US" dirty="0"/>
          </a:p>
        </p:txBody>
      </p:sp>
      <p:cxnSp>
        <p:nvCxnSpPr>
          <p:cNvPr id="247" name="Straight Arrow Connector 246"/>
          <p:cNvCxnSpPr/>
          <p:nvPr/>
        </p:nvCxnSpPr>
        <p:spPr>
          <a:xfrm flipH="1">
            <a:off x="3174995" y="2664074"/>
            <a:ext cx="662216" cy="843281"/>
          </a:xfrm>
          <a:prstGeom prst="straightConnector1">
            <a:avLst/>
          </a:prstGeom>
          <a:ln w="101600">
            <a:solidFill>
              <a:schemeClr val="accent1">
                <a:lumMod val="50000"/>
              </a:schemeClr>
            </a:solidFill>
            <a:headEnd type="triangle"/>
            <a:tailEnd type="none"/>
          </a:ln>
          <a:effectLst>
            <a:outerShdw blurRad="50800" dist="50800" dir="2700000" algn="tl" rotWithShape="0">
              <a:prstClr val="black">
                <a:alpha val="33000"/>
              </a:prstClr>
            </a:outerShdw>
          </a:effectLst>
        </p:spPr>
        <p:style>
          <a:lnRef idx="1">
            <a:schemeClr val="accent1"/>
          </a:lnRef>
          <a:fillRef idx="0">
            <a:schemeClr val="accent1"/>
          </a:fillRef>
          <a:effectRef idx="0">
            <a:schemeClr val="accent1"/>
          </a:effectRef>
          <a:fontRef idx="minor">
            <a:schemeClr val="tx1"/>
          </a:fontRef>
        </p:style>
      </p:cxnSp>
      <p:cxnSp>
        <p:nvCxnSpPr>
          <p:cNvPr id="248" name="Straight Arrow Connector 247"/>
          <p:cNvCxnSpPr/>
          <p:nvPr/>
        </p:nvCxnSpPr>
        <p:spPr>
          <a:xfrm>
            <a:off x="5252281" y="2784442"/>
            <a:ext cx="641409" cy="741712"/>
          </a:xfrm>
          <a:prstGeom prst="straightConnector1">
            <a:avLst/>
          </a:prstGeom>
          <a:ln w="101600">
            <a:solidFill>
              <a:schemeClr val="accent1">
                <a:lumMod val="50000"/>
              </a:schemeClr>
            </a:solidFill>
            <a:headEnd type="none"/>
            <a:tailEnd type="triangle"/>
          </a:ln>
          <a:effectLst>
            <a:outerShdw blurRad="50800" dist="50800" dir="2700000" algn="tl" rotWithShape="0">
              <a:prstClr val="black">
                <a:alpha val="33000"/>
              </a:prstClr>
            </a:outerShdw>
          </a:effectLst>
        </p:spPr>
        <p:style>
          <a:lnRef idx="1">
            <a:schemeClr val="accent1"/>
          </a:lnRef>
          <a:fillRef idx="0">
            <a:schemeClr val="accent1"/>
          </a:fillRef>
          <a:effectRef idx="0">
            <a:schemeClr val="accent1"/>
          </a:effectRef>
          <a:fontRef idx="minor">
            <a:schemeClr val="tx1"/>
          </a:fontRef>
        </p:style>
      </p:cxnSp>
      <p:grpSp>
        <p:nvGrpSpPr>
          <p:cNvPr id="250" name="Group 249"/>
          <p:cNvGrpSpPr/>
          <p:nvPr/>
        </p:nvGrpSpPr>
        <p:grpSpPr>
          <a:xfrm>
            <a:off x="2519148" y="2197234"/>
            <a:ext cx="376690" cy="448058"/>
            <a:chOff x="5955690" y="857250"/>
            <a:chExt cx="376690" cy="448058"/>
          </a:xfrm>
          <a:solidFill>
            <a:schemeClr val="bg1"/>
          </a:solidFill>
        </p:grpSpPr>
        <p:sp>
          <p:nvSpPr>
            <p:cNvPr id="252" name="Freeform 15"/>
            <p:cNvSpPr>
              <a:spLocks noChangeAspect="1" noEditPoints="1"/>
            </p:cNvSpPr>
            <p:nvPr/>
          </p:nvSpPr>
          <p:spPr bwMode="auto">
            <a:xfrm>
              <a:off x="5994084" y="911947"/>
              <a:ext cx="299542" cy="349899"/>
            </a:xfrm>
            <a:custGeom>
              <a:avLst/>
              <a:gdLst/>
              <a:ahLst/>
              <a:cxnLst>
                <a:cxn ang="0">
                  <a:pos x="321" y="59"/>
                </a:cxn>
                <a:cxn ang="0">
                  <a:pos x="176" y="0"/>
                </a:cxn>
                <a:cxn ang="0">
                  <a:pos x="31" y="59"/>
                </a:cxn>
                <a:cxn ang="0">
                  <a:pos x="0" y="57"/>
                </a:cxn>
                <a:cxn ang="0">
                  <a:pos x="5" y="92"/>
                </a:cxn>
                <a:cxn ang="0">
                  <a:pos x="24" y="199"/>
                </a:cxn>
                <a:cxn ang="0">
                  <a:pos x="81" y="328"/>
                </a:cxn>
                <a:cxn ang="0">
                  <a:pos x="130" y="239"/>
                </a:cxn>
                <a:cxn ang="0">
                  <a:pos x="139" y="244"/>
                </a:cxn>
                <a:cxn ang="0">
                  <a:pos x="150" y="223"/>
                </a:cxn>
                <a:cxn ang="0">
                  <a:pos x="126" y="115"/>
                </a:cxn>
                <a:cxn ang="0">
                  <a:pos x="241" y="80"/>
                </a:cxn>
                <a:cxn ang="0">
                  <a:pos x="276" y="195"/>
                </a:cxn>
                <a:cxn ang="0">
                  <a:pos x="174" y="236"/>
                </a:cxn>
                <a:cxn ang="0">
                  <a:pos x="162" y="257"/>
                </a:cxn>
                <a:cxn ang="0">
                  <a:pos x="172" y="263"/>
                </a:cxn>
                <a:cxn ang="0">
                  <a:pos x="116" y="368"/>
                </a:cxn>
                <a:cxn ang="0">
                  <a:pos x="176" y="409"/>
                </a:cxn>
                <a:cxn ang="0">
                  <a:pos x="348" y="92"/>
                </a:cxn>
                <a:cxn ang="0">
                  <a:pos x="350" y="57"/>
                </a:cxn>
                <a:cxn ang="0">
                  <a:pos x="321" y="59"/>
                </a:cxn>
                <a:cxn ang="0">
                  <a:pos x="255" y="184"/>
                </a:cxn>
                <a:cxn ang="0">
                  <a:pos x="229" y="102"/>
                </a:cxn>
                <a:cxn ang="0">
                  <a:pos x="148" y="127"/>
                </a:cxn>
                <a:cxn ang="0">
                  <a:pos x="172" y="209"/>
                </a:cxn>
                <a:cxn ang="0">
                  <a:pos x="255" y="184"/>
                </a:cxn>
                <a:cxn ang="0">
                  <a:pos x="158" y="149"/>
                </a:cxn>
                <a:cxn ang="0">
                  <a:pos x="158" y="149"/>
                </a:cxn>
                <a:cxn ang="0">
                  <a:pos x="153" y="153"/>
                </a:cxn>
                <a:cxn ang="0">
                  <a:pos x="149" y="147"/>
                </a:cxn>
                <a:cxn ang="0">
                  <a:pos x="217" y="106"/>
                </a:cxn>
                <a:cxn ang="0">
                  <a:pos x="220" y="111"/>
                </a:cxn>
                <a:cxn ang="0">
                  <a:pos x="216" y="114"/>
                </a:cxn>
                <a:cxn ang="0">
                  <a:pos x="158" y="149"/>
                </a:cxn>
              </a:cxnLst>
              <a:rect l="0" t="0" r="r" b="b"/>
              <a:pathLst>
                <a:path w="350" h="409">
                  <a:moveTo>
                    <a:pt x="321" y="59"/>
                  </a:moveTo>
                  <a:cubicBezTo>
                    <a:pt x="238" y="59"/>
                    <a:pt x="194" y="19"/>
                    <a:pt x="176" y="0"/>
                  </a:cubicBezTo>
                  <a:cubicBezTo>
                    <a:pt x="159" y="19"/>
                    <a:pt x="112" y="59"/>
                    <a:pt x="31" y="59"/>
                  </a:cubicBezTo>
                  <a:cubicBezTo>
                    <a:pt x="20" y="59"/>
                    <a:pt x="11" y="57"/>
                    <a:pt x="0" y="57"/>
                  </a:cubicBezTo>
                  <a:cubicBezTo>
                    <a:pt x="2" y="65"/>
                    <a:pt x="2" y="76"/>
                    <a:pt x="5" y="92"/>
                  </a:cubicBezTo>
                  <a:cubicBezTo>
                    <a:pt x="7" y="120"/>
                    <a:pt x="11" y="159"/>
                    <a:pt x="24" y="199"/>
                  </a:cubicBezTo>
                  <a:cubicBezTo>
                    <a:pt x="36" y="243"/>
                    <a:pt x="54" y="289"/>
                    <a:pt x="81" y="328"/>
                  </a:cubicBezTo>
                  <a:cubicBezTo>
                    <a:pt x="85" y="321"/>
                    <a:pt x="96" y="300"/>
                    <a:pt x="130" y="239"/>
                  </a:cubicBezTo>
                  <a:cubicBezTo>
                    <a:pt x="139" y="244"/>
                    <a:pt x="139" y="244"/>
                    <a:pt x="139" y="244"/>
                  </a:cubicBezTo>
                  <a:cubicBezTo>
                    <a:pt x="150" y="223"/>
                    <a:pt x="150" y="223"/>
                    <a:pt x="150" y="223"/>
                  </a:cubicBezTo>
                  <a:cubicBezTo>
                    <a:pt x="117" y="199"/>
                    <a:pt x="106" y="153"/>
                    <a:pt x="126" y="115"/>
                  </a:cubicBezTo>
                  <a:cubicBezTo>
                    <a:pt x="148" y="74"/>
                    <a:pt x="199" y="58"/>
                    <a:pt x="241" y="80"/>
                  </a:cubicBezTo>
                  <a:cubicBezTo>
                    <a:pt x="282" y="102"/>
                    <a:pt x="298" y="154"/>
                    <a:pt x="276" y="195"/>
                  </a:cubicBezTo>
                  <a:cubicBezTo>
                    <a:pt x="256" y="232"/>
                    <a:pt x="213" y="248"/>
                    <a:pt x="174" y="236"/>
                  </a:cubicBezTo>
                  <a:cubicBezTo>
                    <a:pt x="162" y="257"/>
                    <a:pt x="162" y="257"/>
                    <a:pt x="162" y="257"/>
                  </a:cubicBezTo>
                  <a:cubicBezTo>
                    <a:pt x="172" y="263"/>
                    <a:pt x="172" y="263"/>
                    <a:pt x="172" y="263"/>
                  </a:cubicBezTo>
                  <a:cubicBezTo>
                    <a:pt x="172" y="263"/>
                    <a:pt x="163" y="281"/>
                    <a:pt x="116" y="368"/>
                  </a:cubicBezTo>
                  <a:cubicBezTo>
                    <a:pt x="133" y="384"/>
                    <a:pt x="153" y="398"/>
                    <a:pt x="176" y="409"/>
                  </a:cubicBezTo>
                  <a:cubicBezTo>
                    <a:pt x="304" y="350"/>
                    <a:pt x="339" y="177"/>
                    <a:pt x="348" y="92"/>
                  </a:cubicBezTo>
                  <a:cubicBezTo>
                    <a:pt x="350" y="76"/>
                    <a:pt x="350" y="65"/>
                    <a:pt x="350" y="57"/>
                  </a:cubicBezTo>
                  <a:cubicBezTo>
                    <a:pt x="339" y="57"/>
                    <a:pt x="330" y="59"/>
                    <a:pt x="321" y="59"/>
                  </a:cubicBezTo>
                  <a:close/>
                  <a:moveTo>
                    <a:pt x="255" y="184"/>
                  </a:moveTo>
                  <a:cubicBezTo>
                    <a:pt x="270" y="155"/>
                    <a:pt x="259" y="118"/>
                    <a:pt x="229" y="102"/>
                  </a:cubicBezTo>
                  <a:cubicBezTo>
                    <a:pt x="200" y="87"/>
                    <a:pt x="163" y="98"/>
                    <a:pt x="148" y="127"/>
                  </a:cubicBezTo>
                  <a:cubicBezTo>
                    <a:pt x="132" y="156"/>
                    <a:pt x="143" y="194"/>
                    <a:pt x="172" y="209"/>
                  </a:cubicBezTo>
                  <a:cubicBezTo>
                    <a:pt x="202" y="225"/>
                    <a:pt x="239" y="213"/>
                    <a:pt x="255" y="184"/>
                  </a:cubicBezTo>
                  <a:close/>
                  <a:moveTo>
                    <a:pt x="158" y="149"/>
                  </a:moveTo>
                  <a:cubicBezTo>
                    <a:pt x="158" y="149"/>
                    <a:pt x="158" y="149"/>
                    <a:pt x="158" y="149"/>
                  </a:cubicBezTo>
                  <a:cubicBezTo>
                    <a:pt x="157" y="151"/>
                    <a:pt x="155" y="153"/>
                    <a:pt x="153" y="153"/>
                  </a:cubicBezTo>
                  <a:cubicBezTo>
                    <a:pt x="150" y="152"/>
                    <a:pt x="149" y="149"/>
                    <a:pt x="149" y="147"/>
                  </a:cubicBezTo>
                  <a:cubicBezTo>
                    <a:pt x="158" y="119"/>
                    <a:pt x="187" y="100"/>
                    <a:pt x="217" y="106"/>
                  </a:cubicBezTo>
                  <a:cubicBezTo>
                    <a:pt x="220" y="106"/>
                    <a:pt x="221" y="109"/>
                    <a:pt x="220" y="111"/>
                  </a:cubicBezTo>
                  <a:cubicBezTo>
                    <a:pt x="220" y="114"/>
                    <a:pt x="218" y="115"/>
                    <a:pt x="216" y="114"/>
                  </a:cubicBezTo>
                  <a:cubicBezTo>
                    <a:pt x="190" y="111"/>
                    <a:pt x="166" y="125"/>
                    <a:pt x="158" y="149"/>
                  </a:cubicBezTo>
                  <a:close/>
                </a:path>
              </a:pathLst>
            </a:custGeom>
            <a:grpFill/>
            <a:ln>
              <a:noFill/>
            </a:ln>
            <a:effectLst/>
          </p:spPr>
          <p:txBody>
            <a:bodyPr vert="horz" wrap="square" lIns="91440" tIns="45720" rIns="91440" bIns="45720" numCol="1" anchor="t" anchorCtr="0" compatLnSpc="1">
              <a:prstTxWarp prst="textNoShape">
                <a:avLst/>
              </a:prstTxWarp>
            </a:bodyPr>
            <a:lstStyle/>
            <a:p>
              <a:endParaRPr lang="en-US" dirty="0">
                <a:solidFill>
                  <a:srgbClr val="0096D6"/>
                </a:solidFill>
                <a:latin typeface="CiscoSansTT Light"/>
                <a:cs typeface="CiscoSansTT Light"/>
              </a:endParaRPr>
            </a:p>
          </p:txBody>
        </p:sp>
        <p:sp>
          <p:nvSpPr>
            <p:cNvPr id="253" name="Freeform 14"/>
            <p:cNvSpPr>
              <a:spLocks noChangeAspect="1" noEditPoints="1"/>
            </p:cNvSpPr>
            <p:nvPr/>
          </p:nvSpPr>
          <p:spPr bwMode="auto">
            <a:xfrm>
              <a:off x="5955690" y="857250"/>
              <a:ext cx="376690" cy="448058"/>
            </a:xfrm>
            <a:custGeom>
              <a:avLst/>
              <a:gdLst/>
              <a:ahLst/>
              <a:cxnLst>
                <a:cxn ang="0">
                  <a:pos x="428" y="77"/>
                </a:cxn>
                <a:cxn ang="0">
                  <a:pos x="385" y="79"/>
                </a:cxn>
                <a:cxn ang="0">
                  <a:pos x="264" y="47"/>
                </a:cxn>
                <a:cxn ang="0">
                  <a:pos x="239" y="25"/>
                </a:cxn>
                <a:cxn ang="0">
                  <a:pos x="231" y="18"/>
                </a:cxn>
                <a:cxn ang="0">
                  <a:pos x="231" y="15"/>
                </a:cxn>
                <a:cxn ang="0">
                  <a:pos x="221" y="0"/>
                </a:cxn>
                <a:cxn ang="0">
                  <a:pos x="212" y="15"/>
                </a:cxn>
                <a:cxn ang="0">
                  <a:pos x="209" y="18"/>
                </a:cxn>
                <a:cxn ang="0">
                  <a:pos x="57" y="79"/>
                </a:cxn>
                <a:cxn ang="0">
                  <a:pos x="13" y="77"/>
                </a:cxn>
                <a:cxn ang="0">
                  <a:pos x="0" y="77"/>
                </a:cxn>
                <a:cxn ang="0">
                  <a:pos x="0" y="89"/>
                </a:cxn>
                <a:cxn ang="0">
                  <a:pos x="28" y="269"/>
                </a:cxn>
                <a:cxn ang="0">
                  <a:pos x="217" y="524"/>
                </a:cxn>
                <a:cxn ang="0">
                  <a:pos x="221" y="524"/>
                </a:cxn>
                <a:cxn ang="0">
                  <a:pos x="226" y="524"/>
                </a:cxn>
                <a:cxn ang="0">
                  <a:pos x="415" y="269"/>
                </a:cxn>
                <a:cxn ang="0">
                  <a:pos x="440" y="89"/>
                </a:cxn>
                <a:cxn ang="0">
                  <a:pos x="440" y="77"/>
                </a:cxn>
                <a:cxn ang="0">
                  <a:pos x="428" y="77"/>
                </a:cxn>
                <a:cxn ang="0">
                  <a:pos x="415" y="141"/>
                </a:cxn>
                <a:cxn ang="0">
                  <a:pos x="221" y="499"/>
                </a:cxn>
                <a:cxn ang="0">
                  <a:pos x="50" y="262"/>
                </a:cxn>
                <a:cxn ang="0">
                  <a:pos x="28" y="141"/>
                </a:cxn>
                <a:cxn ang="0">
                  <a:pos x="23" y="101"/>
                </a:cxn>
                <a:cxn ang="0">
                  <a:pos x="57" y="104"/>
                </a:cxn>
                <a:cxn ang="0">
                  <a:pos x="221" y="37"/>
                </a:cxn>
                <a:cxn ang="0">
                  <a:pos x="385" y="104"/>
                </a:cxn>
                <a:cxn ang="0">
                  <a:pos x="418" y="101"/>
                </a:cxn>
                <a:cxn ang="0">
                  <a:pos x="415" y="141"/>
                </a:cxn>
              </a:cxnLst>
              <a:rect l="0" t="0" r="r" b="b"/>
              <a:pathLst>
                <a:path w="440" h="524">
                  <a:moveTo>
                    <a:pt x="428" y="77"/>
                  </a:moveTo>
                  <a:cubicBezTo>
                    <a:pt x="413" y="79"/>
                    <a:pt x="398" y="79"/>
                    <a:pt x="385" y="79"/>
                  </a:cubicBezTo>
                  <a:cubicBezTo>
                    <a:pt x="328" y="79"/>
                    <a:pt x="289" y="65"/>
                    <a:pt x="264" y="47"/>
                  </a:cubicBezTo>
                  <a:cubicBezTo>
                    <a:pt x="251" y="37"/>
                    <a:pt x="244" y="30"/>
                    <a:pt x="239" y="25"/>
                  </a:cubicBezTo>
                  <a:cubicBezTo>
                    <a:pt x="236" y="20"/>
                    <a:pt x="234" y="18"/>
                    <a:pt x="231" y="18"/>
                  </a:cubicBezTo>
                  <a:cubicBezTo>
                    <a:pt x="231" y="15"/>
                    <a:pt x="231" y="15"/>
                    <a:pt x="231" y="15"/>
                  </a:cubicBezTo>
                  <a:cubicBezTo>
                    <a:pt x="221" y="0"/>
                    <a:pt x="221" y="0"/>
                    <a:pt x="221" y="0"/>
                  </a:cubicBezTo>
                  <a:cubicBezTo>
                    <a:pt x="212" y="15"/>
                    <a:pt x="212" y="15"/>
                    <a:pt x="212" y="15"/>
                  </a:cubicBezTo>
                  <a:cubicBezTo>
                    <a:pt x="212" y="15"/>
                    <a:pt x="212" y="15"/>
                    <a:pt x="209" y="18"/>
                  </a:cubicBezTo>
                  <a:cubicBezTo>
                    <a:pt x="199" y="27"/>
                    <a:pt x="157" y="79"/>
                    <a:pt x="57" y="79"/>
                  </a:cubicBezTo>
                  <a:cubicBezTo>
                    <a:pt x="43" y="79"/>
                    <a:pt x="28" y="79"/>
                    <a:pt x="13" y="77"/>
                  </a:cubicBezTo>
                  <a:cubicBezTo>
                    <a:pt x="0" y="77"/>
                    <a:pt x="0" y="77"/>
                    <a:pt x="0" y="77"/>
                  </a:cubicBezTo>
                  <a:cubicBezTo>
                    <a:pt x="0" y="89"/>
                    <a:pt x="0" y="89"/>
                    <a:pt x="0" y="89"/>
                  </a:cubicBezTo>
                  <a:cubicBezTo>
                    <a:pt x="0" y="89"/>
                    <a:pt x="0" y="173"/>
                    <a:pt x="28" y="269"/>
                  </a:cubicBezTo>
                  <a:cubicBezTo>
                    <a:pt x="52" y="366"/>
                    <a:pt x="107" y="474"/>
                    <a:pt x="217" y="524"/>
                  </a:cubicBezTo>
                  <a:cubicBezTo>
                    <a:pt x="221" y="524"/>
                    <a:pt x="221" y="524"/>
                    <a:pt x="221" y="524"/>
                  </a:cubicBezTo>
                  <a:cubicBezTo>
                    <a:pt x="226" y="524"/>
                    <a:pt x="226" y="524"/>
                    <a:pt x="226" y="524"/>
                  </a:cubicBezTo>
                  <a:cubicBezTo>
                    <a:pt x="336" y="474"/>
                    <a:pt x="388" y="366"/>
                    <a:pt x="415" y="269"/>
                  </a:cubicBezTo>
                  <a:cubicBezTo>
                    <a:pt x="440" y="173"/>
                    <a:pt x="440" y="89"/>
                    <a:pt x="440" y="89"/>
                  </a:cubicBezTo>
                  <a:cubicBezTo>
                    <a:pt x="440" y="77"/>
                    <a:pt x="440" y="77"/>
                    <a:pt x="440" y="77"/>
                  </a:cubicBezTo>
                  <a:lnTo>
                    <a:pt x="428" y="77"/>
                  </a:lnTo>
                  <a:close/>
                  <a:moveTo>
                    <a:pt x="415" y="141"/>
                  </a:moveTo>
                  <a:cubicBezTo>
                    <a:pt x="405" y="237"/>
                    <a:pt x="365" y="432"/>
                    <a:pt x="221" y="499"/>
                  </a:cubicBezTo>
                  <a:cubicBezTo>
                    <a:pt x="125" y="455"/>
                    <a:pt x="75" y="356"/>
                    <a:pt x="50" y="262"/>
                  </a:cubicBezTo>
                  <a:cubicBezTo>
                    <a:pt x="35" y="218"/>
                    <a:pt x="30" y="173"/>
                    <a:pt x="28" y="141"/>
                  </a:cubicBezTo>
                  <a:cubicBezTo>
                    <a:pt x="25" y="124"/>
                    <a:pt x="25" y="111"/>
                    <a:pt x="23" y="101"/>
                  </a:cubicBezTo>
                  <a:cubicBezTo>
                    <a:pt x="35" y="101"/>
                    <a:pt x="45" y="104"/>
                    <a:pt x="57" y="104"/>
                  </a:cubicBezTo>
                  <a:cubicBezTo>
                    <a:pt x="149" y="104"/>
                    <a:pt x="202" y="60"/>
                    <a:pt x="221" y="37"/>
                  </a:cubicBezTo>
                  <a:cubicBezTo>
                    <a:pt x="241" y="60"/>
                    <a:pt x="291" y="104"/>
                    <a:pt x="385" y="104"/>
                  </a:cubicBezTo>
                  <a:cubicBezTo>
                    <a:pt x="395" y="104"/>
                    <a:pt x="405" y="101"/>
                    <a:pt x="418" y="101"/>
                  </a:cubicBezTo>
                  <a:cubicBezTo>
                    <a:pt x="418" y="111"/>
                    <a:pt x="418" y="124"/>
                    <a:pt x="415" y="141"/>
                  </a:cubicBezTo>
                  <a:close/>
                </a:path>
              </a:pathLst>
            </a:custGeom>
            <a:grpFill/>
            <a:ln>
              <a:noFill/>
            </a:ln>
            <a:effectLst/>
          </p:spPr>
          <p:txBody>
            <a:bodyPr vert="horz" wrap="square" lIns="91440" tIns="45720" rIns="91440" bIns="45720" numCol="1" anchor="t" anchorCtr="0" compatLnSpc="1">
              <a:prstTxWarp prst="textNoShape">
                <a:avLst/>
              </a:prstTxWarp>
            </a:bodyPr>
            <a:lstStyle/>
            <a:p>
              <a:endParaRPr lang="en-US" dirty="0">
                <a:solidFill>
                  <a:srgbClr val="0096D6"/>
                </a:solidFill>
                <a:latin typeface="CiscoSansTT Light"/>
                <a:cs typeface="CiscoSansTT Light"/>
              </a:endParaRPr>
            </a:p>
          </p:txBody>
        </p:sp>
      </p:grpSp>
      <p:grpSp>
        <p:nvGrpSpPr>
          <p:cNvPr id="256" name="Group 255"/>
          <p:cNvGrpSpPr>
            <a:grpSpLocks noChangeAspect="1"/>
          </p:cNvGrpSpPr>
          <p:nvPr/>
        </p:nvGrpSpPr>
        <p:grpSpPr>
          <a:xfrm>
            <a:off x="6192923" y="2172235"/>
            <a:ext cx="518490" cy="518934"/>
            <a:chOff x="4576763" y="2493963"/>
            <a:chExt cx="1862137" cy="1863725"/>
          </a:xfrm>
          <a:solidFill>
            <a:schemeClr val="bg1"/>
          </a:solidFill>
        </p:grpSpPr>
        <p:sp>
          <p:nvSpPr>
            <p:cNvPr id="257" name="Freeform 5"/>
            <p:cNvSpPr>
              <a:spLocks noEditPoints="1"/>
            </p:cNvSpPr>
            <p:nvPr/>
          </p:nvSpPr>
          <p:spPr bwMode="auto">
            <a:xfrm>
              <a:off x="4576763" y="2493963"/>
              <a:ext cx="1862137" cy="1863725"/>
            </a:xfrm>
            <a:custGeom>
              <a:avLst/>
              <a:gdLst>
                <a:gd name="T0" fmla="*/ 614 w 632"/>
                <a:gd name="T1" fmla="*/ 299 h 633"/>
                <a:gd name="T2" fmla="*/ 586 w 632"/>
                <a:gd name="T3" fmla="*/ 299 h 633"/>
                <a:gd name="T4" fmla="*/ 334 w 632"/>
                <a:gd name="T5" fmla="*/ 48 h 633"/>
                <a:gd name="T6" fmla="*/ 334 w 632"/>
                <a:gd name="T7" fmla="*/ 18 h 633"/>
                <a:gd name="T8" fmla="*/ 316 w 632"/>
                <a:gd name="T9" fmla="*/ 0 h 633"/>
                <a:gd name="T10" fmla="*/ 298 w 632"/>
                <a:gd name="T11" fmla="*/ 18 h 633"/>
                <a:gd name="T12" fmla="*/ 298 w 632"/>
                <a:gd name="T13" fmla="*/ 48 h 633"/>
                <a:gd name="T14" fmla="*/ 46 w 632"/>
                <a:gd name="T15" fmla="*/ 299 h 633"/>
                <a:gd name="T16" fmla="*/ 18 w 632"/>
                <a:gd name="T17" fmla="*/ 299 h 633"/>
                <a:gd name="T18" fmla="*/ 0 w 632"/>
                <a:gd name="T19" fmla="*/ 317 h 633"/>
                <a:gd name="T20" fmla="*/ 18 w 632"/>
                <a:gd name="T21" fmla="*/ 335 h 633"/>
                <a:gd name="T22" fmla="*/ 46 w 632"/>
                <a:gd name="T23" fmla="*/ 335 h 633"/>
                <a:gd name="T24" fmla="*/ 298 w 632"/>
                <a:gd name="T25" fmla="*/ 587 h 633"/>
                <a:gd name="T26" fmla="*/ 298 w 632"/>
                <a:gd name="T27" fmla="*/ 615 h 633"/>
                <a:gd name="T28" fmla="*/ 316 w 632"/>
                <a:gd name="T29" fmla="*/ 633 h 633"/>
                <a:gd name="T30" fmla="*/ 334 w 632"/>
                <a:gd name="T31" fmla="*/ 615 h 633"/>
                <a:gd name="T32" fmla="*/ 334 w 632"/>
                <a:gd name="T33" fmla="*/ 587 h 633"/>
                <a:gd name="T34" fmla="*/ 586 w 632"/>
                <a:gd name="T35" fmla="*/ 335 h 633"/>
                <a:gd name="T36" fmla="*/ 614 w 632"/>
                <a:gd name="T37" fmla="*/ 335 h 633"/>
                <a:gd name="T38" fmla="*/ 632 w 632"/>
                <a:gd name="T39" fmla="*/ 317 h 633"/>
                <a:gd name="T40" fmla="*/ 614 w 632"/>
                <a:gd name="T41" fmla="*/ 299 h 633"/>
                <a:gd name="T42" fmla="*/ 334 w 632"/>
                <a:gd name="T43" fmla="*/ 559 h 633"/>
                <a:gd name="T44" fmla="*/ 334 w 632"/>
                <a:gd name="T45" fmla="*/ 531 h 633"/>
                <a:gd name="T46" fmla="*/ 316 w 632"/>
                <a:gd name="T47" fmla="*/ 513 h 633"/>
                <a:gd name="T48" fmla="*/ 298 w 632"/>
                <a:gd name="T49" fmla="*/ 531 h 633"/>
                <a:gd name="T50" fmla="*/ 298 w 632"/>
                <a:gd name="T51" fmla="*/ 559 h 633"/>
                <a:gd name="T52" fmla="*/ 74 w 632"/>
                <a:gd name="T53" fmla="*/ 335 h 633"/>
                <a:gd name="T54" fmla="*/ 101 w 632"/>
                <a:gd name="T55" fmla="*/ 335 h 633"/>
                <a:gd name="T56" fmla="*/ 119 w 632"/>
                <a:gd name="T57" fmla="*/ 317 h 633"/>
                <a:gd name="T58" fmla="*/ 101 w 632"/>
                <a:gd name="T59" fmla="*/ 299 h 633"/>
                <a:gd name="T60" fmla="*/ 75 w 632"/>
                <a:gd name="T61" fmla="*/ 299 h 633"/>
                <a:gd name="T62" fmla="*/ 298 w 632"/>
                <a:gd name="T63" fmla="*/ 76 h 633"/>
                <a:gd name="T64" fmla="*/ 298 w 632"/>
                <a:gd name="T65" fmla="*/ 102 h 633"/>
                <a:gd name="T66" fmla="*/ 316 w 632"/>
                <a:gd name="T67" fmla="*/ 120 h 633"/>
                <a:gd name="T68" fmla="*/ 334 w 632"/>
                <a:gd name="T69" fmla="*/ 102 h 633"/>
                <a:gd name="T70" fmla="*/ 334 w 632"/>
                <a:gd name="T71" fmla="*/ 76 h 633"/>
                <a:gd name="T72" fmla="*/ 558 w 632"/>
                <a:gd name="T73" fmla="*/ 299 h 633"/>
                <a:gd name="T74" fmla="*/ 531 w 632"/>
                <a:gd name="T75" fmla="*/ 299 h 633"/>
                <a:gd name="T76" fmla="*/ 513 w 632"/>
                <a:gd name="T77" fmla="*/ 317 h 633"/>
                <a:gd name="T78" fmla="*/ 531 w 632"/>
                <a:gd name="T79" fmla="*/ 335 h 633"/>
                <a:gd name="T80" fmla="*/ 558 w 632"/>
                <a:gd name="T81" fmla="*/ 335 h 633"/>
                <a:gd name="T82" fmla="*/ 334 w 632"/>
                <a:gd name="T83" fmla="*/ 559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633">
                  <a:moveTo>
                    <a:pt x="614" y="299"/>
                  </a:moveTo>
                  <a:cubicBezTo>
                    <a:pt x="586" y="299"/>
                    <a:pt x="586" y="299"/>
                    <a:pt x="586" y="299"/>
                  </a:cubicBezTo>
                  <a:cubicBezTo>
                    <a:pt x="576" y="164"/>
                    <a:pt x="469" y="57"/>
                    <a:pt x="334" y="48"/>
                  </a:cubicBezTo>
                  <a:cubicBezTo>
                    <a:pt x="334" y="18"/>
                    <a:pt x="334" y="18"/>
                    <a:pt x="334" y="18"/>
                  </a:cubicBezTo>
                  <a:cubicBezTo>
                    <a:pt x="334" y="9"/>
                    <a:pt x="326" y="0"/>
                    <a:pt x="316" y="0"/>
                  </a:cubicBezTo>
                  <a:cubicBezTo>
                    <a:pt x="306" y="0"/>
                    <a:pt x="298" y="9"/>
                    <a:pt x="298" y="18"/>
                  </a:cubicBezTo>
                  <a:cubicBezTo>
                    <a:pt x="298" y="48"/>
                    <a:pt x="298" y="48"/>
                    <a:pt x="298" y="48"/>
                  </a:cubicBezTo>
                  <a:cubicBezTo>
                    <a:pt x="164" y="57"/>
                    <a:pt x="56" y="164"/>
                    <a:pt x="46" y="299"/>
                  </a:cubicBezTo>
                  <a:cubicBezTo>
                    <a:pt x="18" y="299"/>
                    <a:pt x="18" y="299"/>
                    <a:pt x="18" y="299"/>
                  </a:cubicBezTo>
                  <a:cubicBezTo>
                    <a:pt x="8" y="299"/>
                    <a:pt x="0" y="307"/>
                    <a:pt x="0" y="317"/>
                  </a:cubicBezTo>
                  <a:cubicBezTo>
                    <a:pt x="0" y="327"/>
                    <a:pt x="8" y="335"/>
                    <a:pt x="18" y="335"/>
                  </a:cubicBezTo>
                  <a:cubicBezTo>
                    <a:pt x="46" y="335"/>
                    <a:pt x="46" y="335"/>
                    <a:pt x="46" y="335"/>
                  </a:cubicBezTo>
                  <a:cubicBezTo>
                    <a:pt x="55" y="470"/>
                    <a:pt x="163" y="578"/>
                    <a:pt x="298" y="587"/>
                  </a:cubicBezTo>
                  <a:cubicBezTo>
                    <a:pt x="298" y="615"/>
                    <a:pt x="298" y="615"/>
                    <a:pt x="298" y="615"/>
                  </a:cubicBezTo>
                  <a:cubicBezTo>
                    <a:pt x="298" y="625"/>
                    <a:pt x="306" y="633"/>
                    <a:pt x="316" y="633"/>
                  </a:cubicBezTo>
                  <a:cubicBezTo>
                    <a:pt x="326" y="633"/>
                    <a:pt x="334" y="625"/>
                    <a:pt x="334" y="615"/>
                  </a:cubicBezTo>
                  <a:cubicBezTo>
                    <a:pt x="334" y="587"/>
                    <a:pt x="334" y="587"/>
                    <a:pt x="334" y="587"/>
                  </a:cubicBezTo>
                  <a:cubicBezTo>
                    <a:pt x="469" y="578"/>
                    <a:pt x="577" y="470"/>
                    <a:pt x="586" y="335"/>
                  </a:cubicBezTo>
                  <a:cubicBezTo>
                    <a:pt x="614" y="335"/>
                    <a:pt x="614" y="335"/>
                    <a:pt x="614" y="335"/>
                  </a:cubicBezTo>
                  <a:cubicBezTo>
                    <a:pt x="624" y="335"/>
                    <a:pt x="632" y="327"/>
                    <a:pt x="632" y="317"/>
                  </a:cubicBezTo>
                  <a:cubicBezTo>
                    <a:pt x="632" y="307"/>
                    <a:pt x="624" y="299"/>
                    <a:pt x="614" y="299"/>
                  </a:cubicBezTo>
                  <a:close/>
                  <a:moveTo>
                    <a:pt x="334" y="559"/>
                  </a:moveTo>
                  <a:cubicBezTo>
                    <a:pt x="334" y="531"/>
                    <a:pt x="334" y="531"/>
                    <a:pt x="334" y="531"/>
                  </a:cubicBezTo>
                  <a:cubicBezTo>
                    <a:pt x="334" y="522"/>
                    <a:pt x="326" y="513"/>
                    <a:pt x="316" y="513"/>
                  </a:cubicBezTo>
                  <a:cubicBezTo>
                    <a:pt x="306" y="513"/>
                    <a:pt x="298" y="522"/>
                    <a:pt x="298" y="531"/>
                  </a:cubicBezTo>
                  <a:cubicBezTo>
                    <a:pt x="298" y="559"/>
                    <a:pt x="298" y="559"/>
                    <a:pt x="298" y="559"/>
                  </a:cubicBezTo>
                  <a:cubicBezTo>
                    <a:pt x="179" y="550"/>
                    <a:pt x="83" y="454"/>
                    <a:pt x="74" y="335"/>
                  </a:cubicBezTo>
                  <a:cubicBezTo>
                    <a:pt x="101" y="335"/>
                    <a:pt x="101" y="335"/>
                    <a:pt x="101" y="335"/>
                  </a:cubicBezTo>
                  <a:cubicBezTo>
                    <a:pt x="111" y="335"/>
                    <a:pt x="119" y="327"/>
                    <a:pt x="119" y="317"/>
                  </a:cubicBezTo>
                  <a:cubicBezTo>
                    <a:pt x="119" y="307"/>
                    <a:pt x="111" y="299"/>
                    <a:pt x="101" y="299"/>
                  </a:cubicBezTo>
                  <a:cubicBezTo>
                    <a:pt x="75" y="299"/>
                    <a:pt x="75" y="299"/>
                    <a:pt x="75" y="299"/>
                  </a:cubicBezTo>
                  <a:cubicBezTo>
                    <a:pt x="84" y="180"/>
                    <a:pt x="179" y="85"/>
                    <a:pt x="298" y="76"/>
                  </a:cubicBezTo>
                  <a:cubicBezTo>
                    <a:pt x="298" y="102"/>
                    <a:pt x="298" y="102"/>
                    <a:pt x="298" y="102"/>
                  </a:cubicBezTo>
                  <a:cubicBezTo>
                    <a:pt x="298" y="112"/>
                    <a:pt x="306" y="120"/>
                    <a:pt x="316" y="120"/>
                  </a:cubicBezTo>
                  <a:cubicBezTo>
                    <a:pt x="326" y="120"/>
                    <a:pt x="334" y="112"/>
                    <a:pt x="334" y="102"/>
                  </a:cubicBezTo>
                  <a:cubicBezTo>
                    <a:pt x="334" y="76"/>
                    <a:pt x="334" y="76"/>
                    <a:pt x="334" y="76"/>
                  </a:cubicBezTo>
                  <a:cubicBezTo>
                    <a:pt x="453" y="85"/>
                    <a:pt x="549" y="180"/>
                    <a:pt x="558" y="299"/>
                  </a:cubicBezTo>
                  <a:cubicBezTo>
                    <a:pt x="531" y="299"/>
                    <a:pt x="531" y="299"/>
                    <a:pt x="531" y="299"/>
                  </a:cubicBezTo>
                  <a:cubicBezTo>
                    <a:pt x="521" y="299"/>
                    <a:pt x="513" y="307"/>
                    <a:pt x="513" y="317"/>
                  </a:cubicBezTo>
                  <a:cubicBezTo>
                    <a:pt x="513" y="327"/>
                    <a:pt x="521" y="335"/>
                    <a:pt x="531" y="335"/>
                  </a:cubicBezTo>
                  <a:cubicBezTo>
                    <a:pt x="558" y="335"/>
                    <a:pt x="558" y="335"/>
                    <a:pt x="558" y="335"/>
                  </a:cubicBezTo>
                  <a:cubicBezTo>
                    <a:pt x="549" y="454"/>
                    <a:pt x="453" y="550"/>
                    <a:pt x="334" y="5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TT Light"/>
                <a:cs typeface="CiscoSansTT Light"/>
              </a:endParaRPr>
            </a:p>
          </p:txBody>
        </p:sp>
        <p:sp>
          <p:nvSpPr>
            <p:cNvPr id="258" name="Freeform 6"/>
            <p:cNvSpPr>
              <a:spLocks/>
            </p:cNvSpPr>
            <p:nvPr/>
          </p:nvSpPr>
          <p:spPr bwMode="auto">
            <a:xfrm>
              <a:off x="5057775" y="3214688"/>
              <a:ext cx="431800" cy="663575"/>
            </a:xfrm>
            <a:custGeom>
              <a:avLst/>
              <a:gdLst>
                <a:gd name="T0" fmla="*/ 73 w 147"/>
                <a:gd name="T1" fmla="*/ 0 h 225"/>
                <a:gd name="T2" fmla="*/ 62 w 147"/>
                <a:gd name="T3" fmla="*/ 25 h 225"/>
                <a:gd name="T4" fmla="*/ 25 w 147"/>
                <a:gd name="T5" fmla="*/ 9 h 225"/>
                <a:gd name="T6" fmla="*/ 11 w 147"/>
                <a:gd name="T7" fmla="*/ 15 h 225"/>
                <a:gd name="T8" fmla="*/ 18 w 147"/>
                <a:gd name="T9" fmla="*/ 29 h 225"/>
                <a:gd name="T10" fmla="*/ 56 w 147"/>
                <a:gd name="T11" fmla="*/ 46 h 225"/>
                <a:gd name="T12" fmla="*/ 52 w 147"/>
                <a:gd name="T13" fmla="*/ 79 h 225"/>
                <a:gd name="T14" fmla="*/ 11 w 147"/>
                <a:gd name="T15" fmla="*/ 79 h 225"/>
                <a:gd name="T16" fmla="*/ 0 w 147"/>
                <a:gd name="T17" fmla="*/ 90 h 225"/>
                <a:gd name="T18" fmla="*/ 11 w 147"/>
                <a:gd name="T19" fmla="*/ 101 h 225"/>
                <a:gd name="T20" fmla="*/ 52 w 147"/>
                <a:gd name="T21" fmla="*/ 101 h 225"/>
                <a:gd name="T22" fmla="*/ 56 w 147"/>
                <a:gd name="T23" fmla="*/ 134 h 225"/>
                <a:gd name="T24" fmla="*/ 18 w 147"/>
                <a:gd name="T25" fmla="*/ 151 h 225"/>
                <a:gd name="T26" fmla="*/ 11 w 147"/>
                <a:gd name="T27" fmla="*/ 166 h 225"/>
                <a:gd name="T28" fmla="*/ 22 w 147"/>
                <a:gd name="T29" fmla="*/ 173 h 225"/>
                <a:gd name="T30" fmla="*/ 25 w 147"/>
                <a:gd name="T31" fmla="*/ 172 h 225"/>
                <a:gd name="T32" fmla="*/ 64 w 147"/>
                <a:gd name="T33" fmla="*/ 155 h 225"/>
                <a:gd name="T34" fmla="*/ 147 w 147"/>
                <a:gd name="T35" fmla="*/ 225 h 225"/>
                <a:gd name="T36" fmla="*/ 147 w 147"/>
                <a:gd name="T37" fmla="*/ 20 h 225"/>
                <a:gd name="T38" fmla="*/ 78 w 147"/>
                <a:gd name="T39" fmla="*/ 4 h 225"/>
                <a:gd name="T40" fmla="*/ 73 w 147"/>
                <a:gd name="T41"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7" h="225">
                  <a:moveTo>
                    <a:pt x="73" y="0"/>
                  </a:moveTo>
                  <a:cubicBezTo>
                    <a:pt x="68" y="8"/>
                    <a:pt x="65" y="16"/>
                    <a:pt x="62" y="25"/>
                  </a:cubicBezTo>
                  <a:cubicBezTo>
                    <a:pt x="25" y="9"/>
                    <a:pt x="25" y="9"/>
                    <a:pt x="25" y="9"/>
                  </a:cubicBezTo>
                  <a:cubicBezTo>
                    <a:pt x="20" y="7"/>
                    <a:pt x="13" y="9"/>
                    <a:pt x="11" y="15"/>
                  </a:cubicBezTo>
                  <a:cubicBezTo>
                    <a:pt x="9" y="20"/>
                    <a:pt x="12" y="27"/>
                    <a:pt x="18" y="29"/>
                  </a:cubicBezTo>
                  <a:cubicBezTo>
                    <a:pt x="56" y="46"/>
                    <a:pt x="56" y="46"/>
                    <a:pt x="56" y="46"/>
                  </a:cubicBezTo>
                  <a:cubicBezTo>
                    <a:pt x="54" y="57"/>
                    <a:pt x="52" y="68"/>
                    <a:pt x="52" y="79"/>
                  </a:cubicBezTo>
                  <a:cubicBezTo>
                    <a:pt x="11" y="79"/>
                    <a:pt x="11" y="79"/>
                    <a:pt x="11" y="79"/>
                  </a:cubicBezTo>
                  <a:cubicBezTo>
                    <a:pt x="4" y="79"/>
                    <a:pt x="0" y="83"/>
                    <a:pt x="0" y="90"/>
                  </a:cubicBezTo>
                  <a:cubicBezTo>
                    <a:pt x="0" y="95"/>
                    <a:pt x="4" y="101"/>
                    <a:pt x="11" y="101"/>
                  </a:cubicBezTo>
                  <a:cubicBezTo>
                    <a:pt x="52" y="101"/>
                    <a:pt x="52" y="101"/>
                    <a:pt x="52" y="101"/>
                  </a:cubicBezTo>
                  <a:cubicBezTo>
                    <a:pt x="52" y="113"/>
                    <a:pt x="54" y="124"/>
                    <a:pt x="56" y="134"/>
                  </a:cubicBezTo>
                  <a:cubicBezTo>
                    <a:pt x="18" y="151"/>
                    <a:pt x="18" y="151"/>
                    <a:pt x="18" y="151"/>
                  </a:cubicBezTo>
                  <a:cubicBezTo>
                    <a:pt x="11" y="154"/>
                    <a:pt x="9" y="161"/>
                    <a:pt x="11" y="166"/>
                  </a:cubicBezTo>
                  <a:cubicBezTo>
                    <a:pt x="13" y="169"/>
                    <a:pt x="18" y="173"/>
                    <a:pt x="22" y="173"/>
                  </a:cubicBezTo>
                  <a:cubicBezTo>
                    <a:pt x="23" y="173"/>
                    <a:pt x="24" y="172"/>
                    <a:pt x="25" y="172"/>
                  </a:cubicBezTo>
                  <a:cubicBezTo>
                    <a:pt x="64" y="155"/>
                    <a:pt x="64" y="155"/>
                    <a:pt x="64" y="155"/>
                  </a:cubicBezTo>
                  <a:cubicBezTo>
                    <a:pt x="79" y="190"/>
                    <a:pt x="109" y="211"/>
                    <a:pt x="147" y="225"/>
                  </a:cubicBezTo>
                  <a:cubicBezTo>
                    <a:pt x="147" y="20"/>
                    <a:pt x="147" y="20"/>
                    <a:pt x="147" y="20"/>
                  </a:cubicBezTo>
                  <a:cubicBezTo>
                    <a:pt x="120" y="20"/>
                    <a:pt x="97" y="13"/>
                    <a:pt x="78" y="4"/>
                  </a:cubicBezTo>
                  <a:cubicBezTo>
                    <a:pt x="77" y="2"/>
                    <a:pt x="75" y="1"/>
                    <a:pt x="73"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TT Light"/>
                <a:cs typeface="CiscoSansTT Light"/>
              </a:endParaRPr>
            </a:p>
          </p:txBody>
        </p:sp>
        <p:sp>
          <p:nvSpPr>
            <p:cNvPr id="259" name="Freeform 7"/>
            <p:cNvSpPr>
              <a:spLocks/>
            </p:cNvSpPr>
            <p:nvPr/>
          </p:nvSpPr>
          <p:spPr bwMode="auto">
            <a:xfrm>
              <a:off x="5527675" y="3214688"/>
              <a:ext cx="430212" cy="663575"/>
            </a:xfrm>
            <a:custGeom>
              <a:avLst/>
              <a:gdLst>
                <a:gd name="T0" fmla="*/ 134 w 146"/>
                <a:gd name="T1" fmla="*/ 101 h 225"/>
                <a:gd name="T2" fmla="*/ 146 w 146"/>
                <a:gd name="T3" fmla="*/ 90 h 225"/>
                <a:gd name="T4" fmla="*/ 135 w 146"/>
                <a:gd name="T5" fmla="*/ 79 h 225"/>
                <a:gd name="T6" fmla="*/ 95 w 146"/>
                <a:gd name="T7" fmla="*/ 79 h 225"/>
                <a:gd name="T8" fmla="*/ 91 w 146"/>
                <a:gd name="T9" fmla="*/ 46 h 225"/>
                <a:gd name="T10" fmla="*/ 129 w 146"/>
                <a:gd name="T11" fmla="*/ 29 h 225"/>
                <a:gd name="T12" fmla="*/ 134 w 146"/>
                <a:gd name="T13" fmla="*/ 15 h 225"/>
                <a:gd name="T14" fmla="*/ 120 w 146"/>
                <a:gd name="T15" fmla="*/ 9 h 225"/>
                <a:gd name="T16" fmla="*/ 84 w 146"/>
                <a:gd name="T17" fmla="*/ 23 h 225"/>
                <a:gd name="T18" fmla="*/ 74 w 146"/>
                <a:gd name="T19" fmla="*/ 0 h 225"/>
                <a:gd name="T20" fmla="*/ 69 w 146"/>
                <a:gd name="T21" fmla="*/ 4 h 225"/>
                <a:gd name="T22" fmla="*/ 0 w 146"/>
                <a:gd name="T23" fmla="*/ 20 h 225"/>
                <a:gd name="T24" fmla="*/ 0 w 146"/>
                <a:gd name="T25" fmla="*/ 225 h 225"/>
                <a:gd name="T26" fmla="*/ 83 w 146"/>
                <a:gd name="T27" fmla="*/ 156 h 225"/>
                <a:gd name="T28" fmla="*/ 120 w 146"/>
                <a:gd name="T29" fmla="*/ 172 h 225"/>
                <a:gd name="T30" fmla="*/ 124 w 146"/>
                <a:gd name="T31" fmla="*/ 173 h 225"/>
                <a:gd name="T32" fmla="*/ 134 w 146"/>
                <a:gd name="T33" fmla="*/ 166 h 225"/>
                <a:gd name="T34" fmla="*/ 129 w 146"/>
                <a:gd name="T35" fmla="*/ 151 h 225"/>
                <a:gd name="T36" fmla="*/ 90 w 146"/>
                <a:gd name="T37" fmla="*/ 135 h 225"/>
                <a:gd name="T38" fmla="*/ 95 w 146"/>
                <a:gd name="T39" fmla="*/ 101 h 225"/>
                <a:gd name="T40" fmla="*/ 134 w 146"/>
                <a:gd name="T41" fmla="*/ 10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6" h="225">
                  <a:moveTo>
                    <a:pt x="134" y="101"/>
                  </a:moveTo>
                  <a:cubicBezTo>
                    <a:pt x="141" y="101"/>
                    <a:pt x="145" y="95"/>
                    <a:pt x="146" y="90"/>
                  </a:cubicBezTo>
                  <a:cubicBezTo>
                    <a:pt x="146" y="83"/>
                    <a:pt x="141" y="79"/>
                    <a:pt x="135" y="79"/>
                  </a:cubicBezTo>
                  <a:cubicBezTo>
                    <a:pt x="95" y="79"/>
                    <a:pt x="95" y="79"/>
                    <a:pt x="95" y="79"/>
                  </a:cubicBezTo>
                  <a:cubicBezTo>
                    <a:pt x="95" y="67"/>
                    <a:pt x="93" y="56"/>
                    <a:pt x="91" y="46"/>
                  </a:cubicBezTo>
                  <a:cubicBezTo>
                    <a:pt x="129" y="29"/>
                    <a:pt x="129" y="29"/>
                    <a:pt x="129" y="29"/>
                  </a:cubicBezTo>
                  <a:cubicBezTo>
                    <a:pt x="134" y="27"/>
                    <a:pt x="136" y="20"/>
                    <a:pt x="134" y="15"/>
                  </a:cubicBezTo>
                  <a:cubicBezTo>
                    <a:pt x="132" y="9"/>
                    <a:pt x="125" y="7"/>
                    <a:pt x="120" y="9"/>
                  </a:cubicBezTo>
                  <a:cubicBezTo>
                    <a:pt x="84" y="23"/>
                    <a:pt x="84" y="23"/>
                    <a:pt x="84" y="23"/>
                  </a:cubicBezTo>
                  <a:cubicBezTo>
                    <a:pt x="82" y="16"/>
                    <a:pt x="79" y="8"/>
                    <a:pt x="74" y="0"/>
                  </a:cubicBezTo>
                  <a:cubicBezTo>
                    <a:pt x="72" y="1"/>
                    <a:pt x="70" y="2"/>
                    <a:pt x="69" y="4"/>
                  </a:cubicBezTo>
                  <a:cubicBezTo>
                    <a:pt x="50" y="13"/>
                    <a:pt x="27" y="20"/>
                    <a:pt x="0" y="20"/>
                  </a:cubicBezTo>
                  <a:cubicBezTo>
                    <a:pt x="0" y="225"/>
                    <a:pt x="0" y="225"/>
                    <a:pt x="0" y="225"/>
                  </a:cubicBezTo>
                  <a:cubicBezTo>
                    <a:pt x="37" y="213"/>
                    <a:pt x="67" y="190"/>
                    <a:pt x="83" y="156"/>
                  </a:cubicBezTo>
                  <a:cubicBezTo>
                    <a:pt x="120" y="172"/>
                    <a:pt x="120" y="172"/>
                    <a:pt x="120" y="172"/>
                  </a:cubicBezTo>
                  <a:cubicBezTo>
                    <a:pt x="121" y="172"/>
                    <a:pt x="123" y="173"/>
                    <a:pt x="124" y="173"/>
                  </a:cubicBezTo>
                  <a:cubicBezTo>
                    <a:pt x="129" y="173"/>
                    <a:pt x="133" y="169"/>
                    <a:pt x="134" y="166"/>
                  </a:cubicBezTo>
                  <a:cubicBezTo>
                    <a:pt x="136" y="161"/>
                    <a:pt x="134" y="154"/>
                    <a:pt x="129" y="151"/>
                  </a:cubicBezTo>
                  <a:cubicBezTo>
                    <a:pt x="90" y="135"/>
                    <a:pt x="90" y="135"/>
                    <a:pt x="90" y="135"/>
                  </a:cubicBezTo>
                  <a:cubicBezTo>
                    <a:pt x="93" y="124"/>
                    <a:pt x="95" y="113"/>
                    <a:pt x="95" y="101"/>
                  </a:cubicBezTo>
                  <a:lnTo>
                    <a:pt x="134" y="1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TT Light"/>
                <a:cs typeface="CiscoSansTT Light"/>
              </a:endParaRPr>
            </a:p>
          </p:txBody>
        </p:sp>
        <p:sp>
          <p:nvSpPr>
            <p:cNvPr id="260" name="Freeform 8"/>
            <p:cNvSpPr>
              <a:spLocks/>
            </p:cNvSpPr>
            <p:nvPr/>
          </p:nvSpPr>
          <p:spPr bwMode="auto">
            <a:xfrm>
              <a:off x="5199063" y="2900363"/>
              <a:ext cx="614362" cy="338138"/>
            </a:xfrm>
            <a:custGeom>
              <a:avLst/>
              <a:gdLst>
                <a:gd name="T0" fmla="*/ 179 w 209"/>
                <a:gd name="T1" fmla="*/ 96 h 115"/>
                <a:gd name="T2" fmla="*/ 156 w 209"/>
                <a:gd name="T3" fmla="*/ 72 h 115"/>
                <a:gd name="T4" fmla="*/ 185 w 209"/>
                <a:gd name="T5" fmla="*/ 39 h 115"/>
                <a:gd name="T6" fmla="*/ 189 w 209"/>
                <a:gd name="T7" fmla="*/ 39 h 115"/>
                <a:gd name="T8" fmla="*/ 209 w 209"/>
                <a:gd name="T9" fmla="*/ 19 h 115"/>
                <a:gd name="T10" fmla="*/ 189 w 209"/>
                <a:gd name="T11" fmla="*/ 0 h 115"/>
                <a:gd name="T12" fmla="*/ 170 w 209"/>
                <a:gd name="T13" fmla="*/ 19 h 115"/>
                <a:gd name="T14" fmla="*/ 172 w 209"/>
                <a:gd name="T15" fmla="*/ 28 h 115"/>
                <a:gd name="T16" fmla="*/ 142 w 209"/>
                <a:gd name="T17" fmla="*/ 62 h 115"/>
                <a:gd name="T18" fmla="*/ 106 w 209"/>
                <a:gd name="T19" fmla="*/ 53 h 115"/>
                <a:gd name="T20" fmla="*/ 67 w 209"/>
                <a:gd name="T21" fmla="*/ 63 h 115"/>
                <a:gd name="T22" fmla="*/ 37 w 209"/>
                <a:gd name="T23" fmla="*/ 28 h 115"/>
                <a:gd name="T24" fmla="*/ 39 w 209"/>
                <a:gd name="T25" fmla="*/ 19 h 115"/>
                <a:gd name="T26" fmla="*/ 19 w 209"/>
                <a:gd name="T27" fmla="*/ 0 h 115"/>
                <a:gd name="T28" fmla="*/ 0 w 209"/>
                <a:gd name="T29" fmla="*/ 19 h 115"/>
                <a:gd name="T30" fmla="*/ 19 w 209"/>
                <a:gd name="T31" fmla="*/ 39 h 115"/>
                <a:gd name="T32" fmla="*/ 24 w 209"/>
                <a:gd name="T33" fmla="*/ 39 h 115"/>
                <a:gd name="T34" fmla="*/ 52 w 209"/>
                <a:gd name="T35" fmla="*/ 73 h 115"/>
                <a:gd name="T36" fmla="*/ 33 w 209"/>
                <a:gd name="T37" fmla="*/ 96 h 115"/>
                <a:gd name="T38" fmla="*/ 37 w 209"/>
                <a:gd name="T39" fmla="*/ 99 h 115"/>
                <a:gd name="T40" fmla="*/ 106 w 209"/>
                <a:gd name="T41" fmla="*/ 115 h 115"/>
                <a:gd name="T42" fmla="*/ 174 w 209"/>
                <a:gd name="T43" fmla="*/ 99 h 115"/>
                <a:gd name="T44" fmla="*/ 179 w 209"/>
                <a:gd name="T45" fmla="*/ 9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9" h="115">
                  <a:moveTo>
                    <a:pt x="179" y="96"/>
                  </a:moveTo>
                  <a:cubicBezTo>
                    <a:pt x="173" y="86"/>
                    <a:pt x="165" y="78"/>
                    <a:pt x="156" y="72"/>
                  </a:cubicBezTo>
                  <a:cubicBezTo>
                    <a:pt x="177" y="49"/>
                    <a:pt x="183" y="41"/>
                    <a:pt x="185" y="39"/>
                  </a:cubicBezTo>
                  <a:cubicBezTo>
                    <a:pt x="187" y="39"/>
                    <a:pt x="188" y="39"/>
                    <a:pt x="189" y="39"/>
                  </a:cubicBezTo>
                  <a:cubicBezTo>
                    <a:pt x="200" y="39"/>
                    <a:pt x="209" y="30"/>
                    <a:pt x="209" y="19"/>
                  </a:cubicBezTo>
                  <a:cubicBezTo>
                    <a:pt x="209" y="9"/>
                    <a:pt x="200" y="0"/>
                    <a:pt x="189" y="0"/>
                  </a:cubicBezTo>
                  <a:cubicBezTo>
                    <a:pt x="178" y="0"/>
                    <a:pt x="170" y="9"/>
                    <a:pt x="170" y="19"/>
                  </a:cubicBezTo>
                  <a:cubicBezTo>
                    <a:pt x="170" y="23"/>
                    <a:pt x="170" y="25"/>
                    <a:pt x="172" y="28"/>
                  </a:cubicBezTo>
                  <a:cubicBezTo>
                    <a:pt x="142" y="62"/>
                    <a:pt x="142" y="62"/>
                    <a:pt x="142" y="62"/>
                  </a:cubicBezTo>
                  <a:cubicBezTo>
                    <a:pt x="131" y="56"/>
                    <a:pt x="119" y="53"/>
                    <a:pt x="106" y="53"/>
                  </a:cubicBezTo>
                  <a:cubicBezTo>
                    <a:pt x="92" y="53"/>
                    <a:pt x="79" y="56"/>
                    <a:pt x="67" y="63"/>
                  </a:cubicBezTo>
                  <a:cubicBezTo>
                    <a:pt x="45" y="38"/>
                    <a:pt x="38" y="30"/>
                    <a:pt x="37" y="28"/>
                  </a:cubicBezTo>
                  <a:cubicBezTo>
                    <a:pt x="38" y="26"/>
                    <a:pt x="39" y="23"/>
                    <a:pt x="39" y="19"/>
                  </a:cubicBezTo>
                  <a:cubicBezTo>
                    <a:pt x="39" y="9"/>
                    <a:pt x="30" y="0"/>
                    <a:pt x="19" y="0"/>
                  </a:cubicBezTo>
                  <a:cubicBezTo>
                    <a:pt x="8" y="0"/>
                    <a:pt x="0" y="9"/>
                    <a:pt x="0" y="19"/>
                  </a:cubicBezTo>
                  <a:cubicBezTo>
                    <a:pt x="0" y="30"/>
                    <a:pt x="8" y="39"/>
                    <a:pt x="19" y="39"/>
                  </a:cubicBezTo>
                  <a:cubicBezTo>
                    <a:pt x="21" y="39"/>
                    <a:pt x="22" y="39"/>
                    <a:pt x="24" y="39"/>
                  </a:cubicBezTo>
                  <a:cubicBezTo>
                    <a:pt x="52" y="73"/>
                    <a:pt x="52" y="73"/>
                    <a:pt x="52" y="73"/>
                  </a:cubicBezTo>
                  <a:cubicBezTo>
                    <a:pt x="45" y="80"/>
                    <a:pt x="38" y="87"/>
                    <a:pt x="33" y="96"/>
                  </a:cubicBezTo>
                  <a:cubicBezTo>
                    <a:pt x="34" y="97"/>
                    <a:pt x="35" y="98"/>
                    <a:pt x="37" y="99"/>
                  </a:cubicBezTo>
                  <a:cubicBezTo>
                    <a:pt x="55" y="108"/>
                    <a:pt x="79" y="115"/>
                    <a:pt x="106" y="115"/>
                  </a:cubicBezTo>
                  <a:cubicBezTo>
                    <a:pt x="132" y="115"/>
                    <a:pt x="156" y="108"/>
                    <a:pt x="174" y="99"/>
                  </a:cubicBezTo>
                  <a:cubicBezTo>
                    <a:pt x="176" y="98"/>
                    <a:pt x="177" y="97"/>
                    <a:pt x="179" y="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TT Light"/>
                <a:cs typeface="CiscoSansTT Light"/>
              </a:endParaRPr>
            </a:p>
          </p:txBody>
        </p:sp>
      </p:grpSp>
      <p:sp>
        <p:nvSpPr>
          <p:cNvPr id="85" name="Title 1"/>
          <p:cNvSpPr txBox="1">
            <a:spLocks/>
          </p:cNvSpPr>
          <p:nvPr/>
        </p:nvSpPr>
        <p:spPr>
          <a:xfrm>
            <a:off x="1200151" y="3592381"/>
            <a:ext cx="6981825" cy="1017011"/>
          </a:xfrm>
          <a:prstGeom prst="rect">
            <a:avLst/>
          </a:prstGeom>
          <a:solidFill>
            <a:schemeClr val="bg1">
              <a:lumMod val="85000"/>
            </a:schemeClr>
          </a:solidFill>
        </p:spPr>
        <p:txBody>
          <a:bodyPr lIns="91414" tIns="45707" rIns="91414" bIns="45707" anchor="ctr"/>
          <a:lstStyle>
            <a:defPPr>
              <a:defRPr lang="en-US"/>
            </a:defPPr>
            <a:lvl1pPr marL="0" indent="0" algn="ctr" defTabSz="679996" eaLnBrk="1" hangingPunct="1">
              <a:lnSpc>
                <a:spcPct val="95000"/>
              </a:lnSpc>
              <a:spcBef>
                <a:spcPts val="1075"/>
              </a:spcBef>
              <a:buClr>
                <a:schemeClr val="tx2"/>
              </a:buClr>
              <a:buSzPct val="90000"/>
              <a:buFont typeface="Arial" charset="0"/>
              <a:buNone/>
              <a:defRPr sz="4500">
                <a:solidFill>
                  <a:srgbClr val="FFFFFF"/>
                </a:solidFill>
                <a:latin typeface="+mn-lt"/>
                <a:ea typeface="ＭＳ Ｐゴシック" charset="0"/>
                <a:cs typeface="CiscoSans"/>
              </a:defRPr>
            </a:lvl1pPr>
            <a:lvl2pPr marL="356555" indent="-214568" defTabSz="679996" eaLnBrk="1" hangingPunct="1">
              <a:lnSpc>
                <a:spcPct val="95000"/>
              </a:lnSpc>
              <a:spcBef>
                <a:spcPts val="600"/>
              </a:spcBef>
              <a:buClr>
                <a:schemeClr val="tx2"/>
              </a:buClr>
              <a:buFont typeface="Arial" charset="0"/>
              <a:buChar char="•"/>
              <a:defRPr sz="1400">
                <a:latin typeface="+mn-lt"/>
                <a:ea typeface="ＭＳ Ｐゴシック" charset="0"/>
                <a:cs typeface="CiscoSans"/>
              </a:defRPr>
            </a:lvl2pPr>
            <a:lvl3pPr marL="429136" indent="-168827" defTabSz="679996" eaLnBrk="1" hangingPunct="1">
              <a:lnSpc>
                <a:spcPct val="95000"/>
              </a:lnSpc>
              <a:spcBef>
                <a:spcPts val="625"/>
              </a:spcBef>
              <a:buFont typeface="Arial" charset="0"/>
              <a:buChar char="•"/>
              <a:defRPr sz="1200">
                <a:latin typeface="+mn-lt"/>
                <a:ea typeface="ＭＳ Ｐゴシック" charset="0"/>
                <a:cs typeface="CiscoSans"/>
              </a:defRPr>
            </a:lvl3pPr>
            <a:lvl4pPr marL="500130" indent="-168827" defTabSz="679996" eaLnBrk="1" hangingPunct="1">
              <a:lnSpc>
                <a:spcPct val="95000"/>
              </a:lnSpc>
              <a:spcBef>
                <a:spcPts val="625"/>
              </a:spcBef>
              <a:buFont typeface="Arial" charset="0"/>
              <a:buChar char="•"/>
              <a:defRPr sz="1100">
                <a:latin typeface="+mn-lt"/>
                <a:ea typeface="ＭＳ Ｐゴシック" charset="0"/>
                <a:cs typeface="CiscoSans"/>
              </a:defRPr>
            </a:lvl4pPr>
            <a:lvl5pPr marL="571123" indent="-168827" defTabSz="679996" eaLnBrk="1" hangingPunct="1">
              <a:lnSpc>
                <a:spcPct val="95000"/>
              </a:lnSpc>
              <a:spcBef>
                <a:spcPts val="625"/>
              </a:spcBef>
              <a:buFont typeface="Arial" charset="0"/>
              <a:buChar char="•"/>
              <a:defRPr sz="1100">
                <a:latin typeface="+mn-lt"/>
                <a:ea typeface="ＭＳ Ｐゴシック" charset="0"/>
                <a:cs typeface="CiscoSans"/>
              </a:defRPr>
            </a:lvl5pPr>
            <a:lvl6pPr marL="858529" indent="-170409" defTabSz="681560">
              <a:spcBef>
                <a:spcPts val="600"/>
              </a:spcBef>
              <a:buFont typeface="Arial" pitchFamily="34" charset="0"/>
              <a:buChar char="•"/>
              <a:defRPr sz="900" baseline="0">
                <a:latin typeface="+mn-lt"/>
                <a:ea typeface="+mn-ea"/>
              </a:defRPr>
            </a:lvl6pPr>
            <a:lvl7pPr marL="930073" indent="-170386" defTabSz="681560">
              <a:spcBef>
                <a:spcPts val="600"/>
              </a:spcBef>
              <a:buFont typeface="Arial" pitchFamily="34" charset="0"/>
              <a:buChar char="•"/>
              <a:defRPr sz="800" baseline="0">
                <a:latin typeface="+mn-lt"/>
                <a:ea typeface="+mn-ea"/>
              </a:defRPr>
            </a:lvl7pPr>
            <a:lvl8pPr marL="2385488" indent="0" defTabSz="681560">
              <a:spcBef>
                <a:spcPct val="20000"/>
              </a:spcBef>
              <a:buFont typeface="Arial" pitchFamily="34" charset="0"/>
              <a:buNone/>
              <a:defRPr sz="1500">
                <a:latin typeface="+mn-lt"/>
                <a:ea typeface="+mn-ea"/>
              </a:defRPr>
            </a:lvl8pPr>
            <a:lvl9pPr marL="2896625" indent="-170409" defTabSz="681560">
              <a:spcBef>
                <a:spcPct val="20000"/>
              </a:spcBef>
              <a:buFont typeface="Arial" pitchFamily="34" charset="0"/>
              <a:buChar char="•"/>
              <a:defRPr sz="1500">
                <a:latin typeface="+mn-lt"/>
                <a:ea typeface="+mn-ea"/>
              </a:defRPr>
            </a:lvl9pPr>
          </a:lstStyle>
          <a:p>
            <a:pPr>
              <a:buClr>
                <a:srgbClr val="2968AF"/>
              </a:buClr>
            </a:pPr>
            <a:endParaRPr lang="en-US" sz="2000" dirty="0">
              <a:solidFill>
                <a:schemeClr val="bg1"/>
              </a:solidFill>
            </a:endParaRPr>
          </a:p>
        </p:txBody>
      </p:sp>
      <p:grpSp>
        <p:nvGrpSpPr>
          <p:cNvPr id="88" name="Group 87"/>
          <p:cNvGrpSpPr/>
          <p:nvPr/>
        </p:nvGrpSpPr>
        <p:grpSpPr>
          <a:xfrm>
            <a:off x="4062193" y="3678446"/>
            <a:ext cx="1095503" cy="989054"/>
            <a:chOff x="4331732" y="5200184"/>
            <a:chExt cx="1460670" cy="1318738"/>
          </a:xfrm>
        </p:grpSpPr>
        <p:sp>
          <p:nvSpPr>
            <p:cNvPr id="100" name="Rectangle 99"/>
            <p:cNvSpPr/>
            <p:nvPr/>
          </p:nvSpPr>
          <p:spPr>
            <a:xfrm>
              <a:off x="4331732" y="6067517"/>
              <a:ext cx="1460670" cy="451405"/>
            </a:xfrm>
            <a:prstGeom prst="rect">
              <a:avLst/>
            </a:prstGeom>
          </p:spPr>
          <p:txBody>
            <a:bodyPr wrap="square">
              <a:spAutoFit/>
            </a:bodyPr>
            <a:lstStyle/>
            <a:p>
              <a:pPr algn="ctr" defTabSz="456977"/>
              <a:r>
                <a:rPr lang="en-US" sz="1600" dirty="0" smtClean="0">
                  <a:solidFill>
                    <a:srgbClr val="676767"/>
                  </a:solidFill>
                  <a:ea typeface="ＭＳ Ｐゴシック" pitchFamily="34" charset="-128"/>
                  <a:cs typeface="Arial" panose="020B0604020202020204" pitchFamily="34" charset="0"/>
                </a:rPr>
                <a:t>Network</a:t>
              </a:r>
              <a:endParaRPr lang="en-US" sz="1600" dirty="0">
                <a:solidFill>
                  <a:srgbClr val="676767"/>
                </a:solidFill>
                <a:ea typeface="ＭＳ Ｐゴシック" pitchFamily="34" charset="-128"/>
                <a:cs typeface="Arial" panose="020B0604020202020204" pitchFamily="34" charset="0"/>
              </a:endParaRPr>
            </a:p>
          </p:txBody>
        </p:sp>
        <p:sp>
          <p:nvSpPr>
            <p:cNvPr id="101" name="Oval 100"/>
            <p:cNvSpPr>
              <a:spLocks noChangeAspect="1"/>
            </p:cNvSpPr>
            <p:nvPr/>
          </p:nvSpPr>
          <p:spPr>
            <a:xfrm>
              <a:off x="4644779" y="5200184"/>
              <a:ext cx="875876" cy="875875"/>
            </a:xfrm>
            <a:prstGeom prst="ellipse">
              <a:avLst/>
            </a:prstGeom>
            <a:gradFill flip="none" rotWithShape="1">
              <a:gsLst>
                <a:gs pos="0">
                  <a:schemeClr val="accent4">
                    <a:lumMod val="50000"/>
                  </a:schemeClr>
                </a:gs>
                <a:gs pos="50000">
                  <a:schemeClr val="accent4"/>
                </a:gs>
                <a:gs pos="100000">
                  <a:schemeClr val="accent4">
                    <a:lumMod val="50000"/>
                  </a:schemeClr>
                </a:gs>
              </a:gsLst>
              <a:lin ang="13500000" scaled="1"/>
              <a:tileRect/>
            </a:gra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77"/>
              <a:endParaRPr lang="en-US" sz="1200" dirty="0">
                <a:solidFill>
                  <a:srgbClr val="FFFFFF"/>
                </a:solidFill>
              </a:endParaRPr>
            </a:p>
          </p:txBody>
        </p:sp>
      </p:grpSp>
      <p:grpSp>
        <p:nvGrpSpPr>
          <p:cNvPr id="102" name="Group 101"/>
          <p:cNvGrpSpPr/>
          <p:nvPr/>
        </p:nvGrpSpPr>
        <p:grpSpPr>
          <a:xfrm>
            <a:off x="1934476" y="3679039"/>
            <a:ext cx="848048" cy="986846"/>
            <a:chOff x="2579300" y="5189468"/>
            <a:chExt cx="1130731" cy="1315794"/>
          </a:xfrm>
        </p:grpSpPr>
        <p:sp>
          <p:nvSpPr>
            <p:cNvPr id="103" name="Rectangle 102"/>
            <p:cNvSpPr/>
            <p:nvPr/>
          </p:nvSpPr>
          <p:spPr>
            <a:xfrm>
              <a:off x="2579300" y="6053857"/>
              <a:ext cx="1130731" cy="451405"/>
            </a:xfrm>
            <a:prstGeom prst="rect">
              <a:avLst/>
            </a:prstGeom>
          </p:spPr>
          <p:txBody>
            <a:bodyPr wrap="square">
              <a:spAutoFit/>
            </a:bodyPr>
            <a:lstStyle/>
            <a:p>
              <a:pPr algn="ctr" defTabSz="456977"/>
              <a:r>
                <a:rPr lang="en-US" sz="1600" dirty="0" smtClean="0">
                  <a:solidFill>
                    <a:srgbClr val="676767"/>
                  </a:solidFill>
                  <a:ea typeface="ＭＳ Ｐゴシック" pitchFamily="34" charset="-128"/>
                  <a:cs typeface="Arial" panose="020B0604020202020204" pitchFamily="34" charset="0"/>
                </a:rPr>
                <a:t>Device</a:t>
              </a:r>
              <a:endParaRPr lang="en-US" sz="1600" dirty="0">
                <a:solidFill>
                  <a:srgbClr val="676767"/>
                </a:solidFill>
                <a:ea typeface="ＭＳ Ｐゴシック" pitchFamily="34" charset="-128"/>
                <a:cs typeface="Arial" panose="020B0604020202020204" pitchFamily="34" charset="0"/>
              </a:endParaRPr>
            </a:p>
          </p:txBody>
        </p:sp>
        <p:grpSp>
          <p:nvGrpSpPr>
            <p:cNvPr id="104" name="Group 103"/>
            <p:cNvGrpSpPr/>
            <p:nvPr/>
          </p:nvGrpSpPr>
          <p:grpSpPr>
            <a:xfrm>
              <a:off x="2706729" y="5189468"/>
              <a:ext cx="875876" cy="875875"/>
              <a:chOff x="622301" y="3220799"/>
              <a:chExt cx="1219200" cy="1219200"/>
            </a:xfrm>
          </p:grpSpPr>
          <p:sp>
            <p:nvSpPr>
              <p:cNvPr id="105" name="Oval 104"/>
              <p:cNvSpPr>
                <a:spLocks noChangeAspect="1"/>
              </p:cNvSpPr>
              <p:nvPr/>
            </p:nvSpPr>
            <p:spPr>
              <a:xfrm>
                <a:off x="622301" y="3220799"/>
                <a:ext cx="1219200" cy="1219200"/>
              </a:xfrm>
              <a:prstGeom prst="ellipse">
                <a:avLst/>
              </a:prstGeom>
              <a:gradFill flip="none" rotWithShape="1">
                <a:gsLst>
                  <a:gs pos="0">
                    <a:schemeClr val="accent4">
                      <a:lumMod val="50000"/>
                    </a:schemeClr>
                  </a:gs>
                  <a:gs pos="50000">
                    <a:schemeClr val="accent4"/>
                  </a:gs>
                  <a:gs pos="100000">
                    <a:schemeClr val="accent4">
                      <a:lumMod val="50000"/>
                    </a:schemeClr>
                  </a:gs>
                </a:gsLst>
                <a:lin ang="13500000" scaled="1"/>
                <a:tileRect/>
              </a:gra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77"/>
                <a:endParaRPr lang="en-US" sz="1200" dirty="0">
                  <a:solidFill>
                    <a:srgbClr val="FFFFFF"/>
                  </a:solidFill>
                </a:endParaRPr>
              </a:p>
            </p:txBody>
          </p:sp>
          <p:grpSp>
            <p:nvGrpSpPr>
              <p:cNvPr id="106" name="Group 105"/>
              <p:cNvGrpSpPr>
                <a:grpSpLocks noChangeAspect="1"/>
              </p:cNvGrpSpPr>
              <p:nvPr/>
            </p:nvGrpSpPr>
            <p:grpSpPr>
              <a:xfrm>
                <a:off x="770868" y="3543525"/>
                <a:ext cx="670560" cy="475368"/>
                <a:chOff x="4197350" y="-287338"/>
                <a:chExt cx="1265238" cy="896939"/>
              </a:xfrm>
              <a:solidFill>
                <a:schemeClr val="tx1"/>
              </a:solidFill>
              <a:effectLst/>
            </p:grpSpPr>
            <p:sp>
              <p:nvSpPr>
                <p:cNvPr id="108" name="Freeform 6"/>
                <p:cNvSpPr>
                  <a:spLocks/>
                </p:cNvSpPr>
                <p:nvPr/>
              </p:nvSpPr>
              <p:spPr bwMode="auto">
                <a:xfrm>
                  <a:off x="4197350" y="458788"/>
                  <a:ext cx="1265238" cy="150813"/>
                </a:xfrm>
                <a:custGeom>
                  <a:avLst/>
                  <a:gdLst>
                    <a:gd name="T0" fmla="*/ 0 w 3986"/>
                    <a:gd name="T1" fmla="*/ 0 h 473"/>
                    <a:gd name="T2" fmla="*/ 1584 w 3986"/>
                    <a:gd name="T3" fmla="*/ 0 h 473"/>
                    <a:gd name="T4" fmla="*/ 1584 w 3986"/>
                    <a:gd name="T5" fmla="*/ 47 h 473"/>
                    <a:gd name="T6" fmla="*/ 1588 w 3986"/>
                    <a:gd name="T7" fmla="*/ 74 h 473"/>
                    <a:gd name="T8" fmla="*/ 1596 w 3986"/>
                    <a:gd name="T9" fmla="*/ 98 h 473"/>
                    <a:gd name="T10" fmla="*/ 1609 w 3986"/>
                    <a:gd name="T11" fmla="*/ 120 h 473"/>
                    <a:gd name="T12" fmla="*/ 1627 w 3986"/>
                    <a:gd name="T13" fmla="*/ 137 h 473"/>
                    <a:gd name="T14" fmla="*/ 1649 w 3986"/>
                    <a:gd name="T15" fmla="*/ 151 h 473"/>
                    <a:gd name="T16" fmla="*/ 1673 w 3986"/>
                    <a:gd name="T17" fmla="*/ 160 h 473"/>
                    <a:gd name="T18" fmla="*/ 1699 w 3986"/>
                    <a:gd name="T19" fmla="*/ 163 h 473"/>
                    <a:gd name="T20" fmla="*/ 2288 w 3986"/>
                    <a:gd name="T21" fmla="*/ 163 h 473"/>
                    <a:gd name="T22" fmla="*/ 2313 w 3986"/>
                    <a:gd name="T23" fmla="*/ 160 h 473"/>
                    <a:gd name="T24" fmla="*/ 2337 w 3986"/>
                    <a:gd name="T25" fmla="*/ 151 h 473"/>
                    <a:gd name="T26" fmla="*/ 2359 w 3986"/>
                    <a:gd name="T27" fmla="*/ 137 h 473"/>
                    <a:gd name="T28" fmla="*/ 2377 w 3986"/>
                    <a:gd name="T29" fmla="*/ 120 h 473"/>
                    <a:gd name="T30" fmla="*/ 2390 w 3986"/>
                    <a:gd name="T31" fmla="*/ 98 h 473"/>
                    <a:gd name="T32" fmla="*/ 2399 w 3986"/>
                    <a:gd name="T33" fmla="*/ 74 h 473"/>
                    <a:gd name="T34" fmla="*/ 2401 w 3986"/>
                    <a:gd name="T35" fmla="*/ 47 h 473"/>
                    <a:gd name="T36" fmla="*/ 2401 w 3986"/>
                    <a:gd name="T37" fmla="*/ 0 h 473"/>
                    <a:gd name="T38" fmla="*/ 3986 w 3986"/>
                    <a:gd name="T39" fmla="*/ 0 h 473"/>
                    <a:gd name="T40" fmla="*/ 3986 w 3986"/>
                    <a:gd name="T41" fmla="*/ 242 h 473"/>
                    <a:gd name="T42" fmla="*/ 3983 w 3986"/>
                    <a:gd name="T43" fmla="*/ 283 h 473"/>
                    <a:gd name="T44" fmla="*/ 3972 w 3986"/>
                    <a:gd name="T45" fmla="*/ 322 h 473"/>
                    <a:gd name="T46" fmla="*/ 3955 w 3986"/>
                    <a:gd name="T47" fmla="*/ 357 h 473"/>
                    <a:gd name="T48" fmla="*/ 3932 w 3986"/>
                    <a:gd name="T49" fmla="*/ 390 h 473"/>
                    <a:gd name="T50" fmla="*/ 3904 w 3986"/>
                    <a:gd name="T51" fmla="*/ 418 h 473"/>
                    <a:gd name="T52" fmla="*/ 3873 w 3986"/>
                    <a:gd name="T53" fmla="*/ 440 h 473"/>
                    <a:gd name="T54" fmla="*/ 3836 w 3986"/>
                    <a:gd name="T55" fmla="*/ 458 h 473"/>
                    <a:gd name="T56" fmla="*/ 3798 w 3986"/>
                    <a:gd name="T57" fmla="*/ 468 h 473"/>
                    <a:gd name="T58" fmla="*/ 3757 w 3986"/>
                    <a:gd name="T59" fmla="*/ 473 h 473"/>
                    <a:gd name="T60" fmla="*/ 230 w 3986"/>
                    <a:gd name="T61" fmla="*/ 473 h 473"/>
                    <a:gd name="T62" fmla="*/ 189 w 3986"/>
                    <a:gd name="T63" fmla="*/ 468 h 473"/>
                    <a:gd name="T64" fmla="*/ 150 w 3986"/>
                    <a:gd name="T65" fmla="*/ 458 h 473"/>
                    <a:gd name="T66" fmla="*/ 114 w 3986"/>
                    <a:gd name="T67" fmla="*/ 440 h 473"/>
                    <a:gd name="T68" fmla="*/ 82 w 3986"/>
                    <a:gd name="T69" fmla="*/ 418 h 473"/>
                    <a:gd name="T70" fmla="*/ 54 w 3986"/>
                    <a:gd name="T71" fmla="*/ 390 h 473"/>
                    <a:gd name="T72" fmla="*/ 31 w 3986"/>
                    <a:gd name="T73" fmla="*/ 357 h 473"/>
                    <a:gd name="T74" fmla="*/ 15 w 3986"/>
                    <a:gd name="T75" fmla="*/ 322 h 473"/>
                    <a:gd name="T76" fmla="*/ 4 w 3986"/>
                    <a:gd name="T77" fmla="*/ 283 h 473"/>
                    <a:gd name="T78" fmla="*/ 0 w 3986"/>
                    <a:gd name="T79" fmla="*/ 242 h 473"/>
                    <a:gd name="T80" fmla="*/ 0 w 3986"/>
                    <a:gd name="T81"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86" h="473">
                      <a:moveTo>
                        <a:pt x="0" y="0"/>
                      </a:moveTo>
                      <a:lnTo>
                        <a:pt x="1584" y="0"/>
                      </a:lnTo>
                      <a:lnTo>
                        <a:pt x="1584" y="47"/>
                      </a:lnTo>
                      <a:lnTo>
                        <a:pt x="1588" y="74"/>
                      </a:lnTo>
                      <a:lnTo>
                        <a:pt x="1596" y="98"/>
                      </a:lnTo>
                      <a:lnTo>
                        <a:pt x="1609" y="120"/>
                      </a:lnTo>
                      <a:lnTo>
                        <a:pt x="1627" y="137"/>
                      </a:lnTo>
                      <a:lnTo>
                        <a:pt x="1649" y="151"/>
                      </a:lnTo>
                      <a:lnTo>
                        <a:pt x="1673" y="160"/>
                      </a:lnTo>
                      <a:lnTo>
                        <a:pt x="1699" y="163"/>
                      </a:lnTo>
                      <a:lnTo>
                        <a:pt x="2288" y="163"/>
                      </a:lnTo>
                      <a:lnTo>
                        <a:pt x="2313" y="160"/>
                      </a:lnTo>
                      <a:lnTo>
                        <a:pt x="2337" y="151"/>
                      </a:lnTo>
                      <a:lnTo>
                        <a:pt x="2359" y="137"/>
                      </a:lnTo>
                      <a:lnTo>
                        <a:pt x="2377" y="120"/>
                      </a:lnTo>
                      <a:lnTo>
                        <a:pt x="2390" y="98"/>
                      </a:lnTo>
                      <a:lnTo>
                        <a:pt x="2399" y="74"/>
                      </a:lnTo>
                      <a:lnTo>
                        <a:pt x="2401" y="47"/>
                      </a:lnTo>
                      <a:lnTo>
                        <a:pt x="2401" y="0"/>
                      </a:lnTo>
                      <a:lnTo>
                        <a:pt x="3986" y="0"/>
                      </a:lnTo>
                      <a:lnTo>
                        <a:pt x="3986" y="242"/>
                      </a:lnTo>
                      <a:lnTo>
                        <a:pt x="3983" y="283"/>
                      </a:lnTo>
                      <a:lnTo>
                        <a:pt x="3972" y="322"/>
                      </a:lnTo>
                      <a:lnTo>
                        <a:pt x="3955" y="357"/>
                      </a:lnTo>
                      <a:lnTo>
                        <a:pt x="3932" y="390"/>
                      </a:lnTo>
                      <a:lnTo>
                        <a:pt x="3904" y="418"/>
                      </a:lnTo>
                      <a:lnTo>
                        <a:pt x="3873" y="440"/>
                      </a:lnTo>
                      <a:lnTo>
                        <a:pt x="3836" y="458"/>
                      </a:lnTo>
                      <a:lnTo>
                        <a:pt x="3798" y="468"/>
                      </a:lnTo>
                      <a:lnTo>
                        <a:pt x="3757" y="473"/>
                      </a:lnTo>
                      <a:lnTo>
                        <a:pt x="230" y="473"/>
                      </a:lnTo>
                      <a:lnTo>
                        <a:pt x="189" y="468"/>
                      </a:lnTo>
                      <a:lnTo>
                        <a:pt x="150" y="458"/>
                      </a:lnTo>
                      <a:lnTo>
                        <a:pt x="114" y="440"/>
                      </a:lnTo>
                      <a:lnTo>
                        <a:pt x="82" y="418"/>
                      </a:lnTo>
                      <a:lnTo>
                        <a:pt x="54" y="390"/>
                      </a:lnTo>
                      <a:lnTo>
                        <a:pt x="31" y="357"/>
                      </a:lnTo>
                      <a:lnTo>
                        <a:pt x="15" y="322"/>
                      </a:lnTo>
                      <a:lnTo>
                        <a:pt x="4" y="283"/>
                      </a:lnTo>
                      <a:lnTo>
                        <a:pt x="0" y="242"/>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77"/>
                  <a:endParaRPr lang="en-US" sz="1200" dirty="0">
                    <a:solidFill>
                      <a:srgbClr val="FFFFFF"/>
                    </a:solidFill>
                    <a:ea typeface="ＭＳ Ｐゴシック" pitchFamily="34" charset="-128"/>
                  </a:endParaRPr>
                </a:p>
              </p:txBody>
            </p:sp>
            <p:sp>
              <p:nvSpPr>
                <p:cNvPr id="110" name="Freeform 7"/>
                <p:cNvSpPr>
                  <a:spLocks noEditPoints="1"/>
                </p:cNvSpPr>
                <p:nvPr/>
              </p:nvSpPr>
              <p:spPr bwMode="auto">
                <a:xfrm>
                  <a:off x="4287838" y="-287338"/>
                  <a:ext cx="1085850" cy="714375"/>
                </a:xfrm>
                <a:custGeom>
                  <a:avLst/>
                  <a:gdLst>
                    <a:gd name="T0" fmla="*/ 279 w 3420"/>
                    <a:gd name="T1" fmla="*/ 298 h 2249"/>
                    <a:gd name="T2" fmla="*/ 279 w 3420"/>
                    <a:gd name="T3" fmla="*/ 2108 h 2249"/>
                    <a:gd name="T4" fmla="*/ 3141 w 3420"/>
                    <a:gd name="T5" fmla="*/ 2108 h 2249"/>
                    <a:gd name="T6" fmla="*/ 3141 w 3420"/>
                    <a:gd name="T7" fmla="*/ 298 h 2249"/>
                    <a:gd name="T8" fmla="*/ 279 w 3420"/>
                    <a:gd name="T9" fmla="*/ 298 h 2249"/>
                    <a:gd name="T10" fmla="*/ 332 w 3420"/>
                    <a:gd name="T11" fmla="*/ 0 h 2249"/>
                    <a:gd name="T12" fmla="*/ 3088 w 3420"/>
                    <a:gd name="T13" fmla="*/ 0 h 2249"/>
                    <a:gd name="T14" fmla="*/ 3136 w 3420"/>
                    <a:gd name="T15" fmla="*/ 3 h 2249"/>
                    <a:gd name="T16" fmla="*/ 3183 w 3420"/>
                    <a:gd name="T17" fmla="*/ 14 h 2249"/>
                    <a:gd name="T18" fmla="*/ 3227 w 3420"/>
                    <a:gd name="T19" fmla="*/ 31 h 2249"/>
                    <a:gd name="T20" fmla="*/ 3268 w 3420"/>
                    <a:gd name="T21" fmla="*/ 54 h 2249"/>
                    <a:gd name="T22" fmla="*/ 3306 w 3420"/>
                    <a:gd name="T23" fmla="*/ 82 h 2249"/>
                    <a:gd name="T24" fmla="*/ 3338 w 3420"/>
                    <a:gd name="T25" fmla="*/ 115 h 2249"/>
                    <a:gd name="T26" fmla="*/ 3367 w 3420"/>
                    <a:gd name="T27" fmla="*/ 153 h 2249"/>
                    <a:gd name="T28" fmla="*/ 3389 w 3420"/>
                    <a:gd name="T29" fmla="*/ 194 h 2249"/>
                    <a:gd name="T30" fmla="*/ 3406 w 3420"/>
                    <a:gd name="T31" fmla="*/ 238 h 2249"/>
                    <a:gd name="T32" fmla="*/ 3417 w 3420"/>
                    <a:gd name="T33" fmla="*/ 286 h 2249"/>
                    <a:gd name="T34" fmla="*/ 3420 w 3420"/>
                    <a:gd name="T35" fmla="*/ 335 h 2249"/>
                    <a:gd name="T36" fmla="*/ 3420 w 3420"/>
                    <a:gd name="T37" fmla="*/ 2249 h 2249"/>
                    <a:gd name="T38" fmla="*/ 0 w 3420"/>
                    <a:gd name="T39" fmla="*/ 2249 h 2249"/>
                    <a:gd name="T40" fmla="*/ 0 w 3420"/>
                    <a:gd name="T41" fmla="*/ 335 h 2249"/>
                    <a:gd name="T42" fmla="*/ 4 w 3420"/>
                    <a:gd name="T43" fmla="*/ 286 h 2249"/>
                    <a:gd name="T44" fmla="*/ 13 w 3420"/>
                    <a:gd name="T45" fmla="*/ 238 h 2249"/>
                    <a:gd name="T46" fmla="*/ 30 w 3420"/>
                    <a:gd name="T47" fmla="*/ 194 h 2249"/>
                    <a:gd name="T48" fmla="*/ 53 w 3420"/>
                    <a:gd name="T49" fmla="*/ 153 h 2249"/>
                    <a:gd name="T50" fmla="*/ 81 w 3420"/>
                    <a:gd name="T51" fmla="*/ 115 h 2249"/>
                    <a:gd name="T52" fmla="*/ 115 w 3420"/>
                    <a:gd name="T53" fmla="*/ 82 h 2249"/>
                    <a:gd name="T54" fmla="*/ 151 w 3420"/>
                    <a:gd name="T55" fmla="*/ 54 h 2249"/>
                    <a:gd name="T56" fmla="*/ 192 w 3420"/>
                    <a:gd name="T57" fmla="*/ 31 h 2249"/>
                    <a:gd name="T58" fmla="*/ 237 w 3420"/>
                    <a:gd name="T59" fmla="*/ 14 h 2249"/>
                    <a:gd name="T60" fmla="*/ 284 w 3420"/>
                    <a:gd name="T61" fmla="*/ 3 h 2249"/>
                    <a:gd name="T62" fmla="*/ 332 w 3420"/>
                    <a:gd name="T63" fmla="*/ 0 h 2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20" h="2249">
                      <a:moveTo>
                        <a:pt x="279" y="298"/>
                      </a:moveTo>
                      <a:lnTo>
                        <a:pt x="279" y="2108"/>
                      </a:lnTo>
                      <a:lnTo>
                        <a:pt x="3141" y="2108"/>
                      </a:lnTo>
                      <a:lnTo>
                        <a:pt x="3141" y="298"/>
                      </a:lnTo>
                      <a:lnTo>
                        <a:pt x="279" y="298"/>
                      </a:lnTo>
                      <a:close/>
                      <a:moveTo>
                        <a:pt x="332" y="0"/>
                      </a:moveTo>
                      <a:lnTo>
                        <a:pt x="3088" y="0"/>
                      </a:lnTo>
                      <a:lnTo>
                        <a:pt x="3136" y="3"/>
                      </a:lnTo>
                      <a:lnTo>
                        <a:pt x="3183" y="14"/>
                      </a:lnTo>
                      <a:lnTo>
                        <a:pt x="3227" y="31"/>
                      </a:lnTo>
                      <a:lnTo>
                        <a:pt x="3268" y="54"/>
                      </a:lnTo>
                      <a:lnTo>
                        <a:pt x="3306" y="82"/>
                      </a:lnTo>
                      <a:lnTo>
                        <a:pt x="3338" y="115"/>
                      </a:lnTo>
                      <a:lnTo>
                        <a:pt x="3367" y="153"/>
                      </a:lnTo>
                      <a:lnTo>
                        <a:pt x="3389" y="194"/>
                      </a:lnTo>
                      <a:lnTo>
                        <a:pt x="3406" y="238"/>
                      </a:lnTo>
                      <a:lnTo>
                        <a:pt x="3417" y="286"/>
                      </a:lnTo>
                      <a:lnTo>
                        <a:pt x="3420" y="335"/>
                      </a:lnTo>
                      <a:lnTo>
                        <a:pt x="3420" y="2249"/>
                      </a:lnTo>
                      <a:lnTo>
                        <a:pt x="0" y="2249"/>
                      </a:lnTo>
                      <a:lnTo>
                        <a:pt x="0" y="335"/>
                      </a:lnTo>
                      <a:lnTo>
                        <a:pt x="4" y="286"/>
                      </a:lnTo>
                      <a:lnTo>
                        <a:pt x="13" y="238"/>
                      </a:lnTo>
                      <a:lnTo>
                        <a:pt x="30" y="194"/>
                      </a:lnTo>
                      <a:lnTo>
                        <a:pt x="53" y="153"/>
                      </a:lnTo>
                      <a:lnTo>
                        <a:pt x="81" y="115"/>
                      </a:lnTo>
                      <a:lnTo>
                        <a:pt x="115" y="82"/>
                      </a:lnTo>
                      <a:lnTo>
                        <a:pt x="151" y="54"/>
                      </a:lnTo>
                      <a:lnTo>
                        <a:pt x="192" y="31"/>
                      </a:lnTo>
                      <a:lnTo>
                        <a:pt x="237" y="14"/>
                      </a:lnTo>
                      <a:lnTo>
                        <a:pt x="284" y="3"/>
                      </a:lnTo>
                      <a:lnTo>
                        <a:pt x="33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77"/>
                  <a:endParaRPr lang="en-US" sz="1200" dirty="0">
                    <a:solidFill>
                      <a:srgbClr val="FFFFFF"/>
                    </a:solidFill>
                    <a:ea typeface="ＭＳ Ｐゴシック" pitchFamily="34" charset="-128"/>
                  </a:endParaRPr>
                </a:p>
              </p:txBody>
            </p:sp>
          </p:grpSp>
          <p:sp>
            <p:nvSpPr>
              <p:cNvPr id="107" name="Freeform 7"/>
              <p:cNvSpPr>
                <a:spLocks noChangeAspect="1" noEditPoints="1"/>
              </p:cNvSpPr>
              <p:nvPr/>
            </p:nvSpPr>
            <p:spPr bwMode="auto">
              <a:xfrm>
                <a:off x="1504030" y="3653133"/>
                <a:ext cx="184889" cy="365760"/>
              </a:xfrm>
              <a:custGeom>
                <a:avLst/>
                <a:gdLst/>
                <a:ahLst/>
                <a:cxnLst>
                  <a:cxn ang="0">
                    <a:pos x="478" y="0"/>
                  </a:cxn>
                  <a:cxn ang="0">
                    <a:pos x="48" y="0"/>
                  </a:cxn>
                  <a:cxn ang="0">
                    <a:pos x="0" y="48"/>
                  </a:cxn>
                  <a:cxn ang="0">
                    <a:pos x="0" y="992"/>
                  </a:cxn>
                  <a:cxn ang="0">
                    <a:pos x="48" y="1040"/>
                  </a:cxn>
                  <a:cxn ang="0">
                    <a:pos x="478" y="1040"/>
                  </a:cxn>
                  <a:cxn ang="0">
                    <a:pos x="526" y="992"/>
                  </a:cxn>
                  <a:cxn ang="0">
                    <a:pos x="526" y="48"/>
                  </a:cxn>
                  <a:cxn ang="0">
                    <a:pos x="478" y="0"/>
                  </a:cxn>
                  <a:cxn ang="0">
                    <a:pos x="195" y="75"/>
                  </a:cxn>
                  <a:cxn ang="0">
                    <a:pos x="331" y="75"/>
                  </a:cxn>
                  <a:cxn ang="0">
                    <a:pos x="340" y="82"/>
                  </a:cxn>
                  <a:cxn ang="0">
                    <a:pos x="331" y="89"/>
                  </a:cxn>
                  <a:cxn ang="0">
                    <a:pos x="195" y="89"/>
                  </a:cxn>
                  <a:cxn ang="0">
                    <a:pos x="186" y="82"/>
                  </a:cxn>
                  <a:cxn ang="0">
                    <a:pos x="195" y="75"/>
                  </a:cxn>
                  <a:cxn ang="0">
                    <a:pos x="263" y="999"/>
                  </a:cxn>
                  <a:cxn ang="0">
                    <a:pos x="207" y="943"/>
                  </a:cxn>
                  <a:cxn ang="0">
                    <a:pos x="263" y="887"/>
                  </a:cxn>
                  <a:cxn ang="0">
                    <a:pos x="319" y="943"/>
                  </a:cxn>
                  <a:cxn ang="0">
                    <a:pos x="263" y="999"/>
                  </a:cxn>
                  <a:cxn ang="0">
                    <a:pos x="473" y="817"/>
                  </a:cxn>
                  <a:cxn ang="0">
                    <a:pos x="53" y="817"/>
                  </a:cxn>
                  <a:cxn ang="0">
                    <a:pos x="53" y="131"/>
                  </a:cxn>
                  <a:cxn ang="0">
                    <a:pos x="473" y="131"/>
                  </a:cxn>
                  <a:cxn ang="0">
                    <a:pos x="473" y="817"/>
                  </a:cxn>
                  <a:cxn ang="0">
                    <a:pos x="263" y="899"/>
                  </a:cxn>
                  <a:cxn ang="0">
                    <a:pos x="219" y="943"/>
                  </a:cxn>
                  <a:cxn ang="0">
                    <a:pos x="263" y="987"/>
                  </a:cxn>
                  <a:cxn ang="0">
                    <a:pos x="307" y="943"/>
                  </a:cxn>
                  <a:cxn ang="0">
                    <a:pos x="263" y="899"/>
                  </a:cxn>
                </a:cxnLst>
                <a:rect l="0" t="0" r="r" b="b"/>
                <a:pathLst>
                  <a:path w="526" h="1040">
                    <a:moveTo>
                      <a:pt x="478" y="0"/>
                    </a:moveTo>
                    <a:cubicBezTo>
                      <a:pt x="48" y="0"/>
                      <a:pt x="48" y="0"/>
                      <a:pt x="48" y="0"/>
                    </a:cubicBezTo>
                    <a:cubicBezTo>
                      <a:pt x="22" y="0"/>
                      <a:pt x="0" y="21"/>
                      <a:pt x="0" y="48"/>
                    </a:cubicBezTo>
                    <a:cubicBezTo>
                      <a:pt x="0" y="992"/>
                      <a:pt x="0" y="992"/>
                      <a:pt x="0" y="992"/>
                    </a:cubicBezTo>
                    <a:cubicBezTo>
                      <a:pt x="0" y="1019"/>
                      <a:pt x="22" y="1040"/>
                      <a:pt x="48" y="1040"/>
                    </a:cubicBezTo>
                    <a:cubicBezTo>
                      <a:pt x="478" y="1040"/>
                      <a:pt x="478" y="1040"/>
                      <a:pt x="478" y="1040"/>
                    </a:cubicBezTo>
                    <a:cubicBezTo>
                      <a:pt x="504" y="1040"/>
                      <a:pt x="526" y="1019"/>
                      <a:pt x="526" y="992"/>
                    </a:cubicBezTo>
                    <a:cubicBezTo>
                      <a:pt x="526" y="48"/>
                      <a:pt x="526" y="48"/>
                      <a:pt x="526" y="48"/>
                    </a:cubicBezTo>
                    <a:cubicBezTo>
                      <a:pt x="526" y="21"/>
                      <a:pt x="504" y="0"/>
                      <a:pt x="478" y="0"/>
                    </a:cubicBezTo>
                    <a:close/>
                    <a:moveTo>
                      <a:pt x="195" y="75"/>
                    </a:moveTo>
                    <a:cubicBezTo>
                      <a:pt x="331" y="75"/>
                      <a:pt x="331" y="75"/>
                      <a:pt x="331" y="75"/>
                    </a:cubicBezTo>
                    <a:cubicBezTo>
                      <a:pt x="335" y="75"/>
                      <a:pt x="340" y="79"/>
                      <a:pt x="340" y="82"/>
                    </a:cubicBezTo>
                    <a:cubicBezTo>
                      <a:pt x="340" y="87"/>
                      <a:pt x="335" y="89"/>
                      <a:pt x="331" y="89"/>
                    </a:cubicBezTo>
                    <a:cubicBezTo>
                      <a:pt x="195" y="89"/>
                      <a:pt x="195" y="89"/>
                      <a:pt x="195" y="89"/>
                    </a:cubicBezTo>
                    <a:cubicBezTo>
                      <a:pt x="189" y="89"/>
                      <a:pt x="186" y="87"/>
                      <a:pt x="186" y="82"/>
                    </a:cubicBezTo>
                    <a:cubicBezTo>
                      <a:pt x="186" y="79"/>
                      <a:pt x="189" y="75"/>
                      <a:pt x="195" y="75"/>
                    </a:cubicBezTo>
                    <a:close/>
                    <a:moveTo>
                      <a:pt x="263" y="999"/>
                    </a:moveTo>
                    <a:cubicBezTo>
                      <a:pt x="232" y="999"/>
                      <a:pt x="207" y="974"/>
                      <a:pt x="207" y="943"/>
                    </a:cubicBezTo>
                    <a:cubicBezTo>
                      <a:pt x="207" y="912"/>
                      <a:pt x="232" y="887"/>
                      <a:pt x="263" y="887"/>
                    </a:cubicBezTo>
                    <a:cubicBezTo>
                      <a:pt x="294" y="887"/>
                      <a:pt x="319" y="912"/>
                      <a:pt x="319" y="943"/>
                    </a:cubicBezTo>
                    <a:cubicBezTo>
                      <a:pt x="319" y="974"/>
                      <a:pt x="294" y="999"/>
                      <a:pt x="263" y="999"/>
                    </a:cubicBezTo>
                    <a:close/>
                    <a:moveTo>
                      <a:pt x="473" y="817"/>
                    </a:moveTo>
                    <a:cubicBezTo>
                      <a:pt x="53" y="817"/>
                      <a:pt x="53" y="817"/>
                      <a:pt x="53" y="817"/>
                    </a:cubicBezTo>
                    <a:cubicBezTo>
                      <a:pt x="53" y="131"/>
                      <a:pt x="53" y="131"/>
                      <a:pt x="53" y="131"/>
                    </a:cubicBezTo>
                    <a:cubicBezTo>
                      <a:pt x="473" y="131"/>
                      <a:pt x="473" y="131"/>
                      <a:pt x="473" y="131"/>
                    </a:cubicBezTo>
                    <a:lnTo>
                      <a:pt x="473" y="817"/>
                    </a:lnTo>
                    <a:close/>
                    <a:moveTo>
                      <a:pt x="263" y="899"/>
                    </a:moveTo>
                    <a:cubicBezTo>
                      <a:pt x="239" y="899"/>
                      <a:pt x="219" y="918"/>
                      <a:pt x="219" y="943"/>
                    </a:cubicBezTo>
                    <a:cubicBezTo>
                      <a:pt x="219" y="967"/>
                      <a:pt x="239" y="987"/>
                      <a:pt x="263" y="987"/>
                    </a:cubicBezTo>
                    <a:cubicBezTo>
                      <a:pt x="287" y="987"/>
                      <a:pt x="307" y="967"/>
                      <a:pt x="307" y="943"/>
                    </a:cubicBezTo>
                    <a:cubicBezTo>
                      <a:pt x="307" y="918"/>
                      <a:pt x="287" y="899"/>
                      <a:pt x="263" y="899"/>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8934"/>
                <a:endParaRPr lang="en-US" sz="1600" dirty="0">
                  <a:solidFill>
                    <a:srgbClr val="FFFFFF"/>
                  </a:solidFill>
                  <a:cs typeface="Arial" panose="020B0604020202020204" pitchFamily="34" charset="0"/>
                </a:endParaRPr>
              </a:p>
            </p:txBody>
          </p:sp>
        </p:grpSp>
      </p:grpSp>
      <p:sp>
        <p:nvSpPr>
          <p:cNvPr id="113" name="Rectangle 112"/>
          <p:cNvSpPr/>
          <p:nvPr/>
        </p:nvSpPr>
        <p:spPr>
          <a:xfrm>
            <a:off x="6192923" y="4327329"/>
            <a:ext cx="1519516" cy="338554"/>
          </a:xfrm>
          <a:prstGeom prst="rect">
            <a:avLst/>
          </a:prstGeom>
        </p:spPr>
        <p:txBody>
          <a:bodyPr wrap="square">
            <a:spAutoFit/>
          </a:bodyPr>
          <a:lstStyle/>
          <a:p>
            <a:pPr algn="ctr" defTabSz="456977"/>
            <a:r>
              <a:rPr lang="en-US" sz="1600" dirty="0" smtClean="0">
                <a:solidFill>
                  <a:srgbClr val="676767"/>
                </a:solidFill>
                <a:ea typeface="ＭＳ Ｐゴシック" pitchFamily="34" charset="-128"/>
                <a:cs typeface="Arial" panose="020B0604020202020204" pitchFamily="34" charset="0"/>
              </a:rPr>
              <a:t>Cloud</a:t>
            </a:r>
            <a:endParaRPr lang="en-US" sz="1600" dirty="0">
              <a:solidFill>
                <a:srgbClr val="676767"/>
              </a:solidFill>
              <a:ea typeface="ＭＳ Ｐゴシック" pitchFamily="34" charset="-128"/>
              <a:cs typeface="Arial" panose="020B0604020202020204" pitchFamily="34" charset="0"/>
            </a:endParaRPr>
          </a:p>
        </p:txBody>
      </p:sp>
      <p:sp>
        <p:nvSpPr>
          <p:cNvPr id="115" name="Oval 114"/>
          <p:cNvSpPr>
            <a:spLocks noChangeAspect="1"/>
          </p:cNvSpPr>
          <p:nvPr/>
        </p:nvSpPr>
        <p:spPr>
          <a:xfrm>
            <a:off x="6586690" y="3668483"/>
            <a:ext cx="656907" cy="656908"/>
          </a:xfrm>
          <a:prstGeom prst="ellipse">
            <a:avLst/>
          </a:prstGeom>
          <a:gradFill flip="none" rotWithShape="1">
            <a:gsLst>
              <a:gs pos="0">
                <a:schemeClr val="accent4">
                  <a:lumMod val="50000"/>
                </a:schemeClr>
              </a:gs>
              <a:gs pos="50000">
                <a:schemeClr val="accent4"/>
              </a:gs>
              <a:gs pos="100000">
                <a:schemeClr val="accent4">
                  <a:lumMod val="50000"/>
                </a:schemeClr>
              </a:gs>
            </a:gsLst>
            <a:lin ang="13500000" scaled="1"/>
            <a:tileRect/>
          </a:gra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77"/>
            <a:endParaRPr lang="en-US" sz="1200" dirty="0">
              <a:solidFill>
                <a:srgbClr val="FFFFFF"/>
              </a:solidFill>
            </a:endParaRPr>
          </a:p>
        </p:txBody>
      </p:sp>
      <p:sp>
        <p:nvSpPr>
          <p:cNvPr id="117" name="Freeform 116"/>
          <p:cNvSpPr>
            <a:spLocks noChangeAspect="1"/>
          </p:cNvSpPr>
          <p:nvPr/>
        </p:nvSpPr>
        <p:spPr bwMode="auto">
          <a:xfrm flipH="1">
            <a:off x="6653615" y="3815639"/>
            <a:ext cx="523056" cy="313048"/>
          </a:xfrm>
          <a:custGeom>
            <a:avLst/>
            <a:gdLst>
              <a:gd name="T0" fmla="*/ 699 w 799"/>
              <a:gd name="T1" fmla="*/ 264 h 464"/>
              <a:gd name="T2" fmla="*/ 698 w 799"/>
              <a:gd name="T3" fmla="*/ 264 h 464"/>
              <a:gd name="T4" fmla="*/ 699 w 799"/>
              <a:gd name="T5" fmla="*/ 253 h 464"/>
              <a:gd name="T6" fmla="*/ 635 w 799"/>
              <a:gd name="T7" fmla="*/ 190 h 464"/>
              <a:gd name="T8" fmla="*/ 623 w 799"/>
              <a:gd name="T9" fmla="*/ 191 h 464"/>
              <a:gd name="T10" fmla="*/ 629 w 799"/>
              <a:gd name="T11" fmla="*/ 153 h 464"/>
              <a:gd name="T12" fmla="*/ 457 w 799"/>
              <a:gd name="T13" fmla="*/ 0 h 464"/>
              <a:gd name="T14" fmla="*/ 288 w 799"/>
              <a:gd name="T15" fmla="*/ 124 h 464"/>
              <a:gd name="T16" fmla="*/ 229 w 799"/>
              <a:gd name="T17" fmla="*/ 102 h 464"/>
              <a:gd name="T18" fmla="*/ 138 w 799"/>
              <a:gd name="T19" fmla="*/ 194 h 464"/>
              <a:gd name="T20" fmla="*/ 138 w 799"/>
              <a:gd name="T21" fmla="*/ 199 h 464"/>
              <a:gd name="T22" fmla="*/ 133 w 799"/>
              <a:gd name="T23" fmla="*/ 198 h 464"/>
              <a:gd name="T24" fmla="*/ 0 w 799"/>
              <a:gd name="T25" fmla="*/ 331 h 464"/>
              <a:gd name="T26" fmla="*/ 133 w 799"/>
              <a:gd name="T27" fmla="*/ 464 h 464"/>
              <a:gd name="T28" fmla="*/ 699 w 799"/>
              <a:gd name="T29" fmla="*/ 464 h 464"/>
              <a:gd name="T30" fmla="*/ 799 w 799"/>
              <a:gd name="T31" fmla="*/ 364 h 464"/>
              <a:gd name="T32" fmla="*/ 699 w 799"/>
              <a:gd name="T33" fmla="*/ 2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9" h="464">
                <a:moveTo>
                  <a:pt x="699" y="264"/>
                </a:moveTo>
                <a:cubicBezTo>
                  <a:pt x="698" y="264"/>
                  <a:pt x="698" y="264"/>
                  <a:pt x="698" y="264"/>
                </a:cubicBezTo>
                <a:cubicBezTo>
                  <a:pt x="698" y="260"/>
                  <a:pt x="699" y="257"/>
                  <a:pt x="699" y="253"/>
                </a:cubicBezTo>
                <a:cubicBezTo>
                  <a:pt x="699" y="218"/>
                  <a:pt x="670" y="190"/>
                  <a:pt x="635" y="190"/>
                </a:cubicBezTo>
                <a:cubicBezTo>
                  <a:pt x="631" y="190"/>
                  <a:pt x="627" y="190"/>
                  <a:pt x="623" y="191"/>
                </a:cubicBezTo>
                <a:cubicBezTo>
                  <a:pt x="627" y="179"/>
                  <a:pt x="629" y="166"/>
                  <a:pt x="629" y="153"/>
                </a:cubicBezTo>
                <a:cubicBezTo>
                  <a:pt x="629" y="69"/>
                  <a:pt x="552" y="0"/>
                  <a:pt x="457" y="0"/>
                </a:cubicBezTo>
                <a:cubicBezTo>
                  <a:pt x="373" y="0"/>
                  <a:pt x="304" y="53"/>
                  <a:pt x="288" y="124"/>
                </a:cubicBezTo>
                <a:cubicBezTo>
                  <a:pt x="272" y="110"/>
                  <a:pt x="252" y="102"/>
                  <a:pt x="229" y="102"/>
                </a:cubicBezTo>
                <a:cubicBezTo>
                  <a:pt x="179" y="102"/>
                  <a:pt x="138" y="143"/>
                  <a:pt x="138" y="194"/>
                </a:cubicBezTo>
                <a:cubicBezTo>
                  <a:pt x="138" y="195"/>
                  <a:pt x="138" y="197"/>
                  <a:pt x="138" y="199"/>
                </a:cubicBezTo>
                <a:cubicBezTo>
                  <a:pt x="133" y="198"/>
                  <a:pt x="133" y="198"/>
                  <a:pt x="133" y="198"/>
                </a:cubicBezTo>
                <a:cubicBezTo>
                  <a:pt x="59" y="198"/>
                  <a:pt x="0" y="257"/>
                  <a:pt x="0" y="331"/>
                </a:cubicBezTo>
                <a:cubicBezTo>
                  <a:pt x="0" y="404"/>
                  <a:pt x="59" y="464"/>
                  <a:pt x="133" y="464"/>
                </a:cubicBezTo>
                <a:cubicBezTo>
                  <a:pt x="699" y="464"/>
                  <a:pt x="699" y="464"/>
                  <a:pt x="699" y="464"/>
                </a:cubicBezTo>
                <a:cubicBezTo>
                  <a:pt x="754" y="464"/>
                  <a:pt x="799" y="419"/>
                  <a:pt x="799" y="364"/>
                </a:cubicBezTo>
                <a:cubicBezTo>
                  <a:pt x="799" y="309"/>
                  <a:pt x="754" y="264"/>
                  <a:pt x="699" y="264"/>
                </a:cubicBezTo>
                <a:close/>
              </a:path>
            </a:pathLst>
          </a:custGeom>
          <a:solidFill>
            <a:srgbClr val="FFFFFF"/>
          </a:solidFill>
          <a:ln w="25400" cap="flat" cmpd="sng" algn="ctr">
            <a:noFill/>
            <a:prstDash val="solid"/>
          </a:ln>
          <a:effectLst/>
        </p:spPr>
        <p:txBody>
          <a:bodyPr lIns="121878" tIns="60938" rIns="121878" bIns="60938" rtlCol="0" anchor="ctr"/>
          <a:lstStyle/>
          <a:p>
            <a:pPr algn="ctr" defTabSz="514026">
              <a:defRPr/>
            </a:pPr>
            <a:endParaRPr lang="en-US" sz="788" kern="0" dirty="0">
              <a:solidFill>
                <a:srgbClr val="3366FF"/>
              </a:solidFill>
              <a:ea typeface="ＭＳ Ｐゴシック" pitchFamily="34" charset="-128"/>
            </a:endParaRPr>
          </a:p>
        </p:txBody>
      </p:sp>
      <p:grpSp>
        <p:nvGrpSpPr>
          <p:cNvPr id="72" name="Group 71"/>
          <p:cNvGrpSpPr>
            <a:grpSpLocks noChangeAspect="1"/>
          </p:cNvGrpSpPr>
          <p:nvPr/>
        </p:nvGrpSpPr>
        <p:grpSpPr>
          <a:xfrm>
            <a:off x="4423347" y="3795272"/>
            <a:ext cx="398892" cy="398892"/>
            <a:chOff x="-1195388" y="1227138"/>
            <a:chExt cx="879475" cy="879475"/>
          </a:xfrm>
        </p:grpSpPr>
        <p:sp>
          <p:nvSpPr>
            <p:cNvPr id="73" name="Freeform 6"/>
            <p:cNvSpPr>
              <a:spLocks/>
            </p:cNvSpPr>
            <p:nvPr/>
          </p:nvSpPr>
          <p:spPr bwMode="auto">
            <a:xfrm>
              <a:off x="-604838" y="1598613"/>
              <a:ext cx="138113" cy="136525"/>
            </a:xfrm>
            <a:custGeom>
              <a:avLst/>
              <a:gdLst>
                <a:gd name="T0" fmla="*/ 43 w 518"/>
                <a:gd name="T1" fmla="*/ 0 h 518"/>
                <a:gd name="T2" fmla="*/ 60 w 518"/>
                <a:gd name="T3" fmla="*/ 0 h 518"/>
                <a:gd name="T4" fmla="*/ 75 w 518"/>
                <a:gd name="T5" fmla="*/ 5 h 518"/>
                <a:gd name="T6" fmla="*/ 88 w 518"/>
                <a:gd name="T7" fmla="*/ 14 h 518"/>
                <a:gd name="T8" fmla="*/ 504 w 518"/>
                <a:gd name="T9" fmla="*/ 430 h 518"/>
                <a:gd name="T10" fmla="*/ 514 w 518"/>
                <a:gd name="T11" fmla="*/ 443 h 518"/>
                <a:gd name="T12" fmla="*/ 518 w 518"/>
                <a:gd name="T13" fmla="*/ 459 h 518"/>
                <a:gd name="T14" fmla="*/ 518 w 518"/>
                <a:gd name="T15" fmla="*/ 475 h 518"/>
                <a:gd name="T16" fmla="*/ 514 w 518"/>
                <a:gd name="T17" fmla="*/ 490 h 518"/>
                <a:gd name="T18" fmla="*/ 504 w 518"/>
                <a:gd name="T19" fmla="*/ 503 h 518"/>
                <a:gd name="T20" fmla="*/ 493 w 518"/>
                <a:gd name="T21" fmla="*/ 512 h 518"/>
                <a:gd name="T22" fmla="*/ 481 w 518"/>
                <a:gd name="T23" fmla="*/ 516 h 518"/>
                <a:gd name="T24" fmla="*/ 468 w 518"/>
                <a:gd name="T25" fmla="*/ 518 h 518"/>
                <a:gd name="T26" fmla="*/ 454 w 518"/>
                <a:gd name="T27" fmla="*/ 516 h 518"/>
                <a:gd name="T28" fmla="*/ 441 w 518"/>
                <a:gd name="T29" fmla="*/ 512 h 518"/>
                <a:gd name="T30" fmla="*/ 431 w 518"/>
                <a:gd name="T31" fmla="*/ 503 h 518"/>
                <a:gd name="T32" fmla="*/ 15 w 518"/>
                <a:gd name="T33" fmla="*/ 88 h 518"/>
                <a:gd name="T34" fmla="*/ 5 w 518"/>
                <a:gd name="T35" fmla="*/ 74 h 518"/>
                <a:gd name="T36" fmla="*/ 0 w 518"/>
                <a:gd name="T37" fmla="*/ 59 h 518"/>
                <a:gd name="T38" fmla="*/ 0 w 518"/>
                <a:gd name="T39" fmla="*/ 42 h 518"/>
                <a:gd name="T40" fmla="*/ 5 w 518"/>
                <a:gd name="T41" fmla="*/ 27 h 518"/>
                <a:gd name="T42" fmla="*/ 15 w 518"/>
                <a:gd name="T43" fmla="*/ 14 h 518"/>
                <a:gd name="T44" fmla="*/ 28 w 518"/>
                <a:gd name="T45" fmla="*/ 5 h 518"/>
                <a:gd name="T46" fmla="*/ 43 w 518"/>
                <a:gd name="T47"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8" h="518">
                  <a:moveTo>
                    <a:pt x="43" y="0"/>
                  </a:moveTo>
                  <a:lnTo>
                    <a:pt x="60" y="0"/>
                  </a:lnTo>
                  <a:lnTo>
                    <a:pt x="75" y="5"/>
                  </a:lnTo>
                  <a:lnTo>
                    <a:pt x="88" y="14"/>
                  </a:lnTo>
                  <a:lnTo>
                    <a:pt x="504" y="430"/>
                  </a:lnTo>
                  <a:lnTo>
                    <a:pt x="514" y="443"/>
                  </a:lnTo>
                  <a:lnTo>
                    <a:pt x="518" y="459"/>
                  </a:lnTo>
                  <a:lnTo>
                    <a:pt x="518" y="475"/>
                  </a:lnTo>
                  <a:lnTo>
                    <a:pt x="514" y="490"/>
                  </a:lnTo>
                  <a:lnTo>
                    <a:pt x="504" y="503"/>
                  </a:lnTo>
                  <a:lnTo>
                    <a:pt x="493" y="512"/>
                  </a:lnTo>
                  <a:lnTo>
                    <a:pt x="481" y="516"/>
                  </a:lnTo>
                  <a:lnTo>
                    <a:pt x="468" y="518"/>
                  </a:lnTo>
                  <a:lnTo>
                    <a:pt x="454" y="516"/>
                  </a:lnTo>
                  <a:lnTo>
                    <a:pt x="441" y="512"/>
                  </a:lnTo>
                  <a:lnTo>
                    <a:pt x="431" y="503"/>
                  </a:lnTo>
                  <a:lnTo>
                    <a:pt x="15" y="88"/>
                  </a:lnTo>
                  <a:lnTo>
                    <a:pt x="5" y="74"/>
                  </a:lnTo>
                  <a:lnTo>
                    <a:pt x="0" y="59"/>
                  </a:lnTo>
                  <a:lnTo>
                    <a:pt x="0" y="42"/>
                  </a:lnTo>
                  <a:lnTo>
                    <a:pt x="5" y="27"/>
                  </a:lnTo>
                  <a:lnTo>
                    <a:pt x="15" y="14"/>
                  </a:lnTo>
                  <a:lnTo>
                    <a:pt x="28" y="5"/>
                  </a:lnTo>
                  <a:lnTo>
                    <a:pt x="4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74" name="Freeform 7"/>
            <p:cNvSpPr>
              <a:spLocks/>
            </p:cNvSpPr>
            <p:nvPr/>
          </p:nvSpPr>
          <p:spPr bwMode="auto">
            <a:xfrm>
              <a:off x="-1044576" y="1598613"/>
              <a:ext cx="138113" cy="136525"/>
            </a:xfrm>
            <a:custGeom>
              <a:avLst/>
              <a:gdLst>
                <a:gd name="T0" fmla="*/ 459 w 519"/>
                <a:gd name="T1" fmla="*/ 0 h 518"/>
                <a:gd name="T2" fmla="*/ 475 w 519"/>
                <a:gd name="T3" fmla="*/ 0 h 518"/>
                <a:gd name="T4" fmla="*/ 491 w 519"/>
                <a:gd name="T5" fmla="*/ 5 h 518"/>
                <a:gd name="T6" fmla="*/ 504 w 519"/>
                <a:gd name="T7" fmla="*/ 14 h 518"/>
                <a:gd name="T8" fmla="*/ 514 w 519"/>
                <a:gd name="T9" fmla="*/ 27 h 518"/>
                <a:gd name="T10" fmla="*/ 519 w 519"/>
                <a:gd name="T11" fmla="*/ 42 h 518"/>
                <a:gd name="T12" fmla="*/ 519 w 519"/>
                <a:gd name="T13" fmla="*/ 59 h 518"/>
                <a:gd name="T14" fmla="*/ 514 w 519"/>
                <a:gd name="T15" fmla="*/ 74 h 518"/>
                <a:gd name="T16" fmla="*/ 504 w 519"/>
                <a:gd name="T17" fmla="*/ 88 h 518"/>
                <a:gd name="T18" fmla="*/ 89 w 519"/>
                <a:gd name="T19" fmla="*/ 503 h 518"/>
                <a:gd name="T20" fmla="*/ 78 w 519"/>
                <a:gd name="T21" fmla="*/ 512 h 518"/>
                <a:gd name="T22" fmla="*/ 64 w 519"/>
                <a:gd name="T23" fmla="*/ 516 h 518"/>
                <a:gd name="T24" fmla="*/ 52 w 519"/>
                <a:gd name="T25" fmla="*/ 518 h 518"/>
                <a:gd name="T26" fmla="*/ 39 w 519"/>
                <a:gd name="T27" fmla="*/ 516 h 518"/>
                <a:gd name="T28" fmla="*/ 26 w 519"/>
                <a:gd name="T29" fmla="*/ 512 h 518"/>
                <a:gd name="T30" fmla="*/ 15 w 519"/>
                <a:gd name="T31" fmla="*/ 503 h 518"/>
                <a:gd name="T32" fmla="*/ 5 w 519"/>
                <a:gd name="T33" fmla="*/ 490 h 518"/>
                <a:gd name="T34" fmla="*/ 0 w 519"/>
                <a:gd name="T35" fmla="*/ 475 h 518"/>
                <a:gd name="T36" fmla="*/ 0 w 519"/>
                <a:gd name="T37" fmla="*/ 459 h 518"/>
                <a:gd name="T38" fmla="*/ 5 w 519"/>
                <a:gd name="T39" fmla="*/ 443 h 518"/>
                <a:gd name="T40" fmla="*/ 15 w 519"/>
                <a:gd name="T41" fmla="*/ 430 h 518"/>
                <a:gd name="T42" fmla="*/ 431 w 519"/>
                <a:gd name="T43" fmla="*/ 14 h 518"/>
                <a:gd name="T44" fmla="*/ 444 w 519"/>
                <a:gd name="T45" fmla="*/ 5 h 518"/>
                <a:gd name="T46" fmla="*/ 459 w 519"/>
                <a:gd name="T47"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518">
                  <a:moveTo>
                    <a:pt x="459" y="0"/>
                  </a:moveTo>
                  <a:lnTo>
                    <a:pt x="475" y="0"/>
                  </a:lnTo>
                  <a:lnTo>
                    <a:pt x="491" y="5"/>
                  </a:lnTo>
                  <a:lnTo>
                    <a:pt x="504" y="14"/>
                  </a:lnTo>
                  <a:lnTo>
                    <a:pt x="514" y="27"/>
                  </a:lnTo>
                  <a:lnTo>
                    <a:pt x="519" y="42"/>
                  </a:lnTo>
                  <a:lnTo>
                    <a:pt x="519" y="59"/>
                  </a:lnTo>
                  <a:lnTo>
                    <a:pt x="514" y="74"/>
                  </a:lnTo>
                  <a:lnTo>
                    <a:pt x="504" y="88"/>
                  </a:lnTo>
                  <a:lnTo>
                    <a:pt x="89" y="503"/>
                  </a:lnTo>
                  <a:lnTo>
                    <a:pt x="78" y="512"/>
                  </a:lnTo>
                  <a:lnTo>
                    <a:pt x="64" y="516"/>
                  </a:lnTo>
                  <a:lnTo>
                    <a:pt x="52" y="518"/>
                  </a:lnTo>
                  <a:lnTo>
                    <a:pt x="39" y="516"/>
                  </a:lnTo>
                  <a:lnTo>
                    <a:pt x="26" y="512"/>
                  </a:lnTo>
                  <a:lnTo>
                    <a:pt x="15" y="503"/>
                  </a:lnTo>
                  <a:lnTo>
                    <a:pt x="5" y="490"/>
                  </a:lnTo>
                  <a:lnTo>
                    <a:pt x="0" y="475"/>
                  </a:lnTo>
                  <a:lnTo>
                    <a:pt x="0" y="459"/>
                  </a:lnTo>
                  <a:lnTo>
                    <a:pt x="5" y="443"/>
                  </a:lnTo>
                  <a:lnTo>
                    <a:pt x="15" y="430"/>
                  </a:lnTo>
                  <a:lnTo>
                    <a:pt x="431" y="14"/>
                  </a:lnTo>
                  <a:lnTo>
                    <a:pt x="444" y="5"/>
                  </a:lnTo>
                  <a:lnTo>
                    <a:pt x="45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75" name="Freeform 8"/>
            <p:cNvSpPr>
              <a:spLocks/>
            </p:cNvSpPr>
            <p:nvPr/>
          </p:nvSpPr>
          <p:spPr bwMode="auto">
            <a:xfrm>
              <a:off x="-879476" y="1900238"/>
              <a:ext cx="247650" cy="26988"/>
            </a:xfrm>
            <a:custGeom>
              <a:avLst/>
              <a:gdLst>
                <a:gd name="T0" fmla="*/ 52 w 935"/>
                <a:gd name="T1" fmla="*/ 0 h 103"/>
                <a:gd name="T2" fmla="*/ 883 w 935"/>
                <a:gd name="T3" fmla="*/ 0 h 103"/>
                <a:gd name="T4" fmla="*/ 900 w 935"/>
                <a:gd name="T5" fmla="*/ 2 h 103"/>
                <a:gd name="T6" fmla="*/ 914 w 935"/>
                <a:gd name="T7" fmla="*/ 10 h 103"/>
                <a:gd name="T8" fmla="*/ 926 w 935"/>
                <a:gd name="T9" fmla="*/ 21 h 103"/>
                <a:gd name="T10" fmla="*/ 933 w 935"/>
                <a:gd name="T11" fmla="*/ 35 h 103"/>
                <a:gd name="T12" fmla="*/ 935 w 935"/>
                <a:gd name="T13" fmla="*/ 51 h 103"/>
                <a:gd name="T14" fmla="*/ 933 w 935"/>
                <a:gd name="T15" fmla="*/ 68 h 103"/>
                <a:gd name="T16" fmla="*/ 926 w 935"/>
                <a:gd name="T17" fmla="*/ 82 h 103"/>
                <a:gd name="T18" fmla="*/ 914 w 935"/>
                <a:gd name="T19" fmla="*/ 93 h 103"/>
                <a:gd name="T20" fmla="*/ 900 w 935"/>
                <a:gd name="T21" fmla="*/ 101 h 103"/>
                <a:gd name="T22" fmla="*/ 883 w 935"/>
                <a:gd name="T23" fmla="*/ 103 h 103"/>
                <a:gd name="T24" fmla="*/ 52 w 935"/>
                <a:gd name="T25" fmla="*/ 103 h 103"/>
                <a:gd name="T26" fmla="*/ 36 w 935"/>
                <a:gd name="T27" fmla="*/ 101 h 103"/>
                <a:gd name="T28" fmla="*/ 22 w 935"/>
                <a:gd name="T29" fmla="*/ 93 h 103"/>
                <a:gd name="T30" fmla="*/ 11 w 935"/>
                <a:gd name="T31" fmla="*/ 82 h 103"/>
                <a:gd name="T32" fmla="*/ 3 w 935"/>
                <a:gd name="T33" fmla="*/ 68 h 103"/>
                <a:gd name="T34" fmla="*/ 0 w 935"/>
                <a:gd name="T35" fmla="*/ 51 h 103"/>
                <a:gd name="T36" fmla="*/ 3 w 935"/>
                <a:gd name="T37" fmla="*/ 35 h 103"/>
                <a:gd name="T38" fmla="*/ 11 w 935"/>
                <a:gd name="T39" fmla="*/ 21 h 103"/>
                <a:gd name="T40" fmla="*/ 22 w 935"/>
                <a:gd name="T41" fmla="*/ 10 h 103"/>
                <a:gd name="T42" fmla="*/ 36 w 935"/>
                <a:gd name="T43" fmla="*/ 2 h 103"/>
                <a:gd name="T44" fmla="*/ 52 w 935"/>
                <a:gd name="T4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5" h="103">
                  <a:moveTo>
                    <a:pt x="52" y="0"/>
                  </a:moveTo>
                  <a:lnTo>
                    <a:pt x="883" y="0"/>
                  </a:lnTo>
                  <a:lnTo>
                    <a:pt x="900" y="2"/>
                  </a:lnTo>
                  <a:lnTo>
                    <a:pt x="914" y="10"/>
                  </a:lnTo>
                  <a:lnTo>
                    <a:pt x="926" y="21"/>
                  </a:lnTo>
                  <a:lnTo>
                    <a:pt x="933" y="35"/>
                  </a:lnTo>
                  <a:lnTo>
                    <a:pt x="935" y="51"/>
                  </a:lnTo>
                  <a:lnTo>
                    <a:pt x="933" y="68"/>
                  </a:lnTo>
                  <a:lnTo>
                    <a:pt x="926" y="82"/>
                  </a:lnTo>
                  <a:lnTo>
                    <a:pt x="914" y="93"/>
                  </a:lnTo>
                  <a:lnTo>
                    <a:pt x="900" y="101"/>
                  </a:lnTo>
                  <a:lnTo>
                    <a:pt x="883" y="103"/>
                  </a:lnTo>
                  <a:lnTo>
                    <a:pt x="52" y="103"/>
                  </a:lnTo>
                  <a:lnTo>
                    <a:pt x="36" y="101"/>
                  </a:lnTo>
                  <a:lnTo>
                    <a:pt x="22" y="93"/>
                  </a:lnTo>
                  <a:lnTo>
                    <a:pt x="11" y="82"/>
                  </a:lnTo>
                  <a:lnTo>
                    <a:pt x="3" y="68"/>
                  </a:lnTo>
                  <a:lnTo>
                    <a:pt x="0" y="51"/>
                  </a:lnTo>
                  <a:lnTo>
                    <a:pt x="3" y="35"/>
                  </a:lnTo>
                  <a:lnTo>
                    <a:pt x="11" y="21"/>
                  </a:lnTo>
                  <a:lnTo>
                    <a:pt x="22" y="10"/>
                  </a:lnTo>
                  <a:lnTo>
                    <a:pt x="36" y="2"/>
                  </a:lnTo>
                  <a:lnTo>
                    <a:pt x="5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76" name="Freeform 9"/>
            <p:cNvSpPr>
              <a:spLocks noEditPoints="1"/>
            </p:cNvSpPr>
            <p:nvPr/>
          </p:nvSpPr>
          <p:spPr bwMode="auto">
            <a:xfrm>
              <a:off x="-892176" y="1227138"/>
              <a:ext cx="274638" cy="330200"/>
            </a:xfrm>
            <a:custGeom>
              <a:avLst/>
              <a:gdLst>
                <a:gd name="T0" fmla="*/ 207 w 1039"/>
                <a:gd name="T1" fmla="*/ 207 h 1248"/>
                <a:gd name="T2" fmla="*/ 207 w 1039"/>
                <a:gd name="T3" fmla="*/ 831 h 1248"/>
                <a:gd name="T4" fmla="*/ 831 w 1039"/>
                <a:gd name="T5" fmla="*/ 831 h 1248"/>
                <a:gd name="T6" fmla="*/ 831 w 1039"/>
                <a:gd name="T7" fmla="*/ 207 h 1248"/>
                <a:gd name="T8" fmla="*/ 207 w 1039"/>
                <a:gd name="T9" fmla="*/ 207 h 1248"/>
                <a:gd name="T10" fmla="*/ 103 w 1039"/>
                <a:gd name="T11" fmla="*/ 0 h 1248"/>
                <a:gd name="T12" fmla="*/ 934 w 1039"/>
                <a:gd name="T13" fmla="*/ 0 h 1248"/>
                <a:gd name="T14" fmla="*/ 959 w 1039"/>
                <a:gd name="T15" fmla="*/ 2 h 1248"/>
                <a:gd name="T16" fmla="*/ 980 w 1039"/>
                <a:gd name="T17" fmla="*/ 10 h 1248"/>
                <a:gd name="T18" fmla="*/ 999 w 1039"/>
                <a:gd name="T19" fmla="*/ 23 h 1248"/>
                <a:gd name="T20" fmla="*/ 1016 w 1039"/>
                <a:gd name="T21" fmla="*/ 39 h 1248"/>
                <a:gd name="T22" fmla="*/ 1028 w 1039"/>
                <a:gd name="T23" fmla="*/ 58 h 1248"/>
                <a:gd name="T24" fmla="*/ 1036 w 1039"/>
                <a:gd name="T25" fmla="*/ 81 h 1248"/>
                <a:gd name="T26" fmla="*/ 1039 w 1039"/>
                <a:gd name="T27" fmla="*/ 104 h 1248"/>
                <a:gd name="T28" fmla="*/ 1039 w 1039"/>
                <a:gd name="T29" fmla="*/ 1143 h 1248"/>
                <a:gd name="T30" fmla="*/ 1036 w 1039"/>
                <a:gd name="T31" fmla="*/ 1167 h 1248"/>
                <a:gd name="T32" fmla="*/ 1028 w 1039"/>
                <a:gd name="T33" fmla="*/ 1189 h 1248"/>
                <a:gd name="T34" fmla="*/ 1016 w 1039"/>
                <a:gd name="T35" fmla="*/ 1208 h 1248"/>
                <a:gd name="T36" fmla="*/ 999 w 1039"/>
                <a:gd name="T37" fmla="*/ 1224 h 1248"/>
                <a:gd name="T38" fmla="*/ 980 w 1039"/>
                <a:gd name="T39" fmla="*/ 1236 h 1248"/>
                <a:gd name="T40" fmla="*/ 959 w 1039"/>
                <a:gd name="T41" fmla="*/ 1245 h 1248"/>
                <a:gd name="T42" fmla="*/ 934 w 1039"/>
                <a:gd name="T43" fmla="*/ 1248 h 1248"/>
                <a:gd name="T44" fmla="*/ 103 w 1039"/>
                <a:gd name="T45" fmla="*/ 1248 h 1248"/>
                <a:gd name="T46" fmla="*/ 80 w 1039"/>
                <a:gd name="T47" fmla="*/ 1245 h 1248"/>
                <a:gd name="T48" fmla="*/ 58 w 1039"/>
                <a:gd name="T49" fmla="*/ 1236 h 1248"/>
                <a:gd name="T50" fmla="*/ 38 w 1039"/>
                <a:gd name="T51" fmla="*/ 1224 h 1248"/>
                <a:gd name="T52" fmla="*/ 22 w 1039"/>
                <a:gd name="T53" fmla="*/ 1208 h 1248"/>
                <a:gd name="T54" fmla="*/ 10 w 1039"/>
                <a:gd name="T55" fmla="*/ 1189 h 1248"/>
                <a:gd name="T56" fmla="*/ 2 w 1039"/>
                <a:gd name="T57" fmla="*/ 1167 h 1248"/>
                <a:gd name="T58" fmla="*/ 0 w 1039"/>
                <a:gd name="T59" fmla="*/ 1143 h 1248"/>
                <a:gd name="T60" fmla="*/ 0 w 1039"/>
                <a:gd name="T61" fmla="*/ 104 h 1248"/>
                <a:gd name="T62" fmla="*/ 2 w 1039"/>
                <a:gd name="T63" fmla="*/ 81 h 1248"/>
                <a:gd name="T64" fmla="*/ 10 w 1039"/>
                <a:gd name="T65" fmla="*/ 58 h 1248"/>
                <a:gd name="T66" fmla="*/ 22 w 1039"/>
                <a:gd name="T67" fmla="*/ 39 h 1248"/>
                <a:gd name="T68" fmla="*/ 38 w 1039"/>
                <a:gd name="T69" fmla="*/ 23 h 1248"/>
                <a:gd name="T70" fmla="*/ 58 w 1039"/>
                <a:gd name="T71" fmla="*/ 10 h 1248"/>
                <a:gd name="T72" fmla="*/ 80 w 1039"/>
                <a:gd name="T73" fmla="*/ 2 h 1248"/>
                <a:gd name="T74" fmla="*/ 103 w 1039"/>
                <a:gd name="T75" fmla="*/ 0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9" h="1248">
                  <a:moveTo>
                    <a:pt x="207" y="207"/>
                  </a:moveTo>
                  <a:lnTo>
                    <a:pt x="207" y="831"/>
                  </a:lnTo>
                  <a:lnTo>
                    <a:pt x="831" y="831"/>
                  </a:lnTo>
                  <a:lnTo>
                    <a:pt x="831" y="207"/>
                  </a:lnTo>
                  <a:lnTo>
                    <a:pt x="207" y="207"/>
                  </a:lnTo>
                  <a:close/>
                  <a:moveTo>
                    <a:pt x="103" y="0"/>
                  </a:moveTo>
                  <a:lnTo>
                    <a:pt x="934" y="0"/>
                  </a:lnTo>
                  <a:lnTo>
                    <a:pt x="959" y="2"/>
                  </a:lnTo>
                  <a:lnTo>
                    <a:pt x="980" y="10"/>
                  </a:lnTo>
                  <a:lnTo>
                    <a:pt x="999" y="23"/>
                  </a:lnTo>
                  <a:lnTo>
                    <a:pt x="1016" y="39"/>
                  </a:lnTo>
                  <a:lnTo>
                    <a:pt x="1028" y="58"/>
                  </a:lnTo>
                  <a:lnTo>
                    <a:pt x="1036" y="81"/>
                  </a:lnTo>
                  <a:lnTo>
                    <a:pt x="1039" y="104"/>
                  </a:lnTo>
                  <a:lnTo>
                    <a:pt x="1039" y="1143"/>
                  </a:lnTo>
                  <a:lnTo>
                    <a:pt x="1036" y="1167"/>
                  </a:lnTo>
                  <a:lnTo>
                    <a:pt x="1028" y="1189"/>
                  </a:lnTo>
                  <a:lnTo>
                    <a:pt x="1016" y="1208"/>
                  </a:lnTo>
                  <a:lnTo>
                    <a:pt x="999" y="1224"/>
                  </a:lnTo>
                  <a:lnTo>
                    <a:pt x="980" y="1236"/>
                  </a:lnTo>
                  <a:lnTo>
                    <a:pt x="959" y="1245"/>
                  </a:lnTo>
                  <a:lnTo>
                    <a:pt x="934" y="1248"/>
                  </a:lnTo>
                  <a:lnTo>
                    <a:pt x="103" y="1248"/>
                  </a:lnTo>
                  <a:lnTo>
                    <a:pt x="80" y="1245"/>
                  </a:lnTo>
                  <a:lnTo>
                    <a:pt x="58" y="1236"/>
                  </a:lnTo>
                  <a:lnTo>
                    <a:pt x="38" y="1224"/>
                  </a:lnTo>
                  <a:lnTo>
                    <a:pt x="22" y="1208"/>
                  </a:lnTo>
                  <a:lnTo>
                    <a:pt x="10" y="1189"/>
                  </a:lnTo>
                  <a:lnTo>
                    <a:pt x="2" y="1167"/>
                  </a:lnTo>
                  <a:lnTo>
                    <a:pt x="0" y="1143"/>
                  </a:lnTo>
                  <a:lnTo>
                    <a:pt x="0" y="104"/>
                  </a:lnTo>
                  <a:lnTo>
                    <a:pt x="2" y="81"/>
                  </a:lnTo>
                  <a:lnTo>
                    <a:pt x="10" y="58"/>
                  </a:lnTo>
                  <a:lnTo>
                    <a:pt x="22" y="39"/>
                  </a:lnTo>
                  <a:lnTo>
                    <a:pt x="38" y="23"/>
                  </a:lnTo>
                  <a:lnTo>
                    <a:pt x="58" y="10"/>
                  </a:lnTo>
                  <a:lnTo>
                    <a:pt x="80" y="2"/>
                  </a:lnTo>
                  <a:lnTo>
                    <a:pt x="10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77" name="Freeform 10"/>
            <p:cNvSpPr>
              <a:spLocks noEditPoints="1"/>
            </p:cNvSpPr>
            <p:nvPr/>
          </p:nvSpPr>
          <p:spPr bwMode="auto">
            <a:xfrm>
              <a:off x="-1195388" y="1776413"/>
              <a:ext cx="274638" cy="330200"/>
            </a:xfrm>
            <a:custGeom>
              <a:avLst/>
              <a:gdLst>
                <a:gd name="T0" fmla="*/ 208 w 1039"/>
                <a:gd name="T1" fmla="*/ 208 h 1247"/>
                <a:gd name="T2" fmla="*/ 208 w 1039"/>
                <a:gd name="T3" fmla="*/ 831 h 1247"/>
                <a:gd name="T4" fmla="*/ 831 w 1039"/>
                <a:gd name="T5" fmla="*/ 831 h 1247"/>
                <a:gd name="T6" fmla="*/ 831 w 1039"/>
                <a:gd name="T7" fmla="*/ 208 h 1247"/>
                <a:gd name="T8" fmla="*/ 208 w 1039"/>
                <a:gd name="T9" fmla="*/ 208 h 1247"/>
                <a:gd name="T10" fmla="*/ 104 w 1039"/>
                <a:gd name="T11" fmla="*/ 0 h 1247"/>
                <a:gd name="T12" fmla="*/ 936 w 1039"/>
                <a:gd name="T13" fmla="*/ 0 h 1247"/>
                <a:gd name="T14" fmla="*/ 959 w 1039"/>
                <a:gd name="T15" fmla="*/ 3 h 1247"/>
                <a:gd name="T16" fmla="*/ 981 w 1039"/>
                <a:gd name="T17" fmla="*/ 10 h 1247"/>
                <a:gd name="T18" fmla="*/ 1001 w 1039"/>
                <a:gd name="T19" fmla="*/ 22 h 1247"/>
                <a:gd name="T20" fmla="*/ 1017 w 1039"/>
                <a:gd name="T21" fmla="*/ 38 h 1247"/>
                <a:gd name="T22" fmla="*/ 1029 w 1039"/>
                <a:gd name="T23" fmla="*/ 58 h 1247"/>
                <a:gd name="T24" fmla="*/ 1036 w 1039"/>
                <a:gd name="T25" fmla="*/ 80 h 1247"/>
                <a:gd name="T26" fmla="*/ 1039 w 1039"/>
                <a:gd name="T27" fmla="*/ 103 h 1247"/>
                <a:gd name="T28" fmla="*/ 1039 w 1039"/>
                <a:gd name="T29" fmla="*/ 1143 h 1247"/>
                <a:gd name="T30" fmla="*/ 1036 w 1039"/>
                <a:gd name="T31" fmla="*/ 1167 h 1247"/>
                <a:gd name="T32" fmla="*/ 1029 w 1039"/>
                <a:gd name="T33" fmla="*/ 1189 h 1247"/>
                <a:gd name="T34" fmla="*/ 1017 w 1039"/>
                <a:gd name="T35" fmla="*/ 1208 h 1247"/>
                <a:gd name="T36" fmla="*/ 1001 w 1039"/>
                <a:gd name="T37" fmla="*/ 1224 h 1247"/>
                <a:gd name="T38" fmla="*/ 981 w 1039"/>
                <a:gd name="T39" fmla="*/ 1237 h 1247"/>
                <a:gd name="T40" fmla="*/ 959 w 1039"/>
                <a:gd name="T41" fmla="*/ 1244 h 1247"/>
                <a:gd name="T42" fmla="*/ 936 w 1039"/>
                <a:gd name="T43" fmla="*/ 1247 h 1247"/>
                <a:gd name="T44" fmla="*/ 104 w 1039"/>
                <a:gd name="T45" fmla="*/ 1247 h 1247"/>
                <a:gd name="T46" fmla="*/ 80 w 1039"/>
                <a:gd name="T47" fmla="*/ 1244 h 1247"/>
                <a:gd name="T48" fmla="*/ 58 w 1039"/>
                <a:gd name="T49" fmla="*/ 1237 h 1247"/>
                <a:gd name="T50" fmla="*/ 39 w 1039"/>
                <a:gd name="T51" fmla="*/ 1224 h 1247"/>
                <a:gd name="T52" fmla="*/ 23 w 1039"/>
                <a:gd name="T53" fmla="*/ 1208 h 1247"/>
                <a:gd name="T54" fmla="*/ 10 w 1039"/>
                <a:gd name="T55" fmla="*/ 1189 h 1247"/>
                <a:gd name="T56" fmla="*/ 3 w 1039"/>
                <a:gd name="T57" fmla="*/ 1167 h 1247"/>
                <a:gd name="T58" fmla="*/ 0 w 1039"/>
                <a:gd name="T59" fmla="*/ 1143 h 1247"/>
                <a:gd name="T60" fmla="*/ 0 w 1039"/>
                <a:gd name="T61" fmla="*/ 103 h 1247"/>
                <a:gd name="T62" fmla="*/ 3 w 1039"/>
                <a:gd name="T63" fmla="*/ 80 h 1247"/>
                <a:gd name="T64" fmla="*/ 10 w 1039"/>
                <a:gd name="T65" fmla="*/ 58 h 1247"/>
                <a:gd name="T66" fmla="*/ 23 w 1039"/>
                <a:gd name="T67" fmla="*/ 38 h 1247"/>
                <a:gd name="T68" fmla="*/ 39 w 1039"/>
                <a:gd name="T69" fmla="*/ 22 h 1247"/>
                <a:gd name="T70" fmla="*/ 58 w 1039"/>
                <a:gd name="T71" fmla="*/ 10 h 1247"/>
                <a:gd name="T72" fmla="*/ 80 w 1039"/>
                <a:gd name="T73" fmla="*/ 3 h 1247"/>
                <a:gd name="T74" fmla="*/ 104 w 1039"/>
                <a:gd name="T75" fmla="*/ 0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9" h="1247">
                  <a:moveTo>
                    <a:pt x="208" y="208"/>
                  </a:moveTo>
                  <a:lnTo>
                    <a:pt x="208" y="831"/>
                  </a:lnTo>
                  <a:lnTo>
                    <a:pt x="831" y="831"/>
                  </a:lnTo>
                  <a:lnTo>
                    <a:pt x="831" y="208"/>
                  </a:lnTo>
                  <a:lnTo>
                    <a:pt x="208" y="208"/>
                  </a:lnTo>
                  <a:close/>
                  <a:moveTo>
                    <a:pt x="104" y="0"/>
                  </a:moveTo>
                  <a:lnTo>
                    <a:pt x="936" y="0"/>
                  </a:lnTo>
                  <a:lnTo>
                    <a:pt x="959" y="3"/>
                  </a:lnTo>
                  <a:lnTo>
                    <a:pt x="981" y="10"/>
                  </a:lnTo>
                  <a:lnTo>
                    <a:pt x="1001" y="22"/>
                  </a:lnTo>
                  <a:lnTo>
                    <a:pt x="1017" y="38"/>
                  </a:lnTo>
                  <a:lnTo>
                    <a:pt x="1029" y="58"/>
                  </a:lnTo>
                  <a:lnTo>
                    <a:pt x="1036" y="80"/>
                  </a:lnTo>
                  <a:lnTo>
                    <a:pt x="1039" y="103"/>
                  </a:lnTo>
                  <a:lnTo>
                    <a:pt x="1039" y="1143"/>
                  </a:lnTo>
                  <a:lnTo>
                    <a:pt x="1036" y="1167"/>
                  </a:lnTo>
                  <a:lnTo>
                    <a:pt x="1029" y="1189"/>
                  </a:lnTo>
                  <a:lnTo>
                    <a:pt x="1017" y="1208"/>
                  </a:lnTo>
                  <a:lnTo>
                    <a:pt x="1001" y="1224"/>
                  </a:lnTo>
                  <a:lnTo>
                    <a:pt x="981" y="1237"/>
                  </a:lnTo>
                  <a:lnTo>
                    <a:pt x="959" y="1244"/>
                  </a:lnTo>
                  <a:lnTo>
                    <a:pt x="936" y="1247"/>
                  </a:lnTo>
                  <a:lnTo>
                    <a:pt x="104" y="1247"/>
                  </a:lnTo>
                  <a:lnTo>
                    <a:pt x="80" y="1244"/>
                  </a:lnTo>
                  <a:lnTo>
                    <a:pt x="58" y="1237"/>
                  </a:lnTo>
                  <a:lnTo>
                    <a:pt x="39" y="1224"/>
                  </a:lnTo>
                  <a:lnTo>
                    <a:pt x="23" y="1208"/>
                  </a:lnTo>
                  <a:lnTo>
                    <a:pt x="10" y="1189"/>
                  </a:lnTo>
                  <a:lnTo>
                    <a:pt x="3" y="1167"/>
                  </a:lnTo>
                  <a:lnTo>
                    <a:pt x="0" y="1143"/>
                  </a:lnTo>
                  <a:lnTo>
                    <a:pt x="0" y="103"/>
                  </a:lnTo>
                  <a:lnTo>
                    <a:pt x="3" y="80"/>
                  </a:lnTo>
                  <a:lnTo>
                    <a:pt x="10" y="58"/>
                  </a:lnTo>
                  <a:lnTo>
                    <a:pt x="23" y="38"/>
                  </a:lnTo>
                  <a:lnTo>
                    <a:pt x="39" y="22"/>
                  </a:lnTo>
                  <a:lnTo>
                    <a:pt x="58" y="10"/>
                  </a:lnTo>
                  <a:lnTo>
                    <a:pt x="80" y="3"/>
                  </a:lnTo>
                  <a:lnTo>
                    <a:pt x="10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78" name="Freeform 11"/>
            <p:cNvSpPr>
              <a:spLocks noEditPoints="1"/>
            </p:cNvSpPr>
            <p:nvPr/>
          </p:nvSpPr>
          <p:spPr bwMode="auto">
            <a:xfrm>
              <a:off x="-590551" y="1776413"/>
              <a:ext cx="274638" cy="330200"/>
            </a:xfrm>
            <a:custGeom>
              <a:avLst/>
              <a:gdLst>
                <a:gd name="T0" fmla="*/ 209 w 1040"/>
                <a:gd name="T1" fmla="*/ 208 h 1247"/>
                <a:gd name="T2" fmla="*/ 209 w 1040"/>
                <a:gd name="T3" fmla="*/ 831 h 1247"/>
                <a:gd name="T4" fmla="*/ 832 w 1040"/>
                <a:gd name="T5" fmla="*/ 831 h 1247"/>
                <a:gd name="T6" fmla="*/ 832 w 1040"/>
                <a:gd name="T7" fmla="*/ 208 h 1247"/>
                <a:gd name="T8" fmla="*/ 209 w 1040"/>
                <a:gd name="T9" fmla="*/ 208 h 1247"/>
                <a:gd name="T10" fmla="*/ 105 w 1040"/>
                <a:gd name="T11" fmla="*/ 0 h 1247"/>
                <a:gd name="T12" fmla="*/ 936 w 1040"/>
                <a:gd name="T13" fmla="*/ 0 h 1247"/>
                <a:gd name="T14" fmla="*/ 959 w 1040"/>
                <a:gd name="T15" fmla="*/ 3 h 1247"/>
                <a:gd name="T16" fmla="*/ 982 w 1040"/>
                <a:gd name="T17" fmla="*/ 10 h 1247"/>
                <a:gd name="T18" fmla="*/ 1001 w 1040"/>
                <a:gd name="T19" fmla="*/ 22 h 1247"/>
                <a:gd name="T20" fmla="*/ 1017 w 1040"/>
                <a:gd name="T21" fmla="*/ 38 h 1247"/>
                <a:gd name="T22" fmla="*/ 1030 w 1040"/>
                <a:gd name="T23" fmla="*/ 58 h 1247"/>
                <a:gd name="T24" fmla="*/ 1038 w 1040"/>
                <a:gd name="T25" fmla="*/ 80 h 1247"/>
                <a:gd name="T26" fmla="*/ 1040 w 1040"/>
                <a:gd name="T27" fmla="*/ 103 h 1247"/>
                <a:gd name="T28" fmla="*/ 1040 w 1040"/>
                <a:gd name="T29" fmla="*/ 1143 h 1247"/>
                <a:gd name="T30" fmla="*/ 1038 w 1040"/>
                <a:gd name="T31" fmla="*/ 1167 h 1247"/>
                <a:gd name="T32" fmla="*/ 1030 w 1040"/>
                <a:gd name="T33" fmla="*/ 1189 h 1247"/>
                <a:gd name="T34" fmla="*/ 1017 w 1040"/>
                <a:gd name="T35" fmla="*/ 1208 h 1247"/>
                <a:gd name="T36" fmla="*/ 1001 w 1040"/>
                <a:gd name="T37" fmla="*/ 1224 h 1247"/>
                <a:gd name="T38" fmla="*/ 982 w 1040"/>
                <a:gd name="T39" fmla="*/ 1237 h 1247"/>
                <a:gd name="T40" fmla="*/ 959 w 1040"/>
                <a:gd name="T41" fmla="*/ 1244 h 1247"/>
                <a:gd name="T42" fmla="*/ 936 w 1040"/>
                <a:gd name="T43" fmla="*/ 1247 h 1247"/>
                <a:gd name="T44" fmla="*/ 105 w 1040"/>
                <a:gd name="T45" fmla="*/ 1247 h 1247"/>
                <a:gd name="T46" fmla="*/ 81 w 1040"/>
                <a:gd name="T47" fmla="*/ 1244 h 1247"/>
                <a:gd name="T48" fmla="*/ 59 w 1040"/>
                <a:gd name="T49" fmla="*/ 1237 h 1247"/>
                <a:gd name="T50" fmla="*/ 40 w 1040"/>
                <a:gd name="T51" fmla="*/ 1224 h 1247"/>
                <a:gd name="T52" fmla="*/ 24 w 1040"/>
                <a:gd name="T53" fmla="*/ 1208 h 1247"/>
                <a:gd name="T54" fmla="*/ 12 w 1040"/>
                <a:gd name="T55" fmla="*/ 1189 h 1247"/>
                <a:gd name="T56" fmla="*/ 4 w 1040"/>
                <a:gd name="T57" fmla="*/ 1167 h 1247"/>
                <a:gd name="T58" fmla="*/ 0 w 1040"/>
                <a:gd name="T59" fmla="*/ 1143 h 1247"/>
                <a:gd name="T60" fmla="*/ 0 w 1040"/>
                <a:gd name="T61" fmla="*/ 103 h 1247"/>
                <a:gd name="T62" fmla="*/ 4 w 1040"/>
                <a:gd name="T63" fmla="*/ 80 h 1247"/>
                <a:gd name="T64" fmla="*/ 12 w 1040"/>
                <a:gd name="T65" fmla="*/ 58 h 1247"/>
                <a:gd name="T66" fmla="*/ 24 w 1040"/>
                <a:gd name="T67" fmla="*/ 38 h 1247"/>
                <a:gd name="T68" fmla="*/ 40 w 1040"/>
                <a:gd name="T69" fmla="*/ 22 h 1247"/>
                <a:gd name="T70" fmla="*/ 59 w 1040"/>
                <a:gd name="T71" fmla="*/ 10 h 1247"/>
                <a:gd name="T72" fmla="*/ 81 w 1040"/>
                <a:gd name="T73" fmla="*/ 3 h 1247"/>
                <a:gd name="T74" fmla="*/ 105 w 1040"/>
                <a:gd name="T75" fmla="*/ 0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0" h="1247">
                  <a:moveTo>
                    <a:pt x="209" y="208"/>
                  </a:moveTo>
                  <a:lnTo>
                    <a:pt x="209" y="831"/>
                  </a:lnTo>
                  <a:lnTo>
                    <a:pt x="832" y="831"/>
                  </a:lnTo>
                  <a:lnTo>
                    <a:pt x="832" y="208"/>
                  </a:lnTo>
                  <a:lnTo>
                    <a:pt x="209" y="208"/>
                  </a:lnTo>
                  <a:close/>
                  <a:moveTo>
                    <a:pt x="105" y="0"/>
                  </a:moveTo>
                  <a:lnTo>
                    <a:pt x="936" y="0"/>
                  </a:lnTo>
                  <a:lnTo>
                    <a:pt x="959" y="3"/>
                  </a:lnTo>
                  <a:lnTo>
                    <a:pt x="982" y="10"/>
                  </a:lnTo>
                  <a:lnTo>
                    <a:pt x="1001" y="22"/>
                  </a:lnTo>
                  <a:lnTo>
                    <a:pt x="1017" y="38"/>
                  </a:lnTo>
                  <a:lnTo>
                    <a:pt x="1030" y="58"/>
                  </a:lnTo>
                  <a:lnTo>
                    <a:pt x="1038" y="80"/>
                  </a:lnTo>
                  <a:lnTo>
                    <a:pt x="1040" y="103"/>
                  </a:lnTo>
                  <a:lnTo>
                    <a:pt x="1040" y="1143"/>
                  </a:lnTo>
                  <a:lnTo>
                    <a:pt x="1038" y="1167"/>
                  </a:lnTo>
                  <a:lnTo>
                    <a:pt x="1030" y="1189"/>
                  </a:lnTo>
                  <a:lnTo>
                    <a:pt x="1017" y="1208"/>
                  </a:lnTo>
                  <a:lnTo>
                    <a:pt x="1001" y="1224"/>
                  </a:lnTo>
                  <a:lnTo>
                    <a:pt x="982" y="1237"/>
                  </a:lnTo>
                  <a:lnTo>
                    <a:pt x="959" y="1244"/>
                  </a:lnTo>
                  <a:lnTo>
                    <a:pt x="936" y="1247"/>
                  </a:lnTo>
                  <a:lnTo>
                    <a:pt x="105" y="1247"/>
                  </a:lnTo>
                  <a:lnTo>
                    <a:pt x="81" y="1244"/>
                  </a:lnTo>
                  <a:lnTo>
                    <a:pt x="59" y="1237"/>
                  </a:lnTo>
                  <a:lnTo>
                    <a:pt x="40" y="1224"/>
                  </a:lnTo>
                  <a:lnTo>
                    <a:pt x="24" y="1208"/>
                  </a:lnTo>
                  <a:lnTo>
                    <a:pt x="12" y="1189"/>
                  </a:lnTo>
                  <a:lnTo>
                    <a:pt x="4" y="1167"/>
                  </a:lnTo>
                  <a:lnTo>
                    <a:pt x="0" y="1143"/>
                  </a:lnTo>
                  <a:lnTo>
                    <a:pt x="0" y="103"/>
                  </a:lnTo>
                  <a:lnTo>
                    <a:pt x="4" y="80"/>
                  </a:lnTo>
                  <a:lnTo>
                    <a:pt x="12" y="58"/>
                  </a:lnTo>
                  <a:lnTo>
                    <a:pt x="24" y="38"/>
                  </a:lnTo>
                  <a:lnTo>
                    <a:pt x="40" y="22"/>
                  </a:lnTo>
                  <a:lnTo>
                    <a:pt x="59" y="10"/>
                  </a:lnTo>
                  <a:lnTo>
                    <a:pt x="81" y="3"/>
                  </a:lnTo>
                  <a:lnTo>
                    <a:pt x="1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grpSp>
      <p:grpSp>
        <p:nvGrpSpPr>
          <p:cNvPr id="53" name="Group 52"/>
          <p:cNvGrpSpPr>
            <a:grpSpLocks noChangeAspect="1"/>
          </p:cNvGrpSpPr>
          <p:nvPr/>
        </p:nvGrpSpPr>
        <p:grpSpPr>
          <a:xfrm>
            <a:off x="4173497" y="1809606"/>
            <a:ext cx="374414" cy="646048"/>
            <a:chOff x="12249151" y="6053138"/>
            <a:chExt cx="323850" cy="419100"/>
          </a:xfrm>
          <a:solidFill>
            <a:schemeClr val="bg2"/>
          </a:solidFill>
          <a:effectLst/>
        </p:grpSpPr>
        <p:sp>
          <p:nvSpPr>
            <p:cNvPr id="54" name="Freeform 164"/>
            <p:cNvSpPr>
              <a:spLocks noEditPoints="1"/>
            </p:cNvSpPr>
            <p:nvPr/>
          </p:nvSpPr>
          <p:spPr bwMode="auto">
            <a:xfrm>
              <a:off x="12430126" y="6151563"/>
              <a:ext cx="42863" cy="42863"/>
            </a:xfrm>
            <a:custGeom>
              <a:avLst/>
              <a:gdLst>
                <a:gd name="T0" fmla="*/ 147 w 191"/>
                <a:gd name="T1" fmla="*/ 15 h 191"/>
                <a:gd name="T2" fmla="*/ 130 w 191"/>
                <a:gd name="T3" fmla="*/ 6 h 191"/>
                <a:gd name="T4" fmla="*/ 112 w 191"/>
                <a:gd name="T5" fmla="*/ 1 h 191"/>
                <a:gd name="T6" fmla="*/ 94 w 191"/>
                <a:gd name="T7" fmla="*/ 0 h 191"/>
                <a:gd name="T8" fmla="*/ 75 w 191"/>
                <a:gd name="T9" fmla="*/ 2 h 191"/>
                <a:gd name="T10" fmla="*/ 58 w 191"/>
                <a:gd name="T11" fmla="*/ 8 h 191"/>
                <a:gd name="T12" fmla="*/ 42 w 191"/>
                <a:gd name="T13" fmla="*/ 16 h 191"/>
                <a:gd name="T14" fmla="*/ 27 w 191"/>
                <a:gd name="T15" fmla="*/ 29 h 191"/>
                <a:gd name="T16" fmla="*/ 15 w 191"/>
                <a:gd name="T17" fmla="*/ 44 h 191"/>
                <a:gd name="T18" fmla="*/ 10 w 191"/>
                <a:gd name="T19" fmla="*/ 52 h 191"/>
                <a:gd name="T20" fmla="*/ 4 w 191"/>
                <a:gd name="T21" fmla="*/ 70 h 191"/>
                <a:gd name="T22" fmla="*/ 0 w 191"/>
                <a:gd name="T23" fmla="*/ 89 h 191"/>
                <a:gd name="T24" fmla="*/ 1 w 191"/>
                <a:gd name="T25" fmla="*/ 107 h 191"/>
                <a:gd name="T26" fmla="*/ 5 w 191"/>
                <a:gd name="T27" fmla="*/ 125 h 191"/>
                <a:gd name="T28" fmla="*/ 12 w 191"/>
                <a:gd name="T29" fmla="*/ 142 h 191"/>
                <a:gd name="T30" fmla="*/ 22 w 191"/>
                <a:gd name="T31" fmla="*/ 157 h 191"/>
                <a:gd name="T32" fmla="*/ 37 w 191"/>
                <a:gd name="T33" fmla="*/ 171 h 191"/>
                <a:gd name="T34" fmla="*/ 44 w 191"/>
                <a:gd name="T35" fmla="*/ 176 h 191"/>
                <a:gd name="T36" fmla="*/ 61 w 191"/>
                <a:gd name="T37" fmla="*/ 185 h 191"/>
                <a:gd name="T38" fmla="*/ 80 w 191"/>
                <a:gd name="T39" fmla="*/ 190 h 191"/>
                <a:gd name="T40" fmla="*/ 98 w 191"/>
                <a:gd name="T41" fmla="*/ 191 h 191"/>
                <a:gd name="T42" fmla="*/ 116 w 191"/>
                <a:gd name="T43" fmla="*/ 189 h 191"/>
                <a:gd name="T44" fmla="*/ 134 w 191"/>
                <a:gd name="T45" fmla="*/ 183 h 191"/>
                <a:gd name="T46" fmla="*/ 150 w 191"/>
                <a:gd name="T47" fmla="*/ 175 h 191"/>
                <a:gd name="T48" fmla="*/ 164 w 191"/>
                <a:gd name="T49" fmla="*/ 162 h 191"/>
                <a:gd name="T50" fmla="*/ 177 w 191"/>
                <a:gd name="T51" fmla="*/ 147 h 191"/>
                <a:gd name="T52" fmla="*/ 181 w 191"/>
                <a:gd name="T53" fmla="*/ 139 h 191"/>
                <a:gd name="T54" fmla="*/ 188 w 191"/>
                <a:gd name="T55" fmla="*/ 121 h 191"/>
                <a:gd name="T56" fmla="*/ 191 w 191"/>
                <a:gd name="T57" fmla="*/ 102 h 191"/>
                <a:gd name="T58" fmla="*/ 191 w 191"/>
                <a:gd name="T59" fmla="*/ 84 h 191"/>
                <a:gd name="T60" fmla="*/ 187 w 191"/>
                <a:gd name="T61" fmla="*/ 66 h 191"/>
                <a:gd name="T62" fmla="*/ 180 w 191"/>
                <a:gd name="T63" fmla="*/ 49 h 191"/>
                <a:gd name="T64" fmla="*/ 169 w 191"/>
                <a:gd name="T65" fmla="*/ 34 h 191"/>
                <a:gd name="T66" fmla="*/ 155 w 191"/>
                <a:gd name="T67" fmla="*/ 20 h 191"/>
                <a:gd name="T68" fmla="*/ 147 w 191"/>
                <a:gd name="T69" fmla="*/ 15 h 191"/>
                <a:gd name="T70" fmla="*/ 132 w 191"/>
                <a:gd name="T71" fmla="*/ 119 h 191"/>
                <a:gd name="T72" fmla="*/ 120 w 191"/>
                <a:gd name="T73" fmla="*/ 131 h 191"/>
                <a:gd name="T74" fmla="*/ 105 w 191"/>
                <a:gd name="T75" fmla="*/ 138 h 191"/>
                <a:gd name="T76" fmla="*/ 89 w 191"/>
                <a:gd name="T77" fmla="*/ 138 h 191"/>
                <a:gd name="T78" fmla="*/ 72 w 191"/>
                <a:gd name="T79" fmla="*/ 132 h 191"/>
                <a:gd name="T80" fmla="*/ 65 w 191"/>
                <a:gd name="T81" fmla="*/ 127 h 191"/>
                <a:gd name="T82" fmla="*/ 56 w 191"/>
                <a:gd name="T83" fmla="*/ 112 h 191"/>
                <a:gd name="T84" fmla="*/ 52 w 191"/>
                <a:gd name="T85" fmla="*/ 97 h 191"/>
                <a:gd name="T86" fmla="*/ 55 w 191"/>
                <a:gd name="T87" fmla="*/ 80 h 191"/>
                <a:gd name="T88" fmla="*/ 59 w 191"/>
                <a:gd name="T89" fmla="*/ 72 h 191"/>
                <a:gd name="T90" fmla="*/ 71 w 191"/>
                <a:gd name="T91" fmla="*/ 60 h 191"/>
                <a:gd name="T92" fmla="*/ 87 w 191"/>
                <a:gd name="T93" fmla="*/ 53 h 191"/>
                <a:gd name="T94" fmla="*/ 103 w 191"/>
                <a:gd name="T95" fmla="*/ 53 h 191"/>
                <a:gd name="T96" fmla="*/ 119 w 191"/>
                <a:gd name="T97" fmla="*/ 59 h 191"/>
                <a:gd name="T98" fmla="*/ 126 w 191"/>
                <a:gd name="T99" fmla="*/ 64 h 191"/>
                <a:gd name="T100" fmla="*/ 136 w 191"/>
                <a:gd name="T101" fmla="*/ 79 h 191"/>
                <a:gd name="T102" fmla="*/ 139 w 191"/>
                <a:gd name="T103" fmla="*/ 95 h 191"/>
                <a:gd name="T104" fmla="*/ 136 w 191"/>
                <a:gd name="T105" fmla="*/ 111 h 191"/>
                <a:gd name="T106" fmla="*/ 132 w 191"/>
                <a:gd name="T107" fmla="*/ 11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1" h="191">
                  <a:moveTo>
                    <a:pt x="147" y="15"/>
                  </a:moveTo>
                  <a:lnTo>
                    <a:pt x="147" y="15"/>
                  </a:lnTo>
                  <a:lnTo>
                    <a:pt x="139" y="10"/>
                  </a:lnTo>
                  <a:lnTo>
                    <a:pt x="130" y="6"/>
                  </a:lnTo>
                  <a:lnTo>
                    <a:pt x="121" y="3"/>
                  </a:lnTo>
                  <a:lnTo>
                    <a:pt x="112" y="1"/>
                  </a:lnTo>
                  <a:lnTo>
                    <a:pt x="103" y="0"/>
                  </a:lnTo>
                  <a:lnTo>
                    <a:pt x="94" y="0"/>
                  </a:lnTo>
                  <a:lnTo>
                    <a:pt x="85" y="1"/>
                  </a:lnTo>
                  <a:lnTo>
                    <a:pt x="75" y="2"/>
                  </a:lnTo>
                  <a:lnTo>
                    <a:pt x="66" y="4"/>
                  </a:lnTo>
                  <a:lnTo>
                    <a:pt x="58" y="8"/>
                  </a:lnTo>
                  <a:lnTo>
                    <a:pt x="50" y="12"/>
                  </a:lnTo>
                  <a:lnTo>
                    <a:pt x="42" y="16"/>
                  </a:lnTo>
                  <a:lnTo>
                    <a:pt x="35" y="22"/>
                  </a:lnTo>
                  <a:lnTo>
                    <a:pt x="27" y="29"/>
                  </a:lnTo>
                  <a:lnTo>
                    <a:pt x="21" y="36"/>
                  </a:lnTo>
                  <a:lnTo>
                    <a:pt x="15" y="44"/>
                  </a:lnTo>
                  <a:lnTo>
                    <a:pt x="15" y="44"/>
                  </a:lnTo>
                  <a:lnTo>
                    <a:pt x="10" y="52"/>
                  </a:lnTo>
                  <a:lnTo>
                    <a:pt x="6" y="61"/>
                  </a:lnTo>
                  <a:lnTo>
                    <a:pt x="4" y="70"/>
                  </a:lnTo>
                  <a:lnTo>
                    <a:pt x="2" y="80"/>
                  </a:lnTo>
                  <a:lnTo>
                    <a:pt x="0" y="89"/>
                  </a:lnTo>
                  <a:lnTo>
                    <a:pt x="0" y="98"/>
                  </a:lnTo>
                  <a:lnTo>
                    <a:pt x="1" y="107"/>
                  </a:lnTo>
                  <a:lnTo>
                    <a:pt x="2" y="116"/>
                  </a:lnTo>
                  <a:lnTo>
                    <a:pt x="5" y="125"/>
                  </a:lnTo>
                  <a:lnTo>
                    <a:pt x="8" y="134"/>
                  </a:lnTo>
                  <a:lnTo>
                    <a:pt x="12" y="142"/>
                  </a:lnTo>
                  <a:lnTo>
                    <a:pt x="17" y="150"/>
                  </a:lnTo>
                  <a:lnTo>
                    <a:pt x="22" y="157"/>
                  </a:lnTo>
                  <a:lnTo>
                    <a:pt x="28" y="165"/>
                  </a:lnTo>
                  <a:lnTo>
                    <a:pt x="37" y="171"/>
                  </a:lnTo>
                  <a:lnTo>
                    <a:pt x="44" y="176"/>
                  </a:lnTo>
                  <a:lnTo>
                    <a:pt x="44" y="176"/>
                  </a:lnTo>
                  <a:lnTo>
                    <a:pt x="53" y="181"/>
                  </a:lnTo>
                  <a:lnTo>
                    <a:pt x="61" y="185"/>
                  </a:lnTo>
                  <a:lnTo>
                    <a:pt x="70" y="188"/>
                  </a:lnTo>
                  <a:lnTo>
                    <a:pt x="80" y="190"/>
                  </a:lnTo>
                  <a:lnTo>
                    <a:pt x="89" y="191"/>
                  </a:lnTo>
                  <a:lnTo>
                    <a:pt x="98" y="191"/>
                  </a:lnTo>
                  <a:lnTo>
                    <a:pt x="107" y="190"/>
                  </a:lnTo>
                  <a:lnTo>
                    <a:pt x="116" y="189"/>
                  </a:lnTo>
                  <a:lnTo>
                    <a:pt x="126" y="187"/>
                  </a:lnTo>
                  <a:lnTo>
                    <a:pt x="134" y="183"/>
                  </a:lnTo>
                  <a:lnTo>
                    <a:pt x="142" y="179"/>
                  </a:lnTo>
                  <a:lnTo>
                    <a:pt x="150" y="175"/>
                  </a:lnTo>
                  <a:lnTo>
                    <a:pt x="157" y="169"/>
                  </a:lnTo>
                  <a:lnTo>
                    <a:pt x="164" y="162"/>
                  </a:lnTo>
                  <a:lnTo>
                    <a:pt x="171" y="155"/>
                  </a:lnTo>
                  <a:lnTo>
                    <a:pt x="177" y="147"/>
                  </a:lnTo>
                  <a:lnTo>
                    <a:pt x="177" y="147"/>
                  </a:lnTo>
                  <a:lnTo>
                    <a:pt x="181" y="139"/>
                  </a:lnTo>
                  <a:lnTo>
                    <a:pt x="185" y="130"/>
                  </a:lnTo>
                  <a:lnTo>
                    <a:pt x="188" y="121"/>
                  </a:lnTo>
                  <a:lnTo>
                    <a:pt x="190" y="111"/>
                  </a:lnTo>
                  <a:lnTo>
                    <a:pt x="191" y="102"/>
                  </a:lnTo>
                  <a:lnTo>
                    <a:pt x="191" y="93"/>
                  </a:lnTo>
                  <a:lnTo>
                    <a:pt x="191" y="84"/>
                  </a:lnTo>
                  <a:lnTo>
                    <a:pt x="189" y="76"/>
                  </a:lnTo>
                  <a:lnTo>
                    <a:pt x="187" y="66"/>
                  </a:lnTo>
                  <a:lnTo>
                    <a:pt x="184" y="57"/>
                  </a:lnTo>
                  <a:lnTo>
                    <a:pt x="180" y="49"/>
                  </a:lnTo>
                  <a:lnTo>
                    <a:pt x="175" y="42"/>
                  </a:lnTo>
                  <a:lnTo>
                    <a:pt x="169" y="34"/>
                  </a:lnTo>
                  <a:lnTo>
                    <a:pt x="162" y="27"/>
                  </a:lnTo>
                  <a:lnTo>
                    <a:pt x="155" y="20"/>
                  </a:lnTo>
                  <a:lnTo>
                    <a:pt x="147" y="15"/>
                  </a:lnTo>
                  <a:lnTo>
                    <a:pt x="147" y="15"/>
                  </a:lnTo>
                  <a:close/>
                  <a:moveTo>
                    <a:pt x="132" y="119"/>
                  </a:moveTo>
                  <a:lnTo>
                    <a:pt x="132" y="119"/>
                  </a:lnTo>
                  <a:lnTo>
                    <a:pt x="127" y="126"/>
                  </a:lnTo>
                  <a:lnTo>
                    <a:pt x="120" y="131"/>
                  </a:lnTo>
                  <a:lnTo>
                    <a:pt x="113" y="135"/>
                  </a:lnTo>
                  <a:lnTo>
                    <a:pt x="105" y="138"/>
                  </a:lnTo>
                  <a:lnTo>
                    <a:pt x="97" y="139"/>
                  </a:lnTo>
                  <a:lnTo>
                    <a:pt x="89" y="138"/>
                  </a:lnTo>
                  <a:lnTo>
                    <a:pt x="81" y="136"/>
                  </a:lnTo>
                  <a:lnTo>
                    <a:pt x="72" y="132"/>
                  </a:lnTo>
                  <a:lnTo>
                    <a:pt x="72" y="132"/>
                  </a:lnTo>
                  <a:lnTo>
                    <a:pt x="65" y="127"/>
                  </a:lnTo>
                  <a:lnTo>
                    <a:pt x="60" y="121"/>
                  </a:lnTo>
                  <a:lnTo>
                    <a:pt x="56" y="112"/>
                  </a:lnTo>
                  <a:lnTo>
                    <a:pt x="53" y="105"/>
                  </a:lnTo>
                  <a:lnTo>
                    <a:pt x="52" y="97"/>
                  </a:lnTo>
                  <a:lnTo>
                    <a:pt x="53" y="88"/>
                  </a:lnTo>
                  <a:lnTo>
                    <a:pt x="55" y="80"/>
                  </a:lnTo>
                  <a:lnTo>
                    <a:pt x="59" y="72"/>
                  </a:lnTo>
                  <a:lnTo>
                    <a:pt x="59" y="72"/>
                  </a:lnTo>
                  <a:lnTo>
                    <a:pt x="65" y="65"/>
                  </a:lnTo>
                  <a:lnTo>
                    <a:pt x="71" y="60"/>
                  </a:lnTo>
                  <a:lnTo>
                    <a:pt x="78" y="56"/>
                  </a:lnTo>
                  <a:lnTo>
                    <a:pt x="87" y="53"/>
                  </a:lnTo>
                  <a:lnTo>
                    <a:pt x="95" y="52"/>
                  </a:lnTo>
                  <a:lnTo>
                    <a:pt x="103" y="53"/>
                  </a:lnTo>
                  <a:lnTo>
                    <a:pt x="111" y="55"/>
                  </a:lnTo>
                  <a:lnTo>
                    <a:pt x="119" y="59"/>
                  </a:lnTo>
                  <a:lnTo>
                    <a:pt x="119" y="59"/>
                  </a:lnTo>
                  <a:lnTo>
                    <a:pt x="126" y="64"/>
                  </a:lnTo>
                  <a:lnTo>
                    <a:pt x="132" y="71"/>
                  </a:lnTo>
                  <a:lnTo>
                    <a:pt x="136" y="79"/>
                  </a:lnTo>
                  <a:lnTo>
                    <a:pt x="138" y="87"/>
                  </a:lnTo>
                  <a:lnTo>
                    <a:pt x="139" y="95"/>
                  </a:lnTo>
                  <a:lnTo>
                    <a:pt x="138" y="103"/>
                  </a:lnTo>
                  <a:lnTo>
                    <a:pt x="136" y="111"/>
                  </a:lnTo>
                  <a:lnTo>
                    <a:pt x="132" y="119"/>
                  </a:lnTo>
                  <a:lnTo>
                    <a:pt x="132" y="1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u="none" strike="noStrike" kern="0" cap="none" spc="0" normalizeH="0" baseline="0" noProof="0">
                <a:ln>
                  <a:noFill/>
                </a:ln>
                <a:solidFill>
                  <a:sysClr val="windowText" lastClr="000000"/>
                </a:solidFill>
                <a:effectLst/>
                <a:uLnTx/>
                <a:uFillTx/>
                <a:latin typeface="CiscoSansTT Light"/>
                <a:cs typeface="CiscoSansTT Light"/>
              </a:endParaRPr>
            </a:p>
          </p:txBody>
        </p:sp>
        <p:sp>
          <p:nvSpPr>
            <p:cNvPr id="55" name="Freeform 165"/>
            <p:cNvSpPr>
              <a:spLocks noEditPoints="1"/>
            </p:cNvSpPr>
            <p:nvPr/>
          </p:nvSpPr>
          <p:spPr bwMode="auto">
            <a:xfrm>
              <a:off x="12303126" y="6183313"/>
              <a:ext cx="63500" cy="63500"/>
            </a:xfrm>
            <a:custGeom>
              <a:avLst/>
              <a:gdLst>
                <a:gd name="T0" fmla="*/ 126 w 281"/>
                <a:gd name="T1" fmla="*/ 1 h 280"/>
                <a:gd name="T2" fmla="*/ 86 w 281"/>
                <a:gd name="T3" fmla="*/ 11 h 280"/>
                <a:gd name="T4" fmla="*/ 51 w 281"/>
                <a:gd name="T5" fmla="*/ 32 h 280"/>
                <a:gd name="T6" fmla="*/ 24 w 281"/>
                <a:gd name="T7" fmla="*/ 62 h 280"/>
                <a:gd name="T8" fmla="*/ 6 w 281"/>
                <a:gd name="T9" fmla="*/ 98 h 280"/>
                <a:gd name="T10" fmla="*/ 0 w 281"/>
                <a:gd name="T11" fmla="*/ 140 h 280"/>
                <a:gd name="T12" fmla="*/ 3 w 281"/>
                <a:gd name="T13" fmla="*/ 169 h 280"/>
                <a:gd name="T14" fmla="*/ 17 w 281"/>
                <a:gd name="T15" fmla="*/ 207 h 280"/>
                <a:gd name="T16" fmla="*/ 41 w 281"/>
                <a:gd name="T17" fmla="*/ 239 h 280"/>
                <a:gd name="T18" fmla="*/ 74 w 281"/>
                <a:gd name="T19" fmla="*/ 263 h 280"/>
                <a:gd name="T20" fmla="*/ 112 w 281"/>
                <a:gd name="T21" fmla="*/ 277 h 280"/>
                <a:gd name="T22" fmla="*/ 140 w 281"/>
                <a:gd name="T23" fmla="*/ 280 h 280"/>
                <a:gd name="T24" fmla="*/ 181 w 281"/>
                <a:gd name="T25" fmla="*/ 274 h 280"/>
                <a:gd name="T26" fmla="*/ 218 w 281"/>
                <a:gd name="T27" fmla="*/ 256 h 280"/>
                <a:gd name="T28" fmla="*/ 248 w 281"/>
                <a:gd name="T29" fmla="*/ 229 h 280"/>
                <a:gd name="T30" fmla="*/ 269 w 281"/>
                <a:gd name="T31" fmla="*/ 194 h 280"/>
                <a:gd name="T32" fmla="*/ 280 w 281"/>
                <a:gd name="T33" fmla="*/ 154 h 280"/>
                <a:gd name="T34" fmla="*/ 280 w 281"/>
                <a:gd name="T35" fmla="*/ 126 h 280"/>
                <a:gd name="T36" fmla="*/ 269 w 281"/>
                <a:gd name="T37" fmla="*/ 86 h 280"/>
                <a:gd name="T38" fmla="*/ 248 w 281"/>
                <a:gd name="T39" fmla="*/ 51 h 280"/>
                <a:gd name="T40" fmla="*/ 218 w 281"/>
                <a:gd name="T41" fmla="*/ 24 h 280"/>
                <a:gd name="T42" fmla="*/ 181 w 281"/>
                <a:gd name="T43" fmla="*/ 6 h 280"/>
                <a:gd name="T44" fmla="*/ 140 w 281"/>
                <a:gd name="T45" fmla="*/ 0 h 280"/>
                <a:gd name="T46" fmla="*/ 140 w 281"/>
                <a:gd name="T47" fmla="*/ 219 h 280"/>
                <a:gd name="T48" fmla="*/ 117 w 281"/>
                <a:gd name="T49" fmla="*/ 216 h 280"/>
                <a:gd name="T50" fmla="*/ 96 w 281"/>
                <a:gd name="T51" fmla="*/ 206 h 280"/>
                <a:gd name="T52" fmla="*/ 79 w 281"/>
                <a:gd name="T53" fmla="*/ 190 h 280"/>
                <a:gd name="T54" fmla="*/ 67 w 281"/>
                <a:gd name="T55" fmla="*/ 171 h 280"/>
                <a:gd name="T56" fmla="*/ 62 w 281"/>
                <a:gd name="T57" fmla="*/ 148 h 280"/>
                <a:gd name="T58" fmla="*/ 62 w 281"/>
                <a:gd name="T59" fmla="*/ 132 h 280"/>
                <a:gd name="T60" fmla="*/ 67 w 281"/>
                <a:gd name="T61" fmla="*/ 109 h 280"/>
                <a:gd name="T62" fmla="*/ 79 w 281"/>
                <a:gd name="T63" fmla="*/ 90 h 280"/>
                <a:gd name="T64" fmla="*/ 96 w 281"/>
                <a:gd name="T65" fmla="*/ 75 h 280"/>
                <a:gd name="T66" fmla="*/ 117 w 281"/>
                <a:gd name="T67" fmla="*/ 64 h 280"/>
                <a:gd name="T68" fmla="*/ 140 w 281"/>
                <a:gd name="T69" fmla="*/ 61 h 280"/>
                <a:gd name="T70" fmla="*/ 156 w 281"/>
                <a:gd name="T71" fmla="*/ 62 h 280"/>
                <a:gd name="T72" fmla="*/ 178 w 281"/>
                <a:gd name="T73" fmla="*/ 71 h 280"/>
                <a:gd name="T74" fmla="*/ 196 w 281"/>
                <a:gd name="T75" fmla="*/ 84 h 280"/>
                <a:gd name="T76" fmla="*/ 210 w 281"/>
                <a:gd name="T77" fmla="*/ 102 h 280"/>
                <a:gd name="T78" fmla="*/ 218 w 281"/>
                <a:gd name="T79" fmla="*/ 124 h 280"/>
                <a:gd name="T80" fmla="*/ 219 w 281"/>
                <a:gd name="T81" fmla="*/ 140 h 280"/>
                <a:gd name="T82" fmla="*/ 216 w 281"/>
                <a:gd name="T83" fmla="*/ 164 h 280"/>
                <a:gd name="T84" fmla="*/ 206 w 281"/>
                <a:gd name="T85" fmla="*/ 184 h 280"/>
                <a:gd name="T86" fmla="*/ 191 w 281"/>
                <a:gd name="T87" fmla="*/ 201 h 280"/>
                <a:gd name="T88" fmla="*/ 171 w 281"/>
                <a:gd name="T89" fmla="*/ 213 h 280"/>
                <a:gd name="T90" fmla="*/ 149 w 281"/>
                <a:gd name="T91" fmla="*/ 21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1" h="280">
                  <a:moveTo>
                    <a:pt x="140" y="0"/>
                  </a:moveTo>
                  <a:lnTo>
                    <a:pt x="140" y="0"/>
                  </a:lnTo>
                  <a:lnTo>
                    <a:pt x="126" y="1"/>
                  </a:lnTo>
                  <a:lnTo>
                    <a:pt x="112" y="3"/>
                  </a:lnTo>
                  <a:lnTo>
                    <a:pt x="98" y="6"/>
                  </a:lnTo>
                  <a:lnTo>
                    <a:pt x="86" y="11"/>
                  </a:lnTo>
                  <a:lnTo>
                    <a:pt x="74" y="17"/>
                  </a:lnTo>
                  <a:lnTo>
                    <a:pt x="62" y="24"/>
                  </a:lnTo>
                  <a:lnTo>
                    <a:pt x="51" y="32"/>
                  </a:lnTo>
                  <a:lnTo>
                    <a:pt x="41" y="41"/>
                  </a:lnTo>
                  <a:lnTo>
                    <a:pt x="32" y="51"/>
                  </a:lnTo>
                  <a:lnTo>
                    <a:pt x="24" y="62"/>
                  </a:lnTo>
                  <a:lnTo>
                    <a:pt x="17" y="74"/>
                  </a:lnTo>
                  <a:lnTo>
                    <a:pt x="12" y="86"/>
                  </a:lnTo>
                  <a:lnTo>
                    <a:pt x="6" y="98"/>
                  </a:lnTo>
                  <a:lnTo>
                    <a:pt x="3" y="111"/>
                  </a:lnTo>
                  <a:lnTo>
                    <a:pt x="1" y="126"/>
                  </a:lnTo>
                  <a:lnTo>
                    <a:pt x="0" y="140"/>
                  </a:lnTo>
                  <a:lnTo>
                    <a:pt x="0" y="140"/>
                  </a:lnTo>
                  <a:lnTo>
                    <a:pt x="1" y="154"/>
                  </a:lnTo>
                  <a:lnTo>
                    <a:pt x="3" y="169"/>
                  </a:lnTo>
                  <a:lnTo>
                    <a:pt x="6" y="182"/>
                  </a:lnTo>
                  <a:lnTo>
                    <a:pt x="12" y="194"/>
                  </a:lnTo>
                  <a:lnTo>
                    <a:pt x="17" y="207"/>
                  </a:lnTo>
                  <a:lnTo>
                    <a:pt x="24" y="218"/>
                  </a:lnTo>
                  <a:lnTo>
                    <a:pt x="32" y="229"/>
                  </a:lnTo>
                  <a:lnTo>
                    <a:pt x="41" y="239"/>
                  </a:lnTo>
                  <a:lnTo>
                    <a:pt x="51" y="248"/>
                  </a:lnTo>
                  <a:lnTo>
                    <a:pt x="62" y="256"/>
                  </a:lnTo>
                  <a:lnTo>
                    <a:pt x="74" y="263"/>
                  </a:lnTo>
                  <a:lnTo>
                    <a:pt x="86" y="269"/>
                  </a:lnTo>
                  <a:lnTo>
                    <a:pt x="98" y="274"/>
                  </a:lnTo>
                  <a:lnTo>
                    <a:pt x="112" y="277"/>
                  </a:lnTo>
                  <a:lnTo>
                    <a:pt x="126" y="279"/>
                  </a:lnTo>
                  <a:lnTo>
                    <a:pt x="140" y="280"/>
                  </a:lnTo>
                  <a:lnTo>
                    <a:pt x="140" y="280"/>
                  </a:lnTo>
                  <a:lnTo>
                    <a:pt x="155" y="279"/>
                  </a:lnTo>
                  <a:lnTo>
                    <a:pt x="168" y="277"/>
                  </a:lnTo>
                  <a:lnTo>
                    <a:pt x="181" y="274"/>
                  </a:lnTo>
                  <a:lnTo>
                    <a:pt x="195" y="269"/>
                  </a:lnTo>
                  <a:lnTo>
                    <a:pt x="207" y="263"/>
                  </a:lnTo>
                  <a:lnTo>
                    <a:pt x="218" y="256"/>
                  </a:lnTo>
                  <a:lnTo>
                    <a:pt x="229" y="248"/>
                  </a:lnTo>
                  <a:lnTo>
                    <a:pt x="240" y="239"/>
                  </a:lnTo>
                  <a:lnTo>
                    <a:pt x="248" y="229"/>
                  </a:lnTo>
                  <a:lnTo>
                    <a:pt x="256" y="218"/>
                  </a:lnTo>
                  <a:lnTo>
                    <a:pt x="263" y="207"/>
                  </a:lnTo>
                  <a:lnTo>
                    <a:pt x="269" y="194"/>
                  </a:lnTo>
                  <a:lnTo>
                    <a:pt x="273" y="182"/>
                  </a:lnTo>
                  <a:lnTo>
                    <a:pt x="277" y="169"/>
                  </a:lnTo>
                  <a:lnTo>
                    <a:pt x="280" y="154"/>
                  </a:lnTo>
                  <a:lnTo>
                    <a:pt x="281" y="140"/>
                  </a:lnTo>
                  <a:lnTo>
                    <a:pt x="281" y="140"/>
                  </a:lnTo>
                  <a:lnTo>
                    <a:pt x="280" y="126"/>
                  </a:lnTo>
                  <a:lnTo>
                    <a:pt x="277" y="111"/>
                  </a:lnTo>
                  <a:lnTo>
                    <a:pt x="273" y="98"/>
                  </a:lnTo>
                  <a:lnTo>
                    <a:pt x="269" y="86"/>
                  </a:lnTo>
                  <a:lnTo>
                    <a:pt x="263" y="74"/>
                  </a:lnTo>
                  <a:lnTo>
                    <a:pt x="256" y="62"/>
                  </a:lnTo>
                  <a:lnTo>
                    <a:pt x="248" y="51"/>
                  </a:lnTo>
                  <a:lnTo>
                    <a:pt x="240" y="41"/>
                  </a:lnTo>
                  <a:lnTo>
                    <a:pt x="229" y="32"/>
                  </a:lnTo>
                  <a:lnTo>
                    <a:pt x="218" y="24"/>
                  </a:lnTo>
                  <a:lnTo>
                    <a:pt x="207" y="17"/>
                  </a:lnTo>
                  <a:lnTo>
                    <a:pt x="195" y="11"/>
                  </a:lnTo>
                  <a:lnTo>
                    <a:pt x="181" y="6"/>
                  </a:lnTo>
                  <a:lnTo>
                    <a:pt x="168" y="3"/>
                  </a:lnTo>
                  <a:lnTo>
                    <a:pt x="155" y="1"/>
                  </a:lnTo>
                  <a:lnTo>
                    <a:pt x="140" y="0"/>
                  </a:lnTo>
                  <a:lnTo>
                    <a:pt x="140" y="0"/>
                  </a:lnTo>
                  <a:close/>
                  <a:moveTo>
                    <a:pt x="140" y="219"/>
                  </a:moveTo>
                  <a:lnTo>
                    <a:pt x="140" y="219"/>
                  </a:lnTo>
                  <a:lnTo>
                    <a:pt x="132" y="219"/>
                  </a:lnTo>
                  <a:lnTo>
                    <a:pt x="124" y="218"/>
                  </a:lnTo>
                  <a:lnTo>
                    <a:pt x="117" y="216"/>
                  </a:lnTo>
                  <a:lnTo>
                    <a:pt x="110" y="213"/>
                  </a:lnTo>
                  <a:lnTo>
                    <a:pt x="103" y="210"/>
                  </a:lnTo>
                  <a:lnTo>
                    <a:pt x="96" y="206"/>
                  </a:lnTo>
                  <a:lnTo>
                    <a:pt x="90" y="201"/>
                  </a:lnTo>
                  <a:lnTo>
                    <a:pt x="84" y="196"/>
                  </a:lnTo>
                  <a:lnTo>
                    <a:pt x="79" y="190"/>
                  </a:lnTo>
                  <a:lnTo>
                    <a:pt x="75" y="184"/>
                  </a:lnTo>
                  <a:lnTo>
                    <a:pt x="71" y="178"/>
                  </a:lnTo>
                  <a:lnTo>
                    <a:pt x="67" y="171"/>
                  </a:lnTo>
                  <a:lnTo>
                    <a:pt x="65" y="164"/>
                  </a:lnTo>
                  <a:lnTo>
                    <a:pt x="63" y="156"/>
                  </a:lnTo>
                  <a:lnTo>
                    <a:pt x="62" y="148"/>
                  </a:lnTo>
                  <a:lnTo>
                    <a:pt x="61" y="140"/>
                  </a:lnTo>
                  <a:lnTo>
                    <a:pt x="61" y="140"/>
                  </a:lnTo>
                  <a:lnTo>
                    <a:pt x="62" y="132"/>
                  </a:lnTo>
                  <a:lnTo>
                    <a:pt x="63" y="124"/>
                  </a:lnTo>
                  <a:lnTo>
                    <a:pt x="65" y="117"/>
                  </a:lnTo>
                  <a:lnTo>
                    <a:pt x="67" y="109"/>
                  </a:lnTo>
                  <a:lnTo>
                    <a:pt x="71" y="102"/>
                  </a:lnTo>
                  <a:lnTo>
                    <a:pt x="75" y="96"/>
                  </a:lnTo>
                  <a:lnTo>
                    <a:pt x="79" y="90"/>
                  </a:lnTo>
                  <a:lnTo>
                    <a:pt x="84" y="84"/>
                  </a:lnTo>
                  <a:lnTo>
                    <a:pt x="90" y="79"/>
                  </a:lnTo>
                  <a:lnTo>
                    <a:pt x="96" y="75"/>
                  </a:lnTo>
                  <a:lnTo>
                    <a:pt x="103" y="71"/>
                  </a:lnTo>
                  <a:lnTo>
                    <a:pt x="110" y="67"/>
                  </a:lnTo>
                  <a:lnTo>
                    <a:pt x="117" y="64"/>
                  </a:lnTo>
                  <a:lnTo>
                    <a:pt x="124" y="62"/>
                  </a:lnTo>
                  <a:lnTo>
                    <a:pt x="132" y="61"/>
                  </a:lnTo>
                  <a:lnTo>
                    <a:pt x="140" y="61"/>
                  </a:lnTo>
                  <a:lnTo>
                    <a:pt x="140" y="61"/>
                  </a:lnTo>
                  <a:lnTo>
                    <a:pt x="149" y="61"/>
                  </a:lnTo>
                  <a:lnTo>
                    <a:pt x="156" y="62"/>
                  </a:lnTo>
                  <a:lnTo>
                    <a:pt x="164" y="64"/>
                  </a:lnTo>
                  <a:lnTo>
                    <a:pt x="171" y="67"/>
                  </a:lnTo>
                  <a:lnTo>
                    <a:pt x="178" y="71"/>
                  </a:lnTo>
                  <a:lnTo>
                    <a:pt x="184" y="75"/>
                  </a:lnTo>
                  <a:lnTo>
                    <a:pt x="191" y="79"/>
                  </a:lnTo>
                  <a:lnTo>
                    <a:pt x="196" y="84"/>
                  </a:lnTo>
                  <a:lnTo>
                    <a:pt x="201" y="90"/>
                  </a:lnTo>
                  <a:lnTo>
                    <a:pt x="206" y="96"/>
                  </a:lnTo>
                  <a:lnTo>
                    <a:pt x="210" y="102"/>
                  </a:lnTo>
                  <a:lnTo>
                    <a:pt x="213" y="109"/>
                  </a:lnTo>
                  <a:lnTo>
                    <a:pt x="216" y="117"/>
                  </a:lnTo>
                  <a:lnTo>
                    <a:pt x="218" y="124"/>
                  </a:lnTo>
                  <a:lnTo>
                    <a:pt x="219" y="132"/>
                  </a:lnTo>
                  <a:lnTo>
                    <a:pt x="219" y="140"/>
                  </a:lnTo>
                  <a:lnTo>
                    <a:pt x="219" y="140"/>
                  </a:lnTo>
                  <a:lnTo>
                    <a:pt x="219" y="148"/>
                  </a:lnTo>
                  <a:lnTo>
                    <a:pt x="218" y="156"/>
                  </a:lnTo>
                  <a:lnTo>
                    <a:pt x="216" y="164"/>
                  </a:lnTo>
                  <a:lnTo>
                    <a:pt x="213" y="171"/>
                  </a:lnTo>
                  <a:lnTo>
                    <a:pt x="210" y="178"/>
                  </a:lnTo>
                  <a:lnTo>
                    <a:pt x="206" y="184"/>
                  </a:lnTo>
                  <a:lnTo>
                    <a:pt x="201" y="190"/>
                  </a:lnTo>
                  <a:lnTo>
                    <a:pt x="196" y="196"/>
                  </a:lnTo>
                  <a:lnTo>
                    <a:pt x="191" y="201"/>
                  </a:lnTo>
                  <a:lnTo>
                    <a:pt x="184" y="206"/>
                  </a:lnTo>
                  <a:lnTo>
                    <a:pt x="178" y="210"/>
                  </a:lnTo>
                  <a:lnTo>
                    <a:pt x="171" y="213"/>
                  </a:lnTo>
                  <a:lnTo>
                    <a:pt x="164" y="216"/>
                  </a:lnTo>
                  <a:lnTo>
                    <a:pt x="156" y="218"/>
                  </a:lnTo>
                  <a:lnTo>
                    <a:pt x="149" y="219"/>
                  </a:lnTo>
                  <a:lnTo>
                    <a:pt x="140" y="219"/>
                  </a:lnTo>
                  <a:lnTo>
                    <a:pt x="140" y="2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u="none" strike="noStrike" kern="0" cap="none" spc="0" normalizeH="0" baseline="0" noProof="0">
                <a:ln>
                  <a:noFill/>
                </a:ln>
                <a:solidFill>
                  <a:sysClr val="windowText" lastClr="000000"/>
                </a:solidFill>
                <a:effectLst/>
                <a:uLnTx/>
                <a:uFillTx/>
                <a:latin typeface="CiscoSansTT Light"/>
                <a:cs typeface="CiscoSansTT Light"/>
              </a:endParaRPr>
            </a:p>
          </p:txBody>
        </p:sp>
        <p:sp>
          <p:nvSpPr>
            <p:cNvPr id="56" name="Freeform 166"/>
            <p:cNvSpPr>
              <a:spLocks noEditPoints="1"/>
            </p:cNvSpPr>
            <p:nvPr/>
          </p:nvSpPr>
          <p:spPr bwMode="auto">
            <a:xfrm>
              <a:off x="12360276" y="6084888"/>
              <a:ext cx="39688" cy="41275"/>
            </a:xfrm>
            <a:custGeom>
              <a:avLst/>
              <a:gdLst>
                <a:gd name="T0" fmla="*/ 90 w 180"/>
                <a:gd name="T1" fmla="*/ 0 h 179"/>
                <a:gd name="T2" fmla="*/ 71 w 180"/>
                <a:gd name="T3" fmla="*/ 1 h 179"/>
                <a:gd name="T4" fmla="*/ 54 w 180"/>
                <a:gd name="T5" fmla="*/ 8 h 179"/>
                <a:gd name="T6" fmla="*/ 40 w 180"/>
                <a:gd name="T7" fmla="*/ 16 h 179"/>
                <a:gd name="T8" fmla="*/ 26 w 180"/>
                <a:gd name="T9" fmla="*/ 26 h 179"/>
                <a:gd name="T10" fmla="*/ 15 w 180"/>
                <a:gd name="T11" fmla="*/ 39 h 179"/>
                <a:gd name="T12" fmla="*/ 7 w 180"/>
                <a:gd name="T13" fmla="*/ 55 h 179"/>
                <a:gd name="T14" fmla="*/ 2 w 180"/>
                <a:gd name="T15" fmla="*/ 72 h 179"/>
                <a:gd name="T16" fmla="*/ 0 w 180"/>
                <a:gd name="T17" fmla="*/ 89 h 179"/>
                <a:gd name="T18" fmla="*/ 0 w 180"/>
                <a:gd name="T19" fmla="*/ 99 h 179"/>
                <a:gd name="T20" fmla="*/ 4 w 180"/>
                <a:gd name="T21" fmla="*/ 117 h 179"/>
                <a:gd name="T22" fmla="*/ 10 w 180"/>
                <a:gd name="T23" fmla="*/ 132 h 179"/>
                <a:gd name="T24" fmla="*/ 20 w 180"/>
                <a:gd name="T25" fmla="*/ 147 h 179"/>
                <a:gd name="T26" fmla="*/ 33 w 180"/>
                <a:gd name="T27" fmla="*/ 159 h 179"/>
                <a:gd name="T28" fmla="*/ 47 w 180"/>
                <a:gd name="T29" fmla="*/ 169 h 179"/>
                <a:gd name="T30" fmla="*/ 63 w 180"/>
                <a:gd name="T31" fmla="*/ 175 h 179"/>
                <a:gd name="T32" fmla="*/ 81 w 180"/>
                <a:gd name="T33" fmla="*/ 179 h 179"/>
                <a:gd name="T34" fmla="*/ 90 w 180"/>
                <a:gd name="T35" fmla="*/ 179 h 179"/>
                <a:gd name="T36" fmla="*/ 107 w 180"/>
                <a:gd name="T37" fmla="*/ 178 h 179"/>
                <a:gd name="T38" fmla="*/ 125 w 180"/>
                <a:gd name="T39" fmla="*/ 173 h 179"/>
                <a:gd name="T40" fmla="*/ 140 w 180"/>
                <a:gd name="T41" fmla="*/ 164 h 179"/>
                <a:gd name="T42" fmla="*/ 153 w 180"/>
                <a:gd name="T43" fmla="*/ 154 h 179"/>
                <a:gd name="T44" fmla="*/ 165 w 180"/>
                <a:gd name="T45" fmla="*/ 140 h 179"/>
                <a:gd name="T46" fmla="*/ 173 w 180"/>
                <a:gd name="T47" fmla="*/ 125 h 179"/>
                <a:gd name="T48" fmla="*/ 178 w 180"/>
                <a:gd name="T49" fmla="*/ 108 h 179"/>
                <a:gd name="T50" fmla="*/ 180 w 180"/>
                <a:gd name="T51" fmla="*/ 89 h 179"/>
                <a:gd name="T52" fmla="*/ 179 w 180"/>
                <a:gd name="T53" fmla="*/ 81 h 179"/>
                <a:gd name="T54" fmla="*/ 176 w 180"/>
                <a:gd name="T55" fmla="*/ 63 h 179"/>
                <a:gd name="T56" fmla="*/ 169 w 180"/>
                <a:gd name="T57" fmla="*/ 47 h 179"/>
                <a:gd name="T58" fmla="*/ 159 w 180"/>
                <a:gd name="T59" fmla="*/ 33 h 179"/>
                <a:gd name="T60" fmla="*/ 147 w 180"/>
                <a:gd name="T61" fmla="*/ 21 h 179"/>
                <a:gd name="T62" fmla="*/ 133 w 180"/>
                <a:gd name="T63" fmla="*/ 11 h 179"/>
                <a:gd name="T64" fmla="*/ 116 w 180"/>
                <a:gd name="T65" fmla="*/ 4 h 179"/>
                <a:gd name="T66" fmla="*/ 99 w 180"/>
                <a:gd name="T67" fmla="*/ 0 h 179"/>
                <a:gd name="T68" fmla="*/ 90 w 180"/>
                <a:gd name="T69" fmla="*/ 0 h 179"/>
                <a:gd name="T70" fmla="*/ 90 w 180"/>
                <a:gd name="T71" fmla="*/ 130 h 179"/>
                <a:gd name="T72" fmla="*/ 73 w 180"/>
                <a:gd name="T73" fmla="*/ 127 h 179"/>
                <a:gd name="T74" fmla="*/ 61 w 180"/>
                <a:gd name="T75" fmla="*/ 119 h 179"/>
                <a:gd name="T76" fmla="*/ 52 w 180"/>
                <a:gd name="T77" fmla="*/ 106 h 179"/>
                <a:gd name="T78" fmla="*/ 49 w 180"/>
                <a:gd name="T79" fmla="*/ 89 h 179"/>
                <a:gd name="T80" fmla="*/ 50 w 180"/>
                <a:gd name="T81" fmla="*/ 81 h 179"/>
                <a:gd name="T82" fmla="*/ 56 w 180"/>
                <a:gd name="T83" fmla="*/ 67 h 179"/>
                <a:gd name="T84" fmla="*/ 67 w 180"/>
                <a:gd name="T85" fmla="*/ 57 h 179"/>
                <a:gd name="T86" fmla="*/ 82 w 180"/>
                <a:gd name="T87" fmla="*/ 50 h 179"/>
                <a:gd name="T88" fmla="*/ 90 w 180"/>
                <a:gd name="T89" fmla="*/ 49 h 179"/>
                <a:gd name="T90" fmla="*/ 105 w 180"/>
                <a:gd name="T91" fmla="*/ 53 h 179"/>
                <a:gd name="T92" fmla="*/ 118 w 180"/>
                <a:gd name="T93" fmla="*/ 61 h 179"/>
                <a:gd name="T94" fmla="*/ 127 w 180"/>
                <a:gd name="T95" fmla="*/ 74 h 179"/>
                <a:gd name="T96" fmla="*/ 130 w 180"/>
                <a:gd name="T97" fmla="*/ 89 h 179"/>
                <a:gd name="T98" fmla="*/ 130 w 180"/>
                <a:gd name="T99" fmla="*/ 99 h 179"/>
                <a:gd name="T100" fmla="*/ 124 w 180"/>
                <a:gd name="T101" fmla="*/ 113 h 179"/>
                <a:gd name="T102" fmla="*/ 112 w 180"/>
                <a:gd name="T103" fmla="*/ 123 h 179"/>
                <a:gd name="T104" fmla="*/ 98 w 180"/>
                <a:gd name="T105" fmla="*/ 129 h 179"/>
                <a:gd name="T106" fmla="*/ 90 w 180"/>
                <a:gd name="T107" fmla="*/ 13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0" h="179">
                  <a:moveTo>
                    <a:pt x="90" y="0"/>
                  </a:moveTo>
                  <a:lnTo>
                    <a:pt x="90" y="0"/>
                  </a:lnTo>
                  <a:lnTo>
                    <a:pt x="81" y="0"/>
                  </a:lnTo>
                  <a:lnTo>
                    <a:pt x="71" y="1"/>
                  </a:lnTo>
                  <a:lnTo>
                    <a:pt x="63" y="4"/>
                  </a:lnTo>
                  <a:lnTo>
                    <a:pt x="54" y="8"/>
                  </a:lnTo>
                  <a:lnTo>
                    <a:pt x="47" y="11"/>
                  </a:lnTo>
                  <a:lnTo>
                    <a:pt x="40" y="16"/>
                  </a:lnTo>
                  <a:lnTo>
                    <a:pt x="33" y="21"/>
                  </a:lnTo>
                  <a:lnTo>
                    <a:pt x="26" y="26"/>
                  </a:lnTo>
                  <a:lnTo>
                    <a:pt x="20" y="33"/>
                  </a:lnTo>
                  <a:lnTo>
                    <a:pt x="15" y="39"/>
                  </a:lnTo>
                  <a:lnTo>
                    <a:pt x="10" y="47"/>
                  </a:lnTo>
                  <a:lnTo>
                    <a:pt x="7" y="55"/>
                  </a:lnTo>
                  <a:lnTo>
                    <a:pt x="4" y="63"/>
                  </a:lnTo>
                  <a:lnTo>
                    <a:pt x="2" y="72"/>
                  </a:lnTo>
                  <a:lnTo>
                    <a:pt x="0" y="81"/>
                  </a:lnTo>
                  <a:lnTo>
                    <a:pt x="0" y="89"/>
                  </a:lnTo>
                  <a:lnTo>
                    <a:pt x="0" y="89"/>
                  </a:lnTo>
                  <a:lnTo>
                    <a:pt x="0" y="99"/>
                  </a:lnTo>
                  <a:lnTo>
                    <a:pt x="2" y="108"/>
                  </a:lnTo>
                  <a:lnTo>
                    <a:pt x="4" y="117"/>
                  </a:lnTo>
                  <a:lnTo>
                    <a:pt x="7" y="125"/>
                  </a:lnTo>
                  <a:lnTo>
                    <a:pt x="10" y="132"/>
                  </a:lnTo>
                  <a:lnTo>
                    <a:pt x="15" y="140"/>
                  </a:lnTo>
                  <a:lnTo>
                    <a:pt x="20" y="147"/>
                  </a:lnTo>
                  <a:lnTo>
                    <a:pt x="26" y="154"/>
                  </a:lnTo>
                  <a:lnTo>
                    <a:pt x="33" y="159"/>
                  </a:lnTo>
                  <a:lnTo>
                    <a:pt x="40" y="164"/>
                  </a:lnTo>
                  <a:lnTo>
                    <a:pt x="47" y="169"/>
                  </a:lnTo>
                  <a:lnTo>
                    <a:pt x="54" y="173"/>
                  </a:lnTo>
                  <a:lnTo>
                    <a:pt x="63" y="175"/>
                  </a:lnTo>
                  <a:lnTo>
                    <a:pt x="71" y="178"/>
                  </a:lnTo>
                  <a:lnTo>
                    <a:pt x="81" y="179"/>
                  </a:lnTo>
                  <a:lnTo>
                    <a:pt x="90" y="179"/>
                  </a:lnTo>
                  <a:lnTo>
                    <a:pt x="90" y="179"/>
                  </a:lnTo>
                  <a:lnTo>
                    <a:pt x="99" y="179"/>
                  </a:lnTo>
                  <a:lnTo>
                    <a:pt x="107" y="178"/>
                  </a:lnTo>
                  <a:lnTo>
                    <a:pt x="116" y="175"/>
                  </a:lnTo>
                  <a:lnTo>
                    <a:pt x="125" y="173"/>
                  </a:lnTo>
                  <a:lnTo>
                    <a:pt x="133" y="169"/>
                  </a:lnTo>
                  <a:lnTo>
                    <a:pt x="140" y="164"/>
                  </a:lnTo>
                  <a:lnTo>
                    <a:pt x="147" y="159"/>
                  </a:lnTo>
                  <a:lnTo>
                    <a:pt x="153" y="154"/>
                  </a:lnTo>
                  <a:lnTo>
                    <a:pt x="159" y="147"/>
                  </a:lnTo>
                  <a:lnTo>
                    <a:pt x="165" y="140"/>
                  </a:lnTo>
                  <a:lnTo>
                    <a:pt x="169" y="132"/>
                  </a:lnTo>
                  <a:lnTo>
                    <a:pt x="173" y="125"/>
                  </a:lnTo>
                  <a:lnTo>
                    <a:pt x="176" y="117"/>
                  </a:lnTo>
                  <a:lnTo>
                    <a:pt x="178" y="108"/>
                  </a:lnTo>
                  <a:lnTo>
                    <a:pt x="179" y="99"/>
                  </a:lnTo>
                  <a:lnTo>
                    <a:pt x="180" y="89"/>
                  </a:lnTo>
                  <a:lnTo>
                    <a:pt x="180" y="89"/>
                  </a:lnTo>
                  <a:lnTo>
                    <a:pt x="179" y="81"/>
                  </a:lnTo>
                  <a:lnTo>
                    <a:pt x="178" y="72"/>
                  </a:lnTo>
                  <a:lnTo>
                    <a:pt x="176" y="63"/>
                  </a:lnTo>
                  <a:lnTo>
                    <a:pt x="173" y="55"/>
                  </a:lnTo>
                  <a:lnTo>
                    <a:pt x="169" y="47"/>
                  </a:lnTo>
                  <a:lnTo>
                    <a:pt x="165" y="39"/>
                  </a:lnTo>
                  <a:lnTo>
                    <a:pt x="159" y="33"/>
                  </a:lnTo>
                  <a:lnTo>
                    <a:pt x="153" y="26"/>
                  </a:lnTo>
                  <a:lnTo>
                    <a:pt x="147" y="21"/>
                  </a:lnTo>
                  <a:lnTo>
                    <a:pt x="140" y="16"/>
                  </a:lnTo>
                  <a:lnTo>
                    <a:pt x="133" y="11"/>
                  </a:lnTo>
                  <a:lnTo>
                    <a:pt x="125" y="8"/>
                  </a:lnTo>
                  <a:lnTo>
                    <a:pt x="116" y="4"/>
                  </a:lnTo>
                  <a:lnTo>
                    <a:pt x="107" y="1"/>
                  </a:lnTo>
                  <a:lnTo>
                    <a:pt x="99" y="0"/>
                  </a:lnTo>
                  <a:lnTo>
                    <a:pt x="90" y="0"/>
                  </a:lnTo>
                  <a:lnTo>
                    <a:pt x="90" y="0"/>
                  </a:lnTo>
                  <a:close/>
                  <a:moveTo>
                    <a:pt x="90" y="130"/>
                  </a:moveTo>
                  <a:lnTo>
                    <a:pt x="90" y="130"/>
                  </a:lnTo>
                  <a:lnTo>
                    <a:pt x="82" y="129"/>
                  </a:lnTo>
                  <a:lnTo>
                    <a:pt x="73" y="127"/>
                  </a:lnTo>
                  <a:lnTo>
                    <a:pt x="67" y="123"/>
                  </a:lnTo>
                  <a:lnTo>
                    <a:pt x="61" y="119"/>
                  </a:lnTo>
                  <a:lnTo>
                    <a:pt x="56" y="113"/>
                  </a:lnTo>
                  <a:lnTo>
                    <a:pt x="52" y="106"/>
                  </a:lnTo>
                  <a:lnTo>
                    <a:pt x="50" y="99"/>
                  </a:lnTo>
                  <a:lnTo>
                    <a:pt x="49" y="89"/>
                  </a:lnTo>
                  <a:lnTo>
                    <a:pt x="49" y="89"/>
                  </a:lnTo>
                  <a:lnTo>
                    <a:pt x="50" y="81"/>
                  </a:lnTo>
                  <a:lnTo>
                    <a:pt x="52" y="74"/>
                  </a:lnTo>
                  <a:lnTo>
                    <a:pt x="56" y="67"/>
                  </a:lnTo>
                  <a:lnTo>
                    <a:pt x="61" y="61"/>
                  </a:lnTo>
                  <a:lnTo>
                    <a:pt x="67" y="57"/>
                  </a:lnTo>
                  <a:lnTo>
                    <a:pt x="73" y="53"/>
                  </a:lnTo>
                  <a:lnTo>
                    <a:pt x="82" y="50"/>
                  </a:lnTo>
                  <a:lnTo>
                    <a:pt x="90" y="49"/>
                  </a:lnTo>
                  <a:lnTo>
                    <a:pt x="90" y="49"/>
                  </a:lnTo>
                  <a:lnTo>
                    <a:pt x="98" y="50"/>
                  </a:lnTo>
                  <a:lnTo>
                    <a:pt x="105" y="53"/>
                  </a:lnTo>
                  <a:lnTo>
                    <a:pt x="112" y="57"/>
                  </a:lnTo>
                  <a:lnTo>
                    <a:pt x="118" y="61"/>
                  </a:lnTo>
                  <a:lnTo>
                    <a:pt x="124" y="67"/>
                  </a:lnTo>
                  <a:lnTo>
                    <a:pt x="127" y="74"/>
                  </a:lnTo>
                  <a:lnTo>
                    <a:pt x="130" y="81"/>
                  </a:lnTo>
                  <a:lnTo>
                    <a:pt x="130" y="89"/>
                  </a:lnTo>
                  <a:lnTo>
                    <a:pt x="130" y="89"/>
                  </a:lnTo>
                  <a:lnTo>
                    <a:pt x="130" y="99"/>
                  </a:lnTo>
                  <a:lnTo>
                    <a:pt x="127" y="106"/>
                  </a:lnTo>
                  <a:lnTo>
                    <a:pt x="124" y="113"/>
                  </a:lnTo>
                  <a:lnTo>
                    <a:pt x="118" y="119"/>
                  </a:lnTo>
                  <a:lnTo>
                    <a:pt x="112" y="123"/>
                  </a:lnTo>
                  <a:lnTo>
                    <a:pt x="105" y="127"/>
                  </a:lnTo>
                  <a:lnTo>
                    <a:pt x="98" y="129"/>
                  </a:lnTo>
                  <a:lnTo>
                    <a:pt x="90" y="130"/>
                  </a:lnTo>
                  <a:lnTo>
                    <a:pt x="90" y="1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u="none" strike="noStrike" kern="0" cap="none" spc="0" normalizeH="0" baseline="0" noProof="0">
                <a:ln>
                  <a:noFill/>
                </a:ln>
                <a:solidFill>
                  <a:sysClr val="windowText" lastClr="000000"/>
                </a:solidFill>
                <a:effectLst/>
                <a:uLnTx/>
                <a:uFillTx/>
                <a:latin typeface="CiscoSansTT Light"/>
                <a:cs typeface="CiscoSansTT Light"/>
              </a:endParaRPr>
            </a:p>
          </p:txBody>
        </p:sp>
        <p:sp>
          <p:nvSpPr>
            <p:cNvPr id="58" name="Freeform 167"/>
            <p:cNvSpPr>
              <a:spLocks noEditPoints="1"/>
            </p:cNvSpPr>
            <p:nvPr/>
          </p:nvSpPr>
          <p:spPr bwMode="auto">
            <a:xfrm>
              <a:off x="12249151" y="6053138"/>
              <a:ext cx="323850" cy="419100"/>
            </a:xfrm>
            <a:custGeom>
              <a:avLst/>
              <a:gdLst>
                <a:gd name="T0" fmla="*/ 1296 w 1430"/>
                <a:gd name="T1" fmla="*/ 631 h 1852"/>
                <a:gd name="T2" fmla="*/ 1222 w 1430"/>
                <a:gd name="T3" fmla="*/ 292 h 1852"/>
                <a:gd name="T4" fmla="*/ 976 w 1430"/>
                <a:gd name="T5" fmla="*/ 68 h 1852"/>
                <a:gd name="T6" fmla="*/ 506 w 1430"/>
                <a:gd name="T7" fmla="*/ 7 h 1852"/>
                <a:gd name="T8" fmla="*/ 126 w 1430"/>
                <a:gd name="T9" fmla="*/ 234 h 1852"/>
                <a:gd name="T10" fmla="*/ 2 w 1430"/>
                <a:gd name="T11" fmla="*/ 588 h 1852"/>
                <a:gd name="T12" fmla="*/ 101 w 1430"/>
                <a:gd name="T13" fmla="*/ 1047 h 1852"/>
                <a:gd name="T14" fmla="*/ 241 w 1430"/>
                <a:gd name="T15" fmla="*/ 1351 h 1852"/>
                <a:gd name="T16" fmla="*/ 141 w 1430"/>
                <a:gd name="T17" fmla="*/ 1652 h 1852"/>
                <a:gd name="T18" fmla="*/ 92 w 1430"/>
                <a:gd name="T19" fmla="*/ 1828 h 1852"/>
                <a:gd name="T20" fmla="*/ 956 w 1430"/>
                <a:gd name="T21" fmla="*/ 1821 h 1852"/>
                <a:gd name="T22" fmla="*/ 898 w 1430"/>
                <a:gd name="T23" fmla="*/ 1649 h 1852"/>
                <a:gd name="T24" fmla="*/ 912 w 1430"/>
                <a:gd name="T25" fmla="*/ 1484 h 1852"/>
                <a:gd name="T26" fmla="*/ 1155 w 1430"/>
                <a:gd name="T27" fmla="*/ 1452 h 1852"/>
                <a:gd name="T28" fmla="*/ 1279 w 1430"/>
                <a:gd name="T29" fmla="*/ 1422 h 1852"/>
                <a:gd name="T30" fmla="*/ 1323 w 1430"/>
                <a:gd name="T31" fmla="*/ 1262 h 1852"/>
                <a:gd name="T32" fmla="*/ 1338 w 1430"/>
                <a:gd name="T33" fmla="*/ 1181 h 1852"/>
                <a:gd name="T34" fmla="*/ 1341 w 1430"/>
                <a:gd name="T35" fmla="*/ 1072 h 1852"/>
                <a:gd name="T36" fmla="*/ 1430 w 1430"/>
                <a:gd name="T37" fmla="*/ 985 h 1852"/>
                <a:gd name="T38" fmla="*/ 655 w 1430"/>
                <a:gd name="T39" fmla="*/ 768 h 1852"/>
                <a:gd name="T40" fmla="*/ 618 w 1430"/>
                <a:gd name="T41" fmla="*/ 895 h 1852"/>
                <a:gd name="T42" fmla="*/ 508 w 1430"/>
                <a:gd name="T43" fmla="*/ 933 h 1852"/>
                <a:gd name="T44" fmla="*/ 439 w 1430"/>
                <a:gd name="T45" fmla="*/ 1006 h 1852"/>
                <a:gd name="T46" fmla="*/ 291 w 1430"/>
                <a:gd name="T47" fmla="*/ 982 h 1852"/>
                <a:gd name="T48" fmla="*/ 188 w 1430"/>
                <a:gd name="T49" fmla="*/ 928 h 1852"/>
                <a:gd name="T50" fmla="*/ 94 w 1430"/>
                <a:gd name="T51" fmla="*/ 793 h 1852"/>
                <a:gd name="T52" fmla="*/ 129 w 1430"/>
                <a:gd name="T53" fmla="*/ 702 h 1852"/>
                <a:gd name="T54" fmla="*/ 106 w 1430"/>
                <a:gd name="T55" fmla="*/ 600 h 1852"/>
                <a:gd name="T56" fmla="*/ 198 w 1430"/>
                <a:gd name="T57" fmla="*/ 504 h 1852"/>
                <a:gd name="T58" fmla="*/ 295 w 1430"/>
                <a:gd name="T59" fmla="*/ 434 h 1852"/>
                <a:gd name="T60" fmla="*/ 462 w 1430"/>
                <a:gd name="T61" fmla="*/ 429 h 1852"/>
                <a:gd name="T62" fmla="*/ 561 w 1430"/>
                <a:gd name="T63" fmla="*/ 508 h 1852"/>
                <a:gd name="T64" fmla="*/ 639 w 1430"/>
                <a:gd name="T65" fmla="*/ 566 h 1852"/>
                <a:gd name="T66" fmla="*/ 629 w 1430"/>
                <a:gd name="T67" fmla="*/ 665 h 1852"/>
                <a:gd name="T68" fmla="*/ 634 w 1430"/>
                <a:gd name="T69" fmla="*/ 397 h 1852"/>
                <a:gd name="T70" fmla="*/ 533 w 1430"/>
                <a:gd name="T71" fmla="*/ 409 h 1852"/>
                <a:gd name="T72" fmla="*/ 468 w 1430"/>
                <a:gd name="T73" fmla="*/ 359 h 1852"/>
                <a:gd name="T74" fmla="*/ 415 w 1430"/>
                <a:gd name="T75" fmla="*/ 313 h 1852"/>
                <a:gd name="T76" fmla="*/ 431 w 1430"/>
                <a:gd name="T77" fmla="*/ 232 h 1852"/>
                <a:gd name="T78" fmla="*/ 410 w 1430"/>
                <a:gd name="T79" fmla="*/ 163 h 1852"/>
                <a:gd name="T80" fmla="*/ 468 w 1430"/>
                <a:gd name="T81" fmla="*/ 107 h 1852"/>
                <a:gd name="T82" fmla="*/ 533 w 1430"/>
                <a:gd name="T83" fmla="*/ 56 h 1852"/>
                <a:gd name="T84" fmla="*/ 633 w 1430"/>
                <a:gd name="T85" fmla="*/ 65 h 1852"/>
                <a:gd name="T86" fmla="*/ 701 w 1430"/>
                <a:gd name="T87" fmla="*/ 101 h 1852"/>
                <a:gd name="T88" fmla="*/ 755 w 1430"/>
                <a:gd name="T89" fmla="*/ 184 h 1852"/>
                <a:gd name="T90" fmla="*/ 743 w 1430"/>
                <a:gd name="T91" fmla="*/ 265 h 1852"/>
                <a:gd name="T92" fmla="*/ 723 w 1430"/>
                <a:gd name="T93" fmla="*/ 344 h 1852"/>
                <a:gd name="T94" fmla="*/ 1083 w 1430"/>
                <a:gd name="T95" fmla="*/ 566 h 1852"/>
                <a:gd name="T96" fmla="*/ 1025 w 1430"/>
                <a:gd name="T97" fmla="*/ 616 h 1852"/>
                <a:gd name="T98" fmla="*/ 1014 w 1430"/>
                <a:gd name="T99" fmla="*/ 683 h 1852"/>
                <a:gd name="T100" fmla="*/ 921 w 1430"/>
                <a:gd name="T101" fmla="*/ 713 h 1852"/>
                <a:gd name="T102" fmla="*/ 833 w 1430"/>
                <a:gd name="T103" fmla="*/ 716 h 1852"/>
                <a:gd name="T104" fmla="*/ 747 w 1430"/>
                <a:gd name="T105" fmla="*/ 655 h 1852"/>
                <a:gd name="T106" fmla="*/ 716 w 1430"/>
                <a:gd name="T107" fmla="*/ 582 h 1852"/>
                <a:gd name="T108" fmla="*/ 708 w 1430"/>
                <a:gd name="T109" fmla="*/ 474 h 1852"/>
                <a:gd name="T110" fmla="*/ 779 w 1430"/>
                <a:gd name="T111" fmla="*/ 423 h 1852"/>
                <a:gd name="T112" fmla="*/ 804 w 1430"/>
                <a:gd name="T113" fmla="*/ 359 h 1852"/>
                <a:gd name="T114" fmla="*/ 885 w 1430"/>
                <a:gd name="T115" fmla="*/ 374 h 1852"/>
                <a:gd name="T116" fmla="*/ 963 w 1430"/>
                <a:gd name="T117" fmla="*/ 351 h 1852"/>
                <a:gd name="T118" fmla="*/ 1036 w 1430"/>
                <a:gd name="T119" fmla="*/ 416 h 1852"/>
                <a:gd name="T120" fmla="*/ 1081 w 1430"/>
                <a:gd name="T121" fmla="*/ 487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0" h="1852">
                  <a:moveTo>
                    <a:pt x="1389" y="891"/>
                  </a:moveTo>
                  <a:lnTo>
                    <a:pt x="1389" y="891"/>
                  </a:lnTo>
                  <a:lnTo>
                    <a:pt x="1355" y="834"/>
                  </a:lnTo>
                  <a:lnTo>
                    <a:pt x="1340" y="805"/>
                  </a:lnTo>
                  <a:lnTo>
                    <a:pt x="1325" y="776"/>
                  </a:lnTo>
                  <a:lnTo>
                    <a:pt x="1312" y="748"/>
                  </a:lnTo>
                  <a:lnTo>
                    <a:pt x="1302" y="722"/>
                  </a:lnTo>
                  <a:lnTo>
                    <a:pt x="1298" y="710"/>
                  </a:lnTo>
                  <a:lnTo>
                    <a:pt x="1295" y="698"/>
                  </a:lnTo>
                  <a:lnTo>
                    <a:pt x="1292" y="686"/>
                  </a:lnTo>
                  <a:lnTo>
                    <a:pt x="1291" y="676"/>
                  </a:lnTo>
                  <a:lnTo>
                    <a:pt x="1291" y="676"/>
                  </a:lnTo>
                  <a:lnTo>
                    <a:pt x="1291" y="666"/>
                  </a:lnTo>
                  <a:lnTo>
                    <a:pt x="1292" y="655"/>
                  </a:lnTo>
                  <a:lnTo>
                    <a:pt x="1296" y="631"/>
                  </a:lnTo>
                  <a:lnTo>
                    <a:pt x="1301" y="605"/>
                  </a:lnTo>
                  <a:lnTo>
                    <a:pt x="1304" y="590"/>
                  </a:lnTo>
                  <a:lnTo>
                    <a:pt x="1305" y="574"/>
                  </a:lnTo>
                  <a:lnTo>
                    <a:pt x="1306" y="557"/>
                  </a:lnTo>
                  <a:lnTo>
                    <a:pt x="1307" y="538"/>
                  </a:lnTo>
                  <a:lnTo>
                    <a:pt x="1305" y="518"/>
                  </a:lnTo>
                  <a:lnTo>
                    <a:pt x="1303" y="495"/>
                  </a:lnTo>
                  <a:lnTo>
                    <a:pt x="1298" y="472"/>
                  </a:lnTo>
                  <a:lnTo>
                    <a:pt x="1291" y="446"/>
                  </a:lnTo>
                  <a:lnTo>
                    <a:pt x="1283" y="418"/>
                  </a:lnTo>
                  <a:lnTo>
                    <a:pt x="1270" y="389"/>
                  </a:lnTo>
                  <a:lnTo>
                    <a:pt x="1270" y="389"/>
                  </a:lnTo>
                  <a:lnTo>
                    <a:pt x="1257" y="358"/>
                  </a:lnTo>
                  <a:lnTo>
                    <a:pt x="1241" y="325"/>
                  </a:lnTo>
                  <a:lnTo>
                    <a:pt x="1222" y="292"/>
                  </a:lnTo>
                  <a:lnTo>
                    <a:pt x="1213" y="275"/>
                  </a:lnTo>
                  <a:lnTo>
                    <a:pt x="1202" y="259"/>
                  </a:lnTo>
                  <a:lnTo>
                    <a:pt x="1191" y="243"/>
                  </a:lnTo>
                  <a:lnTo>
                    <a:pt x="1178" y="226"/>
                  </a:lnTo>
                  <a:lnTo>
                    <a:pt x="1165" y="210"/>
                  </a:lnTo>
                  <a:lnTo>
                    <a:pt x="1151" y="193"/>
                  </a:lnTo>
                  <a:lnTo>
                    <a:pt x="1135" y="178"/>
                  </a:lnTo>
                  <a:lnTo>
                    <a:pt x="1119" y="163"/>
                  </a:lnTo>
                  <a:lnTo>
                    <a:pt x="1103" y="147"/>
                  </a:lnTo>
                  <a:lnTo>
                    <a:pt x="1084" y="133"/>
                  </a:lnTo>
                  <a:lnTo>
                    <a:pt x="1065" y="119"/>
                  </a:lnTo>
                  <a:lnTo>
                    <a:pt x="1044" y="106"/>
                  </a:lnTo>
                  <a:lnTo>
                    <a:pt x="1023" y="92"/>
                  </a:lnTo>
                  <a:lnTo>
                    <a:pt x="1000" y="80"/>
                  </a:lnTo>
                  <a:lnTo>
                    <a:pt x="976" y="68"/>
                  </a:lnTo>
                  <a:lnTo>
                    <a:pt x="951" y="57"/>
                  </a:lnTo>
                  <a:lnTo>
                    <a:pt x="925" y="47"/>
                  </a:lnTo>
                  <a:lnTo>
                    <a:pt x="896" y="37"/>
                  </a:lnTo>
                  <a:lnTo>
                    <a:pt x="866" y="29"/>
                  </a:lnTo>
                  <a:lnTo>
                    <a:pt x="836" y="22"/>
                  </a:lnTo>
                  <a:lnTo>
                    <a:pt x="803" y="16"/>
                  </a:lnTo>
                  <a:lnTo>
                    <a:pt x="768" y="9"/>
                  </a:lnTo>
                  <a:lnTo>
                    <a:pt x="732" y="5"/>
                  </a:lnTo>
                  <a:lnTo>
                    <a:pt x="694" y="2"/>
                  </a:lnTo>
                  <a:lnTo>
                    <a:pt x="656" y="0"/>
                  </a:lnTo>
                  <a:lnTo>
                    <a:pt x="615" y="0"/>
                  </a:lnTo>
                  <a:lnTo>
                    <a:pt x="615" y="0"/>
                  </a:lnTo>
                  <a:lnTo>
                    <a:pt x="577" y="0"/>
                  </a:lnTo>
                  <a:lnTo>
                    <a:pt x="541" y="3"/>
                  </a:lnTo>
                  <a:lnTo>
                    <a:pt x="506" y="7"/>
                  </a:lnTo>
                  <a:lnTo>
                    <a:pt x="472" y="13"/>
                  </a:lnTo>
                  <a:lnTo>
                    <a:pt x="440" y="22"/>
                  </a:lnTo>
                  <a:lnTo>
                    <a:pt x="408" y="31"/>
                  </a:lnTo>
                  <a:lnTo>
                    <a:pt x="378" y="41"/>
                  </a:lnTo>
                  <a:lnTo>
                    <a:pt x="350" y="53"/>
                  </a:lnTo>
                  <a:lnTo>
                    <a:pt x="322" y="67"/>
                  </a:lnTo>
                  <a:lnTo>
                    <a:pt x="295" y="81"/>
                  </a:lnTo>
                  <a:lnTo>
                    <a:pt x="270" y="96"/>
                  </a:lnTo>
                  <a:lnTo>
                    <a:pt x="246" y="114"/>
                  </a:lnTo>
                  <a:lnTo>
                    <a:pt x="223" y="131"/>
                  </a:lnTo>
                  <a:lnTo>
                    <a:pt x="201" y="151"/>
                  </a:lnTo>
                  <a:lnTo>
                    <a:pt x="181" y="170"/>
                  </a:lnTo>
                  <a:lnTo>
                    <a:pt x="161" y="190"/>
                  </a:lnTo>
                  <a:lnTo>
                    <a:pt x="143" y="212"/>
                  </a:lnTo>
                  <a:lnTo>
                    <a:pt x="126" y="234"/>
                  </a:lnTo>
                  <a:lnTo>
                    <a:pt x="110" y="257"/>
                  </a:lnTo>
                  <a:lnTo>
                    <a:pt x="95" y="280"/>
                  </a:lnTo>
                  <a:lnTo>
                    <a:pt x="82" y="305"/>
                  </a:lnTo>
                  <a:lnTo>
                    <a:pt x="68" y="329"/>
                  </a:lnTo>
                  <a:lnTo>
                    <a:pt x="57" y="355"/>
                  </a:lnTo>
                  <a:lnTo>
                    <a:pt x="47" y="380"/>
                  </a:lnTo>
                  <a:lnTo>
                    <a:pt x="38" y="406"/>
                  </a:lnTo>
                  <a:lnTo>
                    <a:pt x="30" y="432"/>
                  </a:lnTo>
                  <a:lnTo>
                    <a:pt x="21" y="457"/>
                  </a:lnTo>
                  <a:lnTo>
                    <a:pt x="16" y="484"/>
                  </a:lnTo>
                  <a:lnTo>
                    <a:pt x="11" y="511"/>
                  </a:lnTo>
                  <a:lnTo>
                    <a:pt x="7" y="536"/>
                  </a:lnTo>
                  <a:lnTo>
                    <a:pt x="4" y="563"/>
                  </a:lnTo>
                  <a:lnTo>
                    <a:pt x="2" y="588"/>
                  </a:lnTo>
                  <a:lnTo>
                    <a:pt x="2" y="588"/>
                  </a:lnTo>
                  <a:lnTo>
                    <a:pt x="0" y="630"/>
                  </a:lnTo>
                  <a:lnTo>
                    <a:pt x="0" y="671"/>
                  </a:lnTo>
                  <a:lnTo>
                    <a:pt x="2" y="709"/>
                  </a:lnTo>
                  <a:lnTo>
                    <a:pt x="5" y="746"/>
                  </a:lnTo>
                  <a:lnTo>
                    <a:pt x="9" y="781"/>
                  </a:lnTo>
                  <a:lnTo>
                    <a:pt x="14" y="813"/>
                  </a:lnTo>
                  <a:lnTo>
                    <a:pt x="21" y="845"/>
                  </a:lnTo>
                  <a:lnTo>
                    <a:pt x="28" y="876"/>
                  </a:lnTo>
                  <a:lnTo>
                    <a:pt x="37" y="904"/>
                  </a:lnTo>
                  <a:lnTo>
                    <a:pt x="47" y="931"/>
                  </a:lnTo>
                  <a:lnTo>
                    <a:pt x="56" y="956"/>
                  </a:lnTo>
                  <a:lnTo>
                    <a:pt x="67" y="981"/>
                  </a:lnTo>
                  <a:lnTo>
                    <a:pt x="78" y="1005"/>
                  </a:lnTo>
                  <a:lnTo>
                    <a:pt x="90" y="1027"/>
                  </a:lnTo>
                  <a:lnTo>
                    <a:pt x="101" y="1047"/>
                  </a:lnTo>
                  <a:lnTo>
                    <a:pt x="113" y="1068"/>
                  </a:lnTo>
                  <a:lnTo>
                    <a:pt x="137" y="1105"/>
                  </a:lnTo>
                  <a:lnTo>
                    <a:pt x="160" y="1140"/>
                  </a:lnTo>
                  <a:lnTo>
                    <a:pt x="182" y="1170"/>
                  </a:lnTo>
                  <a:lnTo>
                    <a:pt x="202" y="1200"/>
                  </a:lnTo>
                  <a:lnTo>
                    <a:pt x="219" y="1226"/>
                  </a:lnTo>
                  <a:lnTo>
                    <a:pt x="226" y="1240"/>
                  </a:lnTo>
                  <a:lnTo>
                    <a:pt x="232" y="1253"/>
                  </a:lnTo>
                  <a:lnTo>
                    <a:pt x="236" y="1265"/>
                  </a:lnTo>
                  <a:lnTo>
                    <a:pt x="240" y="1279"/>
                  </a:lnTo>
                  <a:lnTo>
                    <a:pt x="242" y="1291"/>
                  </a:lnTo>
                  <a:lnTo>
                    <a:pt x="243" y="1303"/>
                  </a:lnTo>
                  <a:lnTo>
                    <a:pt x="243" y="1303"/>
                  </a:lnTo>
                  <a:lnTo>
                    <a:pt x="243" y="1328"/>
                  </a:lnTo>
                  <a:lnTo>
                    <a:pt x="241" y="1351"/>
                  </a:lnTo>
                  <a:lnTo>
                    <a:pt x="240" y="1375"/>
                  </a:lnTo>
                  <a:lnTo>
                    <a:pt x="237" y="1397"/>
                  </a:lnTo>
                  <a:lnTo>
                    <a:pt x="231" y="1442"/>
                  </a:lnTo>
                  <a:lnTo>
                    <a:pt x="224" y="1486"/>
                  </a:lnTo>
                  <a:lnTo>
                    <a:pt x="216" y="1528"/>
                  </a:lnTo>
                  <a:lnTo>
                    <a:pt x="206" y="1568"/>
                  </a:lnTo>
                  <a:lnTo>
                    <a:pt x="198" y="1606"/>
                  </a:lnTo>
                  <a:lnTo>
                    <a:pt x="192" y="1641"/>
                  </a:lnTo>
                  <a:lnTo>
                    <a:pt x="188" y="1641"/>
                  </a:lnTo>
                  <a:lnTo>
                    <a:pt x="188" y="1641"/>
                  </a:lnTo>
                  <a:lnTo>
                    <a:pt x="178" y="1641"/>
                  </a:lnTo>
                  <a:lnTo>
                    <a:pt x="168" y="1643"/>
                  </a:lnTo>
                  <a:lnTo>
                    <a:pt x="158" y="1645"/>
                  </a:lnTo>
                  <a:lnTo>
                    <a:pt x="149" y="1648"/>
                  </a:lnTo>
                  <a:lnTo>
                    <a:pt x="141" y="1652"/>
                  </a:lnTo>
                  <a:lnTo>
                    <a:pt x="133" y="1657"/>
                  </a:lnTo>
                  <a:lnTo>
                    <a:pt x="125" y="1663"/>
                  </a:lnTo>
                  <a:lnTo>
                    <a:pt x="117" y="1669"/>
                  </a:lnTo>
                  <a:lnTo>
                    <a:pt x="111" y="1676"/>
                  </a:lnTo>
                  <a:lnTo>
                    <a:pt x="105" y="1685"/>
                  </a:lnTo>
                  <a:lnTo>
                    <a:pt x="100" y="1693"/>
                  </a:lnTo>
                  <a:lnTo>
                    <a:pt x="96" y="1701"/>
                  </a:lnTo>
                  <a:lnTo>
                    <a:pt x="93" y="1710"/>
                  </a:lnTo>
                  <a:lnTo>
                    <a:pt x="91" y="1719"/>
                  </a:lnTo>
                  <a:lnTo>
                    <a:pt x="89" y="1730"/>
                  </a:lnTo>
                  <a:lnTo>
                    <a:pt x="89" y="1740"/>
                  </a:lnTo>
                  <a:lnTo>
                    <a:pt x="89" y="1813"/>
                  </a:lnTo>
                  <a:lnTo>
                    <a:pt x="89" y="1813"/>
                  </a:lnTo>
                  <a:lnTo>
                    <a:pt x="89" y="1821"/>
                  </a:lnTo>
                  <a:lnTo>
                    <a:pt x="92" y="1828"/>
                  </a:lnTo>
                  <a:lnTo>
                    <a:pt x="95" y="1835"/>
                  </a:lnTo>
                  <a:lnTo>
                    <a:pt x="100" y="1841"/>
                  </a:lnTo>
                  <a:lnTo>
                    <a:pt x="106" y="1846"/>
                  </a:lnTo>
                  <a:lnTo>
                    <a:pt x="112" y="1849"/>
                  </a:lnTo>
                  <a:lnTo>
                    <a:pt x="121" y="1851"/>
                  </a:lnTo>
                  <a:lnTo>
                    <a:pt x="129" y="1852"/>
                  </a:lnTo>
                  <a:lnTo>
                    <a:pt x="917" y="1852"/>
                  </a:lnTo>
                  <a:lnTo>
                    <a:pt x="917" y="1852"/>
                  </a:lnTo>
                  <a:lnTo>
                    <a:pt x="926" y="1851"/>
                  </a:lnTo>
                  <a:lnTo>
                    <a:pt x="933" y="1849"/>
                  </a:lnTo>
                  <a:lnTo>
                    <a:pt x="940" y="1846"/>
                  </a:lnTo>
                  <a:lnTo>
                    <a:pt x="946" y="1841"/>
                  </a:lnTo>
                  <a:lnTo>
                    <a:pt x="950" y="1835"/>
                  </a:lnTo>
                  <a:lnTo>
                    <a:pt x="954" y="1828"/>
                  </a:lnTo>
                  <a:lnTo>
                    <a:pt x="956" y="1821"/>
                  </a:lnTo>
                  <a:lnTo>
                    <a:pt x="957" y="1813"/>
                  </a:lnTo>
                  <a:lnTo>
                    <a:pt x="957" y="1740"/>
                  </a:lnTo>
                  <a:lnTo>
                    <a:pt x="957" y="1740"/>
                  </a:lnTo>
                  <a:lnTo>
                    <a:pt x="956" y="1730"/>
                  </a:lnTo>
                  <a:lnTo>
                    <a:pt x="955" y="1720"/>
                  </a:lnTo>
                  <a:lnTo>
                    <a:pt x="953" y="1710"/>
                  </a:lnTo>
                  <a:lnTo>
                    <a:pt x="949" y="1702"/>
                  </a:lnTo>
                  <a:lnTo>
                    <a:pt x="945" y="1693"/>
                  </a:lnTo>
                  <a:lnTo>
                    <a:pt x="941" y="1685"/>
                  </a:lnTo>
                  <a:lnTo>
                    <a:pt x="935" y="1677"/>
                  </a:lnTo>
                  <a:lnTo>
                    <a:pt x="929" y="1670"/>
                  </a:lnTo>
                  <a:lnTo>
                    <a:pt x="922" y="1664"/>
                  </a:lnTo>
                  <a:lnTo>
                    <a:pt x="914" y="1658"/>
                  </a:lnTo>
                  <a:lnTo>
                    <a:pt x="906" y="1653"/>
                  </a:lnTo>
                  <a:lnTo>
                    <a:pt x="898" y="1649"/>
                  </a:lnTo>
                  <a:lnTo>
                    <a:pt x="889" y="1646"/>
                  </a:lnTo>
                  <a:lnTo>
                    <a:pt x="880" y="1643"/>
                  </a:lnTo>
                  <a:lnTo>
                    <a:pt x="869" y="1642"/>
                  </a:lnTo>
                  <a:lnTo>
                    <a:pt x="860" y="1641"/>
                  </a:lnTo>
                  <a:lnTo>
                    <a:pt x="860" y="1641"/>
                  </a:lnTo>
                  <a:lnTo>
                    <a:pt x="861" y="1613"/>
                  </a:lnTo>
                  <a:lnTo>
                    <a:pt x="863" y="1600"/>
                  </a:lnTo>
                  <a:lnTo>
                    <a:pt x="866" y="1587"/>
                  </a:lnTo>
                  <a:lnTo>
                    <a:pt x="866" y="1587"/>
                  </a:lnTo>
                  <a:lnTo>
                    <a:pt x="873" y="1562"/>
                  </a:lnTo>
                  <a:lnTo>
                    <a:pt x="882" y="1538"/>
                  </a:lnTo>
                  <a:lnTo>
                    <a:pt x="891" y="1518"/>
                  </a:lnTo>
                  <a:lnTo>
                    <a:pt x="901" y="1500"/>
                  </a:lnTo>
                  <a:lnTo>
                    <a:pt x="906" y="1492"/>
                  </a:lnTo>
                  <a:lnTo>
                    <a:pt x="912" y="1484"/>
                  </a:lnTo>
                  <a:lnTo>
                    <a:pt x="918" y="1478"/>
                  </a:lnTo>
                  <a:lnTo>
                    <a:pt x="926" y="1472"/>
                  </a:lnTo>
                  <a:lnTo>
                    <a:pt x="933" y="1467"/>
                  </a:lnTo>
                  <a:lnTo>
                    <a:pt x="940" y="1462"/>
                  </a:lnTo>
                  <a:lnTo>
                    <a:pt x="948" y="1458"/>
                  </a:lnTo>
                  <a:lnTo>
                    <a:pt x="956" y="1454"/>
                  </a:lnTo>
                  <a:lnTo>
                    <a:pt x="964" y="1450"/>
                  </a:lnTo>
                  <a:lnTo>
                    <a:pt x="974" y="1447"/>
                  </a:lnTo>
                  <a:lnTo>
                    <a:pt x="993" y="1443"/>
                  </a:lnTo>
                  <a:lnTo>
                    <a:pt x="1015" y="1441"/>
                  </a:lnTo>
                  <a:lnTo>
                    <a:pt x="1038" y="1440"/>
                  </a:lnTo>
                  <a:lnTo>
                    <a:pt x="1064" y="1441"/>
                  </a:lnTo>
                  <a:lnTo>
                    <a:pt x="1091" y="1443"/>
                  </a:lnTo>
                  <a:lnTo>
                    <a:pt x="1122" y="1447"/>
                  </a:lnTo>
                  <a:lnTo>
                    <a:pt x="1155" y="1452"/>
                  </a:lnTo>
                  <a:lnTo>
                    <a:pt x="1155" y="1452"/>
                  </a:lnTo>
                  <a:lnTo>
                    <a:pt x="1169" y="1455"/>
                  </a:lnTo>
                  <a:lnTo>
                    <a:pt x="1181" y="1456"/>
                  </a:lnTo>
                  <a:lnTo>
                    <a:pt x="1194" y="1456"/>
                  </a:lnTo>
                  <a:lnTo>
                    <a:pt x="1206" y="1456"/>
                  </a:lnTo>
                  <a:lnTo>
                    <a:pt x="1216" y="1455"/>
                  </a:lnTo>
                  <a:lnTo>
                    <a:pt x="1225" y="1454"/>
                  </a:lnTo>
                  <a:lnTo>
                    <a:pt x="1235" y="1450"/>
                  </a:lnTo>
                  <a:lnTo>
                    <a:pt x="1243" y="1448"/>
                  </a:lnTo>
                  <a:lnTo>
                    <a:pt x="1250" y="1444"/>
                  </a:lnTo>
                  <a:lnTo>
                    <a:pt x="1257" y="1441"/>
                  </a:lnTo>
                  <a:lnTo>
                    <a:pt x="1263" y="1437"/>
                  </a:lnTo>
                  <a:lnTo>
                    <a:pt x="1269" y="1432"/>
                  </a:lnTo>
                  <a:lnTo>
                    <a:pt x="1274" y="1427"/>
                  </a:lnTo>
                  <a:lnTo>
                    <a:pt x="1279" y="1422"/>
                  </a:lnTo>
                  <a:lnTo>
                    <a:pt x="1287" y="1410"/>
                  </a:lnTo>
                  <a:lnTo>
                    <a:pt x="1292" y="1397"/>
                  </a:lnTo>
                  <a:lnTo>
                    <a:pt x="1296" y="1384"/>
                  </a:lnTo>
                  <a:lnTo>
                    <a:pt x="1299" y="1371"/>
                  </a:lnTo>
                  <a:lnTo>
                    <a:pt x="1301" y="1356"/>
                  </a:lnTo>
                  <a:lnTo>
                    <a:pt x="1303" y="1331"/>
                  </a:lnTo>
                  <a:lnTo>
                    <a:pt x="1304" y="1307"/>
                  </a:lnTo>
                  <a:lnTo>
                    <a:pt x="1304" y="1307"/>
                  </a:lnTo>
                  <a:lnTo>
                    <a:pt x="1305" y="1298"/>
                  </a:lnTo>
                  <a:lnTo>
                    <a:pt x="1306" y="1290"/>
                  </a:lnTo>
                  <a:lnTo>
                    <a:pt x="1308" y="1284"/>
                  </a:lnTo>
                  <a:lnTo>
                    <a:pt x="1310" y="1278"/>
                  </a:lnTo>
                  <a:lnTo>
                    <a:pt x="1313" y="1274"/>
                  </a:lnTo>
                  <a:lnTo>
                    <a:pt x="1316" y="1269"/>
                  </a:lnTo>
                  <a:lnTo>
                    <a:pt x="1323" y="1262"/>
                  </a:lnTo>
                  <a:lnTo>
                    <a:pt x="1336" y="1253"/>
                  </a:lnTo>
                  <a:lnTo>
                    <a:pt x="1343" y="1248"/>
                  </a:lnTo>
                  <a:lnTo>
                    <a:pt x="1345" y="1244"/>
                  </a:lnTo>
                  <a:lnTo>
                    <a:pt x="1348" y="1240"/>
                  </a:lnTo>
                  <a:lnTo>
                    <a:pt x="1348" y="1240"/>
                  </a:lnTo>
                  <a:lnTo>
                    <a:pt x="1352" y="1230"/>
                  </a:lnTo>
                  <a:lnTo>
                    <a:pt x="1353" y="1219"/>
                  </a:lnTo>
                  <a:lnTo>
                    <a:pt x="1353" y="1211"/>
                  </a:lnTo>
                  <a:lnTo>
                    <a:pt x="1351" y="1204"/>
                  </a:lnTo>
                  <a:lnTo>
                    <a:pt x="1347" y="1197"/>
                  </a:lnTo>
                  <a:lnTo>
                    <a:pt x="1341" y="1192"/>
                  </a:lnTo>
                  <a:lnTo>
                    <a:pt x="1335" y="1187"/>
                  </a:lnTo>
                  <a:lnTo>
                    <a:pt x="1327" y="1184"/>
                  </a:lnTo>
                  <a:lnTo>
                    <a:pt x="1327" y="1184"/>
                  </a:lnTo>
                  <a:lnTo>
                    <a:pt x="1338" y="1181"/>
                  </a:lnTo>
                  <a:lnTo>
                    <a:pt x="1344" y="1180"/>
                  </a:lnTo>
                  <a:lnTo>
                    <a:pt x="1349" y="1177"/>
                  </a:lnTo>
                  <a:lnTo>
                    <a:pt x="1353" y="1173"/>
                  </a:lnTo>
                  <a:lnTo>
                    <a:pt x="1354" y="1169"/>
                  </a:lnTo>
                  <a:lnTo>
                    <a:pt x="1355" y="1166"/>
                  </a:lnTo>
                  <a:lnTo>
                    <a:pt x="1356" y="1156"/>
                  </a:lnTo>
                  <a:lnTo>
                    <a:pt x="1354" y="1144"/>
                  </a:lnTo>
                  <a:lnTo>
                    <a:pt x="1354" y="1144"/>
                  </a:lnTo>
                  <a:lnTo>
                    <a:pt x="1350" y="1129"/>
                  </a:lnTo>
                  <a:lnTo>
                    <a:pt x="1345" y="1115"/>
                  </a:lnTo>
                  <a:lnTo>
                    <a:pt x="1341" y="1101"/>
                  </a:lnTo>
                  <a:lnTo>
                    <a:pt x="1340" y="1093"/>
                  </a:lnTo>
                  <a:lnTo>
                    <a:pt x="1339" y="1086"/>
                  </a:lnTo>
                  <a:lnTo>
                    <a:pt x="1340" y="1079"/>
                  </a:lnTo>
                  <a:lnTo>
                    <a:pt x="1341" y="1072"/>
                  </a:lnTo>
                  <a:lnTo>
                    <a:pt x="1344" y="1065"/>
                  </a:lnTo>
                  <a:lnTo>
                    <a:pt x="1349" y="1058"/>
                  </a:lnTo>
                  <a:lnTo>
                    <a:pt x="1355" y="1051"/>
                  </a:lnTo>
                  <a:lnTo>
                    <a:pt x="1364" y="1043"/>
                  </a:lnTo>
                  <a:lnTo>
                    <a:pt x="1375" y="1036"/>
                  </a:lnTo>
                  <a:lnTo>
                    <a:pt x="1388" y="1029"/>
                  </a:lnTo>
                  <a:lnTo>
                    <a:pt x="1388" y="1029"/>
                  </a:lnTo>
                  <a:lnTo>
                    <a:pt x="1398" y="1025"/>
                  </a:lnTo>
                  <a:lnTo>
                    <a:pt x="1407" y="1020"/>
                  </a:lnTo>
                  <a:lnTo>
                    <a:pt x="1415" y="1015"/>
                  </a:lnTo>
                  <a:lnTo>
                    <a:pt x="1420" y="1010"/>
                  </a:lnTo>
                  <a:lnTo>
                    <a:pt x="1425" y="1005"/>
                  </a:lnTo>
                  <a:lnTo>
                    <a:pt x="1428" y="998"/>
                  </a:lnTo>
                  <a:lnTo>
                    <a:pt x="1430" y="992"/>
                  </a:lnTo>
                  <a:lnTo>
                    <a:pt x="1430" y="985"/>
                  </a:lnTo>
                  <a:lnTo>
                    <a:pt x="1429" y="977"/>
                  </a:lnTo>
                  <a:lnTo>
                    <a:pt x="1427" y="969"/>
                  </a:lnTo>
                  <a:lnTo>
                    <a:pt x="1424" y="960"/>
                  </a:lnTo>
                  <a:lnTo>
                    <a:pt x="1419" y="948"/>
                  </a:lnTo>
                  <a:lnTo>
                    <a:pt x="1406" y="923"/>
                  </a:lnTo>
                  <a:lnTo>
                    <a:pt x="1389" y="891"/>
                  </a:lnTo>
                  <a:lnTo>
                    <a:pt x="1389" y="891"/>
                  </a:lnTo>
                  <a:close/>
                  <a:moveTo>
                    <a:pt x="634" y="714"/>
                  </a:moveTo>
                  <a:lnTo>
                    <a:pt x="634" y="714"/>
                  </a:lnTo>
                  <a:lnTo>
                    <a:pt x="634" y="726"/>
                  </a:lnTo>
                  <a:lnTo>
                    <a:pt x="633" y="739"/>
                  </a:lnTo>
                  <a:lnTo>
                    <a:pt x="629" y="763"/>
                  </a:lnTo>
                  <a:lnTo>
                    <a:pt x="649" y="767"/>
                  </a:lnTo>
                  <a:lnTo>
                    <a:pt x="649" y="767"/>
                  </a:lnTo>
                  <a:lnTo>
                    <a:pt x="655" y="768"/>
                  </a:lnTo>
                  <a:lnTo>
                    <a:pt x="658" y="770"/>
                  </a:lnTo>
                  <a:lnTo>
                    <a:pt x="658" y="770"/>
                  </a:lnTo>
                  <a:lnTo>
                    <a:pt x="664" y="774"/>
                  </a:lnTo>
                  <a:lnTo>
                    <a:pt x="667" y="780"/>
                  </a:lnTo>
                  <a:lnTo>
                    <a:pt x="669" y="787"/>
                  </a:lnTo>
                  <a:lnTo>
                    <a:pt x="668" y="793"/>
                  </a:lnTo>
                  <a:lnTo>
                    <a:pt x="668" y="793"/>
                  </a:lnTo>
                  <a:lnTo>
                    <a:pt x="668" y="793"/>
                  </a:lnTo>
                  <a:lnTo>
                    <a:pt x="663" y="810"/>
                  </a:lnTo>
                  <a:lnTo>
                    <a:pt x="656" y="829"/>
                  </a:lnTo>
                  <a:lnTo>
                    <a:pt x="647" y="846"/>
                  </a:lnTo>
                  <a:lnTo>
                    <a:pt x="639" y="862"/>
                  </a:lnTo>
                  <a:lnTo>
                    <a:pt x="639" y="862"/>
                  </a:lnTo>
                  <a:lnTo>
                    <a:pt x="629" y="879"/>
                  </a:lnTo>
                  <a:lnTo>
                    <a:pt x="618" y="895"/>
                  </a:lnTo>
                  <a:lnTo>
                    <a:pt x="605" y="909"/>
                  </a:lnTo>
                  <a:lnTo>
                    <a:pt x="593" y="924"/>
                  </a:lnTo>
                  <a:lnTo>
                    <a:pt x="593" y="924"/>
                  </a:lnTo>
                  <a:lnTo>
                    <a:pt x="593" y="924"/>
                  </a:lnTo>
                  <a:lnTo>
                    <a:pt x="587" y="927"/>
                  </a:lnTo>
                  <a:lnTo>
                    <a:pt x="581" y="929"/>
                  </a:lnTo>
                  <a:lnTo>
                    <a:pt x="575" y="928"/>
                  </a:lnTo>
                  <a:lnTo>
                    <a:pt x="569" y="926"/>
                  </a:lnTo>
                  <a:lnTo>
                    <a:pt x="569" y="926"/>
                  </a:lnTo>
                  <a:lnTo>
                    <a:pt x="565" y="924"/>
                  </a:lnTo>
                  <a:lnTo>
                    <a:pt x="561" y="920"/>
                  </a:lnTo>
                  <a:lnTo>
                    <a:pt x="547" y="904"/>
                  </a:lnTo>
                  <a:lnTo>
                    <a:pt x="547" y="904"/>
                  </a:lnTo>
                  <a:lnTo>
                    <a:pt x="529" y="920"/>
                  </a:lnTo>
                  <a:lnTo>
                    <a:pt x="508" y="933"/>
                  </a:lnTo>
                  <a:lnTo>
                    <a:pt x="486" y="944"/>
                  </a:lnTo>
                  <a:lnTo>
                    <a:pt x="474" y="949"/>
                  </a:lnTo>
                  <a:lnTo>
                    <a:pt x="462" y="953"/>
                  </a:lnTo>
                  <a:lnTo>
                    <a:pt x="469" y="973"/>
                  </a:lnTo>
                  <a:lnTo>
                    <a:pt x="469" y="973"/>
                  </a:lnTo>
                  <a:lnTo>
                    <a:pt x="470" y="978"/>
                  </a:lnTo>
                  <a:lnTo>
                    <a:pt x="471" y="982"/>
                  </a:lnTo>
                  <a:lnTo>
                    <a:pt x="471" y="982"/>
                  </a:lnTo>
                  <a:lnTo>
                    <a:pt x="470" y="988"/>
                  </a:lnTo>
                  <a:lnTo>
                    <a:pt x="467" y="994"/>
                  </a:lnTo>
                  <a:lnTo>
                    <a:pt x="462" y="999"/>
                  </a:lnTo>
                  <a:lnTo>
                    <a:pt x="456" y="1002"/>
                  </a:lnTo>
                  <a:lnTo>
                    <a:pt x="457" y="1002"/>
                  </a:lnTo>
                  <a:lnTo>
                    <a:pt x="457" y="1002"/>
                  </a:lnTo>
                  <a:lnTo>
                    <a:pt x="439" y="1006"/>
                  </a:lnTo>
                  <a:lnTo>
                    <a:pt x="419" y="1009"/>
                  </a:lnTo>
                  <a:lnTo>
                    <a:pt x="401" y="1011"/>
                  </a:lnTo>
                  <a:lnTo>
                    <a:pt x="381" y="1012"/>
                  </a:lnTo>
                  <a:lnTo>
                    <a:pt x="381" y="1012"/>
                  </a:lnTo>
                  <a:lnTo>
                    <a:pt x="362" y="1011"/>
                  </a:lnTo>
                  <a:lnTo>
                    <a:pt x="343" y="1009"/>
                  </a:lnTo>
                  <a:lnTo>
                    <a:pt x="324" y="1006"/>
                  </a:lnTo>
                  <a:lnTo>
                    <a:pt x="306" y="1002"/>
                  </a:lnTo>
                  <a:lnTo>
                    <a:pt x="306" y="1002"/>
                  </a:lnTo>
                  <a:lnTo>
                    <a:pt x="306" y="1002"/>
                  </a:lnTo>
                  <a:lnTo>
                    <a:pt x="300" y="999"/>
                  </a:lnTo>
                  <a:lnTo>
                    <a:pt x="295" y="994"/>
                  </a:lnTo>
                  <a:lnTo>
                    <a:pt x="292" y="988"/>
                  </a:lnTo>
                  <a:lnTo>
                    <a:pt x="291" y="982"/>
                  </a:lnTo>
                  <a:lnTo>
                    <a:pt x="291" y="982"/>
                  </a:lnTo>
                  <a:lnTo>
                    <a:pt x="291" y="977"/>
                  </a:lnTo>
                  <a:lnTo>
                    <a:pt x="292" y="973"/>
                  </a:lnTo>
                  <a:lnTo>
                    <a:pt x="300" y="953"/>
                  </a:lnTo>
                  <a:lnTo>
                    <a:pt x="300" y="953"/>
                  </a:lnTo>
                  <a:lnTo>
                    <a:pt x="288" y="949"/>
                  </a:lnTo>
                  <a:lnTo>
                    <a:pt x="277" y="944"/>
                  </a:lnTo>
                  <a:lnTo>
                    <a:pt x="255" y="933"/>
                  </a:lnTo>
                  <a:lnTo>
                    <a:pt x="234" y="920"/>
                  </a:lnTo>
                  <a:lnTo>
                    <a:pt x="215" y="904"/>
                  </a:lnTo>
                  <a:lnTo>
                    <a:pt x="200" y="920"/>
                  </a:lnTo>
                  <a:lnTo>
                    <a:pt x="200" y="920"/>
                  </a:lnTo>
                  <a:lnTo>
                    <a:pt x="198" y="924"/>
                  </a:lnTo>
                  <a:lnTo>
                    <a:pt x="194" y="926"/>
                  </a:lnTo>
                  <a:lnTo>
                    <a:pt x="194" y="926"/>
                  </a:lnTo>
                  <a:lnTo>
                    <a:pt x="188" y="928"/>
                  </a:lnTo>
                  <a:lnTo>
                    <a:pt x="181" y="929"/>
                  </a:lnTo>
                  <a:lnTo>
                    <a:pt x="175" y="927"/>
                  </a:lnTo>
                  <a:lnTo>
                    <a:pt x="170" y="924"/>
                  </a:lnTo>
                  <a:lnTo>
                    <a:pt x="170" y="924"/>
                  </a:lnTo>
                  <a:lnTo>
                    <a:pt x="170" y="924"/>
                  </a:lnTo>
                  <a:lnTo>
                    <a:pt x="157" y="909"/>
                  </a:lnTo>
                  <a:lnTo>
                    <a:pt x="145" y="895"/>
                  </a:lnTo>
                  <a:lnTo>
                    <a:pt x="134" y="879"/>
                  </a:lnTo>
                  <a:lnTo>
                    <a:pt x="124" y="862"/>
                  </a:lnTo>
                  <a:lnTo>
                    <a:pt x="124" y="862"/>
                  </a:lnTo>
                  <a:lnTo>
                    <a:pt x="114" y="846"/>
                  </a:lnTo>
                  <a:lnTo>
                    <a:pt x="106" y="829"/>
                  </a:lnTo>
                  <a:lnTo>
                    <a:pt x="100" y="810"/>
                  </a:lnTo>
                  <a:lnTo>
                    <a:pt x="94" y="793"/>
                  </a:lnTo>
                  <a:lnTo>
                    <a:pt x="94" y="793"/>
                  </a:lnTo>
                  <a:lnTo>
                    <a:pt x="94" y="793"/>
                  </a:lnTo>
                  <a:lnTo>
                    <a:pt x="94" y="787"/>
                  </a:lnTo>
                  <a:lnTo>
                    <a:pt x="95" y="780"/>
                  </a:lnTo>
                  <a:lnTo>
                    <a:pt x="99" y="774"/>
                  </a:lnTo>
                  <a:lnTo>
                    <a:pt x="104" y="770"/>
                  </a:lnTo>
                  <a:lnTo>
                    <a:pt x="104" y="770"/>
                  </a:lnTo>
                  <a:lnTo>
                    <a:pt x="108" y="768"/>
                  </a:lnTo>
                  <a:lnTo>
                    <a:pt x="112" y="767"/>
                  </a:lnTo>
                  <a:lnTo>
                    <a:pt x="133" y="763"/>
                  </a:lnTo>
                  <a:lnTo>
                    <a:pt x="133" y="763"/>
                  </a:lnTo>
                  <a:lnTo>
                    <a:pt x="130" y="739"/>
                  </a:lnTo>
                  <a:lnTo>
                    <a:pt x="129" y="726"/>
                  </a:lnTo>
                  <a:lnTo>
                    <a:pt x="129" y="714"/>
                  </a:lnTo>
                  <a:lnTo>
                    <a:pt x="129" y="714"/>
                  </a:lnTo>
                  <a:lnTo>
                    <a:pt x="129" y="702"/>
                  </a:lnTo>
                  <a:lnTo>
                    <a:pt x="130" y="690"/>
                  </a:lnTo>
                  <a:lnTo>
                    <a:pt x="133" y="665"/>
                  </a:lnTo>
                  <a:lnTo>
                    <a:pt x="112" y="661"/>
                  </a:lnTo>
                  <a:lnTo>
                    <a:pt x="112" y="661"/>
                  </a:lnTo>
                  <a:lnTo>
                    <a:pt x="108" y="660"/>
                  </a:lnTo>
                  <a:lnTo>
                    <a:pt x="104" y="658"/>
                  </a:lnTo>
                  <a:lnTo>
                    <a:pt x="104" y="658"/>
                  </a:lnTo>
                  <a:lnTo>
                    <a:pt x="99" y="654"/>
                  </a:lnTo>
                  <a:lnTo>
                    <a:pt x="95" y="649"/>
                  </a:lnTo>
                  <a:lnTo>
                    <a:pt x="94" y="642"/>
                  </a:lnTo>
                  <a:lnTo>
                    <a:pt x="94" y="635"/>
                  </a:lnTo>
                  <a:lnTo>
                    <a:pt x="94" y="635"/>
                  </a:lnTo>
                  <a:lnTo>
                    <a:pt x="94" y="635"/>
                  </a:lnTo>
                  <a:lnTo>
                    <a:pt x="100" y="618"/>
                  </a:lnTo>
                  <a:lnTo>
                    <a:pt x="106" y="600"/>
                  </a:lnTo>
                  <a:lnTo>
                    <a:pt x="114" y="582"/>
                  </a:lnTo>
                  <a:lnTo>
                    <a:pt x="124" y="566"/>
                  </a:lnTo>
                  <a:lnTo>
                    <a:pt x="124" y="566"/>
                  </a:lnTo>
                  <a:lnTo>
                    <a:pt x="134" y="549"/>
                  </a:lnTo>
                  <a:lnTo>
                    <a:pt x="145" y="533"/>
                  </a:lnTo>
                  <a:lnTo>
                    <a:pt x="157" y="519"/>
                  </a:lnTo>
                  <a:lnTo>
                    <a:pt x="170" y="504"/>
                  </a:lnTo>
                  <a:lnTo>
                    <a:pt x="170" y="504"/>
                  </a:lnTo>
                  <a:lnTo>
                    <a:pt x="170" y="504"/>
                  </a:lnTo>
                  <a:lnTo>
                    <a:pt x="175" y="501"/>
                  </a:lnTo>
                  <a:lnTo>
                    <a:pt x="181" y="499"/>
                  </a:lnTo>
                  <a:lnTo>
                    <a:pt x="188" y="500"/>
                  </a:lnTo>
                  <a:lnTo>
                    <a:pt x="194" y="502"/>
                  </a:lnTo>
                  <a:lnTo>
                    <a:pt x="194" y="502"/>
                  </a:lnTo>
                  <a:lnTo>
                    <a:pt x="198" y="504"/>
                  </a:lnTo>
                  <a:lnTo>
                    <a:pt x="200" y="508"/>
                  </a:lnTo>
                  <a:lnTo>
                    <a:pt x="215" y="524"/>
                  </a:lnTo>
                  <a:lnTo>
                    <a:pt x="215" y="524"/>
                  </a:lnTo>
                  <a:lnTo>
                    <a:pt x="234" y="508"/>
                  </a:lnTo>
                  <a:lnTo>
                    <a:pt x="255" y="495"/>
                  </a:lnTo>
                  <a:lnTo>
                    <a:pt x="277" y="484"/>
                  </a:lnTo>
                  <a:lnTo>
                    <a:pt x="288" y="479"/>
                  </a:lnTo>
                  <a:lnTo>
                    <a:pt x="300" y="475"/>
                  </a:lnTo>
                  <a:lnTo>
                    <a:pt x="292" y="455"/>
                  </a:lnTo>
                  <a:lnTo>
                    <a:pt x="292" y="455"/>
                  </a:lnTo>
                  <a:lnTo>
                    <a:pt x="291" y="450"/>
                  </a:lnTo>
                  <a:lnTo>
                    <a:pt x="291" y="446"/>
                  </a:lnTo>
                  <a:lnTo>
                    <a:pt x="291" y="446"/>
                  </a:lnTo>
                  <a:lnTo>
                    <a:pt x="292" y="440"/>
                  </a:lnTo>
                  <a:lnTo>
                    <a:pt x="295" y="434"/>
                  </a:lnTo>
                  <a:lnTo>
                    <a:pt x="300" y="429"/>
                  </a:lnTo>
                  <a:lnTo>
                    <a:pt x="306" y="426"/>
                  </a:lnTo>
                  <a:lnTo>
                    <a:pt x="306" y="426"/>
                  </a:lnTo>
                  <a:lnTo>
                    <a:pt x="324" y="423"/>
                  </a:lnTo>
                  <a:lnTo>
                    <a:pt x="343" y="419"/>
                  </a:lnTo>
                  <a:lnTo>
                    <a:pt x="362" y="417"/>
                  </a:lnTo>
                  <a:lnTo>
                    <a:pt x="381" y="416"/>
                  </a:lnTo>
                  <a:lnTo>
                    <a:pt x="381" y="416"/>
                  </a:lnTo>
                  <a:lnTo>
                    <a:pt x="401" y="417"/>
                  </a:lnTo>
                  <a:lnTo>
                    <a:pt x="419" y="419"/>
                  </a:lnTo>
                  <a:lnTo>
                    <a:pt x="439" y="423"/>
                  </a:lnTo>
                  <a:lnTo>
                    <a:pt x="457" y="426"/>
                  </a:lnTo>
                  <a:lnTo>
                    <a:pt x="456" y="426"/>
                  </a:lnTo>
                  <a:lnTo>
                    <a:pt x="456" y="426"/>
                  </a:lnTo>
                  <a:lnTo>
                    <a:pt x="462" y="429"/>
                  </a:lnTo>
                  <a:lnTo>
                    <a:pt x="467" y="434"/>
                  </a:lnTo>
                  <a:lnTo>
                    <a:pt x="470" y="440"/>
                  </a:lnTo>
                  <a:lnTo>
                    <a:pt x="471" y="446"/>
                  </a:lnTo>
                  <a:lnTo>
                    <a:pt x="471" y="446"/>
                  </a:lnTo>
                  <a:lnTo>
                    <a:pt x="470" y="450"/>
                  </a:lnTo>
                  <a:lnTo>
                    <a:pt x="469" y="455"/>
                  </a:lnTo>
                  <a:lnTo>
                    <a:pt x="462" y="475"/>
                  </a:lnTo>
                  <a:lnTo>
                    <a:pt x="462" y="475"/>
                  </a:lnTo>
                  <a:lnTo>
                    <a:pt x="474" y="479"/>
                  </a:lnTo>
                  <a:lnTo>
                    <a:pt x="486" y="484"/>
                  </a:lnTo>
                  <a:lnTo>
                    <a:pt x="497" y="489"/>
                  </a:lnTo>
                  <a:lnTo>
                    <a:pt x="508" y="495"/>
                  </a:lnTo>
                  <a:lnTo>
                    <a:pt x="529" y="508"/>
                  </a:lnTo>
                  <a:lnTo>
                    <a:pt x="547" y="524"/>
                  </a:lnTo>
                  <a:lnTo>
                    <a:pt x="561" y="508"/>
                  </a:lnTo>
                  <a:lnTo>
                    <a:pt x="561" y="508"/>
                  </a:lnTo>
                  <a:lnTo>
                    <a:pt x="565" y="504"/>
                  </a:lnTo>
                  <a:lnTo>
                    <a:pt x="568" y="502"/>
                  </a:lnTo>
                  <a:lnTo>
                    <a:pt x="568" y="502"/>
                  </a:lnTo>
                  <a:lnTo>
                    <a:pt x="575" y="500"/>
                  </a:lnTo>
                  <a:lnTo>
                    <a:pt x="581" y="499"/>
                  </a:lnTo>
                  <a:lnTo>
                    <a:pt x="587" y="501"/>
                  </a:lnTo>
                  <a:lnTo>
                    <a:pt x="593" y="504"/>
                  </a:lnTo>
                  <a:lnTo>
                    <a:pt x="593" y="504"/>
                  </a:lnTo>
                  <a:lnTo>
                    <a:pt x="593" y="504"/>
                  </a:lnTo>
                  <a:lnTo>
                    <a:pt x="605" y="519"/>
                  </a:lnTo>
                  <a:lnTo>
                    <a:pt x="618" y="533"/>
                  </a:lnTo>
                  <a:lnTo>
                    <a:pt x="628" y="549"/>
                  </a:lnTo>
                  <a:lnTo>
                    <a:pt x="639" y="566"/>
                  </a:lnTo>
                  <a:lnTo>
                    <a:pt x="639" y="566"/>
                  </a:lnTo>
                  <a:lnTo>
                    <a:pt x="647" y="582"/>
                  </a:lnTo>
                  <a:lnTo>
                    <a:pt x="656" y="600"/>
                  </a:lnTo>
                  <a:lnTo>
                    <a:pt x="663" y="618"/>
                  </a:lnTo>
                  <a:lnTo>
                    <a:pt x="668" y="635"/>
                  </a:lnTo>
                  <a:lnTo>
                    <a:pt x="668" y="635"/>
                  </a:lnTo>
                  <a:lnTo>
                    <a:pt x="668" y="635"/>
                  </a:lnTo>
                  <a:lnTo>
                    <a:pt x="669" y="642"/>
                  </a:lnTo>
                  <a:lnTo>
                    <a:pt x="667" y="649"/>
                  </a:lnTo>
                  <a:lnTo>
                    <a:pt x="664" y="654"/>
                  </a:lnTo>
                  <a:lnTo>
                    <a:pt x="658" y="658"/>
                  </a:lnTo>
                  <a:lnTo>
                    <a:pt x="658" y="658"/>
                  </a:lnTo>
                  <a:lnTo>
                    <a:pt x="655" y="660"/>
                  </a:lnTo>
                  <a:lnTo>
                    <a:pt x="649" y="661"/>
                  </a:lnTo>
                  <a:lnTo>
                    <a:pt x="629" y="665"/>
                  </a:lnTo>
                  <a:lnTo>
                    <a:pt x="629" y="665"/>
                  </a:lnTo>
                  <a:lnTo>
                    <a:pt x="633" y="690"/>
                  </a:lnTo>
                  <a:lnTo>
                    <a:pt x="634" y="702"/>
                  </a:lnTo>
                  <a:lnTo>
                    <a:pt x="634" y="714"/>
                  </a:lnTo>
                  <a:lnTo>
                    <a:pt x="634" y="714"/>
                  </a:lnTo>
                  <a:close/>
                  <a:moveTo>
                    <a:pt x="689" y="359"/>
                  </a:moveTo>
                  <a:lnTo>
                    <a:pt x="676" y="344"/>
                  </a:lnTo>
                  <a:lnTo>
                    <a:pt x="676" y="344"/>
                  </a:lnTo>
                  <a:lnTo>
                    <a:pt x="665" y="353"/>
                  </a:lnTo>
                  <a:lnTo>
                    <a:pt x="652" y="360"/>
                  </a:lnTo>
                  <a:lnTo>
                    <a:pt x="639" y="367"/>
                  </a:lnTo>
                  <a:lnTo>
                    <a:pt x="626" y="372"/>
                  </a:lnTo>
                  <a:lnTo>
                    <a:pt x="632" y="392"/>
                  </a:lnTo>
                  <a:lnTo>
                    <a:pt x="632" y="392"/>
                  </a:lnTo>
                  <a:lnTo>
                    <a:pt x="634" y="397"/>
                  </a:lnTo>
                  <a:lnTo>
                    <a:pt x="634" y="397"/>
                  </a:lnTo>
                  <a:lnTo>
                    <a:pt x="633" y="401"/>
                  </a:lnTo>
                  <a:lnTo>
                    <a:pt x="631" y="404"/>
                  </a:lnTo>
                  <a:lnTo>
                    <a:pt x="628" y="407"/>
                  </a:lnTo>
                  <a:lnTo>
                    <a:pt x="625" y="409"/>
                  </a:lnTo>
                  <a:lnTo>
                    <a:pt x="625" y="409"/>
                  </a:lnTo>
                  <a:lnTo>
                    <a:pt x="625" y="409"/>
                  </a:lnTo>
                  <a:lnTo>
                    <a:pt x="614" y="411"/>
                  </a:lnTo>
                  <a:lnTo>
                    <a:pt x="602" y="413"/>
                  </a:lnTo>
                  <a:lnTo>
                    <a:pt x="590" y="414"/>
                  </a:lnTo>
                  <a:lnTo>
                    <a:pt x="579" y="414"/>
                  </a:lnTo>
                  <a:lnTo>
                    <a:pt x="579" y="414"/>
                  </a:lnTo>
                  <a:lnTo>
                    <a:pt x="567" y="414"/>
                  </a:lnTo>
                  <a:lnTo>
                    <a:pt x="555" y="413"/>
                  </a:lnTo>
                  <a:lnTo>
                    <a:pt x="544" y="411"/>
                  </a:lnTo>
                  <a:lnTo>
                    <a:pt x="533" y="409"/>
                  </a:lnTo>
                  <a:lnTo>
                    <a:pt x="533" y="409"/>
                  </a:lnTo>
                  <a:lnTo>
                    <a:pt x="533" y="409"/>
                  </a:lnTo>
                  <a:lnTo>
                    <a:pt x="529" y="407"/>
                  </a:lnTo>
                  <a:lnTo>
                    <a:pt x="526" y="404"/>
                  </a:lnTo>
                  <a:lnTo>
                    <a:pt x="525" y="401"/>
                  </a:lnTo>
                  <a:lnTo>
                    <a:pt x="524" y="397"/>
                  </a:lnTo>
                  <a:lnTo>
                    <a:pt x="524" y="397"/>
                  </a:lnTo>
                  <a:lnTo>
                    <a:pt x="525" y="392"/>
                  </a:lnTo>
                  <a:lnTo>
                    <a:pt x="531" y="372"/>
                  </a:lnTo>
                  <a:lnTo>
                    <a:pt x="531" y="372"/>
                  </a:lnTo>
                  <a:lnTo>
                    <a:pt x="517" y="367"/>
                  </a:lnTo>
                  <a:lnTo>
                    <a:pt x="504" y="360"/>
                  </a:lnTo>
                  <a:lnTo>
                    <a:pt x="493" y="353"/>
                  </a:lnTo>
                  <a:lnTo>
                    <a:pt x="482" y="344"/>
                  </a:lnTo>
                  <a:lnTo>
                    <a:pt x="468" y="359"/>
                  </a:lnTo>
                  <a:lnTo>
                    <a:pt x="468" y="359"/>
                  </a:lnTo>
                  <a:lnTo>
                    <a:pt x="466" y="361"/>
                  </a:lnTo>
                  <a:lnTo>
                    <a:pt x="464" y="362"/>
                  </a:lnTo>
                  <a:lnTo>
                    <a:pt x="464" y="362"/>
                  </a:lnTo>
                  <a:lnTo>
                    <a:pt x="460" y="364"/>
                  </a:lnTo>
                  <a:lnTo>
                    <a:pt x="456" y="364"/>
                  </a:lnTo>
                  <a:lnTo>
                    <a:pt x="452" y="363"/>
                  </a:lnTo>
                  <a:lnTo>
                    <a:pt x="449" y="361"/>
                  </a:lnTo>
                  <a:lnTo>
                    <a:pt x="449" y="361"/>
                  </a:lnTo>
                  <a:lnTo>
                    <a:pt x="441" y="352"/>
                  </a:lnTo>
                  <a:lnTo>
                    <a:pt x="434" y="344"/>
                  </a:lnTo>
                  <a:lnTo>
                    <a:pt x="427" y="334"/>
                  </a:lnTo>
                  <a:lnTo>
                    <a:pt x="421" y="324"/>
                  </a:lnTo>
                  <a:lnTo>
                    <a:pt x="421" y="324"/>
                  </a:lnTo>
                  <a:lnTo>
                    <a:pt x="415" y="313"/>
                  </a:lnTo>
                  <a:lnTo>
                    <a:pt x="410" y="303"/>
                  </a:lnTo>
                  <a:lnTo>
                    <a:pt x="406" y="292"/>
                  </a:lnTo>
                  <a:lnTo>
                    <a:pt x="403" y="281"/>
                  </a:lnTo>
                  <a:lnTo>
                    <a:pt x="403" y="281"/>
                  </a:lnTo>
                  <a:lnTo>
                    <a:pt x="403" y="281"/>
                  </a:lnTo>
                  <a:lnTo>
                    <a:pt x="403" y="277"/>
                  </a:lnTo>
                  <a:lnTo>
                    <a:pt x="404" y="273"/>
                  </a:lnTo>
                  <a:lnTo>
                    <a:pt x="406" y="270"/>
                  </a:lnTo>
                  <a:lnTo>
                    <a:pt x="409" y="267"/>
                  </a:lnTo>
                  <a:lnTo>
                    <a:pt x="409" y="267"/>
                  </a:lnTo>
                  <a:lnTo>
                    <a:pt x="414" y="265"/>
                  </a:lnTo>
                  <a:lnTo>
                    <a:pt x="434" y="262"/>
                  </a:lnTo>
                  <a:lnTo>
                    <a:pt x="434" y="262"/>
                  </a:lnTo>
                  <a:lnTo>
                    <a:pt x="432" y="248"/>
                  </a:lnTo>
                  <a:lnTo>
                    <a:pt x="431" y="232"/>
                  </a:lnTo>
                  <a:lnTo>
                    <a:pt x="431" y="232"/>
                  </a:lnTo>
                  <a:lnTo>
                    <a:pt x="432" y="218"/>
                  </a:lnTo>
                  <a:lnTo>
                    <a:pt x="434" y="204"/>
                  </a:lnTo>
                  <a:lnTo>
                    <a:pt x="414" y="201"/>
                  </a:lnTo>
                  <a:lnTo>
                    <a:pt x="414" y="201"/>
                  </a:lnTo>
                  <a:lnTo>
                    <a:pt x="409" y="199"/>
                  </a:lnTo>
                  <a:lnTo>
                    <a:pt x="409" y="199"/>
                  </a:lnTo>
                  <a:lnTo>
                    <a:pt x="406" y="196"/>
                  </a:lnTo>
                  <a:lnTo>
                    <a:pt x="404" y="192"/>
                  </a:lnTo>
                  <a:lnTo>
                    <a:pt x="403" y="188"/>
                  </a:lnTo>
                  <a:lnTo>
                    <a:pt x="403" y="184"/>
                  </a:lnTo>
                  <a:lnTo>
                    <a:pt x="403" y="185"/>
                  </a:lnTo>
                  <a:lnTo>
                    <a:pt x="403" y="185"/>
                  </a:lnTo>
                  <a:lnTo>
                    <a:pt x="406" y="174"/>
                  </a:lnTo>
                  <a:lnTo>
                    <a:pt x="410" y="163"/>
                  </a:lnTo>
                  <a:lnTo>
                    <a:pt x="415" y="153"/>
                  </a:lnTo>
                  <a:lnTo>
                    <a:pt x="421" y="142"/>
                  </a:lnTo>
                  <a:lnTo>
                    <a:pt x="421" y="142"/>
                  </a:lnTo>
                  <a:lnTo>
                    <a:pt x="427" y="132"/>
                  </a:lnTo>
                  <a:lnTo>
                    <a:pt x="434" y="122"/>
                  </a:lnTo>
                  <a:lnTo>
                    <a:pt x="441" y="114"/>
                  </a:lnTo>
                  <a:lnTo>
                    <a:pt x="449" y="104"/>
                  </a:lnTo>
                  <a:lnTo>
                    <a:pt x="449" y="104"/>
                  </a:lnTo>
                  <a:lnTo>
                    <a:pt x="452" y="102"/>
                  </a:lnTo>
                  <a:lnTo>
                    <a:pt x="456" y="101"/>
                  </a:lnTo>
                  <a:lnTo>
                    <a:pt x="460" y="101"/>
                  </a:lnTo>
                  <a:lnTo>
                    <a:pt x="464" y="103"/>
                  </a:lnTo>
                  <a:lnTo>
                    <a:pt x="464" y="103"/>
                  </a:lnTo>
                  <a:lnTo>
                    <a:pt x="466" y="104"/>
                  </a:lnTo>
                  <a:lnTo>
                    <a:pt x="468" y="107"/>
                  </a:lnTo>
                  <a:lnTo>
                    <a:pt x="482" y="122"/>
                  </a:lnTo>
                  <a:lnTo>
                    <a:pt x="482" y="122"/>
                  </a:lnTo>
                  <a:lnTo>
                    <a:pt x="493" y="113"/>
                  </a:lnTo>
                  <a:lnTo>
                    <a:pt x="504" y="106"/>
                  </a:lnTo>
                  <a:lnTo>
                    <a:pt x="517" y="98"/>
                  </a:lnTo>
                  <a:lnTo>
                    <a:pt x="531" y="93"/>
                  </a:lnTo>
                  <a:lnTo>
                    <a:pt x="525" y="74"/>
                  </a:lnTo>
                  <a:lnTo>
                    <a:pt x="525" y="74"/>
                  </a:lnTo>
                  <a:lnTo>
                    <a:pt x="524" y="69"/>
                  </a:lnTo>
                  <a:lnTo>
                    <a:pt x="524" y="69"/>
                  </a:lnTo>
                  <a:lnTo>
                    <a:pt x="525" y="65"/>
                  </a:lnTo>
                  <a:lnTo>
                    <a:pt x="526" y="62"/>
                  </a:lnTo>
                  <a:lnTo>
                    <a:pt x="529" y="58"/>
                  </a:lnTo>
                  <a:lnTo>
                    <a:pt x="533" y="56"/>
                  </a:lnTo>
                  <a:lnTo>
                    <a:pt x="533" y="56"/>
                  </a:lnTo>
                  <a:lnTo>
                    <a:pt x="533" y="56"/>
                  </a:lnTo>
                  <a:lnTo>
                    <a:pt x="544" y="54"/>
                  </a:lnTo>
                  <a:lnTo>
                    <a:pt x="555" y="52"/>
                  </a:lnTo>
                  <a:lnTo>
                    <a:pt x="567" y="51"/>
                  </a:lnTo>
                  <a:lnTo>
                    <a:pt x="579" y="51"/>
                  </a:lnTo>
                  <a:lnTo>
                    <a:pt x="579" y="51"/>
                  </a:lnTo>
                  <a:lnTo>
                    <a:pt x="590" y="51"/>
                  </a:lnTo>
                  <a:lnTo>
                    <a:pt x="602" y="52"/>
                  </a:lnTo>
                  <a:lnTo>
                    <a:pt x="614" y="54"/>
                  </a:lnTo>
                  <a:lnTo>
                    <a:pt x="625" y="56"/>
                  </a:lnTo>
                  <a:lnTo>
                    <a:pt x="625" y="56"/>
                  </a:lnTo>
                  <a:lnTo>
                    <a:pt x="625" y="56"/>
                  </a:lnTo>
                  <a:lnTo>
                    <a:pt x="628" y="58"/>
                  </a:lnTo>
                  <a:lnTo>
                    <a:pt x="631" y="62"/>
                  </a:lnTo>
                  <a:lnTo>
                    <a:pt x="633" y="65"/>
                  </a:lnTo>
                  <a:lnTo>
                    <a:pt x="634" y="69"/>
                  </a:lnTo>
                  <a:lnTo>
                    <a:pt x="634" y="69"/>
                  </a:lnTo>
                  <a:lnTo>
                    <a:pt x="632" y="74"/>
                  </a:lnTo>
                  <a:lnTo>
                    <a:pt x="626" y="93"/>
                  </a:lnTo>
                  <a:lnTo>
                    <a:pt x="626" y="93"/>
                  </a:lnTo>
                  <a:lnTo>
                    <a:pt x="639" y="98"/>
                  </a:lnTo>
                  <a:lnTo>
                    <a:pt x="652" y="106"/>
                  </a:lnTo>
                  <a:lnTo>
                    <a:pt x="665" y="113"/>
                  </a:lnTo>
                  <a:lnTo>
                    <a:pt x="676" y="122"/>
                  </a:lnTo>
                  <a:lnTo>
                    <a:pt x="689" y="107"/>
                  </a:lnTo>
                  <a:lnTo>
                    <a:pt x="689" y="107"/>
                  </a:lnTo>
                  <a:lnTo>
                    <a:pt x="693" y="103"/>
                  </a:lnTo>
                  <a:lnTo>
                    <a:pt x="693" y="103"/>
                  </a:lnTo>
                  <a:lnTo>
                    <a:pt x="696" y="101"/>
                  </a:lnTo>
                  <a:lnTo>
                    <a:pt x="701" y="101"/>
                  </a:lnTo>
                  <a:lnTo>
                    <a:pt x="705" y="102"/>
                  </a:lnTo>
                  <a:lnTo>
                    <a:pt x="708" y="104"/>
                  </a:lnTo>
                  <a:lnTo>
                    <a:pt x="708" y="104"/>
                  </a:lnTo>
                  <a:lnTo>
                    <a:pt x="708" y="104"/>
                  </a:lnTo>
                  <a:lnTo>
                    <a:pt x="716" y="114"/>
                  </a:lnTo>
                  <a:lnTo>
                    <a:pt x="723" y="122"/>
                  </a:lnTo>
                  <a:lnTo>
                    <a:pt x="730" y="132"/>
                  </a:lnTo>
                  <a:lnTo>
                    <a:pt x="736" y="142"/>
                  </a:lnTo>
                  <a:lnTo>
                    <a:pt x="736" y="142"/>
                  </a:lnTo>
                  <a:lnTo>
                    <a:pt x="741" y="153"/>
                  </a:lnTo>
                  <a:lnTo>
                    <a:pt x="747" y="163"/>
                  </a:lnTo>
                  <a:lnTo>
                    <a:pt x="751" y="174"/>
                  </a:lnTo>
                  <a:lnTo>
                    <a:pt x="754" y="184"/>
                  </a:lnTo>
                  <a:lnTo>
                    <a:pt x="755" y="184"/>
                  </a:lnTo>
                  <a:lnTo>
                    <a:pt x="755" y="184"/>
                  </a:lnTo>
                  <a:lnTo>
                    <a:pt x="755" y="188"/>
                  </a:lnTo>
                  <a:lnTo>
                    <a:pt x="754" y="192"/>
                  </a:lnTo>
                  <a:lnTo>
                    <a:pt x="752" y="196"/>
                  </a:lnTo>
                  <a:lnTo>
                    <a:pt x="748" y="199"/>
                  </a:lnTo>
                  <a:lnTo>
                    <a:pt x="748" y="199"/>
                  </a:lnTo>
                  <a:lnTo>
                    <a:pt x="743" y="201"/>
                  </a:lnTo>
                  <a:lnTo>
                    <a:pt x="723" y="204"/>
                  </a:lnTo>
                  <a:lnTo>
                    <a:pt x="723" y="204"/>
                  </a:lnTo>
                  <a:lnTo>
                    <a:pt x="725" y="218"/>
                  </a:lnTo>
                  <a:lnTo>
                    <a:pt x="726" y="232"/>
                  </a:lnTo>
                  <a:lnTo>
                    <a:pt x="726" y="232"/>
                  </a:lnTo>
                  <a:lnTo>
                    <a:pt x="725" y="248"/>
                  </a:lnTo>
                  <a:lnTo>
                    <a:pt x="723" y="262"/>
                  </a:lnTo>
                  <a:lnTo>
                    <a:pt x="743" y="265"/>
                  </a:lnTo>
                  <a:lnTo>
                    <a:pt x="743" y="265"/>
                  </a:lnTo>
                  <a:lnTo>
                    <a:pt x="748" y="267"/>
                  </a:lnTo>
                  <a:lnTo>
                    <a:pt x="748" y="267"/>
                  </a:lnTo>
                  <a:lnTo>
                    <a:pt x="752" y="270"/>
                  </a:lnTo>
                  <a:lnTo>
                    <a:pt x="754" y="273"/>
                  </a:lnTo>
                  <a:lnTo>
                    <a:pt x="755" y="277"/>
                  </a:lnTo>
                  <a:lnTo>
                    <a:pt x="755" y="281"/>
                  </a:lnTo>
                  <a:lnTo>
                    <a:pt x="754" y="281"/>
                  </a:lnTo>
                  <a:lnTo>
                    <a:pt x="754" y="281"/>
                  </a:lnTo>
                  <a:lnTo>
                    <a:pt x="751" y="292"/>
                  </a:lnTo>
                  <a:lnTo>
                    <a:pt x="747" y="303"/>
                  </a:lnTo>
                  <a:lnTo>
                    <a:pt x="741" y="313"/>
                  </a:lnTo>
                  <a:lnTo>
                    <a:pt x="736" y="323"/>
                  </a:lnTo>
                  <a:lnTo>
                    <a:pt x="736" y="323"/>
                  </a:lnTo>
                  <a:lnTo>
                    <a:pt x="730" y="334"/>
                  </a:lnTo>
                  <a:lnTo>
                    <a:pt x="723" y="344"/>
                  </a:lnTo>
                  <a:lnTo>
                    <a:pt x="716" y="352"/>
                  </a:lnTo>
                  <a:lnTo>
                    <a:pt x="708" y="361"/>
                  </a:lnTo>
                  <a:lnTo>
                    <a:pt x="708" y="361"/>
                  </a:lnTo>
                  <a:lnTo>
                    <a:pt x="708" y="361"/>
                  </a:lnTo>
                  <a:lnTo>
                    <a:pt x="705" y="363"/>
                  </a:lnTo>
                  <a:lnTo>
                    <a:pt x="701" y="364"/>
                  </a:lnTo>
                  <a:lnTo>
                    <a:pt x="696" y="364"/>
                  </a:lnTo>
                  <a:lnTo>
                    <a:pt x="693" y="362"/>
                  </a:lnTo>
                  <a:lnTo>
                    <a:pt x="693" y="362"/>
                  </a:lnTo>
                  <a:lnTo>
                    <a:pt x="689" y="359"/>
                  </a:lnTo>
                  <a:lnTo>
                    <a:pt x="689" y="359"/>
                  </a:lnTo>
                  <a:close/>
                  <a:moveTo>
                    <a:pt x="1086" y="540"/>
                  </a:moveTo>
                  <a:lnTo>
                    <a:pt x="1086" y="540"/>
                  </a:lnTo>
                  <a:lnTo>
                    <a:pt x="1085" y="553"/>
                  </a:lnTo>
                  <a:lnTo>
                    <a:pt x="1083" y="566"/>
                  </a:lnTo>
                  <a:lnTo>
                    <a:pt x="1081" y="577"/>
                  </a:lnTo>
                  <a:lnTo>
                    <a:pt x="1078" y="589"/>
                  </a:lnTo>
                  <a:lnTo>
                    <a:pt x="1078" y="589"/>
                  </a:lnTo>
                  <a:lnTo>
                    <a:pt x="1078" y="589"/>
                  </a:lnTo>
                  <a:lnTo>
                    <a:pt x="1076" y="593"/>
                  </a:lnTo>
                  <a:lnTo>
                    <a:pt x="1073" y="595"/>
                  </a:lnTo>
                  <a:lnTo>
                    <a:pt x="1069" y="597"/>
                  </a:lnTo>
                  <a:lnTo>
                    <a:pt x="1065" y="598"/>
                  </a:lnTo>
                  <a:lnTo>
                    <a:pt x="1065" y="598"/>
                  </a:lnTo>
                  <a:lnTo>
                    <a:pt x="1062" y="597"/>
                  </a:lnTo>
                  <a:lnTo>
                    <a:pt x="1059" y="596"/>
                  </a:lnTo>
                  <a:lnTo>
                    <a:pt x="1039" y="589"/>
                  </a:lnTo>
                  <a:lnTo>
                    <a:pt x="1039" y="589"/>
                  </a:lnTo>
                  <a:lnTo>
                    <a:pt x="1033" y="603"/>
                  </a:lnTo>
                  <a:lnTo>
                    <a:pt x="1025" y="616"/>
                  </a:lnTo>
                  <a:lnTo>
                    <a:pt x="1025" y="616"/>
                  </a:lnTo>
                  <a:lnTo>
                    <a:pt x="1016" y="629"/>
                  </a:lnTo>
                  <a:lnTo>
                    <a:pt x="1006" y="640"/>
                  </a:lnTo>
                  <a:lnTo>
                    <a:pt x="1022" y="655"/>
                  </a:lnTo>
                  <a:lnTo>
                    <a:pt x="1022" y="655"/>
                  </a:lnTo>
                  <a:lnTo>
                    <a:pt x="1024" y="657"/>
                  </a:lnTo>
                  <a:lnTo>
                    <a:pt x="1025" y="660"/>
                  </a:lnTo>
                  <a:lnTo>
                    <a:pt x="1025" y="660"/>
                  </a:lnTo>
                  <a:lnTo>
                    <a:pt x="1026" y="664"/>
                  </a:lnTo>
                  <a:lnTo>
                    <a:pt x="1026" y="668"/>
                  </a:lnTo>
                  <a:lnTo>
                    <a:pt x="1025" y="672"/>
                  </a:lnTo>
                  <a:lnTo>
                    <a:pt x="1023" y="675"/>
                  </a:lnTo>
                  <a:lnTo>
                    <a:pt x="1023" y="675"/>
                  </a:lnTo>
                  <a:lnTo>
                    <a:pt x="1023" y="675"/>
                  </a:lnTo>
                  <a:lnTo>
                    <a:pt x="1014" y="683"/>
                  </a:lnTo>
                  <a:lnTo>
                    <a:pt x="1003" y="691"/>
                  </a:lnTo>
                  <a:lnTo>
                    <a:pt x="993" y="698"/>
                  </a:lnTo>
                  <a:lnTo>
                    <a:pt x="982" y="704"/>
                  </a:lnTo>
                  <a:lnTo>
                    <a:pt x="982" y="704"/>
                  </a:lnTo>
                  <a:lnTo>
                    <a:pt x="971" y="709"/>
                  </a:lnTo>
                  <a:lnTo>
                    <a:pt x="958" y="714"/>
                  </a:lnTo>
                  <a:lnTo>
                    <a:pt x="947" y="718"/>
                  </a:lnTo>
                  <a:lnTo>
                    <a:pt x="935" y="721"/>
                  </a:lnTo>
                  <a:lnTo>
                    <a:pt x="935" y="721"/>
                  </a:lnTo>
                  <a:lnTo>
                    <a:pt x="935" y="721"/>
                  </a:lnTo>
                  <a:lnTo>
                    <a:pt x="931" y="721"/>
                  </a:lnTo>
                  <a:lnTo>
                    <a:pt x="927" y="719"/>
                  </a:lnTo>
                  <a:lnTo>
                    <a:pt x="924" y="717"/>
                  </a:lnTo>
                  <a:lnTo>
                    <a:pt x="921" y="713"/>
                  </a:lnTo>
                  <a:lnTo>
                    <a:pt x="921" y="713"/>
                  </a:lnTo>
                  <a:lnTo>
                    <a:pt x="919" y="708"/>
                  </a:lnTo>
                  <a:lnTo>
                    <a:pt x="916" y="686"/>
                  </a:lnTo>
                  <a:lnTo>
                    <a:pt x="916" y="686"/>
                  </a:lnTo>
                  <a:lnTo>
                    <a:pt x="901" y="688"/>
                  </a:lnTo>
                  <a:lnTo>
                    <a:pt x="886" y="688"/>
                  </a:lnTo>
                  <a:lnTo>
                    <a:pt x="870" y="687"/>
                  </a:lnTo>
                  <a:lnTo>
                    <a:pt x="855" y="684"/>
                  </a:lnTo>
                  <a:lnTo>
                    <a:pt x="850" y="705"/>
                  </a:lnTo>
                  <a:lnTo>
                    <a:pt x="850" y="705"/>
                  </a:lnTo>
                  <a:lnTo>
                    <a:pt x="848" y="710"/>
                  </a:lnTo>
                  <a:lnTo>
                    <a:pt x="848" y="710"/>
                  </a:lnTo>
                  <a:lnTo>
                    <a:pt x="845" y="713"/>
                  </a:lnTo>
                  <a:lnTo>
                    <a:pt x="842" y="715"/>
                  </a:lnTo>
                  <a:lnTo>
                    <a:pt x="837" y="716"/>
                  </a:lnTo>
                  <a:lnTo>
                    <a:pt x="833" y="716"/>
                  </a:lnTo>
                  <a:lnTo>
                    <a:pt x="833" y="716"/>
                  </a:lnTo>
                  <a:lnTo>
                    <a:pt x="833" y="716"/>
                  </a:lnTo>
                  <a:lnTo>
                    <a:pt x="821" y="712"/>
                  </a:lnTo>
                  <a:lnTo>
                    <a:pt x="810" y="707"/>
                  </a:lnTo>
                  <a:lnTo>
                    <a:pt x="799" y="701"/>
                  </a:lnTo>
                  <a:lnTo>
                    <a:pt x="789" y="695"/>
                  </a:lnTo>
                  <a:lnTo>
                    <a:pt x="789" y="695"/>
                  </a:lnTo>
                  <a:lnTo>
                    <a:pt x="777" y="687"/>
                  </a:lnTo>
                  <a:lnTo>
                    <a:pt x="768" y="680"/>
                  </a:lnTo>
                  <a:lnTo>
                    <a:pt x="759" y="672"/>
                  </a:lnTo>
                  <a:lnTo>
                    <a:pt x="750" y="663"/>
                  </a:lnTo>
                  <a:lnTo>
                    <a:pt x="750" y="663"/>
                  </a:lnTo>
                  <a:lnTo>
                    <a:pt x="750" y="663"/>
                  </a:lnTo>
                  <a:lnTo>
                    <a:pt x="748" y="660"/>
                  </a:lnTo>
                  <a:lnTo>
                    <a:pt x="747" y="655"/>
                  </a:lnTo>
                  <a:lnTo>
                    <a:pt x="748" y="651"/>
                  </a:lnTo>
                  <a:lnTo>
                    <a:pt x="750" y="647"/>
                  </a:lnTo>
                  <a:lnTo>
                    <a:pt x="750" y="647"/>
                  </a:lnTo>
                  <a:lnTo>
                    <a:pt x="751" y="645"/>
                  </a:lnTo>
                  <a:lnTo>
                    <a:pt x="753" y="642"/>
                  </a:lnTo>
                  <a:lnTo>
                    <a:pt x="770" y="629"/>
                  </a:lnTo>
                  <a:lnTo>
                    <a:pt x="770" y="629"/>
                  </a:lnTo>
                  <a:lnTo>
                    <a:pt x="761" y="617"/>
                  </a:lnTo>
                  <a:lnTo>
                    <a:pt x="753" y="604"/>
                  </a:lnTo>
                  <a:lnTo>
                    <a:pt x="747" y="589"/>
                  </a:lnTo>
                  <a:lnTo>
                    <a:pt x="741" y="575"/>
                  </a:lnTo>
                  <a:lnTo>
                    <a:pt x="721" y="581"/>
                  </a:lnTo>
                  <a:lnTo>
                    <a:pt x="721" y="581"/>
                  </a:lnTo>
                  <a:lnTo>
                    <a:pt x="719" y="582"/>
                  </a:lnTo>
                  <a:lnTo>
                    <a:pt x="716" y="582"/>
                  </a:lnTo>
                  <a:lnTo>
                    <a:pt x="716" y="582"/>
                  </a:lnTo>
                  <a:lnTo>
                    <a:pt x="711" y="581"/>
                  </a:lnTo>
                  <a:lnTo>
                    <a:pt x="708" y="579"/>
                  </a:lnTo>
                  <a:lnTo>
                    <a:pt x="705" y="576"/>
                  </a:lnTo>
                  <a:lnTo>
                    <a:pt x="703" y="572"/>
                  </a:lnTo>
                  <a:lnTo>
                    <a:pt x="703" y="572"/>
                  </a:lnTo>
                  <a:lnTo>
                    <a:pt x="701" y="560"/>
                  </a:lnTo>
                  <a:lnTo>
                    <a:pt x="700" y="547"/>
                  </a:lnTo>
                  <a:lnTo>
                    <a:pt x="699" y="535"/>
                  </a:lnTo>
                  <a:lnTo>
                    <a:pt x="700" y="523"/>
                  </a:lnTo>
                  <a:lnTo>
                    <a:pt x="700" y="523"/>
                  </a:lnTo>
                  <a:lnTo>
                    <a:pt x="701" y="511"/>
                  </a:lnTo>
                  <a:lnTo>
                    <a:pt x="702" y="497"/>
                  </a:lnTo>
                  <a:lnTo>
                    <a:pt x="705" y="486"/>
                  </a:lnTo>
                  <a:lnTo>
                    <a:pt x="708" y="474"/>
                  </a:lnTo>
                  <a:lnTo>
                    <a:pt x="708" y="474"/>
                  </a:lnTo>
                  <a:lnTo>
                    <a:pt x="708" y="474"/>
                  </a:lnTo>
                  <a:lnTo>
                    <a:pt x="710" y="470"/>
                  </a:lnTo>
                  <a:lnTo>
                    <a:pt x="713" y="468"/>
                  </a:lnTo>
                  <a:lnTo>
                    <a:pt x="717" y="466"/>
                  </a:lnTo>
                  <a:lnTo>
                    <a:pt x="721" y="465"/>
                  </a:lnTo>
                  <a:lnTo>
                    <a:pt x="721" y="465"/>
                  </a:lnTo>
                  <a:lnTo>
                    <a:pt x="726" y="467"/>
                  </a:lnTo>
                  <a:lnTo>
                    <a:pt x="747" y="474"/>
                  </a:lnTo>
                  <a:lnTo>
                    <a:pt x="747" y="474"/>
                  </a:lnTo>
                  <a:lnTo>
                    <a:pt x="753" y="460"/>
                  </a:lnTo>
                  <a:lnTo>
                    <a:pt x="760" y="447"/>
                  </a:lnTo>
                  <a:lnTo>
                    <a:pt x="760" y="447"/>
                  </a:lnTo>
                  <a:lnTo>
                    <a:pt x="769" y="434"/>
                  </a:lnTo>
                  <a:lnTo>
                    <a:pt x="779" y="423"/>
                  </a:lnTo>
                  <a:lnTo>
                    <a:pt x="764" y="408"/>
                  </a:lnTo>
                  <a:lnTo>
                    <a:pt x="764" y="408"/>
                  </a:lnTo>
                  <a:lnTo>
                    <a:pt x="760" y="403"/>
                  </a:lnTo>
                  <a:lnTo>
                    <a:pt x="760" y="403"/>
                  </a:lnTo>
                  <a:lnTo>
                    <a:pt x="759" y="399"/>
                  </a:lnTo>
                  <a:lnTo>
                    <a:pt x="759" y="395"/>
                  </a:lnTo>
                  <a:lnTo>
                    <a:pt x="760" y="391"/>
                  </a:lnTo>
                  <a:lnTo>
                    <a:pt x="763" y="388"/>
                  </a:lnTo>
                  <a:lnTo>
                    <a:pt x="763" y="388"/>
                  </a:lnTo>
                  <a:lnTo>
                    <a:pt x="763" y="388"/>
                  </a:lnTo>
                  <a:lnTo>
                    <a:pt x="772" y="380"/>
                  </a:lnTo>
                  <a:lnTo>
                    <a:pt x="782" y="372"/>
                  </a:lnTo>
                  <a:lnTo>
                    <a:pt x="793" y="365"/>
                  </a:lnTo>
                  <a:lnTo>
                    <a:pt x="804" y="359"/>
                  </a:lnTo>
                  <a:lnTo>
                    <a:pt x="804" y="359"/>
                  </a:lnTo>
                  <a:lnTo>
                    <a:pt x="815" y="354"/>
                  </a:lnTo>
                  <a:lnTo>
                    <a:pt x="826" y="349"/>
                  </a:lnTo>
                  <a:lnTo>
                    <a:pt x="839" y="346"/>
                  </a:lnTo>
                  <a:lnTo>
                    <a:pt x="850" y="343"/>
                  </a:lnTo>
                  <a:lnTo>
                    <a:pt x="850" y="343"/>
                  </a:lnTo>
                  <a:lnTo>
                    <a:pt x="854" y="343"/>
                  </a:lnTo>
                  <a:lnTo>
                    <a:pt x="858" y="344"/>
                  </a:lnTo>
                  <a:lnTo>
                    <a:pt x="862" y="346"/>
                  </a:lnTo>
                  <a:lnTo>
                    <a:pt x="864" y="350"/>
                  </a:lnTo>
                  <a:lnTo>
                    <a:pt x="864" y="350"/>
                  </a:lnTo>
                  <a:lnTo>
                    <a:pt x="865" y="352"/>
                  </a:lnTo>
                  <a:lnTo>
                    <a:pt x="866" y="355"/>
                  </a:lnTo>
                  <a:lnTo>
                    <a:pt x="869" y="377"/>
                  </a:lnTo>
                  <a:lnTo>
                    <a:pt x="869" y="377"/>
                  </a:lnTo>
                  <a:lnTo>
                    <a:pt x="885" y="374"/>
                  </a:lnTo>
                  <a:lnTo>
                    <a:pt x="900" y="374"/>
                  </a:lnTo>
                  <a:lnTo>
                    <a:pt x="915" y="377"/>
                  </a:lnTo>
                  <a:lnTo>
                    <a:pt x="931" y="379"/>
                  </a:lnTo>
                  <a:lnTo>
                    <a:pt x="936" y="358"/>
                  </a:lnTo>
                  <a:lnTo>
                    <a:pt x="936" y="358"/>
                  </a:lnTo>
                  <a:lnTo>
                    <a:pt x="936" y="356"/>
                  </a:lnTo>
                  <a:lnTo>
                    <a:pt x="938" y="353"/>
                  </a:lnTo>
                  <a:lnTo>
                    <a:pt x="938" y="353"/>
                  </a:lnTo>
                  <a:lnTo>
                    <a:pt x="940" y="350"/>
                  </a:lnTo>
                  <a:lnTo>
                    <a:pt x="944" y="348"/>
                  </a:lnTo>
                  <a:lnTo>
                    <a:pt x="948" y="347"/>
                  </a:lnTo>
                  <a:lnTo>
                    <a:pt x="952" y="347"/>
                  </a:lnTo>
                  <a:lnTo>
                    <a:pt x="952" y="347"/>
                  </a:lnTo>
                  <a:lnTo>
                    <a:pt x="952" y="347"/>
                  </a:lnTo>
                  <a:lnTo>
                    <a:pt x="963" y="351"/>
                  </a:lnTo>
                  <a:lnTo>
                    <a:pt x="976" y="356"/>
                  </a:lnTo>
                  <a:lnTo>
                    <a:pt x="986" y="362"/>
                  </a:lnTo>
                  <a:lnTo>
                    <a:pt x="997" y="368"/>
                  </a:lnTo>
                  <a:lnTo>
                    <a:pt x="997" y="368"/>
                  </a:lnTo>
                  <a:lnTo>
                    <a:pt x="1007" y="376"/>
                  </a:lnTo>
                  <a:lnTo>
                    <a:pt x="1018" y="384"/>
                  </a:lnTo>
                  <a:lnTo>
                    <a:pt x="1027" y="392"/>
                  </a:lnTo>
                  <a:lnTo>
                    <a:pt x="1035" y="400"/>
                  </a:lnTo>
                  <a:lnTo>
                    <a:pt x="1035" y="400"/>
                  </a:lnTo>
                  <a:lnTo>
                    <a:pt x="1035" y="400"/>
                  </a:lnTo>
                  <a:lnTo>
                    <a:pt x="1037" y="404"/>
                  </a:lnTo>
                  <a:lnTo>
                    <a:pt x="1038" y="408"/>
                  </a:lnTo>
                  <a:lnTo>
                    <a:pt x="1038" y="412"/>
                  </a:lnTo>
                  <a:lnTo>
                    <a:pt x="1036" y="416"/>
                  </a:lnTo>
                  <a:lnTo>
                    <a:pt x="1036" y="416"/>
                  </a:lnTo>
                  <a:lnTo>
                    <a:pt x="1032" y="421"/>
                  </a:lnTo>
                  <a:lnTo>
                    <a:pt x="1016" y="434"/>
                  </a:lnTo>
                  <a:lnTo>
                    <a:pt x="1016" y="434"/>
                  </a:lnTo>
                  <a:lnTo>
                    <a:pt x="1025" y="446"/>
                  </a:lnTo>
                  <a:lnTo>
                    <a:pt x="1032" y="459"/>
                  </a:lnTo>
                  <a:lnTo>
                    <a:pt x="1038" y="474"/>
                  </a:lnTo>
                  <a:lnTo>
                    <a:pt x="1043" y="488"/>
                  </a:lnTo>
                  <a:lnTo>
                    <a:pt x="1064" y="482"/>
                  </a:lnTo>
                  <a:lnTo>
                    <a:pt x="1064" y="482"/>
                  </a:lnTo>
                  <a:lnTo>
                    <a:pt x="1067" y="481"/>
                  </a:lnTo>
                  <a:lnTo>
                    <a:pt x="1070" y="481"/>
                  </a:lnTo>
                  <a:lnTo>
                    <a:pt x="1070" y="481"/>
                  </a:lnTo>
                  <a:lnTo>
                    <a:pt x="1074" y="482"/>
                  </a:lnTo>
                  <a:lnTo>
                    <a:pt x="1078" y="484"/>
                  </a:lnTo>
                  <a:lnTo>
                    <a:pt x="1081" y="487"/>
                  </a:lnTo>
                  <a:lnTo>
                    <a:pt x="1082" y="491"/>
                  </a:lnTo>
                  <a:lnTo>
                    <a:pt x="1082" y="491"/>
                  </a:lnTo>
                  <a:lnTo>
                    <a:pt x="1082" y="491"/>
                  </a:lnTo>
                  <a:lnTo>
                    <a:pt x="1084" y="503"/>
                  </a:lnTo>
                  <a:lnTo>
                    <a:pt x="1086" y="516"/>
                  </a:lnTo>
                  <a:lnTo>
                    <a:pt x="1086" y="528"/>
                  </a:lnTo>
                  <a:lnTo>
                    <a:pt x="1086" y="540"/>
                  </a:lnTo>
                  <a:lnTo>
                    <a:pt x="1086" y="5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u="none" strike="noStrike" kern="0" cap="none" spc="0" normalizeH="0" baseline="0" noProof="0">
                <a:ln>
                  <a:noFill/>
                </a:ln>
                <a:solidFill>
                  <a:sysClr val="windowText" lastClr="000000"/>
                </a:solidFill>
                <a:effectLst/>
                <a:uLnTx/>
                <a:uFillTx/>
                <a:latin typeface="CiscoSansTT Light"/>
                <a:cs typeface="CiscoSansTT Light"/>
              </a:endParaRPr>
            </a:p>
          </p:txBody>
        </p:sp>
      </p:grpSp>
      <p:sp>
        <p:nvSpPr>
          <p:cNvPr id="59" name="TextBox 58"/>
          <p:cNvSpPr txBox="1"/>
          <p:nvPr/>
        </p:nvSpPr>
        <p:spPr>
          <a:xfrm>
            <a:off x="1638116" y="2469261"/>
            <a:ext cx="5991377" cy="338554"/>
          </a:xfrm>
          <a:prstGeom prst="rect">
            <a:avLst/>
          </a:prstGeom>
          <a:noFill/>
        </p:spPr>
        <p:txBody>
          <a:bodyPr wrap="square" rtlCol="0">
            <a:spAutoFit/>
          </a:bodyPr>
          <a:lstStyle/>
          <a:p>
            <a:pPr algn="ctr"/>
            <a:r>
              <a:rPr lang="en-US" sz="1600" kern="0" dirty="0" smtClean="0">
                <a:solidFill>
                  <a:schemeClr val="bg2"/>
                </a:solidFill>
                <a:sym typeface="Arial"/>
              </a:rPr>
              <a:t>Analytics</a:t>
            </a:r>
            <a:endParaRPr lang="en-US" sz="1600" kern="0" dirty="0">
              <a:solidFill>
                <a:schemeClr val="bg2"/>
              </a:solidFill>
              <a:sym typeface="Arial"/>
            </a:endParaRPr>
          </a:p>
        </p:txBody>
      </p:sp>
      <p:sp>
        <p:nvSpPr>
          <p:cNvPr id="60" name="TextBox 59"/>
          <p:cNvSpPr txBox="1"/>
          <p:nvPr/>
        </p:nvSpPr>
        <p:spPr>
          <a:xfrm>
            <a:off x="3657926" y="3285546"/>
            <a:ext cx="5991377" cy="338554"/>
          </a:xfrm>
          <a:prstGeom prst="rect">
            <a:avLst/>
          </a:prstGeom>
          <a:noFill/>
        </p:spPr>
        <p:txBody>
          <a:bodyPr wrap="square" rtlCol="0">
            <a:spAutoFit/>
          </a:bodyPr>
          <a:lstStyle/>
          <a:p>
            <a:pPr algn="ctr"/>
            <a:r>
              <a:rPr lang="en-US" sz="1600" kern="0" smtClean="0">
                <a:solidFill>
                  <a:schemeClr val="accent1"/>
                </a:solidFill>
                <a:sym typeface="Arial"/>
              </a:rPr>
              <a:t>Enforcement</a:t>
            </a:r>
            <a:endParaRPr lang="en-US" sz="1600" kern="0" dirty="0">
              <a:solidFill>
                <a:schemeClr val="accent1"/>
              </a:solidFill>
              <a:sym typeface="Arial"/>
            </a:endParaRPr>
          </a:p>
        </p:txBody>
      </p:sp>
      <p:sp>
        <p:nvSpPr>
          <p:cNvPr id="62" name="TextBox 61"/>
          <p:cNvSpPr txBox="1"/>
          <p:nvPr/>
        </p:nvSpPr>
        <p:spPr>
          <a:xfrm>
            <a:off x="-440755" y="3276186"/>
            <a:ext cx="5991377" cy="338554"/>
          </a:xfrm>
          <a:prstGeom prst="rect">
            <a:avLst/>
          </a:prstGeom>
          <a:noFill/>
        </p:spPr>
        <p:txBody>
          <a:bodyPr wrap="square" rtlCol="0">
            <a:spAutoFit/>
          </a:bodyPr>
          <a:lstStyle/>
          <a:p>
            <a:pPr algn="ctr"/>
            <a:r>
              <a:rPr lang="en-US" sz="1600" kern="0" dirty="0" smtClean="0">
                <a:solidFill>
                  <a:schemeClr val="accent1"/>
                </a:solidFill>
                <a:sym typeface="Arial"/>
              </a:rPr>
              <a:t>Visibility</a:t>
            </a:r>
            <a:endParaRPr lang="en-US" sz="1600" kern="0" dirty="0">
              <a:solidFill>
                <a:schemeClr val="accent1"/>
              </a:solidFill>
              <a:sym typeface="Arial"/>
            </a:endParaRPr>
          </a:p>
        </p:txBody>
      </p:sp>
      <p:sp>
        <p:nvSpPr>
          <p:cNvPr id="7" name="Bent Arrow 6"/>
          <p:cNvSpPr/>
          <p:nvPr/>
        </p:nvSpPr>
        <p:spPr>
          <a:xfrm>
            <a:off x="4953884" y="1009827"/>
            <a:ext cx="1757529" cy="588793"/>
          </a:xfrm>
          <a:prstGeom prst="bentArrow">
            <a:avLst>
              <a:gd name="adj1" fmla="val 25000"/>
              <a:gd name="adj2" fmla="val 25000"/>
              <a:gd name="adj3" fmla="val 25000"/>
              <a:gd name="adj4" fmla="val 87500"/>
            </a:avLst>
          </a:pr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71" name="Bent Arrow 70"/>
          <p:cNvSpPr/>
          <p:nvPr/>
        </p:nvSpPr>
        <p:spPr>
          <a:xfrm>
            <a:off x="5378569" y="2034025"/>
            <a:ext cx="1757529" cy="588793"/>
          </a:xfrm>
          <a:prstGeom prst="bentArrow">
            <a:avLst>
              <a:gd name="adj1" fmla="val 25000"/>
              <a:gd name="adj2" fmla="val 25000"/>
              <a:gd name="adj3" fmla="val 25000"/>
              <a:gd name="adj4" fmla="val 87500"/>
            </a:avLst>
          </a:prstGeom>
          <a:solidFill>
            <a:schemeClr val="accent1">
              <a:lumMod val="50000"/>
            </a:schemeClr>
          </a:solidFill>
          <a:ln>
            <a:noFill/>
          </a:ln>
          <a:effectLst/>
          <a:scene3d>
            <a:camera prst="orthographicFront">
              <a:rot lat="10800000" lon="108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grpSp>
        <p:nvGrpSpPr>
          <p:cNvPr id="79" name="Group 78"/>
          <p:cNvGrpSpPr>
            <a:grpSpLocks noChangeAspect="1"/>
          </p:cNvGrpSpPr>
          <p:nvPr/>
        </p:nvGrpSpPr>
        <p:grpSpPr>
          <a:xfrm>
            <a:off x="6145558" y="1871590"/>
            <a:ext cx="518490" cy="518934"/>
            <a:chOff x="4576763" y="2493963"/>
            <a:chExt cx="1862137" cy="1863725"/>
          </a:xfrm>
          <a:solidFill>
            <a:schemeClr val="accent1">
              <a:lumMod val="50000"/>
            </a:schemeClr>
          </a:solidFill>
        </p:grpSpPr>
        <p:sp>
          <p:nvSpPr>
            <p:cNvPr id="80" name="Freeform 5"/>
            <p:cNvSpPr>
              <a:spLocks noEditPoints="1"/>
            </p:cNvSpPr>
            <p:nvPr/>
          </p:nvSpPr>
          <p:spPr bwMode="auto">
            <a:xfrm>
              <a:off x="4576763" y="2493963"/>
              <a:ext cx="1862137" cy="1863725"/>
            </a:xfrm>
            <a:custGeom>
              <a:avLst/>
              <a:gdLst>
                <a:gd name="T0" fmla="*/ 614 w 632"/>
                <a:gd name="T1" fmla="*/ 299 h 633"/>
                <a:gd name="T2" fmla="*/ 586 w 632"/>
                <a:gd name="T3" fmla="*/ 299 h 633"/>
                <a:gd name="T4" fmla="*/ 334 w 632"/>
                <a:gd name="T5" fmla="*/ 48 h 633"/>
                <a:gd name="T6" fmla="*/ 334 w 632"/>
                <a:gd name="T7" fmla="*/ 18 h 633"/>
                <a:gd name="T8" fmla="*/ 316 w 632"/>
                <a:gd name="T9" fmla="*/ 0 h 633"/>
                <a:gd name="T10" fmla="*/ 298 w 632"/>
                <a:gd name="T11" fmla="*/ 18 h 633"/>
                <a:gd name="T12" fmla="*/ 298 w 632"/>
                <a:gd name="T13" fmla="*/ 48 h 633"/>
                <a:gd name="T14" fmla="*/ 46 w 632"/>
                <a:gd name="T15" fmla="*/ 299 h 633"/>
                <a:gd name="T16" fmla="*/ 18 w 632"/>
                <a:gd name="T17" fmla="*/ 299 h 633"/>
                <a:gd name="T18" fmla="*/ 0 w 632"/>
                <a:gd name="T19" fmla="*/ 317 h 633"/>
                <a:gd name="T20" fmla="*/ 18 w 632"/>
                <a:gd name="T21" fmla="*/ 335 h 633"/>
                <a:gd name="T22" fmla="*/ 46 w 632"/>
                <a:gd name="T23" fmla="*/ 335 h 633"/>
                <a:gd name="T24" fmla="*/ 298 w 632"/>
                <a:gd name="T25" fmla="*/ 587 h 633"/>
                <a:gd name="T26" fmla="*/ 298 w 632"/>
                <a:gd name="T27" fmla="*/ 615 h 633"/>
                <a:gd name="T28" fmla="*/ 316 w 632"/>
                <a:gd name="T29" fmla="*/ 633 h 633"/>
                <a:gd name="T30" fmla="*/ 334 w 632"/>
                <a:gd name="T31" fmla="*/ 615 h 633"/>
                <a:gd name="T32" fmla="*/ 334 w 632"/>
                <a:gd name="T33" fmla="*/ 587 h 633"/>
                <a:gd name="T34" fmla="*/ 586 w 632"/>
                <a:gd name="T35" fmla="*/ 335 h 633"/>
                <a:gd name="T36" fmla="*/ 614 w 632"/>
                <a:gd name="T37" fmla="*/ 335 h 633"/>
                <a:gd name="T38" fmla="*/ 632 w 632"/>
                <a:gd name="T39" fmla="*/ 317 h 633"/>
                <a:gd name="T40" fmla="*/ 614 w 632"/>
                <a:gd name="T41" fmla="*/ 299 h 633"/>
                <a:gd name="T42" fmla="*/ 334 w 632"/>
                <a:gd name="T43" fmla="*/ 559 h 633"/>
                <a:gd name="T44" fmla="*/ 334 w 632"/>
                <a:gd name="T45" fmla="*/ 531 h 633"/>
                <a:gd name="T46" fmla="*/ 316 w 632"/>
                <a:gd name="T47" fmla="*/ 513 h 633"/>
                <a:gd name="T48" fmla="*/ 298 w 632"/>
                <a:gd name="T49" fmla="*/ 531 h 633"/>
                <a:gd name="T50" fmla="*/ 298 w 632"/>
                <a:gd name="T51" fmla="*/ 559 h 633"/>
                <a:gd name="T52" fmla="*/ 74 w 632"/>
                <a:gd name="T53" fmla="*/ 335 h 633"/>
                <a:gd name="T54" fmla="*/ 101 w 632"/>
                <a:gd name="T55" fmla="*/ 335 h 633"/>
                <a:gd name="T56" fmla="*/ 119 w 632"/>
                <a:gd name="T57" fmla="*/ 317 h 633"/>
                <a:gd name="T58" fmla="*/ 101 w 632"/>
                <a:gd name="T59" fmla="*/ 299 h 633"/>
                <a:gd name="T60" fmla="*/ 75 w 632"/>
                <a:gd name="T61" fmla="*/ 299 h 633"/>
                <a:gd name="T62" fmla="*/ 298 w 632"/>
                <a:gd name="T63" fmla="*/ 76 h 633"/>
                <a:gd name="T64" fmla="*/ 298 w 632"/>
                <a:gd name="T65" fmla="*/ 102 h 633"/>
                <a:gd name="T66" fmla="*/ 316 w 632"/>
                <a:gd name="T67" fmla="*/ 120 h 633"/>
                <a:gd name="T68" fmla="*/ 334 w 632"/>
                <a:gd name="T69" fmla="*/ 102 h 633"/>
                <a:gd name="T70" fmla="*/ 334 w 632"/>
                <a:gd name="T71" fmla="*/ 76 h 633"/>
                <a:gd name="T72" fmla="*/ 558 w 632"/>
                <a:gd name="T73" fmla="*/ 299 h 633"/>
                <a:gd name="T74" fmla="*/ 531 w 632"/>
                <a:gd name="T75" fmla="*/ 299 h 633"/>
                <a:gd name="T76" fmla="*/ 513 w 632"/>
                <a:gd name="T77" fmla="*/ 317 h 633"/>
                <a:gd name="T78" fmla="*/ 531 w 632"/>
                <a:gd name="T79" fmla="*/ 335 h 633"/>
                <a:gd name="T80" fmla="*/ 558 w 632"/>
                <a:gd name="T81" fmla="*/ 335 h 633"/>
                <a:gd name="T82" fmla="*/ 334 w 632"/>
                <a:gd name="T83" fmla="*/ 559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633">
                  <a:moveTo>
                    <a:pt x="614" y="299"/>
                  </a:moveTo>
                  <a:cubicBezTo>
                    <a:pt x="586" y="299"/>
                    <a:pt x="586" y="299"/>
                    <a:pt x="586" y="299"/>
                  </a:cubicBezTo>
                  <a:cubicBezTo>
                    <a:pt x="576" y="164"/>
                    <a:pt x="469" y="57"/>
                    <a:pt x="334" y="48"/>
                  </a:cubicBezTo>
                  <a:cubicBezTo>
                    <a:pt x="334" y="18"/>
                    <a:pt x="334" y="18"/>
                    <a:pt x="334" y="18"/>
                  </a:cubicBezTo>
                  <a:cubicBezTo>
                    <a:pt x="334" y="9"/>
                    <a:pt x="326" y="0"/>
                    <a:pt x="316" y="0"/>
                  </a:cubicBezTo>
                  <a:cubicBezTo>
                    <a:pt x="306" y="0"/>
                    <a:pt x="298" y="9"/>
                    <a:pt x="298" y="18"/>
                  </a:cubicBezTo>
                  <a:cubicBezTo>
                    <a:pt x="298" y="48"/>
                    <a:pt x="298" y="48"/>
                    <a:pt x="298" y="48"/>
                  </a:cubicBezTo>
                  <a:cubicBezTo>
                    <a:pt x="164" y="57"/>
                    <a:pt x="56" y="164"/>
                    <a:pt x="46" y="299"/>
                  </a:cubicBezTo>
                  <a:cubicBezTo>
                    <a:pt x="18" y="299"/>
                    <a:pt x="18" y="299"/>
                    <a:pt x="18" y="299"/>
                  </a:cubicBezTo>
                  <a:cubicBezTo>
                    <a:pt x="8" y="299"/>
                    <a:pt x="0" y="307"/>
                    <a:pt x="0" y="317"/>
                  </a:cubicBezTo>
                  <a:cubicBezTo>
                    <a:pt x="0" y="327"/>
                    <a:pt x="8" y="335"/>
                    <a:pt x="18" y="335"/>
                  </a:cubicBezTo>
                  <a:cubicBezTo>
                    <a:pt x="46" y="335"/>
                    <a:pt x="46" y="335"/>
                    <a:pt x="46" y="335"/>
                  </a:cubicBezTo>
                  <a:cubicBezTo>
                    <a:pt x="55" y="470"/>
                    <a:pt x="163" y="578"/>
                    <a:pt x="298" y="587"/>
                  </a:cubicBezTo>
                  <a:cubicBezTo>
                    <a:pt x="298" y="615"/>
                    <a:pt x="298" y="615"/>
                    <a:pt x="298" y="615"/>
                  </a:cubicBezTo>
                  <a:cubicBezTo>
                    <a:pt x="298" y="625"/>
                    <a:pt x="306" y="633"/>
                    <a:pt x="316" y="633"/>
                  </a:cubicBezTo>
                  <a:cubicBezTo>
                    <a:pt x="326" y="633"/>
                    <a:pt x="334" y="625"/>
                    <a:pt x="334" y="615"/>
                  </a:cubicBezTo>
                  <a:cubicBezTo>
                    <a:pt x="334" y="587"/>
                    <a:pt x="334" y="587"/>
                    <a:pt x="334" y="587"/>
                  </a:cubicBezTo>
                  <a:cubicBezTo>
                    <a:pt x="469" y="578"/>
                    <a:pt x="577" y="470"/>
                    <a:pt x="586" y="335"/>
                  </a:cubicBezTo>
                  <a:cubicBezTo>
                    <a:pt x="614" y="335"/>
                    <a:pt x="614" y="335"/>
                    <a:pt x="614" y="335"/>
                  </a:cubicBezTo>
                  <a:cubicBezTo>
                    <a:pt x="624" y="335"/>
                    <a:pt x="632" y="327"/>
                    <a:pt x="632" y="317"/>
                  </a:cubicBezTo>
                  <a:cubicBezTo>
                    <a:pt x="632" y="307"/>
                    <a:pt x="624" y="299"/>
                    <a:pt x="614" y="299"/>
                  </a:cubicBezTo>
                  <a:close/>
                  <a:moveTo>
                    <a:pt x="334" y="559"/>
                  </a:moveTo>
                  <a:cubicBezTo>
                    <a:pt x="334" y="531"/>
                    <a:pt x="334" y="531"/>
                    <a:pt x="334" y="531"/>
                  </a:cubicBezTo>
                  <a:cubicBezTo>
                    <a:pt x="334" y="522"/>
                    <a:pt x="326" y="513"/>
                    <a:pt x="316" y="513"/>
                  </a:cubicBezTo>
                  <a:cubicBezTo>
                    <a:pt x="306" y="513"/>
                    <a:pt x="298" y="522"/>
                    <a:pt x="298" y="531"/>
                  </a:cubicBezTo>
                  <a:cubicBezTo>
                    <a:pt x="298" y="559"/>
                    <a:pt x="298" y="559"/>
                    <a:pt x="298" y="559"/>
                  </a:cubicBezTo>
                  <a:cubicBezTo>
                    <a:pt x="179" y="550"/>
                    <a:pt x="83" y="454"/>
                    <a:pt x="74" y="335"/>
                  </a:cubicBezTo>
                  <a:cubicBezTo>
                    <a:pt x="101" y="335"/>
                    <a:pt x="101" y="335"/>
                    <a:pt x="101" y="335"/>
                  </a:cubicBezTo>
                  <a:cubicBezTo>
                    <a:pt x="111" y="335"/>
                    <a:pt x="119" y="327"/>
                    <a:pt x="119" y="317"/>
                  </a:cubicBezTo>
                  <a:cubicBezTo>
                    <a:pt x="119" y="307"/>
                    <a:pt x="111" y="299"/>
                    <a:pt x="101" y="299"/>
                  </a:cubicBezTo>
                  <a:cubicBezTo>
                    <a:pt x="75" y="299"/>
                    <a:pt x="75" y="299"/>
                    <a:pt x="75" y="299"/>
                  </a:cubicBezTo>
                  <a:cubicBezTo>
                    <a:pt x="84" y="180"/>
                    <a:pt x="179" y="85"/>
                    <a:pt x="298" y="76"/>
                  </a:cubicBezTo>
                  <a:cubicBezTo>
                    <a:pt x="298" y="102"/>
                    <a:pt x="298" y="102"/>
                    <a:pt x="298" y="102"/>
                  </a:cubicBezTo>
                  <a:cubicBezTo>
                    <a:pt x="298" y="112"/>
                    <a:pt x="306" y="120"/>
                    <a:pt x="316" y="120"/>
                  </a:cubicBezTo>
                  <a:cubicBezTo>
                    <a:pt x="326" y="120"/>
                    <a:pt x="334" y="112"/>
                    <a:pt x="334" y="102"/>
                  </a:cubicBezTo>
                  <a:cubicBezTo>
                    <a:pt x="334" y="76"/>
                    <a:pt x="334" y="76"/>
                    <a:pt x="334" y="76"/>
                  </a:cubicBezTo>
                  <a:cubicBezTo>
                    <a:pt x="453" y="85"/>
                    <a:pt x="549" y="180"/>
                    <a:pt x="558" y="299"/>
                  </a:cubicBezTo>
                  <a:cubicBezTo>
                    <a:pt x="531" y="299"/>
                    <a:pt x="531" y="299"/>
                    <a:pt x="531" y="299"/>
                  </a:cubicBezTo>
                  <a:cubicBezTo>
                    <a:pt x="521" y="299"/>
                    <a:pt x="513" y="307"/>
                    <a:pt x="513" y="317"/>
                  </a:cubicBezTo>
                  <a:cubicBezTo>
                    <a:pt x="513" y="327"/>
                    <a:pt x="521" y="335"/>
                    <a:pt x="531" y="335"/>
                  </a:cubicBezTo>
                  <a:cubicBezTo>
                    <a:pt x="558" y="335"/>
                    <a:pt x="558" y="335"/>
                    <a:pt x="558" y="335"/>
                  </a:cubicBezTo>
                  <a:cubicBezTo>
                    <a:pt x="549" y="454"/>
                    <a:pt x="453" y="550"/>
                    <a:pt x="334" y="55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TT Light"/>
                <a:cs typeface="CiscoSansTT Light"/>
              </a:endParaRPr>
            </a:p>
          </p:txBody>
        </p:sp>
        <p:sp>
          <p:nvSpPr>
            <p:cNvPr id="81" name="Freeform 6"/>
            <p:cNvSpPr>
              <a:spLocks/>
            </p:cNvSpPr>
            <p:nvPr/>
          </p:nvSpPr>
          <p:spPr bwMode="auto">
            <a:xfrm>
              <a:off x="5057775" y="3214688"/>
              <a:ext cx="431800" cy="663575"/>
            </a:xfrm>
            <a:custGeom>
              <a:avLst/>
              <a:gdLst>
                <a:gd name="T0" fmla="*/ 73 w 147"/>
                <a:gd name="T1" fmla="*/ 0 h 225"/>
                <a:gd name="T2" fmla="*/ 62 w 147"/>
                <a:gd name="T3" fmla="*/ 25 h 225"/>
                <a:gd name="T4" fmla="*/ 25 w 147"/>
                <a:gd name="T5" fmla="*/ 9 h 225"/>
                <a:gd name="T6" fmla="*/ 11 w 147"/>
                <a:gd name="T7" fmla="*/ 15 h 225"/>
                <a:gd name="T8" fmla="*/ 18 w 147"/>
                <a:gd name="T9" fmla="*/ 29 h 225"/>
                <a:gd name="T10" fmla="*/ 56 w 147"/>
                <a:gd name="T11" fmla="*/ 46 h 225"/>
                <a:gd name="T12" fmla="*/ 52 w 147"/>
                <a:gd name="T13" fmla="*/ 79 h 225"/>
                <a:gd name="T14" fmla="*/ 11 w 147"/>
                <a:gd name="T15" fmla="*/ 79 h 225"/>
                <a:gd name="T16" fmla="*/ 0 w 147"/>
                <a:gd name="T17" fmla="*/ 90 h 225"/>
                <a:gd name="T18" fmla="*/ 11 w 147"/>
                <a:gd name="T19" fmla="*/ 101 h 225"/>
                <a:gd name="T20" fmla="*/ 52 w 147"/>
                <a:gd name="T21" fmla="*/ 101 h 225"/>
                <a:gd name="T22" fmla="*/ 56 w 147"/>
                <a:gd name="T23" fmla="*/ 134 h 225"/>
                <a:gd name="T24" fmla="*/ 18 w 147"/>
                <a:gd name="T25" fmla="*/ 151 h 225"/>
                <a:gd name="T26" fmla="*/ 11 w 147"/>
                <a:gd name="T27" fmla="*/ 166 h 225"/>
                <a:gd name="T28" fmla="*/ 22 w 147"/>
                <a:gd name="T29" fmla="*/ 173 h 225"/>
                <a:gd name="T30" fmla="*/ 25 w 147"/>
                <a:gd name="T31" fmla="*/ 172 h 225"/>
                <a:gd name="T32" fmla="*/ 64 w 147"/>
                <a:gd name="T33" fmla="*/ 155 h 225"/>
                <a:gd name="T34" fmla="*/ 147 w 147"/>
                <a:gd name="T35" fmla="*/ 225 h 225"/>
                <a:gd name="T36" fmla="*/ 147 w 147"/>
                <a:gd name="T37" fmla="*/ 20 h 225"/>
                <a:gd name="T38" fmla="*/ 78 w 147"/>
                <a:gd name="T39" fmla="*/ 4 h 225"/>
                <a:gd name="T40" fmla="*/ 73 w 147"/>
                <a:gd name="T41"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7" h="225">
                  <a:moveTo>
                    <a:pt x="73" y="0"/>
                  </a:moveTo>
                  <a:cubicBezTo>
                    <a:pt x="68" y="8"/>
                    <a:pt x="65" y="16"/>
                    <a:pt x="62" y="25"/>
                  </a:cubicBezTo>
                  <a:cubicBezTo>
                    <a:pt x="25" y="9"/>
                    <a:pt x="25" y="9"/>
                    <a:pt x="25" y="9"/>
                  </a:cubicBezTo>
                  <a:cubicBezTo>
                    <a:pt x="20" y="7"/>
                    <a:pt x="13" y="9"/>
                    <a:pt x="11" y="15"/>
                  </a:cubicBezTo>
                  <a:cubicBezTo>
                    <a:pt x="9" y="20"/>
                    <a:pt x="12" y="27"/>
                    <a:pt x="18" y="29"/>
                  </a:cubicBezTo>
                  <a:cubicBezTo>
                    <a:pt x="56" y="46"/>
                    <a:pt x="56" y="46"/>
                    <a:pt x="56" y="46"/>
                  </a:cubicBezTo>
                  <a:cubicBezTo>
                    <a:pt x="54" y="57"/>
                    <a:pt x="52" y="68"/>
                    <a:pt x="52" y="79"/>
                  </a:cubicBezTo>
                  <a:cubicBezTo>
                    <a:pt x="11" y="79"/>
                    <a:pt x="11" y="79"/>
                    <a:pt x="11" y="79"/>
                  </a:cubicBezTo>
                  <a:cubicBezTo>
                    <a:pt x="4" y="79"/>
                    <a:pt x="0" y="83"/>
                    <a:pt x="0" y="90"/>
                  </a:cubicBezTo>
                  <a:cubicBezTo>
                    <a:pt x="0" y="95"/>
                    <a:pt x="4" y="101"/>
                    <a:pt x="11" y="101"/>
                  </a:cubicBezTo>
                  <a:cubicBezTo>
                    <a:pt x="52" y="101"/>
                    <a:pt x="52" y="101"/>
                    <a:pt x="52" y="101"/>
                  </a:cubicBezTo>
                  <a:cubicBezTo>
                    <a:pt x="52" y="113"/>
                    <a:pt x="54" y="124"/>
                    <a:pt x="56" y="134"/>
                  </a:cubicBezTo>
                  <a:cubicBezTo>
                    <a:pt x="18" y="151"/>
                    <a:pt x="18" y="151"/>
                    <a:pt x="18" y="151"/>
                  </a:cubicBezTo>
                  <a:cubicBezTo>
                    <a:pt x="11" y="154"/>
                    <a:pt x="9" y="161"/>
                    <a:pt x="11" y="166"/>
                  </a:cubicBezTo>
                  <a:cubicBezTo>
                    <a:pt x="13" y="169"/>
                    <a:pt x="18" y="173"/>
                    <a:pt x="22" y="173"/>
                  </a:cubicBezTo>
                  <a:cubicBezTo>
                    <a:pt x="23" y="173"/>
                    <a:pt x="24" y="172"/>
                    <a:pt x="25" y="172"/>
                  </a:cubicBezTo>
                  <a:cubicBezTo>
                    <a:pt x="64" y="155"/>
                    <a:pt x="64" y="155"/>
                    <a:pt x="64" y="155"/>
                  </a:cubicBezTo>
                  <a:cubicBezTo>
                    <a:pt x="79" y="190"/>
                    <a:pt x="109" y="211"/>
                    <a:pt x="147" y="225"/>
                  </a:cubicBezTo>
                  <a:cubicBezTo>
                    <a:pt x="147" y="20"/>
                    <a:pt x="147" y="20"/>
                    <a:pt x="147" y="20"/>
                  </a:cubicBezTo>
                  <a:cubicBezTo>
                    <a:pt x="120" y="20"/>
                    <a:pt x="97" y="13"/>
                    <a:pt x="78" y="4"/>
                  </a:cubicBezTo>
                  <a:cubicBezTo>
                    <a:pt x="77" y="2"/>
                    <a:pt x="75" y="1"/>
                    <a:pt x="73"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TT Light"/>
                <a:cs typeface="CiscoSansTT Light"/>
              </a:endParaRPr>
            </a:p>
          </p:txBody>
        </p:sp>
        <p:sp>
          <p:nvSpPr>
            <p:cNvPr id="87" name="Freeform 7"/>
            <p:cNvSpPr>
              <a:spLocks/>
            </p:cNvSpPr>
            <p:nvPr/>
          </p:nvSpPr>
          <p:spPr bwMode="auto">
            <a:xfrm>
              <a:off x="5527675" y="3214688"/>
              <a:ext cx="430212" cy="663575"/>
            </a:xfrm>
            <a:custGeom>
              <a:avLst/>
              <a:gdLst>
                <a:gd name="T0" fmla="*/ 134 w 146"/>
                <a:gd name="T1" fmla="*/ 101 h 225"/>
                <a:gd name="T2" fmla="*/ 146 w 146"/>
                <a:gd name="T3" fmla="*/ 90 h 225"/>
                <a:gd name="T4" fmla="*/ 135 w 146"/>
                <a:gd name="T5" fmla="*/ 79 h 225"/>
                <a:gd name="T6" fmla="*/ 95 w 146"/>
                <a:gd name="T7" fmla="*/ 79 h 225"/>
                <a:gd name="T8" fmla="*/ 91 w 146"/>
                <a:gd name="T9" fmla="*/ 46 h 225"/>
                <a:gd name="T10" fmla="*/ 129 w 146"/>
                <a:gd name="T11" fmla="*/ 29 h 225"/>
                <a:gd name="T12" fmla="*/ 134 w 146"/>
                <a:gd name="T13" fmla="*/ 15 h 225"/>
                <a:gd name="T14" fmla="*/ 120 w 146"/>
                <a:gd name="T15" fmla="*/ 9 h 225"/>
                <a:gd name="T16" fmla="*/ 84 w 146"/>
                <a:gd name="T17" fmla="*/ 23 h 225"/>
                <a:gd name="T18" fmla="*/ 74 w 146"/>
                <a:gd name="T19" fmla="*/ 0 h 225"/>
                <a:gd name="T20" fmla="*/ 69 w 146"/>
                <a:gd name="T21" fmla="*/ 4 h 225"/>
                <a:gd name="T22" fmla="*/ 0 w 146"/>
                <a:gd name="T23" fmla="*/ 20 h 225"/>
                <a:gd name="T24" fmla="*/ 0 w 146"/>
                <a:gd name="T25" fmla="*/ 225 h 225"/>
                <a:gd name="T26" fmla="*/ 83 w 146"/>
                <a:gd name="T27" fmla="*/ 156 h 225"/>
                <a:gd name="T28" fmla="*/ 120 w 146"/>
                <a:gd name="T29" fmla="*/ 172 h 225"/>
                <a:gd name="T30" fmla="*/ 124 w 146"/>
                <a:gd name="T31" fmla="*/ 173 h 225"/>
                <a:gd name="T32" fmla="*/ 134 w 146"/>
                <a:gd name="T33" fmla="*/ 166 h 225"/>
                <a:gd name="T34" fmla="*/ 129 w 146"/>
                <a:gd name="T35" fmla="*/ 151 h 225"/>
                <a:gd name="T36" fmla="*/ 90 w 146"/>
                <a:gd name="T37" fmla="*/ 135 h 225"/>
                <a:gd name="T38" fmla="*/ 95 w 146"/>
                <a:gd name="T39" fmla="*/ 101 h 225"/>
                <a:gd name="T40" fmla="*/ 134 w 146"/>
                <a:gd name="T41" fmla="*/ 10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6" h="225">
                  <a:moveTo>
                    <a:pt x="134" y="101"/>
                  </a:moveTo>
                  <a:cubicBezTo>
                    <a:pt x="141" y="101"/>
                    <a:pt x="145" y="95"/>
                    <a:pt x="146" y="90"/>
                  </a:cubicBezTo>
                  <a:cubicBezTo>
                    <a:pt x="146" y="83"/>
                    <a:pt x="141" y="79"/>
                    <a:pt x="135" y="79"/>
                  </a:cubicBezTo>
                  <a:cubicBezTo>
                    <a:pt x="95" y="79"/>
                    <a:pt x="95" y="79"/>
                    <a:pt x="95" y="79"/>
                  </a:cubicBezTo>
                  <a:cubicBezTo>
                    <a:pt x="95" y="67"/>
                    <a:pt x="93" y="56"/>
                    <a:pt x="91" y="46"/>
                  </a:cubicBezTo>
                  <a:cubicBezTo>
                    <a:pt x="129" y="29"/>
                    <a:pt x="129" y="29"/>
                    <a:pt x="129" y="29"/>
                  </a:cubicBezTo>
                  <a:cubicBezTo>
                    <a:pt x="134" y="27"/>
                    <a:pt x="136" y="20"/>
                    <a:pt x="134" y="15"/>
                  </a:cubicBezTo>
                  <a:cubicBezTo>
                    <a:pt x="132" y="9"/>
                    <a:pt x="125" y="7"/>
                    <a:pt x="120" y="9"/>
                  </a:cubicBezTo>
                  <a:cubicBezTo>
                    <a:pt x="84" y="23"/>
                    <a:pt x="84" y="23"/>
                    <a:pt x="84" y="23"/>
                  </a:cubicBezTo>
                  <a:cubicBezTo>
                    <a:pt x="82" y="16"/>
                    <a:pt x="79" y="8"/>
                    <a:pt x="74" y="0"/>
                  </a:cubicBezTo>
                  <a:cubicBezTo>
                    <a:pt x="72" y="1"/>
                    <a:pt x="70" y="2"/>
                    <a:pt x="69" y="4"/>
                  </a:cubicBezTo>
                  <a:cubicBezTo>
                    <a:pt x="50" y="13"/>
                    <a:pt x="27" y="20"/>
                    <a:pt x="0" y="20"/>
                  </a:cubicBezTo>
                  <a:cubicBezTo>
                    <a:pt x="0" y="225"/>
                    <a:pt x="0" y="225"/>
                    <a:pt x="0" y="225"/>
                  </a:cubicBezTo>
                  <a:cubicBezTo>
                    <a:pt x="37" y="213"/>
                    <a:pt x="67" y="190"/>
                    <a:pt x="83" y="156"/>
                  </a:cubicBezTo>
                  <a:cubicBezTo>
                    <a:pt x="120" y="172"/>
                    <a:pt x="120" y="172"/>
                    <a:pt x="120" y="172"/>
                  </a:cubicBezTo>
                  <a:cubicBezTo>
                    <a:pt x="121" y="172"/>
                    <a:pt x="123" y="173"/>
                    <a:pt x="124" y="173"/>
                  </a:cubicBezTo>
                  <a:cubicBezTo>
                    <a:pt x="129" y="173"/>
                    <a:pt x="133" y="169"/>
                    <a:pt x="134" y="166"/>
                  </a:cubicBezTo>
                  <a:cubicBezTo>
                    <a:pt x="136" y="161"/>
                    <a:pt x="134" y="154"/>
                    <a:pt x="129" y="151"/>
                  </a:cubicBezTo>
                  <a:cubicBezTo>
                    <a:pt x="90" y="135"/>
                    <a:pt x="90" y="135"/>
                    <a:pt x="90" y="135"/>
                  </a:cubicBezTo>
                  <a:cubicBezTo>
                    <a:pt x="93" y="124"/>
                    <a:pt x="95" y="113"/>
                    <a:pt x="95" y="101"/>
                  </a:cubicBezTo>
                  <a:lnTo>
                    <a:pt x="134" y="1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TT Light"/>
                <a:cs typeface="CiscoSansTT Light"/>
              </a:endParaRPr>
            </a:p>
          </p:txBody>
        </p:sp>
        <p:sp>
          <p:nvSpPr>
            <p:cNvPr id="89" name="Freeform 8"/>
            <p:cNvSpPr>
              <a:spLocks/>
            </p:cNvSpPr>
            <p:nvPr/>
          </p:nvSpPr>
          <p:spPr bwMode="auto">
            <a:xfrm>
              <a:off x="5199063" y="2900363"/>
              <a:ext cx="614362" cy="338138"/>
            </a:xfrm>
            <a:custGeom>
              <a:avLst/>
              <a:gdLst>
                <a:gd name="T0" fmla="*/ 179 w 209"/>
                <a:gd name="T1" fmla="*/ 96 h 115"/>
                <a:gd name="T2" fmla="*/ 156 w 209"/>
                <a:gd name="T3" fmla="*/ 72 h 115"/>
                <a:gd name="T4" fmla="*/ 185 w 209"/>
                <a:gd name="T5" fmla="*/ 39 h 115"/>
                <a:gd name="T6" fmla="*/ 189 w 209"/>
                <a:gd name="T7" fmla="*/ 39 h 115"/>
                <a:gd name="T8" fmla="*/ 209 w 209"/>
                <a:gd name="T9" fmla="*/ 19 h 115"/>
                <a:gd name="T10" fmla="*/ 189 w 209"/>
                <a:gd name="T11" fmla="*/ 0 h 115"/>
                <a:gd name="T12" fmla="*/ 170 w 209"/>
                <a:gd name="T13" fmla="*/ 19 h 115"/>
                <a:gd name="T14" fmla="*/ 172 w 209"/>
                <a:gd name="T15" fmla="*/ 28 h 115"/>
                <a:gd name="T16" fmla="*/ 142 w 209"/>
                <a:gd name="T17" fmla="*/ 62 h 115"/>
                <a:gd name="T18" fmla="*/ 106 w 209"/>
                <a:gd name="T19" fmla="*/ 53 h 115"/>
                <a:gd name="T20" fmla="*/ 67 w 209"/>
                <a:gd name="T21" fmla="*/ 63 h 115"/>
                <a:gd name="T22" fmla="*/ 37 w 209"/>
                <a:gd name="T23" fmla="*/ 28 h 115"/>
                <a:gd name="T24" fmla="*/ 39 w 209"/>
                <a:gd name="T25" fmla="*/ 19 h 115"/>
                <a:gd name="T26" fmla="*/ 19 w 209"/>
                <a:gd name="T27" fmla="*/ 0 h 115"/>
                <a:gd name="T28" fmla="*/ 0 w 209"/>
                <a:gd name="T29" fmla="*/ 19 h 115"/>
                <a:gd name="T30" fmla="*/ 19 w 209"/>
                <a:gd name="T31" fmla="*/ 39 h 115"/>
                <a:gd name="T32" fmla="*/ 24 w 209"/>
                <a:gd name="T33" fmla="*/ 39 h 115"/>
                <a:gd name="T34" fmla="*/ 52 w 209"/>
                <a:gd name="T35" fmla="*/ 73 h 115"/>
                <a:gd name="T36" fmla="*/ 33 w 209"/>
                <a:gd name="T37" fmla="*/ 96 h 115"/>
                <a:gd name="T38" fmla="*/ 37 w 209"/>
                <a:gd name="T39" fmla="*/ 99 h 115"/>
                <a:gd name="T40" fmla="*/ 106 w 209"/>
                <a:gd name="T41" fmla="*/ 115 h 115"/>
                <a:gd name="T42" fmla="*/ 174 w 209"/>
                <a:gd name="T43" fmla="*/ 99 h 115"/>
                <a:gd name="T44" fmla="*/ 179 w 209"/>
                <a:gd name="T45" fmla="*/ 9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9" h="115">
                  <a:moveTo>
                    <a:pt x="179" y="96"/>
                  </a:moveTo>
                  <a:cubicBezTo>
                    <a:pt x="173" y="86"/>
                    <a:pt x="165" y="78"/>
                    <a:pt x="156" y="72"/>
                  </a:cubicBezTo>
                  <a:cubicBezTo>
                    <a:pt x="177" y="49"/>
                    <a:pt x="183" y="41"/>
                    <a:pt x="185" y="39"/>
                  </a:cubicBezTo>
                  <a:cubicBezTo>
                    <a:pt x="187" y="39"/>
                    <a:pt x="188" y="39"/>
                    <a:pt x="189" y="39"/>
                  </a:cubicBezTo>
                  <a:cubicBezTo>
                    <a:pt x="200" y="39"/>
                    <a:pt x="209" y="30"/>
                    <a:pt x="209" y="19"/>
                  </a:cubicBezTo>
                  <a:cubicBezTo>
                    <a:pt x="209" y="9"/>
                    <a:pt x="200" y="0"/>
                    <a:pt x="189" y="0"/>
                  </a:cubicBezTo>
                  <a:cubicBezTo>
                    <a:pt x="178" y="0"/>
                    <a:pt x="170" y="9"/>
                    <a:pt x="170" y="19"/>
                  </a:cubicBezTo>
                  <a:cubicBezTo>
                    <a:pt x="170" y="23"/>
                    <a:pt x="170" y="25"/>
                    <a:pt x="172" y="28"/>
                  </a:cubicBezTo>
                  <a:cubicBezTo>
                    <a:pt x="142" y="62"/>
                    <a:pt x="142" y="62"/>
                    <a:pt x="142" y="62"/>
                  </a:cubicBezTo>
                  <a:cubicBezTo>
                    <a:pt x="131" y="56"/>
                    <a:pt x="119" y="53"/>
                    <a:pt x="106" y="53"/>
                  </a:cubicBezTo>
                  <a:cubicBezTo>
                    <a:pt x="92" y="53"/>
                    <a:pt x="79" y="56"/>
                    <a:pt x="67" y="63"/>
                  </a:cubicBezTo>
                  <a:cubicBezTo>
                    <a:pt x="45" y="38"/>
                    <a:pt x="38" y="30"/>
                    <a:pt x="37" y="28"/>
                  </a:cubicBezTo>
                  <a:cubicBezTo>
                    <a:pt x="38" y="26"/>
                    <a:pt x="39" y="23"/>
                    <a:pt x="39" y="19"/>
                  </a:cubicBezTo>
                  <a:cubicBezTo>
                    <a:pt x="39" y="9"/>
                    <a:pt x="30" y="0"/>
                    <a:pt x="19" y="0"/>
                  </a:cubicBezTo>
                  <a:cubicBezTo>
                    <a:pt x="8" y="0"/>
                    <a:pt x="0" y="9"/>
                    <a:pt x="0" y="19"/>
                  </a:cubicBezTo>
                  <a:cubicBezTo>
                    <a:pt x="0" y="30"/>
                    <a:pt x="8" y="39"/>
                    <a:pt x="19" y="39"/>
                  </a:cubicBezTo>
                  <a:cubicBezTo>
                    <a:pt x="21" y="39"/>
                    <a:pt x="22" y="39"/>
                    <a:pt x="24" y="39"/>
                  </a:cubicBezTo>
                  <a:cubicBezTo>
                    <a:pt x="52" y="73"/>
                    <a:pt x="52" y="73"/>
                    <a:pt x="52" y="73"/>
                  </a:cubicBezTo>
                  <a:cubicBezTo>
                    <a:pt x="45" y="80"/>
                    <a:pt x="38" y="87"/>
                    <a:pt x="33" y="96"/>
                  </a:cubicBezTo>
                  <a:cubicBezTo>
                    <a:pt x="34" y="97"/>
                    <a:pt x="35" y="98"/>
                    <a:pt x="37" y="99"/>
                  </a:cubicBezTo>
                  <a:cubicBezTo>
                    <a:pt x="55" y="108"/>
                    <a:pt x="79" y="115"/>
                    <a:pt x="106" y="115"/>
                  </a:cubicBezTo>
                  <a:cubicBezTo>
                    <a:pt x="132" y="115"/>
                    <a:pt x="156" y="108"/>
                    <a:pt x="174" y="99"/>
                  </a:cubicBezTo>
                  <a:cubicBezTo>
                    <a:pt x="176" y="98"/>
                    <a:pt x="177" y="97"/>
                    <a:pt x="179" y="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TT Light"/>
                <a:cs typeface="CiscoSansTT Light"/>
              </a:endParaRPr>
            </a:p>
          </p:txBody>
        </p:sp>
      </p:grpSp>
      <p:grpSp>
        <p:nvGrpSpPr>
          <p:cNvPr id="90" name="Group 89"/>
          <p:cNvGrpSpPr/>
          <p:nvPr/>
        </p:nvGrpSpPr>
        <p:grpSpPr>
          <a:xfrm>
            <a:off x="5636971" y="1904657"/>
            <a:ext cx="376690" cy="448058"/>
            <a:chOff x="5955690" y="857250"/>
            <a:chExt cx="376690" cy="448058"/>
          </a:xfrm>
          <a:solidFill>
            <a:schemeClr val="accent1">
              <a:lumMod val="50000"/>
            </a:schemeClr>
          </a:solidFill>
        </p:grpSpPr>
        <p:sp>
          <p:nvSpPr>
            <p:cNvPr id="91" name="Freeform 15"/>
            <p:cNvSpPr>
              <a:spLocks noChangeAspect="1" noEditPoints="1"/>
            </p:cNvSpPr>
            <p:nvPr/>
          </p:nvSpPr>
          <p:spPr bwMode="auto">
            <a:xfrm>
              <a:off x="5994084" y="911947"/>
              <a:ext cx="299542" cy="349899"/>
            </a:xfrm>
            <a:custGeom>
              <a:avLst/>
              <a:gdLst/>
              <a:ahLst/>
              <a:cxnLst>
                <a:cxn ang="0">
                  <a:pos x="321" y="59"/>
                </a:cxn>
                <a:cxn ang="0">
                  <a:pos x="176" y="0"/>
                </a:cxn>
                <a:cxn ang="0">
                  <a:pos x="31" y="59"/>
                </a:cxn>
                <a:cxn ang="0">
                  <a:pos x="0" y="57"/>
                </a:cxn>
                <a:cxn ang="0">
                  <a:pos x="5" y="92"/>
                </a:cxn>
                <a:cxn ang="0">
                  <a:pos x="24" y="199"/>
                </a:cxn>
                <a:cxn ang="0">
                  <a:pos x="81" y="328"/>
                </a:cxn>
                <a:cxn ang="0">
                  <a:pos x="130" y="239"/>
                </a:cxn>
                <a:cxn ang="0">
                  <a:pos x="139" y="244"/>
                </a:cxn>
                <a:cxn ang="0">
                  <a:pos x="150" y="223"/>
                </a:cxn>
                <a:cxn ang="0">
                  <a:pos x="126" y="115"/>
                </a:cxn>
                <a:cxn ang="0">
                  <a:pos x="241" y="80"/>
                </a:cxn>
                <a:cxn ang="0">
                  <a:pos x="276" y="195"/>
                </a:cxn>
                <a:cxn ang="0">
                  <a:pos x="174" y="236"/>
                </a:cxn>
                <a:cxn ang="0">
                  <a:pos x="162" y="257"/>
                </a:cxn>
                <a:cxn ang="0">
                  <a:pos x="172" y="263"/>
                </a:cxn>
                <a:cxn ang="0">
                  <a:pos x="116" y="368"/>
                </a:cxn>
                <a:cxn ang="0">
                  <a:pos x="176" y="409"/>
                </a:cxn>
                <a:cxn ang="0">
                  <a:pos x="348" y="92"/>
                </a:cxn>
                <a:cxn ang="0">
                  <a:pos x="350" y="57"/>
                </a:cxn>
                <a:cxn ang="0">
                  <a:pos x="321" y="59"/>
                </a:cxn>
                <a:cxn ang="0">
                  <a:pos x="255" y="184"/>
                </a:cxn>
                <a:cxn ang="0">
                  <a:pos x="229" y="102"/>
                </a:cxn>
                <a:cxn ang="0">
                  <a:pos x="148" y="127"/>
                </a:cxn>
                <a:cxn ang="0">
                  <a:pos x="172" y="209"/>
                </a:cxn>
                <a:cxn ang="0">
                  <a:pos x="255" y="184"/>
                </a:cxn>
                <a:cxn ang="0">
                  <a:pos x="158" y="149"/>
                </a:cxn>
                <a:cxn ang="0">
                  <a:pos x="158" y="149"/>
                </a:cxn>
                <a:cxn ang="0">
                  <a:pos x="153" y="153"/>
                </a:cxn>
                <a:cxn ang="0">
                  <a:pos x="149" y="147"/>
                </a:cxn>
                <a:cxn ang="0">
                  <a:pos x="217" y="106"/>
                </a:cxn>
                <a:cxn ang="0">
                  <a:pos x="220" y="111"/>
                </a:cxn>
                <a:cxn ang="0">
                  <a:pos x="216" y="114"/>
                </a:cxn>
                <a:cxn ang="0">
                  <a:pos x="158" y="149"/>
                </a:cxn>
              </a:cxnLst>
              <a:rect l="0" t="0" r="r" b="b"/>
              <a:pathLst>
                <a:path w="350" h="409">
                  <a:moveTo>
                    <a:pt x="321" y="59"/>
                  </a:moveTo>
                  <a:cubicBezTo>
                    <a:pt x="238" y="59"/>
                    <a:pt x="194" y="19"/>
                    <a:pt x="176" y="0"/>
                  </a:cubicBezTo>
                  <a:cubicBezTo>
                    <a:pt x="159" y="19"/>
                    <a:pt x="112" y="59"/>
                    <a:pt x="31" y="59"/>
                  </a:cubicBezTo>
                  <a:cubicBezTo>
                    <a:pt x="20" y="59"/>
                    <a:pt x="11" y="57"/>
                    <a:pt x="0" y="57"/>
                  </a:cubicBezTo>
                  <a:cubicBezTo>
                    <a:pt x="2" y="65"/>
                    <a:pt x="2" y="76"/>
                    <a:pt x="5" y="92"/>
                  </a:cubicBezTo>
                  <a:cubicBezTo>
                    <a:pt x="7" y="120"/>
                    <a:pt x="11" y="159"/>
                    <a:pt x="24" y="199"/>
                  </a:cubicBezTo>
                  <a:cubicBezTo>
                    <a:pt x="36" y="243"/>
                    <a:pt x="54" y="289"/>
                    <a:pt x="81" y="328"/>
                  </a:cubicBezTo>
                  <a:cubicBezTo>
                    <a:pt x="85" y="321"/>
                    <a:pt x="96" y="300"/>
                    <a:pt x="130" y="239"/>
                  </a:cubicBezTo>
                  <a:cubicBezTo>
                    <a:pt x="139" y="244"/>
                    <a:pt x="139" y="244"/>
                    <a:pt x="139" y="244"/>
                  </a:cubicBezTo>
                  <a:cubicBezTo>
                    <a:pt x="150" y="223"/>
                    <a:pt x="150" y="223"/>
                    <a:pt x="150" y="223"/>
                  </a:cubicBezTo>
                  <a:cubicBezTo>
                    <a:pt x="117" y="199"/>
                    <a:pt x="106" y="153"/>
                    <a:pt x="126" y="115"/>
                  </a:cubicBezTo>
                  <a:cubicBezTo>
                    <a:pt x="148" y="74"/>
                    <a:pt x="199" y="58"/>
                    <a:pt x="241" y="80"/>
                  </a:cubicBezTo>
                  <a:cubicBezTo>
                    <a:pt x="282" y="102"/>
                    <a:pt x="298" y="154"/>
                    <a:pt x="276" y="195"/>
                  </a:cubicBezTo>
                  <a:cubicBezTo>
                    <a:pt x="256" y="232"/>
                    <a:pt x="213" y="248"/>
                    <a:pt x="174" y="236"/>
                  </a:cubicBezTo>
                  <a:cubicBezTo>
                    <a:pt x="162" y="257"/>
                    <a:pt x="162" y="257"/>
                    <a:pt x="162" y="257"/>
                  </a:cubicBezTo>
                  <a:cubicBezTo>
                    <a:pt x="172" y="263"/>
                    <a:pt x="172" y="263"/>
                    <a:pt x="172" y="263"/>
                  </a:cubicBezTo>
                  <a:cubicBezTo>
                    <a:pt x="172" y="263"/>
                    <a:pt x="163" y="281"/>
                    <a:pt x="116" y="368"/>
                  </a:cubicBezTo>
                  <a:cubicBezTo>
                    <a:pt x="133" y="384"/>
                    <a:pt x="153" y="398"/>
                    <a:pt x="176" y="409"/>
                  </a:cubicBezTo>
                  <a:cubicBezTo>
                    <a:pt x="304" y="350"/>
                    <a:pt x="339" y="177"/>
                    <a:pt x="348" y="92"/>
                  </a:cubicBezTo>
                  <a:cubicBezTo>
                    <a:pt x="350" y="76"/>
                    <a:pt x="350" y="65"/>
                    <a:pt x="350" y="57"/>
                  </a:cubicBezTo>
                  <a:cubicBezTo>
                    <a:pt x="339" y="57"/>
                    <a:pt x="330" y="59"/>
                    <a:pt x="321" y="59"/>
                  </a:cubicBezTo>
                  <a:close/>
                  <a:moveTo>
                    <a:pt x="255" y="184"/>
                  </a:moveTo>
                  <a:cubicBezTo>
                    <a:pt x="270" y="155"/>
                    <a:pt x="259" y="118"/>
                    <a:pt x="229" y="102"/>
                  </a:cubicBezTo>
                  <a:cubicBezTo>
                    <a:pt x="200" y="87"/>
                    <a:pt x="163" y="98"/>
                    <a:pt x="148" y="127"/>
                  </a:cubicBezTo>
                  <a:cubicBezTo>
                    <a:pt x="132" y="156"/>
                    <a:pt x="143" y="194"/>
                    <a:pt x="172" y="209"/>
                  </a:cubicBezTo>
                  <a:cubicBezTo>
                    <a:pt x="202" y="225"/>
                    <a:pt x="239" y="213"/>
                    <a:pt x="255" y="184"/>
                  </a:cubicBezTo>
                  <a:close/>
                  <a:moveTo>
                    <a:pt x="158" y="149"/>
                  </a:moveTo>
                  <a:cubicBezTo>
                    <a:pt x="158" y="149"/>
                    <a:pt x="158" y="149"/>
                    <a:pt x="158" y="149"/>
                  </a:cubicBezTo>
                  <a:cubicBezTo>
                    <a:pt x="157" y="151"/>
                    <a:pt x="155" y="153"/>
                    <a:pt x="153" y="153"/>
                  </a:cubicBezTo>
                  <a:cubicBezTo>
                    <a:pt x="150" y="152"/>
                    <a:pt x="149" y="149"/>
                    <a:pt x="149" y="147"/>
                  </a:cubicBezTo>
                  <a:cubicBezTo>
                    <a:pt x="158" y="119"/>
                    <a:pt x="187" y="100"/>
                    <a:pt x="217" y="106"/>
                  </a:cubicBezTo>
                  <a:cubicBezTo>
                    <a:pt x="220" y="106"/>
                    <a:pt x="221" y="109"/>
                    <a:pt x="220" y="111"/>
                  </a:cubicBezTo>
                  <a:cubicBezTo>
                    <a:pt x="220" y="114"/>
                    <a:pt x="218" y="115"/>
                    <a:pt x="216" y="114"/>
                  </a:cubicBezTo>
                  <a:cubicBezTo>
                    <a:pt x="190" y="111"/>
                    <a:pt x="166" y="125"/>
                    <a:pt x="158" y="149"/>
                  </a:cubicBezTo>
                  <a:close/>
                </a:path>
              </a:pathLst>
            </a:custGeom>
            <a:grpFill/>
            <a:ln>
              <a:noFill/>
            </a:ln>
            <a:effectLst/>
          </p:spPr>
          <p:txBody>
            <a:bodyPr vert="horz" wrap="square" lIns="91440" tIns="45720" rIns="91440" bIns="45720" numCol="1" anchor="t" anchorCtr="0" compatLnSpc="1">
              <a:prstTxWarp prst="textNoShape">
                <a:avLst/>
              </a:prstTxWarp>
            </a:bodyPr>
            <a:lstStyle/>
            <a:p>
              <a:endParaRPr lang="en-US" dirty="0">
                <a:solidFill>
                  <a:srgbClr val="0096D6"/>
                </a:solidFill>
                <a:latin typeface="CiscoSansTT Light"/>
                <a:cs typeface="CiscoSansTT Light"/>
              </a:endParaRPr>
            </a:p>
          </p:txBody>
        </p:sp>
        <p:sp>
          <p:nvSpPr>
            <p:cNvPr id="92" name="Freeform 14"/>
            <p:cNvSpPr>
              <a:spLocks noChangeAspect="1" noEditPoints="1"/>
            </p:cNvSpPr>
            <p:nvPr/>
          </p:nvSpPr>
          <p:spPr bwMode="auto">
            <a:xfrm>
              <a:off x="5955690" y="857250"/>
              <a:ext cx="376690" cy="448058"/>
            </a:xfrm>
            <a:custGeom>
              <a:avLst/>
              <a:gdLst/>
              <a:ahLst/>
              <a:cxnLst>
                <a:cxn ang="0">
                  <a:pos x="428" y="77"/>
                </a:cxn>
                <a:cxn ang="0">
                  <a:pos x="385" y="79"/>
                </a:cxn>
                <a:cxn ang="0">
                  <a:pos x="264" y="47"/>
                </a:cxn>
                <a:cxn ang="0">
                  <a:pos x="239" y="25"/>
                </a:cxn>
                <a:cxn ang="0">
                  <a:pos x="231" y="18"/>
                </a:cxn>
                <a:cxn ang="0">
                  <a:pos x="231" y="15"/>
                </a:cxn>
                <a:cxn ang="0">
                  <a:pos x="221" y="0"/>
                </a:cxn>
                <a:cxn ang="0">
                  <a:pos x="212" y="15"/>
                </a:cxn>
                <a:cxn ang="0">
                  <a:pos x="209" y="18"/>
                </a:cxn>
                <a:cxn ang="0">
                  <a:pos x="57" y="79"/>
                </a:cxn>
                <a:cxn ang="0">
                  <a:pos x="13" y="77"/>
                </a:cxn>
                <a:cxn ang="0">
                  <a:pos x="0" y="77"/>
                </a:cxn>
                <a:cxn ang="0">
                  <a:pos x="0" y="89"/>
                </a:cxn>
                <a:cxn ang="0">
                  <a:pos x="28" y="269"/>
                </a:cxn>
                <a:cxn ang="0">
                  <a:pos x="217" y="524"/>
                </a:cxn>
                <a:cxn ang="0">
                  <a:pos x="221" y="524"/>
                </a:cxn>
                <a:cxn ang="0">
                  <a:pos x="226" y="524"/>
                </a:cxn>
                <a:cxn ang="0">
                  <a:pos x="415" y="269"/>
                </a:cxn>
                <a:cxn ang="0">
                  <a:pos x="440" y="89"/>
                </a:cxn>
                <a:cxn ang="0">
                  <a:pos x="440" y="77"/>
                </a:cxn>
                <a:cxn ang="0">
                  <a:pos x="428" y="77"/>
                </a:cxn>
                <a:cxn ang="0">
                  <a:pos x="415" y="141"/>
                </a:cxn>
                <a:cxn ang="0">
                  <a:pos x="221" y="499"/>
                </a:cxn>
                <a:cxn ang="0">
                  <a:pos x="50" y="262"/>
                </a:cxn>
                <a:cxn ang="0">
                  <a:pos x="28" y="141"/>
                </a:cxn>
                <a:cxn ang="0">
                  <a:pos x="23" y="101"/>
                </a:cxn>
                <a:cxn ang="0">
                  <a:pos x="57" y="104"/>
                </a:cxn>
                <a:cxn ang="0">
                  <a:pos x="221" y="37"/>
                </a:cxn>
                <a:cxn ang="0">
                  <a:pos x="385" y="104"/>
                </a:cxn>
                <a:cxn ang="0">
                  <a:pos x="418" y="101"/>
                </a:cxn>
                <a:cxn ang="0">
                  <a:pos x="415" y="141"/>
                </a:cxn>
              </a:cxnLst>
              <a:rect l="0" t="0" r="r" b="b"/>
              <a:pathLst>
                <a:path w="440" h="524">
                  <a:moveTo>
                    <a:pt x="428" y="77"/>
                  </a:moveTo>
                  <a:cubicBezTo>
                    <a:pt x="413" y="79"/>
                    <a:pt x="398" y="79"/>
                    <a:pt x="385" y="79"/>
                  </a:cubicBezTo>
                  <a:cubicBezTo>
                    <a:pt x="328" y="79"/>
                    <a:pt x="289" y="65"/>
                    <a:pt x="264" y="47"/>
                  </a:cubicBezTo>
                  <a:cubicBezTo>
                    <a:pt x="251" y="37"/>
                    <a:pt x="244" y="30"/>
                    <a:pt x="239" y="25"/>
                  </a:cubicBezTo>
                  <a:cubicBezTo>
                    <a:pt x="236" y="20"/>
                    <a:pt x="234" y="18"/>
                    <a:pt x="231" y="18"/>
                  </a:cubicBezTo>
                  <a:cubicBezTo>
                    <a:pt x="231" y="15"/>
                    <a:pt x="231" y="15"/>
                    <a:pt x="231" y="15"/>
                  </a:cubicBezTo>
                  <a:cubicBezTo>
                    <a:pt x="221" y="0"/>
                    <a:pt x="221" y="0"/>
                    <a:pt x="221" y="0"/>
                  </a:cubicBezTo>
                  <a:cubicBezTo>
                    <a:pt x="212" y="15"/>
                    <a:pt x="212" y="15"/>
                    <a:pt x="212" y="15"/>
                  </a:cubicBezTo>
                  <a:cubicBezTo>
                    <a:pt x="212" y="15"/>
                    <a:pt x="212" y="15"/>
                    <a:pt x="209" y="18"/>
                  </a:cubicBezTo>
                  <a:cubicBezTo>
                    <a:pt x="199" y="27"/>
                    <a:pt x="157" y="79"/>
                    <a:pt x="57" y="79"/>
                  </a:cubicBezTo>
                  <a:cubicBezTo>
                    <a:pt x="43" y="79"/>
                    <a:pt x="28" y="79"/>
                    <a:pt x="13" y="77"/>
                  </a:cubicBezTo>
                  <a:cubicBezTo>
                    <a:pt x="0" y="77"/>
                    <a:pt x="0" y="77"/>
                    <a:pt x="0" y="77"/>
                  </a:cubicBezTo>
                  <a:cubicBezTo>
                    <a:pt x="0" y="89"/>
                    <a:pt x="0" y="89"/>
                    <a:pt x="0" y="89"/>
                  </a:cubicBezTo>
                  <a:cubicBezTo>
                    <a:pt x="0" y="89"/>
                    <a:pt x="0" y="173"/>
                    <a:pt x="28" y="269"/>
                  </a:cubicBezTo>
                  <a:cubicBezTo>
                    <a:pt x="52" y="366"/>
                    <a:pt x="107" y="474"/>
                    <a:pt x="217" y="524"/>
                  </a:cubicBezTo>
                  <a:cubicBezTo>
                    <a:pt x="221" y="524"/>
                    <a:pt x="221" y="524"/>
                    <a:pt x="221" y="524"/>
                  </a:cubicBezTo>
                  <a:cubicBezTo>
                    <a:pt x="226" y="524"/>
                    <a:pt x="226" y="524"/>
                    <a:pt x="226" y="524"/>
                  </a:cubicBezTo>
                  <a:cubicBezTo>
                    <a:pt x="336" y="474"/>
                    <a:pt x="388" y="366"/>
                    <a:pt x="415" y="269"/>
                  </a:cubicBezTo>
                  <a:cubicBezTo>
                    <a:pt x="440" y="173"/>
                    <a:pt x="440" y="89"/>
                    <a:pt x="440" y="89"/>
                  </a:cubicBezTo>
                  <a:cubicBezTo>
                    <a:pt x="440" y="77"/>
                    <a:pt x="440" y="77"/>
                    <a:pt x="440" y="77"/>
                  </a:cubicBezTo>
                  <a:lnTo>
                    <a:pt x="428" y="77"/>
                  </a:lnTo>
                  <a:close/>
                  <a:moveTo>
                    <a:pt x="415" y="141"/>
                  </a:moveTo>
                  <a:cubicBezTo>
                    <a:pt x="405" y="237"/>
                    <a:pt x="365" y="432"/>
                    <a:pt x="221" y="499"/>
                  </a:cubicBezTo>
                  <a:cubicBezTo>
                    <a:pt x="125" y="455"/>
                    <a:pt x="75" y="356"/>
                    <a:pt x="50" y="262"/>
                  </a:cubicBezTo>
                  <a:cubicBezTo>
                    <a:pt x="35" y="218"/>
                    <a:pt x="30" y="173"/>
                    <a:pt x="28" y="141"/>
                  </a:cubicBezTo>
                  <a:cubicBezTo>
                    <a:pt x="25" y="124"/>
                    <a:pt x="25" y="111"/>
                    <a:pt x="23" y="101"/>
                  </a:cubicBezTo>
                  <a:cubicBezTo>
                    <a:pt x="35" y="101"/>
                    <a:pt x="45" y="104"/>
                    <a:pt x="57" y="104"/>
                  </a:cubicBezTo>
                  <a:cubicBezTo>
                    <a:pt x="149" y="104"/>
                    <a:pt x="202" y="60"/>
                    <a:pt x="221" y="37"/>
                  </a:cubicBezTo>
                  <a:cubicBezTo>
                    <a:pt x="241" y="60"/>
                    <a:pt x="291" y="104"/>
                    <a:pt x="385" y="104"/>
                  </a:cubicBezTo>
                  <a:cubicBezTo>
                    <a:pt x="395" y="104"/>
                    <a:pt x="405" y="101"/>
                    <a:pt x="418" y="101"/>
                  </a:cubicBezTo>
                  <a:cubicBezTo>
                    <a:pt x="418" y="111"/>
                    <a:pt x="418" y="124"/>
                    <a:pt x="415" y="141"/>
                  </a:cubicBezTo>
                  <a:close/>
                </a:path>
              </a:pathLst>
            </a:custGeom>
            <a:grpFill/>
            <a:ln>
              <a:noFill/>
            </a:ln>
            <a:effectLst/>
          </p:spPr>
          <p:txBody>
            <a:bodyPr vert="horz" wrap="square" lIns="91440" tIns="45720" rIns="91440" bIns="45720" numCol="1" anchor="t" anchorCtr="0" compatLnSpc="1">
              <a:prstTxWarp prst="textNoShape">
                <a:avLst/>
              </a:prstTxWarp>
            </a:bodyPr>
            <a:lstStyle/>
            <a:p>
              <a:endParaRPr lang="en-US" dirty="0">
                <a:solidFill>
                  <a:srgbClr val="0096D6"/>
                </a:solidFill>
                <a:latin typeface="CiscoSansTT Light"/>
                <a:cs typeface="CiscoSansTT Light"/>
              </a:endParaRPr>
            </a:p>
          </p:txBody>
        </p:sp>
      </p:grpSp>
      <p:sp>
        <p:nvSpPr>
          <p:cNvPr id="93" name="Freeform 20"/>
          <p:cNvSpPr>
            <a:spLocks noEditPoints="1"/>
          </p:cNvSpPr>
          <p:nvPr/>
        </p:nvSpPr>
        <p:spPr bwMode="auto">
          <a:xfrm>
            <a:off x="5976408" y="1311622"/>
            <a:ext cx="446590" cy="440832"/>
          </a:xfrm>
          <a:custGeom>
            <a:avLst/>
            <a:gdLst/>
            <a:ahLst/>
            <a:cxnLst>
              <a:cxn ang="0">
                <a:pos x="139" y="218"/>
              </a:cxn>
              <a:cxn ang="0">
                <a:pos x="185" y="230"/>
              </a:cxn>
              <a:cxn ang="0">
                <a:pos x="189" y="232"/>
              </a:cxn>
              <a:cxn ang="0">
                <a:pos x="216" y="256"/>
              </a:cxn>
              <a:cxn ang="0">
                <a:pos x="223" y="251"/>
              </a:cxn>
              <a:cxn ang="0">
                <a:pos x="221" y="240"/>
              </a:cxn>
              <a:cxn ang="0">
                <a:pos x="248" y="207"/>
              </a:cxn>
              <a:cxn ang="0">
                <a:pos x="248" y="199"/>
              </a:cxn>
              <a:cxn ang="0">
                <a:pos x="241" y="12"/>
              </a:cxn>
              <a:cxn ang="0">
                <a:pos x="241" y="0"/>
              </a:cxn>
              <a:cxn ang="0">
                <a:pos x="136" y="173"/>
              </a:cxn>
              <a:cxn ang="0">
                <a:pos x="38" y="355"/>
              </a:cxn>
              <a:cxn ang="0">
                <a:pos x="52" y="347"/>
              </a:cxn>
              <a:cxn ang="0">
                <a:pos x="139" y="218"/>
              </a:cxn>
              <a:cxn ang="0">
                <a:pos x="188" y="149"/>
              </a:cxn>
              <a:cxn ang="0">
                <a:pos x="318" y="148"/>
              </a:cxn>
              <a:cxn ang="0">
                <a:pos x="329" y="128"/>
              </a:cxn>
              <a:cxn ang="0">
                <a:pos x="180" y="128"/>
              </a:cxn>
              <a:cxn ang="0">
                <a:pos x="188" y="149"/>
              </a:cxn>
              <a:cxn ang="0">
                <a:pos x="122" y="235"/>
              </a:cxn>
              <a:cxn ang="0">
                <a:pos x="201" y="362"/>
              </a:cxn>
              <a:cxn ang="0">
                <a:pos x="213" y="342"/>
              </a:cxn>
              <a:cxn ang="0">
                <a:pos x="142" y="233"/>
              </a:cxn>
              <a:cxn ang="0">
                <a:pos x="122" y="235"/>
              </a:cxn>
              <a:cxn ang="0">
                <a:pos x="274" y="319"/>
              </a:cxn>
              <a:cxn ang="0">
                <a:pos x="286" y="268"/>
              </a:cxn>
              <a:cxn ang="0">
                <a:pos x="277" y="263"/>
              </a:cxn>
              <a:cxn ang="0">
                <a:pos x="254" y="272"/>
              </a:cxn>
              <a:cxn ang="0">
                <a:pos x="229" y="261"/>
              </a:cxn>
              <a:cxn ang="0">
                <a:pos x="222" y="266"/>
              </a:cxn>
              <a:cxn ang="0">
                <a:pos x="232" y="319"/>
              </a:cxn>
              <a:cxn ang="0">
                <a:pos x="139" y="406"/>
              </a:cxn>
              <a:cxn ang="0">
                <a:pos x="63" y="367"/>
              </a:cxn>
              <a:cxn ang="0">
                <a:pos x="50" y="375"/>
              </a:cxn>
              <a:cxn ang="0">
                <a:pos x="151" y="426"/>
              </a:cxn>
              <a:cxn ang="0">
                <a:pos x="254" y="371"/>
              </a:cxn>
              <a:cxn ang="0">
                <a:pos x="455" y="375"/>
              </a:cxn>
              <a:cxn ang="0">
                <a:pos x="443" y="369"/>
              </a:cxn>
              <a:cxn ang="0">
                <a:pos x="274" y="319"/>
              </a:cxn>
              <a:cxn ang="0">
                <a:pos x="369" y="173"/>
              </a:cxn>
              <a:cxn ang="0">
                <a:pos x="266" y="0"/>
              </a:cxn>
              <a:cxn ang="0">
                <a:pos x="266" y="12"/>
              </a:cxn>
              <a:cxn ang="0">
                <a:pos x="260" y="199"/>
              </a:cxn>
              <a:cxn ang="0">
                <a:pos x="260" y="207"/>
              </a:cxn>
              <a:cxn ang="0">
                <a:pos x="287" y="240"/>
              </a:cxn>
              <a:cxn ang="0">
                <a:pos x="285" y="252"/>
              </a:cxn>
              <a:cxn ang="0">
                <a:pos x="292" y="256"/>
              </a:cxn>
              <a:cxn ang="0">
                <a:pos x="369" y="217"/>
              </a:cxn>
              <a:cxn ang="0">
                <a:pos x="455" y="347"/>
              </a:cxn>
              <a:cxn ang="0">
                <a:pos x="469" y="355"/>
              </a:cxn>
              <a:cxn ang="0">
                <a:pos x="369" y="173"/>
              </a:cxn>
              <a:cxn ang="0">
                <a:pos x="297" y="342"/>
              </a:cxn>
              <a:cxn ang="0">
                <a:pos x="307" y="362"/>
              </a:cxn>
              <a:cxn ang="0">
                <a:pos x="388" y="234"/>
              </a:cxn>
              <a:cxn ang="0">
                <a:pos x="366" y="232"/>
              </a:cxn>
              <a:cxn ang="0">
                <a:pos x="297" y="342"/>
              </a:cxn>
            </a:cxnLst>
            <a:rect l="0" t="0" r="r" b="b"/>
            <a:pathLst>
              <a:path w="507" h="444">
                <a:moveTo>
                  <a:pt x="139" y="218"/>
                </a:moveTo>
                <a:cubicBezTo>
                  <a:pt x="155" y="218"/>
                  <a:pt x="171" y="222"/>
                  <a:pt x="185" y="230"/>
                </a:cubicBezTo>
                <a:cubicBezTo>
                  <a:pt x="187" y="232"/>
                  <a:pt x="189" y="232"/>
                  <a:pt x="189" y="232"/>
                </a:cubicBezTo>
                <a:cubicBezTo>
                  <a:pt x="201" y="240"/>
                  <a:pt x="209" y="248"/>
                  <a:pt x="216" y="256"/>
                </a:cubicBezTo>
                <a:cubicBezTo>
                  <a:pt x="223" y="251"/>
                  <a:pt x="223" y="251"/>
                  <a:pt x="223" y="251"/>
                </a:cubicBezTo>
                <a:cubicBezTo>
                  <a:pt x="222" y="247"/>
                  <a:pt x="221" y="243"/>
                  <a:pt x="221" y="240"/>
                </a:cubicBezTo>
                <a:cubicBezTo>
                  <a:pt x="221" y="224"/>
                  <a:pt x="233" y="210"/>
                  <a:pt x="248" y="207"/>
                </a:cubicBezTo>
                <a:cubicBezTo>
                  <a:pt x="248" y="199"/>
                  <a:pt x="248" y="199"/>
                  <a:pt x="248" y="199"/>
                </a:cubicBezTo>
                <a:cubicBezTo>
                  <a:pt x="136" y="190"/>
                  <a:pt x="128" y="22"/>
                  <a:pt x="241" y="12"/>
                </a:cubicBezTo>
                <a:cubicBezTo>
                  <a:pt x="241" y="0"/>
                  <a:pt x="241" y="0"/>
                  <a:pt x="241" y="0"/>
                </a:cubicBezTo>
                <a:cubicBezTo>
                  <a:pt x="156" y="6"/>
                  <a:pt x="104" y="98"/>
                  <a:pt x="136" y="173"/>
                </a:cubicBezTo>
                <a:cubicBezTo>
                  <a:pt x="46" y="182"/>
                  <a:pt x="0" y="278"/>
                  <a:pt x="38" y="355"/>
                </a:cubicBezTo>
                <a:cubicBezTo>
                  <a:pt x="52" y="347"/>
                  <a:pt x="52" y="347"/>
                  <a:pt x="52" y="347"/>
                </a:cubicBezTo>
                <a:cubicBezTo>
                  <a:pt x="18" y="290"/>
                  <a:pt x="77" y="218"/>
                  <a:pt x="139" y="218"/>
                </a:cubicBezTo>
                <a:close/>
                <a:moveTo>
                  <a:pt x="188" y="149"/>
                </a:moveTo>
                <a:cubicBezTo>
                  <a:pt x="227" y="118"/>
                  <a:pt x="280" y="118"/>
                  <a:pt x="318" y="148"/>
                </a:cubicBezTo>
                <a:cubicBezTo>
                  <a:pt x="323" y="142"/>
                  <a:pt x="327" y="136"/>
                  <a:pt x="329" y="128"/>
                </a:cubicBezTo>
                <a:cubicBezTo>
                  <a:pt x="283" y="96"/>
                  <a:pt x="225" y="96"/>
                  <a:pt x="180" y="128"/>
                </a:cubicBezTo>
                <a:cubicBezTo>
                  <a:pt x="182" y="139"/>
                  <a:pt x="184" y="143"/>
                  <a:pt x="188" y="149"/>
                </a:cubicBezTo>
                <a:close/>
                <a:moveTo>
                  <a:pt x="122" y="235"/>
                </a:moveTo>
                <a:cubicBezTo>
                  <a:pt x="120" y="289"/>
                  <a:pt x="150" y="340"/>
                  <a:pt x="201" y="362"/>
                </a:cubicBezTo>
                <a:cubicBezTo>
                  <a:pt x="205" y="356"/>
                  <a:pt x="209" y="350"/>
                  <a:pt x="213" y="342"/>
                </a:cubicBezTo>
                <a:cubicBezTo>
                  <a:pt x="168" y="324"/>
                  <a:pt x="140" y="279"/>
                  <a:pt x="142" y="233"/>
                </a:cubicBezTo>
                <a:cubicBezTo>
                  <a:pt x="136" y="233"/>
                  <a:pt x="128" y="233"/>
                  <a:pt x="122" y="235"/>
                </a:cubicBezTo>
                <a:close/>
                <a:moveTo>
                  <a:pt x="274" y="319"/>
                </a:moveTo>
                <a:cubicBezTo>
                  <a:pt x="273" y="296"/>
                  <a:pt x="274" y="288"/>
                  <a:pt x="286" y="268"/>
                </a:cubicBezTo>
                <a:cubicBezTo>
                  <a:pt x="277" y="263"/>
                  <a:pt x="277" y="263"/>
                  <a:pt x="277" y="263"/>
                </a:cubicBezTo>
                <a:cubicBezTo>
                  <a:pt x="271" y="269"/>
                  <a:pt x="263" y="272"/>
                  <a:pt x="254" y="272"/>
                </a:cubicBezTo>
                <a:cubicBezTo>
                  <a:pt x="244" y="272"/>
                  <a:pt x="235" y="268"/>
                  <a:pt x="229" y="261"/>
                </a:cubicBezTo>
                <a:cubicBezTo>
                  <a:pt x="222" y="266"/>
                  <a:pt x="222" y="266"/>
                  <a:pt x="222" y="266"/>
                </a:cubicBezTo>
                <a:cubicBezTo>
                  <a:pt x="230" y="282"/>
                  <a:pt x="232" y="299"/>
                  <a:pt x="232" y="319"/>
                </a:cubicBezTo>
                <a:cubicBezTo>
                  <a:pt x="230" y="367"/>
                  <a:pt x="187" y="406"/>
                  <a:pt x="139" y="406"/>
                </a:cubicBezTo>
                <a:cubicBezTo>
                  <a:pt x="107" y="406"/>
                  <a:pt x="81" y="391"/>
                  <a:pt x="63" y="367"/>
                </a:cubicBezTo>
                <a:cubicBezTo>
                  <a:pt x="50" y="375"/>
                  <a:pt x="50" y="375"/>
                  <a:pt x="50" y="375"/>
                </a:cubicBezTo>
                <a:cubicBezTo>
                  <a:pt x="73" y="405"/>
                  <a:pt x="111" y="426"/>
                  <a:pt x="151" y="426"/>
                </a:cubicBezTo>
                <a:cubicBezTo>
                  <a:pt x="194" y="426"/>
                  <a:pt x="230" y="404"/>
                  <a:pt x="254" y="371"/>
                </a:cubicBezTo>
                <a:cubicBezTo>
                  <a:pt x="302" y="441"/>
                  <a:pt x="405" y="444"/>
                  <a:pt x="455" y="375"/>
                </a:cubicBezTo>
                <a:cubicBezTo>
                  <a:pt x="443" y="369"/>
                  <a:pt x="443" y="369"/>
                  <a:pt x="443" y="369"/>
                </a:cubicBezTo>
                <a:cubicBezTo>
                  <a:pt x="394" y="437"/>
                  <a:pt x="281" y="403"/>
                  <a:pt x="274" y="319"/>
                </a:cubicBezTo>
                <a:close/>
                <a:moveTo>
                  <a:pt x="369" y="173"/>
                </a:moveTo>
                <a:cubicBezTo>
                  <a:pt x="402" y="97"/>
                  <a:pt x="351" y="8"/>
                  <a:pt x="266" y="0"/>
                </a:cubicBezTo>
                <a:cubicBezTo>
                  <a:pt x="266" y="12"/>
                  <a:pt x="266" y="12"/>
                  <a:pt x="266" y="12"/>
                </a:cubicBezTo>
                <a:cubicBezTo>
                  <a:pt x="376" y="26"/>
                  <a:pt x="370" y="190"/>
                  <a:pt x="260" y="199"/>
                </a:cubicBezTo>
                <a:cubicBezTo>
                  <a:pt x="260" y="207"/>
                  <a:pt x="260" y="207"/>
                  <a:pt x="260" y="207"/>
                </a:cubicBezTo>
                <a:cubicBezTo>
                  <a:pt x="275" y="210"/>
                  <a:pt x="287" y="224"/>
                  <a:pt x="287" y="240"/>
                </a:cubicBezTo>
                <a:cubicBezTo>
                  <a:pt x="287" y="244"/>
                  <a:pt x="286" y="248"/>
                  <a:pt x="285" y="252"/>
                </a:cubicBezTo>
                <a:cubicBezTo>
                  <a:pt x="292" y="256"/>
                  <a:pt x="292" y="256"/>
                  <a:pt x="292" y="256"/>
                </a:cubicBezTo>
                <a:cubicBezTo>
                  <a:pt x="309" y="234"/>
                  <a:pt x="337" y="218"/>
                  <a:pt x="369" y="217"/>
                </a:cubicBezTo>
                <a:cubicBezTo>
                  <a:pt x="436" y="217"/>
                  <a:pt x="479" y="288"/>
                  <a:pt x="455" y="347"/>
                </a:cubicBezTo>
                <a:cubicBezTo>
                  <a:pt x="469" y="355"/>
                  <a:pt x="469" y="355"/>
                  <a:pt x="469" y="355"/>
                </a:cubicBezTo>
                <a:cubicBezTo>
                  <a:pt x="507" y="278"/>
                  <a:pt x="458" y="181"/>
                  <a:pt x="369" y="173"/>
                </a:cubicBezTo>
                <a:close/>
                <a:moveTo>
                  <a:pt x="297" y="342"/>
                </a:moveTo>
                <a:cubicBezTo>
                  <a:pt x="301" y="350"/>
                  <a:pt x="303" y="356"/>
                  <a:pt x="307" y="362"/>
                </a:cubicBezTo>
                <a:cubicBezTo>
                  <a:pt x="358" y="340"/>
                  <a:pt x="390" y="289"/>
                  <a:pt x="388" y="234"/>
                </a:cubicBezTo>
                <a:cubicBezTo>
                  <a:pt x="382" y="232"/>
                  <a:pt x="374" y="232"/>
                  <a:pt x="366" y="232"/>
                </a:cubicBezTo>
                <a:cubicBezTo>
                  <a:pt x="370" y="281"/>
                  <a:pt x="341" y="326"/>
                  <a:pt x="297" y="342"/>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latin typeface="CiscoSansTT Light"/>
              <a:cs typeface="CiscoSansTT Light"/>
            </a:endParaRPr>
          </a:p>
        </p:txBody>
      </p:sp>
      <p:sp>
        <p:nvSpPr>
          <p:cNvPr id="94" name="Freeform 7"/>
          <p:cNvSpPr>
            <a:spLocks noEditPoints="1"/>
          </p:cNvSpPr>
          <p:nvPr/>
        </p:nvSpPr>
        <p:spPr bwMode="auto">
          <a:xfrm>
            <a:off x="5448350" y="1307896"/>
            <a:ext cx="340095" cy="438559"/>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rgbClr val="FF0000"/>
          </a:solidFill>
          <a:ln w="19050" cap="flat" cmpd="sng">
            <a:noFill/>
            <a:prstDash val="solid"/>
            <a:round/>
            <a:headEnd type="none" w="med" len="med"/>
            <a:tailEnd type="none" w="med" len="med"/>
          </a:ln>
          <a:effectLst/>
        </p:spPr>
        <p:txBody>
          <a:bodyPr lIns="68589" tIns="34295" rIns="68589" bIns="34295"/>
          <a:lstStyle/>
          <a:p>
            <a:endParaRPr lang="en-US" dirty="0">
              <a:latin typeface="CiscoSansTT Light"/>
              <a:cs typeface="CiscoSansTT Light"/>
            </a:endParaRPr>
          </a:p>
        </p:txBody>
      </p:sp>
      <p:sp>
        <p:nvSpPr>
          <p:cNvPr id="112" name="Freeform 111"/>
          <p:cNvSpPr>
            <a:spLocks noEditPoints="1"/>
          </p:cNvSpPr>
          <p:nvPr/>
        </p:nvSpPr>
        <p:spPr bwMode="auto">
          <a:xfrm>
            <a:off x="2358500" y="2821535"/>
            <a:ext cx="862659" cy="415713"/>
          </a:xfrm>
          <a:custGeom>
            <a:avLst/>
            <a:gdLst>
              <a:gd name="T0" fmla="*/ 109 w 239"/>
              <a:gd name="T1" fmla="*/ 16 h 139"/>
              <a:gd name="T2" fmla="*/ 127 w 239"/>
              <a:gd name="T3" fmla="*/ 16 h 139"/>
              <a:gd name="T4" fmla="*/ 129 w 239"/>
              <a:gd name="T5" fmla="*/ 12 h 139"/>
              <a:gd name="T6" fmla="*/ 159 w 239"/>
              <a:gd name="T7" fmla="*/ 9 h 139"/>
              <a:gd name="T8" fmla="*/ 168 w 239"/>
              <a:gd name="T9" fmla="*/ 18 h 139"/>
              <a:gd name="T10" fmla="*/ 171 w 239"/>
              <a:gd name="T11" fmla="*/ 20 h 139"/>
              <a:gd name="T12" fmla="*/ 197 w 239"/>
              <a:gd name="T13" fmla="*/ 29 h 139"/>
              <a:gd name="T14" fmla="*/ 217 w 239"/>
              <a:gd name="T15" fmla="*/ 46 h 139"/>
              <a:gd name="T16" fmla="*/ 226 w 239"/>
              <a:gd name="T17" fmla="*/ 112 h 139"/>
              <a:gd name="T18" fmla="*/ 173 w 239"/>
              <a:gd name="T19" fmla="*/ 135 h 139"/>
              <a:gd name="T20" fmla="*/ 132 w 239"/>
              <a:gd name="T21" fmla="*/ 95 h 139"/>
              <a:gd name="T22" fmla="*/ 131 w 239"/>
              <a:gd name="T23" fmla="*/ 93 h 139"/>
              <a:gd name="T24" fmla="*/ 104 w 239"/>
              <a:gd name="T25" fmla="*/ 93 h 139"/>
              <a:gd name="T26" fmla="*/ 104 w 239"/>
              <a:gd name="T27" fmla="*/ 96 h 139"/>
              <a:gd name="T28" fmla="*/ 47 w 239"/>
              <a:gd name="T29" fmla="*/ 135 h 139"/>
              <a:gd name="T30" fmla="*/ 2 w 239"/>
              <a:gd name="T31" fmla="*/ 90 h 139"/>
              <a:gd name="T32" fmla="*/ 19 w 239"/>
              <a:gd name="T33" fmla="*/ 46 h 139"/>
              <a:gd name="T34" fmla="*/ 42 w 239"/>
              <a:gd name="T35" fmla="*/ 28 h 139"/>
              <a:gd name="T36" fmla="*/ 64 w 239"/>
              <a:gd name="T37" fmla="*/ 20 h 139"/>
              <a:gd name="T38" fmla="*/ 67 w 239"/>
              <a:gd name="T39" fmla="*/ 18 h 139"/>
              <a:gd name="T40" fmla="*/ 76 w 239"/>
              <a:gd name="T41" fmla="*/ 10 h 139"/>
              <a:gd name="T42" fmla="*/ 108 w 239"/>
              <a:gd name="T43" fmla="*/ 15 h 139"/>
              <a:gd name="T44" fmla="*/ 109 w 239"/>
              <a:gd name="T45" fmla="*/ 16 h 139"/>
              <a:gd name="T46" fmla="*/ 19 w 239"/>
              <a:gd name="T47" fmla="*/ 84 h 139"/>
              <a:gd name="T48" fmla="*/ 53 w 239"/>
              <a:gd name="T49" fmla="*/ 119 h 139"/>
              <a:gd name="T50" fmla="*/ 88 w 239"/>
              <a:gd name="T51" fmla="*/ 85 h 139"/>
              <a:gd name="T52" fmla="*/ 55 w 239"/>
              <a:gd name="T53" fmla="*/ 50 h 139"/>
              <a:gd name="T54" fmla="*/ 19 w 239"/>
              <a:gd name="T55" fmla="*/ 84 h 139"/>
              <a:gd name="T56" fmla="*/ 148 w 239"/>
              <a:gd name="T57" fmla="*/ 84 h 139"/>
              <a:gd name="T58" fmla="*/ 183 w 239"/>
              <a:gd name="T59" fmla="*/ 119 h 139"/>
              <a:gd name="T60" fmla="*/ 217 w 239"/>
              <a:gd name="T61" fmla="*/ 83 h 139"/>
              <a:gd name="T62" fmla="*/ 181 w 239"/>
              <a:gd name="T63" fmla="*/ 50 h 139"/>
              <a:gd name="T64" fmla="*/ 148 w 239"/>
              <a:gd name="T65" fmla="*/ 84 h 139"/>
              <a:gd name="T66" fmla="*/ 131 w 239"/>
              <a:gd name="T67" fmla="*/ 70 h 139"/>
              <a:gd name="T68" fmla="*/ 118 w 239"/>
              <a:gd name="T69" fmla="*/ 56 h 139"/>
              <a:gd name="T70" fmla="*/ 104 w 239"/>
              <a:gd name="T71" fmla="*/ 69 h 139"/>
              <a:gd name="T72" fmla="*/ 117 w 239"/>
              <a:gd name="T73" fmla="*/ 83 h 139"/>
              <a:gd name="T74" fmla="*/ 131 w 2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9" h="139">
                <a:moveTo>
                  <a:pt x="109" y="16"/>
                </a:moveTo>
                <a:cubicBezTo>
                  <a:pt x="115" y="13"/>
                  <a:pt x="121" y="13"/>
                  <a:pt x="127" y="16"/>
                </a:cubicBezTo>
                <a:cubicBezTo>
                  <a:pt x="128" y="15"/>
                  <a:pt x="128" y="13"/>
                  <a:pt x="129" y="12"/>
                </a:cubicBezTo>
                <a:cubicBezTo>
                  <a:pt x="136" y="2"/>
                  <a:pt x="150" y="1"/>
                  <a:pt x="159" y="9"/>
                </a:cubicBezTo>
                <a:cubicBezTo>
                  <a:pt x="162" y="12"/>
                  <a:pt x="165" y="15"/>
                  <a:pt x="168" y="18"/>
                </a:cubicBezTo>
                <a:cubicBezTo>
                  <a:pt x="169" y="19"/>
                  <a:pt x="170" y="20"/>
                  <a:pt x="171" y="20"/>
                </a:cubicBezTo>
                <a:cubicBezTo>
                  <a:pt x="181" y="20"/>
                  <a:pt x="189" y="24"/>
                  <a:pt x="197" y="29"/>
                </a:cubicBezTo>
                <a:cubicBezTo>
                  <a:pt x="203" y="35"/>
                  <a:pt x="210" y="40"/>
                  <a:pt x="217" y="46"/>
                </a:cubicBezTo>
                <a:cubicBezTo>
                  <a:pt x="235" y="62"/>
                  <a:pt x="239" y="91"/>
                  <a:pt x="226" y="112"/>
                </a:cubicBezTo>
                <a:cubicBezTo>
                  <a:pt x="214" y="129"/>
                  <a:pt x="194" y="139"/>
                  <a:pt x="173" y="135"/>
                </a:cubicBezTo>
                <a:cubicBezTo>
                  <a:pt x="152" y="131"/>
                  <a:pt x="136" y="116"/>
                  <a:pt x="132" y="95"/>
                </a:cubicBezTo>
                <a:cubicBezTo>
                  <a:pt x="132" y="94"/>
                  <a:pt x="131" y="94"/>
                  <a:pt x="131" y="93"/>
                </a:cubicBezTo>
                <a:cubicBezTo>
                  <a:pt x="122" y="97"/>
                  <a:pt x="114" y="98"/>
                  <a:pt x="104" y="93"/>
                </a:cubicBezTo>
                <a:cubicBezTo>
                  <a:pt x="104" y="94"/>
                  <a:pt x="104" y="95"/>
                  <a:pt x="104" y="96"/>
                </a:cubicBezTo>
                <a:cubicBezTo>
                  <a:pt x="98" y="122"/>
                  <a:pt x="72" y="139"/>
                  <a:pt x="47" y="135"/>
                </a:cubicBezTo>
                <a:cubicBezTo>
                  <a:pt x="23" y="132"/>
                  <a:pt x="5" y="114"/>
                  <a:pt x="2" y="90"/>
                </a:cubicBezTo>
                <a:cubicBezTo>
                  <a:pt x="0" y="73"/>
                  <a:pt x="6" y="58"/>
                  <a:pt x="19" y="46"/>
                </a:cubicBezTo>
                <a:cubicBezTo>
                  <a:pt x="26" y="40"/>
                  <a:pt x="34" y="34"/>
                  <a:pt x="42" y="28"/>
                </a:cubicBezTo>
                <a:cubicBezTo>
                  <a:pt x="48" y="23"/>
                  <a:pt x="56" y="20"/>
                  <a:pt x="64" y="20"/>
                </a:cubicBezTo>
                <a:cubicBezTo>
                  <a:pt x="65" y="20"/>
                  <a:pt x="67" y="19"/>
                  <a:pt x="67" y="18"/>
                </a:cubicBezTo>
                <a:cubicBezTo>
                  <a:pt x="70" y="16"/>
                  <a:pt x="73" y="13"/>
                  <a:pt x="76" y="10"/>
                </a:cubicBezTo>
                <a:cubicBezTo>
                  <a:pt x="87" y="0"/>
                  <a:pt x="101" y="2"/>
                  <a:pt x="108" y="15"/>
                </a:cubicBezTo>
                <a:cubicBezTo>
                  <a:pt x="108" y="15"/>
                  <a:pt x="109" y="15"/>
                  <a:pt x="109" y="16"/>
                </a:cubicBezTo>
                <a:close/>
                <a:moveTo>
                  <a:pt x="19" y="84"/>
                </a:moveTo>
                <a:cubicBezTo>
                  <a:pt x="19" y="103"/>
                  <a:pt x="34" y="119"/>
                  <a:pt x="53" y="119"/>
                </a:cubicBezTo>
                <a:cubicBezTo>
                  <a:pt x="72" y="119"/>
                  <a:pt x="88" y="104"/>
                  <a:pt x="88" y="85"/>
                </a:cubicBezTo>
                <a:cubicBezTo>
                  <a:pt x="88" y="66"/>
                  <a:pt x="73" y="50"/>
                  <a:pt x="55" y="50"/>
                </a:cubicBezTo>
                <a:cubicBezTo>
                  <a:pt x="35" y="50"/>
                  <a:pt x="19" y="64"/>
                  <a:pt x="19" y="84"/>
                </a:cubicBezTo>
                <a:close/>
                <a:moveTo>
                  <a:pt x="148" y="84"/>
                </a:moveTo>
                <a:cubicBezTo>
                  <a:pt x="148" y="104"/>
                  <a:pt x="163" y="119"/>
                  <a:pt x="183" y="119"/>
                </a:cubicBezTo>
                <a:cubicBezTo>
                  <a:pt x="203" y="118"/>
                  <a:pt x="217" y="102"/>
                  <a:pt x="217" y="83"/>
                </a:cubicBezTo>
                <a:cubicBezTo>
                  <a:pt x="216" y="64"/>
                  <a:pt x="200" y="49"/>
                  <a:pt x="181" y="50"/>
                </a:cubicBezTo>
                <a:cubicBezTo>
                  <a:pt x="163" y="50"/>
                  <a:pt x="147" y="66"/>
                  <a:pt x="148" y="84"/>
                </a:cubicBezTo>
                <a:close/>
                <a:moveTo>
                  <a:pt x="131" y="70"/>
                </a:moveTo>
                <a:cubicBezTo>
                  <a:pt x="131" y="62"/>
                  <a:pt x="126" y="56"/>
                  <a:pt x="118" y="56"/>
                </a:cubicBezTo>
                <a:cubicBezTo>
                  <a:pt x="110" y="55"/>
                  <a:pt x="104" y="62"/>
                  <a:pt x="104" y="69"/>
                </a:cubicBezTo>
                <a:cubicBezTo>
                  <a:pt x="104" y="77"/>
                  <a:pt x="110" y="83"/>
                  <a:pt x="117" y="83"/>
                </a:cubicBezTo>
                <a:cubicBezTo>
                  <a:pt x="125" y="83"/>
                  <a:pt x="131" y="77"/>
                  <a:pt x="131" y="70"/>
                </a:cubicBezTo>
                <a:close/>
              </a:path>
            </a:pathLst>
          </a:custGeom>
          <a:solidFill>
            <a:srgbClr val="002855"/>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 name="Freeform 113"/>
          <p:cNvSpPr>
            <a:spLocks noEditPoints="1"/>
          </p:cNvSpPr>
          <p:nvPr/>
        </p:nvSpPr>
        <p:spPr bwMode="auto">
          <a:xfrm>
            <a:off x="5926613" y="2778689"/>
            <a:ext cx="400242" cy="464362"/>
          </a:xfrm>
          <a:custGeom>
            <a:avLst/>
            <a:gdLst>
              <a:gd name="T0" fmla="*/ 1717 w 1741"/>
              <a:gd name="T1" fmla="*/ 292 h 1847"/>
              <a:gd name="T2" fmla="*/ 1604 w 1741"/>
              <a:gd name="T3" fmla="*/ 299 h 1847"/>
              <a:gd name="T4" fmla="*/ 1491 w 1741"/>
              <a:gd name="T5" fmla="*/ 294 h 1847"/>
              <a:gd name="T6" fmla="*/ 1393 w 1741"/>
              <a:gd name="T7" fmla="*/ 282 h 1847"/>
              <a:gd name="T8" fmla="*/ 1288 w 1741"/>
              <a:gd name="T9" fmla="*/ 259 h 1847"/>
              <a:gd name="T10" fmla="*/ 1179 w 1741"/>
              <a:gd name="T11" fmla="*/ 222 h 1847"/>
              <a:gd name="T12" fmla="*/ 1072 w 1741"/>
              <a:gd name="T13" fmla="*/ 169 h 1847"/>
              <a:gd name="T14" fmla="*/ 968 w 1741"/>
              <a:gd name="T15" fmla="*/ 97 h 1847"/>
              <a:gd name="T16" fmla="*/ 919 w 1741"/>
              <a:gd name="T17" fmla="*/ 53 h 1847"/>
              <a:gd name="T18" fmla="*/ 872 w 1741"/>
              <a:gd name="T19" fmla="*/ 3 h 1847"/>
              <a:gd name="T20" fmla="*/ 871 w 1741"/>
              <a:gd name="T21" fmla="*/ 1 h 1847"/>
              <a:gd name="T22" fmla="*/ 869 w 1741"/>
              <a:gd name="T23" fmla="*/ 3 h 1847"/>
              <a:gd name="T24" fmla="*/ 839 w 1741"/>
              <a:gd name="T25" fmla="*/ 36 h 1847"/>
              <a:gd name="T26" fmla="*/ 791 w 1741"/>
              <a:gd name="T27" fmla="*/ 83 h 1847"/>
              <a:gd name="T28" fmla="*/ 705 w 1741"/>
              <a:gd name="T29" fmla="*/ 148 h 1847"/>
              <a:gd name="T30" fmla="*/ 599 w 1741"/>
              <a:gd name="T31" fmla="*/ 207 h 1847"/>
              <a:gd name="T32" fmla="*/ 490 w 1741"/>
              <a:gd name="T33" fmla="*/ 249 h 1847"/>
              <a:gd name="T34" fmla="*/ 383 w 1741"/>
              <a:gd name="T35" fmla="*/ 276 h 1847"/>
              <a:gd name="T36" fmla="*/ 282 w 1741"/>
              <a:gd name="T37" fmla="*/ 291 h 1847"/>
              <a:gd name="T38" fmla="*/ 191 w 1741"/>
              <a:gd name="T39" fmla="*/ 299 h 1847"/>
              <a:gd name="T40" fmla="*/ 53 w 1741"/>
              <a:gd name="T41" fmla="*/ 295 h 1847"/>
              <a:gd name="T42" fmla="*/ 0 w 1741"/>
              <a:gd name="T43" fmla="*/ 289 h 1847"/>
              <a:gd name="T44" fmla="*/ 2 w 1741"/>
              <a:gd name="T45" fmla="*/ 413 h 1847"/>
              <a:gd name="T46" fmla="*/ 13 w 1741"/>
              <a:gd name="T47" fmla="*/ 548 h 1847"/>
              <a:gd name="T48" fmla="*/ 35 w 1741"/>
              <a:gd name="T49" fmla="*/ 719 h 1847"/>
              <a:gd name="T50" fmla="*/ 75 w 1741"/>
              <a:gd name="T51" fmla="*/ 911 h 1847"/>
              <a:gd name="T52" fmla="*/ 113 w 1741"/>
              <a:gd name="T53" fmla="*/ 1045 h 1847"/>
              <a:gd name="T54" fmla="*/ 149 w 1741"/>
              <a:gd name="T55" fmla="*/ 1147 h 1847"/>
              <a:gd name="T56" fmla="*/ 193 w 1741"/>
              <a:gd name="T57" fmla="*/ 1248 h 1847"/>
              <a:gd name="T58" fmla="*/ 244 w 1741"/>
              <a:gd name="T59" fmla="*/ 1346 h 1847"/>
              <a:gd name="T60" fmla="*/ 303 w 1741"/>
              <a:gd name="T61" fmla="*/ 1441 h 1847"/>
              <a:gd name="T62" fmla="*/ 372 w 1741"/>
              <a:gd name="T63" fmla="*/ 1531 h 1847"/>
              <a:gd name="T64" fmla="*/ 450 w 1741"/>
              <a:gd name="T65" fmla="*/ 1613 h 1847"/>
              <a:gd name="T66" fmla="*/ 538 w 1741"/>
              <a:gd name="T67" fmla="*/ 1688 h 1847"/>
              <a:gd name="T68" fmla="*/ 637 w 1741"/>
              <a:gd name="T69" fmla="*/ 1752 h 1847"/>
              <a:gd name="T70" fmla="*/ 747 w 1741"/>
              <a:gd name="T71" fmla="*/ 1805 h 1847"/>
              <a:gd name="T72" fmla="*/ 869 w 1741"/>
              <a:gd name="T73" fmla="*/ 1846 h 1847"/>
              <a:gd name="T74" fmla="*/ 871 w 1741"/>
              <a:gd name="T75" fmla="*/ 1847 h 1847"/>
              <a:gd name="T76" fmla="*/ 872 w 1741"/>
              <a:gd name="T77" fmla="*/ 1846 h 1847"/>
              <a:gd name="T78" fmla="*/ 956 w 1741"/>
              <a:gd name="T79" fmla="*/ 1820 h 1847"/>
              <a:gd name="T80" fmla="*/ 1070 w 1741"/>
              <a:gd name="T81" fmla="*/ 1771 h 1847"/>
              <a:gd name="T82" fmla="*/ 1172 w 1741"/>
              <a:gd name="T83" fmla="*/ 1710 h 1847"/>
              <a:gd name="T84" fmla="*/ 1264 w 1741"/>
              <a:gd name="T85" fmla="*/ 1639 h 1847"/>
              <a:gd name="T86" fmla="*/ 1345 w 1741"/>
              <a:gd name="T87" fmla="*/ 1559 h 1847"/>
              <a:gd name="T88" fmla="*/ 1417 w 1741"/>
              <a:gd name="T89" fmla="*/ 1472 h 1847"/>
              <a:gd name="T90" fmla="*/ 1479 w 1741"/>
              <a:gd name="T91" fmla="*/ 1379 h 1847"/>
              <a:gd name="T92" fmla="*/ 1533 w 1741"/>
              <a:gd name="T93" fmla="*/ 1281 h 1847"/>
              <a:gd name="T94" fmla="*/ 1579 w 1741"/>
              <a:gd name="T95" fmla="*/ 1181 h 1847"/>
              <a:gd name="T96" fmla="*/ 1618 w 1741"/>
              <a:gd name="T97" fmla="*/ 1079 h 1847"/>
              <a:gd name="T98" fmla="*/ 1649 w 1741"/>
              <a:gd name="T99" fmla="*/ 978 h 1847"/>
              <a:gd name="T100" fmla="*/ 1696 w 1741"/>
              <a:gd name="T101" fmla="*/ 781 h 1847"/>
              <a:gd name="T102" fmla="*/ 1724 w 1741"/>
              <a:gd name="T103" fmla="*/ 602 h 1847"/>
              <a:gd name="T104" fmla="*/ 1737 w 1741"/>
              <a:gd name="T105" fmla="*/ 454 h 1847"/>
              <a:gd name="T106" fmla="*/ 1741 w 1741"/>
              <a:gd name="T107" fmla="*/ 305 h 1847"/>
              <a:gd name="T108" fmla="*/ 1128 w 1741"/>
              <a:gd name="T109" fmla="*/ 1219 h 1847"/>
              <a:gd name="T110" fmla="*/ 682 w 1741"/>
              <a:gd name="T111" fmla="*/ 962 h 1847"/>
              <a:gd name="T112" fmla="*/ 864 w 1741"/>
              <a:gd name="T113" fmla="*/ 479 h 1847"/>
              <a:gd name="T114" fmla="*/ 1074 w 1741"/>
              <a:gd name="T115" fmla="*/ 950 h 1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41" h="1847">
                <a:moveTo>
                  <a:pt x="1741" y="289"/>
                </a:moveTo>
                <a:lnTo>
                  <a:pt x="1741" y="289"/>
                </a:lnTo>
                <a:lnTo>
                  <a:pt x="1717" y="292"/>
                </a:lnTo>
                <a:lnTo>
                  <a:pt x="1688" y="295"/>
                </a:lnTo>
                <a:lnTo>
                  <a:pt x="1650" y="297"/>
                </a:lnTo>
                <a:lnTo>
                  <a:pt x="1604" y="299"/>
                </a:lnTo>
                <a:lnTo>
                  <a:pt x="1550" y="299"/>
                </a:lnTo>
                <a:lnTo>
                  <a:pt x="1522" y="296"/>
                </a:lnTo>
                <a:lnTo>
                  <a:pt x="1491" y="294"/>
                </a:lnTo>
                <a:lnTo>
                  <a:pt x="1460" y="291"/>
                </a:lnTo>
                <a:lnTo>
                  <a:pt x="1427" y="287"/>
                </a:lnTo>
                <a:lnTo>
                  <a:pt x="1393" y="282"/>
                </a:lnTo>
                <a:lnTo>
                  <a:pt x="1359" y="276"/>
                </a:lnTo>
                <a:lnTo>
                  <a:pt x="1324" y="268"/>
                </a:lnTo>
                <a:lnTo>
                  <a:pt x="1288" y="259"/>
                </a:lnTo>
                <a:lnTo>
                  <a:pt x="1253" y="249"/>
                </a:lnTo>
                <a:lnTo>
                  <a:pt x="1216" y="236"/>
                </a:lnTo>
                <a:lnTo>
                  <a:pt x="1179" y="222"/>
                </a:lnTo>
                <a:lnTo>
                  <a:pt x="1143" y="207"/>
                </a:lnTo>
                <a:lnTo>
                  <a:pt x="1108" y="188"/>
                </a:lnTo>
                <a:lnTo>
                  <a:pt x="1072" y="169"/>
                </a:lnTo>
                <a:lnTo>
                  <a:pt x="1036" y="148"/>
                </a:lnTo>
                <a:lnTo>
                  <a:pt x="1002" y="123"/>
                </a:lnTo>
                <a:lnTo>
                  <a:pt x="968" y="97"/>
                </a:lnTo>
                <a:lnTo>
                  <a:pt x="952" y="83"/>
                </a:lnTo>
                <a:lnTo>
                  <a:pt x="935" y="68"/>
                </a:lnTo>
                <a:lnTo>
                  <a:pt x="919" y="53"/>
                </a:lnTo>
                <a:lnTo>
                  <a:pt x="903" y="36"/>
                </a:lnTo>
                <a:lnTo>
                  <a:pt x="888" y="20"/>
                </a:lnTo>
                <a:lnTo>
                  <a:pt x="872" y="3"/>
                </a:lnTo>
                <a:lnTo>
                  <a:pt x="872" y="0"/>
                </a:lnTo>
                <a:lnTo>
                  <a:pt x="872" y="0"/>
                </a:lnTo>
                <a:lnTo>
                  <a:pt x="871" y="1"/>
                </a:lnTo>
                <a:lnTo>
                  <a:pt x="871" y="1"/>
                </a:lnTo>
                <a:lnTo>
                  <a:pt x="869" y="0"/>
                </a:lnTo>
                <a:lnTo>
                  <a:pt x="869" y="3"/>
                </a:lnTo>
                <a:lnTo>
                  <a:pt x="869" y="3"/>
                </a:lnTo>
                <a:lnTo>
                  <a:pt x="854" y="20"/>
                </a:lnTo>
                <a:lnTo>
                  <a:pt x="839" y="36"/>
                </a:lnTo>
                <a:lnTo>
                  <a:pt x="823" y="53"/>
                </a:lnTo>
                <a:lnTo>
                  <a:pt x="807" y="68"/>
                </a:lnTo>
                <a:lnTo>
                  <a:pt x="791" y="83"/>
                </a:lnTo>
                <a:lnTo>
                  <a:pt x="774" y="97"/>
                </a:lnTo>
                <a:lnTo>
                  <a:pt x="740" y="123"/>
                </a:lnTo>
                <a:lnTo>
                  <a:pt x="705" y="148"/>
                </a:lnTo>
                <a:lnTo>
                  <a:pt x="670" y="169"/>
                </a:lnTo>
                <a:lnTo>
                  <a:pt x="635" y="188"/>
                </a:lnTo>
                <a:lnTo>
                  <a:pt x="599" y="207"/>
                </a:lnTo>
                <a:lnTo>
                  <a:pt x="562" y="222"/>
                </a:lnTo>
                <a:lnTo>
                  <a:pt x="525" y="236"/>
                </a:lnTo>
                <a:lnTo>
                  <a:pt x="490" y="249"/>
                </a:lnTo>
                <a:lnTo>
                  <a:pt x="454" y="259"/>
                </a:lnTo>
                <a:lnTo>
                  <a:pt x="418" y="268"/>
                </a:lnTo>
                <a:lnTo>
                  <a:pt x="383" y="276"/>
                </a:lnTo>
                <a:lnTo>
                  <a:pt x="349" y="282"/>
                </a:lnTo>
                <a:lnTo>
                  <a:pt x="315" y="287"/>
                </a:lnTo>
                <a:lnTo>
                  <a:pt x="282" y="291"/>
                </a:lnTo>
                <a:lnTo>
                  <a:pt x="250" y="294"/>
                </a:lnTo>
                <a:lnTo>
                  <a:pt x="221" y="296"/>
                </a:lnTo>
                <a:lnTo>
                  <a:pt x="191" y="299"/>
                </a:lnTo>
                <a:lnTo>
                  <a:pt x="138" y="299"/>
                </a:lnTo>
                <a:lnTo>
                  <a:pt x="91" y="297"/>
                </a:lnTo>
                <a:lnTo>
                  <a:pt x="53" y="295"/>
                </a:lnTo>
                <a:lnTo>
                  <a:pt x="25" y="292"/>
                </a:lnTo>
                <a:lnTo>
                  <a:pt x="0" y="289"/>
                </a:lnTo>
                <a:lnTo>
                  <a:pt x="0" y="289"/>
                </a:lnTo>
                <a:lnTo>
                  <a:pt x="0" y="305"/>
                </a:lnTo>
                <a:lnTo>
                  <a:pt x="0" y="346"/>
                </a:lnTo>
                <a:lnTo>
                  <a:pt x="2" y="413"/>
                </a:lnTo>
                <a:lnTo>
                  <a:pt x="4" y="454"/>
                </a:lnTo>
                <a:lnTo>
                  <a:pt x="8" y="498"/>
                </a:lnTo>
                <a:lnTo>
                  <a:pt x="13" y="548"/>
                </a:lnTo>
                <a:lnTo>
                  <a:pt x="19" y="602"/>
                </a:lnTo>
                <a:lnTo>
                  <a:pt x="26" y="659"/>
                </a:lnTo>
                <a:lnTo>
                  <a:pt x="35" y="719"/>
                </a:lnTo>
                <a:lnTo>
                  <a:pt x="46" y="781"/>
                </a:lnTo>
                <a:lnTo>
                  <a:pt x="58" y="845"/>
                </a:lnTo>
                <a:lnTo>
                  <a:pt x="75" y="911"/>
                </a:lnTo>
                <a:lnTo>
                  <a:pt x="92" y="978"/>
                </a:lnTo>
                <a:lnTo>
                  <a:pt x="102" y="1012"/>
                </a:lnTo>
                <a:lnTo>
                  <a:pt x="113" y="1045"/>
                </a:lnTo>
                <a:lnTo>
                  <a:pt x="125" y="1079"/>
                </a:lnTo>
                <a:lnTo>
                  <a:pt x="137" y="1114"/>
                </a:lnTo>
                <a:lnTo>
                  <a:pt x="149" y="1147"/>
                </a:lnTo>
                <a:lnTo>
                  <a:pt x="163" y="1181"/>
                </a:lnTo>
                <a:lnTo>
                  <a:pt x="178" y="1214"/>
                </a:lnTo>
                <a:lnTo>
                  <a:pt x="193" y="1248"/>
                </a:lnTo>
                <a:lnTo>
                  <a:pt x="209" y="1281"/>
                </a:lnTo>
                <a:lnTo>
                  <a:pt x="226" y="1314"/>
                </a:lnTo>
                <a:lnTo>
                  <a:pt x="244" y="1346"/>
                </a:lnTo>
                <a:lnTo>
                  <a:pt x="263" y="1379"/>
                </a:lnTo>
                <a:lnTo>
                  <a:pt x="283" y="1410"/>
                </a:lnTo>
                <a:lnTo>
                  <a:pt x="303" y="1441"/>
                </a:lnTo>
                <a:lnTo>
                  <a:pt x="326" y="1472"/>
                </a:lnTo>
                <a:lnTo>
                  <a:pt x="348" y="1501"/>
                </a:lnTo>
                <a:lnTo>
                  <a:pt x="372" y="1531"/>
                </a:lnTo>
                <a:lnTo>
                  <a:pt x="397" y="1559"/>
                </a:lnTo>
                <a:lnTo>
                  <a:pt x="422" y="1587"/>
                </a:lnTo>
                <a:lnTo>
                  <a:pt x="450" y="1613"/>
                </a:lnTo>
                <a:lnTo>
                  <a:pt x="478" y="1639"/>
                </a:lnTo>
                <a:lnTo>
                  <a:pt x="507" y="1663"/>
                </a:lnTo>
                <a:lnTo>
                  <a:pt x="538" y="1688"/>
                </a:lnTo>
                <a:lnTo>
                  <a:pt x="569" y="1710"/>
                </a:lnTo>
                <a:lnTo>
                  <a:pt x="603" y="1732"/>
                </a:lnTo>
                <a:lnTo>
                  <a:pt x="637" y="1752"/>
                </a:lnTo>
                <a:lnTo>
                  <a:pt x="672" y="1771"/>
                </a:lnTo>
                <a:lnTo>
                  <a:pt x="709" y="1789"/>
                </a:lnTo>
                <a:lnTo>
                  <a:pt x="747" y="1805"/>
                </a:lnTo>
                <a:lnTo>
                  <a:pt x="787" y="1820"/>
                </a:lnTo>
                <a:lnTo>
                  <a:pt x="827" y="1834"/>
                </a:lnTo>
                <a:lnTo>
                  <a:pt x="869" y="1846"/>
                </a:lnTo>
                <a:lnTo>
                  <a:pt x="869" y="1847"/>
                </a:lnTo>
                <a:lnTo>
                  <a:pt x="869" y="1847"/>
                </a:lnTo>
                <a:lnTo>
                  <a:pt x="871" y="1847"/>
                </a:lnTo>
                <a:lnTo>
                  <a:pt x="871" y="1847"/>
                </a:lnTo>
                <a:lnTo>
                  <a:pt x="872" y="1847"/>
                </a:lnTo>
                <a:lnTo>
                  <a:pt x="872" y="1846"/>
                </a:lnTo>
                <a:lnTo>
                  <a:pt x="872" y="1846"/>
                </a:lnTo>
                <a:lnTo>
                  <a:pt x="915" y="1834"/>
                </a:lnTo>
                <a:lnTo>
                  <a:pt x="956" y="1820"/>
                </a:lnTo>
                <a:lnTo>
                  <a:pt x="995" y="1805"/>
                </a:lnTo>
                <a:lnTo>
                  <a:pt x="1033" y="1789"/>
                </a:lnTo>
                <a:lnTo>
                  <a:pt x="1070" y="1771"/>
                </a:lnTo>
                <a:lnTo>
                  <a:pt x="1105" y="1752"/>
                </a:lnTo>
                <a:lnTo>
                  <a:pt x="1139" y="1732"/>
                </a:lnTo>
                <a:lnTo>
                  <a:pt x="1172" y="1710"/>
                </a:lnTo>
                <a:lnTo>
                  <a:pt x="1204" y="1688"/>
                </a:lnTo>
                <a:lnTo>
                  <a:pt x="1234" y="1663"/>
                </a:lnTo>
                <a:lnTo>
                  <a:pt x="1264" y="1639"/>
                </a:lnTo>
                <a:lnTo>
                  <a:pt x="1292" y="1613"/>
                </a:lnTo>
                <a:lnTo>
                  <a:pt x="1319" y="1587"/>
                </a:lnTo>
                <a:lnTo>
                  <a:pt x="1345" y="1559"/>
                </a:lnTo>
                <a:lnTo>
                  <a:pt x="1370" y="1531"/>
                </a:lnTo>
                <a:lnTo>
                  <a:pt x="1393" y="1501"/>
                </a:lnTo>
                <a:lnTo>
                  <a:pt x="1417" y="1472"/>
                </a:lnTo>
                <a:lnTo>
                  <a:pt x="1438" y="1441"/>
                </a:lnTo>
                <a:lnTo>
                  <a:pt x="1459" y="1410"/>
                </a:lnTo>
                <a:lnTo>
                  <a:pt x="1479" y="1379"/>
                </a:lnTo>
                <a:lnTo>
                  <a:pt x="1497" y="1346"/>
                </a:lnTo>
                <a:lnTo>
                  <a:pt x="1516" y="1314"/>
                </a:lnTo>
                <a:lnTo>
                  <a:pt x="1533" y="1281"/>
                </a:lnTo>
                <a:lnTo>
                  <a:pt x="1549" y="1248"/>
                </a:lnTo>
                <a:lnTo>
                  <a:pt x="1565" y="1214"/>
                </a:lnTo>
                <a:lnTo>
                  <a:pt x="1579" y="1181"/>
                </a:lnTo>
                <a:lnTo>
                  <a:pt x="1592" y="1147"/>
                </a:lnTo>
                <a:lnTo>
                  <a:pt x="1605" y="1114"/>
                </a:lnTo>
                <a:lnTo>
                  <a:pt x="1618" y="1079"/>
                </a:lnTo>
                <a:lnTo>
                  <a:pt x="1629" y="1045"/>
                </a:lnTo>
                <a:lnTo>
                  <a:pt x="1639" y="1012"/>
                </a:lnTo>
                <a:lnTo>
                  <a:pt x="1649" y="978"/>
                </a:lnTo>
                <a:lnTo>
                  <a:pt x="1668" y="911"/>
                </a:lnTo>
                <a:lnTo>
                  <a:pt x="1683" y="845"/>
                </a:lnTo>
                <a:lnTo>
                  <a:pt x="1696" y="781"/>
                </a:lnTo>
                <a:lnTo>
                  <a:pt x="1707" y="719"/>
                </a:lnTo>
                <a:lnTo>
                  <a:pt x="1717" y="659"/>
                </a:lnTo>
                <a:lnTo>
                  <a:pt x="1724" y="602"/>
                </a:lnTo>
                <a:lnTo>
                  <a:pt x="1730" y="548"/>
                </a:lnTo>
                <a:lnTo>
                  <a:pt x="1734" y="498"/>
                </a:lnTo>
                <a:lnTo>
                  <a:pt x="1737" y="454"/>
                </a:lnTo>
                <a:lnTo>
                  <a:pt x="1739" y="413"/>
                </a:lnTo>
                <a:lnTo>
                  <a:pt x="1741" y="346"/>
                </a:lnTo>
                <a:lnTo>
                  <a:pt x="1741" y="305"/>
                </a:lnTo>
                <a:lnTo>
                  <a:pt x="1741" y="289"/>
                </a:lnTo>
                <a:lnTo>
                  <a:pt x="1741" y="289"/>
                </a:lnTo>
                <a:close/>
                <a:moveTo>
                  <a:pt x="1128" y="1219"/>
                </a:moveTo>
                <a:lnTo>
                  <a:pt x="881" y="1098"/>
                </a:lnTo>
                <a:lnTo>
                  <a:pt x="643" y="1233"/>
                </a:lnTo>
                <a:lnTo>
                  <a:pt x="682" y="962"/>
                </a:lnTo>
                <a:lnTo>
                  <a:pt x="480" y="775"/>
                </a:lnTo>
                <a:lnTo>
                  <a:pt x="750" y="728"/>
                </a:lnTo>
                <a:lnTo>
                  <a:pt x="864" y="479"/>
                </a:lnTo>
                <a:lnTo>
                  <a:pt x="993" y="721"/>
                </a:lnTo>
                <a:lnTo>
                  <a:pt x="1265" y="752"/>
                </a:lnTo>
                <a:lnTo>
                  <a:pt x="1074" y="950"/>
                </a:lnTo>
                <a:lnTo>
                  <a:pt x="1128" y="1219"/>
                </a:lnTo>
                <a:close/>
              </a:path>
            </a:pathLst>
          </a:custGeom>
          <a:solidFill>
            <a:srgbClr val="002855"/>
          </a:solidFill>
          <a:ln w="9525">
            <a:noFill/>
            <a:round/>
            <a:headEnd/>
            <a:tailEnd/>
          </a:ln>
          <a:effectLst/>
        </p:spPr>
        <p:txBody>
          <a:bodyPr vert="horz" wrap="square" lIns="68589" tIns="34295" rIns="68589" bIns="34295" numCol="1" anchor="t" anchorCtr="0" compatLnSpc="1">
            <a:prstTxWarp prst="textNoShape">
              <a:avLst/>
            </a:prstTxWarp>
          </a:bodyPr>
          <a:lstStyle/>
          <a:p>
            <a:endParaRPr lang="en-US" dirty="0">
              <a:latin typeface="CiscoSansTT Light"/>
              <a:cs typeface="CiscoSansTT Light"/>
            </a:endParaRPr>
          </a:p>
        </p:txBody>
      </p:sp>
      <p:grpSp>
        <p:nvGrpSpPr>
          <p:cNvPr id="121" name="Group 120"/>
          <p:cNvGrpSpPr>
            <a:grpSpLocks noChangeAspect="1"/>
          </p:cNvGrpSpPr>
          <p:nvPr/>
        </p:nvGrpSpPr>
        <p:grpSpPr>
          <a:xfrm>
            <a:off x="4663630" y="1809606"/>
            <a:ext cx="374414" cy="646048"/>
            <a:chOff x="12249151" y="6053138"/>
            <a:chExt cx="323850" cy="419100"/>
          </a:xfrm>
          <a:solidFill>
            <a:schemeClr val="bg2"/>
          </a:solidFill>
          <a:effectLst/>
        </p:grpSpPr>
        <p:sp>
          <p:nvSpPr>
            <p:cNvPr id="122" name="Freeform 164"/>
            <p:cNvSpPr>
              <a:spLocks noEditPoints="1"/>
            </p:cNvSpPr>
            <p:nvPr/>
          </p:nvSpPr>
          <p:spPr bwMode="auto">
            <a:xfrm>
              <a:off x="12430126" y="6151563"/>
              <a:ext cx="42863" cy="42863"/>
            </a:xfrm>
            <a:custGeom>
              <a:avLst/>
              <a:gdLst>
                <a:gd name="T0" fmla="*/ 147 w 191"/>
                <a:gd name="T1" fmla="*/ 15 h 191"/>
                <a:gd name="T2" fmla="*/ 130 w 191"/>
                <a:gd name="T3" fmla="*/ 6 h 191"/>
                <a:gd name="T4" fmla="*/ 112 w 191"/>
                <a:gd name="T5" fmla="*/ 1 h 191"/>
                <a:gd name="T6" fmla="*/ 94 w 191"/>
                <a:gd name="T7" fmla="*/ 0 h 191"/>
                <a:gd name="T8" fmla="*/ 75 w 191"/>
                <a:gd name="T9" fmla="*/ 2 h 191"/>
                <a:gd name="T10" fmla="*/ 58 w 191"/>
                <a:gd name="T11" fmla="*/ 8 h 191"/>
                <a:gd name="T12" fmla="*/ 42 w 191"/>
                <a:gd name="T13" fmla="*/ 16 h 191"/>
                <a:gd name="T14" fmla="*/ 27 w 191"/>
                <a:gd name="T15" fmla="*/ 29 h 191"/>
                <a:gd name="T16" fmla="*/ 15 w 191"/>
                <a:gd name="T17" fmla="*/ 44 h 191"/>
                <a:gd name="T18" fmla="*/ 10 w 191"/>
                <a:gd name="T19" fmla="*/ 52 h 191"/>
                <a:gd name="T20" fmla="*/ 4 w 191"/>
                <a:gd name="T21" fmla="*/ 70 h 191"/>
                <a:gd name="T22" fmla="*/ 0 w 191"/>
                <a:gd name="T23" fmla="*/ 89 h 191"/>
                <a:gd name="T24" fmla="*/ 1 w 191"/>
                <a:gd name="T25" fmla="*/ 107 h 191"/>
                <a:gd name="T26" fmla="*/ 5 w 191"/>
                <a:gd name="T27" fmla="*/ 125 h 191"/>
                <a:gd name="T28" fmla="*/ 12 w 191"/>
                <a:gd name="T29" fmla="*/ 142 h 191"/>
                <a:gd name="T30" fmla="*/ 22 w 191"/>
                <a:gd name="T31" fmla="*/ 157 h 191"/>
                <a:gd name="T32" fmla="*/ 37 w 191"/>
                <a:gd name="T33" fmla="*/ 171 h 191"/>
                <a:gd name="T34" fmla="*/ 44 w 191"/>
                <a:gd name="T35" fmla="*/ 176 h 191"/>
                <a:gd name="T36" fmla="*/ 61 w 191"/>
                <a:gd name="T37" fmla="*/ 185 h 191"/>
                <a:gd name="T38" fmla="*/ 80 w 191"/>
                <a:gd name="T39" fmla="*/ 190 h 191"/>
                <a:gd name="T40" fmla="*/ 98 w 191"/>
                <a:gd name="T41" fmla="*/ 191 h 191"/>
                <a:gd name="T42" fmla="*/ 116 w 191"/>
                <a:gd name="T43" fmla="*/ 189 h 191"/>
                <a:gd name="T44" fmla="*/ 134 w 191"/>
                <a:gd name="T45" fmla="*/ 183 h 191"/>
                <a:gd name="T46" fmla="*/ 150 w 191"/>
                <a:gd name="T47" fmla="*/ 175 h 191"/>
                <a:gd name="T48" fmla="*/ 164 w 191"/>
                <a:gd name="T49" fmla="*/ 162 h 191"/>
                <a:gd name="T50" fmla="*/ 177 w 191"/>
                <a:gd name="T51" fmla="*/ 147 h 191"/>
                <a:gd name="T52" fmla="*/ 181 w 191"/>
                <a:gd name="T53" fmla="*/ 139 h 191"/>
                <a:gd name="T54" fmla="*/ 188 w 191"/>
                <a:gd name="T55" fmla="*/ 121 h 191"/>
                <a:gd name="T56" fmla="*/ 191 w 191"/>
                <a:gd name="T57" fmla="*/ 102 h 191"/>
                <a:gd name="T58" fmla="*/ 191 w 191"/>
                <a:gd name="T59" fmla="*/ 84 h 191"/>
                <a:gd name="T60" fmla="*/ 187 w 191"/>
                <a:gd name="T61" fmla="*/ 66 h 191"/>
                <a:gd name="T62" fmla="*/ 180 w 191"/>
                <a:gd name="T63" fmla="*/ 49 h 191"/>
                <a:gd name="T64" fmla="*/ 169 w 191"/>
                <a:gd name="T65" fmla="*/ 34 h 191"/>
                <a:gd name="T66" fmla="*/ 155 w 191"/>
                <a:gd name="T67" fmla="*/ 20 h 191"/>
                <a:gd name="T68" fmla="*/ 147 w 191"/>
                <a:gd name="T69" fmla="*/ 15 h 191"/>
                <a:gd name="T70" fmla="*/ 132 w 191"/>
                <a:gd name="T71" fmla="*/ 119 h 191"/>
                <a:gd name="T72" fmla="*/ 120 w 191"/>
                <a:gd name="T73" fmla="*/ 131 h 191"/>
                <a:gd name="T74" fmla="*/ 105 w 191"/>
                <a:gd name="T75" fmla="*/ 138 h 191"/>
                <a:gd name="T76" fmla="*/ 89 w 191"/>
                <a:gd name="T77" fmla="*/ 138 h 191"/>
                <a:gd name="T78" fmla="*/ 72 w 191"/>
                <a:gd name="T79" fmla="*/ 132 h 191"/>
                <a:gd name="T80" fmla="*/ 65 w 191"/>
                <a:gd name="T81" fmla="*/ 127 h 191"/>
                <a:gd name="T82" fmla="*/ 56 w 191"/>
                <a:gd name="T83" fmla="*/ 112 h 191"/>
                <a:gd name="T84" fmla="*/ 52 w 191"/>
                <a:gd name="T85" fmla="*/ 97 h 191"/>
                <a:gd name="T86" fmla="*/ 55 w 191"/>
                <a:gd name="T87" fmla="*/ 80 h 191"/>
                <a:gd name="T88" fmla="*/ 59 w 191"/>
                <a:gd name="T89" fmla="*/ 72 h 191"/>
                <a:gd name="T90" fmla="*/ 71 w 191"/>
                <a:gd name="T91" fmla="*/ 60 h 191"/>
                <a:gd name="T92" fmla="*/ 87 w 191"/>
                <a:gd name="T93" fmla="*/ 53 h 191"/>
                <a:gd name="T94" fmla="*/ 103 w 191"/>
                <a:gd name="T95" fmla="*/ 53 h 191"/>
                <a:gd name="T96" fmla="*/ 119 w 191"/>
                <a:gd name="T97" fmla="*/ 59 h 191"/>
                <a:gd name="T98" fmla="*/ 126 w 191"/>
                <a:gd name="T99" fmla="*/ 64 h 191"/>
                <a:gd name="T100" fmla="*/ 136 w 191"/>
                <a:gd name="T101" fmla="*/ 79 h 191"/>
                <a:gd name="T102" fmla="*/ 139 w 191"/>
                <a:gd name="T103" fmla="*/ 95 h 191"/>
                <a:gd name="T104" fmla="*/ 136 w 191"/>
                <a:gd name="T105" fmla="*/ 111 h 191"/>
                <a:gd name="T106" fmla="*/ 132 w 191"/>
                <a:gd name="T107" fmla="*/ 11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1" h="191">
                  <a:moveTo>
                    <a:pt x="147" y="15"/>
                  </a:moveTo>
                  <a:lnTo>
                    <a:pt x="147" y="15"/>
                  </a:lnTo>
                  <a:lnTo>
                    <a:pt x="139" y="10"/>
                  </a:lnTo>
                  <a:lnTo>
                    <a:pt x="130" y="6"/>
                  </a:lnTo>
                  <a:lnTo>
                    <a:pt x="121" y="3"/>
                  </a:lnTo>
                  <a:lnTo>
                    <a:pt x="112" y="1"/>
                  </a:lnTo>
                  <a:lnTo>
                    <a:pt x="103" y="0"/>
                  </a:lnTo>
                  <a:lnTo>
                    <a:pt x="94" y="0"/>
                  </a:lnTo>
                  <a:lnTo>
                    <a:pt x="85" y="1"/>
                  </a:lnTo>
                  <a:lnTo>
                    <a:pt x="75" y="2"/>
                  </a:lnTo>
                  <a:lnTo>
                    <a:pt x="66" y="4"/>
                  </a:lnTo>
                  <a:lnTo>
                    <a:pt x="58" y="8"/>
                  </a:lnTo>
                  <a:lnTo>
                    <a:pt x="50" y="12"/>
                  </a:lnTo>
                  <a:lnTo>
                    <a:pt x="42" y="16"/>
                  </a:lnTo>
                  <a:lnTo>
                    <a:pt x="35" y="22"/>
                  </a:lnTo>
                  <a:lnTo>
                    <a:pt x="27" y="29"/>
                  </a:lnTo>
                  <a:lnTo>
                    <a:pt x="21" y="36"/>
                  </a:lnTo>
                  <a:lnTo>
                    <a:pt x="15" y="44"/>
                  </a:lnTo>
                  <a:lnTo>
                    <a:pt x="15" y="44"/>
                  </a:lnTo>
                  <a:lnTo>
                    <a:pt x="10" y="52"/>
                  </a:lnTo>
                  <a:lnTo>
                    <a:pt x="6" y="61"/>
                  </a:lnTo>
                  <a:lnTo>
                    <a:pt x="4" y="70"/>
                  </a:lnTo>
                  <a:lnTo>
                    <a:pt x="2" y="80"/>
                  </a:lnTo>
                  <a:lnTo>
                    <a:pt x="0" y="89"/>
                  </a:lnTo>
                  <a:lnTo>
                    <a:pt x="0" y="98"/>
                  </a:lnTo>
                  <a:lnTo>
                    <a:pt x="1" y="107"/>
                  </a:lnTo>
                  <a:lnTo>
                    <a:pt x="2" y="116"/>
                  </a:lnTo>
                  <a:lnTo>
                    <a:pt x="5" y="125"/>
                  </a:lnTo>
                  <a:lnTo>
                    <a:pt x="8" y="134"/>
                  </a:lnTo>
                  <a:lnTo>
                    <a:pt x="12" y="142"/>
                  </a:lnTo>
                  <a:lnTo>
                    <a:pt x="17" y="150"/>
                  </a:lnTo>
                  <a:lnTo>
                    <a:pt x="22" y="157"/>
                  </a:lnTo>
                  <a:lnTo>
                    <a:pt x="28" y="165"/>
                  </a:lnTo>
                  <a:lnTo>
                    <a:pt x="37" y="171"/>
                  </a:lnTo>
                  <a:lnTo>
                    <a:pt x="44" y="176"/>
                  </a:lnTo>
                  <a:lnTo>
                    <a:pt x="44" y="176"/>
                  </a:lnTo>
                  <a:lnTo>
                    <a:pt x="53" y="181"/>
                  </a:lnTo>
                  <a:lnTo>
                    <a:pt x="61" y="185"/>
                  </a:lnTo>
                  <a:lnTo>
                    <a:pt x="70" y="188"/>
                  </a:lnTo>
                  <a:lnTo>
                    <a:pt x="80" y="190"/>
                  </a:lnTo>
                  <a:lnTo>
                    <a:pt x="89" y="191"/>
                  </a:lnTo>
                  <a:lnTo>
                    <a:pt x="98" y="191"/>
                  </a:lnTo>
                  <a:lnTo>
                    <a:pt x="107" y="190"/>
                  </a:lnTo>
                  <a:lnTo>
                    <a:pt x="116" y="189"/>
                  </a:lnTo>
                  <a:lnTo>
                    <a:pt x="126" y="187"/>
                  </a:lnTo>
                  <a:lnTo>
                    <a:pt x="134" y="183"/>
                  </a:lnTo>
                  <a:lnTo>
                    <a:pt x="142" y="179"/>
                  </a:lnTo>
                  <a:lnTo>
                    <a:pt x="150" y="175"/>
                  </a:lnTo>
                  <a:lnTo>
                    <a:pt x="157" y="169"/>
                  </a:lnTo>
                  <a:lnTo>
                    <a:pt x="164" y="162"/>
                  </a:lnTo>
                  <a:lnTo>
                    <a:pt x="171" y="155"/>
                  </a:lnTo>
                  <a:lnTo>
                    <a:pt x="177" y="147"/>
                  </a:lnTo>
                  <a:lnTo>
                    <a:pt x="177" y="147"/>
                  </a:lnTo>
                  <a:lnTo>
                    <a:pt x="181" y="139"/>
                  </a:lnTo>
                  <a:lnTo>
                    <a:pt x="185" y="130"/>
                  </a:lnTo>
                  <a:lnTo>
                    <a:pt x="188" y="121"/>
                  </a:lnTo>
                  <a:lnTo>
                    <a:pt x="190" y="111"/>
                  </a:lnTo>
                  <a:lnTo>
                    <a:pt x="191" y="102"/>
                  </a:lnTo>
                  <a:lnTo>
                    <a:pt x="191" y="93"/>
                  </a:lnTo>
                  <a:lnTo>
                    <a:pt x="191" y="84"/>
                  </a:lnTo>
                  <a:lnTo>
                    <a:pt x="189" y="76"/>
                  </a:lnTo>
                  <a:lnTo>
                    <a:pt x="187" y="66"/>
                  </a:lnTo>
                  <a:lnTo>
                    <a:pt x="184" y="57"/>
                  </a:lnTo>
                  <a:lnTo>
                    <a:pt x="180" y="49"/>
                  </a:lnTo>
                  <a:lnTo>
                    <a:pt x="175" y="42"/>
                  </a:lnTo>
                  <a:lnTo>
                    <a:pt x="169" y="34"/>
                  </a:lnTo>
                  <a:lnTo>
                    <a:pt x="162" y="27"/>
                  </a:lnTo>
                  <a:lnTo>
                    <a:pt x="155" y="20"/>
                  </a:lnTo>
                  <a:lnTo>
                    <a:pt x="147" y="15"/>
                  </a:lnTo>
                  <a:lnTo>
                    <a:pt x="147" y="15"/>
                  </a:lnTo>
                  <a:close/>
                  <a:moveTo>
                    <a:pt x="132" y="119"/>
                  </a:moveTo>
                  <a:lnTo>
                    <a:pt x="132" y="119"/>
                  </a:lnTo>
                  <a:lnTo>
                    <a:pt x="127" y="126"/>
                  </a:lnTo>
                  <a:lnTo>
                    <a:pt x="120" y="131"/>
                  </a:lnTo>
                  <a:lnTo>
                    <a:pt x="113" y="135"/>
                  </a:lnTo>
                  <a:lnTo>
                    <a:pt x="105" y="138"/>
                  </a:lnTo>
                  <a:lnTo>
                    <a:pt x="97" y="139"/>
                  </a:lnTo>
                  <a:lnTo>
                    <a:pt x="89" y="138"/>
                  </a:lnTo>
                  <a:lnTo>
                    <a:pt x="81" y="136"/>
                  </a:lnTo>
                  <a:lnTo>
                    <a:pt x="72" y="132"/>
                  </a:lnTo>
                  <a:lnTo>
                    <a:pt x="72" y="132"/>
                  </a:lnTo>
                  <a:lnTo>
                    <a:pt x="65" y="127"/>
                  </a:lnTo>
                  <a:lnTo>
                    <a:pt x="60" y="121"/>
                  </a:lnTo>
                  <a:lnTo>
                    <a:pt x="56" y="112"/>
                  </a:lnTo>
                  <a:lnTo>
                    <a:pt x="53" y="105"/>
                  </a:lnTo>
                  <a:lnTo>
                    <a:pt x="52" y="97"/>
                  </a:lnTo>
                  <a:lnTo>
                    <a:pt x="53" y="88"/>
                  </a:lnTo>
                  <a:lnTo>
                    <a:pt x="55" y="80"/>
                  </a:lnTo>
                  <a:lnTo>
                    <a:pt x="59" y="72"/>
                  </a:lnTo>
                  <a:lnTo>
                    <a:pt x="59" y="72"/>
                  </a:lnTo>
                  <a:lnTo>
                    <a:pt x="65" y="65"/>
                  </a:lnTo>
                  <a:lnTo>
                    <a:pt x="71" y="60"/>
                  </a:lnTo>
                  <a:lnTo>
                    <a:pt x="78" y="56"/>
                  </a:lnTo>
                  <a:lnTo>
                    <a:pt x="87" y="53"/>
                  </a:lnTo>
                  <a:lnTo>
                    <a:pt x="95" y="52"/>
                  </a:lnTo>
                  <a:lnTo>
                    <a:pt x="103" y="53"/>
                  </a:lnTo>
                  <a:lnTo>
                    <a:pt x="111" y="55"/>
                  </a:lnTo>
                  <a:lnTo>
                    <a:pt x="119" y="59"/>
                  </a:lnTo>
                  <a:lnTo>
                    <a:pt x="119" y="59"/>
                  </a:lnTo>
                  <a:lnTo>
                    <a:pt x="126" y="64"/>
                  </a:lnTo>
                  <a:lnTo>
                    <a:pt x="132" y="71"/>
                  </a:lnTo>
                  <a:lnTo>
                    <a:pt x="136" y="79"/>
                  </a:lnTo>
                  <a:lnTo>
                    <a:pt x="138" y="87"/>
                  </a:lnTo>
                  <a:lnTo>
                    <a:pt x="139" y="95"/>
                  </a:lnTo>
                  <a:lnTo>
                    <a:pt x="138" y="103"/>
                  </a:lnTo>
                  <a:lnTo>
                    <a:pt x="136" y="111"/>
                  </a:lnTo>
                  <a:lnTo>
                    <a:pt x="132" y="119"/>
                  </a:lnTo>
                  <a:lnTo>
                    <a:pt x="132" y="1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u="none" strike="noStrike" kern="0" cap="none" spc="0" normalizeH="0" baseline="0" noProof="0">
                <a:ln>
                  <a:noFill/>
                </a:ln>
                <a:solidFill>
                  <a:sysClr val="windowText" lastClr="000000"/>
                </a:solidFill>
                <a:effectLst/>
                <a:uLnTx/>
                <a:uFillTx/>
                <a:latin typeface="CiscoSansTT Light"/>
                <a:cs typeface="CiscoSansTT Light"/>
              </a:endParaRPr>
            </a:p>
          </p:txBody>
        </p:sp>
        <p:sp>
          <p:nvSpPr>
            <p:cNvPr id="123" name="Freeform 165"/>
            <p:cNvSpPr>
              <a:spLocks noEditPoints="1"/>
            </p:cNvSpPr>
            <p:nvPr/>
          </p:nvSpPr>
          <p:spPr bwMode="auto">
            <a:xfrm>
              <a:off x="12303126" y="6183313"/>
              <a:ext cx="63500" cy="63500"/>
            </a:xfrm>
            <a:custGeom>
              <a:avLst/>
              <a:gdLst>
                <a:gd name="T0" fmla="*/ 126 w 281"/>
                <a:gd name="T1" fmla="*/ 1 h 280"/>
                <a:gd name="T2" fmla="*/ 86 w 281"/>
                <a:gd name="T3" fmla="*/ 11 h 280"/>
                <a:gd name="T4" fmla="*/ 51 w 281"/>
                <a:gd name="T5" fmla="*/ 32 h 280"/>
                <a:gd name="T6" fmla="*/ 24 w 281"/>
                <a:gd name="T7" fmla="*/ 62 h 280"/>
                <a:gd name="T8" fmla="*/ 6 w 281"/>
                <a:gd name="T9" fmla="*/ 98 h 280"/>
                <a:gd name="T10" fmla="*/ 0 w 281"/>
                <a:gd name="T11" fmla="*/ 140 h 280"/>
                <a:gd name="T12" fmla="*/ 3 w 281"/>
                <a:gd name="T13" fmla="*/ 169 h 280"/>
                <a:gd name="T14" fmla="*/ 17 w 281"/>
                <a:gd name="T15" fmla="*/ 207 h 280"/>
                <a:gd name="T16" fmla="*/ 41 w 281"/>
                <a:gd name="T17" fmla="*/ 239 h 280"/>
                <a:gd name="T18" fmla="*/ 74 w 281"/>
                <a:gd name="T19" fmla="*/ 263 h 280"/>
                <a:gd name="T20" fmla="*/ 112 w 281"/>
                <a:gd name="T21" fmla="*/ 277 h 280"/>
                <a:gd name="T22" fmla="*/ 140 w 281"/>
                <a:gd name="T23" fmla="*/ 280 h 280"/>
                <a:gd name="T24" fmla="*/ 181 w 281"/>
                <a:gd name="T25" fmla="*/ 274 h 280"/>
                <a:gd name="T26" fmla="*/ 218 w 281"/>
                <a:gd name="T27" fmla="*/ 256 h 280"/>
                <a:gd name="T28" fmla="*/ 248 w 281"/>
                <a:gd name="T29" fmla="*/ 229 h 280"/>
                <a:gd name="T30" fmla="*/ 269 w 281"/>
                <a:gd name="T31" fmla="*/ 194 h 280"/>
                <a:gd name="T32" fmla="*/ 280 w 281"/>
                <a:gd name="T33" fmla="*/ 154 h 280"/>
                <a:gd name="T34" fmla="*/ 280 w 281"/>
                <a:gd name="T35" fmla="*/ 126 h 280"/>
                <a:gd name="T36" fmla="*/ 269 w 281"/>
                <a:gd name="T37" fmla="*/ 86 h 280"/>
                <a:gd name="T38" fmla="*/ 248 w 281"/>
                <a:gd name="T39" fmla="*/ 51 h 280"/>
                <a:gd name="T40" fmla="*/ 218 w 281"/>
                <a:gd name="T41" fmla="*/ 24 h 280"/>
                <a:gd name="T42" fmla="*/ 181 w 281"/>
                <a:gd name="T43" fmla="*/ 6 h 280"/>
                <a:gd name="T44" fmla="*/ 140 w 281"/>
                <a:gd name="T45" fmla="*/ 0 h 280"/>
                <a:gd name="T46" fmla="*/ 140 w 281"/>
                <a:gd name="T47" fmla="*/ 219 h 280"/>
                <a:gd name="T48" fmla="*/ 117 w 281"/>
                <a:gd name="T49" fmla="*/ 216 h 280"/>
                <a:gd name="T50" fmla="*/ 96 w 281"/>
                <a:gd name="T51" fmla="*/ 206 h 280"/>
                <a:gd name="T52" fmla="*/ 79 w 281"/>
                <a:gd name="T53" fmla="*/ 190 h 280"/>
                <a:gd name="T54" fmla="*/ 67 w 281"/>
                <a:gd name="T55" fmla="*/ 171 h 280"/>
                <a:gd name="T56" fmla="*/ 62 w 281"/>
                <a:gd name="T57" fmla="*/ 148 h 280"/>
                <a:gd name="T58" fmla="*/ 62 w 281"/>
                <a:gd name="T59" fmla="*/ 132 h 280"/>
                <a:gd name="T60" fmla="*/ 67 w 281"/>
                <a:gd name="T61" fmla="*/ 109 h 280"/>
                <a:gd name="T62" fmla="*/ 79 w 281"/>
                <a:gd name="T63" fmla="*/ 90 h 280"/>
                <a:gd name="T64" fmla="*/ 96 w 281"/>
                <a:gd name="T65" fmla="*/ 75 h 280"/>
                <a:gd name="T66" fmla="*/ 117 w 281"/>
                <a:gd name="T67" fmla="*/ 64 h 280"/>
                <a:gd name="T68" fmla="*/ 140 w 281"/>
                <a:gd name="T69" fmla="*/ 61 h 280"/>
                <a:gd name="T70" fmla="*/ 156 w 281"/>
                <a:gd name="T71" fmla="*/ 62 h 280"/>
                <a:gd name="T72" fmla="*/ 178 w 281"/>
                <a:gd name="T73" fmla="*/ 71 h 280"/>
                <a:gd name="T74" fmla="*/ 196 w 281"/>
                <a:gd name="T75" fmla="*/ 84 h 280"/>
                <a:gd name="T76" fmla="*/ 210 w 281"/>
                <a:gd name="T77" fmla="*/ 102 h 280"/>
                <a:gd name="T78" fmla="*/ 218 w 281"/>
                <a:gd name="T79" fmla="*/ 124 h 280"/>
                <a:gd name="T80" fmla="*/ 219 w 281"/>
                <a:gd name="T81" fmla="*/ 140 h 280"/>
                <a:gd name="T82" fmla="*/ 216 w 281"/>
                <a:gd name="T83" fmla="*/ 164 h 280"/>
                <a:gd name="T84" fmla="*/ 206 w 281"/>
                <a:gd name="T85" fmla="*/ 184 h 280"/>
                <a:gd name="T86" fmla="*/ 191 w 281"/>
                <a:gd name="T87" fmla="*/ 201 h 280"/>
                <a:gd name="T88" fmla="*/ 171 w 281"/>
                <a:gd name="T89" fmla="*/ 213 h 280"/>
                <a:gd name="T90" fmla="*/ 149 w 281"/>
                <a:gd name="T91" fmla="*/ 21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1" h="280">
                  <a:moveTo>
                    <a:pt x="140" y="0"/>
                  </a:moveTo>
                  <a:lnTo>
                    <a:pt x="140" y="0"/>
                  </a:lnTo>
                  <a:lnTo>
                    <a:pt x="126" y="1"/>
                  </a:lnTo>
                  <a:lnTo>
                    <a:pt x="112" y="3"/>
                  </a:lnTo>
                  <a:lnTo>
                    <a:pt x="98" y="6"/>
                  </a:lnTo>
                  <a:lnTo>
                    <a:pt x="86" y="11"/>
                  </a:lnTo>
                  <a:lnTo>
                    <a:pt x="74" y="17"/>
                  </a:lnTo>
                  <a:lnTo>
                    <a:pt x="62" y="24"/>
                  </a:lnTo>
                  <a:lnTo>
                    <a:pt x="51" y="32"/>
                  </a:lnTo>
                  <a:lnTo>
                    <a:pt x="41" y="41"/>
                  </a:lnTo>
                  <a:lnTo>
                    <a:pt x="32" y="51"/>
                  </a:lnTo>
                  <a:lnTo>
                    <a:pt x="24" y="62"/>
                  </a:lnTo>
                  <a:lnTo>
                    <a:pt x="17" y="74"/>
                  </a:lnTo>
                  <a:lnTo>
                    <a:pt x="12" y="86"/>
                  </a:lnTo>
                  <a:lnTo>
                    <a:pt x="6" y="98"/>
                  </a:lnTo>
                  <a:lnTo>
                    <a:pt x="3" y="111"/>
                  </a:lnTo>
                  <a:lnTo>
                    <a:pt x="1" y="126"/>
                  </a:lnTo>
                  <a:lnTo>
                    <a:pt x="0" y="140"/>
                  </a:lnTo>
                  <a:lnTo>
                    <a:pt x="0" y="140"/>
                  </a:lnTo>
                  <a:lnTo>
                    <a:pt x="1" y="154"/>
                  </a:lnTo>
                  <a:lnTo>
                    <a:pt x="3" y="169"/>
                  </a:lnTo>
                  <a:lnTo>
                    <a:pt x="6" y="182"/>
                  </a:lnTo>
                  <a:lnTo>
                    <a:pt x="12" y="194"/>
                  </a:lnTo>
                  <a:lnTo>
                    <a:pt x="17" y="207"/>
                  </a:lnTo>
                  <a:lnTo>
                    <a:pt x="24" y="218"/>
                  </a:lnTo>
                  <a:lnTo>
                    <a:pt x="32" y="229"/>
                  </a:lnTo>
                  <a:lnTo>
                    <a:pt x="41" y="239"/>
                  </a:lnTo>
                  <a:lnTo>
                    <a:pt x="51" y="248"/>
                  </a:lnTo>
                  <a:lnTo>
                    <a:pt x="62" y="256"/>
                  </a:lnTo>
                  <a:lnTo>
                    <a:pt x="74" y="263"/>
                  </a:lnTo>
                  <a:lnTo>
                    <a:pt x="86" y="269"/>
                  </a:lnTo>
                  <a:lnTo>
                    <a:pt x="98" y="274"/>
                  </a:lnTo>
                  <a:lnTo>
                    <a:pt x="112" y="277"/>
                  </a:lnTo>
                  <a:lnTo>
                    <a:pt x="126" y="279"/>
                  </a:lnTo>
                  <a:lnTo>
                    <a:pt x="140" y="280"/>
                  </a:lnTo>
                  <a:lnTo>
                    <a:pt x="140" y="280"/>
                  </a:lnTo>
                  <a:lnTo>
                    <a:pt x="155" y="279"/>
                  </a:lnTo>
                  <a:lnTo>
                    <a:pt x="168" y="277"/>
                  </a:lnTo>
                  <a:lnTo>
                    <a:pt x="181" y="274"/>
                  </a:lnTo>
                  <a:lnTo>
                    <a:pt x="195" y="269"/>
                  </a:lnTo>
                  <a:lnTo>
                    <a:pt x="207" y="263"/>
                  </a:lnTo>
                  <a:lnTo>
                    <a:pt x="218" y="256"/>
                  </a:lnTo>
                  <a:lnTo>
                    <a:pt x="229" y="248"/>
                  </a:lnTo>
                  <a:lnTo>
                    <a:pt x="240" y="239"/>
                  </a:lnTo>
                  <a:lnTo>
                    <a:pt x="248" y="229"/>
                  </a:lnTo>
                  <a:lnTo>
                    <a:pt x="256" y="218"/>
                  </a:lnTo>
                  <a:lnTo>
                    <a:pt x="263" y="207"/>
                  </a:lnTo>
                  <a:lnTo>
                    <a:pt x="269" y="194"/>
                  </a:lnTo>
                  <a:lnTo>
                    <a:pt x="273" y="182"/>
                  </a:lnTo>
                  <a:lnTo>
                    <a:pt x="277" y="169"/>
                  </a:lnTo>
                  <a:lnTo>
                    <a:pt x="280" y="154"/>
                  </a:lnTo>
                  <a:lnTo>
                    <a:pt x="281" y="140"/>
                  </a:lnTo>
                  <a:lnTo>
                    <a:pt x="281" y="140"/>
                  </a:lnTo>
                  <a:lnTo>
                    <a:pt x="280" y="126"/>
                  </a:lnTo>
                  <a:lnTo>
                    <a:pt x="277" y="111"/>
                  </a:lnTo>
                  <a:lnTo>
                    <a:pt x="273" y="98"/>
                  </a:lnTo>
                  <a:lnTo>
                    <a:pt x="269" y="86"/>
                  </a:lnTo>
                  <a:lnTo>
                    <a:pt x="263" y="74"/>
                  </a:lnTo>
                  <a:lnTo>
                    <a:pt x="256" y="62"/>
                  </a:lnTo>
                  <a:lnTo>
                    <a:pt x="248" y="51"/>
                  </a:lnTo>
                  <a:lnTo>
                    <a:pt x="240" y="41"/>
                  </a:lnTo>
                  <a:lnTo>
                    <a:pt x="229" y="32"/>
                  </a:lnTo>
                  <a:lnTo>
                    <a:pt x="218" y="24"/>
                  </a:lnTo>
                  <a:lnTo>
                    <a:pt x="207" y="17"/>
                  </a:lnTo>
                  <a:lnTo>
                    <a:pt x="195" y="11"/>
                  </a:lnTo>
                  <a:lnTo>
                    <a:pt x="181" y="6"/>
                  </a:lnTo>
                  <a:lnTo>
                    <a:pt x="168" y="3"/>
                  </a:lnTo>
                  <a:lnTo>
                    <a:pt x="155" y="1"/>
                  </a:lnTo>
                  <a:lnTo>
                    <a:pt x="140" y="0"/>
                  </a:lnTo>
                  <a:lnTo>
                    <a:pt x="140" y="0"/>
                  </a:lnTo>
                  <a:close/>
                  <a:moveTo>
                    <a:pt x="140" y="219"/>
                  </a:moveTo>
                  <a:lnTo>
                    <a:pt x="140" y="219"/>
                  </a:lnTo>
                  <a:lnTo>
                    <a:pt x="132" y="219"/>
                  </a:lnTo>
                  <a:lnTo>
                    <a:pt x="124" y="218"/>
                  </a:lnTo>
                  <a:lnTo>
                    <a:pt x="117" y="216"/>
                  </a:lnTo>
                  <a:lnTo>
                    <a:pt x="110" y="213"/>
                  </a:lnTo>
                  <a:lnTo>
                    <a:pt x="103" y="210"/>
                  </a:lnTo>
                  <a:lnTo>
                    <a:pt x="96" y="206"/>
                  </a:lnTo>
                  <a:lnTo>
                    <a:pt x="90" y="201"/>
                  </a:lnTo>
                  <a:lnTo>
                    <a:pt x="84" y="196"/>
                  </a:lnTo>
                  <a:lnTo>
                    <a:pt x="79" y="190"/>
                  </a:lnTo>
                  <a:lnTo>
                    <a:pt x="75" y="184"/>
                  </a:lnTo>
                  <a:lnTo>
                    <a:pt x="71" y="178"/>
                  </a:lnTo>
                  <a:lnTo>
                    <a:pt x="67" y="171"/>
                  </a:lnTo>
                  <a:lnTo>
                    <a:pt x="65" y="164"/>
                  </a:lnTo>
                  <a:lnTo>
                    <a:pt x="63" y="156"/>
                  </a:lnTo>
                  <a:lnTo>
                    <a:pt x="62" y="148"/>
                  </a:lnTo>
                  <a:lnTo>
                    <a:pt x="61" y="140"/>
                  </a:lnTo>
                  <a:lnTo>
                    <a:pt x="61" y="140"/>
                  </a:lnTo>
                  <a:lnTo>
                    <a:pt x="62" y="132"/>
                  </a:lnTo>
                  <a:lnTo>
                    <a:pt x="63" y="124"/>
                  </a:lnTo>
                  <a:lnTo>
                    <a:pt x="65" y="117"/>
                  </a:lnTo>
                  <a:lnTo>
                    <a:pt x="67" y="109"/>
                  </a:lnTo>
                  <a:lnTo>
                    <a:pt x="71" y="102"/>
                  </a:lnTo>
                  <a:lnTo>
                    <a:pt x="75" y="96"/>
                  </a:lnTo>
                  <a:lnTo>
                    <a:pt x="79" y="90"/>
                  </a:lnTo>
                  <a:lnTo>
                    <a:pt x="84" y="84"/>
                  </a:lnTo>
                  <a:lnTo>
                    <a:pt x="90" y="79"/>
                  </a:lnTo>
                  <a:lnTo>
                    <a:pt x="96" y="75"/>
                  </a:lnTo>
                  <a:lnTo>
                    <a:pt x="103" y="71"/>
                  </a:lnTo>
                  <a:lnTo>
                    <a:pt x="110" y="67"/>
                  </a:lnTo>
                  <a:lnTo>
                    <a:pt x="117" y="64"/>
                  </a:lnTo>
                  <a:lnTo>
                    <a:pt x="124" y="62"/>
                  </a:lnTo>
                  <a:lnTo>
                    <a:pt x="132" y="61"/>
                  </a:lnTo>
                  <a:lnTo>
                    <a:pt x="140" y="61"/>
                  </a:lnTo>
                  <a:lnTo>
                    <a:pt x="140" y="61"/>
                  </a:lnTo>
                  <a:lnTo>
                    <a:pt x="149" y="61"/>
                  </a:lnTo>
                  <a:lnTo>
                    <a:pt x="156" y="62"/>
                  </a:lnTo>
                  <a:lnTo>
                    <a:pt x="164" y="64"/>
                  </a:lnTo>
                  <a:lnTo>
                    <a:pt x="171" y="67"/>
                  </a:lnTo>
                  <a:lnTo>
                    <a:pt x="178" y="71"/>
                  </a:lnTo>
                  <a:lnTo>
                    <a:pt x="184" y="75"/>
                  </a:lnTo>
                  <a:lnTo>
                    <a:pt x="191" y="79"/>
                  </a:lnTo>
                  <a:lnTo>
                    <a:pt x="196" y="84"/>
                  </a:lnTo>
                  <a:lnTo>
                    <a:pt x="201" y="90"/>
                  </a:lnTo>
                  <a:lnTo>
                    <a:pt x="206" y="96"/>
                  </a:lnTo>
                  <a:lnTo>
                    <a:pt x="210" y="102"/>
                  </a:lnTo>
                  <a:lnTo>
                    <a:pt x="213" y="109"/>
                  </a:lnTo>
                  <a:lnTo>
                    <a:pt x="216" y="117"/>
                  </a:lnTo>
                  <a:lnTo>
                    <a:pt x="218" y="124"/>
                  </a:lnTo>
                  <a:lnTo>
                    <a:pt x="219" y="132"/>
                  </a:lnTo>
                  <a:lnTo>
                    <a:pt x="219" y="140"/>
                  </a:lnTo>
                  <a:lnTo>
                    <a:pt x="219" y="140"/>
                  </a:lnTo>
                  <a:lnTo>
                    <a:pt x="219" y="148"/>
                  </a:lnTo>
                  <a:lnTo>
                    <a:pt x="218" y="156"/>
                  </a:lnTo>
                  <a:lnTo>
                    <a:pt x="216" y="164"/>
                  </a:lnTo>
                  <a:lnTo>
                    <a:pt x="213" y="171"/>
                  </a:lnTo>
                  <a:lnTo>
                    <a:pt x="210" y="178"/>
                  </a:lnTo>
                  <a:lnTo>
                    <a:pt x="206" y="184"/>
                  </a:lnTo>
                  <a:lnTo>
                    <a:pt x="201" y="190"/>
                  </a:lnTo>
                  <a:lnTo>
                    <a:pt x="196" y="196"/>
                  </a:lnTo>
                  <a:lnTo>
                    <a:pt x="191" y="201"/>
                  </a:lnTo>
                  <a:lnTo>
                    <a:pt x="184" y="206"/>
                  </a:lnTo>
                  <a:lnTo>
                    <a:pt x="178" y="210"/>
                  </a:lnTo>
                  <a:lnTo>
                    <a:pt x="171" y="213"/>
                  </a:lnTo>
                  <a:lnTo>
                    <a:pt x="164" y="216"/>
                  </a:lnTo>
                  <a:lnTo>
                    <a:pt x="156" y="218"/>
                  </a:lnTo>
                  <a:lnTo>
                    <a:pt x="149" y="219"/>
                  </a:lnTo>
                  <a:lnTo>
                    <a:pt x="140" y="219"/>
                  </a:lnTo>
                  <a:lnTo>
                    <a:pt x="140" y="2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u="none" strike="noStrike" kern="0" cap="none" spc="0" normalizeH="0" baseline="0" noProof="0">
                <a:ln>
                  <a:noFill/>
                </a:ln>
                <a:solidFill>
                  <a:sysClr val="windowText" lastClr="000000"/>
                </a:solidFill>
                <a:effectLst/>
                <a:uLnTx/>
                <a:uFillTx/>
                <a:latin typeface="CiscoSansTT Light"/>
                <a:cs typeface="CiscoSansTT Light"/>
              </a:endParaRPr>
            </a:p>
          </p:txBody>
        </p:sp>
        <p:sp>
          <p:nvSpPr>
            <p:cNvPr id="124" name="Freeform 166"/>
            <p:cNvSpPr>
              <a:spLocks noEditPoints="1"/>
            </p:cNvSpPr>
            <p:nvPr/>
          </p:nvSpPr>
          <p:spPr bwMode="auto">
            <a:xfrm>
              <a:off x="12360276" y="6084888"/>
              <a:ext cx="39688" cy="41275"/>
            </a:xfrm>
            <a:custGeom>
              <a:avLst/>
              <a:gdLst>
                <a:gd name="T0" fmla="*/ 90 w 180"/>
                <a:gd name="T1" fmla="*/ 0 h 179"/>
                <a:gd name="T2" fmla="*/ 71 w 180"/>
                <a:gd name="T3" fmla="*/ 1 h 179"/>
                <a:gd name="T4" fmla="*/ 54 w 180"/>
                <a:gd name="T5" fmla="*/ 8 h 179"/>
                <a:gd name="T6" fmla="*/ 40 w 180"/>
                <a:gd name="T7" fmla="*/ 16 h 179"/>
                <a:gd name="T8" fmla="*/ 26 w 180"/>
                <a:gd name="T9" fmla="*/ 26 h 179"/>
                <a:gd name="T10" fmla="*/ 15 w 180"/>
                <a:gd name="T11" fmla="*/ 39 h 179"/>
                <a:gd name="T12" fmla="*/ 7 w 180"/>
                <a:gd name="T13" fmla="*/ 55 h 179"/>
                <a:gd name="T14" fmla="*/ 2 w 180"/>
                <a:gd name="T15" fmla="*/ 72 h 179"/>
                <a:gd name="T16" fmla="*/ 0 w 180"/>
                <a:gd name="T17" fmla="*/ 89 h 179"/>
                <a:gd name="T18" fmla="*/ 0 w 180"/>
                <a:gd name="T19" fmla="*/ 99 h 179"/>
                <a:gd name="T20" fmla="*/ 4 w 180"/>
                <a:gd name="T21" fmla="*/ 117 h 179"/>
                <a:gd name="T22" fmla="*/ 10 w 180"/>
                <a:gd name="T23" fmla="*/ 132 h 179"/>
                <a:gd name="T24" fmla="*/ 20 w 180"/>
                <a:gd name="T25" fmla="*/ 147 h 179"/>
                <a:gd name="T26" fmla="*/ 33 w 180"/>
                <a:gd name="T27" fmla="*/ 159 h 179"/>
                <a:gd name="T28" fmla="*/ 47 w 180"/>
                <a:gd name="T29" fmla="*/ 169 h 179"/>
                <a:gd name="T30" fmla="*/ 63 w 180"/>
                <a:gd name="T31" fmla="*/ 175 h 179"/>
                <a:gd name="T32" fmla="*/ 81 w 180"/>
                <a:gd name="T33" fmla="*/ 179 h 179"/>
                <a:gd name="T34" fmla="*/ 90 w 180"/>
                <a:gd name="T35" fmla="*/ 179 h 179"/>
                <a:gd name="T36" fmla="*/ 107 w 180"/>
                <a:gd name="T37" fmla="*/ 178 h 179"/>
                <a:gd name="T38" fmla="*/ 125 w 180"/>
                <a:gd name="T39" fmla="*/ 173 h 179"/>
                <a:gd name="T40" fmla="*/ 140 w 180"/>
                <a:gd name="T41" fmla="*/ 164 h 179"/>
                <a:gd name="T42" fmla="*/ 153 w 180"/>
                <a:gd name="T43" fmla="*/ 154 h 179"/>
                <a:gd name="T44" fmla="*/ 165 w 180"/>
                <a:gd name="T45" fmla="*/ 140 h 179"/>
                <a:gd name="T46" fmla="*/ 173 w 180"/>
                <a:gd name="T47" fmla="*/ 125 h 179"/>
                <a:gd name="T48" fmla="*/ 178 w 180"/>
                <a:gd name="T49" fmla="*/ 108 h 179"/>
                <a:gd name="T50" fmla="*/ 180 w 180"/>
                <a:gd name="T51" fmla="*/ 89 h 179"/>
                <a:gd name="T52" fmla="*/ 179 w 180"/>
                <a:gd name="T53" fmla="*/ 81 h 179"/>
                <a:gd name="T54" fmla="*/ 176 w 180"/>
                <a:gd name="T55" fmla="*/ 63 h 179"/>
                <a:gd name="T56" fmla="*/ 169 w 180"/>
                <a:gd name="T57" fmla="*/ 47 h 179"/>
                <a:gd name="T58" fmla="*/ 159 w 180"/>
                <a:gd name="T59" fmla="*/ 33 h 179"/>
                <a:gd name="T60" fmla="*/ 147 w 180"/>
                <a:gd name="T61" fmla="*/ 21 h 179"/>
                <a:gd name="T62" fmla="*/ 133 w 180"/>
                <a:gd name="T63" fmla="*/ 11 h 179"/>
                <a:gd name="T64" fmla="*/ 116 w 180"/>
                <a:gd name="T65" fmla="*/ 4 h 179"/>
                <a:gd name="T66" fmla="*/ 99 w 180"/>
                <a:gd name="T67" fmla="*/ 0 h 179"/>
                <a:gd name="T68" fmla="*/ 90 w 180"/>
                <a:gd name="T69" fmla="*/ 0 h 179"/>
                <a:gd name="T70" fmla="*/ 90 w 180"/>
                <a:gd name="T71" fmla="*/ 130 h 179"/>
                <a:gd name="T72" fmla="*/ 73 w 180"/>
                <a:gd name="T73" fmla="*/ 127 h 179"/>
                <a:gd name="T74" fmla="*/ 61 w 180"/>
                <a:gd name="T75" fmla="*/ 119 h 179"/>
                <a:gd name="T76" fmla="*/ 52 w 180"/>
                <a:gd name="T77" fmla="*/ 106 h 179"/>
                <a:gd name="T78" fmla="*/ 49 w 180"/>
                <a:gd name="T79" fmla="*/ 89 h 179"/>
                <a:gd name="T80" fmla="*/ 50 w 180"/>
                <a:gd name="T81" fmla="*/ 81 h 179"/>
                <a:gd name="T82" fmla="*/ 56 w 180"/>
                <a:gd name="T83" fmla="*/ 67 h 179"/>
                <a:gd name="T84" fmla="*/ 67 w 180"/>
                <a:gd name="T85" fmla="*/ 57 h 179"/>
                <a:gd name="T86" fmla="*/ 82 w 180"/>
                <a:gd name="T87" fmla="*/ 50 h 179"/>
                <a:gd name="T88" fmla="*/ 90 w 180"/>
                <a:gd name="T89" fmla="*/ 49 h 179"/>
                <a:gd name="T90" fmla="*/ 105 w 180"/>
                <a:gd name="T91" fmla="*/ 53 h 179"/>
                <a:gd name="T92" fmla="*/ 118 w 180"/>
                <a:gd name="T93" fmla="*/ 61 h 179"/>
                <a:gd name="T94" fmla="*/ 127 w 180"/>
                <a:gd name="T95" fmla="*/ 74 h 179"/>
                <a:gd name="T96" fmla="*/ 130 w 180"/>
                <a:gd name="T97" fmla="*/ 89 h 179"/>
                <a:gd name="T98" fmla="*/ 130 w 180"/>
                <a:gd name="T99" fmla="*/ 99 h 179"/>
                <a:gd name="T100" fmla="*/ 124 w 180"/>
                <a:gd name="T101" fmla="*/ 113 h 179"/>
                <a:gd name="T102" fmla="*/ 112 w 180"/>
                <a:gd name="T103" fmla="*/ 123 h 179"/>
                <a:gd name="T104" fmla="*/ 98 w 180"/>
                <a:gd name="T105" fmla="*/ 129 h 179"/>
                <a:gd name="T106" fmla="*/ 90 w 180"/>
                <a:gd name="T107" fmla="*/ 13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0" h="179">
                  <a:moveTo>
                    <a:pt x="90" y="0"/>
                  </a:moveTo>
                  <a:lnTo>
                    <a:pt x="90" y="0"/>
                  </a:lnTo>
                  <a:lnTo>
                    <a:pt x="81" y="0"/>
                  </a:lnTo>
                  <a:lnTo>
                    <a:pt x="71" y="1"/>
                  </a:lnTo>
                  <a:lnTo>
                    <a:pt x="63" y="4"/>
                  </a:lnTo>
                  <a:lnTo>
                    <a:pt x="54" y="8"/>
                  </a:lnTo>
                  <a:lnTo>
                    <a:pt x="47" y="11"/>
                  </a:lnTo>
                  <a:lnTo>
                    <a:pt x="40" y="16"/>
                  </a:lnTo>
                  <a:lnTo>
                    <a:pt x="33" y="21"/>
                  </a:lnTo>
                  <a:lnTo>
                    <a:pt x="26" y="26"/>
                  </a:lnTo>
                  <a:lnTo>
                    <a:pt x="20" y="33"/>
                  </a:lnTo>
                  <a:lnTo>
                    <a:pt x="15" y="39"/>
                  </a:lnTo>
                  <a:lnTo>
                    <a:pt x="10" y="47"/>
                  </a:lnTo>
                  <a:lnTo>
                    <a:pt x="7" y="55"/>
                  </a:lnTo>
                  <a:lnTo>
                    <a:pt x="4" y="63"/>
                  </a:lnTo>
                  <a:lnTo>
                    <a:pt x="2" y="72"/>
                  </a:lnTo>
                  <a:lnTo>
                    <a:pt x="0" y="81"/>
                  </a:lnTo>
                  <a:lnTo>
                    <a:pt x="0" y="89"/>
                  </a:lnTo>
                  <a:lnTo>
                    <a:pt x="0" y="89"/>
                  </a:lnTo>
                  <a:lnTo>
                    <a:pt x="0" y="99"/>
                  </a:lnTo>
                  <a:lnTo>
                    <a:pt x="2" y="108"/>
                  </a:lnTo>
                  <a:lnTo>
                    <a:pt x="4" y="117"/>
                  </a:lnTo>
                  <a:lnTo>
                    <a:pt x="7" y="125"/>
                  </a:lnTo>
                  <a:lnTo>
                    <a:pt x="10" y="132"/>
                  </a:lnTo>
                  <a:lnTo>
                    <a:pt x="15" y="140"/>
                  </a:lnTo>
                  <a:lnTo>
                    <a:pt x="20" y="147"/>
                  </a:lnTo>
                  <a:lnTo>
                    <a:pt x="26" y="154"/>
                  </a:lnTo>
                  <a:lnTo>
                    <a:pt x="33" y="159"/>
                  </a:lnTo>
                  <a:lnTo>
                    <a:pt x="40" y="164"/>
                  </a:lnTo>
                  <a:lnTo>
                    <a:pt x="47" y="169"/>
                  </a:lnTo>
                  <a:lnTo>
                    <a:pt x="54" y="173"/>
                  </a:lnTo>
                  <a:lnTo>
                    <a:pt x="63" y="175"/>
                  </a:lnTo>
                  <a:lnTo>
                    <a:pt x="71" y="178"/>
                  </a:lnTo>
                  <a:lnTo>
                    <a:pt x="81" y="179"/>
                  </a:lnTo>
                  <a:lnTo>
                    <a:pt x="90" y="179"/>
                  </a:lnTo>
                  <a:lnTo>
                    <a:pt x="90" y="179"/>
                  </a:lnTo>
                  <a:lnTo>
                    <a:pt x="99" y="179"/>
                  </a:lnTo>
                  <a:lnTo>
                    <a:pt x="107" y="178"/>
                  </a:lnTo>
                  <a:lnTo>
                    <a:pt x="116" y="175"/>
                  </a:lnTo>
                  <a:lnTo>
                    <a:pt x="125" y="173"/>
                  </a:lnTo>
                  <a:lnTo>
                    <a:pt x="133" y="169"/>
                  </a:lnTo>
                  <a:lnTo>
                    <a:pt x="140" y="164"/>
                  </a:lnTo>
                  <a:lnTo>
                    <a:pt x="147" y="159"/>
                  </a:lnTo>
                  <a:lnTo>
                    <a:pt x="153" y="154"/>
                  </a:lnTo>
                  <a:lnTo>
                    <a:pt x="159" y="147"/>
                  </a:lnTo>
                  <a:lnTo>
                    <a:pt x="165" y="140"/>
                  </a:lnTo>
                  <a:lnTo>
                    <a:pt x="169" y="132"/>
                  </a:lnTo>
                  <a:lnTo>
                    <a:pt x="173" y="125"/>
                  </a:lnTo>
                  <a:lnTo>
                    <a:pt x="176" y="117"/>
                  </a:lnTo>
                  <a:lnTo>
                    <a:pt x="178" y="108"/>
                  </a:lnTo>
                  <a:lnTo>
                    <a:pt x="179" y="99"/>
                  </a:lnTo>
                  <a:lnTo>
                    <a:pt x="180" y="89"/>
                  </a:lnTo>
                  <a:lnTo>
                    <a:pt x="180" y="89"/>
                  </a:lnTo>
                  <a:lnTo>
                    <a:pt x="179" y="81"/>
                  </a:lnTo>
                  <a:lnTo>
                    <a:pt x="178" y="72"/>
                  </a:lnTo>
                  <a:lnTo>
                    <a:pt x="176" y="63"/>
                  </a:lnTo>
                  <a:lnTo>
                    <a:pt x="173" y="55"/>
                  </a:lnTo>
                  <a:lnTo>
                    <a:pt x="169" y="47"/>
                  </a:lnTo>
                  <a:lnTo>
                    <a:pt x="165" y="39"/>
                  </a:lnTo>
                  <a:lnTo>
                    <a:pt x="159" y="33"/>
                  </a:lnTo>
                  <a:lnTo>
                    <a:pt x="153" y="26"/>
                  </a:lnTo>
                  <a:lnTo>
                    <a:pt x="147" y="21"/>
                  </a:lnTo>
                  <a:lnTo>
                    <a:pt x="140" y="16"/>
                  </a:lnTo>
                  <a:lnTo>
                    <a:pt x="133" y="11"/>
                  </a:lnTo>
                  <a:lnTo>
                    <a:pt x="125" y="8"/>
                  </a:lnTo>
                  <a:lnTo>
                    <a:pt x="116" y="4"/>
                  </a:lnTo>
                  <a:lnTo>
                    <a:pt x="107" y="1"/>
                  </a:lnTo>
                  <a:lnTo>
                    <a:pt x="99" y="0"/>
                  </a:lnTo>
                  <a:lnTo>
                    <a:pt x="90" y="0"/>
                  </a:lnTo>
                  <a:lnTo>
                    <a:pt x="90" y="0"/>
                  </a:lnTo>
                  <a:close/>
                  <a:moveTo>
                    <a:pt x="90" y="130"/>
                  </a:moveTo>
                  <a:lnTo>
                    <a:pt x="90" y="130"/>
                  </a:lnTo>
                  <a:lnTo>
                    <a:pt x="82" y="129"/>
                  </a:lnTo>
                  <a:lnTo>
                    <a:pt x="73" y="127"/>
                  </a:lnTo>
                  <a:lnTo>
                    <a:pt x="67" y="123"/>
                  </a:lnTo>
                  <a:lnTo>
                    <a:pt x="61" y="119"/>
                  </a:lnTo>
                  <a:lnTo>
                    <a:pt x="56" y="113"/>
                  </a:lnTo>
                  <a:lnTo>
                    <a:pt x="52" y="106"/>
                  </a:lnTo>
                  <a:lnTo>
                    <a:pt x="50" y="99"/>
                  </a:lnTo>
                  <a:lnTo>
                    <a:pt x="49" y="89"/>
                  </a:lnTo>
                  <a:lnTo>
                    <a:pt x="49" y="89"/>
                  </a:lnTo>
                  <a:lnTo>
                    <a:pt x="50" y="81"/>
                  </a:lnTo>
                  <a:lnTo>
                    <a:pt x="52" y="74"/>
                  </a:lnTo>
                  <a:lnTo>
                    <a:pt x="56" y="67"/>
                  </a:lnTo>
                  <a:lnTo>
                    <a:pt x="61" y="61"/>
                  </a:lnTo>
                  <a:lnTo>
                    <a:pt x="67" y="57"/>
                  </a:lnTo>
                  <a:lnTo>
                    <a:pt x="73" y="53"/>
                  </a:lnTo>
                  <a:lnTo>
                    <a:pt x="82" y="50"/>
                  </a:lnTo>
                  <a:lnTo>
                    <a:pt x="90" y="49"/>
                  </a:lnTo>
                  <a:lnTo>
                    <a:pt x="90" y="49"/>
                  </a:lnTo>
                  <a:lnTo>
                    <a:pt x="98" y="50"/>
                  </a:lnTo>
                  <a:lnTo>
                    <a:pt x="105" y="53"/>
                  </a:lnTo>
                  <a:lnTo>
                    <a:pt x="112" y="57"/>
                  </a:lnTo>
                  <a:lnTo>
                    <a:pt x="118" y="61"/>
                  </a:lnTo>
                  <a:lnTo>
                    <a:pt x="124" y="67"/>
                  </a:lnTo>
                  <a:lnTo>
                    <a:pt x="127" y="74"/>
                  </a:lnTo>
                  <a:lnTo>
                    <a:pt x="130" y="81"/>
                  </a:lnTo>
                  <a:lnTo>
                    <a:pt x="130" y="89"/>
                  </a:lnTo>
                  <a:lnTo>
                    <a:pt x="130" y="89"/>
                  </a:lnTo>
                  <a:lnTo>
                    <a:pt x="130" y="99"/>
                  </a:lnTo>
                  <a:lnTo>
                    <a:pt x="127" y="106"/>
                  </a:lnTo>
                  <a:lnTo>
                    <a:pt x="124" y="113"/>
                  </a:lnTo>
                  <a:lnTo>
                    <a:pt x="118" y="119"/>
                  </a:lnTo>
                  <a:lnTo>
                    <a:pt x="112" y="123"/>
                  </a:lnTo>
                  <a:lnTo>
                    <a:pt x="105" y="127"/>
                  </a:lnTo>
                  <a:lnTo>
                    <a:pt x="98" y="129"/>
                  </a:lnTo>
                  <a:lnTo>
                    <a:pt x="90" y="130"/>
                  </a:lnTo>
                  <a:lnTo>
                    <a:pt x="90" y="1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u="none" strike="noStrike" kern="0" cap="none" spc="0" normalizeH="0" baseline="0" noProof="0">
                <a:ln>
                  <a:noFill/>
                </a:ln>
                <a:solidFill>
                  <a:sysClr val="windowText" lastClr="000000"/>
                </a:solidFill>
                <a:effectLst/>
                <a:uLnTx/>
                <a:uFillTx/>
                <a:latin typeface="CiscoSansTT Light"/>
                <a:cs typeface="CiscoSansTT Light"/>
              </a:endParaRPr>
            </a:p>
          </p:txBody>
        </p:sp>
        <p:sp>
          <p:nvSpPr>
            <p:cNvPr id="125" name="Freeform 167"/>
            <p:cNvSpPr>
              <a:spLocks noEditPoints="1"/>
            </p:cNvSpPr>
            <p:nvPr/>
          </p:nvSpPr>
          <p:spPr bwMode="auto">
            <a:xfrm>
              <a:off x="12249151" y="6053138"/>
              <a:ext cx="323850" cy="419100"/>
            </a:xfrm>
            <a:custGeom>
              <a:avLst/>
              <a:gdLst>
                <a:gd name="T0" fmla="*/ 1296 w 1430"/>
                <a:gd name="T1" fmla="*/ 631 h 1852"/>
                <a:gd name="T2" fmla="*/ 1222 w 1430"/>
                <a:gd name="T3" fmla="*/ 292 h 1852"/>
                <a:gd name="T4" fmla="*/ 976 w 1430"/>
                <a:gd name="T5" fmla="*/ 68 h 1852"/>
                <a:gd name="T6" fmla="*/ 506 w 1430"/>
                <a:gd name="T7" fmla="*/ 7 h 1852"/>
                <a:gd name="T8" fmla="*/ 126 w 1430"/>
                <a:gd name="T9" fmla="*/ 234 h 1852"/>
                <a:gd name="T10" fmla="*/ 2 w 1430"/>
                <a:gd name="T11" fmla="*/ 588 h 1852"/>
                <a:gd name="T12" fmla="*/ 101 w 1430"/>
                <a:gd name="T13" fmla="*/ 1047 h 1852"/>
                <a:gd name="T14" fmla="*/ 241 w 1430"/>
                <a:gd name="T15" fmla="*/ 1351 h 1852"/>
                <a:gd name="T16" fmla="*/ 141 w 1430"/>
                <a:gd name="T17" fmla="*/ 1652 h 1852"/>
                <a:gd name="T18" fmla="*/ 92 w 1430"/>
                <a:gd name="T19" fmla="*/ 1828 h 1852"/>
                <a:gd name="T20" fmla="*/ 956 w 1430"/>
                <a:gd name="T21" fmla="*/ 1821 h 1852"/>
                <a:gd name="T22" fmla="*/ 898 w 1430"/>
                <a:gd name="T23" fmla="*/ 1649 h 1852"/>
                <a:gd name="T24" fmla="*/ 912 w 1430"/>
                <a:gd name="T25" fmla="*/ 1484 h 1852"/>
                <a:gd name="T26" fmla="*/ 1155 w 1430"/>
                <a:gd name="T27" fmla="*/ 1452 h 1852"/>
                <a:gd name="T28" fmla="*/ 1279 w 1430"/>
                <a:gd name="T29" fmla="*/ 1422 h 1852"/>
                <a:gd name="T30" fmla="*/ 1323 w 1430"/>
                <a:gd name="T31" fmla="*/ 1262 h 1852"/>
                <a:gd name="T32" fmla="*/ 1338 w 1430"/>
                <a:gd name="T33" fmla="*/ 1181 h 1852"/>
                <a:gd name="T34" fmla="*/ 1341 w 1430"/>
                <a:gd name="T35" fmla="*/ 1072 h 1852"/>
                <a:gd name="T36" fmla="*/ 1430 w 1430"/>
                <a:gd name="T37" fmla="*/ 985 h 1852"/>
                <a:gd name="T38" fmla="*/ 655 w 1430"/>
                <a:gd name="T39" fmla="*/ 768 h 1852"/>
                <a:gd name="T40" fmla="*/ 618 w 1430"/>
                <a:gd name="T41" fmla="*/ 895 h 1852"/>
                <a:gd name="T42" fmla="*/ 508 w 1430"/>
                <a:gd name="T43" fmla="*/ 933 h 1852"/>
                <a:gd name="T44" fmla="*/ 439 w 1430"/>
                <a:gd name="T45" fmla="*/ 1006 h 1852"/>
                <a:gd name="T46" fmla="*/ 291 w 1430"/>
                <a:gd name="T47" fmla="*/ 982 h 1852"/>
                <a:gd name="T48" fmla="*/ 188 w 1430"/>
                <a:gd name="T49" fmla="*/ 928 h 1852"/>
                <a:gd name="T50" fmla="*/ 94 w 1430"/>
                <a:gd name="T51" fmla="*/ 793 h 1852"/>
                <a:gd name="T52" fmla="*/ 129 w 1430"/>
                <a:gd name="T53" fmla="*/ 702 h 1852"/>
                <a:gd name="T54" fmla="*/ 106 w 1430"/>
                <a:gd name="T55" fmla="*/ 600 h 1852"/>
                <a:gd name="T56" fmla="*/ 198 w 1430"/>
                <a:gd name="T57" fmla="*/ 504 h 1852"/>
                <a:gd name="T58" fmla="*/ 295 w 1430"/>
                <a:gd name="T59" fmla="*/ 434 h 1852"/>
                <a:gd name="T60" fmla="*/ 462 w 1430"/>
                <a:gd name="T61" fmla="*/ 429 h 1852"/>
                <a:gd name="T62" fmla="*/ 561 w 1430"/>
                <a:gd name="T63" fmla="*/ 508 h 1852"/>
                <a:gd name="T64" fmla="*/ 639 w 1430"/>
                <a:gd name="T65" fmla="*/ 566 h 1852"/>
                <a:gd name="T66" fmla="*/ 629 w 1430"/>
                <a:gd name="T67" fmla="*/ 665 h 1852"/>
                <a:gd name="T68" fmla="*/ 634 w 1430"/>
                <a:gd name="T69" fmla="*/ 397 h 1852"/>
                <a:gd name="T70" fmla="*/ 533 w 1430"/>
                <a:gd name="T71" fmla="*/ 409 h 1852"/>
                <a:gd name="T72" fmla="*/ 468 w 1430"/>
                <a:gd name="T73" fmla="*/ 359 h 1852"/>
                <a:gd name="T74" fmla="*/ 415 w 1430"/>
                <a:gd name="T75" fmla="*/ 313 h 1852"/>
                <a:gd name="T76" fmla="*/ 431 w 1430"/>
                <a:gd name="T77" fmla="*/ 232 h 1852"/>
                <a:gd name="T78" fmla="*/ 410 w 1430"/>
                <a:gd name="T79" fmla="*/ 163 h 1852"/>
                <a:gd name="T80" fmla="*/ 468 w 1430"/>
                <a:gd name="T81" fmla="*/ 107 h 1852"/>
                <a:gd name="T82" fmla="*/ 533 w 1430"/>
                <a:gd name="T83" fmla="*/ 56 h 1852"/>
                <a:gd name="T84" fmla="*/ 633 w 1430"/>
                <a:gd name="T85" fmla="*/ 65 h 1852"/>
                <a:gd name="T86" fmla="*/ 701 w 1430"/>
                <a:gd name="T87" fmla="*/ 101 h 1852"/>
                <a:gd name="T88" fmla="*/ 755 w 1430"/>
                <a:gd name="T89" fmla="*/ 184 h 1852"/>
                <a:gd name="T90" fmla="*/ 743 w 1430"/>
                <a:gd name="T91" fmla="*/ 265 h 1852"/>
                <a:gd name="T92" fmla="*/ 723 w 1430"/>
                <a:gd name="T93" fmla="*/ 344 h 1852"/>
                <a:gd name="T94" fmla="*/ 1083 w 1430"/>
                <a:gd name="T95" fmla="*/ 566 h 1852"/>
                <a:gd name="T96" fmla="*/ 1025 w 1430"/>
                <a:gd name="T97" fmla="*/ 616 h 1852"/>
                <a:gd name="T98" fmla="*/ 1014 w 1430"/>
                <a:gd name="T99" fmla="*/ 683 h 1852"/>
                <a:gd name="T100" fmla="*/ 921 w 1430"/>
                <a:gd name="T101" fmla="*/ 713 h 1852"/>
                <a:gd name="T102" fmla="*/ 833 w 1430"/>
                <a:gd name="T103" fmla="*/ 716 h 1852"/>
                <a:gd name="T104" fmla="*/ 747 w 1430"/>
                <a:gd name="T105" fmla="*/ 655 h 1852"/>
                <a:gd name="T106" fmla="*/ 716 w 1430"/>
                <a:gd name="T107" fmla="*/ 582 h 1852"/>
                <a:gd name="T108" fmla="*/ 708 w 1430"/>
                <a:gd name="T109" fmla="*/ 474 h 1852"/>
                <a:gd name="T110" fmla="*/ 779 w 1430"/>
                <a:gd name="T111" fmla="*/ 423 h 1852"/>
                <a:gd name="T112" fmla="*/ 804 w 1430"/>
                <a:gd name="T113" fmla="*/ 359 h 1852"/>
                <a:gd name="T114" fmla="*/ 885 w 1430"/>
                <a:gd name="T115" fmla="*/ 374 h 1852"/>
                <a:gd name="T116" fmla="*/ 963 w 1430"/>
                <a:gd name="T117" fmla="*/ 351 h 1852"/>
                <a:gd name="T118" fmla="*/ 1036 w 1430"/>
                <a:gd name="T119" fmla="*/ 416 h 1852"/>
                <a:gd name="T120" fmla="*/ 1081 w 1430"/>
                <a:gd name="T121" fmla="*/ 487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0" h="1852">
                  <a:moveTo>
                    <a:pt x="1389" y="891"/>
                  </a:moveTo>
                  <a:lnTo>
                    <a:pt x="1389" y="891"/>
                  </a:lnTo>
                  <a:lnTo>
                    <a:pt x="1355" y="834"/>
                  </a:lnTo>
                  <a:lnTo>
                    <a:pt x="1340" y="805"/>
                  </a:lnTo>
                  <a:lnTo>
                    <a:pt x="1325" y="776"/>
                  </a:lnTo>
                  <a:lnTo>
                    <a:pt x="1312" y="748"/>
                  </a:lnTo>
                  <a:lnTo>
                    <a:pt x="1302" y="722"/>
                  </a:lnTo>
                  <a:lnTo>
                    <a:pt x="1298" y="710"/>
                  </a:lnTo>
                  <a:lnTo>
                    <a:pt x="1295" y="698"/>
                  </a:lnTo>
                  <a:lnTo>
                    <a:pt x="1292" y="686"/>
                  </a:lnTo>
                  <a:lnTo>
                    <a:pt x="1291" y="676"/>
                  </a:lnTo>
                  <a:lnTo>
                    <a:pt x="1291" y="676"/>
                  </a:lnTo>
                  <a:lnTo>
                    <a:pt x="1291" y="666"/>
                  </a:lnTo>
                  <a:lnTo>
                    <a:pt x="1292" y="655"/>
                  </a:lnTo>
                  <a:lnTo>
                    <a:pt x="1296" y="631"/>
                  </a:lnTo>
                  <a:lnTo>
                    <a:pt x="1301" y="605"/>
                  </a:lnTo>
                  <a:lnTo>
                    <a:pt x="1304" y="590"/>
                  </a:lnTo>
                  <a:lnTo>
                    <a:pt x="1305" y="574"/>
                  </a:lnTo>
                  <a:lnTo>
                    <a:pt x="1306" y="557"/>
                  </a:lnTo>
                  <a:lnTo>
                    <a:pt x="1307" y="538"/>
                  </a:lnTo>
                  <a:lnTo>
                    <a:pt x="1305" y="518"/>
                  </a:lnTo>
                  <a:lnTo>
                    <a:pt x="1303" y="495"/>
                  </a:lnTo>
                  <a:lnTo>
                    <a:pt x="1298" y="472"/>
                  </a:lnTo>
                  <a:lnTo>
                    <a:pt x="1291" y="446"/>
                  </a:lnTo>
                  <a:lnTo>
                    <a:pt x="1283" y="418"/>
                  </a:lnTo>
                  <a:lnTo>
                    <a:pt x="1270" y="389"/>
                  </a:lnTo>
                  <a:lnTo>
                    <a:pt x="1270" y="389"/>
                  </a:lnTo>
                  <a:lnTo>
                    <a:pt x="1257" y="358"/>
                  </a:lnTo>
                  <a:lnTo>
                    <a:pt x="1241" y="325"/>
                  </a:lnTo>
                  <a:lnTo>
                    <a:pt x="1222" y="292"/>
                  </a:lnTo>
                  <a:lnTo>
                    <a:pt x="1213" y="275"/>
                  </a:lnTo>
                  <a:lnTo>
                    <a:pt x="1202" y="259"/>
                  </a:lnTo>
                  <a:lnTo>
                    <a:pt x="1191" y="243"/>
                  </a:lnTo>
                  <a:lnTo>
                    <a:pt x="1178" y="226"/>
                  </a:lnTo>
                  <a:lnTo>
                    <a:pt x="1165" y="210"/>
                  </a:lnTo>
                  <a:lnTo>
                    <a:pt x="1151" y="193"/>
                  </a:lnTo>
                  <a:lnTo>
                    <a:pt x="1135" y="178"/>
                  </a:lnTo>
                  <a:lnTo>
                    <a:pt x="1119" y="163"/>
                  </a:lnTo>
                  <a:lnTo>
                    <a:pt x="1103" y="147"/>
                  </a:lnTo>
                  <a:lnTo>
                    <a:pt x="1084" y="133"/>
                  </a:lnTo>
                  <a:lnTo>
                    <a:pt x="1065" y="119"/>
                  </a:lnTo>
                  <a:lnTo>
                    <a:pt x="1044" y="106"/>
                  </a:lnTo>
                  <a:lnTo>
                    <a:pt x="1023" y="92"/>
                  </a:lnTo>
                  <a:lnTo>
                    <a:pt x="1000" y="80"/>
                  </a:lnTo>
                  <a:lnTo>
                    <a:pt x="976" y="68"/>
                  </a:lnTo>
                  <a:lnTo>
                    <a:pt x="951" y="57"/>
                  </a:lnTo>
                  <a:lnTo>
                    <a:pt x="925" y="47"/>
                  </a:lnTo>
                  <a:lnTo>
                    <a:pt x="896" y="37"/>
                  </a:lnTo>
                  <a:lnTo>
                    <a:pt x="866" y="29"/>
                  </a:lnTo>
                  <a:lnTo>
                    <a:pt x="836" y="22"/>
                  </a:lnTo>
                  <a:lnTo>
                    <a:pt x="803" y="16"/>
                  </a:lnTo>
                  <a:lnTo>
                    <a:pt x="768" y="9"/>
                  </a:lnTo>
                  <a:lnTo>
                    <a:pt x="732" y="5"/>
                  </a:lnTo>
                  <a:lnTo>
                    <a:pt x="694" y="2"/>
                  </a:lnTo>
                  <a:lnTo>
                    <a:pt x="656" y="0"/>
                  </a:lnTo>
                  <a:lnTo>
                    <a:pt x="615" y="0"/>
                  </a:lnTo>
                  <a:lnTo>
                    <a:pt x="615" y="0"/>
                  </a:lnTo>
                  <a:lnTo>
                    <a:pt x="577" y="0"/>
                  </a:lnTo>
                  <a:lnTo>
                    <a:pt x="541" y="3"/>
                  </a:lnTo>
                  <a:lnTo>
                    <a:pt x="506" y="7"/>
                  </a:lnTo>
                  <a:lnTo>
                    <a:pt x="472" y="13"/>
                  </a:lnTo>
                  <a:lnTo>
                    <a:pt x="440" y="22"/>
                  </a:lnTo>
                  <a:lnTo>
                    <a:pt x="408" y="31"/>
                  </a:lnTo>
                  <a:lnTo>
                    <a:pt x="378" y="41"/>
                  </a:lnTo>
                  <a:lnTo>
                    <a:pt x="350" y="53"/>
                  </a:lnTo>
                  <a:lnTo>
                    <a:pt x="322" y="67"/>
                  </a:lnTo>
                  <a:lnTo>
                    <a:pt x="295" y="81"/>
                  </a:lnTo>
                  <a:lnTo>
                    <a:pt x="270" y="96"/>
                  </a:lnTo>
                  <a:lnTo>
                    <a:pt x="246" y="114"/>
                  </a:lnTo>
                  <a:lnTo>
                    <a:pt x="223" y="131"/>
                  </a:lnTo>
                  <a:lnTo>
                    <a:pt x="201" y="151"/>
                  </a:lnTo>
                  <a:lnTo>
                    <a:pt x="181" y="170"/>
                  </a:lnTo>
                  <a:lnTo>
                    <a:pt x="161" y="190"/>
                  </a:lnTo>
                  <a:lnTo>
                    <a:pt x="143" y="212"/>
                  </a:lnTo>
                  <a:lnTo>
                    <a:pt x="126" y="234"/>
                  </a:lnTo>
                  <a:lnTo>
                    <a:pt x="110" y="257"/>
                  </a:lnTo>
                  <a:lnTo>
                    <a:pt x="95" y="280"/>
                  </a:lnTo>
                  <a:lnTo>
                    <a:pt x="82" y="305"/>
                  </a:lnTo>
                  <a:lnTo>
                    <a:pt x="68" y="329"/>
                  </a:lnTo>
                  <a:lnTo>
                    <a:pt x="57" y="355"/>
                  </a:lnTo>
                  <a:lnTo>
                    <a:pt x="47" y="380"/>
                  </a:lnTo>
                  <a:lnTo>
                    <a:pt x="38" y="406"/>
                  </a:lnTo>
                  <a:lnTo>
                    <a:pt x="30" y="432"/>
                  </a:lnTo>
                  <a:lnTo>
                    <a:pt x="21" y="457"/>
                  </a:lnTo>
                  <a:lnTo>
                    <a:pt x="16" y="484"/>
                  </a:lnTo>
                  <a:lnTo>
                    <a:pt x="11" y="511"/>
                  </a:lnTo>
                  <a:lnTo>
                    <a:pt x="7" y="536"/>
                  </a:lnTo>
                  <a:lnTo>
                    <a:pt x="4" y="563"/>
                  </a:lnTo>
                  <a:lnTo>
                    <a:pt x="2" y="588"/>
                  </a:lnTo>
                  <a:lnTo>
                    <a:pt x="2" y="588"/>
                  </a:lnTo>
                  <a:lnTo>
                    <a:pt x="0" y="630"/>
                  </a:lnTo>
                  <a:lnTo>
                    <a:pt x="0" y="671"/>
                  </a:lnTo>
                  <a:lnTo>
                    <a:pt x="2" y="709"/>
                  </a:lnTo>
                  <a:lnTo>
                    <a:pt x="5" y="746"/>
                  </a:lnTo>
                  <a:lnTo>
                    <a:pt x="9" y="781"/>
                  </a:lnTo>
                  <a:lnTo>
                    <a:pt x="14" y="813"/>
                  </a:lnTo>
                  <a:lnTo>
                    <a:pt x="21" y="845"/>
                  </a:lnTo>
                  <a:lnTo>
                    <a:pt x="28" y="876"/>
                  </a:lnTo>
                  <a:lnTo>
                    <a:pt x="37" y="904"/>
                  </a:lnTo>
                  <a:lnTo>
                    <a:pt x="47" y="931"/>
                  </a:lnTo>
                  <a:lnTo>
                    <a:pt x="56" y="956"/>
                  </a:lnTo>
                  <a:lnTo>
                    <a:pt x="67" y="981"/>
                  </a:lnTo>
                  <a:lnTo>
                    <a:pt x="78" y="1005"/>
                  </a:lnTo>
                  <a:lnTo>
                    <a:pt x="90" y="1027"/>
                  </a:lnTo>
                  <a:lnTo>
                    <a:pt x="101" y="1047"/>
                  </a:lnTo>
                  <a:lnTo>
                    <a:pt x="113" y="1068"/>
                  </a:lnTo>
                  <a:lnTo>
                    <a:pt x="137" y="1105"/>
                  </a:lnTo>
                  <a:lnTo>
                    <a:pt x="160" y="1140"/>
                  </a:lnTo>
                  <a:lnTo>
                    <a:pt x="182" y="1170"/>
                  </a:lnTo>
                  <a:lnTo>
                    <a:pt x="202" y="1200"/>
                  </a:lnTo>
                  <a:lnTo>
                    <a:pt x="219" y="1226"/>
                  </a:lnTo>
                  <a:lnTo>
                    <a:pt x="226" y="1240"/>
                  </a:lnTo>
                  <a:lnTo>
                    <a:pt x="232" y="1253"/>
                  </a:lnTo>
                  <a:lnTo>
                    <a:pt x="236" y="1265"/>
                  </a:lnTo>
                  <a:lnTo>
                    <a:pt x="240" y="1279"/>
                  </a:lnTo>
                  <a:lnTo>
                    <a:pt x="242" y="1291"/>
                  </a:lnTo>
                  <a:lnTo>
                    <a:pt x="243" y="1303"/>
                  </a:lnTo>
                  <a:lnTo>
                    <a:pt x="243" y="1303"/>
                  </a:lnTo>
                  <a:lnTo>
                    <a:pt x="243" y="1328"/>
                  </a:lnTo>
                  <a:lnTo>
                    <a:pt x="241" y="1351"/>
                  </a:lnTo>
                  <a:lnTo>
                    <a:pt x="240" y="1375"/>
                  </a:lnTo>
                  <a:lnTo>
                    <a:pt x="237" y="1397"/>
                  </a:lnTo>
                  <a:lnTo>
                    <a:pt x="231" y="1442"/>
                  </a:lnTo>
                  <a:lnTo>
                    <a:pt x="224" y="1486"/>
                  </a:lnTo>
                  <a:lnTo>
                    <a:pt x="216" y="1528"/>
                  </a:lnTo>
                  <a:lnTo>
                    <a:pt x="206" y="1568"/>
                  </a:lnTo>
                  <a:lnTo>
                    <a:pt x="198" y="1606"/>
                  </a:lnTo>
                  <a:lnTo>
                    <a:pt x="192" y="1641"/>
                  </a:lnTo>
                  <a:lnTo>
                    <a:pt x="188" y="1641"/>
                  </a:lnTo>
                  <a:lnTo>
                    <a:pt x="188" y="1641"/>
                  </a:lnTo>
                  <a:lnTo>
                    <a:pt x="178" y="1641"/>
                  </a:lnTo>
                  <a:lnTo>
                    <a:pt x="168" y="1643"/>
                  </a:lnTo>
                  <a:lnTo>
                    <a:pt x="158" y="1645"/>
                  </a:lnTo>
                  <a:lnTo>
                    <a:pt x="149" y="1648"/>
                  </a:lnTo>
                  <a:lnTo>
                    <a:pt x="141" y="1652"/>
                  </a:lnTo>
                  <a:lnTo>
                    <a:pt x="133" y="1657"/>
                  </a:lnTo>
                  <a:lnTo>
                    <a:pt x="125" y="1663"/>
                  </a:lnTo>
                  <a:lnTo>
                    <a:pt x="117" y="1669"/>
                  </a:lnTo>
                  <a:lnTo>
                    <a:pt x="111" y="1676"/>
                  </a:lnTo>
                  <a:lnTo>
                    <a:pt x="105" y="1685"/>
                  </a:lnTo>
                  <a:lnTo>
                    <a:pt x="100" y="1693"/>
                  </a:lnTo>
                  <a:lnTo>
                    <a:pt x="96" y="1701"/>
                  </a:lnTo>
                  <a:lnTo>
                    <a:pt x="93" y="1710"/>
                  </a:lnTo>
                  <a:lnTo>
                    <a:pt x="91" y="1719"/>
                  </a:lnTo>
                  <a:lnTo>
                    <a:pt x="89" y="1730"/>
                  </a:lnTo>
                  <a:lnTo>
                    <a:pt x="89" y="1740"/>
                  </a:lnTo>
                  <a:lnTo>
                    <a:pt x="89" y="1813"/>
                  </a:lnTo>
                  <a:lnTo>
                    <a:pt x="89" y="1813"/>
                  </a:lnTo>
                  <a:lnTo>
                    <a:pt x="89" y="1821"/>
                  </a:lnTo>
                  <a:lnTo>
                    <a:pt x="92" y="1828"/>
                  </a:lnTo>
                  <a:lnTo>
                    <a:pt x="95" y="1835"/>
                  </a:lnTo>
                  <a:lnTo>
                    <a:pt x="100" y="1841"/>
                  </a:lnTo>
                  <a:lnTo>
                    <a:pt x="106" y="1846"/>
                  </a:lnTo>
                  <a:lnTo>
                    <a:pt x="112" y="1849"/>
                  </a:lnTo>
                  <a:lnTo>
                    <a:pt x="121" y="1851"/>
                  </a:lnTo>
                  <a:lnTo>
                    <a:pt x="129" y="1852"/>
                  </a:lnTo>
                  <a:lnTo>
                    <a:pt x="917" y="1852"/>
                  </a:lnTo>
                  <a:lnTo>
                    <a:pt x="917" y="1852"/>
                  </a:lnTo>
                  <a:lnTo>
                    <a:pt x="926" y="1851"/>
                  </a:lnTo>
                  <a:lnTo>
                    <a:pt x="933" y="1849"/>
                  </a:lnTo>
                  <a:lnTo>
                    <a:pt x="940" y="1846"/>
                  </a:lnTo>
                  <a:lnTo>
                    <a:pt x="946" y="1841"/>
                  </a:lnTo>
                  <a:lnTo>
                    <a:pt x="950" y="1835"/>
                  </a:lnTo>
                  <a:lnTo>
                    <a:pt x="954" y="1828"/>
                  </a:lnTo>
                  <a:lnTo>
                    <a:pt x="956" y="1821"/>
                  </a:lnTo>
                  <a:lnTo>
                    <a:pt x="957" y="1813"/>
                  </a:lnTo>
                  <a:lnTo>
                    <a:pt x="957" y="1740"/>
                  </a:lnTo>
                  <a:lnTo>
                    <a:pt x="957" y="1740"/>
                  </a:lnTo>
                  <a:lnTo>
                    <a:pt x="956" y="1730"/>
                  </a:lnTo>
                  <a:lnTo>
                    <a:pt x="955" y="1720"/>
                  </a:lnTo>
                  <a:lnTo>
                    <a:pt x="953" y="1710"/>
                  </a:lnTo>
                  <a:lnTo>
                    <a:pt x="949" y="1702"/>
                  </a:lnTo>
                  <a:lnTo>
                    <a:pt x="945" y="1693"/>
                  </a:lnTo>
                  <a:lnTo>
                    <a:pt x="941" y="1685"/>
                  </a:lnTo>
                  <a:lnTo>
                    <a:pt x="935" y="1677"/>
                  </a:lnTo>
                  <a:lnTo>
                    <a:pt x="929" y="1670"/>
                  </a:lnTo>
                  <a:lnTo>
                    <a:pt x="922" y="1664"/>
                  </a:lnTo>
                  <a:lnTo>
                    <a:pt x="914" y="1658"/>
                  </a:lnTo>
                  <a:lnTo>
                    <a:pt x="906" y="1653"/>
                  </a:lnTo>
                  <a:lnTo>
                    <a:pt x="898" y="1649"/>
                  </a:lnTo>
                  <a:lnTo>
                    <a:pt x="889" y="1646"/>
                  </a:lnTo>
                  <a:lnTo>
                    <a:pt x="880" y="1643"/>
                  </a:lnTo>
                  <a:lnTo>
                    <a:pt x="869" y="1642"/>
                  </a:lnTo>
                  <a:lnTo>
                    <a:pt x="860" y="1641"/>
                  </a:lnTo>
                  <a:lnTo>
                    <a:pt x="860" y="1641"/>
                  </a:lnTo>
                  <a:lnTo>
                    <a:pt x="861" y="1613"/>
                  </a:lnTo>
                  <a:lnTo>
                    <a:pt x="863" y="1600"/>
                  </a:lnTo>
                  <a:lnTo>
                    <a:pt x="866" y="1587"/>
                  </a:lnTo>
                  <a:lnTo>
                    <a:pt x="866" y="1587"/>
                  </a:lnTo>
                  <a:lnTo>
                    <a:pt x="873" y="1562"/>
                  </a:lnTo>
                  <a:lnTo>
                    <a:pt x="882" y="1538"/>
                  </a:lnTo>
                  <a:lnTo>
                    <a:pt x="891" y="1518"/>
                  </a:lnTo>
                  <a:lnTo>
                    <a:pt x="901" y="1500"/>
                  </a:lnTo>
                  <a:lnTo>
                    <a:pt x="906" y="1492"/>
                  </a:lnTo>
                  <a:lnTo>
                    <a:pt x="912" y="1484"/>
                  </a:lnTo>
                  <a:lnTo>
                    <a:pt x="918" y="1478"/>
                  </a:lnTo>
                  <a:lnTo>
                    <a:pt x="926" y="1472"/>
                  </a:lnTo>
                  <a:lnTo>
                    <a:pt x="933" y="1467"/>
                  </a:lnTo>
                  <a:lnTo>
                    <a:pt x="940" y="1462"/>
                  </a:lnTo>
                  <a:lnTo>
                    <a:pt x="948" y="1458"/>
                  </a:lnTo>
                  <a:lnTo>
                    <a:pt x="956" y="1454"/>
                  </a:lnTo>
                  <a:lnTo>
                    <a:pt x="964" y="1450"/>
                  </a:lnTo>
                  <a:lnTo>
                    <a:pt x="974" y="1447"/>
                  </a:lnTo>
                  <a:lnTo>
                    <a:pt x="993" y="1443"/>
                  </a:lnTo>
                  <a:lnTo>
                    <a:pt x="1015" y="1441"/>
                  </a:lnTo>
                  <a:lnTo>
                    <a:pt x="1038" y="1440"/>
                  </a:lnTo>
                  <a:lnTo>
                    <a:pt x="1064" y="1441"/>
                  </a:lnTo>
                  <a:lnTo>
                    <a:pt x="1091" y="1443"/>
                  </a:lnTo>
                  <a:lnTo>
                    <a:pt x="1122" y="1447"/>
                  </a:lnTo>
                  <a:lnTo>
                    <a:pt x="1155" y="1452"/>
                  </a:lnTo>
                  <a:lnTo>
                    <a:pt x="1155" y="1452"/>
                  </a:lnTo>
                  <a:lnTo>
                    <a:pt x="1169" y="1455"/>
                  </a:lnTo>
                  <a:lnTo>
                    <a:pt x="1181" y="1456"/>
                  </a:lnTo>
                  <a:lnTo>
                    <a:pt x="1194" y="1456"/>
                  </a:lnTo>
                  <a:lnTo>
                    <a:pt x="1206" y="1456"/>
                  </a:lnTo>
                  <a:lnTo>
                    <a:pt x="1216" y="1455"/>
                  </a:lnTo>
                  <a:lnTo>
                    <a:pt x="1225" y="1454"/>
                  </a:lnTo>
                  <a:lnTo>
                    <a:pt x="1235" y="1450"/>
                  </a:lnTo>
                  <a:lnTo>
                    <a:pt x="1243" y="1448"/>
                  </a:lnTo>
                  <a:lnTo>
                    <a:pt x="1250" y="1444"/>
                  </a:lnTo>
                  <a:lnTo>
                    <a:pt x="1257" y="1441"/>
                  </a:lnTo>
                  <a:lnTo>
                    <a:pt x="1263" y="1437"/>
                  </a:lnTo>
                  <a:lnTo>
                    <a:pt x="1269" y="1432"/>
                  </a:lnTo>
                  <a:lnTo>
                    <a:pt x="1274" y="1427"/>
                  </a:lnTo>
                  <a:lnTo>
                    <a:pt x="1279" y="1422"/>
                  </a:lnTo>
                  <a:lnTo>
                    <a:pt x="1287" y="1410"/>
                  </a:lnTo>
                  <a:lnTo>
                    <a:pt x="1292" y="1397"/>
                  </a:lnTo>
                  <a:lnTo>
                    <a:pt x="1296" y="1384"/>
                  </a:lnTo>
                  <a:lnTo>
                    <a:pt x="1299" y="1371"/>
                  </a:lnTo>
                  <a:lnTo>
                    <a:pt x="1301" y="1356"/>
                  </a:lnTo>
                  <a:lnTo>
                    <a:pt x="1303" y="1331"/>
                  </a:lnTo>
                  <a:lnTo>
                    <a:pt x="1304" y="1307"/>
                  </a:lnTo>
                  <a:lnTo>
                    <a:pt x="1304" y="1307"/>
                  </a:lnTo>
                  <a:lnTo>
                    <a:pt x="1305" y="1298"/>
                  </a:lnTo>
                  <a:lnTo>
                    <a:pt x="1306" y="1290"/>
                  </a:lnTo>
                  <a:lnTo>
                    <a:pt x="1308" y="1284"/>
                  </a:lnTo>
                  <a:lnTo>
                    <a:pt x="1310" y="1278"/>
                  </a:lnTo>
                  <a:lnTo>
                    <a:pt x="1313" y="1274"/>
                  </a:lnTo>
                  <a:lnTo>
                    <a:pt x="1316" y="1269"/>
                  </a:lnTo>
                  <a:lnTo>
                    <a:pt x="1323" y="1262"/>
                  </a:lnTo>
                  <a:lnTo>
                    <a:pt x="1336" y="1253"/>
                  </a:lnTo>
                  <a:lnTo>
                    <a:pt x="1343" y="1248"/>
                  </a:lnTo>
                  <a:lnTo>
                    <a:pt x="1345" y="1244"/>
                  </a:lnTo>
                  <a:lnTo>
                    <a:pt x="1348" y="1240"/>
                  </a:lnTo>
                  <a:lnTo>
                    <a:pt x="1348" y="1240"/>
                  </a:lnTo>
                  <a:lnTo>
                    <a:pt x="1352" y="1230"/>
                  </a:lnTo>
                  <a:lnTo>
                    <a:pt x="1353" y="1219"/>
                  </a:lnTo>
                  <a:lnTo>
                    <a:pt x="1353" y="1211"/>
                  </a:lnTo>
                  <a:lnTo>
                    <a:pt x="1351" y="1204"/>
                  </a:lnTo>
                  <a:lnTo>
                    <a:pt x="1347" y="1197"/>
                  </a:lnTo>
                  <a:lnTo>
                    <a:pt x="1341" y="1192"/>
                  </a:lnTo>
                  <a:lnTo>
                    <a:pt x="1335" y="1187"/>
                  </a:lnTo>
                  <a:lnTo>
                    <a:pt x="1327" y="1184"/>
                  </a:lnTo>
                  <a:lnTo>
                    <a:pt x="1327" y="1184"/>
                  </a:lnTo>
                  <a:lnTo>
                    <a:pt x="1338" y="1181"/>
                  </a:lnTo>
                  <a:lnTo>
                    <a:pt x="1344" y="1180"/>
                  </a:lnTo>
                  <a:lnTo>
                    <a:pt x="1349" y="1177"/>
                  </a:lnTo>
                  <a:lnTo>
                    <a:pt x="1353" y="1173"/>
                  </a:lnTo>
                  <a:lnTo>
                    <a:pt x="1354" y="1169"/>
                  </a:lnTo>
                  <a:lnTo>
                    <a:pt x="1355" y="1166"/>
                  </a:lnTo>
                  <a:lnTo>
                    <a:pt x="1356" y="1156"/>
                  </a:lnTo>
                  <a:lnTo>
                    <a:pt x="1354" y="1144"/>
                  </a:lnTo>
                  <a:lnTo>
                    <a:pt x="1354" y="1144"/>
                  </a:lnTo>
                  <a:lnTo>
                    <a:pt x="1350" y="1129"/>
                  </a:lnTo>
                  <a:lnTo>
                    <a:pt x="1345" y="1115"/>
                  </a:lnTo>
                  <a:lnTo>
                    <a:pt x="1341" y="1101"/>
                  </a:lnTo>
                  <a:lnTo>
                    <a:pt x="1340" y="1093"/>
                  </a:lnTo>
                  <a:lnTo>
                    <a:pt x="1339" y="1086"/>
                  </a:lnTo>
                  <a:lnTo>
                    <a:pt x="1340" y="1079"/>
                  </a:lnTo>
                  <a:lnTo>
                    <a:pt x="1341" y="1072"/>
                  </a:lnTo>
                  <a:lnTo>
                    <a:pt x="1344" y="1065"/>
                  </a:lnTo>
                  <a:lnTo>
                    <a:pt x="1349" y="1058"/>
                  </a:lnTo>
                  <a:lnTo>
                    <a:pt x="1355" y="1051"/>
                  </a:lnTo>
                  <a:lnTo>
                    <a:pt x="1364" y="1043"/>
                  </a:lnTo>
                  <a:lnTo>
                    <a:pt x="1375" y="1036"/>
                  </a:lnTo>
                  <a:lnTo>
                    <a:pt x="1388" y="1029"/>
                  </a:lnTo>
                  <a:lnTo>
                    <a:pt x="1388" y="1029"/>
                  </a:lnTo>
                  <a:lnTo>
                    <a:pt x="1398" y="1025"/>
                  </a:lnTo>
                  <a:lnTo>
                    <a:pt x="1407" y="1020"/>
                  </a:lnTo>
                  <a:lnTo>
                    <a:pt x="1415" y="1015"/>
                  </a:lnTo>
                  <a:lnTo>
                    <a:pt x="1420" y="1010"/>
                  </a:lnTo>
                  <a:lnTo>
                    <a:pt x="1425" y="1005"/>
                  </a:lnTo>
                  <a:lnTo>
                    <a:pt x="1428" y="998"/>
                  </a:lnTo>
                  <a:lnTo>
                    <a:pt x="1430" y="992"/>
                  </a:lnTo>
                  <a:lnTo>
                    <a:pt x="1430" y="985"/>
                  </a:lnTo>
                  <a:lnTo>
                    <a:pt x="1429" y="977"/>
                  </a:lnTo>
                  <a:lnTo>
                    <a:pt x="1427" y="969"/>
                  </a:lnTo>
                  <a:lnTo>
                    <a:pt x="1424" y="960"/>
                  </a:lnTo>
                  <a:lnTo>
                    <a:pt x="1419" y="948"/>
                  </a:lnTo>
                  <a:lnTo>
                    <a:pt x="1406" y="923"/>
                  </a:lnTo>
                  <a:lnTo>
                    <a:pt x="1389" y="891"/>
                  </a:lnTo>
                  <a:lnTo>
                    <a:pt x="1389" y="891"/>
                  </a:lnTo>
                  <a:close/>
                  <a:moveTo>
                    <a:pt x="634" y="714"/>
                  </a:moveTo>
                  <a:lnTo>
                    <a:pt x="634" y="714"/>
                  </a:lnTo>
                  <a:lnTo>
                    <a:pt x="634" y="726"/>
                  </a:lnTo>
                  <a:lnTo>
                    <a:pt x="633" y="739"/>
                  </a:lnTo>
                  <a:lnTo>
                    <a:pt x="629" y="763"/>
                  </a:lnTo>
                  <a:lnTo>
                    <a:pt x="649" y="767"/>
                  </a:lnTo>
                  <a:lnTo>
                    <a:pt x="649" y="767"/>
                  </a:lnTo>
                  <a:lnTo>
                    <a:pt x="655" y="768"/>
                  </a:lnTo>
                  <a:lnTo>
                    <a:pt x="658" y="770"/>
                  </a:lnTo>
                  <a:lnTo>
                    <a:pt x="658" y="770"/>
                  </a:lnTo>
                  <a:lnTo>
                    <a:pt x="664" y="774"/>
                  </a:lnTo>
                  <a:lnTo>
                    <a:pt x="667" y="780"/>
                  </a:lnTo>
                  <a:lnTo>
                    <a:pt x="669" y="787"/>
                  </a:lnTo>
                  <a:lnTo>
                    <a:pt x="668" y="793"/>
                  </a:lnTo>
                  <a:lnTo>
                    <a:pt x="668" y="793"/>
                  </a:lnTo>
                  <a:lnTo>
                    <a:pt x="668" y="793"/>
                  </a:lnTo>
                  <a:lnTo>
                    <a:pt x="663" y="810"/>
                  </a:lnTo>
                  <a:lnTo>
                    <a:pt x="656" y="829"/>
                  </a:lnTo>
                  <a:lnTo>
                    <a:pt x="647" y="846"/>
                  </a:lnTo>
                  <a:lnTo>
                    <a:pt x="639" y="862"/>
                  </a:lnTo>
                  <a:lnTo>
                    <a:pt x="639" y="862"/>
                  </a:lnTo>
                  <a:lnTo>
                    <a:pt x="629" y="879"/>
                  </a:lnTo>
                  <a:lnTo>
                    <a:pt x="618" y="895"/>
                  </a:lnTo>
                  <a:lnTo>
                    <a:pt x="605" y="909"/>
                  </a:lnTo>
                  <a:lnTo>
                    <a:pt x="593" y="924"/>
                  </a:lnTo>
                  <a:lnTo>
                    <a:pt x="593" y="924"/>
                  </a:lnTo>
                  <a:lnTo>
                    <a:pt x="593" y="924"/>
                  </a:lnTo>
                  <a:lnTo>
                    <a:pt x="587" y="927"/>
                  </a:lnTo>
                  <a:lnTo>
                    <a:pt x="581" y="929"/>
                  </a:lnTo>
                  <a:lnTo>
                    <a:pt x="575" y="928"/>
                  </a:lnTo>
                  <a:lnTo>
                    <a:pt x="569" y="926"/>
                  </a:lnTo>
                  <a:lnTo>
                    <a:pt x="569" y="926"/>
                  </a:lnTo>
                  <a:lnTo>
                    <a:pt x="565" y="924"/>
                  </a:lnTo>
                  <a:lnTo>
                    <a:pt x="561" y="920"/>
                  </a:lnTo>
                  <a:lnTo>
                    <a:pt x="547" y="904"/>
                  </a:lnTo>
                  <a:lnTo>
                    <a:pt x="547" y="904"/>
                  </a:lnTo>
                  <a:lnTo>
                    <a:pt x="529" y="920"/>
                  </a:lnTo>
                  <a:lnTo>
                    <a:pt x="508" y="933"/>
                  </a:lnTo>
                  <a:lnTo>
                    <a:pt x="486" y="944"/>
                  </a:lnTo>
                  <a:lnTo>
                    <a:pt x="474" y="949"/>
                  </a:lnTo>
                  <a:lnTo>
                    <a:pt x="462" y="953"/>
                  </a:lnTo>
                  <a:lnTo>
                    <a:pt x="469" y="973"/>
                  </a:lnTo>
                  <a:lnTo>
                    <a:pt x="469" y="973"/>
                  </a:lnTo>
                  <a:lnTo>
                    <a:pt x="470" y="978"/>
                  </a:lnTo>
                  <a:lnTo>
                    <a:pt x="471" y="982"/>
                  </a:lnTo>
                  <a:lnTo>
                    <a:pt x="471" y="982"/>
                  </a:lnTo>
                  <a:lnTo>
                    <a:pt x="470" y="988"/>
                  </a:lnTo>
                  <a:lnTo>
                    <a:pt x="467" y="994"/>
                  </a:lnTo>
                  <a:lnTo>
                    <a:pt x="462" y="999"/>
                  </a:lnTo>
                  <a:lnTo>
                    <a:pt x="456" y="1002"/>
                  </a:lnTo>
                  <a:lnTo>
                    <a:pt x="457" y="1002"/>
                  </a:lnTo>
                  <a:lnTo>
                    <a:pt x="457" y="1002"/>
                  </a:lnTo>
                  <a:lnTo>
                    <a:pt x="439" y="1006"/>
                  </a:lnTo>
                  <a:lnTo>
                    <a:pt x="419" y="1009"/>
                  </a:lnTo>
                  <a:lnTo>
                    <a:pt x="401" y="1011"/>
                  </a:lnTo>
                  <a:lnTo>
                    <a:pt x="381" y="1012"/>
                  </a:lnTo>
                  <a:lnTo>
                    <a:pt x="381" y="1012"/>
                  </a:lnTo>
                  <a:lnTo>
                    <a:pt x="362" y="1011"/>
                  </a:lnTo>
                  <a:lnTo>
                    <a:pt x="343" y="1009"/>
                  </a:lnTo>
                  <a:lnTo>
                    <a:pt x="324" y="1006"/>
                  </a:lnTo>
                  <a:lnTo>
                    <a:pt x="306" y="1002"/>
                  </a:lnTo>
                  <a:lnTo>
                    <a:pt x="306" y="1002"/>
                  </a:lnTo>
                  <a:lnTo>
                    <a:pt x="306" y="1002"/>
                  </a:lnTo>
                  <a:lnTo>
                    <a:pt x="300" y="999"/>
                  </a:lnTo>
                  <a:lnTo>
                    <a:pt x="295" y="994"/>
                  </a:lnTo>
                  <a:lnTo>
                    <a:pt x="292" y="988"/>
                  </a:lnTo>
                  <a:lnTo>
                    <a:pt x="291" y="982"/>
                  </a:lnTo>
                  <a:lnTo>
                    <a:pt x="291" y="982"/>
                  </a:lnTo>
                  <a:lnTo>
                    <a:pt x="291" y="977"/>
                  </a:lnTo>
                  <a:lnTo>
                    <a:pt x="292" y="973"/>
                  </a:lnTo>
                  <a:lnTo>
                    <a:pt x="300" y="953"/>
                  </a:lnTo>
                  <a:lnTo>
                    <a:pt x="300" y="953"/>
                  </a:lnTo>
                  <a:lnTo>
                    <a:pt x="288" y="949"/>
                  </a:lnTo>
                  <a:lnTo>
                    <a:pt x="277" y="944"/>
                  </a:lnTo>
                  <a:lnTo>
                    <a:pt x="255" y="933"/>
                  </a:lnTo>
                  <a:lnTo>
                    <a:pt x="234" y="920"/>
                  </a:lnTo>
                  <a:lnTo>
                    <a:pt x="215" y="904"/>
                  </a:lnTo>
                  <a:lnTo>
                    <a:pt x="200" y="920"/>
                  </a:lnTo>
                  <a:lnTo>
                    <a:pt x="200" y="920"/>
                  </a:lnTo>
                  <a:lnTo>
                    <a:pt x="198" y="924"/>
                  </a:lnTo>
                  <a:lnTo>
                    <a:pt x="194" y="926"/>
                  </a:lnTo>
                  <a:lnTo>
                    <a:pt x="194" y="926"/>
                  </a:lnTo>
                  <a:lnTo>
                    <a:pt x="188" y="928"/>
                  </a:lnTo>
                  <a:lnTo>
                    <a:pt x="181" y="929"/>
                  </a:lnTo>
                  <a:lnTo>
                    <a:pt x="175" y="927"/>
                  </a:lnTo>
                  <a:lnTo>
                    <a:pt x="170" y="924"/>
                  </a:lnTo>
                  <a:lnTo>
                    <a:pt x="170" y="924"/>
                  </a:lnTo>
                  <a:lnTo>
                    <a:pt x="170" y="924"/>
                  </a:lnTo>
                  <a:lnTo>
                    <a:pt x="157" y="909"/>
                  </a:lnTo>
                  <a:lnTo>
                    <a:pt x="145" y="895"/>
                  </a:lnTo>
                  <a:lnTo>
                    <a:pt x="134" y="879"/>
                  </a:lnTo>
                  <a:lnTo>
                    <a:pt x="124" y="862"/>
                  </a:lnTo>
                  <a:lnTo>
                    <a:pt x="124" y="862"/>
                  </a:lnTo>
                  <a:lnTo>
                    <a:pt x="114" y="846"/>
                  </a:lnTo>
                  <a:lnTo>
                    <a:pt x="106" y="829"/>
                  </a:lnTo>
                  <a:lnTo>
                    <a:pt x="100" y="810"/>
                  </a:lnTo>
                  <a:lnTo>
                    <a:pt x="94" y="793"/>
                  </a:lnTo>
                  <a:lnTo>
                    <a:pt x="94" y="793"/>
                  </a:lnTo>
                  <a:lnTo>
                    <a:pt x="94" y="793"/>
                  </a:lnTo>
                  <a:lnTo>
                    <a:pt x="94" y="787"/>
                  </a:lnTo>
                  <a:lnTo>
                    <a:pt x="95" y="780"/>
                  </a:lnTo>
                  <a:lnTo>
                    <a:pt x="99" y="774"/>
                  </a:lnTo>
                  <a:lnTo>
                    <a:pt x="104" y="770"/>
                  </a:lnTo>
                  <a:lnTo>
                    <a:pt x="104" y="770"/>
                  </a:lnTo>
                  <a:lnTo>
                    <a:pt x="108" y="768"/>
                  </a:lnTo>
                  <a:lnTo>
                    <a:pt x="112" y="767"/>
                  </a:lnTo>
                  <a:lnTo>
                    <a:pt x="133" y="763"/>
                  </a:lnTo>
                  <a:lnTo>
                    <a:pt x="133" y="763"/>
                  </a:lnTo>
                  <a:lnTo>
                    <a:pt x="130" y="739"/>
                  </a:lnTo>
                  <a:lnTo>
                    <a:pt x="129" y="726"/>
                  </a:lnTo>
                  <a:lnTo>
                    <a:pt x="129" y="714"/>
                  </a:lnTo>
                  <a:lnTo>
                    <a:pt x="129" y="714"/>
                  </a:lnTo>
                  <a:lnTo>
                    <a:pt x="129" y="702"/>
                  </a:lnTo>
                  <a:lnTo>
                    <a:pt x="130" y="690"/>
                  </a:lnTo>
                  <a:lnTo>
                    <a:pt x="133" y="665"/>
                  </a:lnTo>
                  <a:lnTo>
                    <a:pt x="112" y="661"/>
                  </a:lnTo>
                  <a:lnTo>
                    <a:pt x="112" y="661"/>
                  </a:lnTo>
                  <a:lnTo>
                    <a:pt x="108" y="660"/>
                  </a:lnTo>
                  <a:lnTo>
                    <a:pt x="104" y="658"/>
                  </a:lnTo>
                  <a:lnTo>
                    <a:pt x="104" y="658"/>
                  </a:lnTo>
                  <a:lnTo>
                    <a:pt x="99" y="654"/>
                  </a:lnTo>
                  <a:lnTo>
                    <a:pt x="95" y="649"/>
                  </a:lnTo>
                  <a:lnTo>
                    <a:pt x="94" y="642"/>
                  </a:lnTo>
                  <a:lnTo>
                    <a:pt x="94" y="635"/>
                  </a:lnTo>
                  <a:lnTo>
                    <a:pt x="94" y="635"/>
                  </a:lnTo>
                  <a:lnTo>
                    <a:pt x="94" y="635"/>
                  </a:lnTo>
                  <a:lnTo>
                    <a:pt x="100" y="618"/>
                  </a:lnTo>
                  <a:lnTo>
                    <a:pt x="106" y="600"/>
                  </a:lnTo>
                  <a:lnTo>
                    <a:pt x="114" y="582"/>
                  </a:lnTo>
                  <a:lnTo>
                    <a:pt x="124" y="566"/>
                  </a:lnTo>
                  <a:lnTo>
                    <a:pt x="124" y="566"/>
                  </a:lnTo>
                  <a:lnTo>
                    <a:pt x="134" y="549"/>
                  </a:lnTo>
                  <a:lnTo>
                    <a:pt x="145" y="533"/>
                  </a:lnTo>
                  <a:lnTo>
                    <a:pt x="157" y="519"/>
                  </a:lnTo>
                  <a:lnTo>
                    <a:pt x="170" y="504"/>
                  </a:lnTo>
                  <a:lnTo>
                    <a:pt x="170" y="504"/>
                  </a:lnTo>
                  <a:lnTo>
                    <a:pt x="170" y="504"/>
                  </a:lnTo>
                  <a:lnTo>
                    <a:pt x="175" y="501"/>
                  </a:lnTo>
                  <a:lnTo>
                    <a:pt x="181" y="499"/>
                  </a:lnTo>
                  <a:lnTo>
                    <a:pt x="188" y="500"/>
                  </a:lnTo>
                  <a:lnTo>
                    <a:pt x="194" y="502"/>
                  </a:lnTo>
                  <a:lnTo>
                    <a:pt x="194" y="502"/>
                  </a:lnTo>
                  <a:lnTo>
                    <a:pt x="198" y="504"/>
                  </a:lnTo>
                  <a:lnTo>
                    <a:pt x="200" y="508"/>
                  </a:lnTo>
                  <a:lnTo>
                    <a:pt x="215" y="524"/>
                  </a:lnTo>
                  <a:lnTo>
                    <a:pt x="215" y="524"/>
                  </a:lnTo>
                  <a:lnTo>
                    <a:pt x="234" y="508"/>
                  </a:lnTo>
                  <a:lnTo>
                    <a:pt x="255" y="495"/>
                  </a:lnTo>
                  <a:lnTo>
                    <a:pt x="277" y="484"/>
                  </a:lnTo>
                  <a:lnTo>
                    <a:pt x="288" y="479"/>
                  </a:lnTo>
                  <a:lnTo>
                    <a:pt x="300" y="475"/>
                  </a:lnTo>
                  <a:lnTo>
                    <a:pt x="292" y="455"/>
                  </a:lnTo>
                  <a:lnTo>
                    <a:pt x="292" y="455"/>
                  </a:lnTo>
                  <a:lnTo>
                    <a:pt x="291" y="450"/>
                  </a:lnTo>
                  <a:lnTo>
                    <a:pt x="291" y="446"/>
                  </a:lnTo>
                  <a:lnTo>
                    <a:pt x="291" y="446"/>
                  </a:lnTo>
                  <a:lnTo>
                    <a:pt x="292" y="440"/>
                  </a:lnTo>
                  <a:lnTo>
                    <a:pt x="295" y="434"/>
                  </a:lnTo>
                  <a:lnTo>
                    <a:pt x="300" y="429"/>
                  </a:lnTo>
                  <a:lnTo>
                    <a:pt x="306" y="426"/>
                  </a:lnTo>
                  <a:lnTo>
                    <a:pt x="306" y="426"/>
                  </a:lnTo>
                  <a:lnTo>
                    <a:pt x="324" y="423"/>
                  </a:lnTo>
                  <a:lnTo>
                    <a:pt x="343" y="419"/>
                  </a:lnTo>
                  <a:lnTo>
                    <a:pt x="362" y="417"/>
                  </a:lnTo>
                  <a:lnTo>
                    <a:pt x="381" y="416"/>
                  </a:lnTo>
                  <a:lnTo>
                    <a:pt x="381" y="416"/>
                  </a:lnTo>
                  <a:lnTo>
                    <a:pt x="401" y="417"/>
                  </a:lnTo>
                  <a:lnTo>
                    <a:pt x="419" y="419"/>
                  </a:lnTo>
                  <a:lnTo>
                    <a:pt x="439" y="423"/>
                  </a:lnTo>
                  <a:lnTo>
                    <a:pt x="457" y="426"/>
                  </a:lnTo>
                  <a:lnTo>
                    <a:pt x="456" y="426"/>
                  </a:lnTo>
                  <a:lnTo>
                    <a:pt x="456" y="426"/>
                  </a:lnTo>
                  <a:lnTo>
                    <a:pt x="462" y="429"/>
                  </a:lnTo>
                  <a:lnTo>
                    <a:pt x="467" y="434"/>
                  </a:lnTo>
                  <a:lnTo>
                    <a:pt x="470" y="440"/>
                  </a:lnTo>
                  <a:lnTo>
                    <a:pt x="471" y="446"/>
                  </a:lnTo>
                  <a:lnTo>
                    <a:pt x="471" y="446"/>
                  </a:lnTo>
                  <a:lnTo>
                    <a:pt x="470" y="450"/>
                  </a:lnTo>
                  <a:lnTo>
                    <a:pt x="469" y="455"/>
                  </a:lnTo>
                  <a:lnTo>
                    <a:pt x="462" y="475"/>
                  </a:lnTo>
                  <a:lnTo>
                    <a:pt x="462" y="475"/>
                  </a:lnTo>
                  <a:lnTo>
                    <a:pt x="474" y="479"/>
                  </a:lnTo>
                  <a:lnTo>
                    <a:pt x="486" y="484"/>
                  </a:lnTo>
                  <a:lnTo>
                    <a:pt x="497" y="489"/>
                  </a:lnTo>
                  <a:lnTo>
                    <a:pt x="508" y="495"/>
                  </a:lnTo>
                  <a:lnTo>
                    <a:pt x="529" y="508"/>
                  </a:lnTo>
                  <a:lnTo>
                    <a:pt x="547" y="524"/>
                  </a:lnTo>
                  <a:lnTo>
                    <a:pt x="561" y="508"/>
                  </a:lnTo>
                  <a:lnTo>
                    <a:pt x="561" y="508"/>
                  </a:lnTo>
                  <a:lnTo>
                    <a:pt x="565" y="504"/>
                  </a:lnTo>
                  <a:lnTo>
                    <a:pt x="568" y="502"/>
                  </a:lnTo>
                  <a:lnTo>
                    <a:pt x="568" y="502"/>
                  </a:lnTo>
                  <a:lnTo>
                    <a:pt x="575" y="500"/>
                  </a:lnTo>
                  <a:lnTo>
                    <a:pt x="581" y="499"/>
                  </a:lnTo>
                  <a:lnTo>
                    <a:pt x="587" y="501"/>
                  </a:lnTo>
                  <a:lnTo>
                    <a:pt x="593" y="504"/>
                  </a:lnTo>
                  <a:lnTo>
                    <a:pt x="593" y="504"/>
                  </a:lnTo>
                  <a:lnTo>
                    <a:pt x="593" y="504"/>
                  </a:lnTo>
                  <a:lnTo>
                    <a:pt x="605" y="519"/>
                  </a:lnTo>
                  <a:lnTo>
                    <a:pt x="618" y="533"/>
                  </a:lnTo>
                  <a:lnTo>
                    <a:pt x="628" y="549"/>
                  </a:lnTo>
                  <a:lnTo>
                    <a:pt x="639" y="566"/>
                  </a:lnTo>
                  <a:lnTo>
                    <a:pt x="639" y="566"/>
                  </a:lnTo>
                  <a:lnTo>
                    <a:pt x="647" y="582"/>
                  </a:lnTo>
                  <a:lnTo>
                    <a:pt x="656" y="600"/>
                  </a:lnTo>
                  <a:lnTo>
                    <a:pt x="663" y="618"/>
                  </a:lnTo>
                  <a:lnTo>
                    <a:pt x="668" y="635"/>
                  </a:lnTo>
                  <a:lnTo>
                    <a:pt x="668" y="635"/>
                  </a:lnTo>
                  <a:lnTo>
                    <a:pt x="668" y="635"/>
                  </a:lnTo>
                  <a:lnTo>
                    <a:pt x="669" y="642"/>
                  </a:lnTo>
                  <a:lnTo>
                    <a:pt x="667" y="649"/>
                  </a:lnTo>
                  <a:lnTo>
                    <a:pt x="664" y="654"/>
                  </a:lnTo>
                  <a:lnTo>
                    <a:pt x="658" y="658"/>
                  </a:lnTo>
                  <a:lnTo>
                    <a:pt x="658" y="658"/>
                  </a:lnTo>
                  <a:lnTo>
                    <a:pt x="655" y="660"/>
                  </a:lnTo>
                  <a:lnTo>
                    <a:pt x="649" y="661"/>
                  </a:lnTo>
                  <a:lnTo>
                    <a:pt x="629" y="665"/>
                  </a:lnTo>
                  <a:lnTo>
                    <a:pt x="629" y="665"/>
                  </a:lnTo>
                  <a:lnTo>
                    <a:pt x="633" y="690"/>
                  </a:lnTo>
                  <a:lnTo>
                    <a:pt x="634" y="702"/>
                  </a:lnTo>
                  <a:lnTo>
                    <a:pt x="634" y="714"/>
                  </a:lnTo>
                  <a:lnTo>
                    <a:pt x="634" y="714"/>
                  </a:lnTo>
                  <a:close/>
                  <a:moveTo>
                    <a:pt x="689" y="359"/>
                  </a:moveTo>
                  <a:lnTo>
                    <a:pt x="676" y="344"/>
                  </a:lnTo>
                  <a:lnTo>
                    <a:pt x="676" y="344"/>
                  </a:lnTo>
                  <a:lnTo>
                    <a:pt x="665" y="353"/>
                  </a:lnTo>
                  <a:lnTo>
                    <a:pt x="652" y="360"/>
                  </a:lnTo>
                  <a:lnTo>
                    <a:pt x="639" y="367"/>
                  </a:lnTo>
                  <a:lnTo>
                    <a:pt x="626" y="372"/>
                  </a:lnTo>
                  <a:lnTo>
                    <a:pt x="632" y="392"/>
                  </a:lnTo>
                  <a:lnTo>
                    <a:pt x="632" y="392"/>
                  </a:lnTo>
                  <a:lnTo>
                    <a:pt x="634" y="397"/>
                  </a:lnTo>
                  <a:lnTo>
                    <a:pt x="634" y="397"/>
                  </a:lnTo>
                  <a:lnTo>
                    <a:pt x="633" y="401"/>
                  </a:lnTo>
                  <a:lnTo>
                    <a:pt x="631" y="404"/>
                  </a:lnTo>
                  <a:lnTo>
                    <a:pt x="628" y="407"/>
                  </a:lnTo>
                  <a:lnTo>
                    <a:pt x="625" y="409"/>
                  </a:lnTo>
                  <a:lnTo>
                    <a:pt x="625" y="409"/>
                  </a:lnTo>
                  <a:lnTo>
                    <a:pt x="625" y="409"/>
                  </a:lnTo>
                  <a:lnTo>
                    <a:pt x="614" y="411"/>
                  </a:lnTo>
                  <a:lnTo>
                    <a:pt x="602" y="413"/>
                  </a:lnTo>
                  <a:lnTo>
                    <a:pt x="590" y="414"/>
                  </a:lnTo>
                  <a:lnTo>
                    <a:pt x="579" y="414"/>
                  </a:lnTo>
                  <a:lnTo>
                    <a:pt x="579" y="414"/>
                  </a:lnTo>
                  <a:lnTo>
                    <a:pt x="567" y="414"/>
                  </a:lnTo>
                  <a:lnTo>
                    <a:pt x="555" y="413"/>
                  </a:lnTo>
                  <a:lnTo>
                    <a:pt x="544" y="411"/>
                  </a:lnTo>
                  <a:lnTo>
                    <a:pt x="533" y="409"/>
                  </a:lnTo>
                  <a:lnTo>
                    <a:pt x="533" y="409"/>
                  </a:lnTo>
                  <a:lnTo>
                    <a:pt x="533" y="409"/>
                  </a:lnTo>
                  <a:lnTo>
                    <a:pt x="529" y="407"/>
                  </a:lnTo>
                  <a:lnTo>
                    <a:pt x="526" y="404"/>
                  </a:lnTo>
                  <a:lnTo>
                    <a:pt x="525" y="401"/>
                  </a:lnTo>
                  <a:lnTo>
                    <a:pt x="524" y="397"/>
                  </a:lnTo>
                  <a:lnTo>
                    <a:pt x="524" y="397"/>
                  </a:lnTo>
                  <a:lnTo>
                    <a:pt x="525" y="392"/>
                  </a:lnTo>
                  <a:lnTo>
                    <a:pt x="531" y="372"/>
                  </a:lnTo>
                  <a:lnTo>
                    <a:pt x="531" y="372"/>
                  </a:lnTo>
                  <a:lnTo>
                    <a:pt x="517" y="367"/>
                  </a:lnTo>
                  <a:lnTo>
                    <a:pt x="504" y="360"/>
                  </a:lnTo>
                  <a:lnTo>
                    <a:pt x="493" y="353"/>
                  </a:lnTo>
                  <a:lnTo>
                    <a:pt x="482" y="344"/>
                  </a:lnTo>
                  <a:lnTo>
                    <a:pt x="468" y="359"/>
                  </a:lnTo>
                  <a:lnTo>
                    <a:pt x="468" y="359"/>
                  </a:lnTo>
                  <a:lnTo>
                    <a:pt x="466" y="361"/>
                  </a:lnTo>
                  <a:lnTo>
                    <a:pt x="464" y="362"/>
                  </a:lnTo>
                  <a:lnTo>
                    <a:pt x="464" y="362"/>
                  </a:lnTo>
                  <a:lnTo>
                    <a:pt x="460" y="364"/>
                  </a:lnTo>
                  <a:lnTo>
                    <a:pt x="456" y="364"/>
                  </a:lnTo>
                  <a:lnTo>
                    <a:pt x="452" y="363"/>
                  </a:lnTo>
                  <a:lnTo>
                    <a:pt x="449" y="361"/>
                  </a:lnTo>
                  <a:lnTo>
                    <a:pt x="449" y="361"/>
                  </a:lnTo>
                  <a:lnTo>
                    <a:pt x="441" y="352"/>
                  </a:lnTo>
                  <a:lnTo>
                    <a:pt x="434" y="344"/>
                  </a:lnTo>
                  <a:lnTo>
                    <a:pt x="427" y="334"/>
                  </a:lnTo>
                  <a:lnTo>
                    <a:pt x="421" y="324"/>
                  </a:lnTo>
                  <a:lnTo>
                    <a:pt x="421" y="324"/>
                  </a:lnTo>
                  <a:lnTo>
                    <a:pt x="415" y="313"/>
                  </a:lnTo>
                  <a:lnTo>
                    <a:pt x="410" y="303"/>
                  </a:lnTo>
                  <a:lnTo>
                    <a:pt x="406" y="292"/>
                  </a:lnTo>
                  <a:lnTo>
                    <a:pt x="403" y="281"/>
                  </a:lnTo>
                  <a:lnTo>
                    <a:pt x="403" y="281"/>
                  </a:lnTo>
                  <a:lnTo>
                    <a:pt x="403" y="281"/>
                  </a:lnTo>
                  <a:lnTo>
                    <a:pt x="403" y="277"/>
                  </a:lnTo>
                  <a:lnTo>
                    <a:pt x="404" y="273"/>
                  </a:lnTo>
                  <a:lnTo>
                    <a:pt x="406" y="270"/>
                  </a:lnTo>
                  <a:lnTo>
                    <a:pt x="409" y="267"/>
                  </a:lnTo>
                  <a:lnTo>
                    <a:pt x="409" y="267"/>
                  </a:lnTo>
                  <a:lnTo>
                    <a:pt x="414" y="265"/>
                  </a:lnTo>
                  <a:lnTo>
                    <a:pt x="434" y="262"/>
                  </a:lnTo>
                  <a:lnTo>
                    <a:pt x="434" y="262"/>
                  </a:lnTo>
                  <a:lnTo>
                    <a:pt x="432" y="248"/>
                  </a:lnTo>
                  <a:lnTo>
                    <a:pt x="431" y="232"/>
                  </a:lnTo>
                  <a:lnTo>
                    <a:pt x="431" y="232"/>
                  </a:lnTo>
                  <a:lnTo>
                    <a:pt x="432" y="218"/>
                  </a:lnTo>
                  <a:lnTo>
                    <a:pt x="434" y="204"/>
                  </a:lnTo>
                  <a:lnTo>
                    <a:pt x="414" y="201"/>
                  </a:lnTo>
                  <a:lnTo>
                    <a:pt x="414" y="201"/>
                  </a:lnTo>
                  <a:lnTo>
                    <a:pt x="409" y="199"/>
                  </a:lnTo>
                  <a:lnTo>
                    <a:pt x="409" y="199"/>
                  </a:lnTo>
                  <a:lnTo>
                    <a:pt x="406" y="196"/>
                  </a:lnTo>
                  <a:lnTo>
                    <a:pt x="404" y="192"/>
                  </a:lnTo>
                  <a:lnTo>
                    <a:pt x="403" y="188"/>
                  </a:lnTo>
                  <a:lnTo>
                    <a:pt x="403" y="184"/>
                  </a:lnTo>
                  <a:lnTo>
                    <a:pt x="403" y="185"/>
                  </a:lnTo>
                  <a:lnTo>
                    <a:pt x="403" y="185"/>
                  </a:lnTo>
                  <a:lnTo>
                    <a:pt x="406" y="174"/>
                  </a:lnTo>
                  <a:lnTo>
                    <a:pt x="410" y="163"/>
                  </a:lnTo>
                  <a:lnTo>
                    <a:pt x="415" y="153"/>
                  </a:lnTo>
                  <a:lnTo>
                    <a:pt x="421" y="142"/>
                  </a:lnTo>
                  <a:lnTo>
                    <a:pt x="421" y="142"/>
                  </a:lnTo>
                  <a:lnTo>
                    <a:pt x="427" y="132"/>
                  </a:lnTo>
                  <a:lnTo>
                    <a:pt x="434" y="122"/>
                  </a:lnTo>
                  <a:lnTo>
                    <a:pt x="441" y="114"/>
                  </a:lnTo>
                  <a:lnTo>
                    <a:pt x="449" y="104"/>
                  </a:lnTo>
                  <a:lnTo>
                    <a:pt x="449" y="104"/>
                  </a:lnTo>
                  <a:lnTo>
                    <a:pt x="452" y="102"/>
                  </a:lnTo>
                  <a:lnTo>
                    <a:pt x="456" y="101"/>
                  </a:lnTo>
                  <a:lnTo>
                    <a:pt x="460" y="101"/>
                  </a:lnTo>
                  <a:lnTo>
                    <a:pt x="464" y="103"/>
                  </a:lnTo>
                  <a:lnTo>
                    <a:pt x="464" y="103"/>
                  </a:lnTo>
                  <a:lnTo>
                    <a:pt x="466" y="104"/>
                  </a:lnTo>
                  <a:lnTo>
                    <a:pt x="468" y="107"/>
                  </a:lnTo>
                  <a:lnTo>
                    <a:pt x="482" y="122"/>
                  </a:lnTo>
                  <a:lnTo>
                    <a:pt x="482" y="122"/>
                  </a:lnTo>
                  <a:lnTo>
                    <a:pt x="493" y="113"/>
                  </a:lnTo>
                  <a:lnTo>
                    <a:pt x="504" y="106"/>
                  </a:lnTo>
                  <a:lnTo>
                    <a:pt x="517" y="98"/>
                  </a:lnTo>
                  <a:lnTo>
                    <a:pt x="531" y="93"/>
                  </a:lnTo>
                  <a:lnTo>
                    <a:pt x="525" y="74"/>
                  </a:lnTo>
                  <a:lnTo>
                    <a:pt x="525" y="74"/>
                  </a:lnTo>
                  <a:lnTo>
                    <a:pt x="524" y="69"/>
                  </a:lnTo>
                  <a:lnTo>
                    <a:pt x="524" y="69"/>
                  </a:lnTo>
                  <a:lnTo>
                    <a:pt x="525" y="65"/>
                  </a:lnTo>
                  <a:lnTo>
                    <a:pt x="526" y="62"/>
                  </a:lnTo>
                  <a:lnTo>
                    <a:pt x="529" y="58"/>
                  </a:lnTo>
                  <a:lnTo>
                    <a:pt x="533" y="56"/>
                  </a:lnTo>
                  <a:lnTo>
                    <a:pt x="533" y="56"/>
                  </a:lnTo>
                  <a:lnTo>
                    <a:pt x="533" y="56"/>
                  </a:lnTo>
                  <a:lnTo>
                    <a:pt x="544" y="54"/>
                  </a:lnTo>
                  <a:lnTo>
                    <a:pt x="555" y="52"/>
                  </a:lnTo>
                  <a:lnTo>
                    <a:pt x="567" y="51"/>
                  </a:lnTo>
                  <a:lnTo>
                    <a:pt x="579" y="51"/>
                  </a:lnTo>
                  <a:lnTo>
                    <a:pt x="579" y="51"/>
                  </a:lnTo>
                  <a:lnTo>
                    <a:pt x="590" y="51"/>
                  </a:lnTo>
                  <a:lnTo>
                    <a:pt x="602" y="52"/>
                  </a:lnTo>
                  <a:lnTo>
                    <a:pt x="614" y="54"/>
                  </a:lnTo>
                  <a:lnTo>
                    <a:pt x="625" y="56"/>
                  </a:lnTo>
                  <a:lnTo>
                    <a:pt x="625" y="56"/>
                  </a:lnTo>
                  <a:lnTo>
                    <a:pt x="625" y="56"/>
                  </a:lnTo>
                  <a:lnTo>
                    <a:pt x="628" y="58"/>
                  </a:lnTo>
                  <a:lnTo>
                    <a:pt x="631" y="62"/>
                  </a:lnTo>
                  <a:lnTo>
                    <a:pt x="633" y="65"/>
                  </a:lnTo>
                  <a:lnTo>
                    <a:pt x="634" y="69"/>
                  </a:lnTo>
                  <a:lnTo>
                    <a:pt x="634" y="69"/>
                  </a:lnTo>
                  <a:lnTo>
                    <a:pt x="632" y="74"/>
                  </a:lnTo>
                  <a:lnTo>
                    <a:pt x="626" y="93"/>
                  </a:lnTo>
                  <a:lnTo>
                    <a:pt x="626" y="93"/>
                  </a:lnTo>
                  <a:lnTo>
                    <a:pt x="639" y="98"/>
                  </a:lnTo>
                  <a:lnTo>
                    <a:pt x="652" y="106"/>
                  </a:lnTo>
                  <a:lnTo>
                    <a:pt x="665" y="113"/>
                  </a:lnTo>
                  <a:lnTo>
                    <a:pt x="676" y="122"/>
                  </a:lnTo>
                  <a:lnTo>
                    <a:pt x="689" y="107"/>
                  </a:lnTo>
                  <a:lnTo>
                    <a:pt x="689" y="107"/>
                  </a:lnTo>
                  <a:lnTo>
                    <a:pt x="693" y="103"/>
                  </a:lnTo>
                  <a:lnTo>
                    <a:pt x="693" y="103"/>
                  </a:lnTo>
                  <a:lnTo>
                    <a:pt x="696" y="101"/>
                  </a:lnTo>
                  <a:lnTo>
                    <a:pt x="701" y="101"/>
                  </a:lnTo>
                  <a:lnTo>
                    <a:pt x="705" y="102"/>
                  </a:lnTo>
                  <a:lnTo>
                    <a:pt x="708" y="104"/>
                  </a:lnTo>
                  <a:lnTo>
                    <a:pt x="708" y="104"/>
                  </a:lnTo>
                  <a:lnTo>
                    <a:pt x="708" y="104"/>
                  </a:lnTo>
                  <a:lnTo>
                    <a:pt x="716" y="114"/>
                  </a:lnTo>
                  <a:lnTo>
                    <a:pt x="723" y="122"/>
                  </a:lnTo>
                  <a:lnTo>
                    <a:pt x="730" y="132"/>
                  </a:lnTo>
                  <a:lnTo>
                    <a:pt x="736" y="142"/>
                  </a:lnTo>
                  <a:lnTo>
                    <a:pt x="736" y="142"/>
                  </a:lnTo>
                  <a:lnTo>
                    <a:pt x="741" y="153"/>
                  </a:lnTo>
                  <a:lnTo>
                    <a:pt x="747" y="163"/>
                  </a:lnTo>
                  <a:lnTo>
                    <a:pt x="751" y="174"/>
                  </a:lnTo>
                  <a:lnTo>
                    <a:pt x="754" y="184"/>
                  </a:lnTo>
                  <a:lnTo>
                    <a:pt x="755" y="184"/>
                  </a:lnTo>
                  <a:lnTo>
                    <a:pt x="755" y="184"/>
                  </a:lnTo>
                  <a:lnTo>
                    <a:pt x="755" y="188"/>
                  </a:lnTo>
                  <a:lnTo>
                    <a:pt x="754" y="192"/>
                  </a:lnTo>
                  <a:lnTo>
                    <a:pt x="752" y="196"/>
                  </a:lnTo>
                  <a:lnTo>
                    <a:pt x="748" y="199"/>
                  </a:lnTo>
                  <a:lnTo>
                    <a:pt x="748" y="199"/>
                  </a:lnTo>
                  <a:lnTo>
                    <a:pt x="743" y="201"/>
                  </a:lnTo>
                  <a:lnTo>
                    <a:pt x="723" y="204"/>
                  </a:lnTo>
                  <a:lnTo>
                    <a:pt x="723" y="204"/>
                  </a:lnTo>
                  <a:lnTo>
                    <a:pt x="725" y="218"/>
                  </a:lnTo>
                  <a:lnTo>
                    <a:pt x="726" y="232"/>
                  </a:lnTo>
                  <a:lnTo>
                    <a:pt x="726" y="232"/>
                  </a:lnTo>
                  <a:lnTo>
                    <a:pt x="725" y="248"/>
                  </a:lnTo>
                  <a:lnTo>
                    <a:pt x="723" y="262"/>
                  </a:lnTo>
                  <a:lnTo>
                    <a:pt x="743" y="265"/>
                  </a:lnTo>
                  <a:lnTo>
                    <a:pt x="743" y="265"/>
                  </a:lnTo>
                  <a:lnTo>
                    <a:pt x="748" y="267"/>
                  </a:lnTo>
                  <a:lnTo>
                    <a:pt x="748" y="267"/>
                  </a:lnTo>
                  <a:lnTo>
                    <a:pt x="752" y="270"/>
                  </a:lnTo>
                  <a:lnTo>
                    <a:pt x="754" y="273"/>
                  </a:lnTo>
                  <a:lnTo>
                    <a:pt x="755" y="277"/>
                  </a:lnTo>
                  <a:lnTo>
                    <a:pt x="755" y="281"/>
                  </a:lnTo>
                  <a:lnTo>
                    <a:pt x="754" y="281"/>
                  </a:lnTo>
                  <a:lnTo>
                    <a:pt x="754" y="281"/>
                  </a:lnTo>
                  <a:lnTo>
                    <a:pt x="751" y="292"/>
                  </a:lnTo>
                  <a:lnTo>
                    <a:pt x="747" y="303"/>
                  </a:lnTo>
                  <a:lnTo>
                    <a:pt x="741" y="313"/>
                  </a:lnTo>
                  <a:lnTo>
                    <a:pt x="736" y="323"/>
                  </a:lnTo>
                  <a:lnTo>
                    <a:pt x="736" y="323"/>
                  </a:lnTo>
                  <a:lnTo>
                    <a:pt x="730" y="334"/>
                  </a:lnTo>
                  <a:lnTo>
                    <a:pt x="723" y="344"/>
                  </a:lnTo>
                  <a:lnTo>
                    <a:pt x="716" y="352"/>
                  </a:lnTo>
                  <a:lnTo>
                    <a:pt x="708" y="361"/>
                  </a:lnTo>
                  <a:lnTo>
                    <a:pt x="708" y="361"/>
                  </a:lnTo>
                  <a:lnTo>
                    <a:pt x="708" y="361"/>
                  </a:lnTo>
                  <a:lnTo>
                    <a:pt x="705" y="363"/>
                  </a:lnTo>
                  <a:lnTo>
                    <a:pt x="701" y="364"/>
                  </a:lnTo>
                  <a:lnTo>
                    <a:pt x="696" y="364"/>
                  </a:lnTo>
                  <a:lnTo>
                    <a:pt x="693" y="362"/>
                  </a:lnTo>
                  <a:lnTo>
                    <a:pt x="693" y="362"/>
                  </a:lnTo>
                  <a:lnTo>
                    <a:pt x="689" y="359"/>
                  </a:lnTo>
                  <a:lnTo>
                    <a:pt x="689" y="359"/>
                  </a:lnTo>
                  <a:close/>
                  <a:moveTo>
                    <a:pt x="1086" y="540"/>
                  </a:moveTo>
                  <a:lnTo>
                    <a:pt x="1086" y="540"/>
                  </a:lnTo>
                  <a:lnTo>
                    <a:pt x="1085" y="553"/>
                  </a:lnTo>
                  <a:lnTo>
                    <a:pt x="1083" y="566"/>
                  </a:lnTo>
                  <a:lnTo>
                    <a:pt x="1081" y="577"/>
                  </a:lnTo>
                  <a:lnTo>
                    <a:pt x="1078" y="589"/>
                  </a:lnTo>
                  <a:lnTo>
                    <a:pt x="1078" y="589"/>
                  </a:lnTo>
                  <a:lnTo>
                    <a:pt x="1078" y="589"/>
                  </a:lnTo>
                  <a:lnTo>
                    <a:pt x="1076" y="593"/>
                  </a:lnTo>
                  <a:lnTo>
                    <a:pt x="1073" y="595"/>
                  </a:lnTo>
                  <a:lnTo>
                    <a:pt x="1069" y="597"/>
                  </a:lnTo>
                  <a:lnTo>
                    <a:pt x="1065" y="598"/>
                  </a:lnTo>
                  <a:lnTo>
                    <a:pt x="1065" y="598"/>
                  </a:lnTo>
                  <a:lnTo>
                    <a:pt x="1062" y="597"/>
                  </a:lnTo>
                  <a:lnTo>
                    <a:pt x="1059" y="596"/>
                  </a:lnTo>
                  <a:lnTo>
                    <a:pt x="1039" y="589"/>
                  </a:lnTo>
                  <a:lnTo>
                    <a:pt x="1039" y="589"/>
                  </a:lnTo>
                  <a:lnTo>
                    <a:pt x="1033" y="603"/>
                  </a:lnTo>
                  <a:lnTo>
                    <a:pt x="1025" y="616"/>
                  </a:lnTo>
                  <a:lnTo>
                    <a:pt x="1025" y="616"/>
                  </a:lnTo>
                  <a:lnTo>
                    <a:pt x="1016" y="629"/>
                  </a:lnTo>
                  <a:lnTo>
                    <a:pt x="1006" y="640"/>
                  </a:lnTo>
                  <a:lnTo>
                    <a:pt x="1022" y="655"/>
                  </a:lnTo>
                  <a:lnTo>
                    <a:pt x="1022" y="655"/>
                  </a:lnTo>
                  <a:lnTo>
                    <a:pt x="1024" y="657"/>
                  </a:lnTo>
                  <a:lnTo>
                    <a:pt x="1025" y="660"/>
                  </a:lnTo>
                  <a:lnTo>
                    <a:pt x="1025" y="660"/>
                  </a:lnTo>
                  <a:lnTo>
                    <a:pt x="1026" y="664"/>
                  </a:lnTo>
                  <a:lnTo>
                    <a:pt x="1026" y="668"/>
                  </a:lnTo>
                  <a:lnTo>
                    <a:pt x="1025" y="672"/>
                  </a:lnTo>
                  <a:lnTo>
                    <a:pt x="1023" y="675"/>
                  </a:lnTo>
                  <a:lnTo>
                    <a:pt x="1023" y="675"/>
                  </a:lnTo>
                  <a:lnTo>
                    <a:pt x="1023" y="675"/>
                  </a:lnTo>
                  <a:lnTo>
                    <a:pt x="1014" y="683"/>
                  </a:lnTo>
                  <a:lnTo>
                    <a:pt x="1003" y="691"/>
                  </a:lnTo>
                  <a:lnTo>
                    <a:pt x="993" y="698"/>
                  </a:lnTo>
                  <a:lnTo>
                    <a:pt x="982" y="704"/>
                  </a:lnTo>
                  <a:lnTo>
                    <a:pt x="982" y="704"/>
                  </a:lnTo>
                  <a:lnTo>
                    <a:pt x="971" y="709"/>
                  </a:lnTo>
                  <a:lnTo>
                    <a:pt x="958" y="714"/>
                  </a:lnTo>
                  <a:lnTo>
                    <a:pt x="947" y="718"/>
                  </a:lnTo>
                  <a:lnTo>
                    <a:pt x="935" y="721"/>
                  </a:lnTo>
                  <a:lnTo>
                    <a:pt x="935" y="721"/>
                  </a:lnTo>
                  <a:lnTo>
                    <a:pt x="935" y="721"/>
                  </a:lnTo>
                  <a:lnTo>
                    <a:pt x="931" y="721"/>
                  </a:lnTo>
                  <a:lnTo>
                    <a:pt x="927" y="719"/>
                  </a:lnTo>
                  <a:lnTo>
                    <a:pt x="924" y="717"/>
                  </a:lnTo>
                  <a:lnTo>
                    <a:pt x="921" y="713"/>
                  </a:lnTo>
                  <a:lnTo>
                    <a:pt x="921" y="713"/>
                  </a:lnTo>
                  <a:lnTo>
                    <a:pt x="919" y="708"/>
                  </a:lnTo>
                  <a:lnTo>
                    <a:pt x="916" y="686"/>
                  </a:lnTo>
                  <a:lnTo>
                    <a:pt x="916" y="686"/>
                  </a:lnTo>
                  <a:lnTo>
                    <a:pt x="901" y="688"/>
                  </a:lnTo>
                  <a:lnTo>
                    <a:pt x="886" y="688"/>
                  </a:lnTo>
                  <a:lnTo>
                    <a:pt x="870" y="687"/>
                  </a:lnTo>
                  <a:lnTo>
                    <a:pt x="855" y="684"/>
                  </a:lnTo>
                  <a:lnTo>
                    <a:pt x="850" y="705"/>
                  </a:lnTo>
                  <a:lnTo>
                    <a:pt x="850" y="705"/>
                  </a:lnTo>
                  <a:lnTo>
                    <a:pt x="848" y="710"/>
                  </a:lnTo>
                  <a:lnTo>
                    <a:pt x="848" y="710"/>
                  </a:lnTo>
                  <a:lnTo>
                    <a:pt x="845" y="713"/>
                  </a:lnTo>
                  <a:lnTo>
                    <a:pt x="842" y="715"/>
                  </a:lnTo>
                  <a:lnTo>
                    <a:pt x="837" y="716"/>
                  </a:lnTo>
                  <a:lnTo>
                    <a:pt x="833" y="716"/>
                  </a:lnTo>
                  <a:lnTo>
                    <a:pt x="833" y="716"/>
                  </a:lnTo>
                  <a:lnTo>
                    <a:pt x="833" y="716"/>
                  </a:lnTo>
                  <a:lnTo>
                    <a:pt x="821" y="712"/>
                  </a:lnTo>
                  <a:lnTo>
                    <a:pt x="810" y="707"/>
                  </a:lnTo>
                  <a:lnTo>
                    <a:pt x="799" y="701"/>
                  </a:lnTo>
                  <a:lnTo>
                    <a:pt x="789" y="695"/>
                  </a:lnTo>
                  <a:lnTo>
                    <a:pt x="789" y="695"/>
                  </a:lnTo>
                  <a:lnTo>
                    <a:pt x="777" y="687"/>
                  </a:lnTo>
                  <a:lnTo>
                    <a:pt x="768" y="680"/>
                  </a:lnTo>
                  <a:lnTo>
                    <a:pt x="759" y="672"/>
                  </a:lnTo>
                  <a:lnTo>
                    <a:pt x="750" y="663"/>
                  </a:lnTo>
                  <a:lnTo>
                    <a:pt x="750" y="663"/>
                  </a:lnTo>
                  <a:lnTo>
                    <a:pt x="750" y="663"/>
                  </a:lnTo>
                  <a:lnTo>
                    <a:pt x="748" y="660"/>
                  </a:lnTo>
                  <a:lnTo>
                    <a:pt x="747" y="655"/>
                  </a:lnTo>
                  <a:lnTo>
                    <a:pt x="748" y="651"/>
                  </a:lnTo>
                  <a:lnTo>
                    <a:pt x="750" y="647"/>
                  </a:lnTo>
                  <a:lnTo>
                    <a:pt x="750" y="647"/>
                  </a:lnTo>
                  <a:lnTo>
                    <a:pt x="751" y="645"/>
                  </a:lnTo>
                  <a:lnTo>
                    <a:pt x="753" y="642"/>
                  </a:lnTo>
                  <a:lnTo>
                    <a:pt x="770" y="629"/>
                  </a:lnTo>
                  <a:lnTo>
                    <a:pt x="770" y="629"/>
                  </a:lnTo>
                  <a:lnTo>
                    <a:pt x="761" y="617"/>
                  </a:lnTo>
                  <a:lnTo>
                    <a:pt x="753" y="604"/>
                  </a:lnTo>
                  <a:lnTo>
                    <a:pt x="747" y="589"/>
                  </a:lnTo>
                  <a:lnTo>
                    <a:pt x="741" y="575"/>
                  </a:lnTo>
                  <a:lnTo>
                    <a:pt x="721" y="581"/>
                  </a:lnTo>
                  <a:lnTo>
                    <a:pt x="721" y="581"/>
                  </a:lnTo>
                  <a:lnTo>
                    <a:pt x="719" y="582"/>
                  </a:lnTo>
                  <a:lnTo>
                    <a:pt x="716" y="582"/>
                  </a:lnTo>
                  <a:lnTo>
                    <a:pt x="716" y="582"/>
                  </a:lnTo>
                  <a:lnTo>
                    <a:pt x="711" y="581"/>
                  </a:lnTo>
                  <a:lnTo>
                    <a:pt x="708" y="579"/>
                  </a:lnTo>
                  <a:lnTo>
                    <a:pt x="705" y="576"/>
                  </a:lnTo>
                  <a:lnTo>
                    <a:pt x="703" y="572"/>
                  </a:lnTo>
                  <a:lnTo>
                    <a:pt x="703" y="572"/>
                  </a:lnTo>
                  <a:lnTo>
                    <a:pt x="701" y="560"/>
                  </a:lnTo>
                  <a:lnTo>
                    <a:pt x="700" y="547"/>
                  </a:lnTo>
                  <a:lnTo>
                    <a:pt x="699" y="535"/>
                  </a:lnTo>
                  <a:lnTo>
                    <a:pt x="700" y="523"/>
                  </a:lnTo>
                  <a:lnTo>
                    <a:pt x="700" y="523"/>
                  </a:lnTo>
                  <a:lnTo>
                    <a:pt x="701" y="511"/>
                  </a:lnTo>
                  <a:lnTo>
                    <a:pt x="702" y="497"/>
                  </a:lnTo>
                  <a:lnTo>
                    <a:pt x="705" y="486"/>
                  </a:lnTo>
                  <a:lnTo>
                    <a:pt x="708" y="474"/>
                  </a:lnTo>
                  <a:lnTo>
                    <a:pt x="708" y="474"/>
                  </a:lnTo>
                  <a:lnTo>
                    <a:pt x="708" y="474"/>
                  </a:lnTo>
                  <a:lnTo>
                    <a:pt x="710" y="470"/>
                  </a:lnTo>
                  <a:lnTo>
                    <a:pt x="713" y="468"/>
                  </a:lnTo>
                  <a:lnTo>
                    <a:pt x="717" y="466"/>
                  </a:lnTo>
                  <a:lnTo>
                    <a:pt x="721" y="465"/>
                  </a:lnTo>
                  <a:lnTo>
                    <a:pt x="721" y="465"/>
                  </a:lnTo>
                  <a:lnTo>
                    <a:pt x="726" y="467"/>
                  </a:lnTo>
                  <a:lnTo>
                    <a:pt x="747" y="474"/>
                  </a:lnTo>
                  <a:lnTo>
                    <a:pt x="747" y="474"/>
                  </a:lnTo>
                  <a:lnTo>
                    <a:pt x="753" y="460"/>
                  </a:lnTo>
                  <a:lnTo>
                    <a:pt x="760" y="447"/>
                  </a:lnTo>
                  <a:lnTo>
                    <a:pt x="760" y="447"/>
                  </a:lnTo>
                  <a:lnTo>
                    <a:pt x="769" y="434"/>
                  </a:lnTo>
                  <a:lnTo>
                    <a:pt x="779" y="423"/>
                  </a:lnTo>
                  <a:lnTo>
                    <a:pt x="764" y="408"/>
                  </a:lnTo>
                  <a:lnTo>
                    <a:pt x="764" y="408"/>
                  </a:lnTo>
                  <a:lnTo>
                    <a:pt x="760" y="403"/>
                  </a:lnTo>
                  <a:lnTo>
                    <a:pt x="760" y="403"/>
                  </a:lnTo>
                  <a:lnTo>
                    <a:pt x="759" y="399"/>
                  </a:lnTo>
                  <a:lnTo>
                    <a:pt x="759" y="395"/>
                  </a:lnTo>
                  <a:lnTo>
                    <a:pt x="760" y="391"/>
                  </a:lnTo>
                  <a:lnTo>
                    <a:pt x="763" y="388"/>
                  </a:lnTo>
                  <a:lnTo>
                    <a:pt x="763" y="388"/>
                  </a:lnTo>
                  <a:lnTo>
                    <a:pt x="763" y="388"/>
                  </a:lnTo>
                  <a:lnTo>
                    <a:pt x="772" y="380"/>
                  </a:lnTo>
                  <a:lnTo>
                    <a:pt x="782" y="372"/>
                  </a:lnTo>
                  <a:lnTo>
                    <a:pt x="793" y="365"/>
                  </a:lnTo>
                  <a:lnTo>
                    <a:pt x="804" y="359"/>
                  </a:lnTo>
                  <a:lnTo>
                    <a:pt x="804" y="359"/>
                  </a:lnTo>
                  <a:lnTo>
                    <a:pt x="815" y="354"/>
                  </a:lnTo>
                  <a:lnTo>
                    <a:pt x="826" y="349"/>
                  </a:lnTo>
                  <a:lnTo>
                    <a:pt x="839" y="346"/>
                  </a:lnTo>
                  <a:lnTo>
                    <a:pt x="850" y="343"/>
                  </a:lnTo>
                  <a:lnTo>
                    <a:pt x="850" y="343"/>
                  </a:lnTo>
                  <a:lnTo>
                    <a:pt x="854" y="343"/>
                  </a:lnTo>
                  <a:lnTo>
                    <a:pt x="858" y="344"/>
                  </a:lnTo>
                  <a:lnTo>
                    <a:pt x="862" y="346"/>
                  </a:lnTo>
                  <a:lnTo>
                    <a:pt x="864" y="350"/>
                  </a:lnTo>
                  <a:lnTo>
                    <a:pt x="864" y="350"/>
                  </a:lnTo>
                  <a:lnTo>
                    <a:pt x="865" y="352"/>
                  </a:lnTo>
                  <a:lnTo>
                    <a:pt x="866" y="355"/>
                  </a:lnTo>
                  <a:lnTo>
                    <a:pt x="869" y="377"/>
                  </a:lnTo>
                  <a:lnTo>
                    <a:pt x="869" y="377"/>
                  </a:lnTo>
                  <a:lnTo>
                    <a:pt x="885" y="374"/>
                  </a:lnTo>
                  <a:lnTo>
                    <a:pt x="900" y="374"/>
                  </a:lnTo>
                  <a:lnTo>
                    <a:pt x="915" y="377"/>
                  </a:lnTo>
                  <a:lnTo>
                    <a:pt x="931" y="379"/>
                  </a:lnTo>
                  <a:lnTo>
                    <a:pt x="936" y="358"/>
                  </a:lnTo>
                  <a:lnTo>
                    <a:pt x="936" y="358"/>
                  </a:lnTo>
                  <a:lnTo>
                    <a:pt x="936" y="356"/>
                  </a:lnTo>
                  <a:lnTo>
                    <a:pt x="938" y="353"/>
                  </a:lnTo>
                  <a:lnTo>
                    <a:pt x="938" y="353"/>
                  </a:lnTo>
                  <a:lnTo>
                    <a:pt x="940" y="350"/>
                  </a:lnTo>
                  <a:lnTo>
                    <a:pt x="944" y="348"/>
                  </a:lnTo>
                  <a:lnTo>
                    <a:pt x="948" y="347"/>
                  </a:lnTo>
                  <a:lnTo>
                    <a:pt x="952" y="347"/>
                  </a:lnTo>
                  <a:lnTo>
                    <a:pt x="952" y="347"/>
                  </a:lnTo>
                  <a:lnTo>
                    <a:pt x="952" y="347"/>
                  </a:lnTo>
                  <a:lnTo>
                    <a:pt x="963" y="351"/>
                  </a:lnTo>
                  <a:lnTo>
                    <a:pt x="976" y="356"/>
                  </a:lnTo>
                  <a:lnTo>
                    <a:pt x="986" y="362"/>
                  </a:lnTo>
                  <a:lnTo>
                    <a:pt x="997" y="368"/>
                  </a:lnTo>
                  <a:lnTo>
                    <a:pt x="997" y="368"/>
                  </a:lnTo>
                  <a:lnTo>
                    <a:pt x="1007" y="376"/>
                  </a:lnTo>
                  <a:lnTo>
                    <a:pt x="1018" y="384"/>
                  </a:lnTo>
                  <a:lnTo>
                    <a:pt x="1027" y="392"/>
                  </a:lnTo>
                  <a:lnTo>
                    <a:pt x="1035" y="400"/>
                  </a:lnTo>
                  <a:lnTo>
                    <a:pt x="1035" y="400"/>
                  </a:lnTo>
                  <a:lnTo>
                    <a:pt x="1035" y="400"/>
                  </a:lnTo>
                  <a:lnTo>
                    <a:pt x="1037" y="404"/>
                  </a:lnTo>
                  <a:lnTo>
                    <a:pt x="1038" y="408"/>
                  </a:lnTo>
                  <a:lnTo>
                    <a:pt x="1038" y="412"/>
                  </a:lnTo>
                  <a:lnTo>
                    <a:pt x="1036" y="416"/>
                  </a:lnTo>
                  <a:lnTo>
                    <a:pt x="1036" y="416"/>
                  </a:lnTo>
                  <a:lnTo>
                    <a:pt x="1032" y="421"/>
                  </a:lnTo>
                  <a:lnTo>
                    <a:pt x="1016" y="434"/>
                  </a:lnTo>
                  <a:lnTo>
                    <a:pt x="1016" y="434"/>
                  </a:lnTo>
                  <a:lnTo>
                    <a:pt x="1025" y="446"/>
                  </a:lnTo>
                  <a:lnTo>
                    <a:pt x="1032" y="459"/>
                  </a:lnTo>
                  <a:lnTo>
                    <a:pt x="1038" y="474"/>
                  </a:lnTo>
                  <a:lnTo>
                    <a:pt x="1043" y="488"/>
                  </a:lnTo>
                  <a:lnTo>
                    <a:pt x="1064" y="482"/>
                  </a:lnTo>
                  <a:lnTo>
                    <a:pt x="1064" y="482"/>
                  </a:lnTo>
                  <a:lnTo>
                    <a:pt x="1067" y="481"/>
                  </a:lnTo>
                  <a:lnTo>
                    <a:pt x="1070" y="481"/>
                  </a:lnTo>
                  <a:lnTo>
                    <a:pt x="1070" y="481"/>
                  </a:lnTo>
                  <a:lnTo>
                    <a:pt x="1074" y="482"/>
                  </a:lnTo>
                  <a:lnTo>
                    <a:pt x="1078" y="484"/>
                  </a:lnTo>
                  <a:lnTo>
                    <a:pt x="1081" y="487"/>
                  </a:lnTo>
                  <a:lnTo>
                    <a:pt x="1082" y="491"/>
                  </a:lnTo>
                  <a:lnTo>
                    <a:pt x="1082" y="491"/>
                  </a:lnTo>
                  <a:lnTo>
                    <a:pt x="1082" y="491"/>
                  </a:lnTo>
                  <a:lnTo>
                    <a:pt x="1084" y="503"/>
                  </a:lnTo>
                  <a:lnTo>
                    <a:pt x="1086" y="516"/>
                  </a:lnTo>
                  <a:lnTo>
                    <a:pt x="1086" y="528"/>
                  </a:lnTo>
                  <a:lnTo>
                    <a:pt x="1086" y="540"/>
                  </a:lnTo>
                  <a:lnTo>
                    <a:pt x="1086" y="5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u="none" strike="noStrike" kern="0" cap="none" spc="0" normalizeH="0" baseline="0" noProof="0">
                <a:ln>
                  <a:noFill/>
                </a:ln>
                <a:solidFill>
                  <a:sysClr val="windowText" lastClr="000000"/>
                </a:solidFill>
                <a:effectLst/>
                <a:uLnTx/>
                <a:uFillTx/>
                <a:latin typeface="CiscoSansTT Light"/>
                <a:cs typeface="CiscoSansTT Light"/>
              </a:endParaRPr>
            </a:p>
          </p:txBody>
        </p:sp>
      </p:grpSp>
    </p:spTree>
    <p:extLst>
      <p:ext uri="{BB962C8B-B14F-4D97-AF65-F5344CB8AC3E}">
        <p14:creationId xmlns:p14="http://schemas.microsoft.com/office/powerpoint/2010/main" val="532171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7766" y="341313"/>
            <a:ext cx="8584700" cy="731837"/>
          </a:xfrm>
        </p:spPr>
        <p:txBody>
          <a:bodyPr/>
          <a:lstStyle/>
          <a:p>
            <a:r>
              <a:rPr lang="en-US" sz="2700" dirty="0" smtClean="0"/>
              <a:t>Protecting Network, Cloud, Device for </a:t>
            </a:r>
            <a:r>
              <a:rPr lang="en-US" sz="2700" dirty="0"/>
              <a:t>5G, </a:t>
            </a:r>
            <a:r>
              <a:rPr lang="en-US" sz="2700" dirty="0" err="1"/>
              <a:t>IoT</a:t>
            </a:r>
            <a:r>
              <a:rPr lang="en-US" sz="2700" dirty="0"/>
              <a:t>, </a:t>
            </a:r>
            <a:r>
              <a:rPr lang="en-US" sz="2700" dirty="0" smtClean="0"/>
              <a:t>Beyond</a:t>
            </a:r>
            <a:br>
              <a:rPr lang="en-US" sz="2700" dirty="0" smtClean="0"/>
            </a:br>
            <a:endParaRPr lang="en-US" sz="2000" dirty="0"/>
          </a:p>
        </p:txBody>
      </p:sp>
      <p:graphicFrame>
        <p:nvGraphicFramePr>
          <p:cNvPr id="126" name="Chart 125"/>
          <p:cNvGraphicFramePr>
            <a:graphicFrameLocks/>
          </p:cNvGraphicFramePr>
          <p:nvPr>
            <p:extLst/>
          </p:nvPr>
        </p:nvGraphicFramePr>
        <p:xfrm>
          <a:off x="-498983" y="1053932"/>
          <a:ext cx="4440148" cy="2536824"/>
        </p:xfrm>
        <a:graphic>
          <a:graphicData uri="http://schemas.openxmlformats.org/drawingml/2006/chart">
            <c:chart xmlns:c="http://schemas.openxmlformats.org/drawingml/2006/chart" xmlns:r="http://schemas.openxmlformats.org/officeDocument/2006/relationships" r:id="rId3"/>
          </a:graphicData>
        </a:graphic>
      </p:graphicFrame>
      <p:grpSp>
        <p:nvGrpSpPr>
          <p:cNvPr id="127" name="Group 126"/>
          <p:cNvGrpSpPr/>
          <p:nvPr/>
        </p:nvGrpSpPr>
        <p:grpSpPr>
          <a:xfrm>
            <a:off x="1402380" y="2638619"/>
            <a:ext cx="637422" cy="638045"/>
            <a:chOff x="1130292" y="2381435"/>
            <a:chExt cx="774039" cy="774796"/>
          </a:xfrm>
        </p:grpSpPr>
        <p:sp>
          <p:nvSpPr>
            <p:cNvPr id="144" name="Freeform 143"/>
            <p:cNvSpPr>
              <a:spLocks noChangeAspect="1"/>
            </p:cNvSpPr>
            <p:nvPr/>
          </p:nvSpPr>
          <p:spPr bwMode="auto">
            <a:xfrm flipH="1">
              <a:off x="1130292" y="2692969"/>
              <a:ext cx="774039" cy="463262"/>
            </a:xfrm>
            <a:custGeom>
              <a:avLst/>
              <a:gdLst>
                <a:gd name="T0" fmla="*/ 699 w 799"/>
                <a:gd name="T1" fmla="*/ 264 h 464"/>
                <a:gd name="T2" fmla="*/ 698 w 799"/>
                <a:gd name="T3" fmla="*/ 264 h 464"/>
                <a:gd name="T4" fmla="*/ 699 w 799"/>
                <a:gd name="T5" fmla="*/ 253 h 464"/>
                <a:gd name="T6" fmla="*/ 635 w 799"/>
                <a:gd name="T7" fmla="*/ 190 h 464"/>
                <a:gd name="T8" fmla="*/ 623 w 799"/>
                <a:gd name="T9" fmla="*/ 191 h 464"/>
                <a:gd name="T10" fmla="*/ 629 w 799"/>
                <a:gd name="T11" fmla="*/ 153 h 464"/>
                <a:gd name="T12" fmla="*/ 457 w 799"/>
                <a:gd name="T13" fmla="*/ 0 h 464"/>
                <a:gd name="T14" fmla="*/ 288 w 799"/>
                <a:gd name="T15" fmla="*/ 124 h 464"/>
                <a:gd name="T16" fmla="*/ 229 w 799"/>
                <a:gd name="T17" fmla="*/ 102 h 464"/>
                <a:gd name="T18" fmla="*/ 138 w 799"/>
                <a:gd name="T19" fmla="*/ 194 h 464"/>
                <a:gd name="T20" fmla="*/ 138 w 799"/>
                <a:gd name="T21" fmla="*/ 199 h 464"/>
                <a:gd name="T22" fmla="*/ 133 w 799"/>
                <a:gd name="T23" fmla="*/ 198 h 464"/>
                <a:gd name="T24" fmla="*/ 0 w 799"/>
                <a:gd name="T25" fmla="*/ 331 h 464"/>
                <a:gd name="T26" fmla="*/ 133 w 799"/>
                <a:gd name="T27" fmla="*/ 464 h 464"/>
                <a:gd name="T28" fmla="*/ 699 w 799"/>
                <a:gd name="T29" fmla="*/ 464 h 464"/>
                <a:gd name="T30" fmla="*/ 799 w 799"/>
                <a:gd name="T31" fmla="*/ 364 h 464"/>
                <a:gd name="T32" fmla="*/ 699 w 799"/>
                <a:gd name="T33" fmla="*/ 2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9" h="464">
                  <a:moveTo>
                    <a:pt x="699" y="264"/>
                  </a:moveTo>
                  <a:cubicBezTo>
                    <a:pt x="698" y="264"/>
                    <a:pt x="698" y="264"/>
                    <a:pt x="698" y="264"/>
                  </a:cubicBezTo>
                  <a:cubicBezTo>
                    <a:pt x="698" y="260"/>
                    <a:pt x="699" y="257"/>
                    <a:pt x="699" y="253"/>
                  </a:cubicBezTo>
                  <a:cubicBezTo>
                    <a:pt x="699" y="218"/>
                    <a:pt x="670" y="190"/>
                    <a:pt x="635" y="190"/>
                  </a:cubicBezTo>
                  <a:cubicBezTo>
                    <a:pt x="631" y="190"/>
                    <a:pt x="627" y="190"/>
                    <a:pt x="623" y="191"/>
                  </a:cubicBezTo>
                  <a:cubicBezTo>
                    <a:pt x="627" y="179"/>
                    <a:pt x="629" y="166"/>
                    <a:pt x="629" y="153"/>
                  </a:cubicBezTo>
                  <a:cubicBezTo>
                    <a:pt x="629" y="69"/>
                    <a:pt x="552" y="0"/>
                    <a:pt x="457" y="0"/>
                  </a:cubicBezTo>
                  <a:cubicBezTo>
                    <a:pt x="373" y="0"/>
                    <a:pt x="304" y="53"/>
                    <a:pt x="288" y="124"/>
                  </a:cubicBezTo>
                  <a:cubicBezTo>
                    <a:pt x="272" y="110"/>
                    <a:pt x="252" y="102"/>
                    <a:pt x="229" y="102"/>
                  </a:cubicBezTo>
                  <a:cubicBezTo>
                    <a:pt x="179" y="102"/>
                    <a:pt x="138" y="143"/>
                    <a:pt x="138" y="194"/>
                  </a:cubicBezTo>
                  <a:cubicBezTo>
                    <a:pt x="138" y="195"/>
                    <a:pt x="138" y="197"/>
                    <a:pt x="138" y="199"/>
                  </a:cubicBezTo>
                  <a:cubicBezTo>
                    <a:pt x="133" y="198"/>
                    <a:pt x="133" y="198"/>
                    <a:pt x="133" y="198"/>
                  </a:cubicBezTo>
                  <a:cubicBezTo>
                    <a:pt x="59" y="198"/>
                    <a:pt x="0" y="257"/>
                    <a:pt x="0" y="331"/>
                  </a:cubicBezTo>
                  <a:cubicBezTo>
                    <a:pt x="0" y="404"/>
                    <a:pt x="59" y="464"/>
                    <a:pt x="133" y="464"/>
                  </a:cubicBezTo>
                  <a:cubicBezTo>
                    <a:pt x="699" y="464"/>
                    <a:pt x="699" y="464"/>
                    <a:pt x="699" y="464"/>
                  </a:cubicBezTo>
                  <a:cubicBezTo>
                    <a:pt x="754" y="464"/>
                    <a:pt x="799" y="419"/>
                    <a:pt x="799" y="364"/>
                  </a:cubicBezTo>
                  <a:cubicBezTo>
                    <a:pt x="799" y="309"/>
                    <a:pt x="754" y="264"/>
                    <a:pt x="699" y="264"/>
                  </a:cubicBezTo>
                  <a:close/>
                </a:path>
              </a:pathLst>
            </a:custGeom>
            <a:solidFill>
              <a:schemeClr val="bg1"/>
            </a:solidFill>
            <a:ln w="25400" cap="flat" cmpd="sng" algn="ctr">
              <a:noFill/>
              <a:prstDash val="solid"/>
            </a:ln>
            <a:effectLst/>
          </p:spPr>
          <p:txBody>
            <a:bodyPr lIns="162504" tIns="81251" rIns="162504" bIns="81251" rtlCol="0" anchor="ctr"/>
            <a:lstStyle/>
            <a:p>
              <a:pPr algn="ctr" defTabSz="685368">
                <a:defRPr/>
              </a:pPr>
              <a:endParaRPr lang="en-US" sz="1050" kern="0" dirty="0">
                <a:solidFill>
                  <a:srgbClr val="3366FF"/>
                </a:solidFill>
                <a:ea typeface="ＭＳ Ｐゴシック" pitchFamily="34" charset="-128"/>
              </a:endParaRPr>
            </a:p>
          </p:txBody>
        </p:sp>
        <p:sp>
          <p:nvSpPr>
            <p:cNvPr id="145" name="Rectangle 144"/>
            <p:cNvSpPr/>
            <p:nvPr/>
          </p:nvSpPr>
          <p:spPr>
            <a:xfrm>
              <a:off x="1181910" y="2381435"/>
              <a:ext cx="640094" cy="2993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t"/>
            <a:lstStyle/>
            <a:p>
              <a:pPr algn="ctr">
                <a:lnSpc>
                  <a:spcPct val="90000"/>
                </a:lnSpc>
              </a:pPr>
              <a:r>
                <a:rPr lang="en-US" sz="1100" b="1" dirty="0" smtClean="0">
                  <a:solidFill>
                    <a:srgbClr val="FFFFFF"/>
                  </a:solidFill>
                </a:rPr>
                <a:t>Cloud</a:t>
              </a:r>
              <a:endParaRPr lang="en-US" sz="1600" b="1" dirty="0">
                <a:solidFill>
                  <a:srgbClr val="FFFFFF"/>
                </a:solidFill>
              </a:endParaRPr>
            </a:p>
          </p:txBody>
        </p:sp>
      </p:grpSp>
      <p:grpSp>
        <p:nvGrpSpPr>
          <p:cNvPr id="128" name="Group 127"/>
          <p:cNvGrpSpPr/>
          <p:nvPr/>
        </p:nvGrpSpPr>
        <p:grpSpPr>
          <a:xfrm>
            <a:off x="1969303" y="1499265"/>
            <a:ext cx="638631" cy="663411"/>
            <a:chOff x="5044136" y="1846883"/>
            <a:chExt cx="988712" cy="1027076"/>
          </a:xfrm>
        </p:grpSpPr>
        <p:sp>
          <p:nvSpPr>
            <p:cNvPr id="136" name="Rectangle 135"/>
            <p:cNvSpPr/>
            <p:nvPr/>
          </p:nvSpPr>
          <p:spPr>
            <a:xfrm>
              <a:off x="5044136" y="1846883"/>
              <a:ext cx="988712" cy="36976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t"/>
            <a:lstStyle/>
            <a:p>
              <a:pPr algn="ctr">
                <a:lnSpc>
                  <a:spcPct val="90000"/>
                </a:lnSpc>
              </a:pPr>
              <a:r>
                <a:rPr lang="en-US" sz="1100" b="1" dirty="0" smtClean="0">
                  <a:solidFill>
                    <a:srgbClr val="FFFFFF"/>
                  </a:solidFill>
                </a:rPr>
                <a:t>Network</a:t>
              </a:r>
              <a:r>
                <a:rPr lang="en-US" sz="1600" b="1" dirty="0" smtClean="0">
                  <a:solidFill>
                    <a:srgbClr val="FFFFFF"/>
                  </a:solidFill>
                </a:rPr>
                <a:t/>
              </a:r>
              <a:br>
                <a:rPr lang="en-US" sz="1600" b="1" dirty="0" smtClean="0">
                  <a:solidFill>
                    <a:srgbClr val="FFFFFF"/>
                  </a:solidFill>
                </a:rPr>
              </a:br>
              <a:endParaRPr lang="en-US" sz="1600" b="1" dirty="0">
                <a:solidFill>
                  <a:srgbClr val="FFFFFF"/>
                </a:solidFill>
              </a:endParaRPr>
            </a:p>
          </p:txBody>
        </p:sp>
        <p:grpSp>
          <p:nvGrpSpPr>
            <p:cNvPr id="137" name="Group 136"/>
            <p:cNvGrpSpPr>
              <a:grpSpLocks noChangeAspect="1"/>
            </p:cNvGrpSpPr>
            <p:nvPr/>
          </p:nvGrpSpPr>
          <p:grpSpPr>
            <a:xfrm>
              <a:off x="5233550" y="2256405"/>
              <a:ext cx="617554" cy="617554"/>
              <a:chOff x="-1195388" y="1227138"/>
              <a:chExt cx="879475" cy="879475"/>
            </a:xfrm>
          </p:grpSpPr>
          <p:sp>
            <p:nvSpPr>
              <p:cNvPr id="138" name="Freeform 6"/>
              <p:cNvSpPr>
                <a:spLocks/>
              </p:cNvSpPr>
              <p:nvPr/>
            </p:nvSpPr>
            <p:spPr bwMode="auto">
              <a:xfrm>
                <a:off x="-604838" y="1598613"/>
                <a:ext cx="138113" cy="136525"/>
              </a:xfrm>
              <a:custGeom>
                <a:avLst/>
                <a:gdLst>
                  <a:gd name="T0" fmla="*/ 43 w 518"/>
                  <a:gd name="T1" fmla="*/ 0 h 518"/>
                  <a:gd name="T2" fmla="*/ 60 w 518"/>
                  <a:gd name="T3" fmla="*/ 0 h 518"/>
                  <a:gd name="T4" fmla="*/ 75 w 518"/>
                  <a:gd name="T5" fmla="*/ 5 h 518"/>
                  <a:gd name="T6" fmla="*/ 88 w 518"/>
                  <a:gd name="T7" fmla="*/ 14 h 518"/>
                  <a:gd name="T8" fmla="*/ 504 w 518"/>
                  <a:gd name="T9" fmla="*/ 430 h 518"/>
                  <a:gd name="T10" fmla="*/ 514 w 518"/>
                  <a:gd name="T11" fmla="*/ 443 h 518"/>
                  <a:gd name="T12" fmla="*/ 518 w 518"/>
                  <a:gd name="T13" fmla="*/ 459 h 518"/>
                  <a:gd name="T14" fmla="*/ 518 w 518"/>
                  <a:gd name="T15" fmla="*/ 475 h 518"/>
                  <a:gd name="T16" fmla="*/ 514 w 518"/>
                  <a:gd name="T17" fmla="*/ 490 h 518"/>
                  <a:gd name="T18" fmla="*/ 504 w 518"/>
                  <a:gd name="T19" fmla="*/ 503 h 518"/>
                  <a:gd name="T20" fmla="*/ 493 w 518"/>
                  <a:gd name="T21" fmla="*/ 512 h 518"/>
                  <a:gd name="T22" fmla="*/ 481 w 518"/>
                  <a:gd name="T23" fmla="*/ 516 h 518"/>
                  <a:gd name="T24" fmla="*/ 468 w 518"/>
                  <a:gd name="T25" fmla="*/ 518 h 518"/>
                  <a:gd name="T26" fmla="*/ 454 w 518"/>
                  <a:gd name="T27" fmla="*/ 516 h 518"/>
                  <a:gd name="T28" fmla="*/ 441 w 518"/>
                  <a:gd name="T29" fmla="*/ 512 h 518"/>
                  <a:gd name="T30" fmla="*/ 431 w 518"/>
                  <a:gd name="T31" fmla="*/ 503 h 518"/>
                  <a:gd name="T32" fmla="*/ 15 w 518"/>
                  <a:gd name="T33" fmla="*/ 88 h 518"/>
                  <a:gd name="T34" fmla="*/ 5 w 518"/>
                  <a:gd name="T35" fmla="*/ 74 h 518"/>
                  <a:gd name="T36" fmla="*/ 0 w 518"/>
                  <a:gd name="T37" fmla="*/ 59 h 518"/>
                  <a:gd name="T38" fmla="*/ 0 w 518"/>
                  <a:gd name="T39" fmla="*/ 42 h 518"/>
                  <a:gd name="T40" fmla="*/ 5 w 518"/>
                  <a:gd name="T41" fmla="*/ 27 h 518"/>
                  <a:gd name="T42" fmla="*/ 15 w 518"/>
                  <a:gd name="T43" fmla="*/ 14 h 518"/>
                  <a:gd name="T44" fmla="*/ 28 w 518"/>
                  <a:gd name="T45" fmla="*/ 5 h 518"/>
                  <a:gd name="T46" fmla="*/ 43 w 518"/>
                  <a:gd name="T47"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8" h="518">
                    <a:moveTo>
                      <a:pt x="43" y="0"/>
                    </a:moveTo>
                    <a:lnTo>
                      <a:pt x="60" y="0"/>
                    </a:lnTo>
                    <a:lnTo>
                      <a:pt x="75" y="5"/>
                    </a:lnTo>
                    <a:lnTo>
                      <a:pt x="88" y="14"/>
                    </a:lnTo>
                    <a:lnTo>
                      <a:pt x="504" y="430"/>
                    </a:lnTo>
                    <a:lnTo>
                      <a:pt x="514" y="443"/>
                    </a:lnTo>
                    <a:lnTo>
                      <a:pt x="518" y="459"/>
                    </a:lnTo>
                    <a:lnTo>
                      <a:pt x="518" y="475"/>
                    </a:lnTo>
                    <a:lnTo>
                      <a:pt x="514" y="490"/>
                    </a:lnTo>
                    <a:lnTo>
                      <a:pt x="504" y="503"/>
                    </a:lnTo>
                    <a:lnTo>
                      <a:pt x="493" y="512"/>
                    </a:lnTo>
                    <a:lnTo>
                      <a:pt x="481" y="516"/>
                    </a:lnTo>
                    <a:lnTo>
                      <a:pt x="468" y="518"/>
                    </a:lnTo>
                    <a:lnTo>
                      <a:pt x="454" y="516"/>
                    </a:lnTo>
                    <a:lnTo>
                      <a:pt x="441" y="512"/>
                    </a:lnTo>
                    <a:lnTo>
                      <a:pt x="431" y="503"/>
                    </a:lnTo>
                    <a:lnTo>
                      <a:pt x="15" y="88"/>
                    </a:lnTo>
                    <a:lnTo>
                      <a:pt x="5" y="74"/>
                    </a:lnTo>
                    <a:lnTo>
                      <a:pt x="0" y="59"/>
                    </a:lnTo>
                    <a:lnTo>
                      <a:pt x="0" y="42"/>
                    </a:lnTo>
                    <a:lnTo>
                      <a:pt x="5" y="27"/>
                    </a:lnTo>
                    <a:lnTo>
                      <a:pt x="15" y="14"/>
                    </a:lnTo>
                    <a:lnTo>
                      <a:pt x="28" y="5"/>
                    </a:lnTo>
                    <a:lnTo>
                      <a:pt x="4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139" name="Freeform 7"/>
              <p:cNvSpPr>
                <a:spLocks/>
              </p:cNvSpPr>
              <p:nvPr/>
            </p:nvSpPr>
            <p:spPr bwMode="auto">
              <a:xfrm>
                <a:off x="-1044576" y="1598613"/>
                <a:ext cx="138113" cy="136525"/>
              </a:xfrm>
              <a:custGeom>
                <a:avLst/>
                <a:gdLst>
                  <a:gd name="T0" fmla="*/ 459 w 519"/>
                  <a:gd name="T1" fmla="*/ 0 h 518"/>
                  <a:gd name="T2" fmla="*/ 475 w 519"/>
                  <a:gd name="T3" fmla="*/ 0 h 518"/>
                  <a:gd name="T4" fmla="*/ 491 w 519"/>
                  <a:gd name="T5" fmla="*/ 5 h 518"/>
                  <a:gd name="T6" fmla="*/ 504 w 519"/>
                  <a:gd name="T7" fmla="*/ 14 h 518"/>
                  <a:gd name="T8" fmla="*/ 514 w 519"/>
                  <a:gd name="T9" fmla="*/ 27 h 518"/>
                  <a:gd name="T10" fmla="*/ 519 w 519"/>
                  <a:gd name="T11" fmla="*/ 42 h 518"/>
                  <a:gd name="T12" fmla="*/ 519 w 519"/>
                  <a:gd name="T13" fmla="*/ 59 h 518"/>
                  <a:gd name="T14" fmla="*/ 514 w 519"/>
                  <a:gd name="T15" fmla="*/ 74 h 518"/>
                  <a:gd name="T16" fmla="*/ 504 w 519"/>
                  <a:gd name="T17" fmla="*/ 88 h 518"/>
                  <a:gd name="T18" fmla="*/ 89 w 519"/>
                  <a:gd name="T19" fmla="*/ 503 h 518"/>
                  <a:gd name="T20" fmla="*/ 78 w 519"/>
                  <a:gd name="T21" fmla="*/ 512 h 518"/>
                  <a:gd name="T22" fmla="*/ 64 w 519"/>
                  <a:gd name="T23" fmla="*/ 516 h 518"/>
                  <a:gd name="T24" fmla="*/ 52 w 519"/>
                  <a:gd name="T25" fmla="*/ 518 h 518"/>
                  <a:gd name="T26" fmla="*/ 39 w 519"/>
                  <a:gd name="T27" fmla="*/ 516 h 518"/>
                  <a:gd name="T28" fmla="*/ 26 w 519"/>
                  <a:gd name="T29" fmla="*/ 512 h 518"/>
                  <a:gd name="T30" fmla="*/ 15 w 519"/>
                  <a:gd name="T31" fmla="*/ 503 h 518"/>
                  <a:gd name="T32" fmla="*/ 5 w 519"/>
                  <a:gd name="T33" fmla="*/ 490 h 518"/>
                  <a:gd name="T34" fmla="*/ 0 w 519"/>
                  <a:gd name="T35" fmla="*/ 475 h 518"/>
                  <a:gd name="T36" fmla="*/ 0 w 519"/>
                  <a:gd name="T37" fmla="*/ 459 h 518"/>
                  <a:gd name="T38" fmla="*/ 5 w 519"/>
                  <a:gd name="T39" fmla="*/ 443 h 518"/>
                  <a:gd name="T40" fmla="*/ 15 w 519"/>
                  <a:gd name="T41" fmla="*/ 430 h 518"/>
                  <a:gd name="T42" fmla="*/ 431 w 519"/>
                  <a:gd name="T43" fmla="*/ 14 h 518"/>
                  <a:gd name="T44" fmla="*/ 444 w 519"/>
                  <a:gd name="T45" fmla="*/ 5 h 518"/>
                  <a:gd name="T46" fmla="*/ 459 w 519"/>
                  <a:gd name="T47"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518">
                    <a:moveTo>
                      <a:pt x="459" y="0"/>
                    </a:moveTo>
                    <a:lnTo>
                      <a:pt x="475" y="0"/>
                    </a:lnTo>
                    <a:lnTo>
                      <a:pt x="491" y="5"/>
                    </a:lnTo>
                    <a:lnTo>
                      <a:pt x="504" y="14"/>
                    </a:lnTo>
                    <a:lnTo>
                      <a:pt x="514" y="27"/>
                    </a:lnTo>
                    <a:lnTo>
                      <a:pt x="519" y="42"/>
                    </a:lnTo>
                    <a:lnTo>
                      <a:pt x="519" y="59"/>
                    </a:lnTo>
                    <a:lnTo>
                      <a:pt x="514" y="74"/>
                    </a:lnTo>
                    <a:lnTo>
                      <a:pt x="504" y="88"/>
                    </a:lnTo>
                    <a:lnTo>
                      <a:pt x="89" y="503"/>
                    </a:lnTo>
                    <a:lnTo>
                      <a:pt x="78" y="512"/>
                    </a:lnTo>
                    <a:lnTo>
                      <a:pt x="64" y="516"/>
                    </a:lnTo>
                    <a:lnTo>
                      <a:pt x="52" y="518"/>
                    </a:lnTo>
                    <a:lnTo>
                      <a:pt x="39" y="516"/>
                    </a:lnTo>
                    <a:lnTo>
                      <a:pt x="26" y="512"/>
                    </a:lnTo>
                    <a:lnTo>
                      <a:pt x="15" y="503"/>
                    </a:lnTo>
                    <a:lnTo>
                      <a:pt x="5" y="490"/>
                    </a:lnTo>
                    <a:lnTo>
                      <a:pt x="0" y="475"/>
                    </a:lnTo>
                    <a:lnTo>
                      <a:pt x="0" y="459"/>
                    </a:lnTo>
                    <a:lnTo>
                      <a:pt x="5" y="443"/>
                    </a:lnTo>
                    <a:lnTo>
                      <a:pt x="15" y="430"/>
                    </a:lnTo>
                    <a:lnTo>
                      <a:pt x="431" y="14"/>
                    </a:lnTo>
                    <a:lnTo>
                      <a:pt x="444" y="5"/>
                    </a:lnTo>
                    <a:lnTo>
                      <a:pt x="45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140" name="Freeform 8"/>
              <p:cNvSpPr>
                <a:spLocks/>
              </p:cNvSpPr>
              <p:nvPr/>
            </p:nvSpPr>
            <p:spPr bwMode="auto">
              <a:xfrm>
                <a:off x="-879476" y="1900238"/>
                <a:ext cx="247650" cy="26988"/>
              </a:xfrm>
              <a:custGeom>
                <a:avLst/>
                <a:gdLst>
                  <a:gd name="T0" fmla="*/ 52 w 935"/>
                  <a:gd name="T1" fmla="*/ 0 h 103"/>
                  <a:gd name="T2" fmla="*/ 883 w 935"/>
                  <a:gd name="T3" fmla="*/ 0 h 103"/>
                  <a:gd name="T4" fmla="*/ 900 w 935"/>
                  <a:gd name="T5" fmla="*/ 2 h 103"/>
                  <a:gd name="T6" fmla="*/ 914 w 935"/>
                  <a:gd name="T7" fmla="*/ 10 h 103"/>
                  <a:gd name="T8" fmla="*/ 926 w 935"/>
                  <a:gd name="T9" fmla="*/ 21 h 103"/>
                  <a:gd name="T10" fmla="*/ 933 w 935"/>
                  <a:gd name="T11" fmla="*/ 35 h 103"/>
                  <a:gd name="T12" fmla="*/ 935 w 935"/>
                  <a:gd name="T13" fmla="*/ 51 h 103"/>
                  <a:gd name="T14" fmla="*/ 933 w 935"/>
                  <a:gd name="T15" fmla="*/ 68 h 103"/>
                  <a:gd name="T16" fmla="*/ 926 w 935"/>
                  <a:gd name="T17" fmla="*/ 82 h 103"/>
                  <a:gd name="T18" fmla="*/ 914 w 935"/>
                  <a:gd name="T19" fmla="*/ 93 h 103"/>
                  <a:gd name="T20" fmla="*/ 900 w 935"/>
                  <a:gd name="T21" fmla="*/ 101 h 103"/>
                  <a:gd name="T22" fmla="*/ 883 w 935"/>
                  <a:gd name="T23" fmla="*/ 103 h 103"/>
                  <a:gd name="T24" fmla="*/ 52 w 935"/>
                  <a:gd name="T25" fmla="*/ 103 h 103"/>
                  <a:gd name="T26" fmla="*/ 36 w 935"/>
                  <a:gd name="T27" fmla="*/ 101 h 103"/>
                  <a:gd name="T28" fmla="*/ 22 w 935"/>
                  <a:gd name="T29" fmla="*/ 93 h 103"/>
                  <a:gd name="T30" fmla="*/ 11 w 935"/>
                  <a:gd name="T31" fmla="*/ 82 h 103"/>
                  <a:gd name="T32" fmla="*/ 3 w 935"/>
                  <a:gd name="T33" fmla="*/ 68 h 103"/>
                  <a:gd name="T34" fmla="*/ 0 w 935"/>
                  <a:gd name="T35" fmla="*/ 51 h 103"/>
                  <a:gd name="T36" fmla="*/ 3 w 935"/>
                  <a:gd name="T37" fmla="*/ 35 h 103"/>
                  <a:gd name="T38" fmla="*/ 11 w 935"/>
                  <a:gd name="T39" fmla="*/ 21 h 103"/>
                  <a:gd name="T40" fmla="*/ 22 w 935"/>
                  <a:gd name="T41" fmla="*/ 10 h 103"/>
                  <a:gd name="T42" fmla="*/ 36 w 935"/>
                  <a:gd name="T43" fmla="*/ 2 h 103"/>
                  <a:gd name="T44" fmla="*/ 52 w 935"/>
                  <a:gd name="T4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5" h="103">
                    <a:moveTo>
                      <a:pt x="52" y="0"/>
                    </a:moveTo>
                    <a:lnTo>
                      <a:pt x="883" y="0"/>
                    </a:lnTo>
                    <a:lnTo>
                      <a:pt x="900" y="2"/>
                    </a:lnTo>
                    <a:lnTo>
                      <a:pt x="914" y="10"/>
                    </a:lnTo>
                    <a:lnTo>
                      <a:pt x="926" y="21"/>
                    </a:lnTo>
                    <a:lnTo>
                      <a:pt x="933" y="35"/>
                    </a:lnTo>
                    <a:lnTo>
                      <a:pt x="935" y="51"/>
                    </a:lnTo>
                    <a:lnTo>
                      <a:pt x="933" y="68"/>
                    </a:lnTo>
                    <a:lnTo>
                      <a:pt x="926" y="82"/>
                    </a:lnTo>
                    <a:lnTo>
                      <a:pt x="914" y="93"/>
                    </a:lnTo>
                    <a:lnTo>
                      <a:pt x="900" y="101"/>
                    </a:lnTo>
                    <a:lnTo>
                      <a:pt x="883" y="103"/>
                    </a:lnTo>
                    <a:lnTo>
                      <a:pt x="52" y="103"/>
                    </a:lnTo>
                    <a:lnTo>
                      <a:pt x="36" y="101"/>
                    </a:lnTo>
                    <a:lnTo>
                      <a:pt x="22" y="93"/>
                    </a:lnTo>
                    <a:lnTo>
                      <a:pt x="11" y="82"/>
                    </a:lnTo>
                    <a:lnTo>
                      <a:pt x="3" y="68"/>
                    </a:lnTo>
                    <a:lnTo>
                      <a:pt x="0" y="51"/>
                    </a:lnTo>
                    <a:lnTo>
                      <a:pt x="3" y="35"/>
                    </a:lnTo>
                    <a:lnTo>
                      <a:pt x="11" y="21"/>
                    </a:lnTo>
                    <a:lnTo>
                      <a:pt x="22" y="10"/>
                    </a:lnTo>
                    <a:lnTo>
                      <a:pt x="36" y="2"/>
                    </a:lnTo>
                    <a:lnTo>
                      <a:pt x="5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141" name="Freeform 9"/>
              <p:cNvSpPr>
                <a:spLocks noEditPoints="1"/>
              </p:cNvSpPr>
              <p:nvPr/>
            </p:nvSpPr>
            <p:spPr bwMode="auto">
              <a:xfrm>
                <a:off x="-892176" y="1227138"/>
                <a:ext cx="274638" cy="330200"/>
              </a:xfrm>
              <a:custGeom>
                <a:avLst/>
                <a:gdLst>
                  <a:gd name="T0" fmla="*/ 207 w 1039"/>
                  <a:gd name="T1" fmla="*/ 207 h 1248"/>
                  <a:gd name="T2" fmla="*/ 207 w 1039"/>
                  <a:gd name="T3" fmla="*/ 831 h 1248"/>
                  <a:gd name="T4" fmla="*/ 831 w 1039"/>
                  <a:gd name="T5" fmla="*/ 831 h 1248"/>
                  <a:gd name="T6" fmla="*/ 831 w 1039"/>
                  <a:gd name="T7" fmla="*/ 207 h 1248"/>
                  <a:gd name="T8" fmla="*/ 207 w 1039"/>
                  <a:gd name="T9" fmla="*/ 207 h 1248"/>
                  <a:gd name="T10" fmla="*/ 103 w 1039"/>
                  <a:gd name="T11" fmla="*/ 0 h 1248"/>
                  <a:gd name="T12" fmla="*/ 934 w 1039"/>
                  <a:gd name="T13" fmla="*/ 0 h 1248"/>
                  <a:gd name="T14" fmla="*/ 959 w 1039"/>
                  <a:gd name="T15" fmla="*/ 2 h 1248"/>
                  <a:gd name="T16" fmla="*/ 980 w 1039"/>
                  <a:gd name="T17" fmla="*/ 10 h 1248"/>
                  <a:gd name="T18" fmla="*/ 999 w 1039"/>
                  <a:gd name="T19" fmla="*/ 23 h 1248"/>
                  <a:gd name="T20" fmla="*/ 1016 w 1039"/>
                  <a:gd name="T21" fmla="*/ 39 h 1248"/>
                  <a:gd name="T22" fmla="*/ 1028 w 1039"/>
                  <a:gd name="T23" fmla="*/ 58 h 1248"/>
                  <a:gd name="T24" fmla="*/ 1036 w 1039"/>
                  <a:gd name="T25" fmla="*/ 81 h 1248"/>
                  <a:gd name="T26" fmla="*/ 1039 w 1039"/>
                  <a:gd name="T27" fmla="*/ 104 h 1248"/>
                  <a:gd name="T28" fmla="*/ 1039 w 1039"/>
                  <a:gd name="T29" fmla="*/ 1143 h 1248"/>
                  <a:gd name="T30" fmla="*/ 1036 w 1039"/>
                  <a:gd name="T31" fmla="*/ 1167 h 1248"/>
                  <a:gd name="T32" fmla="*/ 1028 w 1039"/>
                  <a:gd name="T33" fmla="*/ 1189 h 1248"/>
                  <a:gd name="T34" fmla="*/ 1016 w 1039"/>
                  <a:gd name="T35" fmla="*/ 1208 h 1248"/>
                  <a:gd name="T36" fmla="*/ 999 w 1039"/>
                  <a:gd name="T37" fmla="*/ 1224 h 1248"/>
                  <a:gd name="T38" fmla="*/ 980 w 1039"/>
                  <a:gd name="T39" fmla="*/ 1236 h 1248"/>
                  <a:gd name="T40" fmla="*/ 959 w 1039"/>
                  <a:gd name="T41" fmla="*/ 1245 h 1248"/>
                  <a:gd name="T42" fmla="*/ 934 w 1039"/>
                  <a:gd name="T43" fmla="*/ 1248 h 1248"/>
                  <a:gd name="T44" fmla="*/ 103 w 1039"/>
                  <a:gd name="T45" fmla="*/ 1248 h 1248"/>
                  <a:gd name="T46" fmla="*/ 80 w 1039"/>
                  <a:gd name="T47" fmla="*/ 1245 h 1248"/>
                  <a:gd name="T48" fmla="*/ 58 w 1039"/>
                  <a:gd name="T49" fmla="*/ 1236 h 1248"/>
                  <a:gd name="T50" fmla="*/ 38 w 1039"/>
                  <a:gd name="T51" fmla="*/ 1224 h 1248"/>
                  <a:gd name="T52" fmla="*/ 22 w 1039"/>
                  <a:gd name="T53" fmla="*/ 1208 h 1248"/>
                  <a:gd name="T54" fmla="*/ 10 w 1039"/>
                  <a:gd name="T55" fmla="*/ 1189 h 1248"/>
                  <a:gd name="T56" fmla="*/ 2 w 1039"/>
                  <a:gd name="T57" fmla="*/ 1167 h 1248"/>
                  <a:gd name="T58" fmla="*/ 0 w 1039"/>
                  <a:gd name="T59" fmla="*/ 1143 h 1248"/>
                  <a:gd name="T60" fmla="*/ 0 w 1039"/>
                  <a:gd name="T61" fmla="*/ 104 h 1248"/>
                  <a:gd name="T62" fmla="*/ 2 w 1039"/>
                  <a:gd name="T63" fmla="*/ 81 h 1248"/>
                  <a:gd name="T64" fmla="*/ 10 w 1039"/>
                  <a:gd name="T65" fmla="*/ 58 h 1248"/>
                  <a:gd name="T66" fmla="*/ 22 w 1039"/>
                  <a:gd name="T67" fmla="*/ 39 h 1248"/>
                  <a:gd name="T68" fmla="*/ 38 w 1039"/>
                  <a:gd name="T69" fmla="*/ 23 h 1248"/>
                  <a:gd name="T70" fmla="*/ 58 w 1039"/>
                  <a:gd name="T71" fmla="*/ 10 h 1248"/>
                  <a:gd name="T72" fmla="*/ 80 w 1039"/>
                  <a:gd name="T73" fmla="*/ 2 h 1248"/>
                  <a:gd name="T74" fmla="*/ 103 w 1039"/>
                  <a:gd name="T75" fmla="*/ 0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9" h="1248">
                    <a:moveTo>
                      <a:pt x="207" y="207"/>
                    </a:moveTo>
                    <a:lnTo>
                      <a:pt x="207" y="831"/>
                    </a:lnTo>
                    <a:lnTo>
                      <a:pt x="831" y="831"/>
                    </a:lnTo>
                    <a:lnTo>
                      <a:pt x="831" y="207"/>
                    </a:lnTo>
                    <a:lnTo>
                      <a:pt x="207" y="207"/>
                    </a:lnTo>
                    <a:close/>
                    <a:moveTo>
                      <a:pt x="103" y="0"/>
                    </a:moveTo>
                    <a:lnTo>
                      <a:pt x="934" y="0"/>
                    </a:lnTo>
                    <a:lnTo>
                      <a:pt x="959" y="2"/>
                    </a:lnTo>
                    <a:lnTo>
                      <a:pt x="980" y="10"/>
                    </a:lnTo>
                    <a:lnTo>
                      <a:pt x="999" y="23"/>
                    </a:lnTo>
                    <a:lnTo>
                      <a:pt x="1016" y="39"/>
                    </a:lnTo>
                    <a:lnTo>
                      <a:pt x="1028" y="58"/>
                    </a:lnTo>
                    <a:lnTo>
                      <a:pt x="1036" y="81"/>
                    </a:lnTo>
                    <a:lnTo>
                      <a:pt x="1039" y="104"/>
                    </a:lnTo>
                    <a:lnTo>
                      <a:pt x="1039" y="1143"/>
                    </a:lnTo>
                    <a:lnTo>
                      <a:pt x="1036" y="1167"/>
                    </a:lnTo>
                    <a:lnTo>
                      <a:pt x="1028" y="1189"/>
                    </a:lnTo>
                    <a:lnTo>
                      <a:pt x="1016" y="1208"/>
                    </a:lnTo>
                    <a:lnTo>
                      <a:pt x="999" y="1224"/>
                    </a:lnTo>
                    <a:lnTo>
                      <a:pt x="980" y="1236"/>
                    </a:lnTo>
                    <a:lnTo>
                      <a:pt x="959" y="1245"/>
                    </a:lnTo>
                    <a:lnTo>
                      <a:pt x="934" y="1248"/>
                    </a:lnTo>
                    <a:lnTo>
                      <a:pt x="103" y="1248"/>
                    </a:lnTo>
                    <a:lnTo>
                      <a:pt x="80" y="1245"/>
                    </a:lnTo>
                    <a:lnTo>
                      <a:pt x="58" y="1236"/>
                    </a:lnTo>
                    <a:lnTo>
                      <a:pt x="38" y="1224"/>
                    </a:lnTo>
                    <a:lnTo>
                      <a:pt x="22" y="1208"/>
                    </a:lnTo>
                    <a:lnTo>
                      <a:pt x="10" y="1189"/>
                    </a:lnTo>
                    <a:lnTo>
                      <a:pt x="2" y="1167"/>
                    </a:lnTo>
                    <a:lnTo>
                      <a:pt x="0" y="1143"/>
                    </a:lnTo>
                    <a:lnTo>
                      <a:pt x="0" y="104"/>
                    </a:lnTo>
                    <a:lnTo>
                      <a:pt x="2" y="81"/>
                    </a:lnTo>
                    <a:lnTo>
                      <a:pt x="10" y="58"/>
                    </a:lnTo>
                    <a:lnTo>
                      <a:pt x="22" y="39"/>
                    </a:lnTo>
                    <a:lnTo>
                      <a:pt x="38" y="23"/>
                    </a:lnTo>
                    <a:lnTo>
                      <a:pt x="58" y="10"/>
                    </a:lnTo>
                    <a:lnTo>
                      <a:pt x="80" y="2"/>
                    </a:lnTo>
                    <a:lnTo>
                      <a:pt x="10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142" name="Freeform 10"/>
              <p:cNvSpPr>
                <a:spLocks noEditPoints="1"/>
              </p:cNvSpPr>
              <p:nvPr/>
            </p:nvSpPr>
            <p:spPr bwMode="auto">
              <a:xfrm>
                <a:off x="-1195388" y="1776413"/>
                <a:ext cx="274638" cy="330200"/>
              </a:xfrm>
              <a:custGeom>
                <a:avLst/>
                <a:gdLst>
                  <a:gd name="T0" fmla="*/ 208 w 1039"/>
                  <a:gd name="T1" fmla="*/ 208 h 1247"/>
                  <a:gd name="T2" fmla="*/ 208 w 1039"/>
                  <a:gd name="T3" fmla="*/ 831 h 1247"/>
                  <a:gd name="T4" fmla="*/ 831 w 1039"/>
                  <a:gd name="T5" fmla="*/ 831 h 1247"/>
                  <a:gd name="T6" fmla="*/ 831 w 1039"/>
                  <a:gd name="T7" fmla="*/ 208 h 1247"/>
                  <a:gd name="T8" fmla="*/ 208 w 1039"/>
                  <a:gd name="T9" fmla="*/ 208 h 1247"/>
                  <a:gd name="T10" fmla="*/ 104 w 1039"/>
                  <a:gd name="T11" fmla="*/ 0 h 1247"/>
                  <a:gd name="T12" fmla="*/ 936 w 1039"/>
                  <a:gd name="T13" fmla="*/ 0 h 1247"/>
                  <a:gd name="T14" fmla="*/ 959 w 1039"/>
                  <a:gd name="T15" fmla="*/ 3 h 1247"/>
                  <a:gd name="T16" fmla="*/ 981 w 1039"/>
                  <a:gd name="T17" fmla="*/ 10 h 1247"/>
                  <a:gd name="T18" fmla="*/ 1001 w 1039"/>
                  <a:gd name="T19" fmla="*/ 22 h 1247"/>
                  <a:gd name="T20" fmla="*/ 1017 w 1039"/>
                  <a:gd name="T21" fmla="*/ 38 h 1247"/>
                  <a:gd name="T22" fmla="*/ 1029 w 1039"/>
                  <a:gd name="T23" fmla="*/ 58 h 1247"/>
                  <a:gd name="T24" fmla="*/ 1036 w 1039"/>
                  <a:gd name="T25" fmla="*/ 80 h 1247"/>
                  <a:gd name="T26" fmla="*/ 1039 w 1039"/>
                  <a:gd name="T27" fmla="*/ 103 h 1247"/>
                  <a:gd name="T28" fmla="*/ 1039 w 1039"/>
                  <a:gd name="T29" fmla="*/ 1143 h 1247"/>
                  <a:gd name="T30" fmla="*/ 1036 w 1039"/>
                  <a:gd name="T31" fmla="*/ 1167 h 1247"/>
                  <a:gd name="T32" fmla="*/ 1029 w 1039"/>
                  <a:gd name="T33" fmla="*/ 1189 h 1247"/>
                  <a:gd name="T34" fmla="*/ 1017 w 1039"/>
                  <a:gd name="T35" fmla="*/ 1208 h 1247"/>
                  <a:gd name="T36" fmla="*/ 1001 w 1039"/>
                  <a:gd name="T37" fmla="*/ 1224 h 1247"/>
                  <a:gd name="T38" fmla="*/ 981 w 1039"/>
                  <a:gd name="T39" fmla="*/ 1237 h 1247"/>
                  <a:gd name="T40" fmla="*/ 959 w 1039"/>
                  <a:gd name="T41" fmla="*/ 1244 h 1247"/>
                  <a:gd name="T42" fmla="*/ 936 w 1039"/>
                  <a:gd name="T43" fmla="*/ 1247 h 1247"/>
                  <a:gd name="T44" fmla="*/ 104 w 1039"/>
                  <a:gd name="T45" fmla="*/ 1247 h 1247"/>
                  <a:gd name="T46" fmla="*/ 80 w 1039"/>
                  <a:gd name="T47" fmla="*/ 1244 h 1247"/>
                  <a:gd name="T48" fmla="*/ 58 w 1039"/>
                  <a:gd name="T49" fmla="*/ 1237 h 1247"/>
                  <a:gd name="T50" fmla="*/ 39 w 1039"/>
                  <a:gd name="T51" fmla="*/ 1224 h 1247"/>
                  <a:gd name="T52" fmla="*/ 23 w 1039"/>
                  <a:gd name="T53" fmla="*/ 1208 h 1247"/>
                  <a:gd name="T54" fmla="*/ 10 w 1039"/>
                  <a:gd name="T55" fmla="*/ 1189 h 1247"/>
                  <a:gd name="T56" fmla="*/ 3 w 1039"/>
                  <a:gd name="T57" fmla="*/ 1167 h 1247"/>
                  <a:gd name="T58" fmla="*/ 0 w 1039"/>
                  <a:gd name="T59" fmla="*/ 1143 h 1247"/>
                  <a:gd name="T60" fmla="*/ 0 w 1039"/>
                  <a:gd name="T61" fmla="*/ 103 h 1247"/>
                  <a:gd name="T62" fmla="*/ 3 w 1039"/>
                  <a:gd name="T63" fmla="*/ 80 h 1247"/>
                  <a:gd name="T64" fmla="*/ 10 w 1039"/>
                  <a:gd name="T65" fmla="*/ 58 h 1247"/>
                  <a:gd name="T66" fmla="*/ 23 w 1039"/>
                  <a:gd name="T67" fmla="*/ 38 h 1247"/>
                  <a:gd name="T68" fmla="*/ 39 w 1039"/>
                  <a:gd name="T69" fmla="*/ 22 h 1247"/>
                  <a:gd name="T70" fmla="*/ 58 w 1039"/>
                  <a:gd name="T71" fmla="*/ 10 h 1247"/>
                  <a:gd name="T72" fmla="*/ 80 w 1039"/>
                  <a:gd name="T73" fmla="*/ 3 h 1247"/>
                  <a:gd name="T74" fmla="*/ 104 w 1039"/>
                  <a:gd name="T75" fmla="*/ 0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9" h="1247">
                    <a:moveTo>
                      <a:pt x="208" y="208"/>
                    </a:moveTo>
                    <a:lnTo>
                      <a:pt x="208" y="831"/>
                    </a:lnTo>
                    <a:lnTo>
                      <a:pt x="831" y="831"/>
                    </a:lnTo>
                    <a:lnTo>
                      <a:pt x="831" y="208"/>
                    </a:lnTo>
                    <a:lnTo>
                      <a:pt x="208" y="208"/>
                    </a:lnTo>
                    <a:close/>
                    <a:moveTo>
                      <a:pt x="104" y="0"/>
                    </a:moveTo>
                    <a:lnTo>
                      <a:pt x="936" y="0"/>
                    </a:lnTo>
                    <a:lnTo>
                      <a:pt x="959" y="3"/>
                    </a:lnTo>
                    <a:lnTo>
                      <a:pt x="981" y="10"/>
                    </a:lnTo>
                    <a:lnTo>
                      <a:pt x="1001" y="22"/>
                    </a:lnTo>
                    <a:lnTo>
                      <a:pt x="1017" y="38"/>
                    </a:lnTo>
                    <a:lnTo>
                      <a:pt x="1029" y="58"/>
                    </a:lnTo>
                    <a:lnTo>
                      <a:pt x="1036" y="80"/>
                    </a:lnTo>
                    <a:lnTo>
                      <a:pt x="1039" y="103"/>
                    </a:lnTo>
                    <a:lnTo>
                      <a:pt x="1039" y="1143"/>
                    </a:lnTo>
                    <a:lnTo>
                      <a:pt x="1036" y="1167"/>
                    </a:lnTo>
                    <a:lnTo>
                      <a:pt x="1029" y="1189"/>
                    </a:lnTo>
                    <a:lnTo>
                      <a:pt x="1017" y="1208"/>
                    </a:lnTo>
                    <a:lnTo>
                      <a:pt x="1001" y="1224"/>
                    </a:lnTo>
                    <a:lnTo>
                      <a:pt x="981" y="1237"/>
                    </a:lnTo>
                    <a:lnTo>
                      <a:pt x="959" y="1244"/>
                    </a:lnTo>
                    <a:lnTo>
                      <a:pt x="936" y="1247"/>
                    </a:lnTo>
                    <a:lnTo>
                      <a:pt x="104" y="1247"/>
                    </a:lnTo>
                    <a:lnTo>
                      <a:pt x="80" y="1244"/>
                    </a:lnTo>
                    <a:lnTo>
                      <a:pt x="58" y="1237"/>
                    </a:lnTo>
                    <a:lnTo>
                      <a:pt x="39" y="1224"/>
                    </a:lnTo>
                    <a:lnTo>
                      <a:pt x="23" y="1208"/>
                    </a:lnTo>
                    <a:lnTo>
                      <a:pt x="10" y="1189"/>
                    </a:lnTo>
                    <a:lnTo>
                      <a:pt x="3" y="1167"/>
                    </a:lnTo>
                    <a:lnTo>
                      <a:pt x="0" y="1143"/>
                    </a:lnTo>
                    <a:lnTo>
                      <a:pt x="0" y="103"/>
                    </a:lnTo>
                    <a:lnTo>
                      <a:pt x="3" y="80"/>
                    </a:lnTo>
                    <a:lnTo>
                      <a:pt x="10" y="58"/>
                    </a:lnTo>
                    <a:lnTo>
                      <a:pt x="23" y="38"/>
                    </a:lnTo>
                    <a:lnTo>
                      <a:pt x="39" y="22"/>
                    </a:lnTo>
                    <a:lnTo>
                      <a:pt x="58" y="10"/>
                    </a:lnTo>
                    <a:lnTo>
                      <a:pt x="80" y="3"/>
                    </a:lnTo>
                    <a:lnTo>
                      <a:pt x="10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143" name="Freeform 11"/>
              <p:cNvSpPr>
                <a:spLocks noEditPoints="1"/>
              </p:cNvSpPr>
              <p:nvPr/>
            </p:nvSpPr>
            <p:spPr bwMode="auto">
              <a:xfrm>
                <a:off x="-590551" y="1776413"/>
                <a:ext cx="274638" cy="330200"/>
              </a:xfrm>
              <a:custGeom>
                <a:avLst/>
                <a:gdLst>
                  <a:gd name="T0" fmla="*/ 209 w 1040"/>
                  <a:gd name="T1" fmla="*/ 208 h 1247"/>
                  <a:gd name="T2" fmla="*/ 209 w 1040"/>
                  <a:gd name="T3" fmla="*/ 831 h 1247"/>
                  <a:gd name="T4" fmla="*/ 832 w 1040"/>
                  <a:gd name="T5" fmla="*/ 831 h 1247"/>
                  <a:gd name="T6" fmla="*/ 832 w 1040"/>
                  <a:gd name="T7" fmla="*/ 208 h 1247"/>
                  <a:gd name="T8" fmla="*/ 209 w 1040"/>
                  <a:gd name="T9" fmla="*/ 208 h 1247"/>
                  <a:gd name="T10" fmla="*/ 105 w 1040"/>
                  <a:gd name="T11" fmla="*/ 0 h 1247"/>
                  <a:gd name="T12" fmla="*/ 936 w 1040"/>
                  <a:gd name="T13" fmla="*/ 0 h 1247"/>
                  <a:gd name="T14" fmla="*/ 959 w 1040"/>
                  <a:gd name="T15" fmla="*/ 3 h 1247"/>
                  <a:gd name="T16" fmla="*/ 982 w 1040"/>
                  <a:gd name="T17" fmla="*/ 10 h 1247"/>
                  <a:gd name="T18" fmla="*/ 1001 w 1040"/>
                  <a:gd name="T19" fmla="*/ 22 h 1247"/>
                  <a:gd name="T20" fmla="*/ 1017 w 1040"/>
                  <a:gd name="T21" fmla="*/ 38 h 1247"/>
                  <a:gd name="T22" fmla="*/ 1030 w 1040"/>
                  <a:gd name="T23" fmla="*/ 58 h 1247"/>
                  <a:gd name="T24" fmla="*/ 1038 w 1040"/>
                  <a:gd name="T25" fmla="*/ 80 h 1247"/>
                  <a:gd name="T26" fmla="*/ 1040 w 1040"/>
                  <a:gd name="T27" fmla="*/ 103 h 1247"/>
                  <a:gd name="T28" fmla="*/ 1040 w 1040"/>
                  <a:gd name="T29" fmla="*/ 1143 h 1247"/>
                  <a:gd name="T30" fmla="*/ 1038 w 1040"/>
                  <a:gd name="T31" fmla="*/ 1167 h 1247"/>
                  <a:gd name="T32" fmla="*/ 1030 w 1040"/>
                  <a:gd name="T33" fmla="*/ 1189 h 1247"/>
                  <a:gd name="T34" fmla="*/ 1017 w 1040"/>
                  <a:gd name="T35" fmla="*/ 1208 h 1247"/>
                  <a:gd name="T36" fmla="*/ 1001 w 1040"/>
                  <a:gd name="T37" fmla="*/ 1224 h 1247"/>
                  <a:gd name="T38" fmla="*/ 982 w 1040"/>
                  <a:gd name="T39" fmla="*/ 1237 h 1247"/>
                  <a:gd name="T40" fmla="*/ 959 w 1040"/>
                  <a:gd name="T41" fmla="*/ 1244 h 1247"/>
                  <a:gd name="T42" fmla="*/ 936 w 1040"/>
                  <a:gd name="T43" fmla="*/ 1247 h 1247"/>
                  <a:gd name="T44" fmla="*/ 105 w 1040"/>
                  <a:gd name="T45" fmla="*/ 1247 h 1247"/>
                  <a:gd name="T46" fmla="*/ 81 w 1040"/>
                  <a:gd name="T47" fmla="*/ 1244 h 1247"/>
                  <a:gd name="T48" fmla="*/ 59 w 1040"/>
                  <a:gd name="T49" fmla="*/ 1237 h 1247"/>
                  <a:gd name="T50" fmla="*/ 40 w 1040"/>
                  <a:gd name="T51" fmla="*/ 1224 h 1247"/>
                  <a:gd name="T52" fmla="*/ 24 w 1040"/>
                  <a:gd name="T53" fmla="*/ 1208 h 1247"/>
                  <a:gd name="T54" fmla="*/ 12 w 1040"/>
                  <a:gd name="T55" fmla="*/ 1189 h 1247"/>
                  <a:gd name="T56" fmla="*/ 4 w 1040"/>
                  <a:gd name="T57" fmla="*/ 1167 h 1247"/>
                  <a:gd name="T58" fmla="*/ 0 w 1040"/>
                  <a:gd name="T59" fmla="*/ 1143 h 1247"/>
                  <a:gd name="T60" fmla="*/ 0 w 1040"/>
                  <a:gd name="T61" fmla="*/ 103 h 1247"/>
                  <a:gd name="T62" fmla="*/ 4 w 1040"/>
                  <a:gd name="T63" fmla="*/ 80 h 1247"/>
                  <a:gd name="T64" fmla="*/ 12 w 1040"/>
                  <a:gd name="T65" fmla="*/ 58 h 1247"/>
                  <a:gd name="T66" fmla="*/ 24 w 1040"/>
                  <a:gd name="T67" fmla="*/ 38 h 1247"/>
                  <a:gd name="T68" fmla="*/ 40 w 1040"/>
                  <a:gd name="T69" fmla="*/ 22 h 1247"/>
                  <a:gd name="T70" fmla="*/ 59 w 1040"/>
                  <a:gd name="T71" fmla="*/ 10 h 1247"/>
                  <a:gd name="T72" fmla="*/ 81 w 1040"/>
                  <a:gd name="T73" fmla="*/ 3 h 1247"/>
                  <a:gd name="T74" fmla="*/ 105 w 1040"/>
                  <a:gd name="T75" fmla="*/ 0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0" h="1247">
                    <a:moveTo>
                      <a:pt x="209" y="208"/>
                    </a:moveTo>
                    <a:lnTo>
                      <a:pt x="209" y="831"/>
                    </a:lnTo>
                    <a:lnTo>
                      <a:pt x="832" y="831"/>
                    </a:lnTo>
                    <a:lnTo>
                      <a:pt x="832" y="208"/>
                    </a:lnTo>
                    <a:lnTo>
                      <a:pt x="209" y="208"/>
                    </a:lnTo>
                    <a:close/>
                    <a:moveTo>
                      <a:pt x="105" y="0"/>
                    </a:moveTo>
                    <a:lnTo>
                      <a:pt x="936" y="0"/>
                    </a:lnTo>
                    <a:lnTo>
                      <a:pt x="959" y="3"/>
                    </a:lnTo>
                    <a:lnTo>
                      <a:pt x="982" y="10"/>
                    </a:lnTo>
                    <a:lnTo>
                      <a:pt x="1001" y="22"/>
                    </a:lnTo>
                    <a:lnTo>
                      <a:pt x="1017" y="38"/>
                    </a:lnTo>
                    <a:lnTo>
                      <a:pt x="1030" y="58"/>
                    </a:lnTo>
                    <a:lnTo>
                      <a:pt x="1038" y="80"/>
                    </a:lnTo>
                    <a:lnTo>
                      <a:pt x="1040" y="103"/>
                    </a:lnTo>
                    <a:lnTo>
                      <a:pt x="1040" y="1143"/>
                    </a:lnTo>
                    <a:lnTo>
                      <a:pt x="1038" y="1167"/>
                    </a:lnTo>
                    <a:lnTo>
                      <a:pt x="1030" y="1189"/>
                    </a:lnTo>
                    <a:lnTo>
                      <a:pt x="1017" y="1208"/>
                    </a:lnTo>
                    <a:lnTo>
                      <a:pt x="1001" y="1224"/>
                    </a:lnTo>
                    <a:lnTo>
                      <a:pt x="982" y="1237"/>
                    </a:lnTo>
                    <a:lnTo>
                      <a:pt x="959" y="1244"/>
                    </a:lnTo>
                    <a:lnTo>
                      <a:pt x="936" y="1247"/>
                    </a:lnTo>
                    <a:lnTo>
                      <a:pt x="105" y="1247"/>
                    </a:lnTo>
                    <a:lnTo>
                      <a:pt x="81" y="1244"/>
                    </a:lnTo>
                    <a:lnTo>
                      <a:pt x="59" y="1237"/>
                    </a:lnTo>
                    <a:lnTo>
                      <a:pt x="40" y="1224"/>
                    </a:lnTo>
                    <a:lnTo>
                      <a:pt x="24" y="1208"/>
                    </a:lnTo>
                    <a:lnTo>
                      <a:pt x="12" y="1189"/>
                    </a:lnTo>
                    <a:lnTo>
                      <a:pt x="4" y="1167"/>
                    </a:lnTo>
                    <a:lnTo>
                      <a:pt x="0" y="1143"/>
                    </a:lnTo>
                    <a:lnTo>
                      <a:pt x="0" y="103"/>
                    </a:lnTo>
                    <a:lnTo>
                      <a:pt x="4" y="80"/>
                    </a:lnTo>
                    <a:lnTo>
                      <a:pt x="12" y="58"/>
                    </a:lnTo>
                    <a:lnTo>
                      <a:pt x="24" y="38"/>
                    </a:lnTo>
                    <a:lnTo>
                      <a:pt x="40" y="22"/>
                    </a:lnTo>
                    <a:lnTo>
                      <a:pt x="59" y="10"/>
                    </a:lnTo>
                    <a:lnTo>
                      <a:pt x="81" y="3"/>
                    </a:lnTo>
                    <a:lnTo>
                      <a:pt x="1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grpSp>
      </p:grpSp>
      <p:grpSp>
        <p:nvGrpSpPr>
          <p:cNvPr id="129" name="Group 128"/>
          <p:cNvGrpSpPr/>
          <p:nvPr/>
        </p:nvGrpSpPr>
        <p:grpSpPr>
          <a:xfrm>
            <a:off x="1034400" y="1486161"/>
            <a:ext cx="488411" cy="713181"/>
            <a:chOff x="1185951" y="1740754"/>
            <a:chExt cx="756145" cy="1104129"/>
          </a:xfrm>
        </p:grpSpPr>
        <p:sp>
          <p:nvSpPr>
            <p:cNvPr id="130" name="Rectangle 129"/>
            <p:cNvSpPr/>
            <p:nvPr/>
          </p:nvSpPr>
          <p:spPr>
            <a:xfrm>
              <a:off x="1185951" y="1740754"/>
              <a:ext cx="756145" cy="38984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t"/>
            <a:lstStyle/>
            <a:p>
              <a:pPr algn="ctr">
                <a:lnSpc>
                  <a:spcPct val="90000"/>
                </a:lnSpc>
              </a:pPr>
              <a:r>
                <a:rPr lang="en-US" sz="1100" b="1" dirty="0" smtClean="0">
                  <a:solidFill>
                    <a:srgbClr val="FFFFFF"/>
                  </a:solidFill>
                </a:rPr>
                <a:t>Device</a:t>
              </a:r>
              <a:endParaRPr lang="en-US" sz="1400" b="1" dirty="0">
                <a:solidFill>
                  <a:srgbClr val="FFFFFF"/>
                </a:solidFill>
              </a:endParaRPr>
            </a:p>
          </p:txBody>
        </p:sp>
        <p:grpSp>
          <p:nvGrpSpPr>
            <p:cNvPr id="131" name="Group 130"/>
            <p:cNvGrpSpPr/>
            <p:nvPr/>
          </p:nvGrpSpPr>
          <p:grpSpPr>
            <a:xfrm>
              <a:off x="1242676" y="2233071"/>
              <a:ext cx="642775" cy="611812"/>
              <a:chOff x="1419352" y="2052874"/>
              <a:chExt cx="995436" cy="890856"/>
            </a:xfrm>
          </p:grpSpPr>
          <p:sp>
            <p:nvSpPr>
              <p:cNvPr id="132" name="Freeform 113"/>
              <p:cNvSpPr>
                <a:spLocks noEditPoints="1"/>
              </p:cNvSpPr>
              <p:nvPr/>
            </p:nvSpPr>
            <p:spPr bwMode="auto">
              <a:xfrm>
                <a:off x="1760636" y="2052874"/>
                <a:ext cx="654152" cy="863195"/>
              </a:xfrm>
              <a:custGeom>
                <a:avLst/>
                <a:gdLst>
                  <a:gd name="T0" fmla="*/ 424 w 464"/>
                  <a:gd name="T1" fmla="*/ 0 h 626"/>
                  <a:gd name="T2" fmla="*/ 39 w 464"/>
                  <a:gd name="T3" fmla="*/ 0 h 626"/>
                  <a:gd name="T4" fmla="*/ 39 w 464"/>
                  <a:gd name="T5" fmla="*/ 0 h 626"/>
                  <a:gd name="T6" fmla="*/ 31 w 464"/>
                  <a:gd name="T7" fmla="*/ 2 h 626"/>
                  <a:gd name="T8" fmla="*/ 23 w 464"/>
                  <a:gd name="T9" fmla="*/ 3 h 626"/>
                  <a:gd name="T10" fmla="*/ 16 w 464"/>
                  <a:gd name="T11" fmla="*/ 7 h 626"/>
                  <a:gd name="T12" fmla="*/ 10 w 464"/>
                  <a:gd name="T13" fmla="*/ 13 h 626"/>
                  <a:gd name="T14" fmla="*/ 6 w 464"/>
                  <a:gd name="T15" fmla="*/ 18 h 626"/>
                  <a:gd name="T16" fmla="*/ 2 w 464"/>
                  <a:gd name="T17" fmla="*/ 25 h 626"/>
                  <a:gd name="T18" fmla="*/ 0 w 464"/>
                  <a:gd name="T19" fmla="*/ 31 h 626"/>
                  <a:gd name="T20" fmla="*/ 0 w 464"/>
                  <a:gd name="T21" fmla="*/ 40 h 626"/>
                  <a:gd name="T22" fmla="*/ 0 w 464"/>
                  <a:gd name="T23" fmla="*/ 587 h 626"/>
                  <a:gd name="T24" fmla="*/ 0 w 464"/>
                  <a:gd name="T25" fmla="*/ 587 h 626"/>
                  <a:gd name="T26" fmla="*/ 0 w 464"/>
                  <a:gd name="T27" fmla="*/ 595 h 626"/>
                  <a:gd name="T28" fmla="*/ 2 w 464"/>
                  <a:gd name="T29" fmla="*/ 602 h 626"/>
                  <a:gd name="T30" fmla="*/ 6 w 464"/>
                  <a:gd name="T31" fmla="*/ 609 h 626"/>
                  <a:gd name="T32" fmla="*/ 10 w 464"/>
                  <a:gd name="T33" fmla="*/ 615 h 626"/>
                  <a:gd name="T34" fmla="*/ 16 w 464"/>
                  <a:gd name="T35" fmla="*/ 619 h 626"/>
                  <a:gd name="T36" fmla="*/ 23 w 464"/>
                  <a:gd name="T37" fmla="*/ 623 h 626"/>
                  <a:gd name="T38" fmla="*/ 31 w 464"/>
                  <a:gd name="T39" fmla="*/ 626 h 626"/>
                  <a:gd name="T40" fmla="*/ 39 w 464"/>
                  <a:gd name="T41" fmla="*/ 626 h 626"/>
                  <a:gd name="T42" fmla="*/ 424 w 464"/>
                  <a:gd name="T43" fmla="*/ 626 h 626"/>
                  <a:gd name="T44" fmla="*/ 424 w 464"/>
                  <a:gd name="T45" fmla="*/ 626 h 626"/>
                  <a:gd name="T46" fmla="*/ 433 w 464"/>
                  <a:gd name="T47" fmla="*/ 626 h 626"/>
                  <a:gd name="T48" fmla="*/ 439 w 464"/>
                  <a:gd name="T49" fmla="*/ 623 h 626"/>
                  <a:gd name="T50" fmla="*/ 446 w 464"/>
                  <a:gd name="T51" fmla="*/ 619 h 626"/>
                  <a:gd name="T52" fmla="*/ 453 w 464"/>
                  <a:gd name="T53" fmla="*/ 615 h 626"/>
                  <a:gd name="T54" fmla="*/ 457 w 464"/>
                  <a:gd name="T55" fmla="*/ 609 h 626"/>
                  <a:gd name="T56" fmla="*/ 461 w 464"/>
                  <a:gd name="T57" fmla="*/ 602 h 626"/>
                  <a:gd name="T58" fmla="*/ 464 w 464"/>
                  <a:gd name="T59" fmla="*/ 595 h 626"/>
                  <a:gd name="T60" fmla="*/ 464 w 464"/>
                  <a:gd name="T61" fmla="*/ 587 h 626"/>
                  <a:gd name="T62" fmla="*/ 464 w 464"/>
                  <a:gd name="T63" fmla="*/ 40 h 626"/>
                  <a:gd name="T64" fmla="*/ 464 w 464"/>
                  <a:gd name="T65" fmla="*/ 40 h 626"/>
                  <a:gd name="T66" fmla="*/ 464 w 464"/>
                  <a:gd name="T67" fmla="*/ 31 h 626"/>
                  <a:gd name="T68" fmla="*/ 461 w 464"/>
                  <a:gd name="T69" fmla="*/ 25 h 626"/>
                  <a:gd name="T70" fmla="*/ 457 w 464"/>
                  <a:gd name="T71" fmla="*/ 18 h 626"/>
                  <a:gd name="T72" fmla="*/ 453 w 464"/>
                  <a:gd name="T73" fmla="*/ 13 h 626"/>
                  <a:gd name="T74" fmla="*/ 446 w 464"/>
                  <a:gd name="T75" fmla="*/ 7 h 626"/>
                  <a:gd name="T76" fmla="*/ 439 w 464"/>
                  <a:gd name="T77" fmla="*/ 3 h 626"/>
                  <a:gd name="T78" fmla="*/ 433 w 464"/>
                  <a:gd name="T79" fmla="*/ 2 h 626"/>
                  <a:gd name="T80" fmla="*/ 424 w 464"/>
                  <a:gd name="T81" fmla="*/ 0 h 626"/>
                  <a:gd name="T82" fmla="*/ 424 w 464"/>
                  <a:gd name="T83" fmla="*/ 0 h 626"/>
                  <a:gd name="T84" fmla="*/ 135 w 464"/>
                  <a:gd name="T85" fmla="*/ 587 h 626"/>
                  <a:gd name="T86" fmla="*/ 86 w 464"/>
                  <a:gd name="T87" fmla="*/ 587 h 626"/>
                  <a:gd name="T88" fmla="*/ 86 w 464"/>
                  <a:gd name="T89" fmla="*/ 571 h 626"/>
                  <a:gd name="T90" fmla="*/ 135 w 464"/>
                  <a:gd name="T91" fmla="*/ 571 h 626"/>
                  <a:gd name="T92" fmla="*/ 135 w 464"/>
                  <a:gd name="T93" fmla="*/ 587 h 626"/>
                  <a:gd name="T94" fmla="*/ 271 w 464"/>
                  <a:gd name="T95" fmla="*/ 591 h 626"/>
                  <a:gd name="T96" fmla="*/ 192 w 464"/>
                  <a:gd name="T97" fmla="*/ 591 h 626"/>
                  <a:gd name="T98" fmla="*/ 192 w 464"/>
                  <a:gd name="T99" fmla="*/ 567 h 626"/>
                  <a:gd name="T100" fmla="*/ 271 w 464"/>
                  <a:gd name="T101" fmla="*/ 567 h 626"/>
                  <a:gd name="T102" fmla="*/ 271 w 464"/>
                  <a:gd name="T103" fmla="*/ 591 h 626"/>
                  <a:gd name="T104" fmla="*/ 377 w 464"/>
                  <a:gd name="T105" fmla="*/ 587 h 626"/>
                  <a:gd name="T106" fmla="*/ 329 w 464"/>
                  <a:gd name="T107" fmla="*/ 587 h 626"/>
                  <a:gd name="T108" fmla="*/ 329 w 464"/>
                  <a:gd name="T109" fmla="*/ 571 h 626"/>
                  <a:gd name="T110" fmla="*/ 377 w 464"/>
                  <a:gd name="T111" fmla="*/ 571 h 626"/>
                  <a:gd name="T112" fmla="*/ 377 w 464"/>
                  <a:gd name="T113" fmla="*/ 587 h 626"/>
                  <a:gd name="T114" fmla="*/ 412 w 464"/>
                  <a:gd name="T115" fmla="*/ 534 h 626"/>
                  <a:gd name="T116" fmla="*/ 51 w 464"/>
                  <a:gd name="T117" fmla="*/ 534 h 626"/>
                  <a:gd name="T118" fmla="*/ 51 w 464"/>
                  <a:gd name="T119" fmla="*/ 56 h 626"/>
                  <a:gd name="T120" fmla="*/ 412 w 464"/>
                  <a:gd name="T121" fmla="*/ 56 h 626"/>
                  <a:gd name="T122" fmla="*/ 412 w 464"/>
                  <a:gd name="T123" fmla="*/ 53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4" h="626">
                    <a:moveTo>
                      <a:pt x="424" y="0"/>
                    </a:moveTo>
                    <a:lnTo>
                      <a:pt x="39" y="0"/>
                    </a:lnTo>
                    <a:lnTo>
                      <a:pt x="39" y="0"/>
                    </a:lnTo>
                    <a:lnTo>
                      <a:pt x="31" y="2"/>
                    </a:lnTo>
                    <a:lnTo>
                      <a:pt x="23" y="3"/>
                    </a:lnTo>
                    <a:lnTo>
                      <a:pt x="16" y="7"/>
                    </a:lnTo>
                    <a:lnTo>
                      <a:pt x="10" y="13"/>
                    </a:lnTo>
                    <a:lnTo>
                      <a:pt x="6" y="18"/>
                    </a:lnTo>
                    <a:lnTo>
                      <a:pt x="2" y="25"/>
                    </a:lnTo>
                    <a:lnTo>
                      <a:pt x="0" y="31"/>
                    </a:lnTo>
                    <a:lnTo>
                      <a:pt x="0" y="40"/>
                    </a:lnTo>
                    <a:lnTo>
                      <a:pt x="0" y="587"/>
                    </a:lnTo>
                    <a:lnTo>
                      <a:pt x="0" y="587"/>
                    </a:lnTo>
                    <a:lnTo>
                      <a:pt x="0" y="595"/>
                    </a:lnTo>
                    <a:lnTo>
                      <a:pt x="2" y="602"/>
                    </a:lnTo>
                    <a:lnTo>
                      <a:pt x="6" y="609"/>
                    </a:lnTo>
                    <a:lnTo>
                      <a:pt x="10" y="615"/>
                    </a:lnTo>
                    <a:lnTo>
                      <a:pt x="16" y="619"/>
                    </a:lnTo>
                    <a:lnTo>
                      <a:pt x="23" y="623"/>
                    </a:lnTo>
                    <a:lnTo>
                      <a:pt x="31" y="626"/>
                    </a:lnTo>
                    <a:lnTo>
                      <a:pt x="39" y="626"/>
                    </a:lnTo>
                    <a:lnTo>
                      <a:pt x="424" y="626"/>
                    </a:lnTo>
                    <a:lnTo>
                      <a:pt x="424" y="626"/>
                    </a:lnTo>
                    <a:lnTo>
                      <a:pt x="433" y="626"/>
                    </a:lnTo>
                    <a:lnTo>
                      <a:pt x="439" y="623"/>
                    </a:lnTo>
                    <a:lnTo>
                      <a:pt x="446" y="619"/>
                    </a:lnTo>
                    <a:lnTo>
                      <a:pt x="453" y="615"/>
                    </a:lnTo>
                    <a:lnTo>
                      <a:pt x="457" y="609"/>
                    </a:lnTo>
                    <a:lnTo>
                      <a:pt x="461" y="602"/>
                    </a:lnTo>
                    <a:lnTo>
                      <a:pt x="464" y="595"/>
                    </a:lnTo>
                    <a:lnTo>
                      <a:pt x="464" y="587"/>
                    </a:lnTo>
                    <a:lnTo>
                      <a:pt x="464" y="40"/>
                    </a:lnTo>
                    <a:lnTo>
                      <a:pt x="464" y="40"/>
                    </a:lnTo>
                    <a:lnTo>
                      <a:pt x="464" y="31"/>
                    </a:lnTo>
                    <a:lnTo>
                      <a:pt x="461" y="25"/>
                    </a:lnTo>
                    <a:lnTo>
                      <a:pt x="457" y="18"/>
                    </a:lnTo>
                    <a:lnTo>
                      <a:pt x="453" y="13"/>
                    </a:lnTo>
                    <a:lnTo>
                      <a:pt x="446" y="7"/>
                    </a:lnTo>
                    <a:lnTo>
                      <a:pt x="439" y="3"/>
                    </a:lnTo>
                    <a:lnTo>
                      <a:pt x="433" y="2"/>
                    </a:lnTo>
                    <a:lnTo>
                      <a:pt x="424" y="0"/>
                    </a:lnTo>
                    <a:lnTo>
                      <a:pt x="424" y="0"/>
                    </a:lnTo>
                    <a:close/>
                    <a:moveTo>
                      <a:pt x="135" y="587"/>
                    </a:moveTo>
                    <a:lnTo>
                      <a:pt x="86" y="587"/>
                    </a:lnTo>
                    <a:lnTo>
                      <a:pt x="86" y="571"/>
                    </a:lnTo>
                    <a:lnTo>
                      <a:pt x="135" y="571"/>
                    </a:lnTo>
                    <a:lnTo>
                      <a:pt x="135" y="587"/>
                    </a:lnTo>
                    <a:close/>
                    <a:moveTo>
                      <a:pt x="271" y="591"/>
                    </a:moveTo>
                    <a:lnTo>
                      <a:pt x="192" y="591"/>
                    </a:lnTo>
                    <a:lnTo>
                      <a:pt x="192" y="567"/>
                    </a:lnTo>
                    <a:lnTo>
                      <a:pt x="271" y="567"/>
                    </a:lnTo>
                    <a:lnTo>
                      <a:pt x="271" y="591"/>
                    </a:lnTo>
                    <a:close/>
                    <a:moveTo>
                      <a:pt x="377" y="587"/>
                    </a:moveTo>
                    <a:lnTo>
                      <a:pt x="329" y="587"/>
                    </a:lnTo>
                    <a:lnTo>
                      <a:pt x="329" y="571"/>
                    </a:lnTo>
                    <a:lnTo>
                      <a:pt x="377" y="571"/>
                    </a:lnTo>
                    <a:lnTo>
                      <a:pt x="377" y="587"/>
                    </a:lnTo>
                    <a:close/>
                    <a:moveTo>
                      <a:pt x="412" y="534"/>
                    </a:moveTo>
                    <a:lnTo>
                      <a:pt x="51" y="534"/>
                    </a:lnTo>
                    <a:lnTo>
                      <a:pt x="51" y="56"/>
                    </a:lnTo>
                    <a:lnTo>
                      <a:pt x="412" y="56"/>
                    </a:lnTo>
                    <a:lnTo>
                      <a:pt x="412" y="53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3" name="Rounded Rectangle 132"/>
              <p:cNvSpPr/>
              <p:nvPr/>
            </p:nvSpPr>
            <p:spPr>
              <a:xfrm>
                <a:off x="1419352" y="2253821"/>
                <a:ext cx="437593" cy="689909"/>
              </a:xfrm>
              <a:prstGeom prst="roundRect">
                <a:avLst>
                  <a:gd name="adj" fmla="val 18337"/>
                </a:avLst>
              </a:prstGeom>
              <a:solidFill>
                <a:srgbClr val="57B8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sp>
            <p:nvSpPr>
              <p:cNvPr id="134" name="Freeform 133"/>
              <p:cNvSpPr>
                <a:spLocks noEditPoints="1"/>
              </p:cNvSpPr>
              <p:nvPr/>
            </p:nvSpPr>
            <p:spPr bwMode="auto">
              <a:xfrm>
                <a:off x="1455179" y="2279107"/>
                <a:ext cx="373695" cy="641448"/>
              </a:xfrm>
              <a:custGeom>
                <a:avLst/>
                <a:gdLst>
                  <a:gd name="T0" fmla="*/ 66 w 387"/>
                  <a:gd name="T1" fmla="*/ 0 h 666"/>
                  <a:gd name="T2" fmla="*/ 53 w 387"/>
                  <a:gd name="T3" fmla="*/ 1 h 666"/>
                  <a:gd name="T4" fmla="*/ 30 w 387"/>
                  <a:gd name="T5" fmla="*/ 12 h 666"/>
                  <a:gd name="T6" fmla="*/ 12 w 387"/>
                  <a:gd name="T7" fmla="*/ 34 h 666"/>
                  <a:gd name="T8" fmla="*/ 1 w 387"/>
                  <a:gd name="T9" fmla="*/ 61 h 666"/>
                  <a:gd name="T10" fmla="*/ 0 w 387"/>
                  <a:gd name="T11" fmla="*/ 588 h 666"/>
                  <a:gd name="T12" fmla="*/ 1 w 387"/>
                  <a:gd name="T13" fmla="*/ 604 h 666"/>
                  <a:gd name="T14" fmla="*/ 12 w 387"/>
                  <a:gd name="T15" fmla="*/ 632 h 666"/>
                  <a:gd name="T16" fmla="*/ 30 w 387"/>
                  <a:gd name="T17" fmla="*/ 653 h 666"/>
                  <a:gd name="T18" fmla="*/ 53 w 387"/>
                  <a:gd name="T19" fmla="*/ 665 h 666"/>
                  <a:gd name="T20" fmla="*/ 321 w 387"/>
                  <a:gd name="T21" fmla="*/ 666 h 666"/>
                  <a:gd name="T22" fmla="*/ 334 w 387"/>
                  <a:gd name="T23" fmla="*/ 665 h 666"/>
                  <a:gd name="T24" fmla="*/ 359 w 387"/>
                  <a:gd name="T25" fmla="*/ 653 h 666"/>
                  <a:gd name="T26" fmla="*/ 376 w 387"/>
                  <a:gd name="T27" fmla="*/ 632 h 666"/>
                  <a:gd name="T28" fmla="*/ 386 w 387"/>
                  <a:gd name="T29" fmla="*/ 604 h 666"/>
                  <a:gd name="T30" fmla="*/ 387 w 387"/>
                  <a:gd name="T31" fmla="*/ 77 h 666"/>
                  <a:gd name="T32" fmla="*/ 386 w 387"/>
                  <a:gd name="T33" fmla="*/ 61 h 666"/>
                  <a:gd name="T34" fmla="*/ 376 w 387"/>
                  <a:gd name="T35" fmla="*/ 34 h 666"/>
                  <a:gd name="T36" fmla="*/ 359 w 387"/>
                  <a:gd name="T37" fmla="*/ 12 h 666"/>
                  <a:gd name="T38" fmla="*/ 334 w 387"/>
                  <a:gd name="T39" fmla="*/ 1 h 666"/>
                  <a:gd name="T40" fmla="*/ 321 w 387"/>
                  <a:gd name="T41" fmla="*/ 0 h 666"/>
                  <a:gd name="T42" fmla="*/ 236 w 387"/>
                  <a:gd name="T43" fmla="*/ 30 h 666"/>
                  <a:gd name="T44" fmla="*/ 152 w 387"/>
                  <a:gd name="T45" fmla="*/ 50 h 666"/>
                  <a:gd name="T46" fmla="*/ 103 w 387"/>
                  <a:gd name="T47" fmla="*/ 593 h 666"/>
                  <a:gd name="T48" fmla="*/ 103 w 387"/>
                  <a:gd name="T49" fmla="*/ 595 h 666"/>
                  <a:gd name="T50" fmla="*/ 98 w 387"/>
                  <a:gd name="T51" fmla="*/ 597 h 666"/>
                  <a:gd name="T52" fmla="*/ 58 w 387"/>
                  <a:gd name="T53" fmla="*/ 597 h 666"/>
                  <a:gd name="T54" fmla="*/ 55 w 387"/>
                  <a:gd name="T55" fmla="*/ 597 h 666"/>
                  <a:gd name="T56" fmla="*/ 53 w 387"/>
                  <a:gd name="T57" fmla="*/ 595 h 666"/>
                  <a:gd name="T58" fmla="*/ 51 w 387"/>
                  <a:gd name="T59" fmla="*/ 572 h 666"/>
                  <a:gd name="T60" fmla="*/ 53 w 387"/>
                  <a:gd name="T61" fmla="*/ 569 h 666"/>
                  <a:gd name="T62" fmla="*/ 55 w 387"/>
                  <a:gd name="T63" fmla="*/ 566 h 666"/>
                  <a:gd name="T64" fmla="*/ 97 w 387"/>
                  <a:gd name="T65" fmla="*/ 566 h 666"/>
                  <a:gd name="T66" fmla="*/ 98 w 387"/>
                  <a:gd name="T67" fmla="*/ 566 h 666"/>
                  <a:gd name="T68" fmla="*/ 103 w 387"/>
                  <a:gd name="T69" fmla="*/ 569 h 666"/>
                  <a:gd name="T70" fmla="*/ 103 w 387"/>
                  <a:gd name="T71" fmla="*/ 593 h 666"/>
                  <a:gd name="T72" fmla="*/ 245 w 387"/>
                  <a:gd name="T73" fmla="*/ 620 h 666"/>
                  <a:gd name="T74" fmla="*/ 241 w 387"/>
                  <a:gd name="T75" fmla="*/ 630 h 666"/>
                  <a:gd name="T76" fmla="*/ 232 w 387"/>
                  <a:gd name="T77" fmla="*/ 634 h 666"/>
                  <a:gd name="T78" fmla="*/ 155 w 387"/>
                  <a:gd name="T79" fmla="*/ 634 h 666"/>
                  <a:gd name="T80" fmla="*/ 146 w 387"/>
                  <a:gd name="T81" fmla="*/ 630 h 666"/>
                  <a:gd name="T82" fmla="*/ 143 w 387"/>
                  <a:gd name="T83" fmla="*/ 620 h 666"/>
                  <a:gd name="T84" fmla="*/ 143 w 387"/>
                  <a:gd name="T85" fmla="*/ 543 h 666"/>
                  <a:gd name="T86" fmla="*/ 146 w 387"/>
                  <a:gd name="T87" fmla="*/ 534 h 666"/>
                  <a:gd name="T88" fmla="*/ 155 w 387"/>
                  <a:gd name="T89" fmla="*/ 531 h 666"/>
                  <a:gd name="T90" fmla="*/ 232 w 387"/>
                  <a:gd name="T91" fmla="*/ 531 h 666"/>
                  <a:gd name="T92" fmla="*/ 241 w 387"/>
                  <a:gd name="T93" fmla="*/ 534 h 666"/>
                  <a:gd name="T94" fmla="*/ 245 w 387"/>
                  <a:gd name="T95" fmla="*/ 543 h 666"/>
                  <a:gd name="T96" fmla="*/ 336 w 387"/>
                  <a:gd name="T97" fmla="*/ 593 h 666"/>
                  <a:gd name="T98" fmla="*/ 334 w 387"/>
                  <a:gd name="T99" fmla="*/ 595 h 666"/>
                  <a:gd name="T100" fmla="*/ 330 w 387"/>
                  <a:gd name="T101" fmla="*/ 597 h 666"/>
                  <a:gd name="T102" fmla="*/ 291 w 387"/>
                  <a:gd name="T103" fmla="*/ 597 h 666"/>
                  <a:gd name="T104" fmla="*/ 287 w 387"/>
                  <a:gd name="T105" fmla="*/ 596 h 666"/>
                  <a:gd name="T106" fmla="*/ 285 w 387"/>
                  <a:gd name="T107" fmla="*/ 593 h 666"/>
                  <a:gd name="T108" fmla="*/ 285 w 387"/>
                  <a:gd name="T109" fmla="*/ 572 h 666"/>
                  <a:gd name="T110" fmla="*/ 287 w 387"/>
                  <a:gd name="T111" fmla="*/ 568 h 666"/>
                  <a:gd name="T112" fmla="*/ 291 w 387"/>
                  <a:gd name="T113" fmla="*/ 566 h 666"/>
                  <a:gd name="T114" fmla="*/ 330 w 387"/>
                  <a:gd name="T115" fmla="*/ 566 h 666"/>
                  <a:gd name="T116" fmla="*/ 334 w 387"/>
                  <a:gd name="T117" fmla="*/ 569 h 666"/>
                  <a:gd name="T118" fmla="*/ 336 w 387"/>
                  <a:gd name="T119" fmla="*/ 593 h 666"/>
                  <a:gd name="T120" fmla="*/ 41 w 387"/>
                  <a:gd name="T121" fmla="*/ 493 h 666"/>
                  <a:gd name="T122" fmla="*/ 347 w 387"/>
                  <a:gd name="T123" fmla="*/ 8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7" h="666">
                    <a:moveTo>
                      <a:pt x="321" y="0"/>
                    </a:moveTo>
                    <a:lnTo>
                      <a:pt x="66" y="0"/>
                    </a:lnTo>
                    <a:lnTo>
                      <a:pt x="66" y="0"/>
                    </a:lnTo>
                    <a:lnTo>
                      <a:pt x="53" y="1"/>
                    </a:lnTo>
                    <a:lnTo>
                      <a:pt x="41" y="5"/>
                    </a:lnTo>
                    <a:lnTo>
                      <a:pt x="30" y="12"/>
                    </a:lnTo>
                    <a:lnTo>
                      <a:pt x="20" y="22"/>
                    </a:lnTo>
                    <a:lnTo>
                      <a:pt x="12" y="34"/>
                    </a:lnTo>
                    <a:lnTo>
                      <a:pt x="5" y="47"/>
                    </a:lnTo>
                    <a:lnTo>
                      <a:pt x="1" y="61"/>
                    </a:lnTo>
                    <a:lnTo>
                      <a:pt x="0" y="77"/>
                    </a:lnTo>
                    <a:lnTo>
                      <a:pt x="0" y="588"/>
                    </a:lnTo>
                    <a:lnTo>
                      <a:pt x="0" y="588"/>
                    </a:lnTo>
                    <a:lnTo>
                      <a:pt x="1" y="604"/>
                    </a:lnTo>
                    <a:lnTo>
                      <a:pt x="5" y="619"/>
                    </a:lnTo>
                    <a:lnTo>
                      <a:pt x="12" y="632"/>
                    </a:lnTo>
                    <a:lnTo>
                      <a:pt x="20" y="643"/>
                    </a:lnTo>
                    <a:lnTo>
                      <a:pt x="30" y="653"/>
                    </a:lnTo>
                    <a:lnTo>
                      <a:pt x="41" y="659"/>
                    </a:lnTo>
                    <a:lnTo>
                      <a:pt x="53" y="665"/>
                    </a:lnTo>
                    <a:lnTo>
                      <a:pt x="66" y="666"/>
                    </a:lnTo>
                    <a:lnTo>
                      <a:pt x="321" y="666"/>
                    </a:lnTo>
                    <a:lnTo>
                      <a:pt x="321" y="666"/>
                    </a:lnTo>
                    <a:lnTo>
                      <a:pt x="334" y="665"/>
                    </a:lnTo>
                    <a:lnTo>
                      <a:pt x="347" y="659"/>
                    </a:lnTo>
                    <a:lnTo>
                      <a:pt x="359" y="653"/>
                    </a:lnTo>
                    <a:lnTo>
                      <a:pt x="368" y="643"/>
                    </a:lnTo>
                    <a:lnTo>
                      <a:pt x="376" y="632"/>
                    </a:lnTo>
                    <a:lnTo>
                      <a:pt x="382" y="619"/>
                    </a:lnTo>
                    <a:lnTo>
                      <a:pt x="386" y="604"/>
                    </a:lnTo>
                    <a:lnTo>
                      <a:pt x="387" y="588"/>
                    </a:lnTo>
                    <a:lnTo>
                      <a:pt x="387" y="77"/>
                    </a:lnTo>
                    <a:lnTo>
                      <a:pt x="387" y="77"/>
                    </a:lnTo>
                    <a:lnTo>
                      <a:pt x="386" y="61"/>
                    </a:lnTo>
                    <a:lnTo>
                      <a:pt x="382" y="47"/>
                    </a:lnTo>
                    <a:lnTo>
                      <a:pt x="376" y="34"/>
                    </a:lnTo>
                    <a:lnTo>
                      <a:pt x="368" y="22"/>
                    </a:lnTo>
                    <a:lnTo>
                      <a:pt x="359" y="12"/>
                    </a:lnTo>
                    <a:lnTo>
                      <a:pt x="347" y="5"/>
                    </a:lnTo>
                    <a:lnTo>
                      <a:pt x="334" y="1"/>
                    </a:lnTo>
                    <a:lnTo>
                      <a:pt x="321" y="0"/>
                    </a:lnTo>
                    <a:lnTo>
                      <a:pt x="321" y="0"/>
                    </a:lnTo>
                    <a:close/>
                    <a:moveTo>
                      <a:pt x="152" y="30"/>
                    </a:moveTo>
                    <a:lnTo>
                      <a:pt x="236" y="30"/>
                    </a:lnTo>
                    <a:lnTo>
                      <a:pt x="236" y="50"/>
                    </a:lnTo>
                    <a:lnTo>
                      <a:pt x="152" y="50"/>
                    </a:lnTo>
                    <a:lnTo>
                      <a:pt x="152" y="30"/>
                    </a:lnTo>
                    <a:close/>
                    <a:moveTo>
                      <a:pt x="103" y="593"/>
                    </a:moveTo>
                    <a:lnTo>
                      <a:pt x="103" y="593"/>
                    </a:lnTo>
                    <a:lnTo>
                      <a:pt x="103" y="595"/>
                    </a:lnTo>
                    <a:lnTo>
                      <a:pt x="101" y="596"/>
                    </a:lnTo>
                    <a:lnTo>
                      <a:pt x="98" y="597"/>
                    </a:lnTo>
                    <a:lnTo>
                      <a:pt x="97" y="597"/>
                    </a:lnTo>
                    <a:lnTo>
                      <a:pt x="58" y="597"/>
                    </a:lnTo>
                    <a:lnTo>
                      <a:pt x="58" y="597"/>
                    </a:lnTo>
                    <a:lnTo>
                      <a:pt x="55" y="597"/>
                    </a:lnTo>
                    <a:lnTo>
                      <a:pt x="54" y="596"/>
                    </a:lnTo>
                    <a:lnTo>
                      <a:pt x="53" y="595"/>
                    </a:lnTo>
                    <a:lnTo>
                      <a:pt x="51" y="593"/>
                    </a:lnTo>
                    <a:lnTo>
                      <a:pt x="51" y="572"/>
                    </a:lnTo>
                    <a:lnTo>
                      <a:pt x="51" y="572"/>
                    </a:lnTo>
                    <a:lnTo>
                      <a:pt x="53" y="569"/>
                    </a:lnTo>
                    <a:lnTo>
                      <a:pt x="54" y="568"/>
                    </a:lnTo>
                    <a:lnTo>
                      <a:pt x="55" y="566"/>
                    </a:lnTo>
                    <a:lnTo>
                      <a:pt x="58" y="566"/>
                    </a:lnTo>
                    <a:lnTo>
                      <a:pt x="97" y="566"/>
                    </a:lnTo>
                    <a:lnTo>
                      <a:pt x="97" y="566"/>
                    </a:lnTo>
                    <a:lnTo>
                      <a:pt x="98" y="566"/>
                    </a:lnTo>
                    <a:lnTo>
                      <a:pt x="101" y="568"/>
                    </a:lnTo>
                    <a:lnTo>
                      <a:pt x="103" y="569"/>
                    </a:lnTo>
                    <a:lnTo>
                      <a:pt x="103" y="572"/>
                    </a:lnTo>
                    <a:lnTo>
                      <a:pt x="103" y="593"/>
                    </a:lnTo>
                    <a:close/>
                    <a:moveTo>
                      <a:pt x="245" y="620"/>
                    </a:moveTo>
                    <a:lnTo>
                      <a:pt x="245" y="620"/>
                    </a:lnTo>
                    <a:lnTo>
                      <a:pt x="244" y="626"/>
                    </a:lnTo>
                    <a:lnTo>
                      <a:pt x="241" y="630"/>
                    </a:lnTo>
                    <a:lnTo>
                      <a:pt x="237" y="632"/>
                    </a:lnTo>
                    <a:lnTo>
                      <a:pt x="232" y="634"/>
                    </a:lnTo>
                    <a:lnTo>
                      <a:pt x="155" y="634"/>
                    </a:lnTo>
                    <a:lnTo>
                      <a:pt x="155" y="634"/>
                    </a:lnTo>
                    <a:lnTo>
                      <a:pt x="150" y="632"/>
                    </a:lnTo>
                    <a:lnTo>
                      <a:pt x="146" y="630"/>
                    </a:lnTo>
                    <a:lnTo>
                      <a:pt x="143" y="626"/>
                    </a:lnTo>
                    <a:lnTo>
                      <a:pt x="143" y="620"/>
                    </a:lnTo>
                    <a:lnTo>
                      <a:pt x="143" y="543"/>
                    </a:lnTo>
                    <a:lnTo>
                      <a:pt x="143" y="543"/>
                    </a:lnTo>
                    <a:lnTo>
                      <a:pt x="143" y="538"/>
                    </a:lnTo>
                    <a:lnTo>
                      <a:pt x="146" y="534"/>
                    </a:lnTo>
                    <a:lnTo>
                      <a:pt x="150" y="531"/>
                    </a:lnTo>
                    <a:lnTo>
                      <a:pt x="155" y="531"/>
                    </a:lnTo>
                    <a:lnTo>
                      <a:pt x="232" y="531"/>
                    </a:lnTo>
                    <a:lnTo>
                      <a:pt x="232" y="531"/>
                    </a:lnTo>
                    <a:lnTo>
                      <a:pt x="237" y="531"/>
                    </a:lnTo>
                    <a:lnTo>
                      <a:pt x="241" y="534"/>
                    </a:lnTo>
                    <a:lnTo>
                      <a:pt x="244" y="538"/>
                    </a:lnTo>
                    <a:lnTo>
                      <a:pt x="245" y="543"/>
                    </a:lnTo>
                    <a:lnTo>
                      <a:pt x="245" y="620"/>
                    </a:lnTo>
                    <a:close/>
                    <a:moveTo>
                      <a:pt x="336" y="593"/>
                    </a:moveTo>
                    <a:lnTo>
                      <a:pt x="336" y="593"/>
                    </a:lnTo>
                    <a:lnTo>
                      <a:pt x="334" y="595"/>
                    </a:lnTo>
                    <a:lnTo>
                      <a:pt x="334" y="596"/>
                    </a:lnTo>
                    <a:lnTo>
                      <a:pt x="330" y="597"/>
                    </a:lnTo>
                    <a:lnTo>
                      <a:pt x="291" y="597"/>
                    </a:lnTo>
                    <a:lnTo>
                      <a:pt x="291" y="597"/>
                    </a:lnTo>
                    <a:lnTo>
                      <a:pt x="289" y="597"/>
                    </a:lnTo>
                    <a:lnTo>
                      <a:pt x="287" y="596"/>
                    </a:lnTo>
                    <a:lnTo>
                      <a:pt x="286" y="595"/>
                    </a:lnTo>
                    <a:lnTo>
                      <a:pt x="285" y="593"/>
                    </a:lnTo>
                    <a:lnTo>
                      <a:pt x="285" y="572"/>
                    </a:lnTo>
                    <a:lnTo>
                      <a:pt x="285" y="572"/>
                    </a:lnTo>
                    <a:lnTo>
                      <a:pt x="286" y="569"/>
                    </a:lnTo>
                    <a:lnTo>
                      <a:pt x="287" y="568"/>
                    </a:lnTo>
                    <a:lnTo>
                      <a:pt x="289" y="566"/>
                    </a:lnTo>
                    <a:lnTo>
                      <a:pt x="291" y="566"/>
                    </a:lnTo>
                    <a:lnTo>
                      <a:pt x="330" y="566"/>
                    </a:lnTo>
                    <a:lnTo>
                      <a:pt x="330" y="566"/>
                    </a:lnTo>
                    <a:lnTo>
                      <a:pt x="334" y="568"/>
                    </a:lnTo>
                    <a:lnTo>
                      <a:pt x="334" y="569"/>
                    </a:lnTo>
                    <a:lnTo>
                      <a:pt x="336" y="572"/>
                    </a:lnTo>
                    <a:lnTo>
                      <a:pt x="336" y="593"/>
                    </a:lnTo>
                    <a:close/>
                    <a:moveTo>
                      <a:pt x="347" y="493"/>
                    </a:moveTo>
                    <a:lnTo>
                      <a:pt x="41" y="493"/>
                    </a:lnTo>
                    <a:lnTo>
                      <a:pt x="41" y="81"/>
                    </a:lnTo>
                    <a:lnTo>
                      <a:pt x="347" y="81"/>
                    </a:lnTo>
                    <a:lnTo>
                      <a:pt x="347" y="49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Rectangle 134"/>
              <p:cNvSpPr>
                <a:spLocks noChangeArrowheads="1"/>
              </p:cNvSpPr>
              <p:nvPr/>
            </p:nvSpPr>
            <p:spPr bwMode="auto">
              <a:xfrm>
                <a:off x="1610933" y="2808556"/>
                <a:ext cx="61641" cy="61641"/>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5" name="Group 14"/>
          <p:cNvGrpSpPr/>
          <p:nvPr/>
        </p:nvGrpSpPr>
        <p:grpSpPr>
          <a:xfrm>
            <a:off x="3466442" y="1182624"/>
            <a:ext cx="2468606" cy="2320544"/>
            <a:chOff x="3547722" y="1182624"/>
            <a:chExt cx="2468606" cy="2320544"/>
          </a:xfrm>
        </p:grpSpPr>
        <p:sp>
          <p:nvSpPr>
            <p:cNvPr id="4" name="Rectangle 3"/>
            <p:cNvSpPr/>
            <p:nvPr/>
          </p:nvSpPr>
          <p:spPr>
            <a:xfrm>
              <a:off x="3547722" y="1182624"/>
              <a:ext cx="2468606" cy="2320544"/>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72" name="Picture 7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60588" y="2276143"/>
              <a:ext cx="1242875" cy="452485"/>
            </a:xfrm>
            <a:prstGeom prst="rect">
              <a:avLst/>
            </a:prstGeom>
            <a:noFill/>
            <a:ln>
              <a:noFill/>
            </a:ln>
          </p:spPr>
        </p:pic>
        <p:sp>
          <p:nvSpPr>
            <p:cNvPr id="89" name="Rectangle 88"/>
            <p:cNvSpPr/>
            <p:nvPr/>
          </p:nvSpPr>
          <p:spPr>
            <a:xfrm>
              <a:off x="3781033" y="1299669"/>
              <a:ext cx="2001983" cy="23622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defTabSz="914400" fontAlgn="auto">
                <a:spcBef>
                  <a:spcPts val="0"/>
                </a:spcBef>
                <a:spcAft>
                  <a:spcPts val="0"/>
                </a:spcAft>
                <a:defRPr/>
              </a:pPr>
              <a:r>
                <a:rPr lang="en-US" sz="1400" b="1" kern="0" dirty="0" smtClean="0">
                  <a:solidFill>
                    <a:srgbClr val="676767"/>
                  </a:solidFill>
                </a:rPr>
                <a:t>Centralized </a:t>
              </a:r>
              <a:r>
                <a:rPr lang="en-US" sz="1400" b="1" kern="0" dirty="0" err="1" smtClean="0">
                  <a:solidFill>
                    <a:srgbClr val="676767"/>
                  </a:solidFill>
                </a:rPr>
                <a:t>SecGW</a:t>
              </a:r>
              <a:endParaRPr lang="en-US" sz="1400" b="1" kern="0" dirty="0">
                <a:solidFill>
                  <a:srgbClr val="676767"/>
                </a:solidFill>
              </a:endParaRPr>
            </a:p>
          </p:txBody>
        </p:sp>
        <p:pic>
          <p:nvPicPr>
            <p:cNvPr id="73" name="Picture 72"/>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161470" y="1628499"/>
              <a:ext cx="1241110" cy="442916"/>
            </a:xfrm>
            <a:prstGeom prst="rect">
              <a:avLst/>
            </a:prstGeom>
            <a:noFill/>
            <a:ln>
              <a:noFill/>
            </a:ln>
          </p:spPr>
        </p:pic>
        <p:sp>
          <p:nvSpPr>
            <p:cNvPr id="28" name="TextBox 27"/>
            <p:cNvSpPr txBox="1"/>
            <p:nvPr/>
          </p:nvSpPr>
          <p:spPr>
            <a:xfrm>
              <a:off x="4139755" y="1991676"/>
              <a:ext cx="1284540" cy="276999"/>
            </a:xfrm>
            <a:prstGeom prst="rect">
              <a:avLst/>
            </a:prstGeom>
            <a:noFill/>
          </p:spPr>
          <p:txBody>
            <a:bodyPr wrap="square" rtlCol="0" anchor="ctr">
              <a:spAutoFit/>
            </a:bodyPr>
            <a:lstStyle/>
            <a:p>
              <a:pPr algn="ctr"/>
              <a:r>
                <a:rPr lang="en-US" sz="1200" dirty="0" smtClean="0"/>
                <a:t>Firepower 9300</a:t>
              </a:r>
              <a:endParaRPr lang="en-US" sz="1200" dirty="0"/>
            </a:p>
          </p:txBody>
        </p:sp>
        <p:sp>
          <p:nvSpPr>
            <p:cNvPr id="112" name="TextBox 111"/>
            <p:cNvSpPr txBox="1"/>
            <p:nvPr/>
          </p:nvSpPr>
          <p:spPr>
            <a:xfrm>
              <a:off x="3880396" y="2562224"/>
              <a:ext cx="1803258" cy="276999"/>
            </a:xfrm>
            <a:prstGeom prst="rect">
              <a:avLst/>
            </a:prstGeom>
            <a:noFill/>
          </p:spPr>
          <p:txBody>
            <a:bodyPr wrap="square" rtlCol="0" anchor="ctr">
              <a:spAutoFit/>
            </a:bodyPr>
            <a:lstStyle/>
            <a:p>
              <a:pPr algn="ctr"/>
              <a:r>
                <a:rPr lang="en-US" sz="1200" dirty="0" smtClean="0"/>
                <a:t>Firepower 4100 Series</a:t>
              </a:r>
              <a:endParaRPr lang="en-US" sz="1200" dirty="0"/>
            </a:p>
          </p:txBody>
        </p:sp>
        <p:grpSp>
          <p:nvGrpSpPr>
            <p:cNvPr id="8" name="Group 7"/>
            <p:cNvGrpSpPr/>
            <p:nvPr/>
          </p:nvGrpSpPr>
          <p:grpSpPr>
            <a:xfrm>
              <a:off x="4214001" y="2938719"/>
              <a:ext cx="1134154" cy="403862"/>
              <a:chOff x="4274961" y="2908239"/>
              <a:chExt cx="1134154" cy="403862"/>
            </a:xfrm>
          </p:grpSpPr>
          <p:sp>
            <p:nvSpPr>
              <p:cNvPr id="67" name="Rectangle 66"/>
              <p:cNvSpPr/>
              <p:nvPr/>
            </p:nvSpPr>
            <p:spPr>
              <a:xfrm>
                <a:off x="4816314" y="3022278"/>
                <a:ext cx="592801" cy="2898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defTabSz="914400" fontAlgn="auto">
                  <a:spcBef>
                    <a:spcPts val="0"/>
                  </a:spcBef>
                  <a:spcAft>
                    <a:spcPts val="0"/>
                  </a:spcAft>
                  <a:defRPr/>
                </a:pPr>
                <a:r>
                  <a:rPr lang="en-US" sz="1200" kern="0" dirty="0" err="1" smtClean="0">
                    <a:solidFill>
                      <a:srgbClr val="676767"/>
                    </a:solidFill>
                  </a:rPr>
                  <a:t>ASAv</a:t>
                </a:r>
                <a:endParaRPr lang="en-US" sz="1200" kern="0" dirty="0">
                  <a:solidFill>
                    <a:srgbClr val="676767"/>
                  </a:solidFill>
                </a:endParaRPr>
              </a:p>
            </p:txBody>
          </p:sp>
          <p:grpSp>
            <p:nvGrpSpPr>
              <p:cNvPr id="27" name="Group 26"/>
              <p:cNvGrpSpPr/>
              <p:nvPr/>
            </p:nvGrpSpPr>
            <p:grpSpPr>
              <a:xfrm>
                <a:off x="4274961" y="2908239"/>
                <a:ext cx="569499" cy="372805"/>
                <a:chOff x="4121333" y="2713304"/>
                <a:chExt cx="646722" cy="423357"/>
              </a:xfrm>
            </p:grpSpPr>
            <p:sp>
              <p:nvSpPr>
                <p:cNvPr id="74" name="Flowchart: Terminator 20"/>
                <p:cNvSpPr/>
                <p:nvPr/>
              </p:nvSpPr>
              <p:spPr>
                <a:xfrm rot="19079719">
                  <a:off x="4121333" y="3048548"/>
                  <a:ext cx="271967" cy="88113"/>
                </a:xfrm>
                <a:prstGeom prst="flowChartTerminator">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fontAlgn="auto">
                    <a:spcBef>
                      <a:spcPts val="0"/>
                    </a:spcBef>
                    <a:spcAft>
                      <a:spcPts val="0"/>
                    </a:spcAft>
                  </a:pPr>
                  <a:endParaRPr lang="en-US" sz="1400" dirty="0">
                    <a:solidFill>
                      <a:srgbClr val="FFFFFF"/>
                    </a:solidFill>
                  </a:endParaRPr>
                </a:p>
              </p:txBody>
            </p:sp>
            <p:grpSp>
              <p:nvGrpSpPr>
                <p:cNvPr id="75" name="Group 74"/>
                <p:cNvGrpSpPr/>
                <p:nvPr/>
              </p:nvGrpSpPr>
              <p:grpSpPr>
                <a:xfrm>
                  <a:off x="4159203" y="2713304"/>
                  <a:ext cx="608852" cy="334307"/>
                  <a:chOff x="6946928" y="2147416"/>
                  <a:chExt cx="464476" cy="238760"/>
                </a:xfrm>
              </p:grpSpPr>
              <p:grpSp>
                <p:nvGrpSpPr>
                  <p:cNvPr id="76" name="Group 75"/>
                  <p:cNvGrpSpPr/>
                  <p:nvPr/>
                </p:nvGrpSpPr>
                <p:grpSpPr>
                  <a:xfrm>
                    <a:off x="7059786" y="2147416"/>
                    <a:ext cx="238760" cy="238760"/>
                    <a:chOff x="5758047" y="2266796"/>
                    <a:chExt cx="238760" cy="238760"/>
                  </a:xfrm>
                </p:grpSpPr>
                <p:sp>
                  <p:nvSpPr>
                    <p:cNvPr id="79" name="Oval 78"/>
                    <p:cNvSpPr/>
                    <p:nvPr/>
                  </p:nvSpPr>
                  <p:spPr>
                    <a:xfrm>
                      <a:off x="5758047" y="2266796"/>
                      <a:ext cx="238760" cy="238760"/>
                    </a:xfrm>
                    <a:prstGeom prst="ellipse">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fontAlgn="auto">
                        <a:spcBef>
                          <a:spcPts val="0"/>
                        </a:spcBef>
                        <a:spcAft>
                          <a:spcPts val="0"/>
                        </a:spcAft>
                      </a:pPr>
                      <a:endParaRPr lang="en-US" sz="1400" dirty="0">
                        <a:solidFill>
                          <a:srgbClr val="FFFFFF"/>
                        </a:solidFill>
                      </a:endParaRPr>
                    </a:p>
                  </p:txBody>
                </p:sp>
                <p:grpSp>
                  <p:nvGrpSpPr>
                    <p:cNvPr id="80" name="Group 79"/>
                    <p:cNvGrpSpPr/>
                    <p:nvPr/>
                  </p:nvGrpSpPr>
                  <p:grpSpPr>
                    <a:xfrm>
                      <a:off x="5785987" y="2350680"/>
                      <a:ext cx="182880" cy="70992"/>
                      <a:chOff x="5785987" y="2347363"/>
                      <a:chExt cx="182880" cy="70992"/>
                    </a:xfrm>
                  </p:grpSpPr>
                  <p:cxnSp>
                    <p:nvCxnSpPr>
                      <p:cNvPr id="81" name="Straight Arrow Connector 80"/>
                      <p:cNvCxnSpPr/>
                      <p:nvPr/>
                    </p:nvCxnSpPr>
                    <p:spPr>
                      <a:xfrm flipH="1">
                        <a:off x="5785987" y="2347363"/>
                        <a:ext cx="182880"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5785987" y="2418355"/>
                        <a:ext cx="182880"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cxnSp>
                <p:nvCxnSpPr>
                  <p:cNvPr id="77" name="Straight Connector 76"/>
                  <p:cNvCxnSpPr/>
                  <p:nvPr/>
                </p:nvCxnSpPr>
                <p:spPr>
                  <a:xfrm flipH="1">
                    <a:off x="7306166" y="2231300"/>
                    <a:ext cx="10523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H="1">
                    <a:off x="6946928" y="2303472"/>
                    <a:ext cx="10523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grpSp>
      </p:grpSp>
      <p:grpSp>
        <p:nvGrpSpPr>
          <p:cNvPr id="16" name="Group 15"/>
          <p:cNvGrpSpPr/>
          <p:nvPr/>
        </p:nvGrpSpPr>
        <p:grpSpPr>
          <a:xfrm>
            <a:off x="6075954" y="1182624"/>
            <a:ext cx="2468606" cy="2320544"/>
            <a:chOff x="6157234" y="1182624"/>
            <a:chExt cx="2468606" cy="2320544"/>
          </a:xfrm>
        </p:grpSpPr>
        <p:sp>
          <p:nvSpPr>
            <p:cNvPr id="86" name="Rectangle 85"/>
            <p:cNvSpPr/>
            <p:nvPr/>
          </p:nvSpPr>
          <p:spPr>
            <a:xfrm>
              <a:off x="6157234" y="1182624"/>
              <a:ext cx="2468606" cy="2320544"/>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29" name="Group 28"/>
            <p:cNvGrpSpPr/>
            <p:nvPr/>
          </p:nvGrpSpPr>
          <p:grpSpPr>
            <a:xfrm>
              <a:off x="6807438" y="1939522"/>
              <a:ext cx="1168199" cy="393019"/>
              <a:chOff x="3879094" y="3943986"/>
              <a:chExt cx="1168199" cy="393019"/>
            </a:xfrm>
          </p:grpSpPr>
          <p:pic>
            <p:nvPicPr>
              <p:cNvPr id="87" name="Picture 86" descr="KQ37019.png"/>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879094" y="4161501"/>
                <a:ext cx="1168199" cy="175504"/>
              </a:xfrm>
              <a:prstGeom prst="rect">
                <a:avLst/>
              </a:prstGeom>
            </p:spPr>
          </p:pic>
          <p:pic>
            <p:nvPicPr>
              <p:cNvPr id="88" name="Picture 87" descr="KQ37650.png"/>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038336" y="3943986"/>
                <a:ext cx="849714" cy="182661"/>
              </a:xfrm>
              <a:prstGeom prst="rect">
                <a:avLst/>
              </a:prstGeom>
            </p:spPr>
          </p:pic>
        </p:grpSp>
        <p:sp>
          <p:nvSpPr>
            <p:cNvPr id="93" name="Rectangle 92"/>
            <p:cNvSpPr/>
            <p:nvPr/>
          </p:nvSpPr>
          <p:spPr>
            <a:xfrm>
              <a:off x="6390546" y="1299669"/>
              <a:ext cx="2001983" cy="23622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defTabSz="914400" fontAlgn="auto">
                <a:spcBef>
                  <a:spcPts val="0"/>
                </a:spcBef>
                <a:spcAft>
                  <a:spcPts val="0"/>
                </a:spcAft>
                <a:defRPr/>
              </a:pPr>
              <a:r>
                <a:rPr lang="en-US" sz="1400" b="1" kern="0" dirty="0" smtClean="0">
                  <a:solidFill>
                    <a:srgbClr val="676767"/>
                  </a:solidFill>
                </a:rPr>
                <a:t>Distributed </a:t>
              </a:r>
              <a:r>
                <a:rPr lang="en-US" sz="1400" b="1" kern="0" dirty="0" err="1" smtClean="0">
                  <a:solidFill>
                    <a:srgbClr val="676767"/>
                  </a:solidFill>
                </a:rPr>
                <a:t>SecGW</a:t>
              </a:r>
              <a:endParaRPr lang="en-US" sz="1400" b="1" kern="0" dirty="0">
                <a:solidFill>
                  <a:srgbClr val="676767"/>
                </a:solidFill>
              </a:endParaRPr>
            </a:p>
          </p:txBody>
        </p:sp>
        <p:sp>
          <p:nvSpPr>
            <p:cNvPr id="94" name="TextBox 93"/>
            <p:cNvSpPr txBox="1"/>
            <p:nvPr/>
          </p:nvSpPr>
          <p:spPr>
            <a:xfrm>
              <a:off x="6749267" y="2355547"/>
              <a:ext cx="1284540" cy="276999"/>
            </a:xfrm>
            <a:prstGeom prst="rect">
              <a:avLst/>
            </a:prstGeom>
            <a:noFill/>
          </p:spPr>
          <p:txBody>
            <a:bodyPr wrap="square" rtlCol="0" anchor="ctr">
              <a:spAutoFit/>
            </a:bodyPr>
            <a:lstStyle/>
            <a:p>
              <a:pPr algn="ctr"/>
              <a:r>
                <a:rPr lang="en-US" sz="1200" dirty="0" smtClean="0"/>
                <a:t>ASR 900 Series</a:t>
              </a:r>
              <a:endParaRPr lang="en-US" sz="1200" dirty="0"/>
            </a:p>
          </p:txBody>
        </p:sp>
        <p:grpSp>
          <p:nvGrpSpPr>
            <p:cNvPr id="95" name="Group 94"/>
            <p:cNvGrpSpPr/>
            <p:nvPr/>
          </p:nvGrpSpPr>
          <p:grpSpPr>
            <a:xfrm>
              <a:off x="6818604" y="2938719"/>
              <a:ext cx="1134154" cy="403862"/>
              <a:chOff x="4274961" y="2908239"/>
              <a:chExt cx="1134154" cy="403862"/>
            </a:xfrm>
          </p:grpSpPr>
          <p:sp>
            <p:nvSpPr>
              <p:cNvPr id="96" name="Rectangle 95"/>
              <p:cNvSpPr/>
              <p:nvPr/>
            </p:nvSpPr>
            <p:spPr>
              <a:xfrm>
                <a:off x="4816314" y="3022278"/>
                <a:ext cx="592801" cy="2898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defTabSz="914400" fontAlgn="auto">
                  <a:spcBef>
                    <a:spcPts val="0"/>
                  </a:spcBef>
                  <a:spcAft>
                    <a:spcPts val="0"/>
                  </a:spcAft>
                  <a:defRPr/>
                </a:pPr>
                <a:r>
                  <a:rPr lang="en-US" sz="1200" kern="0" dirty="0" err="1" smtClean="0">
                    <a:solidFill>
                      <a:srgbClr val="676767"/>
                    </a:solidFill>
                  </a:rPr>
                  <a:t>ASAv</a:t>
                </a:r>
                <a:endParaRPr lang="en-US" sz="1200" kern="0" dirty="0">
                  <a:solidFill>
                    <a:srgbClr val="676767"/>
                  </a:solidFill>
                </a:endParaRPr>
              </a:p>
            </p:txBody>
          </p:sp>
          <p:grpSp>
            <p:nvGrpSpPr>
              <p:cNvPr id="97" name="Group 96"/>
              <p:cNvGrpSpPr/>
              <p:nvPr/>
            </p:nvGrpSpPr>
            <p:grpSpPr>
              <a:xfrm>
                <a:off x="4274961" y="2908239"/>
                <a:ext cx="569499" cy="372805"/>
                <a:chOff x="4121333" y="2713304"/>
                <a:chExt cx="646722" cy="423357"/>
              </a:xfrm>
            </p:grpSpPr>
            <p:sp>
              <p:nvSpPr>
                <p:cNvPr id="98" name="Flowchart: Terminator 20"/>
                <p:cNvSpPr/>
                <p:nvPr/>
              </p:nvSpPr>
              <p:spPr>
                <a:xfrm rot="19079719">
                  <a:off x="4121333" y="3048548"/>
                  <a:ext cx="271967" cy="88113"/>
                </a:xfrm>
                <a:prstGeom prst="flowChartTerminator">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fontAlgn="auto">
                    <a:spcBef>
                      <a:spcPts val="0"/>
                    </a:spcBef>
                    <a:spcAft>
                      <a:spcPts val="0"/>
                    </a:spcAft>
                  </a:pPr>
                  <a:endParaRPr lang="en-US" sz="1400" dirty="0">
                    <a:solidFill>
                      <a:srgbClr val="FFFFFF"/>
                    </a:solidFill>
                  </a:endParaRPr>
                </a:p>
              </p:txBody>
            </p:sp>
            <p:grpSp>
              <p:nvGrpSpPr>
                <p:cNvPr id="99" name="Group 98"/>
                <p:cNvGrpSpPr/>
                <p:nvPr/>
              </p:nvGrpSpPr>
              <p:grpSpPr>
                <a:xfrm>
                  <a:off x="4159203" y="2713304"/>
                  <a:ext cx="608852" cy="334307"/>
                  <a:chOff x="6946928" y="2147416"/>
                  <a:chExt cx="464476" cy="238760"/>
                </a:xfrm>
              </p:grpSpPr>
              <p:grpSp>
                <p:nvGrpSpPr>
                  <p:cNvPr id="100" name="Group 99"/>
                  <p:cNvGrpSpPr/>
                  <p:nvPr/>
                </p:nvGrpSpPr>
                <p:grpSpPr>
                  <a:xfrm>
                    <a:off x="7059786" y="2147416"/>
                    <a:ext cx="238760" cy="238760"/>
                    <a:chOff x="5758047" y="2266796"/>
                    <a:chExt cx="238760" cy="238760"/>
                  </a:xfrm>
                </p:grpSpPr>
                <p:sp>
                  <p:nvSpPr>
                    <p:cNvPr id="103" name="Oval 102"/>
                    <p:cNvSpPr/>
                    <p:nvPr/>
                  </p:nvSpPr>
                  <p:spPr>
                    <a:xfrm>
                      <a:off x="5758047" y="2266796"/>
                      <a:ext cx="238760" cy="238760"/>
                    </a:xfrm>
                    <a:prstGeom prst="ellipse">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fontAlgn="auto">
                        <a:spcBef>
                          <a:spcPts val="0"/>
                        </a:spcBef>
                        <a:spcAft>
                          <a:spcPts val="0"/>
                        </a:spcAft>
                      </a:pPr>
                      <a:endParaRPr lang="en-US" sz="1400" dirty="0">
                        <a:solidFill>
                          <a:srgbClr val="FFFFFF"/>
                        </a:solidFill>
                      </a:endParaRPr>
                    </a:p>
                  </p:txBody>
                </p:sp>
                <p:grpSp>
                  <p:nvGrpSpPr>
                    <p:cNvPr id="104" name="Group 103"/>
                    <p:cNvGrpSpPr/>
                    <p:nvPr/>
                  </p:nvGrpSpPr>
                  <p:grpSpPr>
                    <a:xfrm>
                      <a:off x="5785987" y="2350680"/>
                      <a:ext cx="182880" cy="70992"/>
                      <a:chOff x="5785987" y="2347363"/>
                      <a:chExt cx="182880" cy="70992"/>
                    </a:xfrm>
                  </p:grpSpPr>
                  <p:cxnSp>
                    <p:nvCxnSpPr>
                      <p:cNvPr id="105" name="Straight Arrow Connector 104"/>
                      <p:cNvCxnSpPr/>
                      <p:nvPr/>
                    </p:nvCxnSpPr>
                    <p:spPr>
                      <a:xfrm flipH="1">
                        <a:off x="5785987" y="2347363"/>
                        <a:ext cx="182880"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5785987" y="2418355"/>
                        <a:ext cx="182880"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cxnSp>
                <p:nvCxnSpPr>
                  <p:cNvPr id="101" name="Straight Connector 100"/>
                  <p:cNvCxnSpPr/>
                  <p:nvPr/>
                </p:nvCxnSpPr>
                <p:spPr>
                  <a:xfrm flipH="1">
                    <a:off x="7306166" y="2231300"/>
                    <a:ext cx="10523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6946928" y="2303472"/>
                    <a:ext cx="10523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grpSp>
      </p:grpSp>
      <p:grpSp>
        <p:nvGrpSpPr>
          <p:cNvPr id="17" name="Group 16"/>
          <p:cNvGrpSpPr/>
          <p:nvPr/>
        </p:nvGrpSpPr>
        <p:grpSpPr>
          <a:xfrm>
            <a:off x="605458" y="3792196"/>
            <a:ext cx="2357628" cy="769410"/>
            <a:chOff x="605458" y="3792196"/>
            <a:chExt cx="2357628" cy="769410"/>
          </a:xfrm>
        </p:grpSpPr>
        <p:sp>
          <p:nvSpPr>
            <p:cNvPr id="31" name="Rectangle 30"/>
            <p:cNvSpPr/>
            <p:nvPr/>
          </p:nvSpPr>
          <p:spPr>
            <a:xfrm>
              <a:off x="1398108" y="3792196"/>
              <a:ext cx="1564978" cy="769410"/>
            </a:xfrm>
            <a:prstGeom prst="rect">
              <a:avLst/>
            </a:prstGeom>
            <a:noFill/>
            <a:ln w="6350" cap="flat" cmpd="sng" algn="ctr">
              <a:noFill/>
              <a:prstDash val="solid"/>
            </a:ln>
            <a:effectLst/>
          </p:spPr>
          <p:txBody>
            <a:bodyPr lIns="0" tIns="0" rIns="0" bIns="0" rtlCol="0" anchor="t">
              <a:noAutofit/>
            </a:bodyPr>
            <a:lstStyle/>
            <a:p>
              <a:pPr algn="ctr">
                <a:spcBef>
                  <a:spcPts val="300"/>
                </a:spcBef>
                <a:spcAft>
                  <a:spcPts val="100"/>
                </a:spcAft>
              </a:pPr>
              <a:r>
                <a:rPr lang="en-US" sz="1100" b="1" dirty="0"/>
                <a:t>Superior </a:t>
              </a:r>
              <a:r>
                <a:rPr lang="en-US" sz="1100" b="1" dirty="0" smtClean="0"/>
                <a:t>Performance and Scale</a:t>
              </a:r>
              <a:endParaRPr lang="en-US" sz="1100" b="1" dirty="0"/>
            </a:p>
            <a:p>
              <a:pPr algn="ctr">
                <a:spcBef>
                  <a:spcPts val="100"/>
                </a:spcBef>
                <a:spcAft>
                  <a:spcPts val="200"/>
                </a:spcAft>
              </a:pPr>
              <a:r>
                <a:rPr lang="en-US" sz="900" dirty="0" smtClean="0"/>
                <a:t>High throughput IPsec </a:t>
              </a:r>
              <a:r>
                <a:rPr lang="en-US" sz="900" dirty="0"/>
                <a:t>VPN </a:t>
              </a:r>
              <a:r>
                <a:rPr lang="en-US" sz="900" dirty="0" smtClean="0"/>
                <a:t>and Security Gateway processing</a:t>
              </a:r>
              <a:endParaRPr lang="en-US" sz="900" dirty="0"/>
            </a:p>
          </p:txBody>
        </p:sp>
        <p:grpSp>
          <p:nvGrpSpPr>
            <p:cNvPr id="9" name="Group 8"/>
            <p:cNvGrpSpPr/>
            <p:nvPr/>
          </p:nvGrpSpPr>
          <p:grpSpPr>
            <a:xfrm>
              <a:off x="605458" y="3800795"/>
              <a:ext cx="716374" cy="716558"/>
              <a:chOff x="1687483" y="3754571"/>
              <a:chExt cx="716374" cy="716558"/>
            </a:xfrm>
          </p:grpSpPr>
          <p:sp>
            <p:nvSpPr>
              <p:cNvPr id="125" name="Oval 124"/>
              <p:cNvSpPr>
                <a:spLocks noChangeAspect="1"/>
              </p:cNvSpPr>
              <p:nvPr/>
            </p:nvSpPr>
            <p:spPr>
              <a:xfrm>
                <a:off x="1687483" y="3754571"/>
                <a:ext cx="716374" cy="716558"/>
              </a:xfrm>
              <a:prstGeom prst="ellipse">
                <a:avLst/>
              </a:prstGeom>
              <a:solidFill>
                <a:schemeClr val="accent5"/>
              </a:solidFill>
              <a:ln w="9525" cap="flat" cmpd="sng" algn="ctr">
                <a:solidFill>
                  <a:schemeClr val="bg1">
                    <a:alpha val="80000"/>
                  </a:schemeClr>
                </a:solidFill>
                <a:prstDash val="solid"/>
                <a:roun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82124" tIns="41061" rIns="82124" bIns="41061" numCol="1" spcCol="0" rtlCol="0" fromWordArt="0" anchor="ctr" anchorCtr="0" forceAA="0" compatLnSpc="1">
                <a:prstTxWarp prst="textNoShape">
                  <a:avLst/>
                </a:prstTxWarp>
                <a:noAutofit/>
              </a:bodyPr>
              <a:lstStyle/>
              <a:p>
                <a:pPr marL="0" marR="0" lvl="0" indent="0" algn="ctr" defTabSz="1085661"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FFFFFF"/>
                  </a:solidFill>
                  <a:effectLst/>
                  <a:uLnTx/>
                  <a:uFillTx/>
                  <a:latin typeface="Arial"/>
                  <a:cs typeface="Arial" charset="0"/>
                </a:endParaRPr>
              </a:p>
            </p:txBody>
          </p:sp>
          <p:grpSp>
            <p:nvGrpSpPr>
              <p:cNvPr id="34" name="Group 33"/>
              <p:cNvGrpSpPr/>
              <p:nvPr/>
            </p:nvGrpSpPr>
            <p:grpSpPr>
              <a:xfrm>
                <a:off x="1851774" y="3871835"/>
                <a:ext cx="387793" cy="477662"/>
                <a:chOff x="3199343" y="1563160"/>
                <a:chExt cx="333375" cy="410633"/>
              </a:xfrm>
              <a:solidFill>
                <a:schemeClr val="bg1"/>
              </a:solidFill>
            </p:grpSpPr>
            <p:sp>
              <p:nvSpPr>
                <p:cNvPr id="35" name="Freeform 34"/>
                <p:cNvSpPr>
                  <a:spLocks noEditPoints="1"/>
                </p:cNvSpPr>
                <p:nvPr/>
              </p:nvSpPr>
              <p:spPr bwMode="auto">
                <a:xfrm>
                  <a:off x="3199343" y="1563160"/>
                  <a:ext cx="333375" cy="410633"/>
                </a:xfrm>
                <a:custGeom>
                  <a:avLst/>
                  <a:gdLst>
                    <a:gd name="T0" fmla="*/ 141 w 166"/>
                    <a:gd name="T1" fmla="*/ 61 h 204"/>
                    <a:gd name="T2" fmla="*/ 146 w 166"/>
                    <a:gd name="T3" fmla="*/ 61 h 204"/>
                    <a:gd name="T4" fmla="*/ 149 w 166"/>
                    <a:gd name="T5" fmla="*/ 60 h 204"/>
                    <a:gd name="T6" fmla="*/ 160 w 166"/>
                    <a:gd name="T7" fmla="*/ 49 h 204"/>
                    <a:gd name="T8" fmla="*/ 161 w 166"/>
                    <a:gd name="T9" fmla="*/ 46 h 204"/>
                    <a:gd name="T10" fmla="*/ 160 w 166"/>
                    <a:gd name="T11" fmla="*/ 44 h 204"/>
                    <a:gd name="T12" fmla="*/ 147 w 166"/>
                    <a:gd name="T13" fmla="*/ 30 h 204"/>
                    <a:gd name="T14" fmla="*/ 145 w 166"/>
                    <a:gd name="T15" fmla="*/ 29 h 204"/>
                    <a:gd name="T16" fmla="*/ 144 w 166"/>
                    <a:gd name="T17" fmla="*/ 30 h 204"/>
                    <a:gd name="T18" fmla="*/ 142 w 166"/>
                    <a:gd name="T19" fmla="*/ 31 h 204"/>
                    <a:gd name="T20" fmla="*/ 131 w 166"/>
                    <a:gd name="T21" fmla="*/ 42 h 204"/>
                    <a:gd name="T22" fmla="*/ 129 w 166"/>
                    <a:gd name="T23" fmla="*/ 44 h 204"/>
                    <a:gd name="T24" fmla="*/ 129 w 166"/>
                    <a:gd name="T25" fmla="*/ 52 h 204"/>
                    <a:gd name="T26" fmla="*/ 97 w 166"/>
                    <a:gd name="T27" fmla="*/ 39 h 204"/>
                    <a:gd name="T28" fmla="*/ 97 w 166"/>
                    <a:gd name="T29" fmla="*/ 26 h 204"/>
                    <a:gd name="T30" fmla="*/ 101 w 166"/>
                    <a:gd name="T31" fmla="*/ 26 h 204"/>
                    <a:gd name="T32" fmla="*/ 104 w 166"/>
                    <a:gd name="T33" fmla="*/ 25 h 204"/>
                    <a:gd name="T34" fmla="*/ 105 w 166"/>
                    <a:gd name="T35" fmla="*/ 22 h 204"/>
                    <a:gd name="T36" fmla="*/ 105 w 166"/>
                    <a:gd name="T37" fmla="*/ 4 h 204"/>
                    <a:gd name="T38" fmla="*/ 104 w 166"/>
                    <a:gd name="T39" fmla="*/ 1 h 204"/>
                    <a:gd name="T40" fmla="*/ 101 w 166"/>
                    <a:gd name="T41" fmla="*/ 0 h 204"/>
                    <a:gd name="T42" fmla="*/ 64 w 166"/>
                    <a:gd name="T43" fmla="*/ 0 h 204"/>
                    <a:gd name="T44" fmla="*/ 62 w 166"/>
                    <a:gd name="T45" fmla="*/ 1 h 204"/>
                    <a:gd name="T46" fmla="*/ 60 w 166"/>
                    <a:gd name="T47" fmla="*/ 4 h 204"/>
                    <a:gd name="T48" fmla="*/ 60 w 166"/>
                    <a:gd name="T49" fmla="*/ 22 h 204"/>
                    <a:gd name="T50" fmla="*/ 62 w 166"/>
                    <a:gd name="T51" fmla="*/ 25 h 204"/>
                    <a:gd name="T52" fmla="*/ 64 w 166"/>
                    <a:gd name="T53" fmla="*/ 26 h 204"/>
                    <a:gd name="T54" fmla="*/ 69 w 166"/>
                    <a:gd name="T55" fmla="*/ 26 h 204"/>
                    <a:gd name="T56" fmla="*/ 69 w 166"/>
                    <a:gd name="T57" fmla="*/ 39 h 204"/>
                    <a:gd name="T58" fmla="*/ 0 w 166"/>
                    <a:gd name="T59" fmla="*/ 121 h 204"/>
                    <a:gd name="T60" fmla="*/ 83 w 166"/>
                    <a:gd name="T61" fmla="*/ 204 h 204"/>
                    <a:gd name="T62" fmla="*/ 166 w 166"/>
                    <a:gd name="T63" fmla="*/ 121 h 204"/>
                    <a:gd name="T64" fmla="*/ 141 w 166"/>
                    <a:gd name="T65" fmla="*/ 61 h 204"/>
                    <a:gd name="T66" fmla="*/ 83 w 166"/>
                    <a:gd name="T67" fmla="*/ 187 h 204"/>
                    <a:gd name="T68" fmla="*/ 16 w 166"/>
                    <a:gd name="T69" fmla="*/ 121 h 204"/>
                    <a:gd name="T70" fmla="*/ 83 w 166"/>
                    <a:gd name="T71" fmla="*/ 54 h 204"/>
                    <a:gd name="T72" fmla="*/ 149 w 166"/>
                    <a:gd name="T73" fmla="*/ 121 h 204"/>
                    <a:gd name="T74" fmla="*/ 83 w 166"/>
                    <a:gd name="T75"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 h="204">
                      <a:moveTo>
                        <a:pt x="141" y="61"/>
                      </a:moveTo>
                      <a:cubicBezTo>
                        <a:pt x="146" y="61"/>
                        <a:pt x="146" y="61"/>
                        <a:pt x="146" y="61"/>
                      </a:cubicBezTo>
                      <a:cubicBezTo>
                        <a:pt x="147" y="61"/>
                        <a:pt x="148" y="61"/>
                        <a:pt x="149" y="60"/>
                      </a:cubicBezTo>
                      <a:cubicBezTo>
                        <a:pt x="160" y="49"/>
                        <a:pt x="160" y="49"/>
                        <a:pt x="160" y="49"/>
                      </a:cubicBezTo>
                      <a:cubicBezTo>
                        <a:pt x="161" y="48"/>
                        <a:pt x="161" y="47"/>
                        <a:pt x="161" y="46"/>
                      </a:cubicBezTo>
                      <a:cubicBezTo>
                        <a:pt x="161" y="45"/>
                        <a:pt x="161" y="44"/>
                        <a:pt x="160" y="44"/>
                      </a:cubicBezTo>
                      <a:cubicBezTo>
                        <a:pt x="147" y="30"/>
                        <a:pt x="147" y="30"/>
                        <a:pt x="147" y="30"/>
                      </a:cubicBezTo>
                      <a:cubicBezTo>
                        <a:pt x="147" y="30"/>
                        <a:pt x="146" y="29"/>
                        <a:pt x="145" y="29"/>
                      </a:cubicBezTo>
                      <a:cubicBezTo>
                        <a:pt x="145" y="29"/>
                        <a:pt x="144" y="29"/>
                        <a:pt x="144" y="30"/>
                      </a:cubicBezTo>
                      <a:cubicBezTo>
                        <a:pt x="143" y="30"/>
                        <a:pt x="143" y="30"/>
                        <a:pt x="142" y="31"/>
                      </a:cubicBezTo>
                      <a:cubicBezTo>
                        <a:pt x="131" y="42"/>
                        <a:pt x="131" y="42"/>
                        <a:pt x="131" y="42"/>
                      </a:cubicBezTo>
                      <a:cubicBezTo>
                        <a:pt x="130" y="43"/>
                        <a:pt x="130" y="44"/>
                        <a:pt x="129" y="44"/>
                      </a:cubicBezTo>
                      <a:cubicBezTo>
                        <a:pt x="129" y="45"/>
                        <a:pt x="129" y="45"/>
                        <a:pt x="129" y="52"/>
                      </a:cubicBezTo>
                      <a:cubicBezTo>
                        <a:pt x="119" y="46"/>
                        <a:pt x="108" y="41"/>
                        <a:pt x="97" y="39"/>
                      </a:cubicBezTo>
                      <a:cubicBezTo>
                        <a:pt x="97" y="26"/>
                        <a:pt x="97" y="26"/>
                        <a:pt x="97" y="26"/>
                      </a:cubicBezTo>
                      <a:cubicBezTo>
                        <a:pt x="101" y="26"/>
                        <a:pt x="101" y="26"/>
                        <a:pt x="101" y="26"/>
                      </a:cubicBezTo>
                      <a:cubicBezTo>
                        <a:pt x="102" y="26"/>
                        <a:pt x="103" y="25"/>
                        <a:pt x="104" y="25"/>
                      </a:cubicBezTo>
                      <a:cubicBezTo>
                        <a:pt x="105" y="24"/>
                        <a:pt x="105" y="23"/>
                        <a:pt x="105" y="22"/>
                      </a:cubicBezTo>
                      <a:cubicBezTo>
                        <a:pt x="105" y="4"/>
                        <a:pt x="105" y="4"/>
                        <a:pt x="105" y="4"/>
                      </a:cubicBezTo>
                      <a:cubicBezTo>
                        <a:pt x="105" y="3"/>
                        <a:pt x="105" y="2"/>
                        <a:pt x="104" y="1"/>
                      </a:cubicBezTo>
                      <a:cubicBezTo>
                        <a:pt x="103" y="0"/>
                        <a:pt x="102" y="0"/>
                        <a:pt x="101" y="0"/>
                      </a:cubicBezTo>
                      <a:cubicBezTo>
                        <a:pt x="64" y="0"/>
                        <a:pt x="64" y="0"/>
                        <a:pt x="64" y="0"/>
                      </a:cubicBezTo>
                      <a:cubicBezTo>
                        <a:pt x="63" y="0"/>
                        <a:pt x="62" y="0"/>
                        <a:pt x="62" y="1"/>
                      </a:cubicBezTo>
                      <a:cubicBezTo>
                        <a:pt x="61" y="2"/>
                        <a:pt x="60" y="3"/>
                        <a:pt x="60" y="4"/>
                      </a:cubicBezTo>
                      <a:cubicBezTo>
                        <a:pt x="60" y="22"/>
                        <a:pt x="60" y="22"/>
                        <a:pt x="60" y="22"/>
                      </a:cubicBezTo>
                      <a:cubicBezTo>
                        <a:pt x="60" y="23"/>
                        <a:pt x="61" y="24"/>
                        <a:pt x="62" y="25"/>
                      </a:cubicBezTo>
                      <a:cubicBezTo>
                        <a:pt x="62" y="25"/>
                        <a:pt x="63" y="26"/>
                        <a:pt x="64" y="26"/>
                      </a:cubicBezTo>
                      <a:cubicBezTo>
                        <a:pt x="69" y="26"/>
                        <a:pt x="69" y="26"/>
                        <a:pt x="69" y="26"/>
                      </a:cubicBezTo>
                      <a:cubicBezTo>
                        <a:pt x="69" y="39"/>
                        <a:pt x="69" y="39"/>
                        <a:pt x="69" y="39"/>
                      </a:cubicBezTo>
                      <a:cubicBezTo>
                        <a:pt x="29" y="46"/>
                        <a:pt x="0" y="81"/>
                        <a:pt x="0" y="121"/>
                      </a:cubicBezTo>
                      <a:cubicBezTo>
                        <a:pt x="0" y="167"/>
                        <a:pt x="37" y="204"/>
                        <a:pt x="83" y="204"/>
                      </a:cubicBezTo>
                      <a:cubicBezTo>
                        <a:pt x="129" y="204"/>
                        <a:pt x="166" y="167"/>
                        <a:pt x="166" y="121"/>
                      </a:cubicBezTo>
                      <a:cubicBezTo>
                        <a:pt x="166" y="98"/>
                        <a:pt x="157" y="77"/>
                        <a:pt x="141" y="61"/>
                      </a:cubicBezTo>
                      <a:close/>
                      <a:moveTo>
                        <a:pt x="83" y="187"/>
                      </a:moveTo>
                      <a:cubicBezTo>
                        <a:pt x="46" y="187"/>
                        <a:pt x="16" y="157"/>
                        <a:pt x="16" y="121"/>
                      </a:cubicBezTo>
                      <a:cubicBezTo>
                        <a:pt x="16" y="84"/>
                        <a:pt x="46" y="54"/>
                        <a:pt x="83" y="54"/>
                      </a:cubicBezTo>
                      <a:cubicBezTo>
                        <a:pt x="119" y="54"/>
                        <a:pt x="149" y="84"/>
                        <a:pt x="149" y="121"/>
                      </a:cubicBezTo>
                      <a:cubicBezTo>
                        <a:pt x="149" y="157"/>
                        <a:pt x="119" y="187"/>
                        <a:pt x="83"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dirty="0"/>
                </a:p>
              </p:txBody>
            </p:sp>
            <p:sp>
              <p:nvSpPr>
                <p:cNvPr id="36" name="Freeform 35"/>
                <p:cNvSpPr>
                  <a:spLocks/>
                </p:cNvSpPr>
                <p:nvPr/>
              </p:nvSpPr>
              <p:spPr bwMode="auto">
                <a:xfrm>
                  <a:off x="3350684" y="1726143"/>
                  <a:ext cx="96309" cy="94192"/>
                </a:xfrm>
                <a:custGeom>
                  <a:avLst/>
                  <a:gdLst>
                    <a:gd name="T0" fmla="*/ 35 w 48"/>
                    <a:gd name="T1" fmla="*/ 3 h 47"/>
                    <a:gd name="T2" fmla="*/ 2 w 48"/>
                    <a:gd name="T3" fmla="*/ 35 h 47"/>
                    <a:gd name="T4" fmla="*/ 2 w 48"/>
                    <a:gd name="T5" fmla="*/ 45 h 47"/>
                    <a:gd name="T6" fmla="*/ 7 w 48"/>
                    <a:gd name="T7" fmla="*/ 47 h 47"/>
                    <a:gd name="T8" fmla="*/ 12 w 48"/>
                    <a:gd name="T9" fmla="*/ 45 h 47"/>
                    <a:gd name="T10" fmla="*/ 45 w 48"/>
                    <a:gd name="T11" fmla="*/ 12 h 47"/>
                    <a:gd name="T12" fmla="*/ 45 w 48"/>
                    <a:gd name="T13" fmla="*/ 3 h 47"/>
                    <a:gd name="T14" fmla="*/ 35 w 48"/>
                    <a:gd name="T15" fmla="*/ 3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7">
                      <a:moveTo>
                        <a:pt x="35" y="3"/>
                      </a:moveTo>
                      <a:cubicBezTo>
                        <a:pt x="2" y="35"/>
                        <a:pt x="2" y="35"/>
                        <a:pt x="2" y="35"/>
                      </a:cubicBezTo>
                      <a:cubicBezTo>
                        <a:pt x="0" y="38"/>
                        <a:pt x="0" y="42"/>
                        <a:pt x="2" y="45"/>
                      </a:cubicBezTo>
                      <a:cubicBezTo>
                        <a:pt x="4" y="46"/>
                        <a:pt x="6" y="47"/>
                        <a:pt x="7" y="47"/>
                      </a:cubicBezTo>
                      <a:cubicBezTo>
                        <a:pt x="9" y="47"/>
                        <a:pt x="11" y="46"/>
                        <a:pt x="12" y="45"/>
                      </a:cubicBezTo>
                      <a:cubicBezTo>
                        <a:pt x="45" y="12"/>
                        <a:pt x="45" y="12"/>
                        <a:pt x="45" y="12"/>
                      </a:cubicBezTo>
                      <a:cubicBezTo>
                        <a:pt x="48" y="10"/>
                        <a:pt x="48" y="5"/>
                        <a:pt x="45" y="3"/>
                      </a:cubicBezTo>
                      <a:cubicBezTo>
                        <a:pt x="42" y="0"/>
                        <a:pt x="38" y="0"/>
                        <a:pt x="35"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grpSp>
        </p:grpSp>
      </p:grpSp>
      <p:grpSp>
        <p:nvGrpSpPr>
          <p:cNvPr id="19" name="Group 18"/>
          <p:cNvGrpSpPr/>
          <p:nvPr/>
        </p:nvGrpSpPr>
        <p:grpSpPr>
          <a:xfrm>
            <a:off x="6293402" y="3792196"/>
            <a:ext cx="2291798" cy="725157"/>
            <a:chOff x="6293402" y="3792196"/>
            <a:chExt cx="2291798" cy="725157"/>
          </a:xfrm>
        </p:grpSpPr>
        <p:sp>
          <p:nvSpPr>
            <p:cNvPr id="165" name="Rectangle 164"/>
            <p:cNvSpPr/>
            <p:nvPr/>
          </p:nvSpPr>
          <p:spPr>
            <a:xfrm>
              <a:off x="7151882" y="3792196"/>
              <a:ext cx="1433318" cy="633462"/>
            </a:xfrm>
            <a:prstGeom prst="rect">
              <a:avLst/>
            </a:prstGeom>
            <a:noFill/>
            <a:ln w="6350" cap="flat" cmpd="sng" algn="ctr">
              <a:noFill/>
              <a:prstDash val="solid"/>
            </a:ln>
            <a:effectLst/>
          </p:spPr>
          <p:txBody>
            <a:bodyPr lIns="0" tIns="0" rIns="0" bIns="0" rtlCol="0" anchor="t">
              <a:noAutofit/>
            </a:bodyPr>
            <a:lstStyle/>
            <a:p>
              <a:pPr algn="ctr">
                <a:spcBef>
                  <a:spcPts val="300"/>
                </a:spcBef>
                <a:spcAft>
                  <a:spcPts val="100"/>
                </a:spcAft>
              </a:pPr>
              <a:r>
                <a:rPr lang="en-US" sz="1100" b="1" dirty="0" smtClean="0"/>
                <a:t>Future Proof</a:t>
              </a:r>
              <a:endParaRPr lang="en-US" sz="1100" b="1" dirty="0"/>
            </a:p>
            <a:p>
              <a:pPr algn="ctr">
                <a:spcBef>
                  <a:spcPts val="100"/>
                </a:spcBef>
                <a:spcAft>
                  <a:spcPts val="200"/>
                </a:spcAft>
              </a:pPr>
              <a:r>
                <a:rPr lang="en-US" sz="900" dirty="0"/>
                <a:t>Physical and virtual options to address architectural requirements</a:t>
              </a:r>
            </a:p>
          </p:txBody>
        </p:sp>
        <p:grpSp>
          <p:nvGrpSpPr>
            <p:cNvPr id="14" name="Group 13"/>
            <p:cNvGrpSpPr/>
            <p:nvPr/>
          </p:nvGrpSpPr>
          <p:grpSpPr>
            <a:xfrm>
              <a:off x="6293402" y="3800795"/>
              <a:ext cx="716374" cy="716558"/>
              <a:chOff x="6293402" y="3800795"/>
              <a:chExt cx="716374" cy="716558"/>
            </a:xfrm>
          </p:grpSpPr>
          <p:sp>
            <p:nvSpPr>
              <p:cNvPr id="167" name="Oval 166"/>
              <p:cNvSpPr>
                <a:spLocks noChangeAspect="1"/>
              </p:cNvSpPr>
              <p:nvPr/>
            </p:nvSpPr>
            <p:spPr>
              <a:xfrm>
                <a:off x="6293402" y="3800795"/>
                <a:ext cx="716374" cy="716558"/>
              </a:xfrm>
              <a:prstGeom prst="ellipse">
                <a:avLst/>
              </a:prstGeom>
              <a:solidFill>
                <a:schemeClr val="accent5"/>
              </a:solidFill>
              <a:ln w="9525" cap="flat" cmpd="sng" algn="ctr">
                <a:solidFill>
                  <a:schemeClr val="bg1">
                    <a:alpha val="80000"/>
                  </a:schemeClr>
                </a:solidFill>
                <a:prstDash val="solid"/>
                <a:roun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82124" tIns="41061" rIns="82124" bIns="41061" numCol="1" spcCol="0" rtlCol="0" fromWordArt="0" anchor="ctr" anchorCtr="0" forceAA="0" compatLnSpc="1">
                <a:prstTxWarp prst="textNoShape">
                  <a:avLst/>
                </a:prstTxWarp>
                <a:noAutofit/>
              </a:bodyPr>
              <a:lstStyle/>
              <a:p>
                <a:pPr marL="0" marR="0" lvl="0" indent="0" algn="ctr" defTabSz="1085661"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FFFFFF"/>
                  </a:solidFill>
                  <a:effectLst/>
                  <a:uLnTx/>
                  <a:uFillTx/>
                  <a:latin typeface="Arial"/>
                  <a:cs typeface="Arial" charset="0"/>
                </a:endParaRPr>
              </a:p>
            </p:txBody>
          </p:sp>
          <p:grpSp>
            <p:nvGrpSpPr>
              <p:cNvPr id="10" name="Group 9"/>
              <p:cNvGrpSpPr/>
              <p:nvPr/>
            </p:nvGrpSpPr>
            <p:grpSpPr>
              <a:xfrm>
                <a:off x="6510973" y="3943083"/>
                <a:ext cx="305299" cy="416535"/>
                <a:chOff x="6603048" y="3797739"/>
                <a:chExt cx="406728" cy="554919"/>
              </a:xfrm>
            </p:grpSpPr>
            <p:sp>
              <p:nvSpPr>
                <p:cNvPr id="47" name="Freeform 69"/>
                <p:cNvSpPr>
                  <a:spLocks/>
                </p:cNvSpPr>
                <p:nvPr/>
              </p:nvSpPr>
              <p:spPr bwMode="auto">
                <a:xfrm>
                  <a:off x="6684394" y="3797739"/>
                  <a:ext cx="244036" cy="287012"/>
                </a:xfrm>
                <a:custGeom>
                  <a:avLst/>
                  <a:gdLst>
                    <a:gd name="T0" fmla="*/ 14 w 84"/>
                    <a:gd name="T1" fmla="*/ 95 h 99"/>
                    <a:gd name="T2" fmla="*/ 14 w 84"/>
                    <a:gd name="T3" fmla="*/ 14 h 99"/>
                    <a:gd name="T4" fmla="*/ 70 w 84"/>
                    <a:gd name="T5" fmla="*/ 14 h 99"/>
                    <a:gd name="T6" fmla="*/ 70 w 84"/>
                    <a:gd name="T7" fmla="*/ 95 h 99"/>
                    <a:gd name="T8" fmla="*/ 71 w 84"/>
                    <a:gd name="T9" fmla="*/ 98 h 99"/>
                    <a:gd name="T10" fmla="*/ 84 w 84"/>
                    <a:gd name="T11" fmla="*/ 99 h 99"/>
                    <a:gd name="T12" fmla="*/ 84 w 84"/>
                    <a:gd name="T13" fmla="*/ 7 h 99"/>
                    <a:gd name="T14" fmla="*/ 81 w 84"/>
                    <a:gd name="T15" fmla="*/ 2 h 99"/>
                    <a:gd name="T16" fmla="*/ 77 w 84"/>
                    <a:gd name="T17" fmla="*/ 0 h 99"/>
                    <a:gd name="T18" fmla="*/ 7 w 84"/>
                    <a:gd name="T19" fmla="*/ 0 h 99"/>
                    <a:gd name="T20" fmla="*/ 0 w 84"/>
                    <a:gd name="T21" fmla="*/ 7 h 99"/>
                    <a:gd name="T22" fmla="*/ 0 w 84"/>
                    <a:gd name="T23" fmla="*/ 99 h 99"/>
                    <a:gd name="T24" fmla="*/ 13 w 84"/>
                    <a:gd name="T25" fmla="*/ 98 h 99"/>
                    <a:gd name="T26" fmla="*/ 14 w 84"/>
                    <a:gd name="T27" fmla="*/ 9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9">
                      <a:moveTo>
                        <a:pt x="14" y="95"/>
                      </a:moveTo>
                      <a:cubicBezTo>
                        <a:pt x="14" y="14"/>
                        <a:pt x="14" y="14"/>
                        <a:pt x="14" y="14"/>
                      </a:cubicBezTo>
                      <a:cubicBezTo>
                        <a:pt x="70" y="14"/>
                        <a:pt x="70" y="14"/>
                        <a:pt x="70" y="14"/>
                      </a:cubicBezTo>
                      <a:cubicBezTo>
                        <a:pt x="70" y="95"/>
                        <a:pt x="70" y="95"/>
                        <a:pt x="70" y="95"/>
                      </a:cubicBezTo>
                      <a:cubicBezTo>
                        <a:pt x="71" y="98"/>
                        <a:pt x="71" y="98"/>
                        <a:pt x="71" y="98"/>
                      </a:cubicBezTo>
                      <a:cubicBezTo>
                        <a:pt x="84" y="99"/>
                        <a:pt x="84" y="99"/>
                        <a:pt x="84" y="99"/>
                      </a:cubicBezTo>
                      <a:cubicBezTo>
                        <a:pt x="84" y="7"/>
                        <a:pt x="84" y="7"/>
                        <a:pt x="84" y="7"/>
                      </a:cubicBezTo>
                      <a:cubicBezTo>
                        <a:pt x="84" y="5"/>
                        <a:pt x="83" y="3"/>
                        <a:pt x="81" y="2"/>
                      </a:cubicBezTo>
                      <a:cubicBezTo>
                        <a:pt x="80" y="0"/>
                        <a:pt x="78" y="0"/>
                        <a:pt x="77" y="0"/>
                      </a:cubicBezTo>
                      <a:cubicBezTo>
                        <a:pt x="7" y="0"/>
                        <a:pt x="7" y="0"/>
                        <a:pt x="7" y="0"/>
                      </a:cubicBezTo>
                      <a:cubicBezTo>
                        <a:pt x="3" y="0"/>
                        <a:pt x="0" y="3"/>
                        <a:pt x="0" y="7"/>
                      </a:cubicBezTo>
                      <a:cubicBezTo>
                        <a:pt x="0" y="99"/>
                        <a:pt x="0" y="99"/>
                        <a:pt x="0" y="99"/>
                      </a:cubicBezTo>
                      <a:cubicBezTo>
                        <a:pt x="13" y="98"/>
                        <a:pt x="13" y="98"/>
                        <a:pt x="13" y="98"/>
                      </a:cubicBezTo>
                      <a:lnTo>
                        <a:pt x="14" y="95"/>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sp>
              <p:nvSpPr>
                <p:cNvPr id="48" name="Freeform 70"/>
                <p:cNvSpPr>
                  <a:spLocks/>
                </p:cNvSpPr>
                <p:nvPr/>
              </p:nvSpPr>
              <p:spPr bwMode="auto">
                <a:xfrm>
                  <a:off x="6603048" y="3968952"/>
                  <a:ext cx="406728" cy="383706"/>
                </a:xfrm>
                <a:custGeom>
                  <a:avLst/>
                  <a:gdLst>
                    <a:gd name="T0" fmla="*/ 139 w 140"/>
                    <a:gd name="T1" fmla="*/ 50 h 132"/>
                    <a:gd name="T2" fmla="*/ 135 w 140"/>
                    <a:gd name="T3" fmla="*/ 47 h 132"/>
                    <a:gd name="T4" fmla="*/ 112 w 140"/>
                    <a:gd name="T5" fmla="*/ 47 h 132"/>
                    <a:gd name="T6" fmla="*/ 98 w 140"/>
                    <a:gd name="T7" fmla="*/ 46 h 132"/>
                    <a:gd name="T8" fmla="*/ 92 w 140"/>
                    <a:gd name="T9" fmla="*/ 46 h 132"/>
                    <a:gd name="T10" fmla="*/ 89 w 140"/>
                    <a:gd name="T11" fmla="*/ 46 h 132"/>
                    <a:gd name="T12" fmla="*/ 87 w 140"/>
                    <a:gd name="T13" fmla="*/ 42 h 132"/>
                    <a:gd name="T14" fmla="*/ 74 w 140"/>
                    <a:gd name="T15" fmla="*/ 3 h 132"/>
                    <a:gd name="T16" fmla="*/ 70 w 140"/>
                    <a:gd name="T17" fmla="*/ 0 h 132"/>
                    <a:gd name="T18" fmla="*/ 66 w 140"/>
                    <a:gd name="T19" fmla="*/ 3 h 132"/>
                    <a:gd name="T20" fmla="*/ 52 w 140"/>
                    <a:gd name="T21" fmla="*/ 42 h 132"/>
                    <a:gd name="T22" fmla="*/ 51 w 140"/>
                    <a:gd name="T23" fmla="*/ 46 h 132"/>
                    <a:gd name="T24" fmla="*/ 48 w 140"/>
                    <a:gd name="T25" fmla="*/ 46 h 132"/>
                    <a:gd name="T26" fmla="*/ 42 w 140"/>
                    <a:gd name="T27" fmla="*/ 46 h 132"/>
                    <a:gd name="T28" fmla="*/ 28 w 140"/>
                    <a:gd name="T29" fmla="*/ 47 h 132"/>
                    <a:gd name="T30" fmla="*/ 4 w 140"/>
                    <a:gd name="T31" fmla="*/ 47 h 132"/>
                    <a:gd name="T32" fmla="*/ 0 w 140"/>
                    <a:gd name="T33" fmla="*/ 50 h 132"/>
                    <a:gd name="T34" fmla="*/ 2 w 140"/>
                    <a:gd name="T35" fmla="*/ 55 h 132"/>
                    <a:gd name="T36" fmla="*/ 39 w 140"/>
                    <a:gd name="T37" fmla="*/ 82 h 132"/>
                    <a:gd name="T38" fmla="*/ 25 w 140"/>
                    <a:gd name="T39" fmla="*/ 126 h 132"/>
                    <a:gd name="T40" fmla="*/ 27 w 140"/>
                    <a:gd name="T41" fmla="*/ 131 h 132"/>
                    <a:gd name="T42" fmla="*/ 28 w 140"/>
                    <a:gd name="T43" fmla="*/ 131 h 132"/>
                    <a:gd name="T44" fmla="*/ 28 w 140"/>
                    <a:gd name="T45" fmla="*/ 131 h 132"/>
                    <a:gd name="T46" fmla="*/ 29 w 140"/>
                    <a:gd name="T47" fmla="*/ 132 h 132"/>
                    <a:gd name="T48" fmla="*/ 29 w 140"/>
                    <a:gd name="T49" fmla="*/ 132 h 132"/>
                    <a:gd name="T50" fmla="*/ 30 w 140"/>
                    <a:gd name="T51" fmla="*/ 131 h 132"/>
                    <a:gd name="T52" fmla="*/ 30 w 140"/>
                    <a:gd name="T53" fmla="*/ 131 h 132"/>
                    <a:gd name="T54" fmla="*/ 32 w 140"/>
                    <a:gd name="T55" fmla="*/ 131 h 132"/>
                    <a:gd name="T56" fmla="*/ 70 w 140"/>
                    <a:gd name="T57" fmla="*/ 105 h 132"/>
                    <a:gd name="T58" fmla="*/ 108 w 140"/>
                    <a:gd name="T59" fmla="*/ 131 h 132"/>
                    <a:gd name="T60" fmla="*/ 110 w 140"/>
                    <a:gd name="T61" fmla="*/ 132 h 132"/>
                    <a:gd name="T62" fmla="*/ 113 w 140"/>
                    <a:gd name="T63" fmla="*/ 131 h 132"/>
                    <a:gd name="T64" fmla="*/ 114 w 140"/>
                    <a:gd name="T65" fmla="*/ 126 h 132"/>
                    <a:gd name="T66" fmla="*/ 101 w 140"/>
                    <a:gd name="T67" fmla="*/ 82 h 132"/>
                    <a:gd name="T68" fmla="*/ 138 w 140"/>
                    <a:gd name="T69" fmla="*/ 55 h 132"/>
                    <a:gd name="T70" fmla="*/ 139 w 140"/>
                    <a:gd name="T71" fmla="*/ 5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132">
                      <a:moveTo>
                        <a:pt x="139" y="50"/>
                      </a:moveTo>
                      <a:cubicBezTo>
                        <a:pt x="139" y="48"/>
                        <a:pt x="137" y="47"/>
                        <a:pt x="135" y="47"/>
                      </a:cubicBezTo>
                      <a:cubicBezTo>
                        <a:pt x="112" y="47"/>
                        <a:pt x="112" y="47"/>
                        <a:pt x="112" y="47"/>
                      </a:cubicBezTo>
                      <a:cubicBezTo>
                        <a:pt x="98" y="46"/>
                        <a:pt x="98" y="46"/>
                        <a:pt x="98" y="46"/>
                      </a:cubicBezTo>
                      <a:cubicBezTo>
                        <a:pt x="92" y="46"/>
                        <a:pt x="92" y="46"/>
                        <a:pt x="92" y="46"/>
                      </a:cubicBezTo>
                      <a:cubicBezTo>
                        <a:pt x="89" y="46"/>
                        <a:pt x="89" y="46"/>
                        <a:pt x="89" y="46"/>
                      </a:cubicBezTo>
                      <a:cubicBezTo>
                        <a:pt x="87" y="42"/>
                        <a:pt x="87" y="42"/>
                        <a:pt x="87" y="42"/>
                      </a:cubicBezTo>
                      <a:cubicBezTo>
                        <a:pt x="74" y="3"/>
                        <a:pt x="74" y="3"/>
                        <a:pt x="74" y="3"/>
                      </a:cubicBezTo>
                      <a:cubicBezTo>
                        <a:pt x="73" y="1"/>
                        <a:pt x="71" y="0"/>
                        <a:pt x="70" y="0"/>
                      </a:cubicBezTo>
                      <a:cubicBezTo>
                        <a:pt x="68" y="0"/>
                        <a:pt x="66" y="1"/>
                        <a:pt x="66" y="3"/>
                      </a:cubicBezTo>
                      <a:cubicBezTo>
                        <a:pt x="52" y="42"/>
                        <a:pt x="52" y="42"/>
                        <a:pt x="52" y="42"/>
                      </a:cubicBezTo>
                      <a:cubicBezTo>
                        <a:pt x="51" y="46"/>
                        <a:pt x="51" y="46"/>
                        <a:pt x="51" y="46"/>
                      </a:cubicBezTo>
                      <a:cubicBezTo>
                        <a:pt x="48" y="46"/>
                        <a:pt x="48" y="46"/>
                        <a:pt x="48" y="46"/>
                      </a:cubicBezTo>
                      <a:cubicBezTo>
                        <a:pt x="42" y="46"/>
                        <a:pt x="42" y="46"/>
                        <a:pt x="42" y="46"/>
                      </a:cubicBezTo>
                      <a:cubicBezTo>
                        <a:pt x="28" y="47"/>
                        <a:pt x="28" y="47"/>
                        <a:pt x="28" y="47"/>
                      </a:cubicBezTo>
                      <a:cubicBezTo>
                        <a:pt x="4" y="47"/>
                        <a:pt x="4" y="47"/>
                        <a:pt x="4" y="47"/>
                      </a:cubicBezTo>
                      <a:cubicBezTo>
                        <a:pt x="2" y="47"/>
                        <a:pt x="1" y="48"/>
                        <a:pt x="0" y="50"/>
                      </a:cubicBezTo>
                      <a:cubicBezTo>
                        <a:pt x="0" y="52"/>
                        <a:pt x="0" y="53"/>
                        <a:pt x="2" y="55"/>
                      </a:cubicBezTo>
                      <a:cubicBezTo>
                        <a:pt x="39" y="82"/>
                        <a:pt x="39" y="82"/>
                        <a:pt x="39" y="82"/>
                      </a:cubicBezTo>
                      <a:cubicBezTo>
                        <a:pt x="25" y="126"/>
                        <a:pt x="25" y="126"/>
                        <a:pt x="25" y="126"/>
                      </a:cubicBezTo>
                      <a:cubicBezTo>
                        <a:pt x="25" y="128"/>
                        <a:pt x="25" y="130"/>
                        <a:pt x="27" y="131"/>
                      </a:cubicBezTo>
                      <a:cubicBezTo>
                        <a:pt x="27" y="131"/>
                        <a:pt x="28" y="131"/>
                        <a:pt x="28" y="131"/>
                      </a:cubicBezTo>
                      <a:cubicBezTo>
                        <a:pt x="28" y="131"/>
                        <a:pt x="28" y="131"/>
                        <a:pt x="28" y="131"/>
                      </a:cubicBezTo>
                      <a:cubicBezTo>
                        <a:pt x="29" y="131"/>
                        <a:pt x="29" y="131"/>
                        <a:pt x="29" y="132"/>
                      </a:cubicBezTo>
                      <a:cubicBezTo>
                        <a:pt x="29" y="132"/>
                        <a:pt x="29" y="132"/>
                        <a:pt x="29" y="132"/>
                      </a:cubicBezTo>
                      <a:cubicBezTo>
                        <a:pt x="30" y="132"/>
                        <a:pt x="30" y="131"/>
                        <a:pt x="30" y="131"/>
                      </a:cubicBezTo>
                      <a:cubicBezTo>
                        <a:pt x="30" y="131"/>
                        <a:pt x="30" y="131"/>
                        <a:pt x="30" y="131"/>
                      </a:cubicBezTo>
                      <a:cubicBezTo>
                        <a:pt x="31" y="131"/>
                        <a:pt x="31" y="131"/>
                        <a:pt x="32" y="131"/>
                      </a:cubicBezTo>
                      <a:cubicBezTo>
                        <a:pt x="70" y="105"/>
                        <a:pt x="70" y="105"/>
                        <a:pt x="70" y="105"/>
                      </a:cubicBezTo>
                      <a:cubicBezTo>
                        <a:pt x="108" y="131"/>
                        <a:pt x="108" y="131"/>
                        <a:pt x="108" y="131"/>
                      </a:cubicBezTo>
                      <a:cubicBezTo>
                        <a:pt x="108" y="131"/>
                        <a:pt x="109" y="132"/>
                        <a:pt x="110" y="132"/>
                      </a:cubicBezTo>
                      <a:cubicBezTo>
                        <a:pt x="111" y="132"/>
                        <a:pt x="112" y="131"/>
                        <a:pt x="113" y="131"/>
                      </a:cubicBezTo>
                      <a:cubicBezTo>
                        <a:pt x="114" y="130"/>
                        <a:pt x="115" y="128"/>
                        <a:pt x="114" y="126"/>
                      </a:cubicBezTo>
                      <a:cubicBezTo>
                        <a:pt x="101" y="82"/>
                        <a:pt x="101" y="82"/>
                        <a:pt x="101" y="82"/>
                      </a:cubicBezTo>
                      <a:cubicBezTo>
                        <a:pt x="138" y="55"/>
                        <a:pt x="138" y="55"/>
                        <a:pt x="138" y="55"/>
                      </a:cubicBezTo>
                      <a:cubicBezTo>
                        <a:pt x="139" y="53"/>
                        <a:pt x="140" y="52"/>
                        <a:pt x="139" y="5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endParaRPr lang="en-US" sz="1200"/>
                </a:p>
              </p:txBody>
            </p:sp>
          </p:grpSp>
        </p:grpSp>
      </p:grpSp>
      <p:grpSp>
        <p:nvGrpSpPr>
          <p:cNvPr id="18" name="Group 17"/>
          <p:cNvGrpSpPr/>
          <p:nvPr/>
        </p:nvGrpSpPr>
        <p:grpSpPr>
          <a:xfrm>
            <a:off x="3449430" y="3792196"/>
            <a:ext cx="2671970" cy="769410"/>
            <a:chOff x="3449430" y="3792196"/>
            <a:chExt cx="2671970" cy="769410"/>
          </a:xfrm>
        </p:grpSpPr>
        <p:sp>
          <p:nvSpPr>
            <p:cNvPr id="159" name="Rectangle 158"/>
            <p:cNvSpPr/>
            <p:nvPr/>
          </p:nvSpPr>
          <p:spPr>
            <a:xfrm>
              <a:off x="4242080" y="3792196"/>
              <a:ext cx="1879320" cy="769410"/>
            </a:xfrm>
            <a:prstGeom prst="rect">
              <a:avLst/>
            </a:prstGeom>
            <a:noFill/>
            <a:ln w="6350" cap="flat" cmpd="sng" algn="ctr">
              <a:noFill/>
              <a:prstDash val="solid"/>
            </a:ln>
            <a:effectLst/>
          </p:spPr>
          <p:txBody>
            <a:bodyPr lIns="0" tIns="0" rIns="0" bIns="0" rtlCol="0" anchor="t">
              <a:noAutofit/>
            </a:bodyPr>
            <a:lstStyle/>
            <a:p>
              <a:pPr algn="ctr">
                <a:spcBef>
                  <a:spcPts val="300"/>
                </a:spcBef>
                <a:spcAft>
                  <a:spcPts val="100"/>
                </a:spcAft>
              </a:pPr>
              <a:r>
                <a:rPr lang="en-US" sz="1100" b="1" dirty="0" smtClean="0"/>
                <a:t>Exceptional Flexibility</a:t>
              </a:r>
              <a:endParaRPr lang="en-US" sz="1100" b="1" dirty="0"/>
            </a:p>
            <a:p>
              <a:pPr algn="ctr">
                <a:spcBef>
                  <a:spcPts val="0"/>
                </a:spcBef>
                <a:spcAft>
                  <a:spcPts val="200"/>
                </a:spcAft>
              </a:pPr>
              <a:r>
                <a:rPr lang="en-US" sz="900" dirty="0"/>
                <a:t>Right sized with </a:t>
              </a:r>
              <a:r>
                <a:rPr lang="en-US" sz="900" dirty="0" smtClean="0"/>
                <a:t>pay-as-you-grow </a:t>
              </a:r>
              <a:r>
                <a:rPr lang="en-US" sz="900" dirty="0"/>
                <a:t>options; </a:t>
              </a:r>
              <a:r>
                <a:rPr lang="en-US" sz="900" dirty="0" smtClean="0"/>
                <a:t>unique </a:t>
              </a:r>
              <a:r>
                <a:rPr lang="en-US" sz="900" dirty="0"/>
                <a:t>clustering technology on Firepower to optimize performance while reducing rack space, power and cooling costs</a:t>
              </a:r>
            </a:p>
          </p:txBody>
        </p:sp>
        <p:grpSp>
          <p:nvGrpSpPr>
            <p:cNvPr id="13" name="Group 12"/>
            <p:cNvGrpSpPr/>
            <p:nvPr/>
          </p:nvGrpSpPr>
          <p:grpSpPr>
            <a:xfrm>
              <a:off x="3449430" y="3800795"/>
              <a:ext cx="716374" cy="716558"/>
              <a:chOff x="3449430" y="3800795"/>
              <a:chExt cx="716374" cy="716558"/>
            </a:xfrm>
          </p:grpSpPr>
          <p:sp>
            <p:nvSpPr>
              <p:cNvPr id="161" name="Oval 160"/>
              <p:cNvSpPr>
                <a:spLocks noChangeAspect="1"/>
              </p:cNvSpPr>
              <p:nvPr/>
            </p:nvSpPr>
            <p:spPr>
              <a:xfrm>
                <a:off x="3449430" y="3800795"/>
                <a:ext cx="716374" cy="716558"/>
              </a:xfrm>
              <a:prstGeom prst="ellipse">
                <a:avLst/>
              </a:prstGeom>
              <a:solidFill>
                <a:schemeClr val="accent5"/>
              </a:solidFill>
              <a:ln w="9525" cap="flat" cmpd="sng" algn="ctr">
                <a:solidFill>
                  <a:schemeClr val="bg1">
                    <a:alpha val="80000"/>
                  </a:schemeClr>
                </a:solidFill>
                <a:prstDash val="solid"/>
                <a:roun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82124" tIns="41061" rIns="82124" bIns="41061" numCol="1" spcCol="0" rtlCol="0" fromWordArt="0" anchor="ctr" anchorCtr="0" forceAA="0" compatLnSpc="1">
                <a:prstTxWarp prst="textNoShape">
                  <a:avLst/>
                </a:prstTxWarp>
                <a:noAutofit/>
              </a:bodyPr>
              <a:lstStyle/>
              <a:p>
                <a:pPr marL="0" marR="0" lvl="0" indent="0" algn="ctr" defTabSz="1085661"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FFFFFF"/>
                  </a:solidFill>
                  <a:effectLst/>
                  <a:uLnTx/>
                  <a:uFillTx/>
                  <a:latin typeface="Arial"/>
                  <a:cs typeface="Arial" charset="0"/>
                </a:endParaRPr>
              </a:p>
            </p:txBody>
          </p:sp>
          <p:sp>
            <p:nvSpPr>
              <p:cNvPr id="41" name="Freeform 40"/>
              <p:cNvSpPr/>
              <p:nvPr/>
            </p:nvSpPr>
            <p:spPr>
              <a:xfrm>
                <a:off x="3582950" y="3998713"/>
                <a:ext cx="449335" cy="314822"/>
              </a:xfrm>
              <a:custGeom>
                <a:avLst/>
                <a:gdLst>
                  <a:gd name="connsiteX0" fmla="*/ 1614487 w 2990850"/>
                  <a:gd name="connsiteY0" fmla="*/ 1195388 h 2095500"/>
                  <a:gd name="connsiteX1" fmla="*/ 1857375 w 2990850"/>
                  <a:gd name="connsiteY1" fmla="*/ 1504950 h 2095500"/>
                  <a:gd name="connsiteX2" fmla="*/ 2305050 w 2990850"/>
                  <a:gd name="connsiteY2" fmla="*/ 1504950 h 2095500"/>
                  <a:gd name="connsiteX3" fmla="*/ 2305050 w 2990850"/>
                  <a:gd name="connsiteY3" fmla="*/ 1233488 h 2095500"/>
                  <a:gd name="connsiteX4" fmla="*/ 2986087 w 2990850"/>
                  <a:gd name="connsiteY4" fmla="*/ 1643063 h 2095500"/>
                  <a:gd name="connsiteX5" fmla="*/ 2295525 w 2990850"/>
                  <a:gd name="connsiteY5" fmla="*/ 2095500 h 2095500"/>
                  <a:gd name="connsiteX6" fmla="*/ 2295525 w 2990850"/>
                  <a:gd name="connsiteY6" fmla="*/ 1828800 h 2095500"/>
                  <a:gd name="connsiteX7" fmla="*/ 1671637 w 2990850"/>
                  <a:gd name="connsiteY7" fmla="*/ 1828800 h 2095500"/>
                  <a:gd name="connsiteX8" fmla="*/ 1395412 w 2990850"/>
                  <a:gd name="connsiteY8" fmla="*/ 1466850 h 2095500"/>
                  <a:gd name="connsiteX9" fmla="*/ 4762 w 2990850"/>
                  <a:gd name="connsiteY9" fmla="*/ 257175 h 2095500"/>
                  <a:gd name="connsiteX10" fmla="*/ 885825 w 2990850"/>
                  <a:gd name="connsiteY10" fmla="*/ 257175 h 2095500"/>
                  <a:gd name="connsiteX11" fmla="*/ 1162050 w 2990850"/>
                  <a:gd name="connsiteY11" fmla="*/ 614363 h 2095500"/>
                  <a:gd name="connsiteX12" fmla="*/ 938212 w 2990850"/>
                  <a:gd name="connsiteY12" fmla="*/ 904875 h 2095500"/>
                  <a:gd name="connsiteX13" fmla="*/ 709612 w 2990850"/>
                  <a:gd name="connsiteY13" fmla="*/ 604838 h 2095500"/>
                  <a:gd name="connsiteX14" fmla="*/ 0 w 2990850"/>
                  <a:gd name="connsiteY14" fmla="*/ 604838 h 2095500"/>
                  <a:gd name="connsiteX15" fmla="*/ 4762 w 2990850"/>
                  <a:gd name="connsiteY15" fmla="*/ 257175 h 2095500"/>
                  <a:gd name="connsiteX16" fmla="*/ 2305050 w 2990850"/>
                  <a:gd name="connsiteY16" fmla="*/ 0 h 2095500"/>
                  <a:gd name="connsiteX17" fmla="*/ 2990850 w 2990850"/>
                  <a:gd name="connsiteY17" fmla="*/ 409575 h 2095500"/>
                  <a:gd name="connsiteX18" fmla="*/ 2290762 w 2990850"/>
                  <a:gd name="connsiteY18" fmla="*/ 871538 h 2095500"/>
                  <a:gd name="connsiteX19" fmla="*/ 2290762 w 2990850"/>
                  <a:gd name="connsiteY19" fmla="*/ 614363 h 2095500"/>
                  <a:gd name="connsiteX20" fmla="*/ 1843087 w 2990850"/>
                  <a:gd name="connsiteY20" fmla="*/ 614363 h 2095500"/>
                  <a:gd name="connsiteX21" fmla="*/ 881062 w 2990850"/>
                  <a:gd name="connsiteY21" fmla="*/ 1833563 h 2095500"/>
                  <a:gd name="connsiteX22" fmla="*/ 4762 w 2990850"/>
                  <a:gd name="connsiteY22" fmla="*/ 1833563 h 2095500"/>
                  <a:gd name="connsiteX23" fmla="*/ 4762 w 2990850"/>
                  <a:gd name="connsiteY23" fmla="*/ 1490663 h 2095500"/>
                  <a:gd name="connsiteX24" fmla="*/ 704850 w 2990850"/>
                  <a:gd name="connsiteY24" fmla="*/ 1495425 h 2095500"/>
                  <a:gd name="connsiteX25" fmla="*/ 1657350 w 2990850"/>
                  <a:gd name="connsiteY25" fmla="*/ 261938 h 2095500"/>
                  <a:gd name="connsiteX26" fmla="*/ 2305050 w 2990850"/>
                  <a:gd name="connsiteY26" fmla="*/ 261938 h 20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90850" h="2095500">
                    <a:moveTo>
                      <a:pt x="1614487" y="1195388"/>
                    </a:moveTo>
                    <a:lnTo>
                      <a:pt x="1857375" y="1504950"/>
                    </a:lnTo>
                    <a:lnTo>
                      <a:pt x="2305050" y="1504950"/>
                    </a:lnTo>
                    <a:lnTo>
                      <a:pt x="2305050" y="1233488"/>
                    </a:lnTo>
                    <a:lnTo>
                      <a:pt x="2986087" y="1643063"/>
                    </a:lnTo>
                    <a:lnTo>
                      <a:pt x="2295525" y="2095500"/>
                    </a:lnTo>
                    <a:lnTo>
                      <a:pt x="2295525" y="1828800"/>
                    </a:lnTo>
                    <a:lnTo>
                      <a:pt x="1671637" y="1828800"/>
                    </a:lnTo>
                    <a:lnTo>
                      <a:pt x="1395412" y="1466850"/>
                    </a:lnTo>
                    <a:close/>
                    <a:moveTo>
                      <a:pt x="4762" y="257175"/>
                    </a:moveTo>
                    <a:lnTo>
                      <a:pt x="885825" y="257175"/>
                    </a:lnTo>
                    <a:lnTo>
                      <a:pt x="1162050" y="614363"/>
                    </a:lnTo>
                    <a:lnTo>
                      <a:pt x="938212" y="904875"/>
                    </a:lnTo>
                    <a:lnTo>
                      <a:pt x="709612" y="604838"/>
                    </a:lnTo>
                    <a:lnTo>
                      <a:pt x="0" y="604838"/>
                    </a:lnTo>
                    <a:cubicBezTo>
                      <a:pt x="1587" y="488950"/>
                      <a:pt x="3175" y="373063"/>
                      <a:pt x="4762" y="257175"/>
                    </a:cubicBezTo>
                    <a:close/>
                    <a:moveTo>
                      <a:pt x="2305050" y="0"/>
                    </a:moveTo>
                    <a:lnTo>
                      <a:pt x="2990850" y="409575"/>
                    </a:lnTo>
                    <a:lnTo>
                      <a:pt x="2290762" y="871538"/>
                    </a:lnTo>
                    <a:lnTo>
                      <a:pt x="2290762" y="614363"/>
                    </a:lnTo>
                    <a:lnTo>
                      <a:pt x="1843087" y="614363"/>
                    </a:lnTo>
                    <a:lnTo>
                      <a:pt x="881062" y="1833563"/>
                    </a:lnTo>
                    <a:lnTo>
                      <a:pt x="4762" y="1833563"/>
                    </a:lnTo>
                    <a:lnTo>
                      <a:pt x="4762" y="1490663"/>
                    </a:lnTo>
                    <a:lnTo>
                      <a:pt x="704850" y="1495425"/>
                    </a:lnTo>
                    <a:lnTo>
                      <a:pt x="1657350" y="261938"/>
                    </a:lnTo>
                    <a:lnTo>
                      <a:pt x="2305050" y="261938"/>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171" name="Rounded Rectangle 170"/>
          <p:cNvSpPr/>
          <p:nvPr/>
        </p:nvSpPr>
        <p:spPr>
          <a:xfrm rot="16200000">
            <a:off x="4566304" y="-377941"/>
            <a:ext cx="45719" cy="8054112"/>
          </a:xfrm>
          <a:prstGeom prst="roundRect">
            <a:avLst>
              <a:gd name="adj" fmla="val 50000"/>
            </a:avLst>
          </a:prstGeom>
          <a:solidFill>
            <a:schemeClr val="bg1">
              <a:lumMod val="75000"/>
            </a:schemeClr>
          </a:solidFill>
          <a:ln w="25400" cap="flat" cmpd="sng" algn="ctr">
            <a:noFill/>
            <a:prstDash val="solid"/>
          </a:ln>
          <a:effectLst/>
        </p:spPr>
        <p:txBody>
          <a:bodyPr vert="vert" lIns="68588" tIns="34295" rIns="68588" bIns="34295" rtlCol="0" anchor="ctr"/>
          <a:lstStyle/>
          <a:p>
            <a:pPr algn="ctr" defTabSz="914378">
              <a:defRPr/>
            </a:pPr>
            <a:endParaRPr lang="en-US" sz="700" kern="0" dirty="0">
              <a:solidFill>
                <a:srgbClr val="FFFFFF"/>
              </a:solidFill>
              <a:ea typeface="ＭＳ Ｐゴシック" pitchFamily="34" charset="-128"/>
            </a:endParaRPr>
          </a:p>
        </p:txBody>
      </p:sp>
      <p:grpSp>
        <p:nvGrpSpPr>
          <p:cNvPr id="83" name="Group 82"/>
          <p:cNvGrpSpPr/>
          <p:nvPr/>
        </p:nvGrpSpPr>
        <p:grpSpPr>
          <a:xfrm>
            <a:off x="-493903" y="1053932"/>
            <a:ext cx="4440148" cy="2536824"/>
            <a:chOff x="-498983" y="1053932"/>
            <a:chExt cx="4440148" cy="2536824"/>
          </a:xfrm>
        </p:grpSpPr>
        <p:sp>
          <p:nvSpPr>
            <p:cNvPr id="84" name="Oval 83"/>
            <p:cNvSpPr/>
            <p:nvPr/>
          </p:nvSpPr>
          <p:spPr>
            <a:xfrm>
              <a:off x="579957" y="1076383"/>
              <a:ext cx="2428240" cy="242824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aphicFrame>
          <p:nvGraphicFramePr>
            <p:cNvPr id="85" name="Chart 84"/>
            <p:cNvGraphicFramePr>
              <a:graphicFrameLocks/>
            </p:cNvGraphicFramePr>
            <p:nvPr>
              <p:extLst/>
            </p:nvPr>
          </p:nvGraphicFramePr>
          <p:xfrm>
            <a:off x="-498983" y="1053932"/>
            <a:ext cx="4440148" cy="2536824"/>
          </p:xfrm>
          <a:graphic>
            <a:graphicData uri="http://schemas.openxmlformats.org/drawingml/2006/chart">
              <c:chart xmlns:c="http://schemas.openxmlformats.org/drawingml/2006/chart" xmlns:r="http://schemas.openxmlformats.org/officeDocument/2006/relationships" r:id="rId8"/>
            </a:graphicData>
          </a:graphic>
        </p:graphicFrame>
        <p:grpSp>
          <p:nvGrpSpPr>
            <p:cNvPr id="90" name="Group 89"/>
            <p:cNvGrpSpPr/>
            <p:nvPr/>
          </p:nvGrpSpPr>
          <p:grpSpPr>
            <a:xfrm>
              <a:off x="1402380" y="2638619"/>
              <a:ext cx="637422" cy="638045"/>
              <a:chOff x="1130292" y="2381435"/>
              <a:chExt cx="774039" cy="774796"/>
            </a:xfrm>
          </p:grpSpPr>
          <p:sp>
            <p:nvSpPr>
              <p:cNvPr id="122" name="Freeform 121"/>
              <p:cNvSpPr>
                <a:spLocks noChangeAspect="1"/>
              </p:cNvSpPr>
              <p:nvPr/>
            </p:nvSpPr>
            <p:spPr bwMode="auto">
              <a:xfrm flipH="1">
                <a:off x="1130292" y="2692969"/>
                <a:ext cx="774039" cy="463262"/>
              </a:xfrm>
              <a:custGeom>
                <a:avLst/>
                <a:gdLst>
                  <a:gd name="T0" fmla="*/ 699 w 799"/>
                  <a:gd name="T1" fmla="*/ 264 h 464"/>
                  <a:gd name="T2" fmla="*/ 698 w 799"/>
                  <a:gd name="T3" fmla="*/ 264 h 464"/>
                  <a:gd name="T4" fmla="*/ 699 w 799"/>
                  <a:gd name="T5" fmla="*/ 253 h 464"/>
                  <a:gd name="T6" fmla="*/ 635 w 799"/>
                  <a:gd name="T7" fmla="*/ 190 h 464"/>
                  <a:gd name="T8" fmla="*/ 623 w 799"/>
                  <a:gd name="T9" fmla="*/ 191 h 464"/>
                  <a:gd name="T10" fmla="*/ 629 w 799"/>
                  <a:gd name="T11" fmla="*/ 153 h 464"/>
                  <a:gd name="T12" fmla="*/ 457 w 799"/>
                  <a:gd name="T13" fmla="*/ 0 h 464"/>
                  <a:gd name="T14" fmla="*/ 288 w 799"/>
                  <a:gd name="T15" fmla="*/ 124 h 464"/>
                  <a:gd name="T16" fmla="*/ 229 w 799"/>
                  <a:gd name="T17" fmla="*/ 102 h 464"/>
                  <a:gd name="T18" fmla="*/ 138 w 799"/>
                  <a:gd name="T19" fmla="*/ 194 h 464"/>
                  <a:gd name="T20" fmla="*/ 138 w 799"/>
                  <a:gd name="T21" fmla="*/ 199 h 464"/>
                  <a:gd name="T22" fmla="*/ 133 w 799"/>
                  <a:gd name="T23" fmla="*/ 198 h 464"/>
                  <a:gd name="T24" fmla="*/ 0 w 799"/>
                  <a:gd name="T25" fmla="*/ 331 h 464"/>
                  <a:gd name="T26" fmla="*/ 133 w 799"/>
                  <a:gd name="T27" fmla="*/ 464 h 464"/>
                  <a:gd name="T28" fmla="*/ 699 w 799"/>
                  <a:gd name="T29" fmla="*/ 464 h 464"/>
                  <a:gd name="T30" fmla="*/ 799 w 799"/>
                  <a:gd name="T31" fmla="*/ 364 h 464"/>
                  <a:gd name="T32" fmla="*/ 699 w 799"/>
                  <a:gd name="T33" fmla="*/ 2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9" h="464">
                    <a:moveTo>
                      <a:pt x="699" y="264"/>
                    </a:moveTo>
                    <a:cubicBezTo>
                      <a:pt x="698" y="264"/>
                      <a:pt x="698" y="264"/>
                      <a:pt x="698" y="264"/>
                    </a:cubicBezTo>
                    <a:cubicBezTo>
                      <a:pt x="698" y="260"/>
                      <a:pt x="699" y="257"/>
                      <a:pt x="699" y="253"/>
                    </a:cubicBezTo>
                    <a:cubicBezTo>
                      <a:pt x="699" y="218"/>
                      <a:pt x="670" y="190"/>
                      <a:pt x="635" y="190"/>
                    </a:cubicBezTo>
                    <a:cubicBezTo>
                      <a:pt x="631" y="190"/>
                      <a:pt x="627" y="190"/>
                      <a:pt x="623" y="191"/>
                    </a:cubicBezTo>
                    <a:cubicBezTo>
                      <a:pt x="627" y="179"/>
                      <a:pt x="629" y="166"/>
                      <a:pt x="629" y="153"/>
                    </a:cubicBezTo>
                    <a:cubicBezTo>
                      <a:pt x="629" y="69"/>
                      <a:pt x="552" y="0"/>
                      <a:pt x="457" y="0"/>
                    </a:cubicBezTo>
                    <a:cubicBezTo>
                      <a:pt x="373" y="0"/>
                      <a:pt x="304" y="53"/>
                      <a:pt x="288" y="124"/>
                    </a:cubicBezTo>
                    <a:cubicBezTo>
                      <a:pt x="272" y="110"/>
                      <a:pt x="252" y="102"/>
                      <a:pt x="229" y="102"/>
                    </a:cubicBezTo>
                    <a:cubicBezTo>
                      <a:pt x="179" y="102"/>
                      <a:pt x="138" y="143"/>
                      <a:pt x="138" y="194"/>
                    </a:cubicBezTo>
                    <a:cubicBezTo>
                      <a:pt x="138" y="195"/>
                      <a:pt x="138" y="197"/>
                      <a:pt x="138" y="199"/>
                    </a:cubicBezTo>
                    <a:cubicBezTo>
                      <a:pt x="133" y="198"/>
                      <a:pt x="133" y="198"/>
                      <a:pt x="133" y="198"/>
                    </a:cubicBezTo>
                    <a:cubicBezTo>
                      <a:pt x="59" y="198"/>
                      <a:pt x="0" y="257"/>
                      <a:pt x="0" y="331"/>
                    </a:cubicBezTo>
                    <a:cubicBezTo>
                      <a:pt x="0" y="404"/>
                      <a:pt x="59" y="464"/>
                      <a:pt x="133" y="464"/>
                    </a:cubicBezTo>
                    <a:cubicBezTo>
                      <a:pt x="699" y="464"/>
                      <a:pt x="699" y="464"/>
                      <a:pt x="699" y="464"/>
                    </a:cubicBezTo>
                    <a:cubicBezTo>
                      <a:pt x="754" y="464"/>
                      <a:pt x="799" y="419"/>
                      <a:pt x="799" y="364"/>
                    </a:cubicBezTo>
                    <a:cubicBezTo>
                      <a:pt x="799" y="309"/>
                      <a:pt x="754" y="264"/>
                      <a:pt x="699" y="264"/>
                    </a:cubicBezTo>
                    <a:close/>
                  </a:path>
                </a:pathLst>
              </a:custGeom>
              <a:solidFill>
                <a:schemeClr val="bg1"/>
              </a:solidFill>
              <a:ln w="25400" cap="flat" cmpd="sng" algn="ctr">
                <a:noFill/>
                <a:prstDash val="solid"/>
              </a:ln>
              <a:effectLst/>
            </p:spPr>
            <p:txBody>
              <a:bodyPr lIns="162504" tIns="81251" rIns="162504" bIns="81251" rtlCol="0" anchor="ctr"/>
              <a:lstStyle/>
              <a:p>
                <a:pPr algn="ctr" defTabSz="685368">
                  <a:defRPr/>
                </a:pPr>
                <a:endParaRPr lang="en-US" sz="1050" kern="0" dirty="0">
                  <a:solidFill>
                    <a:srgbClr val="3366FF"/>
                  </a:solidFill>
                  <a:ea typeface="ＭＳ Ｐゴシック" pitchFamily="34" charset="-128"/>
                </a:endParaRPr>
              </a:p>
            </p:txBody>
          </p:sp>
          <p:sp>
            <p:nvSpPr>
              <p:cNvPr id="123" name="Rectangle 122"/>
              <p:cNvSpPr/>
              <p:nvPr/>
            </p:nvSpPr>
            <p:spPr>
              <a:xfrm>
                <a:off x="1181910" y="2381435"/>
                <a:ext cx="640094" cy="2993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t"/>
              <a:lstStyle/>
              <a:p>
                <a:pPr algn="ctr">
                  <a:lnSpc>
                    <a:spcPct val="90000"/>
                  </a:lnSpc>
                </a:pPr>
                <a:r>
                  <a:rPr lang="en-US" sz="1100" b="1" dirty="0" smtClean="0">
                    <a:solidFill>
                      <a:srgbClr val="FFFFFF"/>
                    </a:solidFill>
                  </a:rPr>
                  <a:t>Cloud</a:t>
                </a:r>
                <a:endParaRPr lang="en-US" sz="1600" b="1" dirty="0">
                  <a:solidFill>
                    <a:srgbClr val="FFFFFF"/>
                  </a:solidFill>
                </a:endParaRPr>
              </a:p>
            </p:txBody>
          </p:sp>
        </p:grpSp>
        <p:grpSp>
          <p:nvGrpSpPr>
            <p:cNvPr id="91" name="Group 90"/>
            <p:cNvGrpSpPr/>
            <p:nvPr/>
          </p:nvGrpSpPr>
          <p:grpSpPr>
            <a:xfrm>
              <a:off x="1835816" y="1499265"/>
              <a:ext cx="638631" cy="663411"/>
              <a:chOff x="5044136" y="1846883"/>
              <a:chExt cx="988712" cy="1027076"/>
            </a:xfrm>
          </p:grpSpPr>
          <p:sp>
            <p:nvSpPr>
              <p:cNvPr id="114" name="Rectangle 113"/>
              <p:cNvSpPr/>
              <p:nvPr/>
            </p:nvSpPr>
            <p:spPr>
              <a:xfrm>
                <a:off x="5044136" y="1846883"/>
                <a:ext cx="988712" cy="36976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t"/>
              <a:lstStyle/>
              <a:p>
                <a:pPr algn="ctr">
                  <a:lnSpc>
                    <a:spcPct val="90000"/>
                  </a:lnSpc>
                </a:pPr>
                <a:r>
                  <a:rPr lang="en-US" sz="1100" b="1" dirty="0" smtClean="0">
                    <a:solidFill>
                      <a:srgbClr val="FFFFFF"/>
                    </a:solidFill>
                  </a:rPr>
                  <a:t>Network</a:t>
                </a:r>
                <a:r>
                  <a:rPr lang="en-US" sz="1600" b="1" dirty="0" smtClean="0">
                    <a:solidFill>
                      <a:srgbClr val="FFFFFF"/>
                    </a:solidFill>
                  </a:rPr>
                  <a:t/>
                </a:r>
                <a:br>
                  <a:rPr lang="en-US" sz="1600" b="1" dirty="0" smtClean="0">
                    <a:solidFill>
                      <a:srgbClr val="FFFFFF"/>
                    </a:solidFill>
                  </a:rPr>
                </a:br>
                <a:endParaRPr lang="en-US" sz="1600" b="1" dirty="0">
                  <a:solidFill>
                    <a:srgbClr val="FFFFFF"/>
                  </a:solidFill>
                </a:endParaRPr>
              </a:p>
            </p:txBody>
          </p:sp>
          <p:grpSp>
            <p:nvGrpSpPr>
              <p:cNvPr id="115" name="Group 114"/>
              <p:cNvGrpSpPr>
                <a:grpSpLocks noChangeAspect="1"/>
              </p:cNvGrpSpPr>
              <p:nvPr/>
            </p:nvGrpSpPr>
            <p:grpSpPr>
              <a:xfrm>
                <a:off x="5233550" y="2256405"/>
                <a:ext cx="617554" cy="617554"/>
                <a:chOff x="-1195388" y="1227138"/>
                <a:chExt cx="879475" cy="879475"/>
              </a:xfrm>
            </p:grpSpPr>
            <p:sp>
              <p:nvSpPr>
                <p:cNvPr id="116" name="Freeform 6"/>
                <p:cNvSpPr>
                  <a:spLocks/>
                </p:cNvSpPr>
                <p:nvPr/>
              </p:nvSpPr>
              <p:spPr bwMode="auto">
                <a:xfrm>
                  <a:off x="-604838" y="1598613"/>
                  <a:ext cx="138113" cy="136525"/>
                </a:xfrm>
                <a:custGeom>
                  <a:avLst/>
                  <a:gdLst>
                    <a:gd name="T0" fmla="*/ 43 w 518"/>
                    <a:gd name="T1" fmla="*/ 0 h 518"/>
                    <a:gd name="T2" fmla="*/ 60 w 518"/>
                    <a:gd name="T3" fmla="*/ 0 h 518"/>
                    <a:gd name="T4" fmla="*/ 75 w 518"/>
                    <a:gd name="T5" fmla="*/ 5 h 518"/>
                    <a:gd name="T6" fmla="*/ 88 w 518"/>
                    <a:gd name="T7" fmla="*/ 14 h 518"/>
                    <a:gd name="T8" fmla="*/ 504 w 518"/>
                    <a:gd name="T9" fmla="*/ 430 h 518"/>
                    <a:gd name="T10" fmla="*/ 514 w 518"/>
                    <a:gd name="T11" fmla="*/ 443 h 518"/>
                    <a:gd name="T12" fmla="*/ 518 w 518"/>
                    <a:gd name="T13" fmla="*/ 459 h 518"/>
                    <a:gd name="T14" fmla="*/ 518 w 518"/>
                    <a:gd name="T15" fmla="*/ 475 h 518"/>
                    <a:gd name="T16" fmla="*/ 514 w 518"/>
                    <a:gd name="T17" fmla="*/ 490 h 518"/>
                    <a:gd name="T18" fmla="*/ 504 w 518"/>
                    <a:gd name="T19" fmla="*/ 503 h 518"/>
                    <a:gd name="T20" fmla="*/ 493 w 518"/>
                    <a:gd name="T21" fmla="*/ 512 h 518"/>
                    <a:gd name="T22" fmla="*/ 481 w 518"/>
                    <a:gd name="T23" fmla="*/ 516 h 518"/>
                    <a:gd name="T24" fmla="*/ 468 w 518"/>
                    <a:gd name="T25" fmla="*/ 518 h 518"/>
                    <a:gd name="T26" fmla="*/ 454 w 518"/>
                    <a:gd name="T27" fmla="*/ 516 h 518"/>
                    <a:gd name="T28" fmla="*/ 441 w 518"/>
                    <a:gd name="T29" fmla="*/ 512 h 518"/>
                    <a:gd name="T30" fmla="*/ 431 w 518"/>
                    <a:gd name="T31" fmla="*/ 503 h 518"/>
                    <a:gd name="T32" fmla="*/ 15 w 518"/>
                    <a:gd name="T33" fmla="*/ 88 h 518"/>
                    <a:gd name="T34" fmla="*/ 5 w 518"/>
                    <a:gd name="T35" fmla="*/ 74 h 518"/>
                    <a:gd name="T36" fmla="*/ 0 w 518"/>
                    <a:gd name="T37" fmla="*/ 59 h 518"/>
                    <a:gd name="T38" fmla="*/ 0 w 518"/>
                    <a:gd name="T39" fmla="*/ 42 h 518"/>
                    <a:gd name="T40" fmla="*/ 5 w 518"/>
                    <a:gd name="T41" fmla="*/ 27 h 518"/>
                    <a:gd name="T42" fmla="*/ 15 w 518"/>
                    <a:gd name="T43" fmla="*/ 14 h 518"/>
                    <a:gd name="T44" fmla="*/ 28 w 518"/>
                    <a:gd name="T45" fmla="*/ 5 h 518"/>
                    <a:gd name="T46" fmla="*/ 43 w 518"/>
                    <a:gd name="T47"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8" h="518">
                      <a:moveTo>
                        <a:pt x="43" y="0"/>
                      </a:moveTo>
                      <a:lnTo>
                        <a:pt x="60" y="0"/>
                      </a:lnTo>
                      <a:lnTo>
                        <a:pt x="75" y="5"/>
                      </a:lnTo>
                      <a:lnTo>
                        <a:pt x="88" y="14"/>
                      </a:lnTo>
                      <a:lnTo>
                        <a:pt x="504" y="430"/>
                      </a:lnTo>
                      <a:lnTo>
                        <a:pt x="514" y="443"/>
                      </a:lnTo>
                      <a:lnTo>
                        <a:pt x="518" y="459"/>
                      </a:lnTo>
                      <a:lnTo>
                        <a:pt x="518" y="475"/>
                      </a:lnTo>
                      <a:lnTo>
                        <a:pt x="514" y="490"/>
                      </a:lnTo>
                      <a:lnTo>
                        <a:pt x="504" y="503"/>
                      </a:lnTo>
                      <a:lnTo>
                        <a:pt x="493" y="512"/>
                      </a:lnTo>
                      <a:lnTo>
                        <a:pt x="481" y="516"/>
                      </a:lnTo>
                      <a:lnTo>
                        <a:pt x="468" y="518"/>
                      </a:lnTo>
                      <a:lnTo>
                        <a:pt x="454" y="516"/>
                      </a:lnTo>
                      <a:lnTo>
                        <a:pt x="441" y="512"/>
                      </a:lnTo>
                      <a:lnTo>
                        <a:pt x="431" y="503"/>
                      </a:lnTo>
                      <a:lnTo>
                        <a:pt x="15" y="88"/>
                      </a:lnTo>
                      <a:lnTo>
                        <a:pt x="5" y="74"/>
                      </a:lnTo>
                      <a:lnTo>
                        <a:pt x="0" y="59"/>
                      </a:lnTo>
                      <a:lnTo>
                        <a:pt x="0" y="42"/>
                      </a:lnTo>
                      <a:lnTo>
                        <a:pt x="5" y="27"/>
                      </a:lnTo>
                      <a:lnTo>
                        <a:pt x="15" y="14"/>
                      </a:lnTo>
                      <a:lnTo>
                        <a:pt x="28" y="5"/>
                      </a:lnTo>
                      <a:lnTo>
                        <a:pt x="4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117" name="Freeform 7"/>
                <p:cNvSpPr>
                  <a:spLocks/>
                </p:cNvSpPr>
                <p:nvPr/>
              </p:nvSpPr>
              <p:spPr bwMode="auto">
                <a:xfrm>
                  <a:off x="-1044576" y="1598613"/>
                  <a:ext cx="138113" cy="136525"/>
                </a:xfrm>
                <a:custGeom>
                  <a:avLst/>
                  <a:gdLst>
                    <a:gd name="T0" fmla="*/ 459 w 519"/>
                    <a:gd name="T1" fmla="*/ 0 h 518"/>
                    <a:gd name="T2" fmla="*/ 475 w 519"/>
                    <a:gd name="T3" fmla="*/ 0 h 518"/>
                    <a:gd name="T4" fmla="*/ 491 w 519"/>
                    <a:gd name="T5" fmla="*/ 5 h 518"/>
                    <a:gd name="T6" fmla="*/ 504 w 519"/>
                    <a:gd name="T7" fmla="*/ 14 h 518"/>
                    <a:gd name="T8" fmla="*/ 514 w 519"/>
                    <a:gd name="T9" fmla="*/ 27 h 518"/>
                    <a:gd name="T10" fmla="*/ 519 w 519"/>
                    <a:gd name="T11" fmla="*/ 42 h 518"/>
                    <a:gd name="T12" fmla="*/ 519 w 519"/>
                    <a:gd name="T13" fmla="*/ 59 h 518"/>
                    <a:gd name="T14" fmla="*/ 514 w 519"/>
                    <a:gd name="T15" fmla="*/ 74 h 518"/>
                    <a:gd name="T16" fmla="*/ 504 w 519"/>
                    <a:gd name="T17" fmla="*/ 88 h 518"/>
                    <a:gd name="T18" fmla="*/ 89 w 519"/>
                    <a:gd name="T19" fmla="*/ 503 h 518"/>
                    <a:gd name="T20" fmla="*/ 78 w 519"/>
                    <a:gd name="T21" fmla="*/ 512 h 518"/>
                    <a:gd name="T22" fmla="*/ 64 w 519"/>
                    <a:gd name="T23" fmla="*/ 516 h 518"/>
                    <a:gd name="T24" fmla="*/ 52 w 519"/>
                    <a:gd name="T25" fmla="*/ 518 h 518"/>
                    <a:gd name="T26" fmla="*/ 39 w 519"/>
                    <a:gd name="T27" fmla="*/ 516 h 518"/>
                    <a:gd name="T28" fmla="*/ 26 w 519"/>
                    <a:gd name="T29" fmla="*/ 512 h 518"/>
                    <a:gd name="T30" fmla="*/ 15 w 519"/>
                    <a:gd name="T31" fmla="*/ 503 h 518"/>
                    <a:gd name="T32" fmla="*/ 5 w 519"/>
                    <a:gd name="T33" fmla="*/ 490 h 518"/>
                    <a:gd name="T34" fmla="*/ 0 w 519"/>
                    <a:gd name="T35" fmla="*/ 475 h 518"/>
                    <a:gd name="T36" fmla="*/ 0 w 519"/>
                    <a:gd name="T37" fmla="*/ 459 h 518"/>
                    <a:gd name="T38" fmla="*/ 5 w 519"/>
                    <a:gd name="T39" fmla="*/ 443 h 518"/>
                    <a:gd name="T40" fmla="*/ 15 w 519"/>
                    <a:gd name="T41" fmla="*/ 430 h 518"/>
                    <a:gd name="T42" fmla="*/ 431 w 519"/>
                    <a:gd name="T43" fmla="*/ 14 h 518"/>
                    <a:gd name="T44" fmla="*/ 444 w 519"/>
                    <a:gd name="T45" fmla="*/ 5 h 518"/>
                    <a:gd name="T46" fmla="*/ 459 w 519"/>
                    <a:gd name="T47"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518">
                      <a:moveTo>
                        <a:pt x="459" y="0"/>
                      </a:moveTo>
                      <a:lnTo>
                        <a:pt x="475" y="0"/>
                      </a:lnTo>
                      <a:lnTo>
                        <a:pt x="491" y="5"/>
                      </a:lnTo>
                      <a:lnTo>
                        <a:pt x="504" y="14"/>
                      </a:lnTo>
                      <a:lnTo>
                        <a:pt x="514" y="27"/>
                      </a:lnTo>
                      <a:lnTo>
                        <a:pt x="519" y="42"/>
                      </a:lnTo>
                      <a:lnTo>
                        <a:pt x="519" y="59"/>
                      </a:lnTo>
                      <a:lnTo>
                        <a:pt x="514" y="74"/>
                      </a:lnTo>
                      <a:lnTo>
                        <a:pt x="504" y="88"/>
                      </a:lnTo>
                      <a:lnTo>
                        <a:pt x="89" y="503"/>
                      </a:lnTo>
                      <a:lnTo>
                        <a:pt x="78" y="512"/>
                      </a:lnTo>
                      <a:lnTo>
                        <a:pt x="64" y="516"/>
                      </a:lnTo>
                      <a:lnTo>
                        <a:pt x="52" y="518"/>
                      </a:lnTo>
                      <a:lnTo>
                        <a:pt x="39" y="516"/>
                      </a:lnTo>
                      <a:lnTo>
                        <a:pt x="26" y="512"/>
                      </a:lnTo>
                      <a:lnTo>
                        <a:pt x="15" y="503"/>
                      </a:lnTo>
                      <a:lnTo>
                        <a:pt x="5" y="490"/>
                      </a:lnTo>
                      <a:lnTo>
                        <a:pt x="0" y="475"/>
                      </a:lnTo>
                      <a:lnTo>
                        <a:pt x="0" y="459"/>
                      </a:lnTo>
                      <a:lnTo>
                        <a:pt x="5" y="443"/>
                      </a:lnTo>
                      <a:lnTo>
                        <a:pt x="15" y="430"/>
                      </a:lnTo>
                      <a:lnTo>
                        <a:pt x="431" y="14"/>
                      </a:lnTo>
                      <a:lnTo>
                        <a:pt x="444" y="5"/>
                      </a:lnTo>
                      <a:lnTo>
                        <a:pt x="45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118" name="Freeform 8"/>
                <p:cNvSpPr>
                  <a:spLocks/>
                </p:cNvSpPr>
                <p:nvPr/>
              </p:nvSpPr>
              <p:spPr bwMode="auto">
                <a:xfrm>
                  <a:off x="-879476" y="1900238"/>
                  <a:ext cx="247650" cy="26988"/>
                </a:xfrm>
                <a:custGeom>
                  <a:avLst/>
                  <a:gdLst>
                    <a:gd name="T0" fmla="*/ 52 w 935"/>
                    <a:gd name="T1" fmla="*/ 0 h 103"/>
                    <a:gd name="T2" fmla="*/ 883 w 935"/>
                    <a:gd name="T3" fmla="*/ 0 h 103"/>
                    <a:gd name="T4" fmla="*/ 900 w 935"/>
                    <a:gd name="T5" fmla="*/ 2 h 103"/>
                    <a:gd name="T6" fmla="*/ 914 w 935"/>
                    <a:gd name="T7" fmla="*/ 10 h 103"/>
                    <a:gd name="T8" fmla="*/ 926 w 935"/>
                    <a:gd name="T9" fmla="*/ 21 h 103"/>
                    <a:gd name="T10" fmla="*/ 933 w 935"/>
                    <a:gd name="T11" fmla="*/ 35 h 103"/>
                    <a:gd name="T12" fmla="*/ 935 w 935"/>
                    <a:gd name="T13" fmla="*/ 51 h 103"/>
                    <a:gd name="T14" fmla="*/ 933 w 935"/>
                    <a:gd name="T15" fmla="*/ 68 h 103"/>
                    <a:gd name="T16" fmla="*/ 926 w 935"/>
                    <a:gd name="T17" fmla="*/ 82 h 103"/>
                    <a:gd name="T18" fmla="*/ 914 w 935"/>
                    <a:gd name="T19" fmla="*/ 93 h 103"/>
                    <a:gd name="T20" fmla="*/ 900 w 935"/>
                    <a:gd name="T21" fmla="*/ 101 h 103"/>
                    <a:gd name="T22" fmla="*/ 883 w 935"/>
                    <a:gd name="T23" fmla="*/ 103 h 103"/>
                    <a:gd name="T24" fmla="*/ 52 w 935"/>
                    <a:gd name="T25" fmla="*/ 103 h 103"/>
                    <a:gd name="T26" fmla="*/ 36 w 935"/>
                    <a:gd name="T27" fmla="*/ 101 h 103"/>
                    <a:gd name="T28" fmla="*/ 22 w 935"/>
                    <a:gd name="T29" fmla="*/ 93 h 103"/>
                    <a:gd name="T30" fmla="*/ 11 w 935"/>
                    <a:gd name="T31" fmla="*/ 82 h 103"/>
                    <a:gd name="T32" fmla="*/ 3 w 935"/>
                    <a:gd name="T33" fmla="*/ 68 h 103"/>
                    <a:gd name="T34" fmla="*/ 0 w 935"/>
                    <a:gd name="T35" fmla="*/ 51 h 103"/>
                    <a:gd name="T36" fmla="*/ 3 w 935"/>
                    <a:gd name="T37" fmla="*/ 35 h 103"/>
                    <a:gd name="T38" fmla="*/ 11 w 935"/>
                    <a:gd name="T39" fmla="*/ 21 h 103"/>
                    <a:gd name="T40" fmla="*/ 22 w 935"/>
                    <a:gd name="T41" fmla="*/ 10 h 103"/>
                    <a:gd name="T42" fmla="*/ 36 w 935"/>
                    <a:gd name="T43" fmla="*/ 2 h 103"/>
                    <a:gd name="T44" fmla="*/ 52 w 935"/>
                    <a:gd name="T4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5" h="103">
                      <a:moveTo>
                        <a:pt x="52" y="0"/>
                      </a:moveTo>
                      <a:lnTo>
                        <a:pt x="883" y="0"/>
                      </a:lnTo>
                      <a:lnTo>
                        <a:pt x="900" y="2"/>
                      </a:lnTo>
                      <a:lnTo>
                        <a:pt x="914" y="10"/>
                      </a:lnTo>
                      <a:lnTo>
                        <a:pt x="926" y="21"/>
                      </a:lnTo>
                      <a:lnTo>
                        <a:pt x="933" y="35"/>
                      </a:lnTo>
                      <a:lnTo>
                        <a:pt x="935" y="51"/>
                      </a:lnTo>
                      <a:lnTo>
                        <a:pt x="933" y="68"/>
                      </a:lnTo>
                      <a:lnTo>
                        <a:pt x="926" y="82"/>
                      </a:lnTo>
                      <a:lnTo>
                        <a:pt x="914" y="93"/>
                      </a:lnTo>
                      <a:lnTo>
                        <a:pt x="900" y="101"/>
                      </a:lnTo>
                      <a:lnTo>
                        <a:pt x="883" y="103"/>
                      </a:lnTo>
                      <a:lnTo>
                        <a:pt x="52" y="103"/>
                      </a:lnTo>
                      <a:lnTo>
                        <a:pt x="36" y="101"/>
                      </a:lnTo>
                      <a:lnTo>
                        <a:pt x="22" y="93"/>
                      </a:lnTo>
                      <a:lnTo>
                        <a:pt x="11" y="82"/>
                      </a:lnTo>
                      <a:lnTo>
                        <a:pt x="3" y="68"/>
                      </a:lnTo>
                      <a:lnTo>
                        <a:pt x="0" y="51"/>
                      </a:lnTo>
                      <a:lnTo>
                        <a:pt x="3" y="35"/>
                      </a:lnTo>
                      <a:lnTo>
                        <a:pt x="11" y="21"/>
                      </a:lnTo>
                      <a:lnTo>
                        <a:pt x="22" y="10"/>
                      </a:lnTo>
                      <a:lnTo>
                        <a:pt x="36" y="2"/>
                      </a:lnTo>
                      <a:lnTo>
                        <a:pt x="5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119" name="Freeform 9"/>
                <p:cNvSpPr>
                  <a:spLocks noEditPoints="1"/>
                </p:cNvSpPr>
                <p:nvPr/>
              </p:nvSpPr>
              <p:spPr bwMode="auto">
                <a:xfrm>
                  <a:off x="-892176" y="1227138"/>
                  <a:ext cx="274638" cy="330200"/>
                </a:xfrm>
                <a:custGeom>
                  <a:avLst/>
                  <a:gdLst>
                    <a:gd name="T0" fmla="*/ 207 w 1039"/>
                    <a:gd name="T1" fmla="*/ 207 h 1248"/>
                    <a:gd name="T2" fmla="*/ 207 w 1039"/>
                    <a:gd name="T3" fmla="*/ 831 h 1248"/>
                    <a:gd name="T4" fmla="*/ 831 w 1039"/>
                    <a:gd name="T5" fmla="*/ 831 h 1248"/>
                    <a:gd name="T6" fmla="*/ 831 w 1039"/>
                    <a:gd name="T7" fmla="*/ 207 h 1248"/>
                    <a:gd name="T8" fmla="*/ 207 w 1039"/>
                    <a:gd name="T9" fmla="*/ 207 h 1248"/>
                    <a:gd name="T10" fmla="*/ 103 w 1039"/>
                    <a:gd name="T11" fmla="*/ 0 h 1248"/>
                    <a:gd name="T12" fmla="*/ 934 w 1039"/>
                    <a:gd name="T13" fmla="*/ 0 h 1248"/>
                    <a:gd name="T14" fmla="*/ 959 w 1039"/>
                    <a:gd name="T15" fmla="*/ 2 h 1248"/>
                    <a:gd name="T16" fmla="*/ 980 w 1039"/>
                    <a:gd name="T17" fmla="*/ 10 h 1248"/>
                    <a:gd name="T18" fmla="*/ 999 w 1039"/>
                    <a:gd name="T19" fmla="*/ 23 h 1248"/>
                    <a:gd name="T20" fmla="*/ 1016 w 1039"/>
                    <a:gd name="T21" fmla="*/ 39 h 1248"/>
                    <a:gd name="T22" fmla="*/ 1028 w 1039"/>
                    <a:gd name="T23" fmla="*/ 58 h 1248"/>
                    <a:gd name="T24" fmla="*/ 1036 w 1039"/>
                    <a:gd name="T25" fmla="*/ 81 h 1248"/>
                    <a:gd name="T26" fmla="*/ 1039 w 1039"/>
                    <a:gd name="T27" fmla="*/ 104 h 1248"/>
                    <a:gd name="T28" fmla="*/ 1039 w 1039"/>
                    <a:gd name="T29" fmla="*/ 1143 h 1248"/>
                    <a:gd name="T30" fmla="*/ 1036 w 1039"/>
                    <a:gd name="T31" fmla="*/ 1167 h 1248"/>
                    <a:gd name="T32" fmla="*/ 1028 w 1039"/>
                    <a:gd name="T33" fmla="*/ 1189 h 1248"/>
                    <a:gd name="T34" fmla="*/ 1016 w 1039"/>
                    <a:gd name="T35" fmla="*/ 1208 h 1248"/>
                    <a:gd name="T36" fmla="*/ 999 w 1039"/>
                    <a:gd name="T37" fmla="*/ 1224 h 1248"/>
                    <a:gd name="T38" fmla="*/ 980 w 1039"/>
                    <a:gd name="T39" fmla="*/ 1236 h 1248"/>
                    <a:gd name="T40" fmla="*/ 959 w 1039"/>
                    <a:gd name="T41" fmla="*/ 1245 h 1248"/>
                    <a:gd name="T42" fmla="*/ 934 w 1039"/>
                    <a:gd name="T43" fmla="*/ 1248 h 1248"/>
                    <a:gd name="T44" fmla="*/ 103 w 1039"/>
                    <a:gd name="T45" fmla="*/ 1248 h 1248"/>
                    <a:gd name="T46" fmla="*/ 80 w 1039"/>
                    <a:gd name="T47" fmla="*/ 1245 h 1248"/>
                    <a:gd name="T48" fmla="*/ 58 w 1039"/>
                    <a:gd name="T49" fmla="*/ 1236 h 1248"/>
                    <a:gd name="T50" fmla="*/ 38 w 1039"/>
                    <a:gd name="T51" fmla="*/ 1224 h 1248"/>
                    <a:gd name="T52" fmla="*/ 22 w 1039"/>
                    <a:gd name="T53" fmla="*/ 1208 h 1248"/>
                    <a:gd name="T54" fmla="*/ 10 w 1039"/>
                    <a:gd name="T55" fmla="*/ 1189 h 1248"/>
                    <a:gd name="T56" fmla="*/ 2 w 1039"/>
                    <a:gd name="T57" fmla="*/ 1167 h 1248"/>
                    <a:gd name="T58" fmla="*/ 0 w 1039"/>
                    <a:gd name="T59" fmla="*/ 1143 h 1248"/>
                    <a:gd name="T60" fmla="*/ 0 w 1039"/>
                    <a:gd name="T61" fmla="*/ 104 h 1248"/>
                    <a:gd name="T62" fmla="*/ 2 w 1039"/>
                    <a:gd name="T63" fmla="*/ 81 h 1248"/>
                    <a:gd name="T64" fmla="*/ 10 w 1039"/>
                    <a:gd name="T65" fmla="*/ 58 h 1248"/>
                    <a:gd name="T66" fmla="*/ 22 w 1039"/>
                    <a:gd name="T67" fmla="*/ 39 h 1248"/>
                    <a:gd name="T68" fmla="*/ 38 w 1039"/>
                    <a:gd name="T69" fmla="*/ 23 h 1248"/>
                    <a:gd name="T70" fmla="*/ 58 w 1039"/>
                    <a:gd name="T71" fmla="*/ 10 h 1248"/>
                    <a:gd name="T72" fmla="*/ 80 w 1039"/>
                    <a:gd name="T73" fmla="*/ 2 h 1248"/>
                    <a:gd name="T74" fmla="*/ 103 w 1039"/>
                    <a:gd name="T75" fmla="*/ 0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9" h="1248">
                      <a:moveTo>
                        <a:pt x="207" y="207"/>
                      </a:moveTo>
                      <a:lnTo>
                        <a:pt x="207" y="831"/>
                      </a:lnTo>
                      <a:lnTo>
                        <a:pt x="831" y="831"/>
                      </a:lnTo>
                      <a:lnTo>
                        <a:pt x="831" y="207"/>
                      </a:lnTo>
                      <a:lnTo>
                        <a:pt x="207" y="207"/>
                      </a:lnTo>
                      <a:close/>
                      <a:moveTo>
                        <a:pt x="103" y="0"/>
                      </a:moveTo>
                      <a:lnTo>
                        <a:pt x="934" y="0"/>
                      </a:lnTo>
                      <a:lnTo>
                        <a:pt x="959" y="2"/>
                      </a:lnTo>
                      <a:lnTo>
                        <a:pt x="980" y="10"/>
                      </a:lnTo>
                      <a:lnTo>
                        <a:pt x="999" y="23"/>
                      </a:lnTo>
                      <a:lnTo>
                        <a:pt x="1016" y="39"/>
                      </a:lnTo>
                      <a:lnTo>
                        <a:pt x="1028" y="58"/>
                      </a:lnTo>
                      <a:lnTo>
                        <a:pt x="1036" y="81"/>
                      </a:lnTo>
                      <a:lnTo>
                        <a:pt x="1039" y="104"/>
                      </a:lnTo>
                      <a:lnTo>
                        <a:pt x="1039" y="1143"/>
                      </a:lnTo>
                      <a:lnTo>
                        <a:pt x="1036" y="1167"/>
                      </a:lnTo>
                      <a:lnTo>
                        <a:pt x="1028" y="1189"/>
                      </a:lnTo>
                      <a:lnTo>
                        <a:pt x="1016" y="1208"/>
                      </a:lnTo>
                      <a:lnTo>
                        <a:pt x="999" y="1224"/>
                      </a:lnTo>
                      <a:lnTo>
                        <a:pt x="980" y="1236"/>
                      </a:lnTo>
                      <a:lnTo>
                        <a:pt x="959" y="1245"/>
                      </a:lnTo>
                      <a:lnTo>
                        <a:pt x="934" y="1248"/>
                      </a:lnTo>
                      <a:lnTo>
                        <a:pt x="103" y="1248"/>
                      </a:lnTo>
                      <a:lnTo>
                        <a:pt x="80" y="1245"/>
                      </a:lnTo>
                      <a:lnTo>
                        <a:pt x="58" y="1236"/>
                      </a:lnTo>
                      <a:lnTo>
                        <a:pt x="38" y="1224"/>
                      </a:lnTo>
                      <a:lnTo>
                        <a:pt x="22" y="1208"/>
                      </a:lnTo>
                      <a:lnTo>
                        <a:pt x="10" y="1189"/>
                      </a:lnTo>
                      <a:lnTo>
                        <a:pt x="2" y="1167"/>
                      </a:lnTo>
                      <a:lnTo>
                        <a:pt x="0" y="1143"/>
                      </a:lnTo>
                      <a:lnTo>
                        <a:pt x="0" y="104"/>
                      </a:lnTo>
                      <a:lnTo>
                        <a:pt x="2" y="81"/>
                      </a:lnTo>
                      <a:lnTo>
                        <a:pt x="10" y="58"/>
                      </a:lnTo>
                      <a:lnTo>
                        <a:pt x="22" y="39"/>
                      </a:lnTo>
                      <a:lnTo>
                        <a:pt x="38" y="23"/>
                      </a:lnTo>
                      <a:lnTo>
                        <a:pt x="58" y="10"/>
                      </a:lnTo>
                      <a:lnTo>
                        <a:pt x="80" y="2"/>
                      </a:lnTo>
                      <a:lnTo>
                        <a:pt x="10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120" name="Freeform 10"/>
                <p:cNvSpPr>
                  <a:spLocks noEditPoints="1"/>
                </p:cNvSpPr>
                <p:nvPr/>
              </p:nvSpPr>
              <p:spPr bwMode="auto">
                <a:xfrm>
                  <a:off x="-1195388" y="1776413"/>
                  <a:ext cx="274638" cy="330200"/>
                </a:xfrm>
                <a:custGeom>
                  <a:avLst/>
                  <a:gdLst>
                    <a:gd name="T0" fmla="*/ 208 w 1039"/>
                    <a:gd name="T1" fmla="*/ 208 h 1247"/>
                    <a:gd name="T2" fmla="*/ 208 w 1039"/>
                    <a:gd name="T3" fmla="*/ 831 h 1247"/>
                    <a:gd name="T4" fmla="*/ 831 w 1039"/>
                    <a:gd name="T5" fmla="*/ 831 h 1247"/>
                    <a:gd name="T6" fmla="*/ 831 w 1039"/>
                    <a:gd name="T7" fmla="*/ 208 h 1247"/>
                    <a:gd name="T8" fmla="*/ 208 w 1039"/>
                    <a:gd name="T9" fmla="*/ 208 h 1247"/>
                    <a:gd name="T10" fmla="*/ 104 w 1039"/>
                    <a:gd name="T11" fmla="*/ 0 h 1247"/>
                    <a:gd name="T12" fmla="*/ 936 w 1039"/>
                    <a:gd name="T13" fmla="*/ 0 h 1247"/>
                    <a:gd name="T14" fmla="*/ 959 w 1039"/>
                    <a:gd name="T15" fmla="*/ 3 h 1247"/>
                    <a:gd name="T16" fmla="*/ 981 w 1039"/>
                    <a:gd name="T17" fmla="*/ 10 h 1247"/>
                    <a:gd name="T18" fmla="*/ 1001 w 1039"/>
                    <a:gd name="T19" fmla="*/ 22 h 1247"/>
                    <a:gd name="T20" fmla="*/ 1017 w 1039"/>
                    <a:gd name="T21" fmla="*/ 38 h 1247"/>
                    <a:gd name="T22" fmla="*/ 1029 w 1039"/>
                    <a:gd name="T23" fmla="*/ 58 h 1247"/>
                    <a:gd name="T24" fmla="*/ 1036 w 1039"/>
                    <a:gd name="T25" fmla="*/ 80 h 1247"/>
                    <a:gd name="T26" fmla="*/ 1039 w 1039"/>
                    <a:gd name="T27" fmla="*/ 103 h 1247"/>
                    <a:gd name="T28" fmla="*/ 1039 w 1039"/>
                    <a:gd name="T29" fmla="*/ 1143 h 1247"/>
                    <a:gd name="T30" fmla="*/ 1036 w 1039"/>
                    <a:gd name="T31" fmla="*/ 1167 h 1247"/>
                    <a:gd name="T32" fmla="*/ 1029 w 1039"/>
                    <a:gd name="T33" fmla="*/ 1189 h 1247"/>
                    <a:gd name="T34" fmla="*/ 1017 w 1039"/>
                    <a:gd name="T35" fmla="*/ 1208 h 1247"/>
                    <a:gd name="T36" fmla="*/ 1001 w 1039"/>
                    <a:gd name="T37" fmla="*/ 1224 h 1247"/>
                    <a:gd name="T38" fmla="*/ 981 w 1039"/>
                    <a:gd name="T39" fmla="*/ 1237 h 1247"/>
                    <a:gd name="T40" fmla="*/ 959 w 1039"/>
                    <a:gd name="T41" fmla="*/ 1244 h 1247"/>
                    <a:gd name="T42" fmla="*/ 936 w 1039"/>
                    <a:gd name="T43" fmla="*/ 1247 h 1247"/>
                    <a:gd name="T44" fmla="*/ 104 w 1039"/>
                    <a:gd name="T45" fmla="*/ 1247 h 1247"/>
                    <a:gd name="T46" fmla="*/ 80 w 1039"/>
                    <a:gd name="T47" fmla="*/ 1244 h 1247"/>
                    <a:gd name="T48" fmla="*/ 58 w 1039"/>
                    <a:gd name="T49" fmla="*/ 1237 h 1247"/>
                    <a:gd name="T50" fmla="*/ 39 w 1039"/>
                    <a:gd name="T51" fmla="*/ 1224 h 1247"/>
                    <a:gd name="T52" fmla="*/ 23 w 1039"/>
                    <a:gd name="T53" fmla="*/ 1208 h 1247"/>
                    <a:gd name="T54" fmla="*/ 10 w 1039"/>
                    <a:gd name="T55" fmla="*/ 1189 h 1247"/>
                    <a:gd name="T56" fmla="*/ 3 w 1039"/>
                    <a:gd name="T57" fmla="*/ 1167 h 1247"/>
                    <a:gd name="T58" fmla="*/ 0 w 1039"/>
                    <a:gd name="T59" fmla="*/ 1143 h 1247"/>
                    <a:gd name="T60" fmla="*/ 0 w 1039"/>
                    <a:gd name="T61" fmla="*/ 103 h 1247"/>
                    <a:gd name="T62" fmla="*/ 3 w 1039"/>
                    <a:gd name="T63" fmla="*/ 80 h 1247"/>
                    <a:gd name="T64" fmla="*/ 10 w 1039"/>
                    <a:gd name="T65" fmla="*/ 58 h 1247"/>
                    <a:gd name="T66" fmla="*/ 23 w 1039"/>
                    <a:gd name="T67" fmla="*/ 38 h 1247"/>
                    <a:gd name="T68" fmla="*/ 39 w 1039"/>
                    <a:gd name="T69" fmla="*/ 22 h 1247"/>
                    <a:gd name="T70" fmla="*/ 58 w 1039"/>
                    <a:gd name="T71" fmla="*/ 10 h 1247"/>
                    <a:gd name="T72" fmla="*/ 80 w 1039"/>
                    <a:gd name="T73" fmla="*/ 3 h 1247"/>
                    <a:gd name="T74" fmla="*/ 104 w 1039"/>
                    <a:gd name="T75" fmla="*/ 0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9" h="1247">
                      <a:moveTo>
                        <a:pt x="208" y="208"/>
                      </a:moveTo>
                      <a:lnTo>
                        <a:pt x="208" y="831"/>
                      </a:lnTo>
                      <a:lnTo>
                        <a:pt x="831" y="831"/>
                      </a:lnTo>
                      <a:lnTo>
                        <a:pt x="831" y="208"/>
                      </a:lnTo>
                      <a:lnTo>
                        <a:pt x="208" y="208"/>
                      </a:lnTo>
                      <a:close/>
                      <a:moveTo>
                        <a:pt x="104" y="0"/>
                      </a:moveTo>
                      <a:lnTo>
                        <a:pt x="936" y="0"/>
                      </a:lnTo>
                      <a:lnTo>
                        <a:pt x="959" y="3"/>
                      </a:lnTo>
                      <a:lnTo>
                        <a:pt x="981" y="10"/>
                      </a:lnTo>
                      <a:lnTo>
                        <a:pt x="1001" y="22"/>
                      </a:lnTo>
                      <a:lnTo>
                        <a:pt x="1017" y="38"/>
                      </a:lnTo>
                      <a:lnTo>
                        <a:pt x="1029" y="58"/>
                      </a:lnTo>
                      <a:lnTo>
                        <a:pt x="1036" y="80"/>
                      </a:lnTo>
                      <a:lnTo>
                        <a:pt x="1039" y="103"/>
                      </a:lnTo>
                      <a:lnTo>
                        <a:pt x="1039" y="1143"/>
                      </a:lnTo>
                      <a:lnTo>
                        <a:pt x="1036" y="1167"/>
                      </a:lnTo>
                      <a:lnTo>
                        <a:pt x="1029" y="1189"/>
                      </a:lnTo>
                      <a:lnTo>
                        <a:pt x="1017" y="1208"/>
                      </a:lnTo>
                      <a:lnTo>
                        <a:pt x="1001" y="1224"/>
                      </a:lnTo>
                      <a:lnTo>
                        <a:pt x="981" y="1237"/>
                      </a:lnTo>
                      <a:lnTo>
                        <a:pt x="959" y="1244"/>
                      </a:lnTo>
                      <a:lnTo>
                        <a:pt x="936" y="1247"/>
                      </a:lnTo>
                      <a:lnTo>
                        <a:pt x="104" y="1247"/>
                      </a:lnTo>
                      <a:lnTo>
                        <a:pt x="80" y="1244"/>
                      </a:lnTo>
                      <a:lnTo>
                        <a:pt x="58" y="1237"/>
                      </a:lnTo>
                      <a:lnTo>
                        <a:pt x="39" y="1224"/>
                      </a:lnTo>
                      <a:lnTo>
                        <a:pt x="23" y="1208"/>
                      </a:lnTo>
                      <a:lnTo>
                        <a:pt x="10" y="1189"/>
                      </a:lnTo>
                      <a:lnTo>
                        <a:pt x="3" y="1167"/>
                      </a:lnTo>
                      <a:lnTo>
                        <a:pt x="0" y="1143"/>
                      </a:lnTo>
                      <a:lnTo>
                        <a:pt x="0" y="103"/>
                      </a:lnTo>
                      <a:lnTo>
                        <a:pt x="3" y="80"/>
                      </a:lnTo>
                      <a:lnTo>
                        <a:pt x="10" y="58"/>
                      </a:lnTo>
                      <a:lnTo>
                        <a:pt x="23" y="38"/>
                      </a:lnTo>
                      <a:lnTo>
                        <a:pt x="39" y="22"/>
                      </a:lnTo>
                      <a:lnTo>
                        <a:pt x="58" y="10"/>
                      </a:lnTo>
                      <a:lnTo>
                        <a:pt x="80" y="3"/>
                      </a:lnTo>
                      <a:lnTo>
                        <a:pt x="10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121" name="Freeform 11"/>
                <p:cNvSpPr>
                  <a:spLocks noEditPoints="1"/>
                </p:cNvSpPr>
                <p:nvPr/>
              </p:nvSpPr>
              <p:spPr bwMode="auto">
                <a:xfrm>
                  <a:off x="-590551" y="1776413"/>
                  <a:ext cx="274638" cy="330200"/>
                </a:xfrm>
                <a:custGeom>
                  <a:avLst/>
                  <a:gdLst>
                    <a:gd name="T0" fmla="*/ 209 w 1040"/>
                    <a:gd name="T1" fmla="*/ 208 h 1247"/>
                    <a:gd name="T2" fmla="*/ 209 w 1040"/>
                    <a:gd name="T3" fmla="*/ 831 h 1247"/>
                    <a:gd name="T4" fmla="*/ 832 w 1040"/>
                    <a:gd name="T5" fmla="*/ 831 h 1247"/>
                    <a:gd name="T6" fmla="*/ 832 w 1040"/>
                    <a:gd name="T7" fmla="*/ 208 h 1247"/>
                    <a:gd name="T8" fmla="*/ 209 w 1040"/>
                    <a:gd name="T9" fmla="*/ 208 h 1247"/>
                    <a:gd name="T10" fmla="*/ 105 w 1040"/>
                    <a:gd name="T11" fmla="*/ 0 h 1247"/>
                    <a:gd name="T12" fmla="*/ 936 w 1040"/>
                    <a:gd name="T13" fmla="*/ 0 h 1247"/>
                    <a:gd name="T14" fmla="*/ 959 w 1040"/>
                    <a:gd name="T15" fmla="*/ 3 h 1247"/>
                    <a:gd name="T16" fmla="*/ 982 w 1040"/>
                    <a:gd name="T17" fmla="*/ 10 h 1247"/>
                    <a:gd name="T18" fmla="*/ 1001 w 1040"/>
                    <a:gd name="T19" fmla="*/ 22 h 1247"/>
                    <a:gd name="T20" fmla="*/ 1017 w 1040"/>
                    <a:gd name="T21" fmla="*/ 38 h 1247"/>
                    <a:gd name="T22" fmla="*/ 1030 w 1040"/>
                    <a:gd name="T23" fmla="*/ 58 h 1247"/>
                    <a:gd name="T24" fmla="*/ 1038 w 1040"/>
                    <a:gd name="T25" fmla="*/ 80 h 1247"/>
                    <a:gd name="T26" fmla="*/ 1040 w 1040"/>
                    <a:gd name="T27" fmla="*/ 103 h 1247"/>
                    <a:gd name="T28" fmla="*/ 1040 w 1040"/>
                    <a:gd name="T29" fmla="*/ 1143 h 1247"/>
                    <a:gd name="T30" fmla="*/ 1038 w 1040"/>
                    <a:gd name="T31" fmla="*/ 1167 h 1247"/>
                    <a:gd name="T32" fmla="*/ 1030 w 1040"/>
                    <a:gd name="T33" fmla="*/ 1189 h 1247"/>
                    <a:gd name="T34" fmla="*/ 1017 w 1040"/>
                    <a:gd name="T35" fmla="*/ 1208 h 1247"/>
                    <a:gd name="T36" fmla="*/ 1001 w 1040"/>
                    <a:gd name="T37" fmla="*/ 1224 h 1247"/>
                    <a:gd name="T38" fmla="*/ 982 w 1040"/>
                    <a:gd name="T39" fmla="*/ 1237 h 1247"/>
                    <a:gd name="T40" fmla="*/ 959 w 1040"/>
                    <a:gd name="T41" fmla="*/ 1244 h 1247"/>
                    <a:gd name="T42" fmla="*/ 936 w 1040"/>
                    <a:gd name="T43" fmla="*/ 1247 h 1247"/>
                    <a:gd name="T44" fmla="*/ 105 w 1040"/>
                    <a:gd name="T45" fmla="*/ 1247 h 1247"/>
                    <a:gd name="T46" fmla="*/ 81 w 1040"/>
                    <a:gd name="T47" fmla="*/ 1244 h 1247"/>
                    <a:gd name="T48" fmla="*/ 59 w 1040"/>
                    <a:gd name="T49" fmla="*/ 1237 h 1247"/>
                    <a:gd name="T50" fmla="*/ 40 w 1040"/>
                    <a:gd name="T51" fmla="*/ 1224 h 1247"/>
                    <a:gd name="T52" fmla="*/ 24 w 1040"/>
                    <a:gd name="T53" fmla="*/ 1208 h 1247"/>
                    <a:gd name="T54" fmla="*/ 12 w 1040"/>
                    <a:gd name="T55" fmla="*/ 1189 h 1247"/>
                    <a:gd name="T56" fmla="*/ 4 w 1040"/>
                    <a:gd name="T57" fmla="*/ 1167 h 1247"/>
                    <a:gd name="T58" fmla="*/ 0 w 1040"/>
                    <a:gd name="T59" fmla="*/ 1143 h 1247"/>
                    <a:gd name="T60" fmla="*/ 0 w 1040"/>
                    <a:gd name="T61" fmla="*/ 103 h 1247"/>
                    <a:gd name="T62" fmla="*/ 4 w 1040"/>
                    <a:gd name="T63" fmla="*/ 80 h 1247"/>
                    <a:gd name="T64" fmla="*/ 12 w 1040"/>
                    <a:gd name="T65" fmla="*/ 58 h 1247"/>
                    <a:gd name="T66" fmla="*/ 24 w 1040"/>
                    <a:gd name="T67" fmla="*/ 38 h 1247"/>
                    <a:gd name="T68" fmla="*/ 40 w 1040"/>
                    <a:gd name="T69" fmla="*/ 22 h 1247"/>
                    <a:gd name="T70" fmla="*/ 59 w 1040"/>
                    <a:gd name="T71" fmla="*/ 10 h 1247"/>
                    <a:gd name="T72" fmla="*/ 81 w 1040"/>
                    <a:gd name="T73" fmla="*/ 3 h 1247"/>
                    <a:gd name="T74" fmla="*/ 105 w 1040"/>
                    <a:gd name="T75" fmla="*/ 0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0" h="1247">
                      <a:moveTo>
                        <a:pt x="209" y="208"/>
                      </a:moveTo>
                      <a:lnTo>
                        <a:pt x="209" y="831"/>
                      </a:lnTo>
                      <a:lnTo>
                        <a:pt x="832" y="831"/>
                      </a:lnTo>
                      <a:lnTo>
                        <a:pt x="832" y="208"/>
                      </a:lnTo>
                      <a:lnTo>
                        <a:pt x="209" y="208"/>
                      </a:lnTo>
                      <a:close/>
                      <a:moveTo>
                        <a:pt x="105" y="0"/>
                      </a:moveTo>
                      <a:lnTo>
                        <a:pt x="936" y="0"/>
                      </a:lnTo>
                      <a:lnTo>
                        <a:pt x="959" y="3"/>
                      </a:lnTo>
                      <a:lnTo>
                        <a:pt x="982" y="10"/>
                      </a:lnTo>
                      <a:lnTo>
                        <a:pt x="1001" y="22"/>
                      </a:lnTo>
                      <a:lnTo>
                        <a:pt x="1017" y="38"/>
                      </a:lnTo>
                      <a:lnTo>
                        <a:pt x="1030" y="58"/>
                      </a:lnTo>
                      <a:lnTo>
                        <a:pt x="1038" y="80"/>
                      </a:lnTo>
                      <a:lnTo>
                        <a:pt x="1040" y="103"/>
                      </a:lnTo>
                      <a:lnTo>
                        <a:pt x="1040" y="1143"/>
                      </a:lnTo>
                      <a:lnTo>
                        <a:pt x="1038" y="1167"/>
                      </a:lnTo>
                      <a:lnTo>
                        <a:pt x="1030" y="1189"/>
                      </a:lnTo>
                      <a:lnTo>
                        <a:pt x="1017" y="1208"/>
                      </a:lnTo>
                      <a:lnTo>
                        <a:pt x="1001" y="1224"/>
                      </a:lnTo>
                      <a:lnTo>
                        <a:pt x="982" y="1237"/>
                      </a:lnTo>
                      <a:lnTo>
                        <a:pt x="959" y="1244"/>
                      </a:lnTo>
                      <a:lnTo>
                        <a:pt x="936" y="1247"/>
                      </a:lnTo>
                      <a:lnTo>
                        <a:pt x="105" y="1247"/>
                      </a:lnTo>
                      <a:lnTo>
                        <a:pt x="81" y="1244"/>
                      </a:lnTo>
                      <a:lnTo>
                        <a:pt x="59" y="1237"/>
                      </a:lnTo>
                      <a:lnTo>
                        <a:pt x="40" y="1224"/>
                      </a:lnTo>
                      <a:lnTo>
                        <a:pt x="24" y="1208"/>
                      </a:lnTo>
                      <a:lnTo>
                        <a:pt x="12" y="1189"/>
                      </a:lnTo>
                      <a:lnTo>
                        <a:pt x="4" y="1167"/>
                      </a:lnTo>
                      <a:lnTo>
                        <a:pt x="0" y="1143"/>
                      </a:lnTo>
                      <a:lnTo>
                        <a:pt x="0" y="103"/>
                      </a:lnTo>
                      <a:lnTo>
                        <a:pt x="4" y="80"/>
                      </a:lnTo>
                      <a:lnTo>
                        <a:pt x="12" y="58"/>
                      </a:lnTo>
                      <a:lnTo>
                        <a:pt x="24" y="38"/>
                      </a:lnTo>
                      <a:lnTo>
                        <a:pt x="40" y="22"/>
                      </a:lnTo>
                      <a:lnTo>
                        <a:pt x="59" y="10"/>
                      </a:lnTo>
                      <a:lnTo>
                        <a:pt x="81" y="3"/>
                      </a:lnTo>
                      <a:lnTo>
                        <a:pt x="1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grpSp>
        </p:grpSp>
        <p:grpSp>
          <p:nvGrpSpPr>
            <p:cNvPr id="92" name="Group 91"/>
            <p:cNvGrpSpPr/>
            <p:nvPr/>
          </p:nvGrpSpPr>
          <p:grpSpPr>
            <a:xfrm>
              <a:off x="1034400" y="1486161"/>
              <a:ext cx="488411" cy="713181"/>
              <a:chOff x="1185951" y="1740754"/>
              <a:chExt cx="756145" cy="1104129"/>
            </a:xfrm>
          </p:grpSpPr>
          <p:sp>
            <p:nvSpPr>
              <p:cNvPr id="107" name="Rectangle 106"/>
              <p:cNvSpPr/>
              <p:nvPr/>
            </p:nvSpPr>
            <p:spPr>
              <a:xfrm>
                <a:off x="1185951" y="1740754"/>
                <a:ext cx="756145" cy="38984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t"/>
              <a:lstStyle/>
              <a:p>
                <a:pPr algn="ctr">
                  <a:lnSpc>
                    <a:spcPct val="90000"/>
                  </a:lnSpc>
                </a:pPr>
                <a:r>
                  <a:rPr lang="en-US" sz="1100" b="1" dirty="0" smtClean="0">
                    <a:solidFill>
                      <a:srgbClr val="FFFFFF"/>
                    </a:solidFill>
                  </a:rPr>
                  <a:t>Device</a:t>
                </a:r>
                <a:endParaRPr lang="en-US" sz="1400" b="1" dirty="0">
                  <a:solidFill>
                    <a:srgbClr val="FFFFFF"/>
                  </a:solidFill>
                </a:endParaRPr>
              </a:p>
            </p:txBody>
          </p:sp>
          <p:grpSp>
            <p:nvGrpSpPr>
              <p:cNvPr id="108" name="Group 107"/>
              <p:cNvGrpSpPr/>
              <p:nvPr/>
            </p:nvGrpSpPr>
            <p:grpSpPr>
              <a:xfrm>
                <a:off x="1242676" y="2233071"/>
                <a:ext cx="642775" cy="611812"/>
                <a:chOff x="1419352" y="2052874"/>
                <a:chExt cx="995436" cy="890856"/>
              </a:xfrm>
            </p:grpSpPr>
            <p:sp>
              <p:nvSpPr>
                <p:cNvPr id="109" name="Freeform 113"/>
                <p:cNvSpPr>
                  <a:spLocks noEditPoints="1"/>
                </p:cNvSpPr>
                <p:nvPr/>
              </p:nvSpPr>
              <p:spPr bwMode="auto">
                <a:xfrm>
                  <a:off x="1760636" y="2052874"/>
                  <a:ext cx="654152" cy="863195"/>
                </a:xfrm>
                <a:custGeom>
                  <a:avLst/>
                  <a:gdLst>
                    <a:gd name="T0" fmla="*/ 424 w 464"/>
                    <a:gd name="T1" fmla="*/ 0 h 626"/>
                    <a:gd name="T2" fmla="*/ 39 w 464"/>
                    <a:gd name="T3" fmla="*/ 0 h 626"/>
                    <a:gd name="T4" fmla="*/ 39 w 464"/>
                    <a:gd name="T5" fmla="*/ 0 h 626"/>
                    <a:gd name="T6" fmla="*/ 31 w 464"/>
                    <a:gd name="T7" fmla="*/ 2 h 626"/>
                    <a:gd name="T8" fmla="*/ 23 w 464"/>
                    <a:gd name="T9" fmla="*/ 3 h 626"/>
                    <a:gd name="T10" fmla="*/ 16 w 464"/>
                    <a:gd name="T11" fmla="*/ 7 h 626"/>
                    <a:gd name="T12" fmla="*/ 10 w 464"/>
                    <a:gd name="T13" fmla="*/ 13 h 626"/>
                    <a:gd name="T14" fmla="*/ 6 w 464"/>
                    <a:gd name="T15" fmla="*/ 18 h 626"/>
                    <a:gd name="T16" fmla="*/ 2 w 464"/>
                    <a:gd name="T17" fmla="*/ 25 h 626"/>
                    <a:gd name="T18" fmla="*/ 0 w 464"/>
                    <a:gd name="T19" fmla="*/ 31 h 626"/>
                    <a:gd name="T20" fmla="*/ 0 w 464"/>
                    <a:gd name="T21" fmla="*/ 40 h 626"/>
                    <a:gd name="T22" fmla="*/ 0 w 464"/>
                    <a:gd name="T23" fmla="*/ 587 h 626"/>
                    <a:gd name="T24" fmla="*/ 0 w 464"/>
                    <a:gd name="T25" fmla="*/ 587 h 626"/>
                    <a:gd name="T26" fmla="*/ 0 w 464"/>
                    <a:gd name="T27" fmla="*/ 595 h 626"/>
                    <a:gd name="T28" fmla="*/ 2 w 464"/>
                    <a:gd name="T29" fmla="*/ 602 h 626"/>
                    <a:gd name="T30" fmla="*/ 6 w 464"/>
                    <a:gd name="T31" fmla="*/ 609 h 626"/>
                    <a:gd name="T32" fmla="*/ 10 w 464"/>
                    <a:gd name="T33" fmla="*/ 615 h 626"/>
                    <a:gd name="T34" fmla="*/ 16 w 464"/>
                    <a:gd name="T35" fmla="*/ 619 h 626"/>
                    <a:gd name="T36" fmla="*/ 23 w 464"/>
                    <a:gd name="T37" fmla="*/ 623 h 626"/>
                    <a:gd name="T38" fmla="*/ 31 w 464"/>
                    <a:gd name="T39" fmla="*/ 626 h 626"/>
                    <a:gd name="T40" fmla="*/ 39 w 464"/>
                    <a:gd name="T41" fmla="*/ 626 h 626"/>
                    <a:gd name="T42" fmla="*/ 424 w 464"/>
                    <a:gd name="T43" fmla="*/ 626 h 626"/>
                    <a:gd name="T44" fmla="*/ 424 w 464"/>
                    <a:gd name="T45" fmla="*/ 626 h 626"/>
                    <a:gd name="T46" fmla="*/ 433 w 464"/>
                    <a:gd name="T47" fmla="*/ 626 h 626"/>
                    <a:gd name="T48" fmla="*/ 439 w 464"/>
                    <a:gd name="T49" fmla="*/ 623 h 626"/>
                    <a:gd name="T50" fmla="*/ 446 w 464"/>
                    <a:gd name="T51" fmla="*/ 619 h 626"/>
                    <a:gd name="T52" fmla="*/ 453 w 464"/>
                    <a:gd name="T53" fmla="*/ 615 h 626"/>
                    <a:gd name="T54" fmla="*/ 457 w 464"/>
                    <a:gd name="T55" fmla="*/ 609 h 626"/>
                    <a:gd name="T56" fmla="*/ 461 w 464"/>
                    <a:gd name="T57" fmla="*/ 602 h 626"/>
                    <a:gd name="T58" fmla="*/ 464 w 464"/>
                    <a:gd name="T59" fmla="*/ 595 h 626"/>
                    <a:gd name="T60" fmla="*/ 464 w 464"/>
                    <a:gd name="T61" fmla="*/ 587 h 626"/>
                    <a:gd name="T62" fmla="*/ 464 w 464"/>
                    <a:gd name="T63" fmla="*/ 40 h 626"/>
                    <a:gd name="T64" fmla="*/ 464 w 464"/>
                    <a:gd name="T65" fmla="*/ 40 h 626"/>
                    <a:gd name="T66" fmla="*/ 464 w 464"/>
                    <a:gd name="T67" fmla="*/ 31 h 626"/>
                    <a:gd name="T68" fmla="*/ 461 w 464"/>
                    <a:gd name="T69" fmla="*/ 25 h 626"/>
                    <a:gd name="T70" fmla="*/ 457 w 464"/>
                    <a:gd name="T71" fmla="*/ 18 h 626"/>
                    <a:gd name="T72" fmla="*/ 453 w 464"/>
                    <a:gd name="T73" fmla="*/ 13 h 626"/>
                    <a:gd name="T74" fmla="*/ 446 w 464"/>
                    <a:gd name="T75" fmla="*/ 7 h 626"/>
                    <a:gd name="T76" fmla="*/ 439 w 464"/>
                    <a:gd name="T77" fmla="*/ 3 h 626"/>
                    <a:gd name="T78" fmla="*/ 433 w 464"/>
                    <a:gd name="T79" fmla="*/ 2 h 626"/>
                    <a:gd name="T80" fmla="*/ 424 w 464"/>
                    <a:gd name="T81" fmla="*/ 0 h 626"/>
                    <a:gd name="T82" fmla="*/ 424 w 464"/>
                    <a:gd name="T83" fmla="*/ 0 h 626"/>
                    <a:gd name="T84" fmla="*/ 135 w 464"/>
                    <a:gd name="T85" fmla="*/ 587 h 626"/>
                    <a:gd name="T86" fmla="*/ 86 w 464"/>
                    <a:gd name="T87" fmla="*/ 587 h 626"/>
                    <a:gd name="T88" fmla="*/ 86 w 464"/>
                    <a:gd name="T89" fmla="*/ 571 h 626"/>
                    <a:gd name="T90" fmla="*/ 135 w 464"/>
                    <a:gd name="T91" fmla="*/ 571 h 626"/>
                    <a:gd name="T92" fmla="*/ 135 w 464"/>
                    <a:gd name="T93" fmla="*/ 587 h 626"/>
                    <a:gd name="T94" fmla="*/ 271 w 464"/>
                    <a:gd name="T95" fmla="*/ 591 h 626"/>
                    <a:gd name="T96" fmla="*/ 192 w 464"/>
                    <a:gd name="T97" fmla="*/ 591 h 626"/>
                    <a:gd name="T98" fmla="*/ 192 w 464"/>
                    <a:gd name="T99" fmla="*/ 567 h 626"/>
                    <a:gd name="T100" fmla="*/ 271 w 464"/>
                    <a:gd name="T101" fmla="*/ 567 h 626"/>
                    <a:gd name="T102" fmla="*/ 271 w 464"/>
                    <a:gd name="T103" fmla="*/ 591 h 626"/>
                    <a:gd name="T104" fmla="*/ 377 w 464"/>
                    <a:gd name="T105" fmla="*/ 587 h 626"/>
                    <a:gd name="T106" fmla="*/ 329 w 464"/>
                    <a:gd name="T107" fmla="*/ 587 h 626"/>
                    <a:gd name="T108" fmla="*/ 329 w 464"/>
                    <a:gd name="T109" fmla="*/ 571 h 626"/>
                    <a:gd name="T110" fmla="*/ 377 w 464"/>
                    <a:gd name="T111" fmla="*/ 571 h 626"/>
                    <a:gd name="T112" fmla="*/ 377 w 464"/>
                    <a:gd name="T113" fmla="*/ 587 h 626"/>
                    <a:gd name="T114" fmla="*/ 412 w 464"/>
                    <a:gd name="T115" fmla="*/ 534 h 626"/>
                    <a:gd name="T116" fmla="*/ 51 w 464"/>
                    <a:gd name="T117" fmla="*/ 534 h 626"/>
                    <a:gd name="T118" fmla="*/ 51 w 464"/>
                    <a:gd name="T119" fmla="*/ 56 h 626"/>
                    <a:gd name="T120" fmla="*/ 412 w 464"/>
                    <a:gd name="T121" fmla="*/ 56 h 626"/>
                    <a:gd name="T122" fmla="*/ 412 w 464"/>
                    <a:gd name="T123" fmla="*/ 53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4" h="626">
                      <a:moveTo>
                        <a:pt x="424" y="0"/>
                      </a:moveTo>
                      <a:lnTo>
                        <a:pt x="39" y="0"/>
                      </a:lnTo>
                      <a:lnTo>
                        <a:pt x="39" y="0"/>
                      </a:lnTo>
                      <a:lnTo>
                        <a:pt x="31" y="2"/>
                      </a:lnTo>
                      <a:lnTo>
                        <a:pt x="23" y="3"/>
                      </a:lnTo>
                      <a:lnTo>
                        <a:pt x="16" y="7"/>
                      </a:lnTo>
                      <a:lnTo>
                        <a:pt x="10" y="13"/>
                      </a:lnTo>
                      <a:lnTo>
                        <a:pt x="6" y="18"/>
                      </a:lnTo>
                      <a:lnTo>
                        <a:pt x="2" y="25"/>
                      </a:lnTo>
                      <a:lnTo>
                        <a:pt x="0" y="31"/>
                      </a:lnTo>
                      <a:lnTo>
                        <a:pt x="0" y="40"/>
                      </a:lnTo>
                      <a:lnTo>
                        <a:pt x="0" y="587"/>
                      </a:lnTo>
                      <a:lnTo>
                        <a:pt x="0" y="587"/>
                      </a:lnTo>
                      <a:lnTo>
                        <a:pt x="0" y="595"/>
                      </a:lnTo>
                      <a:lnTo>
                        <a:pt x="2" y="602"/>
                      </a:lnTo>
                      <a:lnTo>
                        <a:pt x="6" y="609"/>
                      </a:lnTo>
                      <a:lnTo>
                        <a:pt x="10" y="615"/>
                      </a:lnTo>
                      <a:lnTo>
                        <a:pt x="16" y="619"/>
                      </a:lnTo>
                      <a:lnTo>
                        <a:pt x="23" y="623"/>
                      </a:lnTo>
                      <a:lnTo>
                        <a:pt x="31" y="626"/>
                      </a:lnTo>
                      <a:lnTo>
                        <a:pt x="39" y="626"/>
                      </a:lnTo>
                      <a:lnTo>
                        <a:pt x="424" y="626"/>
                      </a:lnTo>
                      <a:lnTo>
                        <a:pt x="424" y="626"/>
                      </a:lnTo>
                      <a:lnTo>
                        <a:pt x="433" y="626"/>
                      </a:lnTo>
                      <a:lnTo>
                        <a:pt x="439" y="623"/>
                      </a:lnTo>
                      <a:lnTo>
                        <a:pt x="446" y="619"/>
                      </a:lnTo>
                      <a:lnTo>
                        <a:pt x="453" y="615"/>
                      </a:lnTo>
                      <a:lnTo>
                        <a:pt x="457" y="609"/>
                      </a:lnTo>
                      <a:lnTo>
                        <a:pt x="461" y="602"/>
                      </a:lnTo>
                      <a:lnTo>
                        <a:pt x="464" y="595"/>
                      </a:lnTo>
                      <a:lnTo>
                        <a:pt x="464" y="587"/>
                      </a:lnTo>
                      <a:lnTo>
                        <a:pt x="464" y="40"/>
                      </a:lnTo>
                      <a:lnTo>
                        <a:pt x="464" y="40"/>
                      </a:lnTo>
                      <a:lnTo>
                        <a:pt x="464" y="31"/>
                      </a:lnTo>
                      <a:lnTo>
                        <a:pt x="461" y="25"/>
                      </a:lnTo>
                      <a:lnTo>
                        <a:pt x="457" y="18"/>
                      </a:lnTo>
                      <a:lnTo>
                        <a:pt x="453" y="13"/>
                      </a:lnTo>
                      <a:lnTo>
                        <a:pt x="446" y="7"/>
                      </a:lnTo>
                      <a:lnTo>
                        <a:pt x="439" y="3"/>
                      </a:lnTo>
                      <a:lnTo>
                        <a:pt x="433" y="2"/>
                      </a:lnTo>
                      <a:lnTo>
                        <a:pt x="424" y="0"/>
                      </a:lnTo>
                      <a:lnTo>
                        <a:pt x="424" y="0"/>
                      </a:lnTo>
                      <a:close/>
                      <a:moveTo>
                        <a:pt x="135" y="587"/>
                      </a:moveTo>
                      <a:lnTo>
                        <a:pt x="86" y="587"/>
                      </a:lnTo>
                      <a:lnTo>
                        <a:pt x="86" y="571"/>
                      </a:lnTo>
                      <a:lnTo>
                        <a:pt x="135" y="571"/>
                      </a:lnTo>
                      <a:lnTo>
                        <a:pt x="135" y="587"/>
                      </a:lnTo>
                      <a:close/>
                      <a:moveTo>
                        <a:pt x="271" y="591"/>
                      </a:moveTo>
                      <a:lnTo>
                        <a:pt x="192" y="591"/>
                      </a:lnTo>
                      <a:lnTo>
                        <a:pt x="192" y="567"/>
                      </a:lnTo>
                      <a:lnTo>
                        <a:pt x="271" y="567"/>
                      </a:lnTo>
                      <a:lnTo>
                        <a:pt x="271" y="591"/>
                      </a:lnTo>
                      <a:close/>
                      <a:moveTo>
                        <a:pt x="377" y="587"/>
                      </a:moveTo>
                      <a:lnTo>
                        <a:pt x="329" y="587"/>
                      </a:lnTo>
                      <a:lnTo>
                        <a:pt x="329" y="571"/>
                      </a:lnTo>
                      <a:lnTo>
                        <a:pt x="377" y="571"/>
                      </a:lnTo>
                      <a:lnTo>
                        <a:pt x="377" y="587"/>
                      </a:lnTo>
                      <a:close/>
                      <a:moveTo>
                        <a:pt x="412" y="534"/>
                      </a:moveTo>
                      <a:lnTo>
                        <a:pt x="51" y="534"/>
                      </a:lnTo>
                      <a:lnTo>
                        <a:pt x="51" y="56"/>
                      </a:lnTo>
                      <a:lnTo>
                        <a:pt x="412" y="56"/>
                      </a:lnTo>
                      <a:lnTo>
                        <a:pt x="412" y="53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0" name="Rounded Rectangle 109"/>
                <p:cNvSpPr/>
                <p:nvPr/>
              </p:nvSpPr>
              <p:spPr>
                <a:xfrm>
                  <a:off x="1419352" y="2253821"/>
                  <a:ext cx="437593" cy="689909"/>
                </a:xfrm>
                <a:prstGeom prst="roundRect">
                  <a:avLst>
                    <a:gd name="adj" fmla="val 18337"/>
                  </a:avLst>
                </a:prstGeom>
                <a:solidFill>
                  <a:srgbClr val="57B8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sp>
              <p:nvSpPr>
                <p:cNvPr id="111" name="Freeform 110"/>
                <p:cNvSpPr>
                  <a:spLocks noEditPoints="1"/>
                </p:cNvSpPr>
                <p:nvPr/>
              </p:nvSpPr>
              <p:spPr bwMode="auto">
                <a:xfrm>
                  <a:off x="1455179" y="2279107"/>
                  <a:ext cx="373695" cy="641448"/>
                </a:xfrm>
                <a:custGeom>
                  <a:avLst/>
                  <a:gdLst>
                    <a:gd name="T0" fmla="*/ 66 w 387"/>
                    <a:gd name="T1" fmla="*/ 0 h 666"/>
                    <a:gd name="T2" fmla="*/ 53 w 387"/>
                    <a:gd name="T3" fmla="*/ 1 h 666"/>
                    <a:gd name="T4" fmla="*/ 30 w 387"/>
                    <a:gd name="T5" fmla="*/ 12 h 666"/>
                    <a:gd name="T6" fmla="*/ 12 w 387"/>
                    <a:gd name="T7" fmla="*/ 34 h 666"/>
                    <a:gd name="T8" fmla="*/ 1 w 387"/>
                    <a:gd name="T9" fmla="*/ 61 h 666"/>
                    <a:gd name="T10" fmla="*/ 0 w 387"/>
                    <a:gd name="T11" fmla="*/ 588 h 666"/>
                    <a:gd name="T12" fmla="*/ 1 w 387"/>
                    <a:gd name="T13" fmla="*/ 604 h 666"/>
                    <a:gd name="T14" fmla="*/ 12 w 387"/>
                    <a:gd name="T15" fmla="*/ 632 h 666"/>
                    <a:gd name="T16" fmla="*/ 30 w 387"/>
                    <a:gd name="T17" fmla="*/ 653 h 666"/>
                    <a:gd name="T18" fmla="*/ 53 w 387"/>
                    <a:gd name="T19" fmla="*/ 665 h 666"/>
                    <a:gd name="T20" fmla="*/ 321 w 387"/>
                    <a:gd name="T21" fmla="*/ 666 h 666"/>
                    <a:gd name="T22" fmla="*/ 334 w 387"/>
                    <a:gd name="T23" fmla="*/ 665 h 666"/>
                    <a:gd name="T24" fmla="*/ 359 w 387"/>
                    <a:gd name="T25" fmla="*/ 653 h 666"/>
                    <a:gd name="T26" fmla="*/ 376 w 387"/>
                    <a:gd name="T27" fmla="*/ 632 h 666"/>
                    <a:gd name="T28" fmla="*/ 386 w 387"/>
                    <a:gd name="T29" fmla="*/ 604 h 666"/>
                    <a:gd name="T30" fmla="*/ 387 w 387"/>
                    <a:gd name="T31" fmla="*/ 77 h 666"/>
                    <a:gd name="T32" fmla="*/ 386 w 387"/>
                    <a:gd name="T33" fmla="*/ 61 h 666"/>
                    <a:gd name="T34" fmla="*/ 376 w 387"/>
                    <a:gd name="T35" fmla="*/ 34 h 666"/>
                    <a:gd name="T36" fmla="*/ 359 w 387"/>
                    <a:gd name="T37" fmla="*/ 12 h 666"/>
                    <a:gd name="T38" fmla="*/ 334 w 387"/>
                    <a:gd name="T39" fmla="*/ 1 h 666"/>
                    <a:gd name="T40" fmla="*/ 321 w 387"/>
                    <a:gd name="T41" fmla="*/ 0 h 666"/>
                    <a:gd name="T42" fmla="*/ 236 w 387"/>
                    <a:gd name="T43" fmla="*/ 30 h 666"/>
                    <a:gd name="T44" fmla="*/ 152 w 387"/>
                    <a:gd name="T45" fmla="*/ 50 h 666"/>
                    <a:gd name="T46" fmla="*/ 103 w 387"/>
                    <a:gd name="T47" fmla="*/ 593 h 666"/>
                    <a:gd name="T48" fmla="*/ 103 w 387"/>
                    <a:gd name="T49" fmla="*/ 595 h 666"/>
                    <a:gd name="T50" fmla="*/ 98 w 387"/>
                    <a:gd name="T51" fmla="*/ 597 h 666"/>
                    <a:gd name="T52" fmla="*/ 58 w 387"/>
                    <a:gd name="T53" fmla="*/ 597 h 666"/>
                    <a:gd name="T54" fmla="*/ 55 w 387"/>
                    <a:gd name="T55" fmla="*/ 597 h 666"/>
                    <a:gd name="T56" fmla="*/ 53 w 387"/>
                    <a:gd name="T57" fmla="*/ 595 h 666"/>
                    <a:gd name="T58" fmla="*/ 51 w 387"/>
                    <a:gd name="T59" fmla="*/ 572 h 666"/>
                    <a:gd name="T60" fmla="*/ 53 w 387"/>
                    <a:gd name="T61" fmla="*/ 569 h 666"/>
                    <a:gd name="T62" fmla="*/ 55 w 387"/>
                    <a:gd name="T63" fmla="*/ 566 h 666"/>
                    <a:gd name="T64" fmla="*/ 97 w 387"/>
                    <a:gd name="T65" fmla="*/ 566 h 666"/>
                    <a:gd name="T66" fmla="*/ 98 w 387"/>
                    <a:gd name="T67" fmla="*/ 566 h 666"/>
                    <a:gd name="T68" fmla="*/ 103 w 387"/>
                    <a:gd name="T69" fmla="*/ 569 h 666"/>
                    <a:gd name="T70" fmla="*/ 103 w 387"/>
                    <a:gd name="T71" fmla="*/ 593 h 666"/>
                    <a:gd name="T72" fmla="*/ 245 w 387"/>
                    <a:gd name="T73" fmla="*/ 620 h 666"/>
                    <a:gd name="T74" fmla="*/ 241 w 387"/>
                    <a:gd name="T75" fmla="*/ 630 h 666"/>
                    <a:gd name="T76" fmla="*/ 232 w 387"/>
                    <a:gd name="T77" fmla="*/ 634 h 666"/>
                    <a:gd name="T78" fmla="*/ 155 w 387"/>
                    <a:gd name="T79" fmla="*/ 634 h 666"/>
                    <a:gd name="T80" fmla="*/ 146 w 387"/>
                    <a:gd name="T81" fmla="*/ 630 h 666"/>
                    <a:gd name="T82" fmla="*/ 143 w 387"/>
                    <a:gd name="T83" fmla="*/ 620 h 666"/>
                    <a:gd name="T84" fmla="*/ 143 w 387"/>
                    <a:gd name="T85" fmla="*/ 543 h 666"/>
                    <a:gd name="T86" fmla="*/ 146 w 387"/>
                    <a:gd name="T87" fmla="*/ 534 h 666"/>
                    <a:gd name="T88" fmla="*/ 155 w 387"/>
                    <a:gd name="T89" fmla="*/ 531 h 666"/>
                    <a:gd name="T90" fmla="*/ 232 w 387"/>
                    <a:gd name="T91" fmla="*/ 531 h 666"/>
                    <a:gd name="T92" fmla="*/ 241 w 387"/>
                    <a:gd name="T93" fmla="*/ 534 h 666"/>
                    <a:gd name="T94" fmla="*/ 245 w 387"/>
                    <a:gd name="T95" fmla="*/ 543 h 666"/>
                    <a:gd name="T96" fmla="*/ 336 w 387"/>
                    <a:gd name="T97" fmla="*/ 593 h 666"/>
                    <a:gd name="T98" fmla="*/ 334 w 387"/>
                    <a:gd name="T99" fmla="*/ 595 h 666"/>
                    <a:gd name="T100" fmla="*/ 330 w 387"/>
                    <a:gd name="T101" fmla="*/ 597 h 666"/>
                    <a:gd name="T102" fmla="*/ 291 w 387"/>
                    <a:gd name="T103" fmla="*/ 597 h 666"/>
                    <a:gd name="T104" fmla="*/ 287 w 387"/>
                    <a:gd name="T105" fmla="*/ 596 h 666"/>
                    <a:gd name="T106" fmla="*/ 285 w 387"/>
                    <a:gd name="T107" fmla="*/ 593 h 666"/>
                    <a:gd name="T108" fmla="*/ 285 w 387"/>
                    <a:gd name="T109" fmla="*/ 572 h 666"/>
                    <a:gd name="T110" fmla="*/ 287 w 387"/>
                    <a:gd name="T111" fmla="*/ 568 h 666"/>
                    <a:gd name="T112" fmla="*/ 291 w 387"/>
                    <a:gd name="T113" fmla="*/ 566 h 666"/>
                    <a:gd name="T114" fmla="*/ 330 w 387"/>
                    <a:gd name="T115" fmla="*/ 566 h 666"/>
                    <a:gd name="T116" fmla="*/ 334 w 387"/>
                    <a:gd name="T117" fmla="*/ 569 h 666"/>
                    <a:gd name="T118" fmla="*/ 336 w 387"/>
                    <a:gd name="T119" fmla="*/ 593 h 666"/>
                    <a:gd name="T120" fmla="*/ 41 w 387"/>
                    <a:gd name="T121" fmla="*/ 493 h 666"/>
                    <a:gd name="T122" fmla="*/ 347 w 387"/>
                    <a:gd name="T123" fmla="*/ 8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7" h="666">
                      <a:moveTo>
                        <a:pt x="321" y="0"/>
                      </a:moveTo>
                      <a:lnTo>
                        <a:pt x="66" y="0"/>
                      </a:lnTo>
                      <a:lnTo>
                        <a:pt x="66" y="0"/>
                      </a:lnTo>
                      <a:lnTo>
                        <a:pt x="53" y="1"/>
                      </a:lnTo>
                      <a:lnTo>
                        <a:pt x="41" y="5"/>
                      </a:lnTo>
                      <a:lnTo>
                        <a:pt x="30" y="12"/>
                      </a:lnTo>
                      <a:lnTo>
                        <a:pt x="20" y="22"/>
                      </a:lnTo>
                      <a:lnTo>
                        <a:pt x="12" y="34"/>
                      </a:lnTo>
                      <a:lnTo>
                        <a:pt x="5" y="47"/>
                      </a:lnTo>
                      <a:lnTo>
                        <a:pt x="1" y="61"/>
                      </a:lnTo>
                      <a:lnTo>
                        <a:pt x="0" y="77"/>
                      </a:lnTo>
                      <a:lnTo>
                        <a:pt x="0" y="588"/>
                      </a:lnTo>
                      <a:lnTo>
                        <a:pt x="0" y="588"/>
                      </a:lnTo>
                      <a:lnTo>
                        <a:pt x="1" y="604"/>
                      </a:lnTo>
                      <a:lnTo>
                        <a:pt x="5" y="619"/>
                      </a:lnTo>
                      <a:lnTo>
                        <a:pt x="12" y="632"/>
                      </a:lnTo>
                      <a:lnTo>
                        <a:pt x="20" y="643"/>
                      </a:lnTo>
                      <a:lnTo>
                        <a:pt x="30" y="653"/>
                      </a:lnTo>
                      <a:lnTo>
                        <a:pt x="41" y="659"/>
                      </a:lnTo>
                      <a:lnTo>
                        <a:pt x="53" y="665"/>
                      </a:lnTo>
                      <a:lnTo>
                        <a:pt x="66" y="666"/>
                      </a:lnTo>
                      <a:lnTo>
                        <a:pt x="321" y="666"/>
                      </a:lnTo>
                      <a:lnTo>
                        <a:pt x="321" y="666"/>
                      </a:lnTo>
                      <a:lnTo>
                        <a:pt x="334" y="665"/>
                      </a:lnTo>
                      <a:lnTo>
                        <a:pt x="347" y="659"/>
                      </a:lnTo>
                      <a:lnTo>
                        <a:pt x="359" y="653"/>
                      </a:lnTo>
                      <a:lnTo>
                        <a:pt x="368" y="643"/>
                      </a:lnTo>
                      <a:lnTo>
                        <a:pt x="376" y="632"/>
                      </a:lnTo>
                      <a:lnTo>
                        <a:pt x="382" y="619"/>
                      </a:lnTo>
                      <a:lnTo>
                        <a:pt x="386" y="604"/>
                      </a:lnTo>
                      <a:lnTo>
                        <a:pt x="387" y="588"/>
                      </a:lnTo>
                      <a:lnTo>
                        <a:pt x="387" y="77"/>
                      </a:lnTo>
                      <a:lnTo>
                        <a:pt x="387" y="77"/>
                      </a:lnTo>
                      <a:lnTo>
                        <a:pt x="386" y="61"/>
                      </a:lnTo>
                      <a:lnTo>
                        <a:pt x="382" y="47"/>
                      </a:lnTo>
                      <a:lnTo>
                        <a:pt x="376" y="34"/>
                      </a:lnTo>
                      <a:lnTo>
                        <a:pt x="368" y="22"/>
                      </a:lnTo>
                      <a:lnTo>
                        <a:pt x="359" y="12"/>
                      </a:lnTo>
                      <a:lnTo>
                        <a:pt x="347" y="5"/>
                      </a:lnTo>
                      <a:lnTo>
                        <a:pt x="334" y="1"/>
                      </a:lnTo>
                      <a:lnTo>
                        <a:pt x="321" y="0"/>
                      </a:lnTo>
                      <a:lnTo>
                        <a:pt x="321" y="0"/>
                      </a:lnTo>
                      <a:close/>
                      <a:moveTo>
                        <a:pt x="152" y="30"/>
                      </a:moveTo>
                      <a:lnTo>
                        <a:pt x="236" y="30"/>
                      </a:lnTo>
                      <a:lnTo>
                        <a:pt x="236" y="50"/>
                      </a:lnTo>
                      <a:lnTo>
                        <a:pt x="152" y="50"/>
                      </a:lnTo>
                      <a:lnTo>
                        <a:pt x="152" y="30"/>
                      </a:lnTo>
                      <a:close/>
                      <a:moveTo>
                        <a:pt x="103" y="593"/>
                      </a:moveTo>
                      <a:lnTo>
                        <a:pt x="103" y="593"/>
                      </a:lnTo>
                      <a:lnTo>
                        <a:pt x="103" y="595"/>
                      </a:lnTo>
                      <a:lnTo>
                        <a:pt x="101" y="596"/>
                      </a:lnTo>
                      <a:lnTo>
                        <a:pt x="98" y="597"/>
                      </a:lnTo>
                      <a:lnTo>
                        <a:pt x="97" y="597"/>
                      </a:lnTo>
                      <a:lnTo>
                        <a:pt x="58" y="597"/>
                      </a:lnTo>
                      <a:lnTo>
                        <a:pt x="58" y="597"/>
                      </a:lnTo>
                      <a:lnTo>
                        <a:pt x="55" y="597"/>
                      </a:lnTo>
                      <a:lnTo>
                        <a:pt x="54" y="596"/>
                      </a:lnTo>
                      <a:lnTo>
                        <a:pt x="53" y="595"/>
                      </a:lnTo>
                      <a:lnTo>
                        <a:pt x="51" y="593"/>
                      </a:lnTo>
                      <a:lnTo>
                        <a:pt x="51" y="572"/>
                      </a:lnTo>
                      <a:lnTo>
                        <a:pt x="51" y="572"/>
                      </a:lnTo>
                      <a:lnTo>
                        <a:pt x="53" y="569"/>
                      </a:lnTo>
                      <a:lnTo>
                        <a:pt x="54" y="568"/>
                      </a:lnTo>
                      <a:lnTo>
                        <a:pt x="55" y="566"/>
                      </a:lnTo>
                      <a:lnTo>
                        <a:pt x="58" y="566"/>
                      </a:lnTo>
                      <a:lnTo>
                        <a:pt x="97" y="566"/>
                      </a:lnTo>
                      <a:lnTo>
                        <a:pt x="97" y="566"/>
                      </a:lnTo>
                      <a:lnTo>
                        <a:pt x="98" y="566"/>
                      </a:lnTo>
                      <a:lnTo>
                        <a:pt x="101" y="568"/>
                      </a:lnTo>
                      <a:lnTo>
                        <a:pt x="103" y="569"/>
                      </a:lnTo>
                      <a:lnTo>
                        <a:pt x="103" y="572"/>
                      </a:lnTo>
                      <a:lnTo>
                        <a:pt x="103" y="593"/>
                      </a:lnTo>
                      <a:close/>
                      <a:moveTo>
                        <a:pt x="245" y="620"/>
                      </a:moveTo>
                      <a:lnTo>
                        <a:pt x="245" y="620"/>
                      </a:lnTo>
                      <a:lnTo>
                        <a:pt x="244" y="626"/>
                      </a:lnTo>
                      <a:lnTo>
                        <a:pt x="241" y="630"/>
                      </a:lnTo>
                      <a:lnTo>
                        <a:pt x="237" y="632"/>
                      </a:lnTo>
                      <a:lnTo>
                        <a:pt x="232" y="634"/>
                      </a:lnTo>
                      <a:lnTo>
                        <a:pt x="155" y="634"/>
                      </a:lnTo>
                      <a:lnTo>
                        <a:pt x="155" y="634"/>
                      </a:lnTo>
                      <a:lnTo>
                        <a:pt x="150" y="632"/>
                      </a:lnTo>
                      <a:lnTo>
                        <a:pt x="146" y="630"/>
                      </a:lnTo>
                      <a:lnTo>
                        <a:pt x="143" y="626"/>
                      </a:lnTo>
                      <a:lnTo>
                        <a:pt x="143" y="620"/>
                      </a:lnTo>
                      <a:lnTo>
                        <a:pt x="143" y="543"/>
                      </a:lnTo>
                      <a:lnTo>
                        <a:pt x="143" y="543"/>
                      </a:lnTo>
                      <a:lnTo>
                        <a:pt x="143" y="538"/>
                      </a:lnTo>
                      <a:lnTo>
                        <a:pt x="146" y="534"/>
                      </a:lnTo>
                      <a:lnTo>
                        <a:pt x="150" y="531"/>
                      </a:lnTo>
                      <a:lnTo>
                        <a:pt x="155" y="531"/>
                      </a:lnTo>
                      <a:lnTo>
                        <a:pt x="232" y="531"/>
                      </a:lnTo>
                      <a:lnTo>
                        <a:pt x="232" y="531"/>
                      </a:lnTo>
                      <a:lnTo>
                        <a:pt x="237" y="531"/>
                      </a:lnTo>
                      <a:lnTo>
                        <a:pt x="241" y="534"/>
                      </a:lnTo>
                      <a:lnTo>
                        <a:pt x="244" y="538"/>
                      </a:lnTo>
                      <a:lnTo>
                        <a:pt x="245" y="543"/>
                      </a:lnTo>
                      <a:lnTo>
                        <a:pt x="245" y="620"/>
                      </a:lnTo>
                      <a:close/>
                      <a:moveTo>
                        <a:pt x="336" y="593"/>
                      </a:moveTo>
                      <a:lnTo>
                        <a:pt x="336" y="593"/>
                      </a:lnTo>
                      <a:lnTo>
                        <a:pt x="334" y="595"/>
                      </a:lnTo>
                      <a:lnTo>
                        <a:pt x="334" y="596"/>
                      </a:lnTo>
                      <a:lnTo>
                        <a:pt x="330" y="597"/>
                      </a:lnTo>
                      <a:lnTo>
                        <a:pt x="291" y="597"/>
                      </a:lnTo>
                      <a:lnTo>
                        <a:pt x="291" y="597"/>
                      </a:lnTo>
                      <a:lnTo>
                        <a:pt x="289" y="597"/>
                      </a:lnTo>
                      <a:lnTo>
                        <a:pt x="287" y="596"/>
                      </a:lnTo>
                      <a:lnTo>
                        <a:pt x="286" y="595"/>
                      </a:lnTo>
                      <a:lnTo>
                        <a:pt x="285" y="593"/>
                      </a:lnTo>
                      <a:lnTo>
                        <a:pt x="285" y="572"/>
                      </a:lnTo>
                      <a:lnTo>
                        <a:pt x="285" y="572"/>
                      </a:lnTo>
                      <a:lnTo>
                        <a:pt x="286" y="569"/>
                      </a:lnTo>
                      <a:lnTo>
                        <a:pt x="287" y="568"/>
                      </a:lnTo>
                      <a:lnTo>
                        <a:pt x="289" y="566"/>
                      </a:lnTo>
                      <a:lnTo>
                        <a:pt x="291" y="566"/>
                      </a:lnTo>
                      <a:lnTo>
                        <a:pt x="330" y="566"/>
                      </a:lnTo>
                      <a:lnTo>
                        <a:pt x="330" y="566"/>
                      </a:lnTo>
                      <a:lnTo>
                        <a:pt x="334" y="568"/>
                      </a:lnTo>
                      <a:lnTo>
                        <a:pt x="334" y="569"/>
                      </a:lnTo>
                      <a:lnTo>
                        <a:pt x="336" y="572"/>
                      </a:lnTo>
                      <a:lnTo>
                        <a:pt x="336" y="593"/>
                      </a:lnTo>
                      <a:close/>
                      <a:moveTo>
                        <a:pt x="347" y="493"/>
                      </a:moveTo>
                      <a:lnTo>
                        <a:pt x="41" y="493"/>
                      </a:lnTo>
                      <a:lnTo>
                        <a:pt x="41" y="81"/>
                      </a:lnTo>
                      <a:lnTo>
                        <a:pt x="347" y="81"/>
                      </a:lnTo>
                      <a:lnTo>
                        <a:pt x="347" y="49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Rectangle 112"/>
                <p:cNvSpPr>
                  <a:spLocks noChangeArrowheads="1"/>
                </p:cNvSpPr>
                <p:nvPr/>
              </p:nvSpPr>
              <p:spPr bwMode="auto">
                <a:xfrm>
                  <a:off x="1610933" y="2808556"/>
                  <a:ext cx="61641" cy="61641"/>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46" name="Title 2"/>
          <p:cNvSpPr txBox="1">
            <a:spLocks/>
          </p:cNvSpPr>
          <p:nvPr/>
        </p:nvSpPr>
        <p:spPr bwMode="auto">
          <a:xfrm>
            <a:off x="437766" y="338080"/>
            <a:ext cx="8584700"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2700" smtClean="0"/>
              <a:t>Protecting Network, Cloud, Device for 5G, IoT, Beyond</a:t>
            </a:r>
            <a:br>
              <a:rPr lang="en-US" sz="2700" smtClean="0"/>
            </a:br>
            <a:r>
              <a:rPr lang="en-US" sz="2000" smtClean="0"/>
              <a:t>Security Gateway (SecGW) Solutions for Secure Mobile Backhaul</a:t>
            </a:r>
            <a:endParaRPr lang="en-US" sz="2000"/>
          </a:p>
        </p:txBody>
      </p:sp>
    </p:spTree>
    <p:extLst>
      <p:ext uri="{BB962C8B-B14F-4D97-AF65-F5344CB8AC3E}">
        <p14:creationId xmlns:p14="http://schemas.microsoft.com/office/powerpoint/2010/main" val="1594615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7766" y="341313"/>
            <a:ext cx="8640194" cy="731837"/>
          </a:xfrm>
        </p:spPr>
        <p:txBody>
          <a:bodyPr/>
          <a:lstStyle/>
          <a:p>
            <a:r>
              <a:rPr lang="en-US" sz="2700" dirty="0" smtClean="0"/>
              <a:t>Protecting Network, Cloud, Device for 5G, </a:t>
            </a:r>
            <a:r>
              <a:rPr lang="en-US" sz="2700" dirty="0" err="1" smtClean="0"/>
              <a:t>IoT</a:t>
            </a:r>
            <a:r>
              <a:rPr lang="en-US" sz="2700" dirty="0" smtClean="0"/>
              <a:t>, Beyond</a:t>
            </a:r>
            <a:r>
              <a:rPr lang="en-US" dirty="0" smtClean="0"/>
              <a:t/>
            </a:r>
            <a:br>
              <a:rPr lang="en-US" dirty="0" smtClean="0"/>
            </a:br>
            <a:r>
              <a:rPr lang="en-US" sz="2000" dirty="0" smtClean="0"/>
              <a:t>Cisco Umbrella for New Revenue Opportunities</a:t>
            </a:r>
            <a:endParaRPr lang="en-US" dirty="0"/>
          </a:p>
        </p:txBody>
      </p:sp>
      <p:graphicFrame>
        <p:nvGraphicFramePr>
          <p:cNvPr id="110" name="Chart 109"/>
          <p:cNvGraphicFramePr>
            <a:graphicFrameLocks/>
          </p:cNvGraphicFramePr>
          <p:nvPr>
            <p:extLst/>
          </p:nvPr>
        </p:nvGraphicFramePr>
        <p:xfrm>
          <a:off x="-498983" y="1053932"/>
          <a:ext cx="4440148" cy="2536824"/>
        </p:xfrm>
        <a:graphic>
          <a:graphicData uri="http://schemas.openxmlformats.org/drawingml/2006/chart">
            <c:chart xmlns:c="http://schemas.openxmlformats.org/drawingml/2006/chart" xmlns:r="http://schemas.openxmlformats.org/officeDocument/2006/relationships" r:id="rId3"/>
          </a:graphicData>
        </a:graphic>
      </p:graphicFrame>
      <p:grpSp>
        <p:nvGrpSpPr>
          <p:cNvPr id="111" name="Group 110"/>
          <p:cNvGrpSpPr/>
          <p:nvPr/>
        </p:nvGrpSpPr>
        <p:grpSpPr>
          <a:xfrm>
            <a:off x="1402380" y="2682351"/>
            <a:ext cx="637422" cy="638045"/>
            <a:chOff x="1130292" y="2381435"/>
            <a:chExt cx="774039" cy="774796"/>
          </a:xfrm>
        </p:grpSpPr>
        <p:sp>
          <p:nvSpPr>
            <p:cNvPr id="112" name="Freeform 111"/>
            <p:cNvSpPr>
              <a:spLocks noChangeAspect="1"/>
            </p:cNvSpPr>
            <p:nvPr/>
          </p:nvSpPr>
          <p:spPr bwMode="auto">
            <a:xfrm flipH="1">
              <a:off x="1130292" y="2692969"/>
              <a:ext cx="774039" cy="463262"/>
            </a:xfrm>
            <a:custGeom>
              <a:avLst/>
              <a:gdLst>
                <a:gd name="T0" fmla="*/ 699 w 799"/>
                <a:gd name="T1" fmla="*/ 264 h 464"/>
                <a:gd name="T2" fmla="*/ 698 w 799"/>
                <a:gd name="T3" fmla="*/ 264 h 464"/>
                <a:gd name="T4" fmla="*/ 699 w 799"/>
                <a:gd name="T5" fmla="*/ 253 h 464"/>
                <a:gd name="T6" fmla="*/ 635 w 799"/>
                <a:gd name="T7" fmla="*/ 190 h 464"/>
                <a:gd name="T8" fmla="*/ 623 w 799"/>
                <a:gd name="T9" fmla="*/ 191 h 464"/>
                <a:gd name="T10" fmla="*/ 629 w 799"/>
                <a:gd name="T11" fmla="*/ 153 h 464"/>
                <a:gd name="T12" fmla="*/ 457 w 799"/>
                <a:gd name="T13" fmla="*/ 0 h 464"/>
                <a:gd name="T14" fmla="*/ 288 w 799"/>
                <a:gd name="T15" fmla="*/ 124 h 464"/>
                <a:gd name="T16" fmla="*/ 229 w 799"/>
                <a:gd name="T17" fmla="*/ 102 h 464"/>
                <a:gd name="T18" fmla="*/ 138 w 799"/>
                <a:gd name="T19" fmla="*/ 194 h 464"/>
                <a:gd name="T20" fmla="*/ 138 w 799"/>
                <a:gd name="T21" fmla="*/ 199 h 464"/>
                <a:gd name="T22" fmla="*/ 133 w 799"/>
                <a:gd name="T23" fmla="*/ 198 h 464"/>
                <a:gd name="T24" fmla="*/ 0 w 799"/>
                <a:gd name="T25" fmla="*/ 331 h 464"/>
                <a:gd name="T26" fmla="*/ 133 w 799"/>
                <a:gd name="T27" fmla="*/ 464 h 464"/>
                <a:gd name="T28" fmla="*/ 699 w 799"/>
                <a:gd name="T29" fmla="*/ 464 h 464"/>
                <a:gd name="T30" fmla="*/ 799 w 799"/>
                <a:gd name="T31" fmla="*/ 364 h 464"/>
                <a:gd name="T32" fmla="*/ 699 w 799"/>
                <a:gd name="T33" fmla="*/ 2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9" h="464">
                  <a:moveTo>
                    <a:pt x="699" y="264"/>
                  </a:moveTo>
                  <a:cubicBezTo>
                    <a:pt x="698" y="264"/>
                    <a:pt x="698" y="264"/>
                    <a:pt x="698" y="264"/>
                  </a:cubicBezTo>
                  <a:cubicBezTo>
                    <a:pt x="698" y="260"/>
                    <a:pt x="699" y="257"/>
                    <a:pt x="699" y="253"/>
                  </a:cubicBezTo>
                  <a:cubicBezTo>
                    <a:pt x="699" y="218"/>
                    <a:pt x="670" y="190"/>
                    <a:pt x="635" y="190"/>
                  </a:cubicBezTo>
                  <a:cubicBezTo>
                    <a:pt x="631" y="190"/>
                    <a:pt x="627" y="190"/>
                    <a:pt x="623" y="191"/>
                  </a:cubicBezTo>
                  <a:cubicBezTo>
                    <a:pt x="627" y="179"/>
                    <a:pt x="629" y="166"/>
                    <a:pt x="629" y="153"/>
                  </a:cubicBezTo>
                  <a:cubicBezTo>
                    <a:pt x="629" y="69"/>
                    <a:pt x="552" y="0"/>
                    <a:pt x="457" y="0"/>
                  </a:cubicBezTo>
                  <a:cubicBezTo>
                    <a:pt x="373" y="0"/>
                    <a:pt x="304" y="53"/>
                    <a:pt x="288" y="124"/>
                  </a:cubicBezTo>
                  <a:cubicBezTo>
                    <a:pt x="272" y="110"/>
                    <a:pt x="252" y="102"/>
                    <a:pt x="229" y="102"/>
                  </a:cubicBezTo>
                  <a:cubicBezTo>
                    <a:pt x="179" y="102"/>
                    <a:pt x="138" y="143"/>
                    <a:pt x="138" y="194"/>
                  </a:cubicBezTo>
                  <a:cubicBezTo>
                    <a:pt x="138" y="195"/>
                    <a:pt x="138" y="197"/>
                    <a:pt x="138" y="199"/>
                  </a:cubicBezTo>
                  <a:cubicBezTo>
                    <a:pt x="133" y="198"/>
                    <a:pt x="133" y="198"/>
                    <a:pt x="133" y="198"/>
                  </a:cubicBezTo>
                  <a:cubicBezTo>
                    <a:pt x="59" y="198"/>
                    <a:pt x="0" y="257"/>
                    <a:pt x="0" y="331"/>
                  </a:cubicBezTo>
                  <a:cubicBezTo>
                    <a:pt x="0" y="404"/>
                    <a:pt x="59" y="464"/>
                    <a:pt x="133" y="464"/>
                  </a:cubicBezTo>
                  <a:cubicBezTo>
                    <a:pt x="699" y="464"/>
                    <a:pt x="699" y="464"/>
                    <a:pt x="699" y="464"/>
                  </a:cubicBezTo>
                  <a:cubicBezTo>
                    <a:pt x="754" y="464"/>
                    <a:pt x="799" y="419"/>
                    <a:pt x="799" y="364"/>
                  </a:cubicBezTo>
                  <a:cubicBezTo>
                    <a:pt x="799" y="309"/>
                    <a:pt x="754" y="264"/>
                    <a:pt x="699" y="264"/>
                  </a:cubicBezTo>
                  <a:close/>
                </a:path>
              </a:pathLst>
            </a:custGeom>
            <a:solidFill>
              <a:schemeClr val="bg1"/>
            </a:solidFill>
            <a:ln w="25400" cap="flat" cmpd="sng" algn="ctr">
              <a:noFill/>
              <a:prstDash val="solid"/>
            </a:ln>
            <a:effectLst/>
          </p:spPr>
          <p:txBody>
            <a:bodyPr lIns="162504" tIns="81251" rIns="162504" bIns="81251" rtlCol="0" anchor="ctr"/>
            <a:lstStyle/>
            <a:p>
              <a:pPr algn="ctr" defTabSz="685368">
                <a:defRPr/>
              </a:pPr>
              <a:endParaRPr lang="en-US" sz="1050" kern="0" dirty="0">
                <a:solidFill>
                  <a:srgbClr val="3366FF"/>
                </a:solidFill>
                <a:ea typeface="ＭＳ Ｐゴシック" pitchFamily="34" charset="-128"/>
              </a:endParaRPr>
            </a:p>
          </p:txBody>
        </p:sp>
        <p:sp>
          <p:nvSpPr>
            <p:cNvPr id="113" name="Rectangle 112"/>
            <p:cNvSpPr/>
            <p:nvPr/>
          </p:nvSpPr>
          <p:spPr>
            <a:xfrm>
              <a:off x="1181910" y="2381435"/>
              <a:ext cx="640094" cy="2993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t"/>
            <a:lstStyle/>
            <a:p>
              <a:pPr algn="ctr">
                <a:lnSpc>
                  <a:spcPct val="90000"/>
                </a:lnSpc>
              </a:pPr>
              <a:r>
                <a:rPr lang="en-US" sz="1100" b="1" dirty="0" smtClean="0">
                  <a:solidFill>
                    <a:srgbClr val="FFFFFF"/>
                  </a:solidFill>
                </a:rPr>
                <a:t>Cloud</a:t>
              </a:r>
              <a:endParaRPr lang="en-US" sz="1600" b="1" dirty="0">
                <a:solidFill>
                  <a:srgbClr val="FFFFFF"/>
                </a:solidFill>
              </a:endParaRPr>
            </a:p>
          </p:txBody>
        </p:sp>
      </p:grpSp>
      <p:grpSp>
        <p:nvGrpSpPr>
          <p:cNvPr id="114" name="Group 113"/>
          <p:cNvGrpSpPr/>
          <p:nvPr/>
        </p:nvGrpSpPr>
        <p:grpSpPr>
          <a:xfrm>
            <a:off x="1835816" y="1499265"/>
            <a:ext cx="638631" cy="663411"/>
            <a:chOff x="5044136" y="1846883"/>
            <a:chExt cx="988712" cy="1027076"/>
          </a:xfrm>
        </p:grpSpPr>
        <p:sp>
          <p:nvSpPr>
            <p:cNvPr id="115" name="Rectangle 114"/>
            <p:cNvSpPr/>
            <p:nvPr/>
          </p:nvSpPr>
          <p:spPr>
            <a:xfrm>
              <a:off x="5044136" y="1846883"/>
              <a:ext cx="988712" cy="36976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t"/>
            <a:lstStyle/>
            <a:p>
              <a:pPr algn="ctr">
                <a:lnSpc>
                  <a:spcPct val="90000"/>
                </a:lnSpc>
              </a:pPr>
              <a:r>
                <a:rPr lang="en-US" sz="1100" b="1" dirty="0" smtClean="0">
                  <a:solidFill>
                    <a:srgbClr val="FFFFFF"/>
                  </a:solidFill>
                </a:rPr>
                <a:t>Network</a:t>
              </a:r>
              <a:r>
                <a:rPr lang="en-US" sz="1600" b="1" dirty="0" smtClean="0">
                  <a:solidFill>
                    <a:srgbClr val="FFFFFF"/>
                  </a:solidFill>
                </a:rPr>
                <a:t/>
              </a:r>
              <a:br>
                <a:rPr lang="en-US" sz="1600" b="1" dirty="0" smtClean="0">
                  <a:solidFill>
                    <a:srgbClr val="FFFFFF"/>
                  </a:solidFill>
                </a:rPr>
              </a:br>
              <a:endParaRPr lang="en-US" sz="1600" b="1" dirty="0">
                <a:solidFill>
                  <a:srgbClr val="FFFFFF"/>
                </a:solidFill>
              </a:endParaRPr>
            </a:p>
          </p:txBody>
        </p:sp>
        <p:grpSp>
          <p:nvGrpSpPr>
            <p:cNvPr id="116" name="Group 115"/>
            <p:cNvGrpSpPr>
              <a:grpSpLocks noChangeAspect="1"/>
            </p:cNvGrpSpPr>
            <p:nvPr/>
          </p:nvGrpSpPr>
          <p:grpSpPr>
            <a:xfrm>
              <a:off x="5233550" y="2256405"/>
              <a:ext cx="617554" cy="617554"/>
              <a:chOff x="-1195388" y="1227138"/>
              <a:chExt cx="879475" cy="879475"/>
            </a:xfrm>
          </p:grpSpPr>
          <p:sp>
            <p:nvSpPr>
              <p:cNvPr id="117" name="Freeform 6"/>
              <p:cNvSpPr>
                <a:spLocks/>
              </p:cNvSpPr>
              <p:nvPr/>
            </p:nvSpPr>
            <p:spPr bwMode="auto">
              <a:xfrm>
                <a:off x="-604838" y="1598613"/>
                <a:ext cx="138113" cy="136525"/>
              </a:xfrm>
              <a:custGeom>
                <a:avLst/>
                <a:gdLst>
                  <a:gd name="T0" fmla="*/ 43 w 518"/>
                  <a:gd name="T1" fmla="*/ 0 h 518"/>
                  <a:gd name="T2" fmla="*/ 60 w 518"/>
                  <a:gd name="T3" fmla="*/ 0 h 518"/>
                  <a:gd name="T4" fmla="*/ 75 w 518"/>
                  <a:gd name="T5" fmla="*/ 5 h 518"/>
                  <a:gd name="T6" fmla="*/ 88 w 518"/>
                  <a:gd name="T7" fmla="*/ 14 h 518"/>
                  <a:gd name="T8" fmla="*/ 504 w 518"/>
                  <a:gd name="T9" fmla="*/ 430 h 518"/>
                  <a:gd name="T10" fmla="*/ 514 w 518"/>
                  <a:gd name="T11" fmla="*/ 443 h 518"/>
                  <a:gd name="T12" fmla="*/ 518 w 518"/>
                  <a:gd name="T13" fmla="*/ 459 h 518"/>
                  <a:gd name="T14" fmla="*/ 518 w 518"/>
                  <a:gd name="T15" fmla="*/ 475 h 518"/>
                  <a:gd name="T16" fmla="*/ 514 w 518"/>
                  <a:gd name="T17" fmla="*/ 490 h 518"/>
                  <a:gd name="T18" fmla="*/ 504 w 518"/>
                  <a:gd name="T19" fmla="*/ 503 h 518"/>
                  <a:gd name="T20" fmla="*/ 493 w 518"/>
                  <a:gd name="T21" fmla="*/ 512 h 518"/>
                  <a:gd name="T22" fmla="*/ 481 w 518"/>
                  <a:gd name="T23" fmla="*/ 516 h 518"/>
                  <a:gd name="T24" fmla="*/ 468 w 518"/>
                  <a:gd name="T25" fmla="*/ 518 h 518"/>
                  <a:gd name="T26" fmla="*/ 454 w 518"/>
                  <a:gd name="T27" fmla="*/ 516 h 518"/>
                  <a:gd name="T28" fmla="*/ 441 w 518"/>
                  <a:gd name="T29" fmla="*/ 512 h 518"/>
                  <a:gd name="T30" fmla="*/ 431 w 518"/>
                  <a:gd name="T31" fmla="*/ 503 h 518"/>
                  <a:gd name="T32" fmla="*/ 15 w 518"/>
                  <a:gd name="T33" fmla="*/ 88 h 518"/>
                  <a:gd name="T34" fmla="*/ 5 w 518"/>
                  <a:gd name="T35" fmla="*/ 74 h 518"/>
                  <a:gd name="T36" fmla="*/ 0 w 518"/>
                  <a:gd name="T37" fmla="*/ 59 h 518"/>
                  <a:gd name="T38" fmla="*/ 0 w 518"/>
                  <a:gd name="T39" fmla="*/ 42 h 518"/>
                  <a:gd name="T40" fmla="*/ 5 w 518"/>
                  <a:gd name="T41" fmla="*/ 27 h 518"/>
                  <a:gd name="T42" fmla="*/ 15 w 518"/>
                  <a:gd name="T43" fmla="*/ 14 h 518"/>
                  <a:gd name="T44" fmla="*/ 28 w 518"/>
                  <a:gd name="T45" fmla="*/ 5 h 518"/>
                  <a:gd name="T46" fmla="*/ 43 w 518"/>
                  <a:gd name="T47"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8" h="518">
                    <a:moveTo>
                      <a:pt x="43" y="0"/>
                    </a:moveTo>
                    <a:lnTo>
                      <a:pt x="60" y="0"/>
                    </a:lnTo>
                    <a:lnTo>
                      <a:pt x="75" y="5"/>
                    </a:lnTo>
                    <a:lnTo>
                      <a:pt x="88" y="14"/>
                    </a:lnTo>
                    <a:lnTo>
                      <a:pt x="504" y="430"/>
                    </a:lnTo>
                    <a:lnTo>
                      <a:pt x="514" y="443"/>
                    </a:lnTo>
                    <a:lnTo>
                      <a:pt x="518" y="459"/>
                    </a:lnTo>
                    <a:lnTo>
                      <a:pt x="518" y="475"/>
                    </a:lnTo>
                    <a:lnTo>
                      <a:pt x="514" y="490"/>
                    </a:lnTo>
                    <a:lnTo>
                      <a:pt x="504" y="503"/>
                    </a:lnTo>
                    <a:lnTo>
                      <a:pt x="493" y="512"/>
                    </a:lnTo>
                    <a:lnTo>
                      <a:pt x="481" y="516"/>
                    </a:lnTo>
                    <a:lnTo>
                      <a:pt x="468" y="518"/>
                    </a:lnTo>
                    <a:lnTo>
                      <a:pt x="454" y="516"/>
                    </a:lnTo>
                    <a:lnTo>
                      <a:pt x="441" y="512"/>
                    </a:lnTo>
                    <a:lnTo>
                      <a:pt x="431" y="503"/>
                    </a:lnTo>
                    <a:lnTo>
                      <a:pt x="15" y="88"/>
                    </a:lnTo>
                    <a:lnTo>
                      <a:pt x="5" y="74"/>
                    </a:lnTo>
                    <a:lnTo>
                      <a:pt x="0" y="59"/>
                    </a:lnTo>
                    <a:lnTo>
                      <a:pt x="0" y="42"/>
                    </a:lnTo>
                    <a:lnTo>
                      <a:pt x="5" y="27"/>
                    </a:lnTo>
                    <a:lnTo>
                      <a:pt x="15" y="14"/>
                    </a:lnTo>
                    <a:lnTo>
                      <a:pt x="28" y="5"/>
                    </a:lnTo>
                    <a:lnTo>
                      <a:pt x="4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118" name="Freeform 7"/>
              <p:cNvSpPr>
                <a:spLocks/>
              </p:cNvSpPr>
              <p:nvPr/>
            </p:nvSpPr>
            <p:spPr bwMode="auto">
              <a:xfrm>
                <a:off x="-1044576" y="1598613"/>
                <a:ext cx="138113" cy="136525"/>
              </a:xfrm>
              <a:custGeom>
                <a:avLst/>
                <a:gdLst>
                  <a:gd name="T0" fmla="*/ 459 w 519"/>
                  <a:gd name="T1" fmla="*/ 0 h 518"/>
                  <a:gd name="T2" fmla="*/ 475 w 519"/>
                  <a:gd name="T3" fmla="*/ 0 h 518"/>
                  <a:gd name="T4" fmla="*/ 491 w 519"/>
                  <a:gd name="T5" fmla="*/ 5 h 518"/>
                  <a:gd name="T6" fmla="*/ 504 w 519"/>
                  <a:gd name="T7" fmla="*/ 14 h 518"/>
                  <a:gd name="T8" fmla="*/ 514 w 519"/>
                  <a:gd name="T9" fmla="*/ 27 h 518"/>
                  <a:gd name="T10" fmla="*/ 519 w 519"/>
                  <a:gd name="T11" fmla="*/ 42 h 518"/>
                  <a:gd name="T12" fmla="*/ 519 w 519"/>
                  <a:gd name="T13" fmla="*/ 59 h 518"/>
                  <a:gd name="T14" fmla="*/ 514 w 519"/>
                  <a:gd name="T15" fmla="*/ 74 h 518"/>
                  <a:gd name="T16" fmla="*/ 504 w 519"/>
                  <a:gd name="T17" fmla="*/ 88 h 518"/>
                  <a:gd name="T18" fmla="*/ 89 w 519"/>
                  <a:gd name="T19" fmla="*/ 503 h 518"/>
                  <a:gd name="T20" fmla="*/ 78 w 519"/>
                  <a:gd name="T21" fmla="*/ 512 h 518"/>
                  <a:gd name="T22" fmla="*/ 64 w 519"/>
                  <a:gd name="T23" fmla="*/ 516 h 518"/>
                  <a:gd name="T24" fmla="*/ 52 w 519"/>
                  <a:gd name="T25" fmla="*/ 518 h 518"/>
                  <a:gd name="T26" fmla="*/ 39 w 519"/>
                  <a:gd name="T27" fmla="*/ 516 h 518"/>
                  <a:gd name="T28" fmla="*/ 26 w 519"/>
                  <a:gd name="T29" fmla="*/ 512 h 518"/>
                  <a:gd name="T30" fmla="*/ 15 w 519"/>
                  <a:gd name="T31" fmla="*/ 503 h 518"/>
                  <a:gd name="T32" fmla="*/ 5 w 519"/>
                  <a:gd name="T33" fmla="*/ 490 h 518"/>
                  <a:gd name="T34" fmla="*/ 0 w 519"/>
                  <a:gd name="T35" fmla="*/ 475 h 518"/>
                  <a:gd name="T36" fmla="*/ 0 w 519"/>
                  <a:gd name="T37" fmla="*/ 459 h 518"/>
                  <a:gd name="T38" fmla="*/ 5 w 519"/>
                  <a:gd name="T39" fmla="*/ 443 h 518"/>
                  <a:gd name="T40" fmla="*/ 15 w 519"/>
                  <a:gd name="T41" fmla="*/ 430 h 518"/>
                  <a:gd name="T42" fmla="*/ 431 w 519"/>
                  <a:gd name="T43" fmla="*/ 14 h 518"/>
                  <a:gd name="T44" fmla="*/ 444 w 519"/>
                  <a:gd name="T45" fmla="*/ 5 h 518"/>
                  <a:gd name="T46" fmla="*/ 459 w 519"/>
                  <a:gd name="T47"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518">
                    <a:moveTo>
                      <a:pt x="459" y="0"/>
                    </a:moveTo>
                    <a:lnTo>
                      <a:pt x="475" y="0"/>
                    </a:lnTo>
                    <a:lnTo>
                      <a:pt x="491" y="5"/>
                    </a:lnTo>
                    <a:lnTo>
                      <a:pt x="504" y="14"/>
                    </a:lnTo>
                    <a:lnTo>
                      <a:pt x="514" y="27"/>
                    </a:lnTo>
                    <a:lnTo>
                      <a:pt x="519" y="42"/>
                    </a:lnTo>
                    <a:lnTo>
                      <a:pt x="519" y="59"/>
                    </a:lnTo>
                    <a:lnTo>
                      <a:pt x="514" y="74"/>
                    </a:lnTo>
                    <a:lnTo>
                      <a:pt x="504" y="88"/>
                    </a:lnTo>
                    <a:lnTo>
                      <a:pt x="89" y="503"/>
                    </a:lnTo>
                    <a:lnTo>
                      <a:pt x="78" y="512"/>
                    </a:lnTo>
                    <a:lnTo>
                      <a:pt x="64" y="516"/>
                    </a:lnTo>
                    <a:lnTo>
                      <a:pt x="52" y="518"/>
                    </a:lnTo>
                    <a:lnTo>
                      <a:pt x="39" y="516"/>
                    </a:lnTo>
                    <a:lnTo>
                      <a:pt x="26" y="512"/>
                    </a:lnTo>
                    <a:lnTo>
                      <a:pt x="15" y="503"/>
                    </a:lnTo>
                    <a:lnTo>
                      <a:pt x="5" y="490"/>
                    </a:lnTo>
                    <a:lnTo>
                      <a:pt x="0" y="475"/>
                    </a:lnTo>
                    <a:lnTo>
                      <a:pt x="0" y="459"/>
                    </a:lnTo>
                    <a:lnTo>
                      <a:pt x="5" y="443"/>
                    </a:lnTo>
                    <a:lnTo>
                      <a:pt x="15" y="430"/>
                    </a:lnTo>
                    <a:lnTo>
                      <a:pt x="431" y="14"/>
                    </a:lnTo>
                    <a:lnTo>
                      <a:pt x="444" y="5"/>
                    </a:lnTo>
                    <a:lnTo>
                      <a:pt x="45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119" name="Freeform 8"/>
              <p:cNvSpPr>
                <a:spLocks/>
              </p:cNvSpPr>
              <p:nvPr/>
            </p:nvSpPr>
            <p:spPr bwMode="auto">
              <a:xfrm>
                <a:off x="-879476" y="1900238"/>
                <a:ext cx="247650" cy="26988"/>
              </a:xfrm>
              <a:custGeom>
                <a:avLst/>
                <a:gdLst>
                  <a:gd name="T0" fmla="*/ 52 w 935"/>
                  <a:gd name="T1" fmla="*/ 0 h 103"/>
                  <a:gd name="T2" fmla="*/ 883 w 935"/>
                  <a:gd name="T3" fmla="*/ 0 h 103"/>
                  <a:gd name="T4" fmla="*/ 900 w 935"/>
                  <a:gd name="T5" fmla="*/ 2 h 103"/>
                  <a:gd name="T6" fmla="*/ 914 w 935"/>
                  <a:gd name="T7" fmla="*/ 10 h 103"/>
                  <a:gd name="T8" fmla="*/ 926 w 935"/>
                  <a:gd name="T9" fmla="*/ 21 h 103"/>
                  <a:gd name="T10" fmla="*/ 933 w 935"/>
                  <a:gd name="T11" fmla="*/ 35 h 103"/>
                  <a:gd name="T12" fmla="*/ 935 w 935"/>
                  <a:gd name="T13" fmla="*/ 51 h 103"/>
                  <a:gd name="T14" fmla="*/ 933 w 935"/>
                  <a:gd name="T15" fmla="*/ 68 h 103"/>
                  <a:gd name="T16" fmla="*/ 926 w 935"/>
                  <a:gd name="T17" fmla="*/ 82 h 103"/>
                  <a:gd name="T18" fmla="*/ 914 w 935"/>
                  <a:gd name="T19" fmla="*/ 93 h 103"/>
                  <a:gd name="T20" fmla="*/ 900 w 935"/>
                  <a:gd name="T21" fmla="*/ 101 h 103"/>
                  <a:gd name="T22" fmla="*/ 883 w 935"/>
                  <a:gd name="T23" fmla="*/ 103 h 103"/>
                  <a:gd name="T24" fmla="*/ 52 w 935"/>
                  <a:gd name="T25" fmla="*/ 103 h 103"/>
                  <a:gd name="T26" fmla="*/ 36 w 935"/>
                  <a:gd name="T27" fmla="*/ 101 h 103"/>
                  <a:gd name="T28" fmla="*/ 22 w 935"/>
                  <a:gd name="T29" fmla="*/ 93 h 103"/>
                  <a:gd name="T30" fmla="*/ 11 w 935"/>
                  <a:gd name="T31" fmla="*/ 82 h 103"/>
                  <a:gd name="T32" fmla="*/ 3 w 935"/>
                  <a:gd name="T33" fmla="*/ 68 h 103"/>
                  <a:gd name="T34" fmla="*/ 0 w 935"/>
                  <a:gd name="T35" fmla="*/ 51 h 103"/>
                  <a:gd name="T36" fmla="*/ 3 w 935"/>
                  <a:gd name="T37" fmla="*/ 35 h 103"/>
                  <a:gd name="T38" fmla="*/ 11 w 935"/>
                  <a:gd name="T39" fmla="*/ 21 h 103"/>
                  <a:gd name="T40" fmla="*/ 22 w 935"/>
                  <a:gd name="T41" fmla="*/ 10 h 103"/>
                  <a:gd name="T42" fmla="*/ 36 w 935"/>
                  <a:gd name="T43" fmla="*/ 2 h 103"/>
                  <a:gd name="T44" fmla="*/ 52 w 935"/>
                  <a:gd name="T4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5" h="103">
                    <a:moveTo>
                      <a:pt x="52" y="0"/>
                    </a:moveTo>
                    <a:lnTo>
                      <a:pt x="883" y="0"/>
                    </a:lnTo>
                    <a:lnTo>
                      <a:pt x="900" y="2"/>
                    </a:lnTo>
                    <a:lnTo>
                      <a:pt x="914" y="10"/>
                    </a:lnTo>
                    <a:lnTo>
                      <a:pt x="926" y="21"/>
                    </a:lnTo>
                    <a:lnTo>
                      <a:pt x="933" y="35"/>
                    </a:lnTo>
                    <a:lnTo>
                      <a:pt x="935" y="51"/>
                    </a:lnTo>
                    <a:lnTo>
                      <a:pt x="933" y="68"/>
                    </a:lnTo>
                    <a:lnTo>
                      <a:pt x="926" y="82"/>
                    </a:lnTo>
                    <a:lnTo>
                      <a:pt x="914" y="93"/>
                    </a:lnTo>
                    <a:lnTo>
                      <a:pt x="900" y="101"/>
                    </a:lnTo>
                    <a:lnTo>
                      <a:pt x="883" y="103"/>
                    </a:lnTo>
                    <a:lnTo>
                      <a:pt x="52" y="103"/>
                    </a:lnTo>
                    <a:lnTo>
                      <a:pt x="36" y="101"/>
                    </a:lnTo>
                    <a:lnTo>
                      <a:pt x="22" y="93"/>
                    </a:lnTo>
                    <a:lnTo>
                      <a:pt x="11" y="82"/>
                    </a:lnTo>
                    <a:lnTo>
                      <a:pt x="3" y="68"/>
                    </a:lnTo>
                    <a:lnTo>
                      <a:pt x="0" y="51"/>
                    </a:lnTo>
                    <a:lnTo>
                      <a:pt x="3" y="35"/>
                    </a:lnTo>
                    <a:lnTo>
                      <a:pt x="11" y="21"/>
                    </a:lnTo>
                    <a:lnTo>
                      <a:pt x="22" y="10"/>
                    </a:lnTo>
                    <a:lnTo>
                      <a:pt x="36" y="2"/>
                    </a:lnTo>
                    <a:lnTo>
                      <a:pt x="5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120" name="Freeform 9"/>
              <p:cNvSpPr>
                <a:spLocks noEditPoints="1"/>
              </p:cNvSpPr>
              <p:nvPr/>
            </p:nvSpPr>
            <p:spPr bwMode="auto">
              <a:xfrm>
                <a:off x="-892176" y="1227138"/>
                <a:ext cx="274638" cy="330200"/>
              </a:xfrm>
              <a:custGeom>
                <a:avLst/>
                <a:gdLst>
                  <a:gd name="T0" fmla="*/ 207 w 1039"/>
                  <a:gd name="T1" fmla="*/ 207 h 1248"/>
                  <a:gd name="T2" fmla="*/ 207 w 1039"/>
                  <a:gd name="T3" fmla="*/ 831 h 1248"/>
                  <a:gd name="T4" fmla="*/ 831 w 1039"/>
                  <a:gd name="T5" fmla="*/ 831 h 1248"/>
                  <a:gd name="T6" fmla="*/ 831 w 1039"/>
                  <a:gd name="T7" fmla="*/ 207 h 1248"/>
                  <a:gd name="T8" fmla="*/ 207 w 1039"/>
                  <a:gd name="T9" fmla="*/ 207 h 1248"/>
                  <a:gd name="T10" fmla="*/ 103 w 1039"/>
                  <a:gd name="T11" fmla="*/ 0 h 1248"/>
                  <a:gd name="T12" fmla="*/ 934 w 1039"/>
                  <a:gd name="T13" fmla="*/ 0 h 1248"/>
                  <a:gd name="T14" fmla="*/ 959 w 1039"/>
                  <a:gd name="T15" fmla="*/ 2 h 1248"/>
                  <a:gd name="T16" fmla="*/ 980 w 1039"/>
                  <a:gd name="T17" fmla="*/ 10 h 1248"/>
                  <a:gd name="T18" fmla="*/ 999 w 1039"/>
                  <a:gd name="T19" fmla="*/ 23 h 1248"/>
                  <a:gd name="T20" fmla="*/ 1016 w 1039"/>
                  <a:gd name="T21" fmla="*/ 39 h 1248"/>
                  <a:gd name="T22" fmla="*/ 1028 w 1039"/>
                  <a:gd name="T23" fmla="*/ 58 h 1248"/>
                  <a:gd name="T24" fmla="*/ 1036 w 1039"/>
                  <a:gd name="T25" fmla="*/ 81 h 1248"/>
                  <a:gd name="T26" fmla="*/ 1039 w 1039"/>
                  <a:gd name="T27" fmla="*/ 104 h 1248"/>
                  <a:gd name="T28" fmla="*/ 1039 w 1039"/>
                  <a:gd name="T29" fmla="*/ 1143 h 1248"/>
                  <a:gd name="T30" fmla="*/ 1036 w 1039"/>
                  <a:gd name="T31" fmla="*/ 1167 h 1248"/>
                  <a:gd name="T32" fmla="*/ 1028 w 1039"/>
                  <a:gd name="T33" fmla="*/ 1189 h 1248"/>
                  <a:gd name="T34" fmla="*/ 1016 w 1039"/>
                  <a:gd name="T35" fmla="*/ 1208 h 1248"/>
                  <a:gd name="T36" fmla="*/ 999 w 1039"/>
                  <a:gd name="T37" fmla="*/ 1224 h 1248"/>
                  <a:gd name="T38" fmla="*/ 980 w 1039"/>
                  <a:gd name="T39" fmla="*/ 1236 h 1248"/>
                  <a:gd name="T40" fmla="*/ 959 w 1039"/>
                  <a:gd name="T41" fmla="*/ 1245 h 1248"/>
                  <a:gd name="T42" fmla="*/ 934 w 1039"/>
                  <a:gd name="T43" fmla="*/ 1248 h 1248"/>
                  <a:gd name="T44" fmla="*/ 103 w 1039"/>
                  <a:gd name="T45" fmla="*/ 1248 h 1248"/>
                  <a:gd name="T46" fmla="*/ 80 w 1039"/>
                  <a:gd name="T47" fmla="*/ 1245 h 1248"/>
                  <a:gd name="T48" fmla="*/ 58 w 1039"/>
                  <a:gd name="T49" fmla="*/ 1236 h 1248"/>
                  <a:gd name="T50" fmla="*/ 38 w 1039"/>
                  <a:gd name="T51" fmla="*/ 1224 h 1248"/>
                  <a:gd name="T52" fmla="*/ 22 w 1039"/>
                  <a:gd name="T53" fmla="*/ 1208 h 1248"/>
                  <a:gd name="T54" fmla="*/ 10 w 1039"/>
                  <a:gd name="T55" fmla="*/ 1189 h 1248"/>
                  <a:gd name="T56" fmla="*/ 2 w 1039"/>
                  <a:gd name="T57" fmla="*/ 1167 h 1248"/>
                  <a:gd name="T58" fmla="*/ 0 w 1039"/>
                  <a:gd name="T59" fmla="*/ 1143 h 1248"/>
                  <a:gd name="T60" fmla="*/ 0 w 1039"/>
                  <a:gd name="T61" fmla="*/ 104 h 1248"/>
                  <a:gd name="T62" fmla="*/ 2 w 1039"/>
                  <a:gd name="T63" fmla="*/ 81 h 1248"/>
                  <a:gd name="T64" fmla="*/ 10 w 1039"/>
                  <a:gd name="T65" fmla="*/ 58 h 1248"/>
                  <a:gd name="T66" fmla="*/ 22 w 1039"/>
                  <a:gd name="T67" fmla="*/ 39 h 1248"/>
                  <a:gd name="T68" fmla="*/ 38 w 1039"/>
                  <a:gd name="T69" fmla="*/ 23 h 1248"/>
                  <a:gd name="T70" fmla="*/ 58 w 1039"/>
                  <a:gd name="T71" fmla="*/ 10 h 1248"/>
                  <a:gd name="T72" fmla="*/ 80 w 1039"/>
                  <a:gd name="T73" fmla="*/ 2 h 1248"/>
                  <a:gd name="T74" fmla="*/ 103 w 1039"/>
                  <a:gd name="T75" fmla="*/ 0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9" h="1248">
                    <a:moveTo>
                      <a:pt x="207" y="207"/>
                    </a:moveTo>
                    <a:lnTo>
                      <a:pt x="207" y="831"/>
                    </a:lnTo>
                    <a:lnTo>
                      <a:pt x="831" y="831"/>
                    </a:lnTo>
                    <a:lnTo>
                      <a:pt x="831" y="207"/>
                    </a:lnTo>
                    <a:lnTo>
                      <a:pt x="207" y="207"/>
                    </a:lnTo>
                    <a:close/>
                    <a:moveTo>
                      <a:pt x="103" y="0"/>
                    </a:moveTo>
                    <a:lnTo>
                      <a:pt x="934" y="0"/>
                    </a:lnTo>
                    <a:lnTo>
                      <a:pt x="959" y="2"/>
                    </a:lnTo>
                    <a:lnTo>
                      <a:pt x="980" y="10"/>
                    </a:lnTo>
                    <a:lnTo>
                      <a:pt x="999" y="23"/>
                    </a:lnTo>
                    <a:lnTo>
                      <a:pt x="1016" y="39"/>
                    </a:lnTo>
                    <a:lnTo>
                      <a:pt x="1028" y="58"/>
                    </a:lnTo>
                    <a:lnTo>
                      <a:pt x="1036" y="81"/>
                    </a:lnTo>
                    <a:lnTo>
                      <a:pt x="1039" y="104"/>
                    </a:lnTo>
                    <a:lnTo>
                      <a:pt x="1039" y="1143"/>
                    </a:lnTo>
                    <a:lnTo>
                      <a:pt x="1036" y="1167"/>
                    </a:lnTo>
                    <a:lnTo>
                      <a:pt x="1028" y="1189"/>
                    </a:lnTo>
                    <a:lnTo>
                      <a:pt x="1016" y="1208"/>
                    </a:lnTo>
                    <a:lnTo>
                      <a:pt x="999" y="1224"/>
                    </a:lnTo>
                    <a:lnTo>
                      <a:pt x="980" y="1236"/>
                    </a:lnTo>
                    <a:lnTo>
                      <a:pt x="959" y="1245"/>
                    </a:lnTo>
                    <a:lnTo>
                      <a:pt x="934" y="1248"/>
                    </a:lnTo>
                    <a:lnTo>
                      <a:pt x="103" y="1248"/>
                    </a:lnTo>
                    <a:lnTo>
                      <a:pt x="80" y="1245"/>
                    </a:lnTo>
                    <a:lnTo>
                      <a:pt x="58" y="1236"/>
                    </a:lnTo>
                    <a:lnTo>
                      <a:pt x="38" y="1224"/>
                    </a:lnTo>
                    <a:lnTo>
                      <a:pt x="22" y="1208"/>
                    </a:lnTo>
                    <a:lnTo>
                      <a:pt x="10" y="1189"/>
                    </a:lnTo>
                    <a:lnTo>
                      <a:pt x="2" y="1167"/>
                    </a:lnTo>
                    <a:lnTo>
                      <a:pt x="0" y="1143"/>
                    </a:lnTo>
                    <a:lnTo>
                      <a:pt x="0" y="104"/>
                    </a:lnTo>
                    <a:lnTo>
                      <a:pt x="2" y="81"/>
                    </a:lnTo>
                    <a:lnTo>
                      <a:pt x="10" y="58"/>
                    </a:lnTo>
                    <a:lnTo>
                      <a:pt x="22" y="39"/>
                    </a:lnTo>
                    <a:lnTo>
                      <a:pt x="38" y="23"/>
                    </a:lnTo>
                    <a:lnTo>
                      <a:pt x="58" y="10"/>
                    </a:lnTo>
                    <a:lnTo>
                      <a:pt x="80" y="2"/>
                    </a:lnTo>
                    <a:lnTo>
                      <a:pt x="10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121" name="Freeform 10"/>
              <p:cNvSpPr>
                <a:spLocks noEditPoints="1"/>
              </p:cNvSpPr>
              <p:nvPr/>
            </p:nvSpPr>
            <p:spPr bwMode="auto">
              <a:xfrm>
                <a:off x="-1195388" y="1776413"/>
                <a:ext cx="274638" cy="330200"/>
              </a:xfrm>
              <a:custGeom>
                <a:avLst/>
                <a:gdLst>
                  <a:gd name="T0" fmla="*/ 208 w 1039"/>
                  <a:gd name="T1" fmla="*/ 208 h 1247"/>
                  <a:gd name="T2" fmla="*/ 208 w 1039"/>
                  <a:gd name="T3" fmla="*/ 831 h 1247"/>
                  <a:gd name="T4" fmla="*/ 831 w 1039"/>
                  <a:gd name="T5" fmla="*/ 831 h 1247"/>
                  <a:gd name="T6" fmla="*/ 831 w 1039"/>
                  <a:gd name="T7" fmla="*/ 208 h 1247"/>
                  <a:gd name="T8" fmla="*/ 208 w 1039"/>
                  <a:gd name="T9" fmla="*/ 208 h 1247"/>
                  <a:gd name="T10" fmla="*/ 104 w 1039"/>
                  <a:gd name="T11" fmla="*/ 0 h 1247"/>
                  <a:gd name="T12" fmla="*/ 936 w 1039"/>
                  <a:gd name="T13" fmla="*/ 0 h 1247"/>
                  <a:gd name="T14" fmla="*/ 959 w 1039"/>
                  <a:gd name="T15" fmla="*/ 3 h 1247"/>
                  <a:gd name="T16" fmla="*/ 981 w 1039"/>
                  <a:gd name="T17" fmla="*/ 10 h 1247"/>
                  <a:gd name="T18" fmla="*/ 1001 w 1039"/>
                  <a:gd name="T19" fmla="*/ 22 h 1247"/>
                  <a:gd name="T20" fmla="*/ 1017 w 1039"/>
                  <a:gd name="T21" fmla="*/ 38 h 1247"/>
                  <a:gd name="T22" fmla="*/ 1029 w 1039"/>
                  <a:gd name="T23" fmla="*/ 58 h 1247"/>
                  <a:gd name="T24" fmla="*/ 1036 w 1039"/>
                  <a:gd name="T25" fmla="*/ 80 h 1247"/>
                  <a:gd name="T26" fmla="*/ 1039 w 1039"/>
                  <a:gd name="T27" fmla="*/ 103 h 1247"/>
                  <a:gd name="T28" fmla="*/ 1039 w 1039"/>
                  <a:gd name="T29" fmla="*/ 1143 h 1247"/>
                  <a:gd name="T30" fmla="*/ 1036 w 1039"/>
                  <a:gd name="T31" fmla="*/ 1167 h 1247"/>
                  <a:gd name="T32" fmla="*/ 1029 w 1039"/>
                  <a:gd name="T33" fmla="*/ 1189 h 1247"/>
                  <a:gd name="T34" fmla="*/ 1017 w 1039"/>
                  <a:gd name="T35" fmla="*/ 1208 h 1247"/>
                  <a:gd name="T36" fmla="*/ 1001 w 1039"/>
                  <a:gd name="T37" fmla="*/ 1224 h 1247"/>
                  <a:gd name="T38" fmla="*/ 981 w 1039"/>
                  <a:gd name="T39" fmla="*/ 1237 h 1247"/>
                  <a:gd name="T40" fmla="*/ 959 w 1039"/>
                  <a:gd name="T41" fmla="*/ 1244 h 1247"/>
                  <a:gd name="T42" fmla="*/ 936 w 1039"/>
                  <a:gd name="T43" fmla="*/ 1247 h 1247"/>
                  <a:gd name="T44" fmla="*/ 104 w 1039"/>
                  <a:gd name="T45" fmla="*/ 1247 h 1247"/>
                  <a:gd name="T46" fmla="*/ 80 w 1039"/>
                  <a:gd name="T47" fmla="*/ 1244 h 1247"/>
                  <a:gd name="T48" fmla="*/ 58 w 1039"/>
                  <a:gd name="T49" fmla="*/ 1237 h 1247"/>
                  <a:gd name="T50" fmla="*/ 39 w 1039"/>
                  <a:gd name="T51" fmla="*/ 1224 h 1247"/>
                  <a:gd name="T52" fmla="*/ 23 w 1039"/>
                  <a:gd name="T53" fmla="*/ 1208 h 1247"/>
                  <a:gd name="T54" fmla="*/ 10 w 1039"/>
                  <a:gd name="T55" fmla="*/ 1189 h 1247"/>
                  <a:gd name="T56" fmla="*/ 3 w 1039"/>
                  <a:gd name="T57" fmla="*/ 1167 h 1247"/>
                  <a:gd name="T58" fmla="*/ 0 w 1039"/>
                  <a:gd name="T59" fmla="*/ 1143 h 1247"/>
                  <a:gd name="T60" fmla="*/ 0 w 1039"/>
                  <a:gd name="T61" fmla="*/ 103 h 1247"/>
                  <a:gd name="T62" fmla="*/ 3 w 1039"/>
                  <a:gd name="T63" fmla="*/ 80 h 1247"/>
                  <a:gd name="T64" fmla="*/ 10 w 1039"/>
                  <a:gd name="T65" fmla="*/ 58 h 1247"/>
                  <a:gd name="T66" fmla="*/ 23 w 1039"/>
                  <a:gd name="T67" fmla="*/ 38 h 1247"/>
                  <a:gd name="T68" fmla="*/ 39 w 1039"/>
                  <a:gd name="T69" fmla="*/ 22 h 1247"/>
                  <a:gd name="T70" fmla="*/ 58 w 1039"/>
                  <a:gd name="T71" fmla="*/ 10 h 1247"/>
                  <a:gd name="T72" fmla="*/ 80 w 1039"/>
                  <a:gd name="T73" fmla="*/ 3 h 1247"/>
                  <a:gd name="T74" fmla="*/ 104 w 1039"/>
                  <a:gd name="T75" fmla="*/ 0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9" h="1247">
                    <a:moveTo>
                      <a:pt x="208" y="208"/>
                    </a:moveTo>
                    <a:lnTo>
                      <a:pt x="208" y="831"/>
                    </a:lnTo>
                    <a:lnTo>
                      <a:pt x="831" y="831"/>
                    </a:lnTo>
                    <a:lnTo>
                      <a:pt x="831" y="208"/>
                    </a:lnTo>
                    <a:lnTo>
                      <a:pt x="208" y="208"/>
                    </a:lnTo>
                    <a:close/>
                    <a:moveTo>
                      <a:pt x="104" y="0"/>
                    </a:moveTo>
                    <a:lnTo>
                      <a:pt x="936" y="0"/>
                    </a:lnTo>
                    <a:lnTo>
                      <a:pt x="959" y="3"/>
                    </a:lnTo>
                    <a:lnTo>
                      <a:pt x="981" y="10"/>
                    </a:lnTo>
                    <a:lnTo>
                      <a:pt x="1001" y="22"/>
                    </a:lnTo>
                    <a:lnTo>
                      <a:pt x="1017" y="38"/>
                    </a:lnTo>
                    <a:lnTo>
                      <a:pt x="1029" y="58"/>
                    </a:lnTo>
                    <a:lnTo>
                      <a:pt x="1036" y="80"/>
                    </a:lnTo>
                    <a:lnTo>
                      <a:pt x="1039" y="103"/>
                    </a:lnTo>
                    <a:lnTo>
                      <a:pt x="1039" y="1143"/>
                    </a:lnTo>
                    <a:lnTo>
                      <a:pt x="1036" y="1167"/>
                    </a:lnTo>
                    <a:lnTo>
                      <a:pt x="1029" y="1189"/>
                    </a:lnTo>
                    <a:lnTo>
                      <a:pt x="1017" y="1208"/>
                    </a:lnTo>
                    <a:lnTo>
                      <a:pt x="1001" y="1224"/>
                    </a:lnTo>
                    <a:lnTo>
                      <a:pt x="981" y="1237"/>
                    </a:lnTo>
                    <a:lnTo>
                      <a:pt x="959" y="1244"/>
                    </a:lnTo>
                    <a:lnTo>
                      <a:pt x="936" y="1247"/>
                    </a:lnTo>
                    <a:lnTo>
                      <a:pt x="104" y="1247"/>
                    </a:lnTo>
                    <a:lnTo>
                      <a:pt x="80" y="1244"/>
                    </a:lnTo>
                    <a:lnTo>
                      <a:pt x="58" y="1237"/>
                    </a:lnTo>
                    <a:lnTo>
                      <a:pt x="39" y="1224"/>
                    </a:lnTo>
                    <a:lnTo>
                      <a:pt x="23" y="1208"/>
                    </a:lnTo>
                    <a:lnTo>
                      <a:pt x="10" y="1189"/>
                    </a:lnTo>
                    <a:lnTo>
                      <a:pt x="3" y="1167"/>
                    </a:lnTo>
                    <a:lnTo>
                      <a:pt x="0" y="1143"/>
                    </a:lnTo>
                    <a:lnTo>
                      <a:pt x="0" y="103"/>
                    </a:lnTo>
                    <a:lnTo>
                      <a:pt x="3" y="80"/>
                    </a:lnTo>
                    <a:lnTo>
                      <a:pt x="10" y="58"/>
                    </a:lnTo>
                    <a:lnTo>
                      <a:pt x="23" y="38"/>
                    </a:lnTo>
                    <a:lnTo>
                      <a:pt x="39" y="22"/>
                    </a:lnTo>
                    <a:lnTo>
                      <a:pt x="58" y="10"/>
                    </a:lnTo>
                    <a:lnTo>
                      <a:pt x="80" y="3"/>
                    </a:lnTo>
                    <a:lnTo>
                      <a:pt x="10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122" name="Freeform 11"/>
              <p:cNvSpPr>
                <a:spLocks noEditPoints="1"/>
              </p:cNvSpPr>
              <p:nvPr/>
            </p:nvSpPr>
            <p:spPr bwMode="auto">
              <a:xfrm>
                <a:off x="-590551" y="1776413"/>
                <a:ext cx="274638" cy="330200"/>
              </a:xfrm>
              <a:custGeom>
                <a:avLst/>
                <a:gdLst>
                  <a:gd name="T0" fmla="*/ 209 w 1040"/>
                  <a:gd name="T1" fmla="*/ 208 h 1247"/>
                  <a:gd name="T2" fmla="*/ 209 w 1040"/>
                  <a:gd name="T3" fmla="*/ 831 h 1247"/>
                  <a:gd name="T4" fmla="*/ 832 w 1040"/>
                  <a:gd name="T5" fmla="*/ 831 h 1247"/>
                  <a:gd name="T6" fmla="*/ 832 w 1040"/>
                  <a:gd name="T7" fmla="*/ 208 h 1247"/>
                  <a:gd name="T8" fmla="*/ 209 w 1040"/>
                  <a:gd name="T9" fmla="*/ 208 h 1247"/>
                  <a:gd name="T10" fmla="*/ 105 w 1040"/>
                  <a:gd name="T11" fmla="*/ 0 h 1247"/>
                  <a:gd name="T12" fmla="*/ 936 w 1040"/>
                  <a:gd name="T13" fmla="*/ 0 h 1247"/>
                  <a:gd name="T14" fmla="*/ 959 w 1040"/>
                  <a:gd name="T15" fmla="*/ 3 h 1247"/>
                  <a:gd name="T16" fmla="*/ 982 w 1040"/>
                  <a:gd name="T17" fmla="*/ 10 h 1247"/>
                  <a:gd name="T18" fmla="*/ 1001 w 1040"/>
                  <a:gd name="T19" fmla="*/ 22 h 1247"/>
                  <a:gd name="T20" fmla="*/ 1017 w 1040"/>
                  <a:gd name="T21" fmla="*/ 38 h 1247"/>
                  <a:gd name="T22" fmla="*/ 1030 w 1040"/>
                  <a:gd name="T23" fmla="*/ 58 h 1247"/>
                  <a:gd name="T24" fmla="*/ 1038 w 1040"/>
                  <a:gd name="T25" fmla="*/ 80 h 1247"/>
                  <a:gd name="T26" fmla="*/ 1040 w 1040"/>
                  <a:gd name="T27" fmla="*/ 103 h 1247"/>
                  <a:gd name="T28" fmla="*/ 1040 w 1040"/>
                  <a:gd name="T29" fmla="*/ 1143 h 1247"/>
                  <a:gd name="T30" fmla="*/ 1038 w 1040"/>
                  <a:gd name="T31" fmla="*/ 1167 h 1247"/>
                  <a:gd name="T32" fmla="*/ 1030 w 1040"/>
                  <a:gd name="T33" fmla="*/ 1189 h 1247"/>
                  <a:gd name="T34" fmla="*/ 1017 w 1040"/>
                  <a:gd name="T35" fmla="*/ 1208 h 1247"/>
                  <a:gd name="T36" fmla="*/ 1001 w 1040"/>
                  <a:gd name="T37" fmla="*/ 1224 h 1247"/>
                  <a:gd name="T38" fmla="*/ 982 w 1040"/>
                  <a:gd name="T39" fmla="*/ 1237 h 1247"/>
                  <a:gd name="T40" fmla="*/ 959 w 1040"/>
                  <a:gd name="T41" fmla="*/ 1244 h 1247"/>
                  <a:gd name="T42" fmla="*/ 936 w 1040"/>
                  <a:gd name="T43" fmla="*/ 1247 h 1247"/>
                  <a:gd name="T44" fmla="*/ 105 w 1040"/>
                  <a:gd name="T45" fmla="*/ 1247 h 1247"/>
                  <a:gd name="T46" fmla="*/ 81 w 1040"/>
                  <a:gd name="T47" fmla="*/ 1244 h 1247"/>
                  <a:gd name="T48" fmla="*/ 59 w 1040"/>
                  <a:gd name="T49" fmla="*/ 1237 h 1247"/>
                  <a:gd name="T50" fmla="*/ 40 w 1040"/>
                  <a:gd name="T51" fmla="*/ 1224 h 1247"/>
                  <a:gd name="T52" fmla="*/ 24 w 1040"/>
                  <a:gd name="T53" fmla="*/ 1208 h 1247"/>
                  <a:gd name="T54" fmla="*/ 12 w 1040"/>
                  <a:gd name="T55" fmla="*/ 1189 h 1247"/>
                  <a:gd name="T56" fmla="*/ 4 w 1040"/>
                  <a:gd name="T57" fmla="*/ 1167 h 1247"/>
                  <a:gd name="T58" fmla="*/ 0 w 1040"/>
                  <a:gd name="T59" fmla="*/ 1143 h 1247"/>
                  <a:gd name="T60" fmla="*/ 0 w 1040"/>
                  <a:gd name="T61" fmla="*/ 103 h 1247"/>
                  <a:gd name="T62" fmla="*/ 4 w 1040"/>
                  <a:gd name="T63" fmla="*/ 80 h 1247"/>
                  <a:gd name="T64" fmla="*/ 12 w 1040"/>
                  <a:gd name="T65" fmla="*/ 58 h 1247"/>
                  <a:gd name="T66" fmla="*/ 24 w 1040"/>
                  <a:gd name="T67" fmla="*/ 38 h 1247"/>
                  <a:gd name="T68" fmla="*/ 40 w 1040"/>
                  <a:gd name="T69" fmla="*/ 22 h 1247"/>
                  <a:gd name="T70" fmla="*/ 59 w 1040"/>
                  <a:gd name="T71" fmla="*/ 10 h 1247"/>
                  <a:gd name="T72" fmla="*/ 81 w 1040"/>
                  <a:gd name="T73" fmla="*/ 3 h 1247"/>
                  <a:gd name="T74" fmla="*/ 105 w 1040"/>
                  <a:gd name="T75" fmla="*/ 0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0" h="1247">
                    <a:moveTo>
                      <a:pt x="209" y="208"/>
                    </a:moveTo>
                    <a:lnTo>
                      <a:pt x="209" y="831"/>
                    </a:lnTo>
                    <a:lnTo>
                      <a:pt x="832" y="831"/>
                    </a:lnTo>
                    <a:lnTo>
                      <a:pt x="832" y="208"/>
                    </a:lnTo>
                    <a:lnTo>
                      <a:pt x="209" y="208"/>
                    </a:lnTo>
                    <a:close/>
                    <a:moveTo>
                      <a:pt x="105" y="0"/>
                    </a:moveTo>
                    <a:lnTo>
                      <a:pt x="936" y="0"/>
                    </a:lnTo>
                    <a:lnTo>
                      <a:pt x="959" y="3"/>
                    </a:lnTo>
                    <a:lnTo>
                      <a:pt x="982" y="10"/>
                    </a:lnTo>
                    <a:lnTo>
                      <a:pt x="1001" y="22"/>
                    </a:lnTo>
                    <a:lnTo>
                      <a:pt x="1017" y="38"/>
                    </a:lnTo>
                    <a:lnTo>
                      <a:pt x="1030" y="58"/>
                    </a:lnTo>
                    <a:lnTo>
                      <a:pt x="1038" y="80"/>
                    </a:lnTo>
                    <a:lnTo>
                      <a:pt x="1040" y="103"/>
                    </a:lnTo>
                    <a:lnTo>
                      <a:pt x="1040" y="1143"/>
                    </a:lnTo>
                    <a:lnTo>
                      <a:pt x="1038" y="1167"/>
                    </a:lnTo>
                    <a:lnTo>
                      <a:pt x="1030" y="1189"/>
                    </a:lnTo>
                    <a:lnTo>
                      <a:pt x="1017" y="1208"/>
                    </a:lnTo>
                    <a:lnTo>
                      <a:pt x="1001" y="1224"/>
                    </a:lnTo>
                    <a:lnTo>
                      <a:pt x="982" y="1237"/>
                    </a:lnTo>
                    <a:lnTo>
                      <a:pt x="959" y="1244"/>
                    </a:lnTo>
                    <a:lnTo>
                      <a:pt x="936" y="1247"/>
                    </a:lnTo>
                    <a:lnTo>
                      <a:pt x="105" y="1247"/>
                    </a:lnTo>
                    <a:lnTo>
                      <a:pt x="81" y="1244"/>
                    </a:lnTo>
                    <a:lnTo>
                      <a:pt x="59" y="1237"/>
                    </a:lnTo>
                    <a:lnTo>
                      <a:pt x="40" y="1224"/>
                    </a:lnTo>
                    <a:lnTo>
                      <a:pt x="24" y="1208"/>
                    </a:lnTo>
                    <a:lnTo>
                      <a:pt x="12" y="1189"/>
                    </a:lnTo>
                    <a:lnTo>
                      <a:pt x="4" y="1167"/>
                    </a:lnTo>
                    <a:lnTo>
                      <a:pt x="0" y="1143"/>
                    </a:lnTo>
                    <a:lnTo>
                      <a:pt x="0" y="103"/>
                    </a:lnTo>
                    <a:lnTo>
                      <a:pt x="4" y="80"/>
                    </a:lnTo>
                    <a:lnTo>
                      <a:pt x="12" y="58"/>
                    </a:lnTo>
                    <a:lnTo>
                      <a:pt x="24" y="38"/>
                    </a:lnTo>
                    <a:lnTo>
                      <a:pt x="40" y="22"/>
                    </a:lnTo>
                    <a:lnTo>
                      <a:pt x="59" y="10"/>
                    </a:lnTo>
                    <a:lnTo>
                      <a:pt x="81" y="3"/>
                    </a:lnTo>
                    <a:lnTo>
                      <a:pt x="1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grpSp>
      </p:grpSp>
      <p:grpSp>
        <p:nvGrpSpPr>
          <p:cNvPr id="123" name="Group 122"/>
          <p:cNvGrpSpPr/>
          <p:nvPr/>
        </p:nvGrpSpPr>
        <p:grpSpPr>
          <a:xfrm>
            <a:off x="1034400" y="1486161"/>
            <a:ext cx="488411" cy="713181"/>
            <a:chOff x="1185951" y="1740754"/>
            <a:chExt cx="756145" cy="1104129"/>
          </a:xfrm>
        </p:grpSpPr>
        <p:sp>
          <p:nvSpPr>
            <p:cNvPr id="124" name="Rectangle 123"/>
            <p:cNvSpPr/>
            <p:nvPr/>
          </p:nvSpPr>
          <p:spPr>
            <a:xfrm>
              <a:off x="1185951" y="1740754"/>
              <a:ext cx="756145" cy="38984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t"/>
            <a:lstStyle/>
            <a:p>
              <a:pPr algn="ctr">
                <a:lnSpc>
                  <a:spcPct val="90000"/>
                </a:lnSpc>
              </a:pPr>
              <a:r>
                <a:rPr lang="en-US" sz="1100" b="1" dirty="0" smtClean="0">
                  <a:solidFill>
                    <a:srgbClr val="FFFFFF"/>
                  </a:solidFill>
                </a:rPr>
                <a:t>Device</a:t>
              </a:r>
              <a:endParaRPr lang="en-US" sz="1400" b="1" dirty="0">
                <a:solidFill>
                  <a:srgbClr val="FFFFFF"/>
                </a:solidFill>
              </a:endParaRPr>
            </a:p>
          </p:txBody>
        </p:sp>
        <p:grpSp>
          <p:nvGrpSpPr>
            <p:cNvPr id="125" name="Group 124"/>
            <p:cNvGrpSpPr/>
            <p:nvPr/>
          </p:nvGrpSpPr>
          <p:grpSpPr>
            <a:xfrm>
              <a:off x="1242676" y="2233071"/>
              <a:ext cx="642775" cy="611812"/>
              <a:chOff x="1419352" y="2052874"/>
              <a:chExt cx="995436" cy="890856"/>
            </a:xfrm>
          </p:grpSpPr>
          <p:sp>
            <p:nvSpPr>
              <p:cNvPr id="126" name="Freeform 113"/>
              <p:cNvSpPr>
                <a:spLocks noEditPoints="1"/>
              </p:cNvSpPr>
              <p:nvPr/>
            </p:nvSpPr>
            <p:spPr bwMode="auto">
              <a:xfrm>
                <a:off x="1760636" y="2052874"/>
                <a:ext cx="654152" cy="863195"/>
              </a:xfrm>
              <a:custGeom>
                <a:avLst/>
                <a:gdLst>
                  <a:gd name="T0" fmla="*/ 424 w 464"/>
                  <a:gd name="T1" fmla="*/ 0 h 626"/>
                  <a:gd name="T2" fmla="*/ 39 w 464"/>
                  <a:gd name="T3" fmla="*/ 0 h 626"/>
                  <a:gd name="T4" fmla="*/ 39 w 464"/>
                  <a:gd name="T5" fmla="*/ 0 h 626"/>
                  <a:gd name="T6" fmla="*/ 31 w 464"/>
                  <a:gd name="T7" fmla="*/ 2 h 626"/>
                  <a:gd name="T8" fmla="*/ 23 w 464"/>
                  <a:gd name="T9" fmla="*/ 3 h 626"/>
                  <a:gd name="T10" fmla="*/ 16 w 464"/>
                  <a:gd name="T11" fmla="*/ 7 h 626"/>
                  <a:gd name="T12" fmla="*/ 10 w 464"/>
                  <a:gd name="T13" fmla="*/ 13 h 626"/>
                  <a:gd name="T14" fmla="*/ 6 w 464"/>
                  <a:gd name="T15" fmla="*/ 18 h 626"/>
                  <a:gd name="T16" fmla="*/ 2 w 464"/>
                  <a:gd name="T17" fmla="*/ 25 h 626"/>
                  <a:gd name="T18" fmla="*/ 0 w 464"/>
                  <a:gd name="T19" fmla="*/ 31 h 626"/>
                  <a:gd name="T20" fmla="*/ 0 w 464"/>
                  <a:gd name="T21" fmla="*/ 40 h 626"/>
                  <a:gd name="T22" fmla="*/ 0 w 464"/>
                  <a:gd name="T23" fmla="*/ 587 h 626"/>
                  <a:gd name="T24" fmla="*/ 0 w 464"/>
                  <a:gd name="T25" fmla="*/ 587 h 626"/>
                  <a:gd name="T26" fmla="*/ 0 w 464"/>
                  <a:gd name="T27" fmla="*/ 595 h 626"/>
                  <a:gd name="T28" fmla="*/ 2 w 464"/>
                  <a:gd name="T29" fmla="*/ 602 h 626"/>
                  <a:gd name="T30" fmla="*/ 6 w 464"/>
                  <a:gd name="T31" fmla="*/ 609 h 626"/>
                  <a:gd name="T32" fmla="*/ 10 w 464"/>
                  <a:gd name="T33" fmla="*/ 615 h 626"/>
                  <a:gd name="T34" fmla="*/ 16 w 464"/>
                  <a:gd name="T35" fmla="*/ 619 h 626"/>
                  <a:gd name="T36" fmla="*/ 23 w 464"/>
                  <a:gd name="T37" fmla="*/ 623 h 626"/>
                  <a:gd name="T38" fmla="*/ 31 w 464"/>
                  <a:gd name="T39" fmla="*/ 626 h 626"/>
                  <a:gd name="T40" fmla="*/ 39 w 464"/>
                  <a:gd name="T41" fmla="*/ 626 h 626"/>
                  <a:gd name="T42" fmla="*/ 424 w 464"/>
                  <a:gd name="T43" fmla="*/ 626 h 626"/>
                  <a:gd name="T44" fmla="*/ 424 w 464"/>
                  <a:gd name="T45" fmla="*/ 626 h 626"/>
                  <a:gd name="T46" fmla="*/ 433 w 464"/>
                  <a:gd name="T47" fmla="*/ 626 h 626"/>
                  <a:gd name="T48" fmla="*/ 439 w 464"/>
                  <a:gd name="T49" fmla="*/ 623 h 626"/>
                  <a:gd name="T50" fmla="*/ 446 w 464"/>
                  <a:gd name="T51" fmla="*/ 619 h 626"/>
                  <a:gd name="T52" fmla="*/ 453 w 464"/>
                  <a:gd name="T53" fmla="*/ 615 h 626"/>
                  <a:gd name="T54" fmla="*/ 457 w 464"/>
                  <a:gd name="T55" fmla="*/ 609 h 626"/>
                  <a:gd name="T56" fmla="*/ 461 w 464"/>
                  <a:gd name="T57" fmla="*/ 602 h 626"/>
                  <a:gd name="T58" fmla="*/ 464 w 464"/>
                  <a:gd name="T59" fmla="*/ 595 h 626"/>
                  <a:gd name="T60" fmla="*/ 464 w 464"/>
                  <a:gd name="T61" fmla="*/ 587 h 626"/>
                  <a:gd name="T62" fmla="*/ 464 w 464"/>
                  <a:gd name="T63" fmla="*/ 40 h 626"/>
                  <a:gd name="T64" fmla="*/ 464 w 464"/>
                  <a:gd name="T65" fmla="*/ 40 h 626"/>
                  <a:gd name="T66" fmla="*/ 464 w 464"/>
                  <a:gd name="T67" fmla="*/ 31 h 626"/>
                  <a:gd name="T68" fmla="*/ 461 w 464"/>
                  <a:gd name="T69" fmla="*/ 25 h 626"/>
                  <a:gd name="T70" fmla="*/ 457 w 464"/>
                  <a:gd name="T71" fmla="*/ 18 h 626"/>
                  <a:gd name="T72" fmla="*/ 453 w 464"/>
                  <a:gd name="T73" fmla="*/ 13 h 626"/>
                  <a:gd name="T74" fmla="*/ 446 w 464"/>
                  <a:gd name="T75" fmla="*/ 7 h 626"/>
                  <a:gd name="T76" fmla="*/ 439 w 464"/>
                  <a:gd name="T77" fmla="*/ 3 h 626"/>
                  <a:gd name="T78" fmla="*/ 433 w 464"/>
                  <a:gd name="T79" fmla="*/ 2 h 626"/>
                  <a:gd name="T80" fmla="*/ 424 w 464"/>
                  <a:gd name="T81" fmla="*/ 0 h 626"/>
                  <a:gd name="T82" fmla="*/ 424 w 464"/>
                  <a:gd name="T83" fmla="*/ 0 h 626"/>
                  <a:gd name="T84" fmla="*/ 135 w 464"/>
                  <a:gd name="T85" fmla="*/ 587 h 626"/>
                  <a:gd name="T86" fmla="*/ 86 w 464"/>
                  <a:gd name="T87" fmla="*/ 587 h 626"/>
                  <a:gd name="T88" fmla="*/ 86 w 464"/>
                  <a:gd name="T89" fmla="*/ 571 h 626"/>
                  <a:gd name="T90" fmla="*/ 135 w 464"/>
                  <a:gd name="T91" fmla="*/ 571 h 626"/>
                  <a:gd name="T92" fmla="*/ 135 w 464"/>
                  <a:gd name="T93" fmla="*/ 587 h 626"/>
                  <a:gd name="T94" fmla="*/ 271 w 464"/>
                  <a:gd name="T95" fmla="*/ 591 h 626"/>
                  <a:gd name="T96" fmla="*/ 192 w 464"/>
                  <a:gd name="T97" fmla="*/ 591 h 626"/>
                  <a:gd name="T98" fmla="*/ 192 w 464"/>
                  <a:gd name="T99" fmla="*/ 567 h 626"/>
                  <a:gd name="T100" fmla="*/ 271 w 464"/>
                  <a:gd name="T101" fmla="*/ 567 h 626"/>
                  <a:gd name="T102" fmla="*/ 271 w 464"/>
                  <a:gd name="T103" fmla="*/ 591 h 626"/>
                  <a:gd name="T104" fmla="*/ 377 w 464"/>
                  <a:gd name="T105" fmla="*/ 587 h 626"/>
                  <a:gd name="T106" fmla="*/ 329 w 464"/>
                  <a:gd name="T107" fmla="*/ 587 h 626"/>
                  <a:gd name="T108" fmla="*/ 329 w 464"/>
                  <a:gd name="T109" fmla="*/ 571 h 626"/>
                  <a:gd name="T110" fmla="*/ 377 w 464"/>
                  <a:gd name="T111" fmla="*/ 571 h 626"/>
                  <a:gd name="T112" fmla="*/ 377 w 464"/>
                  <a:gd name="T113" fmla="*/ 587 h 626"/>
                  <a:gd name="T114" fmla="*/ 412 w 464"/>
                  <a:gd name="T115" fmla="*/ 534 h 626"/>
                  <a:gd name="T116" fmla="*/ 51 w 464"/>
                  <a:gd name="T117" fmla="*/ 534 h 626"/>
                  <a:gd name="T118" fmla="*/ 51 w 464"/>
                  <a:gd name="T119" fmla="*/ 56 h 626"/>
                  <a:gd name="T120" fmla="*/ 412 w 464"/>
                  <a:gd name="T121" fmla="*/ 56 h 626"/>
                  <a:gd name="T122" fmla="*/ 412 w 464"/>
                  <a:gd name="T123" fmla="*/ 53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4" h="626">
                    <a:moveTo>
                      <a:pt x="424" y="0"/>
                    </a:moveTo>
                    <a:lnTo>
                      <a:pt x="39" y="0"/>
                    </a:lnTo>
                    <a:lnTo>
                      <a:pt x="39" y="0"/>
                    </a:lnTo>
                    <a:lnTo>
                      <a:pt x="31" y="2"/>
                    </a:lnTo>
                    <a:lnTo>
                      <a:pt x="23" y="3"/>
                    </a:lnTo>
                    <a:lnTo>
                      <a:pt x="16" y="7"/>
                    </a:lnTo>
                    <a:lnTo>
                      <a:pt x="10" y="13"/>
                    </a:lnTo>
                    <a:lnTo>
                      <a:pt x="6" y="18"/>
                    </a:lnTo>
                    <a:lnTo>
                      <a:pt x="2" y="25"/>
                    </a:lnTo>
                    <a:lnTo>
                      <a:pt x="0" y="31"/>
                    </a:lnTo>
                    <a:lnTo>
                      <a:pt x="0" y="40"/>
                    </a:lnTo>
                    <a:lnTo>
                      <a:pt x="0" y="587"/>
                    </a:lnTo>
                    <a:lnTo>
                      <a:pt x="0" y="587"/>
                    </a:lnTo>
                    <a:lnTo>
                      <a:pt x="0" y="595"/>
                    </a:lnTo>
                    <a:lnTo>
                      <a:pt x="2" y="602"/>
                    </a:lnTo>
                    <a:lnTo>
                      <a:pt x="6" y="609"/>
                    </a:lnTo>
                    <a:lnTo>
                      <a:pt x="10" y="615"/>
                    </a:lnTo>
                    <a:lnTo>
                      <a:pt x="16" y="619"/>
                    </a:lnTo>
                    <a:lnTo>
                      <a:pt x="23" y="623"/>
                    </a:lnTo>
                    <a:lnTo>
                      <a:pt x="31" y="626"/>
                    </a:lnTo>
                    <a:lnTo>
                      <a:pt x="39" y="626"/>
                    </a:lnTo>
                    <a:lnTo>
                      <a:pt x="424" y="626"/>
                    </a:lnTo>
                    <a:lnTo>
                      <a:pt x="424" y="626"/>
                    </a:lnTo>
                    <a:lnTo>
                      <a:pt x="433" y="626"/>
                    </a:lnTo>
                    <a:lnTo>
                      <a:pt x="439" y="623"/>
                    </a:lnTo>
                    <a:lnTo>
                      <a:pt x="446" y="619"/>
                    </a:lnTo>
                    <a:lnTo>
                      <a:pt x="453" y="615"/>
                    </a:lnTo>
                    <a:lnTo>
                      <a:pt x="457" y="609"/>
                    </a:lnTo>
                    <a:lnTo>
                      <a:pt x="461" y="602"/>
                    </a:lnTo>
                    <a:lnTo>
                      <a:pt x="464" y="595"/>
                    </a:lnTo>
                    <a:lnTo>
                      <a:pt x="464" y="587"/>
                    </a:lnTo>
                    <a:lnTo>
                      <a:pt x="464" y="40"/>
                    </a:lnTo>
                    <a:lnTo>
                      <a:pt x="464" y="40"/>
                    </a:lnTo>
                    <a:lnTo>
                      <a:pt x="464" y="31"/>
                    </a:lnTo>
                    <a:lnTo>
                      <a:pt x="461" y="25"/>
                    </a:lnTo>
                    <a:lnTo>
                      <a:pt x="457" y="18"/>
                    </a:lnTo>
                    <a:lnTo>
                      <a:pt x="453" y="13"/>
                    </a:lnTo>
                    <a:lnTo>
                      <a:pt x="446" y="7"/>
                    </a:lnTo>
                    <a:lnTo>
                      <a:pt x="439" y="3"/>
                    </a:lnTo>
                    <a:lnTo>
                      <a:pt x="433" y="2"/>
                    </a:lnTo>
                    <a:lnTo>
                      <a:pt x="424" y="0"/>
                    </a:lnTo>
                    <a:lnTo>
                      <a:pt x="424" y="0"/>
                    </a:lnTo>
                    <a:close/>
                    <a:moveTo>
                      <a:pt x="135" y="587"/>
                    </a:moveTo>
                    <a:lnTo>
                      <a:pt x="86" y="587"/>
                    </a:lnTo>
                    <a:lnTo>
                      <a:pt x="86" y="571"/>
                    </a:lnTo>
                    <a:lnTo>
                      <a:pt x="135" y="571"/>
                    </a:lnTo>
                    <a:lnTo>
                      <a:pt x="135" y="587"/>
                    </a:lnTo>
                    <a:close/>
                    <a:moveTo>
                      <a:pt x="271" y="591"/>
                    </a:moveTo>
                    <a:lnTo>
                      <a:pt x="192" y="591"/>
                    </a:lnTo>
                    <a:lnTo>
                      <a:pt x="192" y="567"/>
                    </a:lnTo>
                    <a:lnTo>
                      <a:pt x="271" y="567"/>
                    </a:lnTo>
                    <a:lnTo>
                      <a:pt x="271" y="591"/>
                    </a:lnTo>
                    <a:close/>
                    <a:moveTo>
                      <a:pt x="377" y="587"/>
                    </a:moveTo>
                    <a:lnTo>
                      <a:pt x="329" y="587"/>
                    </a:lnTo>
                    <a:lnTo>
                      <a:pt x="329" y="571"/>
                    </a:lnTo>
                    <a:lnTo>
                      <a:pt x="377" y="571"/>
                    </a:lnTo>
                    <a:lnTo>
                      <a:pt x="377" y="587"/>
                    </a:lnTo>
                    <a:close/>
                    <a:moveTo>
                      <a:pt x="412" y="534"/>
                    </a:moveTo>
                    <a:lnTo>
                      <a:pt x="51" y="534"/>
                    </a:lnTo>
                    <a:lnTo>
                      <a:pt x="51" y="56"/>
                    </a:lnTo>
                    <a:lnTo>
                      <a:pt x="412" y="56"/>
                    </a:lnTo>
                    <a:lnTo>
                      <a:pt x="412" y="53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7" name="Rounded Rectangle 126"/>
              <p:cNvSpPr/>
              <p:nvPr/>
            </p:nvSpPr>
            <p:spPr>
              <a:xfrm>
                <a:off x="1419352" y="2253821"/>
                <a:ext cx="437593" cy="689909"/>
              </a:xfrm>
              <a:prstGeom prst="roundRect">
                <a:avLst>
                  <a:gd name="adj" fmla="val 18337"/>
                </a:avLst>
              </a:prstGeom>
              <a:solidFill>
                <a:srgbClr val="57B8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sp>
            <p:nvSpPr>
              <p:cNvPr id="128" name="Freeform 127"/>
              <p:cNvSpPr>
                <a:spLocks noEditPoints="1"/>
              </p:cNvSpPr>
              <p:nvPr/>
            </p:nvSpPr>
            <p:spPr bwMode="auto">
              <a:xfrm>
                <a:off x="1455179" y="2279107"/>
                <a:ext cx="373695" cy="641448"/>
              </a:xfrm>
              <a:custGeom>
                <a:avLst/>
                <a:gdLst>
                  <a:gd name="T0" fmla="*/ 66 w 387"/>
                  <a:gd name="T1" fmla="*/ 0 h 666"/>
                  <a:gd name="T2" fmla="*/ 53 w 387"/>
                  <a:gd name="T3" fmla="*/ 1 h 666"/>
                  <a:gd name="T4" fmla="*/ 30 w 387"/>
                  <a:gd name="T5" fmla="*/ 12 h 666"/>
                  <a:gd name="T6" fmla="*/ 12 w 387"/>
                  <a:gd name="T7" fmla="*/ 34 h 666"/>
                  <a:gd name="T8" fmla="*/ 1 w 387"/>
                  <a:gd name="T9" fmla="*/ 61 h 666"/>
                  <a:gd name="T10" fmla="*/ 0 w 387"/>
                  <a:gd name="T11" fmla="*/ 588 h 666"/>
                  <a:gd name="T12" fmla="*/ 1 w 387"/>
                  <a:gd name="T13" fmla="*/ 604 h 666"/>
                  <a:gd name="T14" fmla="*/ 12 w 387"/>
                  <a:gd name="T15" fmla="*/ 632 h 666"/>
                  <a:gd name="T16" fmla="*/ 30 w 387"/>
                  <a:gd name="T17" fmla="*/ 653 h 666"/>
                  <a:gd name="T18" fmla="*/ 53 w 387"/>
                  <a:gd name="T19" fmla="*/ 665 h 666"/>
                  <a:gd name="T20" fmla="*/ 321 w 387"/>
                  <a:gd name="T21" fmla="*/ 666 h 666"/>
                  <a:gd name="T22" fmla="*/ 334 w 387"/>
                  <a:gd name="T23" fmla="*/ 665 h 666"/>
                  <a:gd name="T24" fmla="*/ 359 w 387"/>
                  <a:gd name="T25" fmla="*/ 653 h 666"/>
                  <a:gd name="T26" fmla="*/ 376 w 387"/>
                  <a:gd name="T27" fmla="*/ 632 h 666"/>
                  <a:gd name="T28" fmla="*/ 386 w 387"/>
                  <a:gd name="T29" fmla="*/ 604 h 666"/>
                  <a:gd name="T30" fmla="*/ 387 w 387"/>
                  <a:gd name="T31" fmla="*/ 77 h 666"/>
                  <a:gd name="T32" fmla="*/ 386 w 387"/>
                  <a:gd name="T33" fmla="*/ 61 h 666"/>
                  <a:gd name="T34" fmla="*/ 376 w 387"/>
                  <a:gd name="T35" fmla="*/ 34 h 666"/>
                  <a:gd name="T36" fmla="*/ 359 w 387"/>
                  <a:gd name="T37" fmla="*/ 12 h 666"/>
                  <a:gd name="T38" fmla="*/ 334 w 387"/>
                  <a:gd name="T39" fmla="*/ 1 h 666"/>
                  <a:gd name="T40" fmla="*/ 321 w 387"/>
                  <a:gd name="T41" fmla="*/ 0 h 666"/>
                  <a:gd name="T42" fmla="*/ 236 w 387"/>
                  <a:gd name="T43" fmla="*/ 30 h 666"/>
                  <a:gd name="T44" fmla="*/ 152 w 387"/>
                  <a:gd name="T45" fmla="*/ 50 h 666"/>
                  <a:gd name="T46" fmla="*/ 103 w 387"/>
                  <a:gd name="T47" fmla="*/ 593 h 666"/>
                  <a:gd name="T48" fmla="*/ 103 w 387"/>
                  <a:gd name="T49" fmla="*/ 595 h 666"/>
                  <a:gd name="T50" fmla="*/ 98 w 387"/>
                  <a:gd name="T51" fmla="*/ 597 h 666"/>
                  <a:gd name="T52" fmla="*/ 58 w 387"/>
                  <a:gd name="T53" fmla="*/ 597 h 666"/>
                  <a:gd name="T54" fmla="*/ 55 w 387"/>
                  <a:gd name="T55" fmla="*/ 597 h 666"/>
                  <a:gd name="T56" fmla="*/ 53 w 387"/>
                  <a:gd name="T57" fmla="*/ 595 h 666"/>
                  <a:gd name="T58" fmla="*/ 51 w 387"/>
                  <a:gd name="T59" fmla="*/ 572 h 666"/>
                  <a:gd name="T60" fmla="*/ 53 w 387"/>
                  <a:gd name="T61" fmla="*/ 569 h 666"/>
                  <a:gd name="T62" fmla="*/ 55 w 387"/>
                  <a:gd name="T63" fmla="*/ 566 h 666"/>
                  <a:gd name="T64" fmla="*/ 97 w 387"/>
                  <a:gd name="T65" fmla="*/ 566 h 666"/>
                  <a:gd name="T66" fmla="*/ 98 w 387"/>
                  <a:gd name="T67" fmla="*/ 566 h 666"/>
                  <a:gd name="T68" fmla="*/ 103 w 387"/>
                  <a:gd name="T69" fmla="*/ 569 h 666"/>
                  <a:gd name="T70" fmla="*/ 103 w 387"/>
                  <a:gd name="T71" fmla="*/ 593 h 666"/>
                  <a:gd name="T72" fmla="*/ 245 w 387"/>
                  <a:gd name="T73" fmla="*/ 620 h 666"/>
                  <a:gd name="T74" fmla="*/ 241 w 387"/>
                  <a:gd name="T75" fmla="*/ 630 h 666"/>
                  <a:gd name="T76" fmla="*/ 232 w 387"/>
                  <a:gd name="T77" fmla="*/ 634 h 666"/>
                  <a:gd name="T78" fmla="*/ 155 w 387"/>
                  <a:gd name="T79" fmla="*/ 634 h 666"/>
                  <a:gd name="T80" fmla="*/ 146 w 387"/>
                  <a:gd name="T81" fmla="*/ 630 h 666"/>
                  <a:gd name="T82" fmla="*/ 143 w 387"/>
                  <a:gd name="T83" fmla="*/ 620 h 666"/>
                  <a:gd name="T84" fmla="*/ 143 w 387"/>
                  <a:gd name="T85" fmla="*/ 543 h 666"/>
                  <a:gd name="T86" fmla="*/ 146 w 387"/>
                  <a:gd name="T87" fmla="*/ 534 h 666"/>
                  <a:gd name="T88" fmla="*/ 155 w 387"/>
                  <a:gd name="T89" fmla="*/ 531 h 666"/>
                  <a:gd name="T90" fmla="*/ 232 w 387"/>
                  <a:gd name="T91" fmla="*/ 531 h 666"/>
                  <a:gd name="T92" fmla="*/ 241 w 387"/>
                  <a:gd name="T93" fmla="*/ 534 h 666"/>
                  <a:gd name="T94" fmla="*/ 245 w 387"/>
                  <a:gd name="T95" fmla="*/ 543 h 666"/>
                  <a:gd name="T96" fmla="*/ 336 w 387"/>
                  <a:gd name="T97" fmla="*/ 593 h 666"/>
                  <a:gd name="T98" fmla="*/ 334 w 387"/>
                  <a:gd name="T99" fmla="*/ 595 h 666"/>
                  <a:gd name="T100" fmla="*/ 330 w 387"/>
                  <a:gd name="T101" fmla="*/ 597 h 666"/>
                  <a:gd name="T102" fmla="*/ 291 w 387"/>
                  <a:gd name="T103" fmla="*/ 597 h 666"/>
                  <a:gd name="T104" fmla="*/ 287 w 387"/>
                  <a:gd name="T105" fmla="*/ 596 h 666"/>
                  <a:gd name="T106" fmla="*/ 285 w 387"/>
                  <a:gd name="T107" fmla="*/ 593 h 666"/>
                  <a:gd name="T108" fmla="*/ 285 w 387"/>
                  <a:gd name="T109" fmla="*/ 572 h 666"/>
                  <a:gd name="T110" fmla="*/ 287 w 387"/>
                  <a:gd name="T111" fmla="*/ 568 h 666"/>
                  <a:gd name="T112" fmla="*/ 291 w 387"/>
                  <a:gd name="T113" fmla="*/ 566 h 666"/>
                  <a:gd name="T114" fmla="*/ 330 w 387"/>
                  <a:gd name="T115" fmla="*/ 566 h 666"/>
                  <a:gd name="T116" fmla="*/ 334 w 387"/>
                  <a:gd name="T117" fmla="*/ 569 h 666"/>
                  <a:gd name="T118" fmla="*/ 336 w 387"/>
                  <a:gd name="T119" fmla="*/ 593 h 666"/>
                  <a:gd name="T120" fmla="*/ 41 w 387"/>
                  <a:gd name="T121" fmla="*/ 493 h 666"/>
                  <a:gd name="T122" fmla="*/ 347 w 387"/>
                  <a:gd name="T123" fmla="*/ 8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7" h="666">
                    <a:moveTo>
                      <a:pt x="321" y="0"/>
                    </a:moveTo>
                    <a:lnTo>
                      <a:pt x="66" y="0"/>
                    </a:lnTo>
                    <a:lnTo>
                      <a:pt x="66" y="0"/>
                    </a:lnTo>
                    <a:lnTo>
                      <a:pt x="53" y="1"/>
                    </a:lnTo>
                    <a:lnTo>
                      <a:pt x="41" y="5"/>
                    </a:lnTo>
                    <a:lnTo>
                      <a:pt x="30" y="12"/>
                    </a:lnTo>
                    <a:lnTo>
                      <a:pt x="20" y="22"/>
                    </a:lnTo>
                    <a:lnTo>
                      <a:pt x="12" y="34"/>
                    </a:lnTo>
                    <a:lnTo>
                      <a:pt x="5" y="47"/>
                    </a:lnTo>
                    <a:lnTo>
                      <a:pt x="1" y="61"/>
                    </a:lnTo>
                    <a:lnTo>
                      <a:pt x="0" y="77"/>
                    </a:lnTo>
                    <a:lnTo>
                      <a:pt x="0" y="588"/>
                    </a:lnTo>
                    <a:lnTo>
                      <a:pt x="0" y="588"/>
                    </a:lnTo>
                    <a:lnTo>
                      <a:pt x="1" y="604"/>
                    </a:lnTo>
                    <a:lnTo>
                      <a:pt x="5" y="619"/>
                    </a:lnTo>
                    <a:lnTo>
                      <a:pt x="12" y="632"/>
                    </a:lnTo>
                    <a:lnTo>
                      <a:pt x="20" y="643"/>
                    </a:lnTo>
                    <a:lnTo>
                      <a:pt x="30" y="653"/>
                    </a:lnTo>
                    <a:lnTo>
                      <a:pt x="41" y="659"/>
                    </a:lnTo>
                    <a:lnTo>
                      <a:pt x="53" y="665"/>
                    </a:lnTo>
                    <a:lnTo>
                      <a:pt x="66" y="666"/>
                    </a:lnTo>
                    <a:lnTo>
                      <a:pt x="321" y="666"/>
                    </a:lnTo>
                    <a:lnTo>
                      <a:pt x="321" y="666"/>
                    </a:lnTo>
                    <a:lnTo>
                      <a:pt x="334" y="665"/>
                    </a:lnTo>
                    <a:lnTo>
                      <a:pt x="347" y="659"/>
                    </a:lnTo>
                    <a:lnTo>
                      <a:pt x="359" y="653"/>
                    </a:lnTo>
                    <a:lnTo>
                      <a:pt x="368" y="643"/>
                    </a:lnTo>
                    <a:lnTo>
                      <a:pt x="376" y="632"/>
                    </a:lnTo>
                    <a:lnTo>
                      <a:pt x="382" y="619"/>
                    </a:lnTo>
                    <a:lnTo>
                      <a:pt x="386" y="604"/>
                    </a:lnTo>
                    <a:lnTo>
                      <a:pt x="387" y="588"/>
                    </a:lnTo>
                    <a:lnTo>
                      <a:pt x="387" y="77"/>
                    </a:lnTo>
                    <a:lnTo>
                      <a:pt x="387" y="77"/>
                    </a:lnTo>
                    <a:lnTo>
                      <a:pt x="386" y="61"/>
                    </a:lnTo>
                    <a:lnTo>
                      <a:pt x="382" y="47"/>
                    </a:lnTo>
                    <a:lnTo>
                      <a:pt x="376" y="34"/>
                    </a:lnTo>
                    <a:lnTo>
                      <a:pt x="368" y="22"/>
                    </a:lnTo>
                    <a:lnTo>
                      <a:pt x="359" y="12"/>
                    </a:lnTo>
                    <a:lnTo>
                      <a:pt x="347" y="5"/>
                    </a:lnTo>
                    <a:lnTo>
                      <a:pt x="334" y="1"/>
                    </a:lnTo>
                    <a:lnTo>
                      <a:pt x="321" y="0"/>
                    </a:lnTo>
                    <a:lnTo>
                      <a:pt x="321" y="0"/>
                    </a:lnTo>
                    <a:close/>
                    <a:moveTo>
                      <a:pt x="152" y="30"/>
                    </a:moveTo>
                    <a:lnTo>
                      <a:pt x="236" y="30"/>
                    </a:lnTo>
                    <a:lnTo>
                      <a:pt x="236" y="50"/>
                    </a:lnTo>
                    <a:lnTo>
                      <a:pt x="152" y="50"/>
                    </a:lnTo>
                    <a:lnTo>
                      <a:pt x="152" y="30"/>
                    </a:lnTo>
                    <a:close/>
                    <a:moveTo>
                      <a:pt x="103" y="593"/>
                    </a:moveTo>
                    <a:lnTo>
                      <a:pt x="103" y="593"/>
                    </a:lnTo>
                    <a:lnTo>
                      <a:pt x="103" y="595"/>
                    </a:lnTo>
                    <a:lnTo>
                      <a:pt x="101" y="596"/>
                    </a:lnTo>
                    <a:lnTo>
                      <a:pt x="98" y="597"/>
                    </a:lnTo>
                    <a:lnTo>
                      <a:pt x="97" y="597"/>
                    </a:lnTo>
                    <a:lnTo>
                      <a:pt x="58" y="597"/>
                    </a:lnTo>
                    <a:lnTo>
                      <a:pt x="58" y="597"/>
                    </a:lnTo>
                    <a:lnTo>
                      <a:pt x="55" y="597"/>
                    </a:lnTo>
                    <a:lnTo>
                      <a:pt x="54" y="596"/>
                    </a:lnTo>
                    <a:lnTo>
                      <a:pt x="53" y="595"/>
                    </a:lnTo>
                    <a:lnTo>
                      <a:pt x="51" y="593"/>
                    </a:lnTo>
                    <a:lnTo>
                      <a:pt x="51" y="572"/>
                    </a:lnTo>
                    <a:lnTo>
                      <a:pt x="51" y="572"/>
                    </a:lnTo>
                    <a:lnTo>
                      <a:pt x="53" y="569"/>
                    </a:lnTo>
                    <a:lnTo>
                      <a:pt x="54" y="568"/>
                    </a:lnTo>
                    <a:lnTo>
                      <a:pt x="55" y="566"/>
                    </a:lnTo>
                    <a:lnTo>
                      <a:pt x="58" y="566"/>
                    </a:lnTo>
                    <a:lnTo>
                      <a:pt x="97" y="566"/>
                    </a:lnTo>
                    <a:lnTo>
                      <a:pt x="97" y="566"/>
                    </a:lnTo>
                    <a:lnTo>
                      <a:pt x="98" y="566"/>
                    </a:lnTo>
                    <a:lnTo>
                      <a:pt x="101" y="568"/>
                    </a:lnTo>
                    <a:lnTo>
                      <a:pt x="103" y="569"/>
                    </a:lnTo>
                    <a:lnTo>
                      <a:pt x="103" y="572"/>
                    </a:lnTo>
                    <a:lnTo>
                      <a:pt x="103" y="593"/>
                    </a:lnTo>
                    <a:close/>
                    <a:moveTo>
                      <a:pt x="245" y="620"/>
                    </a:moveTo>
                    <a:lnTo>
                      <a:pt x="245" y="620"/>
                    </a:lnTo>
                    <a:lnTo>
                      <a:pt x="244" y="626"/>
                    </a:lnTo>
                    <a:lnTo>
                      <a:pt x="241" y="630"/>
                    </a:lnTo>
                    <a:lnTo>
                      <a:pt x="237" y="632"/>
                    </a:lnTo>
                    <a:lnTo>
                      <a:pt x="232" y="634"/>
                    </a:lnTo>
                    <a:lnTo>
                      <a:pt x="155" y="634"/>
                    </a:lnTo>
                    <a:lnTo>
                      <a:pt x="155" y="634"/>
                    </a:lnTo>
                    <a:lnTo>
                      <a:pt x="150" y="632"/>
                    </a:lnTo>
                    <a:lnTo>
                      <a:pt x="146" y="630"/>
                    </a:lnTo>
                    <a:lnTo>
                      <a:pt x="143" y="626"/>
                    </a:lnTo>
                    <a:lnTo>
                      <a:pt x="143" y="620"/>
                    </a:lnTo>
                    <a:lnTo>
                      <a:pt x="143" y="543"/>
                    </a:lnTo>
                    <a:lnTo>
                      <a:pt x="143" y="543"/>
                    </a:lnTo>
                    <a:lnTo>
                      <a:pt x="143" y="538"/>
                    </a:lnTo>
                    <a:lnTo>
                      <a:pt x="146" y="534"/>
                    </a:lnTo>
                    <a:lnTo>
                      <a:pt x="150" y="531"/>
                    </a:lnTo>
                    <a:lnTo>
                      <a:pt x="155" y="531"/>
                    </a:lnTo>
                    <a:lnTo>
                      <a:pt x="232" y="531"/>
                    </a:lnTo>
                    <a:lnTo>
                      <a:pt x="232" y="531"/>
                    </a:lnTo>
                    <a:lnTo>
                      <a:pt x="237" y="531"/>
                    </a:lnTo>
                    <a:lnTo>
                      <a:pt x="241" y="534"/>
                    </a:lnTo>
                    <a:lnTo>
                      <a:pt x="244" y="538"/>
                    </a:lnTo>
                    <a:lnTo>
                      <a:pt x="245" y="543"/>
                    </a:lnTo>
                    <a:lnTo>
                      <a:pt x="245" y="620"/>
                    </a:lnTo>
                    <a:close/>
                    <a:moveTo>
                      <a:pt x="336" y="593"/>
                    </a:moveTo>
                    <a:lnTo>
                      <a:pt x="336" y="593"/>
                    </a:lnTo>
                    <a:lnTo>
                      <a:pt x="334" y="595"/>
                    </a:lnTo>
                    <a:lnTo>
                      <a:pt x="334" y="596"/>
                    </a:lnTo>
                    <a:lnTo>
                      <a:pt x="330" y="597"/>
                    </a:lnTo>
                    <a:lnTo>
                      <a:pt x="291" y="597"/>
                    </a:lnTo>
                    <a:lnTo>
                      <a:pt x="291" y="597"/>
                    </a:lnTo>
                    <a:lnTo>
                      <a:pt x="289" y="597"/>
                    </a:lnTo>
                    <a:lnTo>
                      <a:pt x="287" y="596"/>
                    </a:lnTo>
                    <a:lnTo>
                      <a:pt x="286" y="595"/>
                    </a:lnTo>
                    <a:lnTo>
                      <a:pt x="285" y="593"/>
                    </a:lnTo>
                    <a:lnTo>
                      <a:pt x="285" y="572"/>
                    </a:lnTo>
                    <a:lnTo>
                      <a:pt x="285" y="572"/>
                    </a:lnTo>
                    <a:lnTo>
                      <a:pt x="286" y="569"/>
                    </a:lnTo>
                    <a:lnTo>
                      <a:pt x="287" y="568"/>
                    </a:lnTo>
                    <a:lnTo>
                      <a:pt x="289" y="566"/>
                    </a:lnTo>
                    <a:lnTo>
                      <a:pt x="291" y="566"/>
                    </a:lnTo>
                    <a:lnTo>
                      <a:pt x="330" y="566"/>
                    </a:lnTo>
                    <a:lnTo>
                      <a:pt x="330" y="566"/>
                    </a:lnTo>
                    <a:lnTo>
                      <a:pt x="334" y="568"/>
                    </a:lnTo>
                    <a:lnTo>
                      <a:pt x="334" y="569"/>
                    </a:lnTo>
                    <a:lnTo>
                      <a:pt x="336" y="572"/>
                    </a:lnTo>
                    <a:lnTo>
                      <a:pt x="336" y="593"/>
                    </a:lnTo>
                    <a:close/>
                    <a:moveTo>
                      <a:pt x="347" y="493"/>
                    </a:moveTo>
                    <a:lnTo>
                      <a:pt x="41" y="493"/>
                    </a:lnTo>
                    <a:lnTo>
                      <a:pt x="41" y="81"/>
                    </a:lnTo>
                    <a:lnTo>
                      <a:pt x="347" y="81"/>
                    </a:lnTo>
                    <a:lnTo>
                      <a:pt x="347" y="4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Rectangle 128"/>
              <p:cNvSpPr>
                <a:spLocks noChangeArrowheads="1"/>
              </p:cNvSpPr>
              <p:nvPr/>
            </p:nvSpPr>
            <p:spPr bwMode="auto">
              <a:xfrm>
                <a:off x="1610933" y="2808556"/>
                <a:ext cx="61641" cy="61641"/>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7" name="Group 16"/>
          <p:cNvGrpSpPr/>
          <p:nvPr/>
        </p:nvGrpSpPr>
        <p:grpSpPr>
          <a:xfrm>
            <a:off x="5022925" y="934194"/>
            <a:ext cx="1924238" cy="1466614"/>
            <a:chOff x="5022925" y="934194"/>
            <a:chExt cx="1924238" cy="1466614"/>
          </a:xfrm>
        </p:grpSpPr>
        <p:sp>
          <p:nvSpPr>
            <p:cNvPr id="176" name="Freeform 457"/>
            <p:cNvSpPr/>
            <p:nvPr/>
          </p:nvSpPr>
          <p:spPr>
            <a:xfrm>
              <a:off x="5022925" y="934194"/>
              <a:ext cx="1924238" cy="1118672"/>
            </a:xfrm>
            <a:custGeom>
              <a:avLst/>
              <a:gdLst>
                <a:gd name="connsiteX0" fmla="*/ 8124354 w 14510162"/>
                <a:gd name="connsiteY0" fmla="*/ 0 h 9386744"/>
                <a:gd name="connsiteX1" fmla="*/ 11501142 w 14510162"/>
                <a:gd name="connsiteY1" fmla="*/ 3398069 h 9386744"/>
                <a:gd name="connsiteX2" fmla="*/ 11501142 w 14510162"/>
                <a:gd name="connsiteY2" fmla="*/ 3431713 h 9386744"/>
                <a:gd name="connsiteX3" fmla="*/ 11601443 w 14510162"/>
                <a:gd name="connsiteY3" fmla="*/ 3431713 h 9386744"/>
                <a:gd name="connsiteX4" fmla="*/ 14510162 w 14510162"/>
                <a:gd name="connsiteY4" fmla="*/ 6392407 h 9386744"/>
                <a:gd name="connsiteX5" fmla="*/ 11601443 w 14510162"/>
                <a:gd name="connsiteY5" fmla="*/ 9386744 h 9386744"/>
                <a:gd name="connsiteX6" fmla="*/ 2942153 w 14510162"/>
                <a:gd name="connsiteY6" fmla="*/ 9386744 h 9386744"/>
                <a:gd name="connsiteX7" fmla="*/ 0 w 14510162"/>
                <a:gd name="connsiteY7" fmla="*/ 6392407 h 9386744"/>
                <a:gd name="connsiteX8" fmla="*/ 2440649 w 14510162"/>
                <a:gd name="connsiteY8" fmla="*/ 3465357 h 9386744"/>
                <a:gd name="connsiteX9" fmla="*/ 2407216 w 14510162"/>
                <a:gd name="connsiteY9" fmla="*/ 3162559 h 9386744"/>
                <a:gd name="connsiteX10" fmla="*/ 4045460 w 14510162"/>
                <a:gd name="connsiteY10" fmla="*/ 1513991 h 9386744"/>
                <a:gd name="connsiteX11" fmla="*/ 5115334 w 14510162"/>
                <a:gd name="connsiteY11" fmla="*/ 1917722 h 9386744"/>
                <a:gd name="connsiteX12" fmla="*/ 8124354 w 14510162"/>
                <a:gd name="connsiteY12" fmla="*/ 0 h 938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510162" h="9386744">
                  <a:moveTo>
                    <a:pt x="8124354" y="0"/>
                  </a:moveTo>
                  <a:cubicBezTo>
                    <a:pt x="9996632" y="0"/>
                    <a:pt x="11501142" y="1513991"/>
                    <a:pt x="11501142" y="3398069"/>
                  </a:cubicBezTo>
                  <a:cubicBezTo>
                    <a:pt x="11501142" y="3398069"/>
                    <a:pt x="11501142" y="3398069"/>
                    <a:pt x="11501142" y="3431713"/>
                  </a:cubicBezTo>
                  <a:cubicBezTo>
                    <a:pt x="11501142" y="3431713"/>
                    <a:pt x="11501142" y="3431713"/>
                    <a:pt x="11601443" y="3431713"/>
                  </a:cubicBezTo>
                  <a:cubicBezTo>
                    <a:pt x="13206253" y="3431713"/>
                    <a:pt x="14510162" y="4743839"/>
                    <a:pt x="14510162" y="6392407"/>
                  </a:cubicBezTo>
                  <a:cubicBezTo>
                    <a:pt x="14510162" y="8040975"/>
                    <a:pt x="13206253" y="9386744"/>
                    <a:pt x="11601443" y="9386744"/>
                  </a:cubicBezTo>
                  <a:cubicBezTo>
                    <a:pt x="11601443" y="9386744"/>
                    <a:pt x="11601443" y="9386744"/>
                    <a:pt x="2942153" y="9386744"/>
                  </a:cubicBezTo>
                  <a:cubicBezTo>
                    <a:pt x="1303909" y="9386744"/>
                    <a:pt x="0" y="8040975"/>
                    <a:pt x="0" y="6392407"/>
                  </a:cubicBezTo>
                  <a:cubicBezTo>
                    <a:pt x="0" y="4912060"/>
                    <a:pt x="1036440" y="3700867"/>
                    <a:pt x="2440649" y="3465357"/>
                  </a:cubicBezTo>
                  <a:cubicBezTo>
                    <a:pt x="2407216" y="3364424"/>
                    <a:pt x="2407216" y="3263492"/>
                    <a:pt x="2407216" y="3162559"/>
                  </a:cubicBezTo>
                  <a:cubicBezTo>
                    <a:pt x="2407216" y="2254164"/>
                    <a:pt x="3142754" y="1513991"/>
                    <a:pt x="4045460" y="1513991"/>
                  </a:cubicBezTo>
                  <a:cubicBezTo>
                    <a:pt x="4446663" y="1513991"/>
                    <a:pt x="4814432" y="1648568"/>
                    <a:pt x="5115334" y="1917722"/>
                  </a:cubicBezTo>
                  <a:cubicBezTo>
                    <a:pt x="5650271" y="773818"/>
                    <a:pt x="6787012" y="0"/>
                    <a:pt x="8124354" y="0"/>
                  </a:cubicBezTo>
                  <a:close/>
                </a:path>
              </a:pathLst>
            </a:custGeom>
            <a:solidFill>
              <a:srgbClr val="E6E6E6"/>
            </a:solidFill>
            <a:ln>
              <a:solidFill>
                <a:schemeClr val="bg1">
                  <a:lumMod val="75000"/>
                </a:schemeClr>
              </a:solid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100" dirty="0"/>
            </a:p>
          </p:txBody>
        </p:sp>
        <p:sp>
          <p:nvSpPr>
            <p:cNvPr id="136" name="TextBox 135"/>
            <p:cNvSpPr txBox="1"/>
            <p:nvPr/>
          </p:nvSpPr>
          <p:spPr>
            <a:xfrm>
              <a:off x="5097590" y="1094949"/>
              <a:ext cx="1821370" cy="867930"/>
            </a:xfrm>
            <a:prstGeom prst="rect">
              <a:avLst/>
            </a:prstGeom>
            <a:noFill/>
          </p:spPr>
          <p:txBody>
            <a:bodyPr wrap="square" rtlCol="0">
              <a:spAutoFit/>
            </a:bodyPr>
            <a:lstStyle/>
            <a:p>
              <a:pPr algn="ctr">
                <a:lnSpc>
                  <a:spcPct val="90000"/>
                </a:lnSpc>
              </a:pPr>
              <a:r>
                <a:rPr lang="en-US" sz="1400" b="1" dirty="0" smtClean="0">
                  <a:solidFill>
                    <a:srgbClr val="38B2DF"/>
                  </a:solidFill>
                </a:rPr>
                <a:t>Cisco </a:t>
              </a:r>
              <a:br>
                <a:rPr lang="en-US" sz="1400" b="1" dirty="0" smtClean="0">
                  <a:solidFill>
                    <a:srgbClr val="38B2DF"/>
                  </a:solidFill>
                </a:rPr>
              </a:br>
              <a:r>
                <a:rPr lang="en-US" sz="1400" b="1" dirty="0" smtClean="0">
                  <a:solidFill>
                    <a:srgbClr val="38B2DF"/>
                  </a:solidFill>
                </a:rPr>
                <a:t>Umbrella </a:t>
              </a:r>
            </a:p>
            <a:p>
              <a:pPr algn="ctr">
                <a:lnSpc>
                  <a:spcPct val="90000"/>
                </a:lnSpc>
              </a:pPr>
              <a:r>
                <a:rPr lang="en-US" sz="1400" b="1" dirty="0" smtClean="0">
                  <a:solidFill>
                    <a:srgbClr val="38B2DF"/>
                  </a:solidFill>
                </a:rPr>
                <a:t>for </a:t>
              </a:r>
              <a:br>
                <a:rPr lang="en-US" sz="1400" b="1" dirty="0" smtClean="0">
                  <a:solidFill>
                    <a:srgbClr val="38B2DF"/>
                  </a:solidFill>
                </a:rPr>
              </a:br>
              <a:r>
                <a:rPr lang="en-US" sz="1400" b="1" dirty="0" smtClean="0">
                  <a:solidFill>
                    <a:srgbClr val="38B2DF"/>
                  </a:solidFill>
                </a:rPr>
                <a:t>Service Providers</a:t>
              </a:r>
              <a:endParaRPr lang="en-US" sz="1400" b="1" dirty="0">
                <a:solidFill>
                  <a:srgbClr val="38B2DF"/>
                </a:solidFill>
              </a:endParaRPr>
            </a:p>
          </p:txBody>
        </p:sp>
        <p:grpSp>
          <p:nvGrpSpPr>
            <p:cNvPr id="133" name="Group 132"/>
            <p:cNvGrpSpPr/>
            <p:nvPr/>
          </p:nvGrpSpPr>
          <p:grpSpPr>
            <a:xfrm>
              <a:off x="5815857" y="1963612"/>
              <a:ext cx="369678" cy="437196"/>
              <a:chOff x="4255303" y="2142300"/>
              <a:chExt cx="560930" cy="712442"/>
            </a:xfrm>
          </p:grpSpPr>
          <p:sp>
            <p:nvSpPr>
              <p:cNvPr id="134" name="Freeform 133"/>
              <p:cNvSpPr>
                <a:spLocks noChangeArrowheads="1"/>
              </p:cNvSpPr>
              <p:nvPr/>
            </p:nvSpPr>
            <p:spPr bwMode="auto">
              <a:xfrm>
                <a:off x="4255303" y="2142300"/>
                <a:ext cx="560930" cy="712442"/>
              </a:xfrm>
              <a:custGeom>
                <a:avLst/>
                <a:gdLst>
                  <a:gd name="T0" fmla="*/ 3 w 769"/>
                  <a:gd name="T1" fmla="*/ 0 h 973"/>
                  <a:gd name="T2" fmla="*/ 768 w 769"/>
                  <a:gd name="T3" fmla="*/ 0 h 973"/>
                  <a:gd name="T4" fmla="*/ 768 w 769"/>
                  <a:gd name="T5" fmla="*/ 424 h 973"/>
                  <a:gd name="T6" fmla="*/ 384 w 769"/>
                  <a:gd name="T7" fmla="*/ 972 h 973"/>
                  <a:gd name="T8" fmla="*/ 0 w 769"/>
                  <a:gd name="T9" fmla="*/ 424 h 973"/>
                  <a:gd name="T10" fmla="*/ 0 w 769"/>
                  <a:gd name="T11" fmla="*/ 0 h 973"/>
                  <a:gd name="T12" fmla="*/ 3 w 769"/>
                  <a:gd name="T13" fmla="*/ 0 h 973"/>
                </a:gdLst>
                <a:ahLst/>
                <a:cxnLst>
                  <a:cxn ang="0">
                    <a:pos x="T0" y="T1"/>
                  </a:cxn>
                  <a:cxn ang="0">
                    <a:pos x="T2" y="T3"/>
                  </a:cxn>
                  <a:cxn ang="0">
                    <a:pos x="T4" y="T5"/>
                  </a:cxn>
                  <a:cxn ang="0">
                    <a:pos x="T6" y="T7"/>
                  </a:cxn>
                  <a:cxn ang="0">
                    <a:pos x="T8" y="T9"/>
                  </a:cxn>
                  <a:cxn ang="0">
                    <a:pos x="T10" y="T11"/>
                  </a:cxn>
                  <a:cxn ang="0">
                    <a:pos x="T12" y="T13"/>
                  </a:cxn>
                </a:cxnLst>
                <a:rect l="0" t="0" r="r" b="b"/>
                <a:pathLst>
                  <a:path w="769" h="973">
                    <a:moveTo>
                      <a:pt x="3" y="0"/>
                    </a:moveTo>
                    <a:lnTo>
                      <a:pt x="768" y="0"/>
                    </a:lnTo>
                    <a:lnTo>
                      <a:pt x="768" y="424"/>
                    </a:lnTo>
                    <a:cubicBezTo>
                      <a:pt x="768" y="755"/>
                      <a:pt x="384" y="972"/>
                      <a:pt x="384" y="972"/>
                    </a:cubicBezTo>
                    <a:cubicBezTo>
                      <a:pt x="384" y="972"/>
                      <a:pt x="0" y="755"/>
                      <a:pt x="0" y="424"/>
                    </a:cubicBezTo>
                    <a:lnTo>
                      <a:pt x="0" y="0"/>
                    </a:lnTo>
                    <a:lnTo>
                      <a:pt x="3" y="0"/>
                    </a:lnTo>
                  </a:path>
                </a:pathLst>
              </a:custGeom>
              <a:solidFill>
                <a:schemeClr val="bg1"/>
              </a:solidFill>
              <a:ln w="38100" cap="rnd">
                <a:solidFill>
                  <a:schemeClr val="accent5">
                    <a:lumMod val="75000"/>
                  </a:schemeClr>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solidFill>
                    <a:srgbClr val="333333"/>
                  </a:solidFill>
                  <a:ea typeface="ＭＳ Ｐゴシック" pitchFamily="34" charset="-128"/>
                  <a:cs typeface=""/>
                </a:endParaRPr>
              </a:p>
            </p:txBody>
          </p:sp>
          <p:sp>
            <p:nvSpPr>
              <p:cNvPr id="135" name="Freeform 134"/>
              <p:cNvSpPr>
                <a:spLocks noChangeArrowheads="1"/>
              </p:cNvSpPr>
              <p:nvPr/>
            </p:nvSpPr>
            <p:spPr bwMode="auto">
              <a:xfrm>
                <a:off x="4361418" y="2293118"/>
                <a:ext cx="376559" cy="293513"/>
              </a:xfrm>
              <a:custGeom>
                <a:avLst/>
                <a:gdLst>
                  <a:gd name="T0" fmla="*/ 966 w 2619"/>
                  <a:gd name="T1" fmla="*/ 2041 h 2042"/>
                  <a:gd name="T2" fmla="*/ 2611 w 2619"/>
                  <a:gd name="T3" fmla="*/ 389 h 2042"/>
                  <a:gd name="T4" fmla="*/ 2618 w 2619"/>
                  <a:gd name="T5" fmla="*/ 378 h 2042"/>
                  <a:gd name="T6" fmla="*/ 2240 w 2619"/>
                  <a:gd name="T7" fmla="*/ 0 h 2042"/>
                  <a:gd name="T8" fmla="*/ 2229 w 2619"/>
                  <a:gd name="T9" fmla="*/ 8 h 2042"/>
                  <a:gd name="T10" fmla="*/ 966 w 2619"/>
                  <a:gd name="T11" fmla="*/ 1279 h 2042"/>
                  <a:gd name="T12" fmla="*/ 389 w 2619"/>
                  <a:gd name="T13" fmla="*/ 709 h 2042"/>
                  <a:gd name="T14" fmla="*/ 378 w 2619"/>
                  <a:gd name="T15" fmla="*/ 701 h 2042"/>
                  <a:gd name="T16" fmla="*/ 0 w 2619"/>
                  <a:gd name="T17" fmla="*/ 1080 h 2042"/>
                  <a:gd name="T18" fmla="*/ 8 w 2619"/>
                  <a:gd name="T19" fmla="*/ 1091 h 2042"/>
                  <a:gd name="T20" fmla="*/ 966 w 2619"/>
                  <a:gd name="T21" fmla="*/ 204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9" h="2042">
                    <a:moveTo>
                      <a:pt x="966" y="2041"/>
                    </a:moveTo>
                    <a:lnTo>
                      <a:pt x="2611" y="389"/>
                    </a:lnTo>
                    <a:cubicBezTo>
                      <a:pt x="2613" y="386"/>
                      <a:pt x="2616" y="381"/>
                      <a:pt x="2618" y="378"/>
                    </a:cubicBezTo>
                    <a:cubicBezTo>
                      <a:pt x="2518" y="230"/>
                      <a:pt x="2388" y="100"/>
                      <a:pt x="2240" y="0"/>
                    </a:cubicBezTo>
                    <a:cubicBezTo>
                      <a:pt x="2237" y="2"/>
                      <a:pt x="2232" y="5"/>
                      <a:pt x="2229" y="8"/>
                    </a:cubicBezTo>
                    <a:lnTo>
                      <a:pt x="966" y="1279"/>
                    </a:lnTo>
                    <a:lnTo>
                      <a:pt x="389" y="709"/>
                    </a:lnTo>
                    <a:cubicBezTo>
                      <a:pt x="386" y="707"/>
                      <a:pt x="381" y="704"/>
                      <a:pt x="378" y="701"/>
                    </a:cubicBezTo>
                    <a:cubicBezTo>
                      <a:pt x="230" y="802"/>
                      <a:pt x="100" y="932"/>
                      <a:pt x="0" y="1080"/>
                    </a:cubicBezTo>
                    <a:cubicBezTo>
                      <a:pt x="2" y="1083"/>
                      <a:pt x="5" y="1088"/>
                      <a:pt x="8" y="1091"/>
                    </a:cubicBezTo>
                    <a:lnTo>
                      <a:pt x="966" y="2041"/>
                    </a:lnTo>
                  </a:path>
                </a:pathLst>
              </a:custGeom>
              <a:solidFill>
                <a:srgbClr val="129FD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333333"/>
                  </a:solidFill>
                  <a:ea typeface="ＭＳ Ｐゴシック" pitchFamily="34" charset="-128"/>
                  <a:cs typeface=""/>
                </a:endParaRPr>
              </a:p>
            </p:txBody>
          </p:sp>
        </p:grpSp>
      </p:grpSp>
      <p:grpSp>
        <p:nvGrpSpPr>
          <p:cNvPr id="18" name="Group 17"/>
          <p:cNvGrpSpPr/>
          <p:nvPr/>
        </p:nvGrpSpPr>
        <p:grpSpPr>
          <a:xfrm>
            <a:off x="3362961" y="2502851"/>
            <a:ext cx="5262879" cy="1185230"/>
            <a:chOff x="3362961" y="2502851"/>
            <a:chExt cx="5262879" cy="1185230"/>
          </a:xfrm>
        </p:grpSpPr>
        <p:sp>
          <p:nvSpPr>
            <p:cNvPr id="147" name="Rectangle 146"/>
            <p:cNvSpPr/>
            <p:nvPr/>
          </p:nvSpPr>
          <p:spPr>
            <a:xfrm>
              <a:off x="3362961" y="2502851"/>
              <a:ext cx="1744026" cy="118523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Oval 4"/>
            <p:cNvSpPr/>
            <p:nvPr/>
          </p:nvSpPr>
          <p:spPr>
            <a:xfrm>
              <a:off x="3976434" y="2562757"/>
              <a:ext cx="517080" cy="51708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44" name="TextBox 143"/>
            <p:cNvSpPr txBox="1"/>
            <p:nvPr/>
          </p:nvSpPr>
          <p:spPr>
            <a:xfrm>
              <a:off x="3553893" y="3041668"/>
              <a:ext cx="1362163" cy="615553"/>
            </a:xfrm>
            <a:prstGeom prst="rect">
              <a:avLst/>
            </a:prstGeom>
            <a:noFill/>
            <a:ln>
              <a:noFill/>
            </a:ln>
          </p:spPr>
          <p:txBody>
            <a:bodyPr wrap="square" rtlCol="0">
              <a:spAutoFit/>
            </a:bodyPr>
            <a:lstStyle/>
            <a:p>
              <a:pPr algn="ctr" defTabSz="457189" fontAlgn="base">
                <a:spcBef>
                  <a:spcPct val="0"/>
                </a:spcBef>
                <a:spcAft>
                  <a:spcPct val="0"/>
                </a:spcAft>
              </a:pPr>
              <a:r>
                <a:rPr lang="en-US" dirty="0">
                  <a:solidFill>
                    <a:srgbClr val="239ACC"/>
                  </a:solidFill>
                  <a:ea typeface="ＭＳ Ｐゴシック" pitchFamily="34" charset="-128"/>
                </a:rPr>
                <a:t>Learn</a:t>
              </a:r>
            </a:p>
            <a:p>
              <a:pPr algn="ctr" defTabSz="457189" fontAlgn="base">
                <a:spcBef>
                  <a:spcPct val="0"/>
                </a:spcBef>
                <a:spcAft>
                  <a:spcPct val="0"/>
                </a:spcAft>
              </a:pPr>
              <a:r>
                <a:rPr lang="en-US" sz="800" dirty="0">
                  <a:solidFill>
                    <a:srgbClr val="4D4D4C"/>
                  </a:solidFill>
                  <a:ea typeface="ＭＳ Ｐゴシック" pitchFamily="34" charset="-128"/>
                </a:rPr>
                <a:t>Intelligence to see attacks before they launch</a:t>
              </a:r>
            </a:p>
          </p:txBody>
        </p:sp>
        <p:pic>
          <p:nvPicPr>
            <p:cNvPr id="145" name="Picture 144"/>
            <p:cNvPicPr>
              <a:picLocks noChangeAspect="1"/>
            </p:cNvPicPr>
            <p:nvPr/>
          </p:nvPicPr>
          <p:blipFill>
            <a:blip r:embed="rId4" cstate="screen">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4001783" y="2628059"/>
              <a:ext cx="446063" cy="415299"/>
            </a:xfrm>
            <a:prstGeom prst="rect">
              <a:avLst/>
            </a:prstGeom>
          </p:spPr>
        </p:pic>
        <p:sp>
          <p:nvSpPr>
            <p:cNvPr id="166" name="Rectangle 165"/>
            <p:cNvSpPr/>
            <p:nvPr/>
          </p:nvSpPr>
          <p:spPr>
            <a:xfrm>
              <a:off x="5122388" y="2502851"/>
              <a:ext cx="1744026" cy="118523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7" name="Oval 166"/>
            <p:cNvSpPr/>
            <p:nvPr/>
          </p:nvSpPr>
          <p:spPr>
            <a:xfrm>
              <a:off x="5735861" y="2562757"/>
              <a:ext cx="517080" cy="51708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8" name="TextBox 167"/>
            <p:cNvSpPr txBox="1"/>
            <p:nvPr/>
          </p:nvSpPr>
          <p:spPr>
            <a:xfrm>
              <a:off x="5313320" y="3041668"/>
              <a:ext cx="1362163" cy="615553"/>
            </a:xfrm>
            <a:prstGeom prst="rect">
              <a:avLst/>
            </a:prstGeom>
            <a:noFill/>
            <a:ln>
              <a:noFill/>
            </a:ln>
          </p:spPr>
          <p:txBody>
            <a:bodyPr wrap="square" rtlCol="0">
              <a:spAutoFit/>
            </a:bodyPr>
            <a:lstStyle/>
            <a:p>
              <a:pPr algn="ctr" defTabSz="457189" fontAlgn="base">
                <a:spcBef>
                  <a:spcPct val="0"/>
                </a:spcBef>
                <a:spcAft>
                  <a:spcPct val="0"/>
                </a:spcAft>
              </a:pPr>
              <a:r>
                <a:rPr lang="en-US" dirty="0" smtClean="0">
                  <a:solidFill>
                    <a:srgbClr val="239ACC"/>
                  </a:solidFill>
                  <a:ea typeface="ＭＳ Ｐゴシック" pitchFamily="34" charset="-128"/>
                </a:rPr>
                <a:t>See</a:t>
              </a:r>
              <a:endParaRPr lang="en-US" dirty="0">
                <a:solidFill>
                  <a:srgbClr val="239ACC"/>
                </a:solidFill>
                <a:ea typeface="ＭＳ Ｐゴシック" pitchFamily="34" charset="-128"/>
              </a:endParaRPr>
            </a:p>
            <a:p>
              <a:pPr algn="ctr" defTabSz="457189"/>
              <a:r>
                <a:rPr lang="en-US" sz="800" dirty="0">
                  <a:solidFill>
                    <a:srgbClr val="4D4D4C"/>
                  </a:solidFill>
                </a:rPr>
                <a:t>Visibility to protect access everywhere</a:t>
              </a:r>
              <a:endParaRPr lang="en-US" sz="800" dirty="0">
                <a:solidFill>
                  <a:srgbClr val="239ACC"/>
                </a:solidFill>
              </a:endParaRPr>
            </a:p>
          </p:txBody>
        </p:sp>
        <p:sp>
          <p:nvSpPr>
            <p:cNvPr id="171" name="Rectangle 170"/>
            <p:cNvSpPr/>
            <p:nvPr/>
          </p:nvSpPr>
          <p:spPr>
            <a:xfrm>
              <a:off x="6881814" y="2502851"/>
              <a:ext cx="1744026" cy="118523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3" name="TextBox 172"/>
            <p:cNvSpPr txBox="1"/>
            <p:nvPr/>
          </p:nvSpPr>
          <p:spPr>
            <a:xfrm>
              <a:off x="7072746" y="3041668"/>
              <a:ext cx="1362163" cy="615553"/>
            </a:xfrm>
            <a:prstGeom prst="rect">
              <a:avLst/>
            </a:prstGeom>
            <a:noFill/>
            <a:ln>
              <a:noFill/>
            </a:ln>
          </p:spPr>
          <p:txBody>
            <a:bodyPr wrap="square" rtlCol="0">
              <a:spAutoFit/>
            </a:bodyPr>
            <a:lstStyle/>
            <a:p>
              <a:pPr algn="ctr" defTabSz="457189" fontAlgn="base">
                <a:spcBef>
                  <a:spcPct val="0"/>
                </a:spcBef>
                <a:spcAft>
                  <a:spcPct val="0"/>
                </a:spcAft>
              </a:pPr>
              <a:r>
                <a:rPr lang="en-US" dirty="0" smtClean="0">
                  <a:solidFill>
                    <a:srgbClr val="239ACC"/>
                  </a:solidFill>
                  <a:ea typeface="ＭＳ Ｐゴシック" pitchFamily="34" charset="-128"/>
                </a:rPr>
                <a:t>Block</a:t>
              </a:r>
              <a:endParaRPr lang="en-US" dirty="0">
                <a:solidFill>
                  <a:srgbClr val="239ACC"/>
                </a:solidFill>
                <a:ea typeface="ＭＳ Ｐゴシック" pitchFamily="34" charset="-128"/>
              </a:endParaRPr>
            </a:p>
            <a:p>
              <a:pPr algn="ctr" defTabSz="457189"/>
              <a:r>
                <a:rPr lang="en-US" sz="800" dirty="0">
                  <a:solidFill>
                    <a:srgbClr val="4D4D4C"/>
                  </a:solidFill>
                </a:rPr>
                <a:t>Stop threats before  connections are made</a:t>
              </a:r>
              <a:endParaRPr lang="en-US" sz="800" dirty="0">
                <a:solidFill>
                  <a:srgbClr val="239ACC"/>
                </a:solidFill>
              </a:endParaRPr>
            </a:p>
          </p:txBody>
        </p:sp>
        <p:pic>
          <p:nvPicPr>
            <p:cNvPr id="142" name="Picture 141"/>
            <p:cNvPicPr>
              <a:picLocks noChangeAspect="1"/>
            </p:cNvPicPr>
            <p:nvPr/>
          </p:nvPicPr>
          <p:blipFill>
            <a:blip r:embed="rId6" cstate="screen">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5738256" y="2640922"/>
              <a:ext cx="496125" cy="359263"/>
            </a:xfrm>
            <a:prstGeom prst="rect">
              <a:avLst/>
            </a:prstGeom>
          </p:spPr>
        </p:pic>
        <p:grpSp>
          <p:nvGrpSpPr>
            <p:cNvPr id="10" name="Group 9"/>
            <p:cNvGrpSpPr/>
            <p:nvPr/>
          </p:nvGrpSpPr>
          <p:grpSpPr>
            <a:xfrm>
              <a:off x="7495287" y="2562757"/>
              <a:ext cx="517080" cy="517080"/>
              <a:chOff x="7495287" y="2639973"/>
              <a:chExt cx="517080" cy="517080"/>
            </a:xfrm>
          </p:grpSpPr>
          <p:sp>
            <p:nvSpPr>
              <p:cNvPr id="172" name="Oval 171"/>
              <p:cNvSpPr/>
              <p:nvPr/>
            </p:nvSpPr>
            <p:spPr>
              <a:xfrm>
                <a:off x="7495287" y="2639973"/>
                <a:ext cx="517080" cy="51708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33" name="Freeform 232"/>
              <p:cNvSpPr>
                <a:spLocks noChangeArrowheads="1"/>
              </p:cNvSpPr>
              <p:nvPr/>
            </p:nvSpPr>
            <p:spPr bwMode="auto">
              <a:xfrm>
                <a:off x="7631819" y="2764847"/>
                <a:ext cx="244017" cy="318528"/>
              </a:xfrm>
              <a:custGeom>
                <a:avLst/>
                <a:gdLst>
                  <a:gd name="T0" fmla="*/ 3 w 769"/>
                  <a:gd name="T1" fmla="*/ 0 h 973"/>
                  <a:gd name="T2" fmla="*/ 768 w 769"/>
                  <a:gd name="T3" fmla="*/ 0 h 973"/>
                  <a:gd name="T4" fmla="*/ 768 w 769"/>
                  <a:gd name="T5" fmla="*/ 424 h 973"/>
                  <a:gd name="T6" fmla="*/ 384 w 769"/>
                  <a:gd name="T7" fmla="*/ 972 h 973"/>
                  <a:gd name="T8" fmla="*/ 0 w 769"/>
                  <a:gd name="T9" fmla="*/ 424 h 973"/>
                  <a:gd name="T10" fmla="*/ 0 w 769"/>
                  <a:gd name="T11" fmla="*/ 0 h 973"/>
                  <a:gd name="T12" fmla="*/ 3 w 769"/>
                  <a:gd name="T13" fmla="*/ 0 h 973"/>
                </a:gdLst>
                <a:ahLst/>
                <a:cxnLst>
                  <a:cxn ang="0">
                    <a:pos x="T0" y="T1"/>
                  </a:cxn>
                  <a:cxn ang="0">
                    <a:pos x="T2" y="T3"/>
                  </a:cxn>
                  <a:cxn ang="0">
                    <a:pos x="T4" y="T5"/>
                  </a:cxn>
                  <a:cxn ang="0">
                    <a:pos x="T6" y="T7"/>
                  </a:cxn>
                  <a:cxn ang="0">
                    <a:pos x="T8" y="T9"/>
                  </a:cxn>
                  <a:cxn ang="0">
                    <a:pos x="T10" y="T11"/>
                  </a:cxn>
                  <a:cxn ang="0">
                    <a:pos x="T12" y="T13"/>
                  </a:cxn>
                </a:cxnLst>
                <a:rect l="0" t="0" r="r" b="b"/>
                <a:pathLst>
                  <a:path w="769" h="973">
                    <a:moveTo>
                      <a:pt x="3" y="0"/>
                    </a:moveTo>
                    <a:lnTo>
                      <a:pt x="768" y="0"/>
                    </a:lnTo>
                    <a:lnTo>
                      <a:pt x="768" y="424"/>
                    </a:lnTo>
                    <a:cubicBezTo>
                      <a:pt x="768" y="755"/>
                      <a:pt x="384" y="972"/>
                      <a:pt x="384" y="972"/>
                    </a:cubicBezTo>
                    <a:cubicBezTo>
                      <a:pt x="384" y="972"/>
                      <a:pt x="0" y="755"/>
                      <a:pt x="0" y="424"/>
                    </a:cubicBezTo>
                    <a:lnTo>
                      <a:pt x="0" y="0"/>
                    </a:lnTo>
                    <a:lnTo>
                      <a:pt x="3" y="0"/>
                    </a:lnTo>
                  </a:path>
                </a:pathLst>
              </a:custGeom>
              <a:solidFill>
                <a:schemeClr val="bg1"/>
              </a:solidFill>
              <a:ln w="12700" cap="rnd">
                <a:solidFill>
                  <a:schemeClr val="bg2"/>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solidFill>
                    <a:srgbClr val="333333"/>
                  </a:solidFill>
                  <a:ea typeface="ＭＳ Ｐゴシック" pitchFamily="34" charset="-128"/>
                  <a:cs typeface=""/>
                </a:endParaRPr>
              </a:p>
            </p:txBody>
          </p:sp>
          <p:pic>
            <p:nvPicPr>
              <p:cNvPr id="9" name="Picture 8"/>
              <p:cNvPicPr>
                <a:picLocks noChangeAspect="1"/>
              </p:cNvPicPr>
              <p:nvPr/>
            </p:nvPicPr>
            <p:blipFill rotWithShape="1">
              <a:blip r:embed="rId8" cstate="screen">
                <a:extLst>
                  <a:ext uri="{28A0092B-C50C-407E-A947-70E740481C1C}">
                    <a14:useLocalDpi xmlns:a14="http://schemas.microsoft.com/office/drawing/2010/main"/>
                  </a:ext>
                </a:extLst>
              </a:blip>
              <a:srcRect l="29990" t="24139" r="31047" b="39089"/>
              <a:stretch/>
            </p:blipFill>
            <p:spPr>
              <a:xfrm>
                <a:off x="7655437" y="2800392"/>
                <a:ext cx="192406" cy="183832"/>
              </a:xfrm>
              <a:prstGeom prst="rect">
                <a:avLst/>
              </a:prstGeom>
            </p:spPr>
          </p:pic>
        </p:grpSp>
      </p:grpSp>
      <p:grpSp>
        <p:nvGrpSpPr>
          <p:cNvPr id="19" name="Group 18"/>
          <p:cNvGrpSpPr/>
          <p:nvPr/>
        </p:nvGrpSpPr>
        <p:grpSpPr>
          <a:xfrm>
            <a:off x="3534970" y="3780134"/>
            <a:ext cx="4917465" cy="987314"/>
            <a:chOff x="3534970" y="3780134"/>
            <a:chExt cx="4917465" cy="987314"/>
          </a:xfrm>
        </p:grpSpPr>
        <p:grpSp>
          <p:nvGrpSpPr>
            <p:cNvPr id="182" name="Group 181"/>
            <p:cNvGrpSpPr/>
            <p:nvPr/>
          </p:nvGrpSpPr>
          <p:grpSpPr>
            <a:xfrm>
              <a:off x="5697897" y="3903491"/>
              <a:ext cx="602519" cy="575394"/>
              <a:chOff x="3167665" y="2626472"/>
              <a:chExt cx="602519" cy="575394"/>
            </a:xfrm>
          </p:grpSpPr>
          <p:sp>
            <p:nvSpPr>
              <p:cNvPr id="183" name="Rectangle 182"/>
              <p:cNvSpPr/>
              <p:nvPr/>
            </p:nvSpPr>
            <p:spPr>
              <a:xfrm>
                <a:off x="3167665" y="2695000"/>
                <a:ext cx="602519" cy="506866"/>
              </a:xfrm>
              <a:prstGeom prst="rect">
                <a:avLst/>
              </a:prstGeom>
              <a:noFill/>
              <a:ln w="25400" cap="rnd">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84" name="Line 2"/>
              <p:cNvSpPr>
                <a:spLocks noChangeShapeType="1"/>
              </p:cNvSpPr>
              <p:nvPr/>
            </p:nvSpPr>
            <p:spPr bwMode="auto">
              <a:xfrm>
                <a:off x="3291484" y="2818347"/>
                <a:ext cx="0" cy="109644"/>
              </a:xfrm>
              <a:prstGeom prst="line">
                <a:avLst/>
              </a:prstGeom>
              <a:noFill/>
              <a:ln w="25400" cap="rnd">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85" name="Freeform 3"/>
              <p:cNvSpPr>
                <a:spLocks noChangeArrowheads="1"/>
              </p:cNvSpPr>
              <p:nvPr/>
            </p:nvSpPr>
            <p:spPr bwMode="auto">
              <a:xfrm>
                <a:off x="3360010" y="3160980"/>
                <a:ext cx="219241" cy="36576"/>
              </a:xfrm>
              <a:custGeom>
                <a:avLst/>
                <a:gdLst>
                  <a:gd name="T0" fmla="*/ 2257 w 4516"/>
                  <a:gd name="T1" fmla="*/ 847 h 848"/>
                  <a:gd name="T2" fmla="*/ 0 w 4516"/>
                  <a:gd name="T3" fmla="*/ 847 h 848"/>
                  <a:gd name="T4" fmla="*/ 0 w 4516"/>
                  <a:gd name="T5" fmla="*/ 0 h 848"/>
                  <a:gd name="T6" fmla="*/ 4515 w 4516"/>
                  <a:gd name="T7" fmla="*/ 0 h 848"/>
                  <a:gd name="T8" fmla="*/ 4515 w 4516"/>
                  <a:gd name="T9" fmla="*/ 847 h 848"/>
                  <a:gd name="T10" fmla="*/ 2257 w 4516"/>
                  <a:gd name="T11" fmla="*/ 847 h 848"/>
                  <a:gd name="connsiteX0" fmla="*/ 4998 w 9998"/>
                  <a:gd name="connsiteY0" fmla="*/ 9988 h 9988"/>
                  <a:gd name="connsiteX1" fmla="*/ 0 w 9998"/>
                  <a:gd name="connsiteY1" fmla="*/ 9988 h 9988"/>
                  <a:gd name="connsiteX2" fmla="*/ 0 w 9998"/>
                  <a:gd name="connsiteY2" fmla="*/ 0 h 9988"/>
                  <a:gd name="connsiteX3" fmla="*/ 9998 w 9998"/>
                  <a:gd name="connsiteY3" fmla="*/ 0 h 9988"/>
                  <a:gd name="connsiteX4" fmla="*/ 9998 w 9998"/>
                  <a:gd name="connsiteY4" fmla="*/ 9988 h 9988"/>
                  <a:gd name="connsiteX0" fmla="*/ 0 w 10000"/>
                  <a:gd name="connsiteY0" fmla="*/ 10000 h 10000"/>
                  <a:gd name="connsiteX1" fmla="*/ 0 w 10000"/>
                  <a:gd name="connsiteY1" fmla="*/ 0 h 10000"/>
                  <a:gd name="connsiteX2" fmla="*/ 10000 w 10000"/>
                  <a:gd name="connsiteY2" fmla="*/ 0 h 10000"/>
                  <a:gd name="connsiteX3" fmla="*/ 10000 w 10000"/>
                  <a:gd name="connsiteY3" fmla="*/ 10000 h 10000"/>
                </a:gdLst>
                <a:ahLst/>
                <a:cxnLst>
                  <a:cxn ang="0">
                    <a:pos x="connsiteX0" y="connsiteY0"/>
                  </a:cxn>
                  <a:cxn ang="0">
                    <a:pos x="connsiteX1" y="connsiteY1"/>
                  </a:cxn>
                  <a:cxn ang="0">
                    <a:pos x="connsiteX2" y="connsiteY2"/>
                  </a:cxn>
                  <a:cxn ang="0">
                    <a:pos x="connsiteX3" y="connsiteY3"/>
                  </a:cxn>
                </a:cxnLst>
                <a:rect l="l" t="t" r="r" b="b"/>
                <a:pathLst>
                  <a:path w="10000" h="10000">
                    <a:moveTo>
                      <a:pt x="0" y="10000"/>
                    </a:moveTo>
                    <a:lnTo>
                      <a:pt x="0" y="0"/>
                    </a:lnTo>
                    <a:lnTo>
                      <a:pt x="10000" y="0"/>
                    </a:lnTo>
                    <a:lnTo>
                      <a:pt x="10000" y="10000"/>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86" name="Freeform 4"/>
              <p:cNvSpPr>
                <a:spLocks noChangeArrowheads="1"/>
              </p:cNvSpPr>
              <p:nvPr/>
            </p:nvSpPr>
            <p:spPr bwMode="auto">
              <a:xfrm>
                <a:off x="3236662" y="2818347"/>
                <a:ext cx="109642" cy="109642"/>
              </a:xfrm>
              <a:custGeom>
                <a:avLst/>
                <a:gdLst>
                  <a:gd name="T0" fmla="*/ 1129 w 2258"/>
                  <a:gd name="T1" fmla="*/ 2257 h 2258"/>
                  <a:gd name="T2" fmla="*/ 0 w 2258"/>
                  <a:gd name="T3" fmla="*/ 2257 h 2258"/>
                  <a:gd name="T4" fmla="*/ 0 w 2258"/>
                  <a:gd name="T5" fmla="*/ 0 h 2258"/>
                  <a:gd name="T6" fmla="*/ 2257 w 2258"/>
                  <a:gd name="T7" fmla="*/ 0 h 2258"/>
                  <a:gd name="T8" fmla="*/ 2257 w 2258"/>
                  <a:gd name="T9" fmla="*/ 2257 h 2258"/>
                  <a:gd name="T10" fmla="*/ 1129 w 2258"/>
                  <a:gd name="T11" fmla="*/ 2257 h 2258"/>
                </a:gdLst>
                <a:ahLst/>
                <a:cxnLst>
                  <a:cxn ang="0">
                    <a:pos x="T0" y="T1"/>
                  </a:cxn>
                  <a:cxn ang="0">
                    <a:pos x="T2" y="T3"/>
                  </a:cxn>
                  <a:cxn ang="0">
                    <a:pos x="T4" y="T5"/>
                  </a:cxn>
                  <a:cxn ang="0">
                    <a:pos x="T6" y="T7"/>
                  </a:cxn>
                  <a:cxn ang="0">
                    <a:pos x="T8" y="T9"/>
                  </a:cxn>
                  <a:cxn ang="0">
                    <a:pos x="T10" y="T11"/>
                  </a:cxn>
                </a:cxnLst>
                <a:rect l="0" t="0" r="r" b="b"/>
                <a:pathLst>
                  <a:path w="2258" h="2258">
                    <a:moveTo>
                      <a:pt x="1129" y="2257"/>
                    </a:moveTo>
                    <a:lnTo>
                      <a:pt x="0" y="2257"/>
                    </a:lnTo>
                    <a:lnTo>
                      <a:pt x="0" y="0"/>
                    </a:lnTo>
                    <a:lnTo>
                      <a:pt x="2257" y="0"/>
                    </a:lnTo>
                    <a:lnTo>
                      <a:pt x="2257" y="2257"/>
                    </a:lnTo>
                    <a:lnTo>
                      <a:pt x="1129" y="2257"/>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87" name="Line 5"/>
              <p:cNvSpPr>
                <a:spLocks noChangeShapeType="1"/>
              </p:cNvSpPr>
              <p:nvPr/>
            </p:nvSpPr>
            <p:spPr bwMode="auto">
              <a:xfrm>
                <a:off x="3291484" y="2996517"/>
                <a:ext cx="0" cy="109644"/>
              </a:xfrm>
              <a:prstGeom prst="line">
                <a:avLst/>
              </a:prstGeom>
              <a:noFill/>
              <a:ln w="25400" cap="rnd">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88" name="Freeform 6"/>
              <p:cNvSpPr>
                <a:spLocks noChangeArrowheads="1"/>
              </p:cNvSpPr>
              <p:nvPr/>
            </p:nvSpPr>
            <p:spPr bwMode="auto">
              <a:xfrm>
                <a:off x="3236662" y="2996517"/>
                <a:ext cx="109642" cy="109642"/>
              </a:xfrm>
              <a:custGeom>
                <a:avLst/>
                <a:gdLst>
                  <a:gd name="T0" fmla="*/ 1129 w 2258"/>
                  <a:gd name="T1" fmla="*/ 2257 h 2258"/>
                  <a:gd name="T2" fmla="*/ 0 w 2258"/>
                  <a:gd name="T3" fmla="*/ 2257 h 2258"/>
                  <a:gd name="T4" fmla="*/ 0 w 2258"/>
                  <a:gd name="T5" fmla="*/ 0 h 2258"/>
                  <a:gd name="T6" fmla="*/ 2257 w 2258"/>
                  <a:gd name="T7" fmla="*/ 0 h 2258"/>
                  <a:gd name="T8" fmla="*/ 2257 w 2258"/>
                  <a:gd name="T9" fmla="*/ 2257 h 2258"/>
                  <a:gd name="T10" fmla="*/ 1129 w 2258"/>
                  <a:gd name="T11" fmla="*/ 2257 h 2258"/>
                </a:gdLst>
                <a:ahLst/>
                <a:cxnLst>
                  <a:cxn ang="0">
                    <a:pos x="T0" y="T1"/>
                  </a:cxn>
                  <a:cxn ang="0">
                    <a:pos x="T2" y="T3"/>
                  </a:cxn>
                  <a:cxn ang="0">
                    <a:pos x="T4" y="T5"/>
                  </a:cxn>
                  <a:cxn ang="0">
                    <a:pos x="T6" y="T7"/>
                  </a:cxn>
                  <a:cxn ang="0">
                    <a:pos x="T8" y="T9"/>
                  </a:cxn>
                  <a:cxn ang="0">
                    <a:pos x="T10" y="T11"/>
                  </a:cxn>
                </a:cxnLst>
                <a:rect l="0" t="0" r="r" b="b"/>
                <a:pathLst>
                  <a:path w="2258" h="2258">
                    <a:moveTo>
                      <a:pt x="1129" y="2257"/>
                    </a:moveTo>
                    <a:lnTo>
                      <a:pt x="0" y="2257"/>
                    </a:lnTo>
                    <a:lnTo>
                      <a:pt x="0" y="0"/>
                    </a:lnTo>
                    <a:lnTo>
                      <a:pt x="2257" y="0"/>
                    </a:lnTo>
                    <a:lnTo>
                      <a:pt x="2257" y="2257"/>
                    </a:lnTo>
                    <a:lnTo>
                      <a:pt x="1129" y="2257"/>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89" name="Line 7"/>
              <p:cNvSpPr>
                <a:spLocks noChangeShapeType="1"/>
              </p:cNvSpPr>
              <p:nvPr/>
            </p:nvSpPr>
            <p:spPr bwMode="auto">
              <a:xfrm>
                <a:off x="3647607" y="2996517"/>
                <a:ext cx="0" cy="109642"/>
              </a:xfrm>
              <a:prstGeom prst="line">
                <a:avLst/>
              </a:prstGeom>
              <a:noFill/>
              <a:ln w="25400" cap="rnd">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0" name="Freeform 8"/>
              <p:cNvSpPr>
                <a:spLocks noChangeArrowheads="1"/>
              </p:cNvSpPr>
              <p:nvPr/>
            </p:nvSpPr>
            <p:spPr bwMode="auto">
              <a:xfrm>
                <a:off x="3592785" y="2996517"/>
                <a:ext cx="109642" cy="109642"/>
              </a:xfrm>
              <a:custGeom>
                <a:avLst/>
                <a:gdLst>
                  <a:gd name="T0" fmla="*/ 1129 w 2259"/>
                  <a:gd name="T1" fmla="*/ 2257 h 2258"/>
                  <a:gd name="T2" fmla="*/ 0 w 2259"/>
                  <a:gd name="T3" fmla="*/ 2257 h 2258"/>
                  <a:gd name="T4" fmla="*/ 0 w 2259"/>
                  <a:gd name="T5" fmla="*/ 0 h 2258"/>
                  <a:gd name="T6" fmla="*/ 2258 w 2259"/>
                  <a:gd name="T7" fmla="*/ 0 h 2258"/>
                  <a:gd name="T8" fmla="*/ 2258 w 2259"/>
                  <a:gd name="T9" fmla="*/ 2257 h 2258"/>
                  <a:gd name="T10" fmla="*/ 1129 w 2259"/>
                  <a:gd name="T11" fmla="*/ 2257 h 2258"/>
                </a:gdLst>
                <a:ahLst/>
                <a:cxnLst>
                  <a:cxn ang="0">
                    <a:pos x="T0" y="T1"/>
                  </a:cxn>
                  <a:cxn ang="0">
                    <a:pos x="T2" y="T3"/>
                  </a:cxn>
                  <a:cxn ang="0">
                    <a:pos x="T4" y="T5"/>
                  </a:cxn>
                  <a:cxn ang="0">
                    <a:pos x="T6" y="T7"/>
                  </a:cxn>
                  <a:cxn ang="0">
                    <a:pos x="T8" y="T9"/>
                  </a:cxn>
                  <a:cxn ang="0">
                    <a:pos x="T10" y="T11"/>
                  </a:cxn>
                </a:cxnLst>
                <a:rect l="0" t="0" r="r" b="b"/>
                <a:pathLst>
                  <a:path w="2259" h="2258">
                    <a:moveTo>
                      <a:pt x="1129" y="2257"/>
                    </a:moveTo>
                    <a:lnTo>
                      <a:pt x="0" y="2257"/>
                    </a:lnTo>
                    <a:lnTo>
                      <a:pt x="0" y="0"/>
                    </a:lnTo>
                    <a:lnTo>
                      <a:pt x="2258" y="0"/>
                    </a:lnTo>
                    <a:lnTo>
                      <a:pt x="2258" y="2257"/>
                    </a:lnTo>
                    <a:lnTo>
                      <a:pt x="1129" y="2257"/>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91" name="Line 9"/>
              <p:cNvSpPr>
                <a:spLocks noChangeShapeType="1"/>
              </p:cNvSpPr>
              <p:nvPr/>
            </p:nvSpPr>
            <p:spPr bwMode="auto">
              <a:xfrm>
                <a:off x="3469439" y="2818347"/>
                <a:ext cx="0" cy="109642"/>
              </a:xfrm>
              <a:prstGeom prst="line">
                <a:avLst/>
              </a:prstGeom>
              <a:noFill/>
              <a:ln w="25400" cap="rnd">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2" name="Freeform 10"/>
              <p:cNvSpPr>
                <a:spLocks noChangeArrowheads="1"/>
              </p:cNvSpPr>
              <p:nvPr/>
            </p:nvSpPr>
            <p:spPr bwMode="auto">
              <a:xfrm>
                <a:off x="3414830" y="2818347"/>
                <a:ext cx="109642" cy="109642"/>
              </a:xfrm>
              <a:custGeom>
                <a:avLst/>
                <a:gdLst>
                  <a:gd name="T0" fmla="*/ 1128 w 2258"/>
                  <a:gd name="T1" fmla="*/ 2257 h 2258"/>
                  <a:gd name="T2" fmla="*/ 0 w 2258"/>
                  <a:gd name="T3" fmla="*/ 2257 h 2258"/>
                  <a:gd name="T4" fmla="*/ 0 w 2258"/>
                  <a:gd name="T5" fmla="*/ 0 h 2258"/>
                  <a:gd name="T6" fmla="*/ 2257 w 2258"/>
                  <a:gd name="T7" fmla="*/ 0 h 2258"/>
                  <a:gd name="T8" fmla="*/ 2257 w 2258"/>
                  <a:gd name="T9" fmla="*/ 2257 h 2258"/>
                  <a:gd name="T10" fmla="*/ 1128 w 2258"/>
                  <a:gd name="T11" fmla="*/ 2257 h 2258"/>
                </a:gdLst>
                <a:ahLst/>
                <a:cxnLst>
                  <a:cxn ang="0">
                    <a:pos x="T0" y="T1"/>
                  </a:cxn>
                  <a:cxn ang="0">
                    <a:pos x="T2" y="T3"/>
                  </a:cxn>
                  <a:cxn ang="0">
                    <a:pos x="T4" y="T5"/>
                  </a:cxn>
                  <a:cxn ang="0">
                    <a:pos x="T6" y="T7"/>
                  </a:cxn>
                  <a:cxn ang="0">
                    <a:pos x="T8" y="T9"/>
                  </a:cxn>
                  <a:cxn ang="0">
                    <a:pos x="T10" y="T11"/>
                  </a:cxn>
                </a:cxnLst>
                <a:rect l="0" t="0" r="r" b="b"/>
                <a:pathLst>
                  <a:path w="2258" h="2258">
                    <a:moveTo>
                      <a:pt x="1128" y="2257"/>
                    </a:moveTo>
                    <a:lnTo>
                      <a:pt x="0" y="2257"/>
                    </a:lnTo>
                    <a:lnTo>
                      <a:pt x="0" y="0"/>
                    </a:lnTo>
                    <a:lnTo>
                      <a:pt x="2257" y="0"/>
                    </a:lnTo>
                    <a:lnTo>
                      <a:pt x="2257" y="2257"/>
                    </a:lnTo>
                    <a:lnTo>
                      <a:pt x="1128" y="2257"/>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93" name="Line 11"/>
              <p:cNvSpPr>
                <a:spLocks noChangeShapeType="1"/>
              </p:cNvSpPr>
              <p:nvPr/>
            </p:nvSpPr>
            <p:spPr bwMode="auto">
              <a:xfrm>
                <a:off x="3647607" y="2818347"/>
                <a:ext cx="0" cy="109642"/>
              </a:xfrm>
              <a:prstGeom prst="line">
                <a:avLst/>
              </a:prstGeom>
              <a:noFill/>
              <a:ln w="25400" cap="rnd">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4" name="Freeform 12"/>
              <p:cNvSpPr>
                <a:spLocks noChangeArrowheads="1"/>
              </p:cNvSpPr>
              <p:nvPr/>
            </p:nvSpPr>
            <p:spPr bwMode="auto">
              <a:xfrm>
                <a:off x="3592785" y="2818347"/>
                <a:ext cx="109642" cy="109642"/>
              </a:xfrm>
              <a:custGeom>
                <a:avLst/>
                <a:gdLst>
                  <a:gd name="T0" fmla="*/ 1129 w 2259"/>
                  <a:gd name="T1" fmla="*/ 2257 h 2258"/>
                  <a:gd name="T2" fmla="*/ 0 w 2259"/>
                  <a:gd name="T3" fmla="*/ 2257 h 2258"/>
                  <a:gd name="T4" fmla="*/ 0 w 2259"/>
                  <a:gd name="T5" fmla="*/ 0 h 2258"/>
                  <a:gd name="T6" fmla="*/ 2258 w 2259"/>
                  <a:gd name="T7" fmla="*/ 0 h 2258"/>
                  <a:gd name="T8" fmla="*/ 2258 w 2259"/>
                  <a:gd name="T9" fmla="*/ 2257 h 2258"/>
                  <a:gd name="T10" fmla="*/ 1129 w 2259"/>
                  <a:gd name="T11" fmla="*/ 2257 h 2258"/>
                </a:gdLst>
                <a:ahLst/>
                <a:cxnLst>
                  <a:cxn ang="0">
                    <a:pos x="T0" y="T1"/>
                  </a:cxn>
                  <a:cxn ang="0">
                    <a:pos x="T2" y="T3"/>
                  </a:cxn>
                  <a:cxn ang="0">
                    <a:pos x="T4" y="T5"/>
                  </a:cxn>
                  <a:cxn ang="0">
                    <a:pos x="T6" y="T7"/>
                  </a:cxn>
                  <a:cxn ang="0">
                    <a:pos x="T8" y="T9"/>
                  </a:cxn>
                  <a:cxn ang="0">
                    <a:pos x="T10" y="T11"/>
                  </a:cxn>
                </a:cxnLst>
                <a:rect l="0" t="0" r="r" b="b"/>
                <a:pathLst>
                  <a:path w="2259" h="2258">
                    <a:moveTo>
                      <a:pt x="1129" y="2257"/>
                    </a:moveTo>
                    <a:lnTo>
                      <a:pt x="0" y="2257"/>
                    </a:lnTo>
                    <a:lnTo>
                      <a:pt x="0" y="0"/>
                    </a:lnTo>
                    <a:lnTo>
                      <a:pt x="2258" y="0"/>
                    </a:lnTo>
                    <a:lnTo>
                      <a:pt x="2258" y="2257"/>
                    </a:lnTo>
                    <a:lnTo>
                      <a:pt x="1129" y="2257"/>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95" name="Freeform 13"/>
              <p:cNvSpPr>
                <a:spLocks noChangeArrowheads="1"/>
              </p:cNvSpPr>
              <p:nvPr/>
            </p:nvSpPr>
            <p:spPr bwMode="auto">
              <a:xfrm>
                <a:off x="3414830" y="2996517"/>
                <a:ext cx="109642" cy="164464"/>
              </a:xfrm>
              <a:custGeom>
                <a:avLst/>
                <a:gdLst>
                  <a:gd name="T0" fmla="*/ 1128 w 2258"/>
                  <a:gd name="T1" fmla="*/ 3386 h 3387"/>
                  <a:gd name="T2" fmla="*/ 0 w 2258"/>
                  <a:gd name="T3" fmla="*/ 3386 h 3387"/>
                  <a:gd name="T4" fmla="*/ 0 w 2258"/>
                  <a:gd name="T5" fmla="*/ 0 h 3387"/>
                  <a:gd name="T6" fmla="*/ 2257 w 2258"/>
                  <a:gd name="T7" fmla="*/ 0 h 3387"/>
                  <a:gd name="T8" fmla="*/ 2257 w 2258"/>
                  <a:gd name="T9" fmla="*/ 3386 h 3387"/>
                  <a:gd name="T10" fmla="*/ 1128 w 2258"/>
                  <a:gd name="T11" fmla="*/ 3386 h 3387"/>
                </a:gdLst>
                <a:ahLst/>
                <a:cxnLst>
                  <a:cxn ang="0">
                    <a:pos x="T0" y="T1"/>
                  </a:cxn>
                  <a:cxn ang="0">
                    <a:pos x="T2" y="T3"/>
                  </a:cxn>
                  <a:cxn ang="0">
                    <a:pos x="T4" y="T5"/>
                  </a:cxn>
                  <a:cxn ang="0">
                    <a:pos x="T6" y="T7"/>
                  </a:cxn>
                  <a:cxn ang="0">
                    <a:pos x="T8" y="T9"/>
                  </a:cxn>
                  <a:cxn ang="0">
                    <a:pos x="T10" y="T11"/>
                  </a:cxn>
                </a:cxnLst>
                <a:rect l="0" t="0" r="r" b="b"/>
                <a:pathLst>
                  <a:path w="2258" h="3387">
                    <a:moveTo>
                      <a:pt x="1128" y="3386"/>
                    </a:moveTo>
                    <a:lnTo>
                      <a:pt x="0" y="3386"/>
                    </a:lnTo>
                    <a:lnTo>
                      <a:pt x="0" y="0"/>
                    </a:lnTo>
                    <a:lnTo>
                      <a:pt x="2257" y="0"/>
                    </a:lnTo>
                    <a:lnTo>
                      <a:pt x="2257" y="3386"/>
                    </a:lnTo>
                    <a:lnTo>
                      <a:pt x="1128" y="3386"/>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96" name="Line 14"/>
              <p:cNvSpPr>
                <a:spLocks noChangeShapeType="1"/>
              </p:cNvSpPr>
              <p:nvPr/>
            </p:nvSpPr>
            <p:spPr bwMode="auto">
              <a:xfrm>
                <a:off x="3168135" y="2749820"/>
                <a:ext cx="602049" cy="0"/>
              </a:xfrm>
              <a:prstGeom prst="line">
                <a:avLst/>
              </a:prstGeom>
              <a:noFill/>
              <a:ln w="25400" cap="rnd">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7" name="Freeform 15"/>
              <p:cNvSpPr>
                <a:spLocks noChangeArrowheads="1"/>
              </p:cNvSpPr>
              <p:nvPr/>
            </p:nvSpPr>
            <p:spPr bwMode="auto">
              <a:xfrm>
                <a:off x="3291484" y="2626472"/>
                <a:ext cx="41116" cy="68526"/>
              </a:xfrm>
              <a:custGeom>
                <a:avLst/>
                <a:gdLst>
                  <a:gd name="T0" fmla="*/ 423 w 847"/>
                  <a:gd name="T1" fmla="*/ 1411 h 1412"/>
                  <a:gd name="T2" fmla="*/ 0 w 847"/>
                  <a:gd name="T3" fmla="*/ 1411 h 1412"/>
                  <a:gd name="T4" fmla="*/ 0 w 847"/>
                  <a:gd name="T5" fmla="*/ 0 h 1412"/>
                  <a:gd name="T6" fmla="*/ 846 w 847"/>
                  <a:gd name="T7" fmla="*/ 0 h 1412"/>
                  <a:gd name="T8" fmla="*/ 846 w 847"/>
                  <a:gd name="T9" fmla="*/ 1411 h 1412"/>
                  <a:gd name="T10" fmla="*/ 423 w 847"/>
                  <a:gd name="T11" fmla="*/ 1411 h 1412"/>
                </a:gdLst>
                <a:ahLst/>
                <a:cxnLst>
                  <a:cxn ang="0">
                    <a:pos x="T0" y="T1"/>
                  </a:cxn>
                  <a:cxn ang="0">
                    <a:pos x="T2" y="T3"/>
                  </a:cxn>
                  <a:cxn ang="0">
                    <a:pos x="T4" y="T5"/>
                  </a:cxn>
                  <a:cxn ang="0">
                    <a:pos x="T6" y="T7"/>
                  </a:cxn>
                  <a:cxn ang="0">
                    <a:pos x="T8" y="T9"/>
                  </a:cxn>
                  <a:cxn ang="0">
                    <a:pos x="T10" y="T11"/>
                  </a:cxn>
                </a:cxnLst>
                <a:rect l="0" t="0" r="r" b="b"/>
                <a:pathLst>
                  <a:path w="847" h="1412">
                    <a:moveTo>
                      <a:pt x="423" y="1411"/>
                    </a:moveTo>
                    <a:lnTo>
                      <a:pt x="0" y="1411"/>
                    </a:lnTo>
                    <a:lnTo>
                      <a:pt x="0" y="0"/>
                    </a:lnTo>
                    <a:lnTo>
                      <a:pt x="846" y="0"/>
                    </a:lnTo>
                    <a:lnTo>
                      <a:pt x="846" y="1411"/>
                    </a:lnTo>
                    <a:lnTo>
                      <a:pt x="423" y="1411"/>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198" name="Group 197"/>
            <p:cNvGrpSpPr/>
            <p:nvPr/>
          </p:nvGrpSpPr>
          <p:grpSpPr>
            <a:xfrm>
              <a:off x="7364365" y="3780134"/>
              <a:ext cx="776130" cy="698751"/>
              <a:chOff x="1094104" y="2705765"/>
              <a:chExt cx="927686" cy="839114"/>
            </a:xfrm>
          </p:grpSpPr>
          <p:sp>
            <p:nvSpPr>
              <p:cNvPr id="199" name="Freeform 1"/>
              <p:cNvSpPr>
                <a:spLocks noChangeArrowheads="1"/>
              </p:cNvSpPr>
              <p:nvPr/>
            </p:nvSpPr>
            <p:spPr bwMode="auto">
              <a:xfrm>
                <a:off x="1397668" y="2902189"/>
                <a:ext cx="124997" cy="71427"/>
              </a:xfrm>
              <a:custGeom>
                <a:avLst/>
                <a:gdLst>
                  <a:gd name="T0" fmla="*/ 494 w 989"/>
                  <a:gd name="T1" fmla="*/ 565 h 566"/>
                  <a:gd name="T2" fmla="*/ 0 w 989"/>
                  <a:gd name="T3" fmla="*/ 565 h 566"/>
                  <a:gd name="T4" fmla="*/ 0 w 989"/>
                  <a:gd name="T5" fmla="*/ 0 h 566"/>
                  <a:gd name="T6" fmla="*/ 988 w 989"/>
                  <a:gd name="T7" fmla="*/ 0 h 566"/>
                  <a:gd name="T8" fmla="*/ 988 w 989"/>
                  <a:gd name="T9" fmla="*/ 565 h 566"/>
                  <a:gd name="T10" fmla="*/ 494 w 989"/>
                  <a:gd name="T11" fmla="*/ 565 h 566"/>
                </a:gdLst>
                <a:ahLst/>
                <a:cxnLst>
                  <a:cxn ang="0">
                    <a:pos x="T0" y="T1"/>
                  </a:cxn>
                  <a:cxn ang="0">
                    <a:pos x="T2" y="T3"/>
                  </a:cxn>
                  <a:cxn ang="0">
                    <a:pos x="T4" y="T5"/>
                  </a:cxn>
                  <a:cxn ang="0">
                    <a:pos x="T6" y="T7"/>
                  </a:cxn>
                  <a:cxn ang="0">
                    <a:pos x="T8" y="T9"/>
                  </a:cxn>
                  <a:cxn ang="0">
                    <a:pos x="T10" y="T11"/>
                  </a:cxn>
                </a:cxnLst>
                <a:rect l="0" t="0" r="r" b="b"/>
                <a:pathLst>
                  <a:path w="989" h="566">
                    <a:moveTo>
                      <a:pt x="494" y="565"/>
                    </a:moveTo>
                    <a:lnTo>
                      <a:pt x="0" y="565"/>
                    </a:lnTo>
                    <a:lnTo>
                      <a:pt x="0" y="0"/>
                    </a:lnTo>
                    <a:lnTo>
                      <a:pt x="988" y="0"/>
                    </a:lnTo>
                    <a:lnTo>
                      <a:pt x="988" y="565"/>
                    </a:lnTo>
                    <a:lnTo>
                      <a:pt x="494" y="565"/>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00" name="Freeform 2"/>
              <p:cNvSpPr>
                <a:spLocks noChangeArrowheads="1"/>
              </p:cNvSpPr>
              <p:nvPr/>
            </p:nvSpPr>
            <p:spPr bwMode="auto">
              <a:xfrm>
                <a:off x="1594092" y="2902189"/>
                <a:ext cx="124997" cy="71427"/>
              </a:xfrm>
              <a:custGeom>
                <a:avLst/>
                <a:gdLst>
                  <a:gd name="T0" fmla="*/ 494 w 989"/>
                  <a:gd name="T1" fmla="*/ 565 h 566"/>
                  <a:gd name="T2" fmla="*/ 0 w 989"/>
                  <a:gd name="T3" fmla="*/ 565 h 566"/>
                  <a:gd name="T4" fmla="*/ 0 w 989"/>
                  <a:gd name="T5" fmla="*/ 0 h 566"/>
                  <a:gd name="T6" fmla="*/ 988 w 989"/>
                  <a:gd name="T7" fmla="*/ 0 h 566"/>
                  <a:gd name="T8" fmla="*/ 988 w 989"/>
                  <a:gd name="T9" fmla="*/ 565 h 566"/>
                  <a:gd name="T10" fmla="*/ 494 w 989"/>
                  <a:gd name="T11" fmla="*/ 565 h 566"/>
                </a:gdLst>
                <a:ahLst/>
                <a:cxnLst>
                  <a:cxn ang="0">
                    <a:pos x="T0" y="T1"/>
                  </a:cxn>
                  <a:cxn ang="0">
                    <a:pos x="T2" y="T3"/>
                  </a:cxn>
                  <a:cxn ang="0">
                    <a:pos x="T4" y="T5"/>
                  </a:cxn>
                  <a:cxn ang="0">
                    <a:pos x="T6" y="T7"/>
                  </a:cxn>
                  <a:cxn ang="0">
                    <a:pos x="T8" y="T9"/>
                  </a:cxn>
                  <a:cxn ang="0">
                    <a:pos x="T10" y="T11"/>
                  </a:cxn>
                </a:cxnLst>
                <a:rect l="0" t="0" r="r" b="b"/>
                <a:pathLst>
                  <a:path w="989" h="566">
                    <a:moveTo>
                      <a:pt x="494" y="565"/>
                    </a:moveTo>
                    <a:lnTo>
                      <a:pt x="0" y="565"/>
                    </a:lnTo>
                    <a:lnTo>
                      <a:pt x="0" y="0"/>
                    </a:lnTo>
                    <a:lnTo>
                      <a:pt x="988" y="0"/>
                    </a:lnTo>
                    <a:lnTo>
                      <a:pt x="988" y="565"/>
                    </a:lnTo>
                    <a:lnTo>
                      <a:pt x="494" y="565"/>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01" name="Freeform 200"/>
              <p:cNvSpPr>
                <a:spLocks noChangeArrowheads="1"/>
              </p:cNvSpPr>
              <p:nvPr/>
            </p:nvSpPr>
            <p:spPr bwMode="auto">
              <a:xfrm>
                <a:off x="1397668" y="3045042"/>
                <a:ext cx="124997" cy="71427"/>
              </a:xfrm>
              <a:custGeom>
                <a:avLst/>
                <a:gdLst>
                  <a:gd name="T0" fmla="*/ 494 w 989"/>
                  <a:gd name="T1" fmla="*/ 565 h 566"/>
                  <a:gd name="T2" fmla="*/ 0 w 989"/>
                  <a:gd name="T3" fmla="*/ 565 h 566"/>
                  <a:gd name="T4" fmla="*/ 0 w 989"/>
                  <a:gd name="T5" fmla="*/ 0 h 566"/>
                  <a:gd name="T6" fmla="*/ 988 w 989"/>
                  <a:gd name="T7" fmla="*/ 0 h 566"/>
                  <a:gd name="T8" fmla="*/ 988 w 989"/>
                  <a:gd name="T9" fmla="*/ 565 h 566"/>
                  <a:gd name="T10" fmla="*/ 494 w 989"/>
                  <a:gd name="T11" fmla="*/ 565 h 566"/>
                </a:gdLst>
                <a:ahLst/>
                <a:cxnLst>
                  <a:cxn ang="0">
                    <a:pos x="T0" y="T1"/>
                  </a:cxn>
                  <a:cxn ang="0">
                    <a:pos x="T2" y="T3"/>
                  </a:cxn>
                  <a:cxn ang="0">
                    <a:pos x="T4" y="T5"/>
                  </a:cxn>
                  <a:cxn ang="0">
                    <a:pos x="T6" y="T7"/>
                  </a:cxn>
                  <a:cxn ang="0">
                    <a:pos x="T8" y="T9"/>
                  </a:cxn>
                  <a:cxn ang="0">
                    <a:pos x="T10" y="T11"/>
                  </a:cxn>
                </a:cxnLst>
                <a:rect l="0" t="0" r="r" b="b"/>
                <a:pathLst>
                  <a:path w="989" h="566">
                    <a:moveTo>
                      <a:pt x="494" y="565"/>
                    </a:moveTo>
                    <a:lnTo>
                      <a:pt x="0" y="565"/>
                    </a:lnTo>
                    <a:lnTo>
                      <a:pt x="0" y="0"/>
                    </a:lnTo>
                    <a:lnTo>
                      <a:pt x="988" y="0"/>
                    </a:lnTo>
                    <a:lnTo>
                      <a:pt x="988" y="565"/>
                    </a:lnTo>
                    <a:lnTo>
                      <a:pt x="494" y="565"/>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02" name="Freeform 201"/>
              <p:cNvSpPr>
                <a:spLocks noChangeArrowheads="1"/>
              </p:cNvSpPr>
              <p:nvPr/>
            </p:nvSpPr>
            <p:spPr bwMode="auto">
              <a:xfrm>
                <a:off x="1397668" y="3187895"/>
                <a:ext cx="124997" cy="71427"/>
              </a:xfrm>
              <a:custGeom>
                <a:avLst/>
                <a:gdLst>
                  <a:gd name="T0" fmla="*/ 494 w 989"/>
                  <a:gd name="T1" fmla="*/ 563 h 564"/>
                  <a:gd name="T2" fmla="*/ 0 w 989"/>
                  <a:gd name="T3" fmla="*/ 563 h 564"/>
                  <a:gd name="T4" fmla="*/ 0 w 989"/>
                  <a:gd name="T5" fmla="*/ 0 h 564"/>
                  <a:gd name="T6" fmla="*/ 988 w 989"/>
                  <a:gd name="T7" fmla="*/ 0 h 564"/>
                  <a:gd name="T8" fmla="*/ 988 w 989"/>
                  <a:gd name="T9" fmla="*/ 563 h 564"/>
                  <a:gd name="T10" fmla="*/ 494 w 989"/>
                  <a:gd name="T11" fmla="*/ 563 h 564"/>
                </a:gdLst>
                <a:ahLst/>
                <a:cxnLst>
                  <a:cxn ang="0">
                    <a:pos x="T0" y="T1"/>
                  </a:cxn>
                  <a:cxn ang="0">
                    <a:pos x="T2" y="T3"/>
                  </a:cxn>
                  <a:cxn ang="0">
                    <a:pos x="T4" y="T5"/>
                  </a:cxn>
                  <a:cxn ang="0">
                    <a:pos x="T6" y="T7"/>
                  </a:cxn>
                  <a:cxn ang="0">
                    <a:pos x="T8" y="T9"/>
                  </a:cxn>
                  <a:cxn ang="0">
                    <a:pos x="T10" y="T11"/>
                  </a:cxn>
                </a:cxnLst>
                <a:rect l="0" t="0" r="r" b="b"/>
                <a:pathLst>
                  <a:path w="989" h="564">
                    <a:moveTo>
                      <a:pt x="494" y="563"/>
                    </a:moveTo>
                    <a:lnTo>
                      <a:pt x="0" y="563"/>
                    </a:lnTo>
                    <a:lnTo>
                      <a:pt x="0" y="0"/>
                    </a:lnTo>
                    <a:lnTo>
                      <a:pt x="988" y="0"/>
                    </a:lnTo>
                    <a:lnTo>
                      <a:pt x="988" y="563"/>
                    </a:lnTo>
                    <a:lnTo>
                      <a:pt x="494" y="563"/>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03" name="Freeform 202"/>
              <p:cNvSpPr>
                <a:spLocks noChangeArrowheads="1"/>
              </p:cNvSpPr>
              <p:nvPr/>
            </p:nvSpPr>
            <p:spPr bwMode="auto">
              <a:xfrm>
                <a:off x="1594092" y="3045042"/>
                <a:ext cx="124997" cy="71427"/>
              </a:xfrm>
              <a:custGeom>
                <a:avLst/>
                <a:gdLst>
                  <a:gd name="T0" fmla="*/ 494 w 989"/>
                  <a:gd name="T1" fmla="*/ 565 h 566"/>
                  <a:gd name="T2" fmla="*/ 0 w 989"/>
                  <a:gd name="T3" fmla="*/ 565 h 566"/>
                  <a:gd name="T4" fmla="*/ 0 w 989"/>
                  <a:gd name="T5" fmla="*/ 0 h 566"/>
                  <a:gd name="T6" fmla="*/ 988 w 989"/>
                  <a:gd name="T7" fmla="*/ 0 h 566"/>
                  <a:gd name="T8" fmla="*/ 988 w 989"/>
                  <a:gd name="T9" fmla="*/ 565 h 566"/>
                  <a:gd name="T10" fmla="*/ 494 w 989"/>
                  <a:gd name="T11" fmla="*/ 565 h 566"/>
                </a:gdLst>
                <a:ahLst/>
                <a:cxnLst>
                  <a:cxn ang="0">
                    <a:pos x="T0" y="T1"/>
                  </a:cxn>
                  <a:cxn ang="0">
                    <a:pos x="T2" y="T3"/>
                  </a:cxn>
                  <a:cxn ang="0">
                    <a:pos x="T4" y="T5"/>
                  </a:cxn>
                  <a:cxn ang="0">
                    <a:pos x="T6" y="T7"/>
                  </a:cxn>
                  <a:cxn ang="0">
                    <a:pos x="T8" y="T9"/>
                  </a:cxn>
                  <a:cxn ang="0">
                    <a:pos x="T10" y="T11"/>
                  </a:cxn>
                </a:cxnLst>
                <a:rect l="0" t="0" r="r" b="b"/>
                <a:pathLst>
                  <a:path w="989" h="566">
                    <a:moveTo>
                      <a:pt x="494" y="565"/>
                    </a:moveTo>
                    <a:lnTo>
                      <a:pt x="0" y="565"/>
                    </a:lnTo>
                    <a:lnTo>
                      <a:pt x="0" y="0"/>
                    </a:lnTo>
                    <a:lnTo>
                      <a:pt x="988" y="0"/>
                    </a:lnTo>
                    <a:lnTo>
                      <a:pt x="988" y="565"/>
                    </a:lnTo>
                    <a:lnTo>
                      <a:pt x="494" y="565"/>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04" name="Freeform 203"/>
              <p:cNvSpPr>
                <a:spLocks noChangeArrowheads="1"/>
              </p:cNvSpPr>
              <p:nvPr/>
            </p:nvSpPr>
            <p:spPr bwMode="auto">
              <a:xfrm>
                <a:off x="1594092" y="3187895"/>
                <a:ext cx="124997" cy="71427"/>
              </a:xfrm>
              <a:custGeom>
                <a:avLst/>
                <a:gdLst>
                  <a:gd name="T0" fmla="*/ 494 w 989"/>
                  <a:gd name="T1" fmla="*/ 563 h 564"/>
                  <a:gd name="T2" fmla="*/ 0 w 989"/>
                  <a:gd name="T3" fmla="*/ 563 h 564"/>
                  <a:gd name="T4" fmla="*/ 0 w 989"/>
                  <a:gd name="T5" fmla="*/ 0 h 564"/>
                  <a:gd name="T6" fmla="*/ 988 w 989"/>
                  <a:gd name="T7" fmla="*/ 0 h 564"/>
                  <a:gd name="T8" fmla="*/ 988 w 989"/>
                  <a:gd name="T9" fmla="*/ 563 h 564"/>
                  <a:gd name="T10" fmla="*/ 494 w 989"/>
                  <a:gd name="T11" fmla="*/ 563 h 564"/>
                </a:gdLst>
                <a:ahLst/>
                <a:cxnLst>
                  <a:cxn ang="0">
                    <a:pos x="T0" y="T1"/>
                  </a:cxn>
                  <a:cxn ang="0">
                    <a:pos x="T2" y="T3"/>
                  </a:cxn>
                  <a:cxn ang="0">
                    <a:pos x="T4" y="T5"/>
                  </a:cxn>
                  <a:cxn ang="0">
                    <a:pos x="T6" y="T7"/>
                  </a:cxn>
                  <a:cxn ang="0">
                    <a:pos x="T8" y="T9"/>
                  </a:cxn>
                  <a:cxn ang="0">
                    <a:pos x="T10" y="T11"/>
                  </a:cxn>
                </a:cxnLst>
                <a:rect l="0" t="0" r="r" b="b"/>
                <a:pathLst>
                  <a:path w="989" h="564">
                    <a:moveTo>
                      <a:pt x="494" y="563"/>
                    </a:moveTo>
                    <a:lnTo>
                      <a:pt x="0" y="563"/>
                    </a:lnTo>
                    <a:lnTo>
                      <a:pt x="0" y="0"/>
                    </a:lnTo>
                    <a:lnTo>
                      <a:pt x="988" y="0"/>
                    </a:lnTo>
                    <a:lnTo>
                      <a:pt x="988" y="563"/>
                    </a:lnTo>
                    <a:lnTo>
                      <a:pt x="494" y="563"/>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05" name="Line 8"/>
              <p:cNvSpPr>
                <a:spLocks noChangeShapeType="1"/>
              </p:cNvSpPr>
              <p:nvPr/>
            </p:nvSpPr>
            <p:spPr bwMode="auto">
              <a:xfrm>
                <a:off x="1326800" y="2830764"/>
                <a:ext cx="457218" cy="0"/>
              </a:xfrm>
              <a:prstGeom prst="line">
                <a:avLst/>
              </a:prstGeom>
              <a:noFill/>
              <a:ln w="25400"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6" name="Freeform 205"/>
              <p:cNvSpPr>
                <a:spLocks noChangeArrowheads="1"/>
              </p:cNvSpPr>
              <p:nvPr/>
            </p:nvSpPr>
            <p:spPr bwMode="auto">
              <a:xfrm>
                <a:off x="1397668" y="3330748"/>
                <a:ext cx="321421" cy="214130"/>
              </a:xfrm>
              <a:custGeom>
                <a:avLst/>
                <a:gdLst>
                  <a:gd name="T0" fmla="*/ 0 w 2541"/>
                  <a:gd name="T1" fmla="*/ 1693 h 1694"/>
                  <a:gd name="T2" fmla="*/ 0 w 2541"/>
                  <a:gd name="T3" fmla="*/ 0 h 1694"/>
                  <a:gd name="T4" fmla="*/ 2540 w 2541"/>
                  <a:gd name="T5" fmla="*/ 0 h 1694"/>
                  <a:gd name="T6" fmla="*/ 2540 w 2541"/>
                  <a:gd name="T7" fmla="*/ 1693 h 1694"/>
                </a:gdLst>
                <a:ahLst/>
                <a:cxnLst>
                  <a:cxn ang="0">
                    <a:pos x="T0" y="T1"/>
                  </a:cxn>
                  <a:cxn ang="0">
                    <a:pos x="T2" y="T3"/>
                  </a:cxn>
                  <a:cxn ang="0">
                    <a:pos x="T4" y="T5"/>
                  </a:cxn>
                  <a:cxn ang="0">
                    <a:pos x="T6" y="T7"/>
                  </a:cxn>
                </a:cxnLst>
                <a:rect l="0" t="0" r="r" b="b"/>
                <a:pathLst>
                  <a:path w="2541" h="1694">
                    <a:moveTo>
                      <a:pt x="0" y="1693"/>
                    </a:moveTo>
                    <a:lnTo>
                      <a:pt x="0" y="0"/>
                    </a:lnTo>
                    <a:lnTo>
                      <a:pt x="2540" y="0"/>
                    </a:lnTo>
                    <a:lnTo>
                      <a:pt x="2540" y="1693"/>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7" name="Line 10"/>
              <p:cNvSpPr>
                <a:spLocks noChangeShapeType="1"/>
              </p:cNvSpPr>
              <p:nvPr/>
            </p:nvSpPr>
            <p:spPr bwMode="auto">
              <a:xfrm>
                <a:off x="1558378" y="3384319"/>
                <a:ext cx="0" cy="160559"/>
              </a:xfrm>
              <a:prstGeom prst="line">
                <a:avLst/>
              </a:prstGeom>
              <a:noFill/>
              <a:ln w="25400"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8" name="Line 11"/>
              <p:cNvSpPr>
                <a:spLocks noChangeShapeType="1"/>
              </p:cNvSpPr>
              <p:nvPr/>
            </p:nvSpPr>
            <p:spPr bwMode="auto">
              <a:xfrm>
                <a:off x="1397666" y="3384319"/>
                <a:ext cx="321423" cy="0"/>
              </a:xfrm>
              <a:prstGeom prst="line">
                <a:avLst/>
              </a:prstGeom>
              <a:noFill/>
              <a:ln w="25400"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9" name="Freeform 208"/>
              <p:cNvSpPr>
                <a:spLocks noChangeArrowheads="1"/>
              </p:cNvSpPr>
              <p:nvPr/>
            </p:nvSpPr>
            <p:spPr bwMode="auto">
              <a:xfrm>
                <a:off x="1397668" y="2705765"/>
                <a:ext cx="321421" cy="71427"/>
              </a:xfrm>
              <a:custGeom>
                <a:avLst/>
                <a:gdLst>
                  <a:gd name="T0" fmla="*/ 1270 w 2541"/>
                  <a:gd name="T1" fmla="*/ 565 h 566"/>
                  <a:gd name="T2" fmla="*/ 0 w 2541"/>
                  <a:gd name="T3" fmla="*/ 565 h 566"/>
                  <a:gd name="T4" fmla="*/ 0 w 2541"/>
                  <a:gd name="T5" fmla="*/ 0 h 566"/>
                  <a:gd name="T6" fmla="*/ 2540 w 2541"/>
                  <a:gd name="T7" fmla="*/ 0 h 566"/>
                  <a:gd name="T8" fmla="*/ 2540 w 2541"/>
                  <a:gd name="T9" fmla="*/ 565 h 566"/>
                  <a:gd name="T10" fmla="*/ 1270 w 2541"/>
                  <a:gd name="T11" fmla="*/ 565 h 566"/>
                </a:gdLst>
                <a:ahLst/>
                <a:cxnLst>
                  <a:cxn ang="0">
                    <a:pos x="T0" y="T1"/>
                  </a:cxn>
                  <a:cxn ang="0">
                    <a:pos x="T2" y="T3"/>
                  </a:cxn>
                  <a:cxn ang="0">
                    <a:pos x="T4" y="T5"/>
                  </a:cxn>
                  <a:cxn ang="0">
                    <a:pos x="T6" y="T7"/>
                  </a:cxn>
                  <a:cxn ang="0">
                    <a:pos x="T8" y="T9"/>
                  </a:cxn>
                  <a:cxn ang="0">
                    <a:pos x="T10" y="T11"/>
                  </a:cxn>
                </a:cxnLst>
                <a:rect l="0" t="0" r="r" b="b"/>
                <a:pathLst>
                  <a:path w="2541" h="566">
                    <a:moveTo>
                      <a:pt x="1270" y="565"/>
                    </a:moveTo>
                    <a:lnTo>
                      <a:pt x="0" y="565"/>
                    </a:lnTo>
                    <a:lnTo>
                      <a:pt x="0" y="0"/>
                    </a:lnTo>
                    <a:lnTo>
                      <a:pt x="2540" y="0"/>
                    </a:lnTo>
                    <a:lnTo>
                      <a:pt x="2540" y="565"/>
                    </a:lnTo>
                    <a:lnTo>
                      <a:pt x="1270" y="565"/>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10" name="Freeform 209"/>
              <p:cNvSpPr>
                <a:spLocks noChangeArrowheads="1"/>
              </p:cNvSpPr>
              <p:nvPr/>
            </p:nvSpPr>
            <p:spPr bwMode="auto">
              <a:xfrm>
                <a:off x="1166089" y="2973615"/>
                <a:ext cx="89283" cy="71427"/>
              </a:xfrm>
              <a:custGeom>
                <a:avLst/>
                <a:gdLst>
                  <a:gd name="T0" fmla="*/ 352 w 706"/>
                  <a:gd name="T1" fmla="*/ 564 h 565"/>
                  <a:gd name="T2" fmla="*/ 0 w 706"/>
                  <a:gd name="T3" fmla="*/ 564 h 565"/>
                  <a:gd name="T4" fmla="*/ 0 w 706"/>
                  <a:gd name="T5" fmla="*/ 0 h 565"/>
                  <a:gd name="T6" fmla="*/ 705 w 706"/>
                  <a:gd name="T7" fmla="*/ 0 h 565"/>
                  <a:gd name="T8" fmla="*/ 705 w 706"/>
                  <a:gd name="T9" fmla="*/ 564 h 565"/>
                  <a:gd name="T10" fmla="*/ 352 w 706"/>
                  <a:gd name="T11" fmla="*/ 564 h 565"/>
                </a:gdLst>
                <a:ahLst/>
                <a:cxnLst>
                  <a:cxn ang="0">
                    <a:pos x="T0" y="T1"/>
                  </a:cxn>
                  <a:cxn ang="0">
                    <a:pos x="T2" y="T3"/>
                  </a:cxn>
                  <a:cxn ang="0">
                    <a:pos x="T4" y="T5"/>
                  </a:cxn>
                  <a:cxn ang="0">
                    <a:pos x="T6" y="T7"/>
                  </a:cxn>
                  <a:cxn ang="0">
                    <a:pos x="T8" y="T9"/>
                  </a:cxn>
                  <a:cxn ang="0">
                    <a:pos x="T10" y="T11"/>
                  </a:cxn>
                </a:cxnLst>
                <a:rect l="0" t="0" r="r" b="b"/>
                <a:pathLst>
                  <a:path w="706" h="565">
                    <a:moveTo>
                      <a:pt x="352" y="564"/>
                    </a:moveTo>
                    <a:lnTo>
                      <a:pt x="0" y="564"/>
                    </a:lnTo>
                    <a:lnTo>
                      <a:pt x="0" y="0"/>
                    </a:lnTo>
                    <a:lnTo>
                      <a:pt x="705" y="0"/>
                    </a:lnTo>
                    <a:lnTo>
                      <a:pt x="705" y="564"/>
                    </a:lnTo>
                    <a:lnTo>
                      <a:pt x="352" y="564"/>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11" name="Freeform 15"/>
              <p:cNvSpPr>
                <a:spLocks noChangeArrowheads="1"/>
              </p:cNvSpPr>
              <p:nvPr/>
            </p:nvSpPr>
            <p:spPr bwMode="auto">
              <a:xfrm>
                <a:off x="1166089" y="3116468"/>
                <a:ext cx="89283" cy="71427"/>
              </a:xfrm>
              <a:custGeom>
                <a:avLst/>
                <a:gdLst>
                  <a:gd name="T0" fmla="*/ 352 w 706"/>
                  <a:gd name="T1" fmla="*/ 564 h 565"/>
                  <a:gd name="T2" fmla="*/ 0 w 706"/>
                  <a:gd name="T3" fmla="*/ 564 h 565"/>
                  <a:gd name="T4" fmla="*/ 0 w 706"/>
                  <a:gd name="T5" fmla="*/ 0 h 565"/>
                  <a:gd name="T6" fmla="*/ 705 w 706"/>
                  <a:gd name="T7" fmla="*/ 0 h 565"/>
                  <a:gd name="T8" fmla="*/ 705 w 706"/>
                  <a:gd name="T9" fmla="*/ 564 h 565"/>
                  <a:gd name="T10" fmla="*/ 352 w 706"/>
                  <a:gd name="T11" fmla="*/ 564 h 565"/>
                </a:gdLst>
                <a:ahLst/>
                <a:cxnLst>
                  <a:cxn ang="0">
                    <a:pos x="T0" y="T1"/>
                  </a:cxn>
                  <a:cxn ang="0">
                    <a:pos x="T2" y="T3"/>
                  </a:cxn>
                  <a:cxn ang="0">
                    <a:pos x="T4" y="T5"/>
                  </a:cxn>
                  <a:cxn ang="0">
                    <a:pos x="T6" y="T7"/>
                  </a:cxn>
                  <a:cxn ang="0">
                    <a:pos x="T8" y="T9"/>
                  </a:cxn>
                  <a:cxn ang="0">
                    <a:pos x="T10" y="T11"/>
                  </a:cxn>
                </a:cxnLst>
                <a:rect l="0" t="0" r="r" b="b"/>
                <a:pathLst>
                  <a:path w="706" h="565">
                    <a:moveTo>
                      <a:pt x="352" y="564"/>
                    </a:moveTo>
                    <a:lnTo>
                      <a:pt x="0" y="564"/>
                    </a:lnTo>
                    <a:lnTo>
                      <a:pt x="0" y="0"/>
                    </a:lnTo>
                    <a:lnTo>
                      <a:pt x="705" y="0"/>
                    </a:lnTo>
                    <a:lnTo>
                      <a:pt x="705" y="564"/>
                    </a:lnTo>
                    <a:lnTo>
                      <a:pt x="352" y="564"/>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12" name="Freeform 16"/>
              <p:cNvSpPr>
                <a:spLocks noChangeArrowheads="1"/>
              </p:cNvSpPr>
              <p:nvPr/>
            </p:nvSpPr>
            <p:spPr bwMode="auto">
              <a:xfrm>
                <a:off x="1166089" y="3259322"/>
                <a:ext cx="89283" cy="71427"/>
              </a:xfrm>
              <a:custGeom>
                <a:avLst/>
                <a:gdLst>
                  <a:gd name="T0" fmla="*/ 352 w 706"/>
                  <a:gd name="T1" fmla="*/ 565 h 566"/>
                  <a:gd name="T2" fmla="*/ 0 w 706"/>
                  <a:gd name="T3" fmla="*/ 565 h 566"/>
                  <a:gd name="T4" fmla="*/ 0 w 706"/>
                  <a:gd name="T5" fmla="*/ 0 h 566"/>
                  <a:gd name="T6" fmla="*/ 705 w 706"/>
                  <a:gd name="T7" fmla="*/ 0 h 566"/>
                  <a:gd name="T8" fmla="*/ 705 w 706"/>
                  <a:gd name="T9" fmla="*/ 565 h 566"/>
                  <a:gd name="T10" fmla="*/ 352 w 706"/>
                  <a:gd name="T11" fmla="*/ 565 h 566"/>
                </a:gdLst>
                <a:ahLst/>
                <a:cxnLst>
                  <a:cxn ang="0">
                    <a:pos x="T0" y="T1"/>
                  </a:cxn>
                  <a:cxn ang="0">
                    <a:pos x="T2" y="T3"/>
                  </a:cxn>
                  <a:cxn ang="0">
                    <a:pos x="T4" y="T5"/>
                  </a:cxn>
                  <a:cxn ang="0">
                    <a:pos x="T6" y="T7"/>
                  </a:cxn>
                  <a:cxn ang="0">
                    <a:pos x="T8" y="T9"/>
                  </a:cxn>
                  <a:cxn ang="0">
                    <a:pos x="T10" y="T11"/>
                  </a:cxn>
                </a:cxnLst>
                <a:rect l="0" t="0" r="r" b="b"/>
                <a:pathLst>
                  <a:path w="706" h="566">
                    <a:moveTo>
                      <a:pt x="352" y="565"/>
                    </a:moveTo>
                    <a:lnTo>
                      <a:pt x="0" y="565"/>
                    </a:lnTo>
                    <a:lnTo>
                      <a:pt x="0" y="0"/>
                    </a:lnTo>
                    <a:lnTo>
                      <a:pt x="705" y="0"/>
                    </a:lnTo>
                    <a:lnTo>
                      <a:pt x="705" y="565"/>
                    </a:lnTo>
                    <a:lnTo>
                      <a:pt x="352" y="565"/>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13" name="Freeform 17"/>
              <p:cNvSpPr>
                <a:spLocks noChangeArrowheads="1"/>
              </p:cNvSpPr>
              <p:nvPr/>
            </p:nvSpPr>
            <p:spPr bwMode="auto">
              <a:xfrm>
                <a:off x="1166089" y="3402175"/>
                <a:ext cx="89283" cy="71427"/>
              </a:xfrm>
              <a:custGeom>
                <a:avLst/>
                <a:gdLst>
                  <a:gd name="T0" fmla="*/ 352 w 706"/>
                  <a:gd name="T1" fmla="*/ 565 h 566"/>
                  <a:gd name="T2" fmla="*/ 0 w 706"/>
                  <a:gd name="T3" fmla="*/ 565 h 566"/>
                  <a:gd name="T4" fmla="*/ 0 w 706"/>
                  <a:gd name="T5" fmla="*/ 0 h 566"/>
                  <a:gd name="T6" fmla="*/ 705 w 706"/>
                  <a:gd name="T7" fmla="*/ 0 h 566"/>
                  <a:gd name="T8" fmla="*/ 705 w 706"/>
                  <a:gd name="T9" fmla="*/ 565 h 566"/>
                  <a:gd name="T10" fmla="*/ 352 w 706"/>
                  <a:gd name="T11" fmla="*/ 565 h 566"/>
                </a:gdLst>
                <a:ahLst/>
                <a:cxnLst>
                  <a:cxn ang="0">
                    <a:pos x="T0" y="T1"/>
                  </a:cxn>
                  <a:cxn ang="0">
                    <a:pos x="T2" y="T3"/>
                  </a:cxn>
                  <a:cxn ang="0">
                    <a:pos x="T4" y="T5"/>
                  </a:cxn>
                  <a:cxn ang="0">
                    <a:pos x="T6" y="T7"/>
                  </a:cxn>
                  <a:cxn ang="0">
                    <a:pos x="T8" y="T9"/>
                  </a:cxn>
                  <a:cxn ang="0">
                    <a:pos x="T10" y="T11"/>
                  </a:cxn>
                </a:cxnLst>
                <a:rect l="0" t="0" r="r" b="b"/>
                <a:pathLst>
                  <a:path w="706" h="566">
                    <a:moveTo>
                      <a:pt x="352" y="565"/>
                    </a:moveTo>
                    <a:lnTo>
                      <a:pt x="0" y="565"/>
                    </a:lnTo>
                    <a:lnTo>
                      <a:pt x="0" y="0"/>
                    </a:lnTo>
                    <a:lnTo>
                      <a:pt x="705" y="0"/>
                    </a:lnTo>
                    <a:lnTo>
                      <a:pt x="705" y="565"/>
                    </a:lnTo>
                    <a:lnTo>
                      <a:pt x="352" y="565"/>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14" name="Freeform 19"/>
              <p:cNvSpPr>
                <a:spLocks noChangeArrowheads="1"/>
              </p:cNvSpPr>
              <p:nvPr/>
            </p:nvSpPr>
            <p:spPr bwMode="auto">
              <a:xfrm>
                <a:off x="1861942" y="3116468"/>
                <a:ext cx="89283" cy="71427"/>
              </a:xfrm>
              <a:custGeom>
                <a:avLst/>
                <a:gdLst>
                  <a:gd name="T0" fmla="*/ 353 w 706"/>
                  <a:gd name="T1" fmla="*/ 564 h 565"/>
                  <a:gd name="T2" fmla="*/ 0 w 706"/>
                  <a:gd name="T3" fmla="*/ 564 h 565"/>
                  <a:gd name="T4" fmla="*/ 0 w 706"/>
                  <a:gd name="T5" fmla="*/ 0 h 565"/>
                  <a:gd name="T6" fmla="*/ 705 w 706"/>
                  <a:gd name="T7" fmla="*/ 0 h 565"/>
                  <a:gd name="T8" fmla="*/ 705 w 706"/>
                  <a:gd name="T9" fmla="*/ 564 h 565"/>
                  <a:gd name="T10" fmla="*/ 353 w 706"/>
                  <a:gd name="T11" fmla="*/ 564 h 565"/>
                </a:gdLst>
                <a:ahLst/>
                <a:cxnLst>
                  <a:cxn ang="0">
                    <a:pos x="T0" y="T1"/>
                  </a:cxn>
                  <a:cxn ang="0">
                    <a:pos x="T2" y="T3"/>
                  </a:cxn>
                  <a:cxn ang="0">
                    <a:pos x="T4" y="T5"/>
                  </a:cxn>
                  <a:cxn ang="0">
                    <a:pos x="T6" y="T7"/>
                  </a:cxn>
                  <a:cxn ang="0">
                    <a:pos x="T8" y="T9"/>
                  </a:cxn>
                  <a:cxn ang="0">
                    <a:pos x="T10" y="T11"/>
                  </a:cxn>
                </a:cxnLst>
                <a:rect l="0" t="0" r="r" b="b"/>
                <a:pathLst>
                  <a:path w="706" h="565">
                    <a:moveTo>
                      <a:pt x="353" y="564"/>
                    </a:moveTo>
                    <a:lnTo>
                      <a:pt x="0" y="564"/>
                    </a:lnTo>
                    <a:lnTo>
                      <a:pt x="0" y="0"/>
                    </a:lnTo>
                    <a:lnTo>
                      <a:pt x="705" y="0"/>
                    </a:lnTo>
                    <a:lnTo>
                      <a:pt x="705" y="564"/>
                    </a:lnTo>
                    <a:lnTo>
                      <a:pt x="353" y="564"/>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15" name="Freeform 20"/>
              <p:cNvSpPr>
                <a:spLocks noChangeArrowheads="1"/>
              </p:cNvSpPr>
              <p:nvPr/>
            </p:nvSpPr>
            <p:spPr bwMode="auto">
              <a:xfrm>
                <a:off x="1861942" y="3259322"/>
                <a:ext cx="89283" cy="71427"/>
              </a:xfrm>
              <a:custGeom>
                <a:avLst/>
                <a:gdLst>
                  <a:gd name="T0" fmla="*/ 353 w 706"/>
                  <a:gd name="T1" fmla="*/ 565 h 566"/>
                  <a:gd name="T2" fmla="*/ 0 w 706"/>
                  <a:gd name="T3" fmla="*/ 565 h 566"/>
                  <a:gd name="T4" fmla="*/ 0 w 706"/>
                  <a:gd name="T5" fmla="*/ 0 h 566"/>
                  <a:gd name="T6" fmla="*/ 705 w 706"/>
                  <a:gd name="T7" fmla="*/ 0 h 566"/>
                  <a:gd name="T8" fmla="*/ 705 w 706"/>
                  <a:gd name="T9" fmla="*/ 565 h 566"/>
                  <a:gd name="T10" fmla="*/ 353 w 706"/>
                  <a:gd name="T11" fmla="*/ 565 h 566"/>
                </a:gdLst>
                <a:ahLst/>
                <a:cxnLst>
                  <a:cxn ang="0">
                    <a:pos x="T0" y="T1"/>
                  </a:cxn>
                  <a:cxn ang="0">
                    <a:pos x="T2" y="T3"/>
                  </a:cxn>
                  <a:cxn ang="0">
                    <a:pos x="T4" y="T5"/>
                  </a:cxn>
                  <a:cxn ang="0">
                    <a:pos x="T6" y="T7"/>
                  </a:cxn>
                  <a:cxn ang="0">
                    <a:pos x="T8" y="T9"/>
                  </a:cxn>
                  <a:cxn ang="0">
                    <a:pos x="T10" y="T11"/>
                  </a:cxn>
                </a:cxnLst>
                <a:rect l="0" t="0" r="r" b="b"/>
                <a:pathLst>
                  <a:path w="706" h="566">
                    <a:moveTo>
                      <a:pt x="353" y="565"/>
                    </a:moveTo>
                    <a:lnTo>
                      <a:pt x="0" y="565"/>
                    </a:lnTo>
                    <a:lnTo>
                      <a:pt x="0" y="0"/>
                    </a:lnTo>
                    <a:lnTo>
                      <a:pt x="705" y="0"/>
                    </a:lnTo>
                    <a:lnTo>
                      <a:pt x="705" y="565"/>
                    </a:lnTo>
                    <a:lnTo>
                      <a:pt x="353" y="565"/>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16" name="Freeform 21"/>
              <p:cNvSpPr>
                <a:spLocks noChangeArrowheads="1"/>
              </p:cNvSpPr>
              <p:nvPr/>
            </p:nvSpPr>
            <p:spPr bwMode="auto">
              <a:xfrm>
                <a:off x="1861944" y="3402171"/>
                <a:ext cx="89283" cy="71427"/>
              </a:xfrm>
              <a:custGeom>
                <a:avLst/>
                <a:gdLst>
                  <a:gd name="T0" fmla="*/ 353 w 706"/>
                  <a:gd name="T1" fmla="*/ 565 h 566"/>
                  <a:gd name="T2" fmla="*/ 0 w 706"/>
                  <a:gd name="T3" fmla="*/ 565 h 566"/>
                  <a:gd name="T4" fmla="*/ 0 w 706"/>
                  <a:gd name="T5" fmla="*/ 0 h 566"/>
                  <a:gd name="T6" fmla="*/ 705 w 706"/>
                  <a:gd name="T7" fmla="*/ 0 h 566"/>
                  <a:gd name="T8" fmla="*/ 705 w 706"/>
                  <a:gd name="T9" fmla="*/ 565 h 566"/>
                  <a:gd name="T10" fmla="*/ 353 w 706"/>
                  <a:gd name="T11" fmla="*/ 565 h 566"/>
                </a:gdLst>
                <a:ahLst/>
                <a:cxnLst>
                  <a:cxn ang="0">
                    <a:pos x="T0" y="T1"/>
                  </a:cxn>
                  <a:cxn ang="0">
                    <a:pos x="T2" y="T3"/>
                  </a:cxn>
                  <a:cxn ang="0">
                    <a:pos x="T4" y="T5"/>
                  </a:cxn>
                  <a:cxn ang="0">
                    <a:pos x="T6" y="T7"/>
                  </a:cxn>
                  <a:cxn ang="0">
                    <a:pos x="T8" y="T9"/>
                  </a:cxn>
                  <a:cxn ang="0">
                    <a:pos x="T10" y="T11"/>
                  </a:cxn>
                </a:cxnLst>
                <a:rect l="0" t="0" r="r" b="b"/>
                <a:pathLst>
                  <a:path w="706" h="566">
                    <a:moveTo>
                      <a:pt x="353" y="565"/>
                    </a:moveTo>
                    <a:lnTo>
                      <a:pt x="0" y="565"/>
                    </a:lnTo>
                    <a:lnTo>
                      <a:pt x="0" y="0"/>
                    </a:lnTo>
                    <a:lnTo>
                      <a:pt x="705" y="0"/>
                    </a:lnTo>
                    <a:lnTo>
                      <a:pt x="705" y="565"/>
                    </a:lnTo>
                    <a:lnTo>
                      <a:pt x="353" y="565"/>
                    </a:lnTo>
                  </a:path>
                </a:pathLst>
              </a:custGeom>
              <a:noFill/>
              <a:ln w="25400" cap="rnd">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17" name="Freeform 216"/>
              <p:cNvSpPr/>
              <p:nvPr/>
            </p:nvSpPr>
            <p:spPr>
              <a:xfrm>
                <a:off x="1094104" y="2777124"/>
                <a:ext cx="927686" cy="767755"/>
              </a:xfrm>
              <a:custGeom>
                <a:avLst/>
                <a:gdLst>
                  <a:gd name="connsiteX0" fmla="*/ 113468 w 453449"/>
                  <a:gd name="connsiteY0" fmla="*/ 0 h 375275"/>
                  <a:gd name="connsiteX1" fmla="*/ 340122 w 453449"/>
                  <a:gd name="connsiteY1" fmla="*/ 0 h 375275"/>
                  <a:gd name="connsiteX2" fmla="*/ 340122 w 453449"/>
                  <a:gd name="connsiteY2" fmla="*/ 130236 h 375275"/>
                  <a:gd name="connsiteX3" fmla="*/ 453449 w 453449"/>
                  <a:gd name="connsiteY3" fmla="*/ 130236 h 375275"/>
                  <a:gd name="connsiteX4" fmla="*/ 453449 w 453449"/>
                  <a:gd name="connsiteY4" fmla="*/ 375275 h 375275"/>
                  <a:gd name="connsiteX5" fmla="*/ 340122 w 453449"/>
                  <a:gd name="connsiteY5" fmla="*/ 375275 h 375275"/>
                  <a:gd name="connsiteX6" fmla="*/ 226795 w 453449"/>
                  <a:gd name="connsiteY6" fmla="*/ 375275 h 375275"/>
                  <a:gd name="connsiteX7" fmla="*/ 145978 w 453449"/>
                  <a:gd name="connsiteY7" fmla="*/ 375275 h 375275"/>
                  <a:gd name="connsiteX8" fmla="*/ 113468 w 453449"/>
                  <a:gd name="connsiteY8" fmla="*/ 375275 h 375275"/>
                  <a:gd name="connsiteX9" fmla="*/ 0 w 453449"/>
                  <a:gd name="connsiteY9" fmla="*/ 375275 h 375275"/>
                  <a:gd name="connsiteX10" fmla="*/ 0 w 453449"/>
                  <a:gd name="connsiteY10" fmla="*/ 61131 h 375275"/>
                  <a:gd name="connsiteX11" fmla="*/ 113468 w 453449"/>
                  <a:gd name="connsiteY11" fmla="*/ 61131 h 37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3449" h="375275">
                    <a:moveTo>
                      <a:pt x="113468" y="0"/>
                    </a:moveTo>
                    <a:lnTo>
                      <a:pt x="340122" y="0"/>
                    </a:lnTo>
                    <a:lnTo>
                      <a:pt x="340122" y="130236"/>
                    </a:lnTo>
                    <a:lnTo>
                      <a:pt x="453449" y="130236"/>
                    </a:lnTo>
                    <a:lnTo>
                      <a:pt x="453449" y="375275"/>
                    </a:lnTo>
                    <a:lnTo>
                      <a:pt x="340122" y="375275"/>
                    </a:lnTo>
                    <a:lnTo>
                      <a:pt x="226795" y="375275"/>
                    </a:lnTo>
                    <a:lnTo>
                      <a:pt x="145978" y="375275"/>
                    </a:lnTo>
                    <a:lnTo>
                      <a:pt x="113468" y="375275"/>
                    </a:lnTo>
                    <a:lnTo>
                      <a:pt x="0" y="375275"/>
                    </a:lnTo>
                    <a:lnTo>
                      <a:pt x="0" y="61131"/>
                    </a:lnTo>
                    <a:lnTo>
                      <a:pt x="113468" y="61131"/>
                    </a:lnTo>
                    <a:close/>
                  </a:path>
                </a:pathLst>
              </a:custGeom>
              <a:noFill/>
              <a:ln w="25400" cap="rnd">
                <a:solidFill>
                  <a:schemeClr val="tx1"/>
                </a:solid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222" name="Line 8"/>
              <p:cNvSpPr>
                <a:spLocks noChangeShapeType="1"/>
              </p:cNvSpPr>
              <p:nvPr/>
            </p:nvSpPr>
            <p:spPr bwMode="auto">
              <a:xfrm rot="16200000">
                <a:off x="1005455" y="3223534"/>
                <a:ext cx="642689" cy="0"/>
              </a:xfrm>
              <a:prstGeom prst="line">
                <a:avLst/>
              </a:prstGeom>
              <a:noFill/>
              <a:ln w="25400"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23" name="Line 8"/>
              <p:cNvSpPr>
                <a:spLocks noChangeShapeType="1"/>
              </p:cNvSpPr>
              <p:nvPr/>
            </p:nvSpPr>
            <p:spPr bwMode="auto">
              <a:xfrm rot="16200000">
                <a:off x="1544095" y="3298461"/>
                <a:ext cx="492834" cy="0"/>
              </a:xfrm>
              <a:prstGeom prst="line">
                <a:avLst/>
              </a:prstGeom>
              <a:noFill/>
              <a:ln w="25400" cap="rnd">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grpSp>
        <p:sp>
          <p:nvSpPr>
            <p:cNvPr id="224" name="Content Placeholder 17"/>
            <p:cNvSpPr txBox="1">
              <a:spLocks/>
            </p:cNvSpPr>
            <p:nvPr/>
          </p:nvSpPr>
          <p:spPr>
            <a:xfrm>
              <a:off x="5299152" y="4492706"/>
              <a:ext cx="1400009" cy="274742"/>
            </a:xfrm>
            <a:prstGeom prst="rect">
              <a:avLst/>
            </a:prstGeom>
          </p:spPr>
          <p:txBody>
            <a:bodyPr lIns="91420" tIns="45710" rIns="91420" bIns="45710" anchor="ctr">
              <a:noAutofit/>
            </a:bodyPr>
            <a:lstStyle>
              <a:lvl1pPr marL="0" marR="0" indent="0" algn="ctr" defTabSz="457105" rtl="0" eaLnBrk="1" fontAlgn="auto" latinLnBrk="0" hangingPunct="1">
                <a:lnSpc>
                  <a:spcPct val="100000"/>
                </a:lnSpc>
                <a:spcBef>
                  <a:spcPts val="1800"/>
                </a:spcBef>
                <a:spcAft>
                  <a:spcPts val="0"/>
                </a:spcAft>
                <a:buClrTx/>
                <a:buSzTx/>
                <a:buFont typeface="Arial"/>
                <a:buNone/>
                <a:tabLst/>
                <a:defRPr lang="en-US" sz="1800" b="0" i="0" kern="1200" baseline="0">
                  <a:solidFill>
                    <a:schemeClr val="tx1"/>
                  </a:solidFill>
                  <a:latin typeface="+mn-lt"/>
                  <a:ea typeface="ＭＳ Ｐゴシック" charset="0"/>
                  <a:cs typeface="CiscoSans ExtraLight"/>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100" b="1" dirty="0" smtClean="0">
                  <a:ea typeface="ＭＳ Ｐゴシック" pitchFamily="34" charset="-128"/>
                </a:rPr>
                <a:t>SMB Connectivity</a:t>
              </a:r>
              <a:endParaRPr lang="en-US" sz="1100" b="1" dirty="0">
                <a:ea typeface="ＭＳ Ｐゴシック" pitchFamily="34" charset="-128"/>
              </a:endParaRPr>
            </a:p>
          </p:txBody>
        </p:sp>
        <p:sp>
          <p:nvSpPr>
            <p:cNvPr id="225" name="Content Placeholder 17"/>
            <p:cNvSpPr txBox="1">
              <a:spLocks/>
            </p:cNvSpPr>
            <p:nvPr/>
          </p:nvSpPr>
          <p:spPr>
            <a:xfrm>
              <a:off x="7052426" y="4492706"/>
              <a:ext cx="1400009" cy="274742"/>
            </a:xfrm>
            <a:prstGeom prst="rect">
              <a:avLst/>
            </a:prstGeom>
          </p:spPr>
          <p:txBody>
            <a:bodyPr lIns="91420" tIns="45710" rIns="91420" bIns="45710" anchor="ctr">
              <a:noAutofit/>
            </a:bodyPr>
            <a:lstStyle>
              <a:lvl1pPr marL="0" marR="0" indent="0" algn="ctr" defTabSz="457105" rtl="0" eaLnBrk="1" fontAlgn="auto" latinLnBrk="0" hangingPunct="1">
                <a:lnSpc>
                  <a:spcPct val="100000"/>
                </a:lnSpc>
                <a:spcBef>
                  <a:spcPts val="1800"/>
                </a:spcBef>
                <a:spcAft>
                  <a:spcPts val="0"/>
                </a:spcAft>
                <a:buClrTx/>
                <a:buSzTx/>
                <a:buFont typeface="Arial"/>
                <a:buNone/>
                <a:tabLst/>
                <a:defRPr lang="en-US" sz="1800" b="0" i="0" kern="1200" baseline="0">
                  <a:solidFill>
                    <a:schemeClr val="tx1"/>
                  </a:solidFill>
                  <a:latin typeface="+mn-lt"/>
                  <a:ea typeface="ＭＳ Ｐゴシック" charset="0"/>
                  <a:cs typeface="CiscoSans ExtraLight"/>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100" b="1" dirty="0" smtClean="0">
                  <a:ea typeface="ＭＳ Ｐゴシック" pitchFamily="34" charset="-128"/>
                </a:rPr>
                <a:t>MSSP Enterprise</a:t>
              </a:r>
              <a:endParaRPr lang="en-US" sz="1100" b="1" dirty="0">
                <a:ea typeface="ＭＳ Ｐゴシック" pitchFamily="34" charset="-128"/>
              </a:endParaRPr>
            </a:p>
          </p:txBody>
        </p:sp>
        <p:sp>
          <p:nvSpPr>
            <p:cNvPr id="229" name="Content Placeholder 17"/>
            <p:cNvSpPr txBox="1">
              <a:spLocks/>
            </p:cNvSpPr>
            <p:nvPr/>
          </p:nvSpPr>
          <p:spPr>
            <a:xfrm>
              <a:off x="3534970" y="4492706"/>
              <a:ext cx="1400009" cy="274742"/>
            </a:xfrm>
            <a:prstGeom prst="rect">
              <a:avLst/>
            </a:prstGeom>
          </p:spPr>
          <p:txBody>
            <a:bodyPr lIns="91420" tIns="45710" rIns="91420" bIns="45710" anchor="ctr">
              <a:noAutofit/>
            </a:bodyPr>
            <a:lstStyle>
              <a:lvl1pPr marL="0" marR="0" indent="0" algn="ctr" defTabSz="457105" rtl="0" eaLnBrk="1" fontAlgn="auto" latinLnBrk="0" hangingPunct="1">
                <a:lnSpc>
                  <a:spcPct val="100000"/>
                </a:lnSpc>
                <a:spcBef>
                  <a:spcPts val="1800"/>
                </a:spcBef>
                <a:spcAft>
                  <a:spcPts val="0"/>
                </a:spcAft>
                <a:buClrTx/>
                <a:buSzTx/>
                <a:buFont typeface="Arial"/>
                <a:buNone/>
                <a:tabLst/>
                <a:defRPr lang="en-US" sz="1800" b="0" i="0" kern="1200" baseline="0">
                  <a:solidFill>
                    <a:schemeClr val="tx1"/>
                  </a:solidFill>
                  <a:latin typeface="+mn-lt"/>
                  <a:ea typeface="ＭＳ Ｐゴシック" charset="0"/>
                  <a:cs typeface="CiscoSans ExtraLight"/>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100" b="1" dirty="0" smtClean="0">
                  <a:ea typeface="ＭＳ Ｐゴシック" pitchFamily="34" charset="-128"/>
                </a:rPr>
                <a:t>Consumer</a:t>
              </a:r>
              <a:endParaRPr lang="en-US" sz="1100" b="1" dirty="0">
                <a:ea typeface="ＭＳ Ｐゴシック" pitchFamily="34" charset="-128"/>
              </a:endParaRPr>
            </a:p>
          </p:txBody>
        </p:sp>
        <p:pic>
          <p:nvPicPr>
            <p:cNvPr id="11" name="Picture 10"/>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100513" y="3982414"/>
              <a:ext cx="268922" cy="496471"/>
            </a:xfrm>
            <a:prstGeom prst="rect">
              <a:avLst/>
            </a:prstGeom>
          </p:spPr>
        </p:pic>
        <p:cxnSp>
          <p:nvCxnSpPr>
            <p:cNvPr id="13" name="Straight Connector 12"/>
            <p:cNvCxnSpPr/>
            <p:nvPr/>
          </p:nvCxnSpPr>
          <p:spPr>
            <a:xfrm>
              <a:off x="4540325" y="4234783"/>
              <a:ext cx="965200" cy="0"/>
            </a:xfrm>
            <a:prstGeom prst="line">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a:off x="6446520" y="4234783"/>
              <a:ext cx="805166" cy="0"/>
            </a:xfrm>
            <a:prstGeom prst="line">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2940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7766" y="341313"/>
            <a:ext cx="8523354" cy="731837"/>
          </a:xfrm>
        </p:spPr>
        <p:txBody>
          <a:bodyPr/>
          <a:lstStyle/>
          <a:p>
            <a:r>
              <a:rPr lang="en-US" sz="2700" dirty="0" smtClean="0"/>
              <a:t>Protecting Network, Cloud, Device for 5G, </a:t>
            </a:r>
            <a:r>
              <a:rPr lang="en-US" sz="2700" dirty="0" err="1" smtClean="0"/>
              <a:t>IoT</a:t>
            </a:r>
            <a:r>
              <a:rPr lang="en-US" sz="2700" dirty="0" smtClean="0"/>
              <a:t>, Beyond </a:t>
            </a:r>
            <a:r>
              <a:rPr lang="en-US" sz="2000" dirty="0" smtClean="0"/>
              <a:t>Secure Enterprise Mobility</a:t>
            </a:r>
            <a:endParaRPr lang="en-US" sz="2000" dirty="0"/>
          </a:p>
        </p:txBody>
      </p:sp>
      <p:graphicFrame>
        <p:nvGraphicFramePr>
          <p:cNvPr id="55" name="Chart 54"/>
          <p:cNvGraphicFramePr>
            <a:graphicFrameLocks/>
          </p:cNvGraphicFramePr>
          <p:nvPr>
            <p:extLst/>
          </p:nvPr>
        </p:nvGraphicFramePr>
        <p:xfrm>
          <a:off x="-498983" y="1053932"/>
          <a:ext cx="4440148" cy="2536824"/>
        </p:xfrm>
        <a:graphic>
          <a:graphicData uri="http://schemas.openxmlformats.org/drawingml/2006/chart">
            <c:chart xmlns:c="http://schemas.openxmlformats.org/drawingml/2006/chart" xmlns:r="http://schemas.openxmlformats.org/officeDocument/2006/relationships" r:id="rId3"/>
          </a:graphicData>
        </a:graphic>
      </p:graphicFrame>
      <p:grpSp>
        <p:nvGrpSpPr>
          <p:cNvPr id="56" name="Group 55"/>
          <p:cNvGrpSpPr/>
          <p:nvPr/>
        </p:nvGrpSpPr>
        <p:grpSpPr>
          <a:xfrm>
            <a:off x="1402380" y="2638619"/>
            <a:ext cx="637422" cy="638045"/>
            <a:chOff x="1130292" y="2381435"/>
            <a:chExt cx="774039" cy="774796"/>
          </a:xfrm>
        </p:grpSpPr>
        <p:sp>
          <p:nvSpPr>
            <p:cNvPr id="57" name="Freeform 56"/>
            <p:cNvSpPr>
              <a:spLocks noChangeAspect="1"/>
            </p:cNvSpPr>
            <p:nvPr/>
          </p:nvSpPr>
          <p:spPr bwMode="auto">
            <a:xfrm flipH="1">
              <a:off x="1130292" y="2692969"/>
              <a:ext cx="774039" cy="463262"/>
            </a:xfrm>
            <a:custGeom>
              <a:avLst/>
              <a:gdLst>
                <a:gd name="T0" fmla="*/ 699 w 799"/>
                <a:gd name="T1" fmla="*/ 264 h 464"/>
                <a:gd name="T2" fmla="*/ 698 w 799"/>
                <a:gd name="T3" fmla="*/ 264 h 464"/>
                <a:gd name="T4" fmla="*/ 699 w 799"/>
                <a:gd name="T5" fmla="*/ 253 h 464"/>
                <a:gd name="T6" fmla="*/ 635 w 799"/>
                <a:gd name="T7" fmla="*/ 190 h 464"/>
                <a:gd name="T8" fmla="*/ 623 w 799"/>
                <a:gd name="T9" fmla="*/ 191 h 464"/>
                <a:gd name="T10" fmla="*/ 629 w 799"/>
                <a:gd name="T11" fmla="*/ 153 h 464"/>
                <a:gd name="T12" fmla="*/ 457 w 799"/>
                <a:gd name="T13" fmla="*/ 0 h 464"/>
                <a:gd name="T14" fmla="*/ 288 w 799"/>
                <a:gd name="T15" fmla="*/ 124 h 464"/>
                <a:gd name="T16" fmla="*/ 229 w 799"/>
                <a:gd name="T17" fmla="*/ 102 h 464"/>
                <a:gd name="T18" fmla="*/ 138 w 799"/>
                <a:gd name="T19" fmla="*/ 194 h 464"/>
                <a:gd name="T20" fmla="*/ 138 w 799"/>
                <a:gd name="T21" fmla="*/ 199 h 464"/>
                <a:gd name="T22" fmla="*/ 133 w 799"/>
                <a:gd name="T23" fmla="*/ 198 h 464"/>
                <a:gd name="T24" fmla="*/ 0 w 799"/>
                <a:gd name="T25" fmla="*/ 331 h 464"/>
                <a:gd name="T26" fmla="*/ 133 w 799"/>
                <a:gd name="T27" fmla="*/ 464 h 464"/>
                <a:gd name="T28" fmla="*/ 699 w 799"/>
                <a:gd name="T29" fmla="*/ 464 h 464"/>
                <a:gd name="T30" fmla="*/ 799 w 799"/>
                <a:gd name="T31" fmla="*/ 364 h 464"/>
                <a:gd name="T32" fmla="*/ 699 w 799"/>
                <a:gd name="T33" fmla="*/ 2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9" h="464">
                  <a:moveTo>
                    <a:pt x="699" y="264"/>
                  </a:moveTo>
                  <a:cubicBezTo>
                    <a:pt x="698" y="264"/>
                    <a:pt x="698" y="264"/>
                    <a:pt x="698" y="264"/>
                  </a:cubicBezTo>
                  <a:cubicBezTo>
                    <a:pt x="698" y="260"/>
                    <a:pt x="699" y="257"/>
                    <a:pt x="699" y="253"/>
                  </a:cubicBezTo>
                  <a:cubicBezTo>
                    <a:pt x="699" y="218"/>
                    <a:pt x="670" y="190"/>
                    <a:pt x="635" y="190"/>
                  </a:cubicBezTo>
                  <a:cubicBezTo>
                    <a:pt x="631" y="190"/>
                    <a:pt x="627" y="190"/>
                    <a:pt x="623" y="191"/>
                  </a:cubicBezTo>
                  <a:cubicBezTo>
                    <a:pt x="627" y="179"/>
                    <a:pt x="629" y="166"/>
                    <a:pt x="629" y="153"/>
                  </a:cubicBezTo>
                  <a:cubicBezTo>
                    <a:pt x="629" y="69"/>
                    <a:pt x="552" y="0"/>
                    <a:pt x="457" y="0"/>
                  </a:cubicBezTo>
                  <a:cubicBezTo>
                    <a:pt x="373" y="0"/>
                    <a:pt x="304" y="53"/>
                    <a:pt x="288" y="124"/>
                  </a:cubicBezTo>
                  <a:cubicBezTo>
                    <a:pt x="272" y="110"/>
                    <a:pt x="252" y="102"/>
                    <a:pt x="229" y="102"/>
                  </a:cubicBezTo>
                  <a:cubicBezTo>
                    <a:pt x="179" y="102"/>
                    <a:pt x="138" y="143"/>
                    <a:pt x="138" y="194"/>
                  </a:cubicBezTo>
                  <a:cubicBezTo>
                    <a:pt x="138" y="195"/>
                    <a:pt x="138" y="197"/>
                    <a:pt x="138" y="199"/>
                  </a:cubicBezTo>
                  <a:cubicBezTo>
                    <a:pt x="133" y="198"/>
                    <a:pt x="133" y="198"/>
                    <a:pt x="133" y="198"/>
                  </a:cubicBezTo>
                  <a:cubicBezTo>
                    <a:pt x="59" y="198"/>
                    <a:pt x="0" y="257"/>
                    <a:pt x="0" y="331"/>
                  </a:cubicBezTo>
                  <a:cubicBezTo>
                    <a:pt x="0" y="404"/>
                    <a:pt x="59" y="464"/>
                    <a:pt x="133" y="464"/>
                  </a:cubicBezTo>
                  <a:cubicBezTo>
                    <a:pt x="699" y="464"/>
                    <a:pt x="699" y="464"/>
                    <a:pt x="699" y="464"/>
                  </a:cubicBezTo>
                  <a:cubicBezTo>
                    <a:pt x="754" y="464"/>
                    <a:pt x="799" y="419"/>
                    <a:pt x="799" y="364"/>
                  </a:cubicBezTo>
                  <a:cubicBezTo>
                    <a:pt x="799" y="309"/>
                    <a:pt x="754" y="264"/>
                    <a:pt x="699" y="264"/>
                  </a:cubicBezTo>
                  <a:close/>
                </a:path>
              </a:pathLst>
            </a:custGeom>
            <a:solidFill>
              <a:schemeClr val="bg1"/>
            </a:solidFill>
            <a:ln w="25400" cap="flat" cmpd="sng" algn="ctr">
              <a:noFill/>
              <a:prstDash val="solid"/>
            </a:ln>
            <a:effectLst/>
          </p:spPr>
          <p:txBody>
            <a:bodyPr lIns="162504" tIns="81251" rIns="162504" bIns="81251" rtlCol="0" anchor="ctr"/>
            <a:lstStyle/>
            <a:p>
              <a:pPr algn="ctr" defTabSz="685368">
                <a:defRPr/>
              </a:pPr>
              <a:endParaRPr lang="en-US" sz="1050" kern="0" dirty="0">
                <a:solidFill>
                  <a:srgbClr val="3366FF"/>
                </a:solidFill>
                <a:ea typeface="ＭＳ Ｐゴシック" pitchFamily="34" charset="-128"/>
              </a:endParaRPr>
            </a:p>
          </p:txBody>
        </p:sp>
        <p:sp>
          <p:nvSpPr>
            <p:cNvPr id="58" name="Rectangle 57"/>
            <p:cNvSpPr/>
            <p:nvPr/>
          </p:nvSpPr>
          <p:spPr>
            <a:xfrm>
              <a:off x="1181910" y="2381435"/>
              <a:ext cx="640094" cy="2993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t"/>
            <a:lstStyle/>
            <a:p>
              <a:pPr algn="ctr">
                <a:lnSpc>
                  <a:spcPct val="90000"/>
                </a:lnSpc>
              </a:pPr>
              <a:r>
                <a:rPr lang="en-US" sz="1100" b="1" dirty="0" smtClean="0">
                  <a:solidFill>
                    <a:srgbClr val="FFFFFF"/>
                  </a:solidFill>
                </a:rPr>
                <a:t>Cloud</a:t>
              </a:r>
              <a:endParaRPr lang="en-US" sz="1600" b="1" dirty="0">
                <a:solidFill>
                  <a:srgbClr val="FFFFFF"/>
                </a:solidFill>
              </a:endParaRPr>
            </a:p>
          </p:txBody>
        </p:sp>
      </p:grpSp>
      <p:grpSp>
        <p:nvGrpSpPr>
          <p:cNvPr id="59" name="Group 58"/>
          <p:cNvGrpSpPr/>
          <p:nvPr/>
        </p:nvGrpSpPr>
        <p:grpSpPr>
          <a:xfrm>
            <a:off x="1835816" y="1499265"/>
            <a:ext cx="638631" cy="663411"/>
            <a:chOff x="5044136" y="1846883"/>
            <a:chExt cx="988712" cy="1027076"/>
          </a:xfrm>
        </p:grpSpPr>
        <p:sp>
          <p:nvSpPr>
            <p:cNvPr id="60" name="Rectangle 59"/>
            <p:cNvSpPr/>
            <p:nvPr/>
          </p:nvSpPr>
          <p:spPr>
            <a:xfrm>
              <a:off x="5044136" y="1846883"/>
              <a:ext cx="988712" cy="36976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t"/>
            <a:lstStyle/>
            <a:p>
              <a:pPr algn="ctr">
                <a:lnSpc>
                  <a:spcPct val="90000"/>
                </a:lnSpc>
              </a:pPr>
              <a:r>
                <a:rPr lang="en-US" sz="1100" b="1" dirty="0" smtClean="0">
                  <a:solidFill>
                    <a:srgbClr val="FFFFFF"/>
                  </a:solidFill>
                </a:rPr>
                <a:t>Network</a:t>
              </a:r>
              <a:r>
                <a:rPr lang="en-US" sz="1600" b="1" dirty="0" smtClean="0">
                  <a:solidFill>
                    <a:srgbClr val="FFFFFF"/>
                  </a:solidFill>
                </a:rPr>
                <a:t/>
              </a:r>
              <a:br>
                <a:rPr lang="en-US" sz="1600" b="1" dirty="0" smtClean="0">
                  <a:solidFill>
                    <a:srgbClr val="FFFFFF"/>
                  </a:solidFill>
                </a:rPr>
              </a:br>
              <a:endParaRPr lang="en-US" sz="1600" b="1" dirty="0">
                <a:solidFill>
                  <a:srgbClr val="FFFFFF"/>
                </a:solidFill>
              </a:endParaRPr>
            </a:p>
          </p:txBody>
        </p:sp>
        <p:grpSp>
          <p:nvGrpSpPr>
            <p:cNvPr id="61" name="Group 60"/>
            <p:cNvGrpSpPr>
              <a:grpSpLocks noChangeAspect="1"/>
            </p:cNvGrpSpPr>
            <p:nvPr/>
          </p:nvGrpSpPr>
          <p:grpSpPr>
            <a:xfrm>
              <a:off x="5233550" y="2256405"/>
              <a:ext cx="617554" cy="617554"/>
              <a:chOff x="-1195388" y="1227138"/>
              <a:chExt cx="879475" cy="879475"/>
            </a:xfrm>
          </p:grpSpPr>
          <p:sp>
            <p:nvSpPr>
              <p:cNvPr id="62" name="Freeform 6"/>
              <p:cNvSpPr>
                <a:spLocks/>
              </p:cNvSpPr>
              <p:nvPr/>
            </p:nvSpPr>
            <p:spPr bwMode="auto">
              <a:xfrm>
                <a:off x="-604838" y="1598613"/>
                <a:ext cx="138113" cy="136525"/>
              </a:xfrm>
              <a:custGeom>
                <a:avLst/>
                <a:gdLst>
                  <a:gd name="T0" fmla="*/ 43 w 518"/>
                  <a:gd name="T1" fmla="*/ 0 h 518"/>
                  <a:gd name="T2" fmla="*/ 60 w 518"/>
                  <a:gd name="T3" fmla="*/ 0 h 518"/>
                  <a:gd name="T4" fmla="*/ 75 w 518"/>
                  <a:gd name="T5" fmla="*/ 5 h 518"/>
                  <a:gd name="T6" fmla="*/ 88 w 518"/>
                  <a:gd name="T7" fmla="*/ 14 h 518"/>
                  <a:gd name="T8" fmla="*/ 504 w 518"/>
                  <a:gd name="T9" fmla="*/ 430 h 518"/>
                  <a:gd name="T10" fmla="*/ 514 w 518"/>
                  <a:gd name="T11" fmla="*/ 443 h 518"/>
                  <a:gd name="T12" fmla="*/ 518 w 518"/>
                  <a:gd name="T13" fmla="*/ 459 h 518"/>
                  <a:gd name="T14" fmla="*/ 518 w 518"/>
                  <a:gd name="T15" fmla="*/ 475 h 518"/>
                  <a:gd name="T16" fmla="*/ 514 w 518"/>
                  <a:gd name="T17" fmla="*/ 490 h 518"/>
                  <a:gd name="T18" fmla="*/ 504 w 518"/>
                  <a:gd name="T19" fmla="*/ 503 h 518"/>
                  <a:gd name="T20" fmla="*/ 493 w 518"/>
                  <a:gd name="T21" fmla="*/ 512 h 518"/>
                  <a:gd name="T22" fmla="*/ 481 w 518"/>
                  <a:gd name="T23" fmla="*/ 516 h 518"/>
                  <a:gd name="T24" fmla="*/ 468 w 518"/>
                  <a:gd name="T25" fmla="*/ 518 h 518"/>
                  <a:gd name="T26" fmla="*/ 454 w 518"/>
                  <a:gd name="T27" fmla="*/ 516 h 518"/>
                  <a:gd name="T28" fmla="*/ 441 w 518"/>
                  <a:gd name="T29" fmla="*/ 512 h 518"/>
                  <a:gd name="T30" fmla="*/ 431 w 518"/>
                  <a:gd name="T31" fmla="*/ 503 h 518"/>
                  <a:gd name="T32" fmla="*/ 15 w 518"/>
                  <a:gd name="T33" fmla="*/ 88 h 518"/>
                  <a:gd name="T34" fmla="*/ 5 w 518"/>
                  <a:gd name="T35" fmla="*/ 74 h 518"/>
                  <a:gd name="T36" fmla="*/ 0 w 518"/>
                  <a:gd name="T37" fmla="*/ 59 h 518"/>
                  <a:gd name="T38" fmla="*/ 0 w 518"/>
                  <a:gd name="T39" fmla="*/ 42 h 518"/>
                  <a:gd name="T40" fmla="*/ 5 w 518"/>
                  <a:gd name="T41" fmla="*/ 27 h 518"/>
                  <a:gd name="T42" fmla="*/ 15 w 518"/>
                  <a:gd name="T43" fmla="*/ 14 h 518"/>
                  <a:gd name="T44" fmla="*/ 28 w 518"/>
                  <a:gd name="T45" fmla="*/ 5 h 518"/>
                  <a:gd name="T46" fmla="*/ 43 w 518"/>
                  <a:gd name="T47"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8" h="518">
                    <a:moveTo>
                      <a:pt x="43" y="0"/>
                    </a:moveTo>
                    <a:lnTo>
                      <a:pt x="60" y="0"/>
                    </a:lnTo>
                    <a:lnTo>
                      <a:pt x="75" y="5"/>
                    </a:lnTo>
                    <a:lnTo>
                      <a:pt x="88" y="14"/>
                    </a:lnTo>
                    <a:lnTo>
                      <a:pt x="504" y="430"/>
                    </a:lnTo>
                    <a:lnTo>
                      <a:pt x="514" y="443"/>
                    </a:lnTo>
                    <a:lnTo>
                      <a:pt x="518" y="459"/>
                    </a:lnTo>
                    <a:lnTo>
                      <a:pt x="518" y="475"/>
                    </a:lnTo>
                    <a:lnTo>
                      <a:pt x="514" y="490"/>
                    </a:lnTo>
                    <a:lnTo>
                      <a:pt x="504" y="503"/>
                    </a:lnTo>
                    <a:lnTo>
                      <a:pt x="493" y="512"/>
                    </a:lnTo>
                    <a:lnTo>
                      <a:pt x="481" y="516"/>
                    </a:lnTo>
                    <a:lnTo>
                      <a:pt x="468" y="518"/>
                    </a:lnTo>
                    <a:lnTo>
                      <a:pt x="454" y="516"/>
                    </a:lnTo>
                    <a:lnTo>
                      <a:pt x="441" y="512"/>
                    </a:lnTo>
                    <a:lnTo>
                      <a:pt x="431" y="503"/>
                    </a:lnTo>
                    <a:lnTo>
                      <a:pt x="15" y="88"/>
                    </a:lnTo>
                    <a:lnTo>
                      <a:pt x="5" y="74"/>
                    </a:lnTo>
                    <a:lnTo>
                      <a:pt x="0" y="59"/>
                    </a:lnTo>
                    <a:lnTo>
                      <a:pt x="0" y="42"/>
                    </a:lnTo>
                    <a:lnTo>
                      <a:pt x="5" y="27"/>
                    </a:lnTo>
                    <a:lnTo>
                      <a:pt x="15" y="14"/>
                    </a:lnTo>
                    <a:lnTo>
                      <a:pt x="28" y="5"/>
                    </a:lnTo>
                    <a:lnTo>
                      <a:pt x="4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63" name="Freeform 7"/>
              <p:cNvSpPr>
                <a:spLocks/>
              </p:cNvSpPr>
              <p:nvPr/>
            </p:nvSpPr>
            <p:spPr bwMode="auto">
              <a:xfrm>
                <a:off x="-1044576" y="1598613"/>
                <a:ext cx="138113" cy="136525"/>
              </a:xfrm>
              <a:custGeom>
                <a:avLst/>
                <a:gdLst>
                  <a:gd name="T0" fmla="*/ 459 w 519"/>
                  <a:gd name="T1" fmla="*/ 0 h 518"/>
                  <a:gd name="T2" fmla="*/ 475 w 519"/>
                  <a:gd name="T3" fmla="*/ 0 h 518"/>
                  <a:gd name="T4" fmla="*/ 491 w 519"/>
                  <a:gd name="T5" fmla="*/ 5 h 518"/>
                  <a:gd name="T6" fmla="*/ 504 w 519"/>
                  <a:gd name="T7" fmla="*/ 14 h 518"/>
                  <a:gd name="T8" fmla="*/ 514 w 519"/>
                  <a:gd name="T9" fmla="*/ 27 h 518"/>
                  <a:gd name="T10" fmla="*/ 519 w 519"/>
                  <a:gd name="T11" fmla="*/ 42 h 518"/>
                  <a:gd name="T12" fmla="*/ 519 w 519"/>
                  <a:gd name="T13" fmla="*/ 59 h 518"/>
                  <a:gd name="T14" fmla="*/ 514 w 519"/>
                  <a:gd name="T15" fmla="*/ 74 h 518"/>
                  <a:gd name="T16" fmla="*/ 504 w 519"/>
                  <a:gd name="T17" fmla="*/ 88 h 518"/>
                  <a:gd name="T18" fmla="*/ 89 w 519"/>
                  <a:gd name="T19" fmla="*/ 503 h 518"/>
                  <a:gd name="T20" fmla="*/ 78 w 519"/>
                  <a:gd name="T21" fmla="*/ 512 h 518"/>
                  <a:gd name="T22" fmla="*/ 64 w 519"/>
                  <a:gd name="T23" fmla="*/ 516 h 518"/>
                  <a:gd name="T24" fmla="*/ 52 w 519"/>
                  <a:gd name="T25" fmla="*/ 518 h 518"/>
                  <a:gd name="T26" fmla="*/ 39 w 519"/>
                  <a:gd name="T27" fmla="*/ 516 h 518"/>
                  <a:gd name="T28" fmla="*/ 26 w 519"/>
                  <a:gd name="T29" fmla="*/ 512 h 518"/>
                  <a:gd name="T30" fmla="*/ 15 w 519"/>
                  <a:gd name="T31" fmla="*/ 503 h 518"/>
                  <a:gd name="T32" fmla="*/ 5 w 519"/>
                  <a:gd name="T33" fmla="*/ 490 h 518"/>
                  <a:gd name="T34" fmla="*/ 0 w 519"/>
                  <a:gd name="T35" fmla="*/ 475 h 518"/>
                  <a:gd name="T36" fmla="*/ 0 w 519"/>
                  <a:gd name="T37" fmla="*/ 459 h 518"/>
                  <a:gd name="T38" fmla="*/ 5 w 519"/>
                  <a:gd name="T39" fmla="*/ 443 h 518"/>
                  <a:gd name="T40" fmla="*/ 15 w 519"/>
                  <a:gd name="T41" fmla="*/ 430 h 518"/>
                  <a:gd name="T42" fmla="*/ 431 w 519"/>
                  <a:gd name="T43" fmla="*/ 14 h 518"/>
                  <a:gd name="T44" fmla="*/ 444 w 519"/>
                  <a:gd name="T45" fmla="*/ 5 h 518"/>
                  <a:gd name="T46" fmla="*/ 459 w 519"/>
                  <a:gd name="T47"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518">
                    <a:moveTo>
                      <a:pt x="459" y="0"/>
                    </a:moveTo>
                    <a:lnTo>
                      <a:pt x="475" y="0"/>
                    </a:lnTo>
                    <a:lnTo>
                      <a:pt x="491" y="5"/>
                    </a:lnTo>
                    <a:lnTo>
                      <a:pt x="504" y="14"/>
                    </a:lnTo>
                    <a:lnTo>
                      <a:pt x="514" y="27"/>
                    </a:lnTo>
                    <a:lnTo>
                      <a:pt x="519" y="42"/>
                    </a:lnTo>
                    <a:lnTo>
                      <a:pt x="519" y="59"/>
                    </a:lnTo>
                    <a:lnTo>
                      <a:pt x="514" y="74"/>
                    </a:lnTo>
                    <a:lnTo>
                      <a:pt x="504" y="88"/>
                    </a:lnTo>
                    <a:lnTo>
                      <a:pt x="89" y="503"/>
                    </a:lnTo>
                    <a:lnTo>
                      <a:pt x="78" y="512"/>
                    </a:lnTo>
                    <a:lnTo>
                      <a:pt x="64" y="516"/>
                    </a:lnTo>
                    <a:lnTo>
                      <a:pt x="52" y="518"/>
                    </a:lnTo>
                    <a:lnTo>
                      <a:pt x="39" y="516"/>
                    </a:lnTo>
                    <a:lnTo>
                      <a:pt x="26" y="512"/>
                    </a:lnTo>
                    <a:lnTo>
                      <a:pt x="15" y="503"/>
                    </a:lnTo>
                    <a:lnTo>
                      <a:pt x="5" y="490"/>
                    </a:lnTo>
                    <a:lnTo>
                      <a:pt x="0" y="475"/>
                    </a:lnTo>
                    <a:lnTo>
                      <a:pt x="0" y="459"/>
                    </a:lnTo>
                    <a:lnTo>
                      <a:pt x="5" y="443"/>
                    </a:lnTo>
                    <a:lnTo>
                      <a:pt x="15" y="430"/>
                    </a:lnTo>
                    <a:lnTo>
                      <a:pt x="431" y="14"/>
                    </a:lnTo>
                    <a:lnTo>
                      <a:pt x="444" y="5"/>
                    </a:lnTo>
                    <a:lnTo>
                      <a:pt x="45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64" name="Freeform 8"/>
              <p:cNvSpPr>
                <a:spLocks/>
              </p:cNvSpPr>
              <p:nvPr/>
            </p:nvSpPr>
            <p:spPr bwMode="auto">
              <a:xfrm>
                <a:off x="-879476" y="1900238"/>
                <a:ext cx="247650" cy="26988"/>
              </a:xfrm>
              <a:custGeom>
                <a:avLst/>
                <a:gdLst>
                  <a:gd name="T0" fmla="*/ 52 w 935"/>
                  <a:gd name="T1" fmla="*/ 0 h 103"/>
                  <a:gd name="T2" fmla="*/ 883 w 935"/>
                  <a:gd name="T3" fmla="*/ 0 h 103"/>
                  <a:gd name="T4" fmla="*/ 900 w 935"/>
                  <a:gd name="T5" fmla="*/ 2 h 103"/>
                  <a:gd name="T6" fmla="*/ 914 w 935"/>
                  <a:gd name="T7" fmla="*/ 10 h 103"/>
                  <a:gd name="T8" fmla="*/ 926 w 935"/>
                  <a:gd name="T9" fmla="*/ 21 h 103"/>
                  <a:gd name="T10" fmla="*/ 933 w 935"/>
                  <a:gd name="T11" fmla="*/ 35 h 103"/>
                  <a:gd name="T12" fmla="*/ 935 w 935"/>
                  <a:gd name="T13" fmla="*/ 51 h 103"/>
                  <a:gd name="T14" fmla="*/ 933 w 935"/>
                  <a:gd name="T15" fmla="*/ 68 h 103"/>
                  <a:gd name="T16" fmla="*/ 926 w 935"/>
                  <a:gd name="T17" fmla="*/ 82 h 103"/>
                  <a:gd name="T18" fmla="*/ 914 w 935"/>
                  <a:gd name="T19" fmla="*/ 93 h 103"/>
                  <a:gd name="T20" fmla="*/ 900 w 935"/>
                  <a:gd name="T21" fmla="*/ 101 h 103"/>
                  <a:gd name="T22" fmla="*/ 883 w 935"/>
                  <a:gd name="T23" fmla="*/ 103 h 103"/>
                  <a:gd name="T24" fmla="*/ 52 w 935"/>
                  <a:gd name="T25" fmla="*/ 103 h 103"/>
                  <a:gd name="T26" fmla="*/ 36 w 935"/>
                  <a:gd name="T27" fmla="*/ 101 h 103"/>
                  <a:gd name="T28" fmla="*/ 22 w 935"/>
                  <a:gd name="T29" fmla="*/ 93 h 103"/>
                  <a:gd name="T30" fmla="*/ 11 w 935"/>
                  <a:gd name="T31" fmla="*/ 82 h 103"/>
                  <a:gd name="T32" fmla="*/ 3 w 935"/>
                  <a:gd name="T33" fmla="*/ 68 h 103"/>
                  <a:gd name="T34" fmla="*/ 0 w 935"/>
                  <a:gd name="T35" fmla="*/ 51 h 103"/>
                  <a:gd name="T36" fmla="*/ 3 w 935"/>
                  <a:gd name="T37" fmla="*/ 35 h 103"/>
                  <a:gd name="T38" fmla="*/ 11 w 935"/>
                  <a:gd name="T39" fmla="*/ 21 h 103"/>
                  <a:gd name="T40" fmla="*/ 22 w 935"/>
                  <a:gd name="T41" fmla="*/ 10 h 103"/>
                  <a:gd name="T42" fmla="*/ 36 w 935"/>
                  <a:gd name="T43" fmla="*/ 2 h 103"/>
                  <a:gd name="T44" fmla="*/ 52 w 935"/>
                  <a:gd name="T4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5" h="103">
                    <a:moveTo>
                      <a:pt x="52" y="0"/>
                    </a:moveTo>
                    <a:lnTo>
                      <a:pt x="883" y="0"/>
                    </a:lnTo>
                    <a:lnTo>
                      <a:pt x="900" y="2"/>
                    </a:lnTo>
                    <a:lnTo>
                      <a:pt x="914" y="10"/>
                    </a:lnTo>
                    <a:lnTo>
                      <a:pt x="926" y="21"/>
                    </a:lnTo>
                    <a:lnTo>
                      <a:pt x="933" y="35"/>
                    </a:lnTo>
                    <a:lnTo>
                      <a:pt x="935" y="51"/>
                    </a:lnTo>
                    <a:lnTo>
                      <a:pt x="933" y="68"/>
                    </a:lnTo>
                    <a:lnTo>
                      <a:pt x="926" y="82"/>
                    </a:lnTo>
                    <a:lnTo>
                      <a:pt x="914" y="93"/>
                    </a:lnTo>
                    <a:lnTo>
                      <a:pt x="900" y="101"/>
                    </a:lnTo>
                    <a:lnTo>
                      <a:pt x="883" y="103"/>
                    </a:lnTo>
                    <a:lnTo>
                      <a:pt x="52" y="103"/>
                    </a:lnTo>
                    <a:lnTo>
                      <a:pt x="36" y="101"/>
                    </a:lnTo>
                    <a:lnTo>
                      <a:pt x="22" y="93"/>
                    </a:lnTo>
                    <a:lnTo>
                      <a:pt x="11" y="82"/>
                    </a:lnTo>
                    <a:lnTo>
                      <a:pt x="3" y="68"/>
                    </a:lnTo>
                    <a:lnTo>
                      <a:pt x="0" y="51"/>
                    </a:lnTo>
                    <a:lnTo>
                      <a:pt x="3" y="35"/>
                    </a:lnTo>
                    <a:lnTo>
                      <a:pt x="11" y="21"/>
                    </a:lnTo>
                    <a:lnTo>
                      <a:pt x="22" y="10"/>
                    </a:lnTo>
                    <a:lnTo>
                      <a:pt x="36" y="2"/>
                    </a:lnTo>
                    <a:lnTo>
                      <a:pt x="5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65" name="Freeform 9"/>
              <p:cNvSpPr>
                <a:spLocks noEditPoints="1"/>
              </p:cNvSpPr>
              <p:nvPr/>
            </p:nvSpPr>
            <p:spPr bwMode="auto">
              <a:xfrm>
                <a:off x="-892176" y="1227138"/>
                <a:ext cx="274638" cy="330200"/>
              </a:xfrm>
              <a:custGeom>
                <a:avLst/>
                <a:gdLst>
                  <a:gd name="T0" fmla="*/ 207 w 1039"/>
                  <a:gd name="T1" fmla="*/ 207 h 1248"/>
                  <a:gd name="T2" fmla="*/ 207 w 1039"/>
                  <a:gd name="T3" fmla="*/ 831 h 1248"/>
                  <a:gd name="T4" fmla="*/ 831 w 1039"/>
                  <a:gd name="T5" fmla="*/ 831 h 1248"/>
                  <a:gd name="T6" fmla="*/ 831 w 1039"/>
                  <a:gd name="T7" fmla="*/ 207 h 1248"/>
                  <a:gd name="T8" fmla="*/ 207 w 1039"/>
                  <a:gd name="T9" fmla="*/ 207 h 1248"/>
                  <a:gd name="T10" fmla="*/ 103 w 1039"/>
                  <a:gd name="T11" fmla="*/ 0 h 1248"/>
                  <a:gd name="T12" fmla="*/ 934 w 1039"/>
                  <a:gd name="T13" fmla="*/ 0 h 1248"/>
                  <a:gd name="T14" fmla="*/ 959 w 1039"/>
                  <a:gd name="T15" fmla="*/ 2 h 1248"/>
                  <a:gd name="T16" fmla="*/ 980 w 1039"/>
                  <a:gd name="T17" fmla="*/ 10 h 1248"/>
                  <a:gd name="T18" fmla="*/ 999 w 1039"/>
                  <a:gd name="T19" fmla="*/ 23 h 1248"/>
                  <a:gd name="T20" fmla="*/ 1016 w 1039"/>
                  <a:gd name="T21" fmla="*/ 39 h 1248"/>
                  <a:gd name="T22" fmla="*/ 1028 w 1039"/>
                  <a:gd name="T23" fmla="*/ 58 h 1248"/>
                  <a:gd name="T24" fmla="*/ 1036 w 1039"/>
                  <a:gd name="T25" fmla="*/ 81 h 1248"/>
                  <a:gd name="T26" fmla="*/ 1039 w 1039"/>
                  <a:gd name="T27" fmla="*/ 104 h 1248"/>
                  <a:gd name="T28" fmla="*/ 1039 w 1039"/>
                  <a:gd name="T29" fmla="*/ 1143 h 1248"/>
                  <a:gd name="T30" fmla="*/ 1036 w 1039"/>
                  <a:gd name="T31" fmla="*/ 1167 h 1248"/>
                  <a:gd name="T32" fmla="*/ 1028 w 1039"/>
                  <a:gd name="T33" fmla="*/ 1189 h 1248"/>
                  <a:gd name="T34" fmla="*/ 1016 w 1039"/>
                  <a:gd name="T35" fmla="*/ 1208 h 1248"/>
                  <a:gd name="T36" fmla="*/ 999 w 1039"/>
                  <a:gd name="T37" fmla="*/ 1224 h 1248"/>
                  <a:gd name="T38" fmla="*/ 980 w 1039"/>
                  <a:gd name="T39" fmla="*/ 1236 h 1248"/>
                  <a:gd name="T40" fmla="*/ 959 w 1039"/>
                  <a:gd name="T41" fmla="*/ 1245 h 1248"/>
                  <a:gd name="T42" fmla="*/ 934 w 1039"/>
                  <a:gd name="T43" fmla="*/ 1248 h 1248"/>
                  <a:gd name="T44" fmla="*/ 103 w 1039"/>
                  <a:gd name="T45" fmla="*/ 1248 h 1248"/>
                  <a:gd name="T46" fmla="*/ 80 w 1039"/>
                  <a:gd name="T47" fmla="*/ 1245 h 1248"/>
                  <a:gd name="T48" fmla="*/ 58 w 1039"/>
                  <a:gd name="T49" fmla="*/ 1236 h 1248"/>
                  <a:gd name="T50" fmla="*/ 38 w 1039"/>
                  <a:gd name="T51" fmla="*/ 1224 h 1248"/>
                  <a:gd name="T52" fmla="*/ 22 w 1039"/>
                  <a:gd name="T53" fmla="*/ 1208 h 1248"/>
                  <a:gd name="T54" fmla="*/ 10 w 1039"/>
                  <a:gd name="T55" fmla="*/ 1189 h 1248"/>
                  <a:gd name="T56" fmla="*/ 2 w 1039"/>
                  <a:gd name="T57" fmla="*/ 1167 h 1248"/>
                  <a:gd name="T58" fmla="*/ 0 w 1039"/>
                  <a:gd name="T59" fmla="*/ 1143 h 1248"/>
                  <a:gd name="T60" fmla="*/ 0 w 1039"/>
                  <a:gd name="T61" fmla="*/ 104 h 1248"/>
                  <a:gd name="T62" fmla="*/ 2 w 1039"/>
                  <a:gd name="T63" fmla="*/ 81 h 1248"/>
                  <a:gd name="T64" fmla="*/ 10 w 1039"/>
                  <a:gd name="T65" fmla="*/ 58 h 1248"/>
                  <a:gd name="T66" fmla="*/ 22 w 1039"/>
                  <a:gd name="T67" fmla="*/ 39 h 1248"/>
                  <a:gd name="T68" fmla="*/ 38 w 1039"/>
                  <a:gd name="T69" fmla="*/ 23 h 1248"/>
                  <a:gd name="T70" fmla="*/ 58 w 1039"/>
                  <a:gd name="T71" fmla="*/ 10 h 1248"/>
                  <a:gd name="T72" fmla="*/ 80 w 1039"/>
                  <a:gd name="T73" fmla="*/ 2 h 1248"/>
                  <a:gd name="T74" fmla="*/ 103 w 1039"/>
                  <a:gd name="T75" fmla="*/ 0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9" h="1248">
                    <a:moveTo>
                      <a:pt x="207" y="207"/>
                    </a:moveTo>
                    <a:lnTo>
                      <a:pt x="207" y="831"/>
                    </a:lnTo>
                    <a:lnTo>
                      <a:pt x="831" y="831"/>
                    </a:lnTo>
                    <a:lnTo>
                      <a:pt x="831" y="207"/>
                    </a:lnTo>
                    <a:lnTo>
                      <a:pt x="207" y="207"/>
                    </a:lnTo>
                    <a:close/>
                    <a:moveTo>
                      <a:pt x="103" y="0"/>
                    </a:moveTo>
                    <a:lnTo>
                      <a:pt x="934" y="0"/>
                    </a:lnTo>
                    <a:lnTo>
                      <a:pt x="959" y="2"/>
                    </a:lnTo>
                    <a:lnTo>
                      <a:pt x="980" y="10"/>
                    </a:lnTo>
                    <a:lnTo>
                      <a:pt x="999" y="23"/>
                    </a:lnTo>
                    <a:lnTo>
                      <a:pt x="1016" y="39"/>
                    </a:lnTo>
                    <a:lnTo>
                      <a:pt x="1028" y="58"/>
                    </a:lnTo>
                    <a:lnTo>
                      <a:pt x="1036" y="81"/>
                    </a:lnTo>
                    <a:lnTo>
                      <a:pt x="1039" y="104"/>
                    </a:lnTo>
                    <a:lnTo>
                      <a:pt x="1039" y="1143"/>
                    </a:lnTo>
                    <a:lnTo>
                      <a:pt x="1036" y="1167"/>
                    </a:lnTo>
                    <a:lnTo>
                      <a:pt x="1028" y="1189"/>
                    </a:lnTo>
                    <a:lnTo>
                      <a:pt x="1016" y="1208"/>
                    </a:lnTo>
                    <a:lnTo>
                      <a:pt x="999" y="1224"/>
                    </a:lnTo>
                    <a:lnTo>
                      <a:pt x="980" y="1236"/>
                    </a:lnTo>
                    <a:lnTo>
                      <a:pt x="959" y="1245"/>
                    </a:lnTo>
                    <a:lnTo>
                      <a:pt x="934" y="1248"/>
                    </a:lnTo>
                    <a:lnTo>
                      <a:pt x="103" y="1248"/>
                    </a:lnTo>
                    <a:lnTo>
                      <a:pt x="80" y="1245"/>
                    </a:lnTo>
                    <a:lnTo>
                      <a:pt x="58" y="1236"/>
                    </a:lnTo>
                    <a:lnTo>
                      <a:pt x="38" y="1224"/>
                    </a:lnTo>
                    <a:lnTo>
                      <a:pt x="22" y="1208"/>
                    </a:lnTo>
                    <a:lnTo>
                      <a:pt x="10" y="1189"/>
                    </a:lnTo>
                    <a:lnTo>
                      <a:pt x="2" y="1167"/>
                    </a:lnTo>
                    <a:lnTo>
                      <a:pt x="0" y="1143"/>
                    </a:lnTo>
                    <a:lnTo>
                      <a:pt x="0" y="104"/>
                    </a:lnTo>
                    <a:lnTo>
                      <a:pt x="2" y="81"/>
                    </a:lnTo>
                    <a:lnTo>
                      <a:pt x="10" y="58"/>
                    </a:lnTo>
                    <a:lnTo>
                      <a:pt x="22" y="39"/>
                    </a:lnTo>
                    <a:lnTo>
                      <a:pt x="38" y="23"/>
                    </a:lnTo>
                    <a:lnTo>
                      <a:pt x="58" y="10"/>
                    </a:lnTo>
                    <a:lnTo>
                      <a:pt x="80" y="2"/>
                    </a:lnTo>
                    <a:lnTo>
                      <a:pt x="10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66" name="Freeform 10"/>
              <p:cNvSpPr>
                <a:spLocks noEditPoints="1"/>
              </p:cNvSpPr>
              <p:nvPr/>
            </p:nvSpPr>
            <p:spPr bwMode="auto">
              <a:xfrm>
                <a:off x="-1195388" y="1776413"/>
                <a:ext cx="274638" cy="330200"/>
              </a:xfrm>
              <a:custGeom>
                <a:avLst/>
                <a:gdLst>
                  <a:gd name="T0" fmla="*/ 208 w 1039"/>
                  <a:gd name="T1" fmla="*/ 208 h 1247"/>
                  <a:gd name="T2" fmla="*/ 208 w 1039"/>
                  <a:gd name="T3" fmla="*/ 831 h 1247"/>
                  <a:gd name="T4" fmla="*/ 831 w 1039"/>
                  <a:gd name="T5" fmla="*/ 831 h 1247"/>
                  <a:gd name="T6" fmla="*/ 831 w 1039"/>
                  <a:gd name="T7" fmla="*/ 208 h 1247"/>
                  <a:gd name="T8" fmla="*/ 208 w 1039"/>
                  <a:gd name="T9" fmla="*/ 208 h 1247"/>
                  <a:gd name="T10" fmla="*/ 104 w 1039"/>
                  <a:gd name="T11" fmla="*/ 0 h 1247"/>
                  <a:gd name="T12" fmla="*/ 936 w 1039"/>
                  <a:gd name="T13" fmla="*/ 0 h 1247"/>
                  <a:gd name="T14" fmla="*/ 959 w 1039"/>
                  <a:gd name="T15" fmla="*/ 3 h 1247"/>
                  <a:gd name="T16" fmla="*/ 981 w 1039"/>
                  <a:gd name="T17" fmla="*/ 10 h 1247"/>
                  <a:gd name="T18" fmla="*/ 1001 w 1039"/>
                  <a:gd name="T19" fmla="*/ 22 h 1247"/>
                  <a:gd name="T20" fmla="*/ 1017 w 1039"/>
                  <a:gd name="T21" fmla="*/ 38 h 1247"/>
                  <a:gd name="T22" fmla="*/ 1029 w 1039"/>
                  <a:gd name="T23" fmla="*/ 58 h 1247"/>
                  <a:gd name="T24" fmla="*/ 1036 w 1039"/>
                  <a:gd name="T25" fmla="*/ 80 h 1247"/>
                  <a:gd name="T26" fmla="*/ 1039 w 1039"/>
                  <a:gd name="T27" fmla="*/ 103 h 1247"/>
                  <a:gd name="T28" fmla="*/ 1039 w 1039"/>
                  <a:gd name="T29" fmla="*/ 1143 h 1247"/>
                  <a:gd name="T30" fmla="*/ 1036 w 1039"/>
                  <a:gd name="T31" fmla="*/ 1167 h 1247"/>
                  <a:gd name="T32" fmla="*/ 1029 w 1039"/>
                  <a:gd name="T33" fmla="*/ 1189 h 1247"/>
                  <a:gd name="T34" fmla="*/ 1017 w 1039"/>
                  <a:gd name="T35" fmla="*/ 1208 h 1247"/>
                  <a:gd name="T36" fmla="*/ 1001 w 1039"/>
                  <a:gd name="T37" fmla="*/ 1224 h 1247"/>
                  <a:gd name="T38" fmla="*/ 981 w 1039"/>
                  <a:gd name="T39" fmla="*/ 1237 h 1247"/>
                  <a:gd name="T40" fmla="*/ 959 w 1039"/>
                  <a:gd name="T41" fmla="*/ 1244 h 1247"/>
                  <a:gd name="T42" fmla="*/ 936 w 1039"/>
                  <a:gd name="T43" fmla="*/ 1247 h 1247"/>
                  <a:gd name="T44" fmla="*/ 104 w 1039"/>
                  <a:gd name="T45" fmla="*/ 1247 h 1247"/>
                  <a:gd name="T46" fmla="*/ 80 w 1039"/>
                  <a:gd name="T47" fmla="*/ 1244 h 1247"/>
                  <a:gd name="T48" fmla="*/ 58 w 1039"/>
                  <a:gd name="T49" fmla="*/ 1237 h 1247"/>
                  <a:gd name="T50" fmla="*/ 39 w 1039"/>
                  <a:gd name="T51" fmla="*/ 1224 h 1247"/>
                  <a:gd name="T52" fmla="*/ 23 w 1039"/>
                  <a:gd name="T53" fmla="*/ 1208 h 1247"/>
                  <a:gd name="T54" fmla="*/ 10 w 1039"/>
                  <a:gd name="T55" fmla="*/ 1189 h 1247"/>
                  <a:gd name="T56" fmla="*/ 3 w 1039"/>
                  <a:gd name="T57" fmla="*/ 1167 h 1247"/>
                  <a:gd name="T58" fmla="*/ 0 w 1039"/>
                  <a:gd name="T59" fmla="*/ 1143 h 1247"/>
                  <a:gd name="T60" fmla="*/ 0 w 1039"/>
                  <a:gd name="T61" fmla="*/ 103 h 1247"/>
                  <a:gd name="T62" fmla="*/ 3 w 1039"/>
                  <a:gd name="T63" fmla="*/ 80 h 1247"/>
                  <a:gd name="T64" fmla="*/ 10 w 1039"/>
                  <a:gd name="T65" fmla="*/ 58 h 1247"/>
                  <a:gd name="T66" fmla="*/ 23 w 1039"/>
                  <a:gd name="T67" fmla="*/ 38 h 1247"/>
                  <a:gd name="T68" fmla="*/ 39 w 1039"/>
                  <a:gd name="T69" fmla="*/ 22 h 1247"/>
                  <a:gd name="T70" fmla="*/ 58 w 1039"/>
                  <a:gd name="T71" fmla="*/ 10 h 1247"/>
                  <a:gd name="T72" fmla="*/ 80 w 1039"/>
                  <a:gd name="T73" fmla="*/ 3 h 1247"/>
                  <a:gd name="T74" fmla="*/ 104 w 1039"/>
                  <a:gd name="T75" fmla="*/ 0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9" h="1247">
                    <a:moveTo>
                      <a:pt x="208" y="208"/>
                    </a:moveTo>
                    <a:lnTo>
                      <a:pt x="208" y="831"/>
                    </a:lnTo>
                    <a:lnTo>
                      <a:pt x="831" y="831"/>
                    </a:lnTo>
                    <a:lnTo>
                      <a:pt x="831" y="208"/>
                    </a:lnTo>
                    <a:lnTo>
                      <a:pt x="208" y="208"/>
                    </a:lnTo>
                    <a:close/>
                    <a:moveTo>
                      <a:pt x="104" y="0"/>
                    </a:moveTo>
                    <a:lnTo>
                      <a:pt x="936" y="0"/>
                    </a:lnTo>
                    <a:lnTo>
                      <a:pt x="959" y="3"/>
                    </a:lnTo>
                    <a:lnTo>
                      <a:pt x="981" y="10"/>
                    </a:lnTo>
                    <a:lnTo>
                      <a:pt x="1001" y="22"/>
                    </a:lnTo>
                    <a:lnTo>
                      <a:pt x="1017" y="38"/>
                    </a:lnTo>
                    <a:lnTo>
                      <a:pt x="1029" y="58"/>
                    </a:lnTo>
                    <a:lnTo>
                      <a:pt x="1036" y="80"/>
                    </a:lnTo>
                    <a:lnTo>
                      <a:pt x="1039" y="103"/>
                    </a:lnTo>
                    <a:lnTo>
                      <a:pt x="1039" y="1143"/>
                    </a:lnTo>
                    <a:lnTo>
                      <a:pt x="1036" y="1167"/>
                    </a:lnTo>
                    <a:lnTo>
                      <a:pt x="1029" y="1189"/>
                    </a:lnTo>
                    <a:lnTo>
                      <a:pt x="1017" y="1208"/>
                    </a:lnTo>
                    <a:lnTo>
                      <a:pt x="1001" y="1224"/>
                    </a:lnTo>
                    <a:lnTo>
                      <a:pt x="981" y="1237"/>
                    </a:lnTo>
                    <a:lnTo>
                      <a:pt x="959" y="1244"/>
                    </a:lnTo>
                    <a:lnTo>
                      <a:pt x="936" y="1247"/>
                    </a:lnTo>
                    <a:lnTo>
                      <a:pt x="104" y="1247"/>
                    </a:lnTo>
                    <a:lnTo>
                      <a:pt x="80" y="1244"/>
                    </a:lnTo>
                    <a:lnTo>
                      <a:pt x="58" y="1237"/>
                    </a:lnTo>
                    <a:lnTo>
                      <a:pt x="39" y="1224"/>
                    </a:lnTo>
                    <a:lnTo>
                      <a:pt x="23" y="1208"/>
                    </a:lnTo>
                    <a:lnTo>
                      <a:pt x="10" y="1189"/>
                    </a:lnTo>
                    <a:lnTo>
                      <a:pt x="3" y="1167"/>
                    </a:lnTo>
                    <a:lnTo>
                      <a:pt x="0" y="1143"/>
                    </a:lnTo>
                    <a:lnTo>
                      <a:pt x="0" y="103"/>
                    </a:lnTo>
                    <a:lnTo>
                      <a:pt x="3" y="80"/>
                    </a:lnTo>
                    <a:lnTo>
                      <a:pt x="10" y="58"/>
                    </a:lnTo>
                    <a:lnTo>
                      <a:pt x="23" y="38"/>
                    </a:lnTo>
                    <a:lnTo>
                      <a:pt x="39" y="22"/>
                    </a:lnTo>
                    <a:lnTo>
                      <a:pt x="58" y="10"/>
                    </a:lnTo>
                    <a:lnTo>
                      <a:pt x="80" y="3"/>
                    </a:lnTo>
                    <a:lnTo>
                      <a:pt x="10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sp>
            <p:nvSpPr>
              <p:cNvPr id="67" name="Freeform 11"/>
              <p:cNvSpPr>
                <a:spLocks noEditPoints="1"/>
              </p:cNvSpPr>
              <p:nvPr/>
            </p:nvSpPr>
            <p:spPr bwMode="auto">
              <a:xfrm>
                <a:off x="-590551" y="1776413"/>
                <a:ext cx="274638" cy="330200"/>
              </a:xfrm>
              <a:custGeom>
                <a:avLst/>
                <a:gdLst>
                  <a:gd name="T0" fmla="*/ 209 w 1040"/>
                  <a:gd name="T1" fmla="*/ 208 h 1247"/>
                  <a:gd name="T2" fmla="*/ 209 w 1040"/>
                  <a:gd name="T3" fmla="*/ 831 h 1247"/>
                  <a:gd name="T4" fmla="*/ 832 w 1040"/>
                  <a:gd name="T5" fmla="*/ 831 h 1247"/>
                  <a:gd name="T6" fmla="*/ 832 w 1040"/>
                  <a:gd name="T7" fmla="*/ 208 h 1247"/>
                  <a:gd name="T8" fmla="*/ 209 w 1040"/>
                  <a:gd name="T9" fmla="*/ 208 h 1247"/>
                  <a:gd name="T10" fmla="*/ 105 w 1040"/>
                  <a:gd name="T11" fmla="*/ 0 h 1247"/>
                  <a:gd name="T12" fmla="*/ 936 w 1040"/>
                  <a:gd name="T13" fmla="*/ 0 h 1247"/>
                  <a:gd name="T14" fmla="*/ 959 w 1040"/>
                  <a:gd name="T15" fmla="*/ 3 h 1247"/>
                  <a:gd name="T16" fmla="*/ 982 w 1040"/>
                  <a:gd name="T17" fmla="*/ 10 h 1247"/>
                  <a:gd name="T18" fmla="*/ 1001 w 1040"/>
                  <a:gd name="T19" fmla="*/ 22 h 1247"/>
                  <a:gd name="T20" fmla="*/ 1017 w 1040"/>
                  <a:gd name="T21" fmla="*/ 38 h 1247"/>
                  <a:gd name="T22" fmla="*/ 1030 w 1040"/>
                  <a:gd name="T23" fmla="*/ 58 h 1247"/>
                  <a:gd name="T24" fmla="*/ 1038 w 1040"/>
                  <a:gd name="T25" fmla="*/ 80 h 1247"/>
                  <a:gd name="T26" fmla="*/ 1040 w 1040"/>
                  <a:gd name="T27" fmla="*/ 103 h 1247"/>
                  <a:gd name="T28" fmla="*/ 1040 w 1040"/>
                  <a:gd name="T29" fmla="*/ 1143 h 1247"/>
                  <a:gd name="T30" fmla="*/ 1038 w 1040"/>
                  <a:gd name="T31" fmla="*/ 1167 h 1247"/>
                  <a:gd name="T32" fmla="*/ 1030 w 1040"/>
                  <a:gd name="T33" fmla="*/ 1189 h 1247"/>
                  <a:gd name="T34" fmla="*/ 1017 w 1040"/>
                  <a:gd name="T35" fmla="*/ 1208 h 1247"/>
                  <a:gd name="T36" fmla="*/ 1001 w 1040"/>
                  <a:gd name="T37" fmla="*/ 1224 h 1247"/>
                  <a:gd name="T38" fmla="*/ 982 w 1040"/>
                  <a:gd name="T39" fmla="*/ 1237 h 1247"/>
                  <a:gd name="T40" fmla="*/ 959 w 1040"/>
                  <a:gd name="T41" fmla="*/ 1244 h 1247"/>
                  <a:gd name="T42" fmla="*/ 936 w 1040"/>
                  <a:gd name="T43" fmla="*/ 1247 h 1247"/>
                  <a:gd name="T44" fmla="*/ 105 w 1040"/>
                  <a:gd name="T45" fmla="*/ 1247 h 1247"/>
                  <a:gd name="T46" fmla="*/ 81 w 1040"/>
                  <a:gd name="T47" fmla="*/ 1244 h 1247"/>
                  <a:gd name="T48" fmla="*/ 59 w 1040"/>
                  <a:gd name="T49" fmla="*/ 1237 h 1247"/>
                  <a:gd name="T50" fmla="*/ 40 w 1040"/>
                  <a:gd name="T51" fmla="*/ 1224 h 1247"/>
                  <a:gd name="T52" fmla="*/ 24 w 1040"/>
                  <a:gd name="T53" fmla="*/ 1208 h 1247"/>
                  <a:gd name="T54" fmla="*/ 12 w 1040"/>
                  <a:gd name="T55" fmla="*/ 1189 h 1247"/>
                  <a:gd name="T56" fmla="*/ 4 w 1040"/>
                  <a:gd name="T57" fmla="*/ 1167 h 1247"/>
                  <a:gd name="T58" fmla="*/ 0 w 1040"/>
                  <a:gd name="T59" fmla="*/ 1143 h 1247"/>
                  <a:gd name="T60" fmla="*/ 0 w 1040"/>
                  <a:gd name="T61" fmla="*/ 103 h 1247"/>
                  <a:gd name="T62" fmla="*/ 4 w 1040"/>
                  <a:gd name="T63" fmla="*/ 80 h 1247"/>
                  <a:gd name="T64" fmla="*/ 12 w 1040"/>
                  <a:gd name="T65" fmla="*/ 58 h 1247"/>
                  <a:gd name="T66" fmla="*/ 24 w 1040"/>
                  <a:gd name="T67" fmla="*/ 38 h 1247"/>
                  <a:gd name="T68" fmla="*/ 40 w 1040"/>
                  <a:gd name="T69" fmla="*/ 22 h 1247"/>
                  <a:gd name="T70" fmla="*/ 59 w 1040"/>
                  <a:gd name="T71" fmla="*/ 10 h 1247"/>
                  <a:gd name="T72" fmla="*/ 81 w 1040"/>
                  <a:gd name="T73" fmla="*/ 3 h 1247"/>
                  <a:gd name="T74" fmla="*/ 105 w 1040"/>
                  <a:gd name="T75" fmla="*/ 0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0" h="1247">
                    <a:moveTo>
                      <a:pt x="209" y="208"/>
                    </a:moveTo>
                    <a:lnTo>
                      <a:pt x="209" y="831"/>
                    </a:lnTo>
                    <a:lnTo>
                      <a:pt x="832" y="831"/>
                    </a:lnTo>
                    <a:lnTo>
                      <a:pt x="832" y="208"/>
                    </a:lnTo>
                    <a:lnTo>
                      <a:pt x="209" y="208"/>
                    </a:lnTo>
                    <a:close/>
                    <a:moveTo>
                      <a:pt x="105" y="0"/>
                    </a:moveTo>
                    <a:lnTo>
                      <a:pt x="936" y="0"/>
                    </a:lnTo>
                    <a:lnTo>
                      <a:pt x="959" y="3"/>
                    </a:lnTo>
                    <a:lnTo>
                      <a:pt x="982" y="10"/>
                    </a:lnTo>
                    <a:lnTo>
                      <a:pt x="1001" y="22"/>
                    </a:lnTo>
                    <a:lnTo>
                      <a:pt x="1017" y="38"/>
                    </a:lnTo>
                    <a:lnTo>
                      <a:pt x="1030" y="58"/>
                    </a:lnTo>
                    <a:lnTo>
                      <a:pt x="1038" y="80"/>
                    </a:lnTo>
                    <a:lnTo>
                      <a:pt x="1040" y="103"/>
                    </a:lnTo>
                    <a:lnTo>
                      <a:pt x="1040" y="1143"/>
                    </a:lnTo>
                    <a:lnTo>
                      <a:pt x="1038" y="1167"/>
                    </a:lnTo>
                    <a:lnTo>
                      <a:pt x="1030" y="1189"/>
                    </a:lnTo>
                    <a:lnTo>
                      <a:pt x="1017" y="1208"/>
                    </a:lnTo>
                    <a:lnTo>
                      <a:pt x="1001" y="1224"/>
                    </a:lnTo>
                    <a:lnTo>
                      <a:pt x="982" y="1237"/>
                    </a:lnTo>
                    <a:lnTo>
                      <a:pt x="959" y="1244"/>
                    </a:lnTo>
                    <a:lnTo>
                      <a:pt x="936" y="1247"/>
                    </a:lnTo>
                    <a:lnTo>
                      <a:pt x="105" y="1247"/>
                    </a:lnTo>
                    <a:lnTo>
                      <a:pt x="81" y="1244"/>
                    </a:lnTo>
                    <a:lnTo>
                      <a:pt x="59" y="1237"/>
                    </a:lnTo>
                    <a:lnTo>
                      <a:pt x="40" y="1224"/>
                    </a:lnTo>
                    <a:lnTo>
                      <a:pt x="24" y="1208"/>
                    </a:lnTo>
                    <a:lnTo>
                      <a:pt x="12" y="1189"/>
                    </a:lnTo>
                    <a:lnTo>
                      <a:pt x="4" y="1167"/>
                    </a:lnTo>
                    <a:lnTo>
                      <a:pt x="0" y="1143"/>
                    </a:lnTo>
                    <a:lnTo>
                      <a:pt x="0" y="103"/>
                    </a:lnTo>
                    <a:lnTo>
                      <a:pt x="4" y="80"/>
                    </a:lnTo>
                    <a:lnTo>
                      <a:pt x="12" y="58"/>
                    </a:lnTo>
                    <a:lnTo>
                      <a:pt x="24" y="38"/>
                    </a:lnTo>
                    <a:lnTo>
                      <a:pt x="40" y="22"/>
                    </a:lnTo>
                    <a:lnTo>
                      <a:pt x="59" y="10"/>
                    </a:lnTo>
                    <a:lnTo>
                      <a:pt x="81" y="3"/>
                    </a:lnTo>
                    <a:lnTo>
                      <a:pt x="1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6989"/>
                <a:endParaRPr lang="en-US" sz="1200" dirty="0">
                  <a:solidFill>
                    <a:srgbClr val="676767"/>
                  </a:solidFill>
                  <a:ea typeface="ＭＳ Ｐゴシック" pitchFamily="34" charset="-128"/>
                </a:endParaRPr>
              </a:p>
            </p:txBody>
          </p:sp>
        </p:grpSp>
      </p:grpSp>
      <p:grpSp>
        <p:nvGrpSpPr>
          <p:cNvPr id="68" name="Group 67"/>
          <p:cNvGrpSpPr/>
          <p:nvPr/>
        </p:nvGrpSpPr>
        <p:grpSpPr>
          <a:xfrm>
            <a:off x="930903" y="1486161"/>
            <a:ext cx="488411" cy="713181"/>
            <a:chOff x="1185951" y="1740754"/>
            <a:chExt cx="756145" cy="1104129"/>
          </a:xfrm>
        </p:grpSpPr>
        <p:sp>
          <p:nvSpPr>
            <p:cNvPr id="69" name="Rectangle 68"/>
            <p:cNvSpPr/>
            <p:nvPr/>
          </p:nvSpPr>
          <p:spPr>
            <a:xfrm>
              <a:off x="1185951" y="1740754"/>
              <a:ext cx="756145" cy="38984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t"/>
            <a:lstStyle/>
            <a:p>
              <a:pPr algn="ctr">
                <a:lnSpc>
                  <a:spcPct val="90000"/>
                </a:lnSpc>
              </a:pPr>
              <a:r>
                <a:rPr lang="en-US" sz="1100" b="1" dirty="0" smtClean="0">
                  <a:solidFill>
                    <a:srgbClr val="FFFFFF"/>
                  </a:solidFill>
                </a:rPr>
                <a:t>Device</a:t>
              </a:r>
              <a:endParaRPr lang="en-US" sz="1400" b="1" dirty="0">
                <a:solidFill>
                  <a:srgbClr val="FFFFFF"/>
                </a:solidFill>
              </a:endParaRPr>
            </a:p>
          </p:txBody>
        </p:sp>
        <p:grpSp>
          <p:nvGrpSpPr>
            <p:cNvPr id="70" name="Group 69"/>
            <p:cNvGrpSpPr/>
            <p:nvPr/>
          </p:nvGrpSpPr>
          <p:grpSpPr>
            <a:xfrm>
              <a:off x="1242676" y="2233071"/>
              <a:ext cx="642775" cy="611812"/>
              <a:chOff x="1419352" y="2052874"/>
              <a:chExt cx="995436" cy="890856"/>
            </a:xfrm>
          </p:grpSpPr>
          <p:sp>
            <p:nvSpPr>
              <p:cNvPr id="71" name="Freeform 113"/>
              <p:cNvSpPr>
                <a:spLocks noEditPoints="1"/>
              </p:cNvSpPr>
              <p:nvPr/>
            </p:nvSpPr>
            <p:spPr bwMode="auto">
              <a:xfrm>
                <a:off x="1760636" y="2052874"/>
                <a:ext cx="654152" cy="863195"/>
              </a:xfrm>
              <a:custGeom>
                <a:avLst/>
                <a:gdLst>
                  <a:gd name="T0" fmla="*/ 424 w 464"/>
                  <a:gd name="T1" fmla="*/ 0 h 626"/>
                  <a:gd name="T2" fmla="*/ 39 w 464"/>
                  <a:gd name="T3" fmla="*/ 0 h 626"/>
                  <a:gd name="T4" fmla="*/ 39 w 464"/>
                  <a:gd name="T5" fmla="*/ 0 h 626"/>
                  <a:gd name="T6" fmla="*/ 31 w 464"/>
                  <a:gd name="T7" fmla="*/ 2 h 626"/>
                  <a:gd name="T8" fmla="*/ 23 w 464"/>
                  <a:gd name="T9" fmla="*/ 3 h 626"/>
                  <a:gd name="T10" fmla="*/ 16 w 464"/>
                  <a:gd name="T11" fmla="*/ 7 h 626"/>
                  <a:gd name="T12" fmla="*/ 10 w 464"/>
                  <a:gd name="T13" fmla="*/ 13 h 626"/>
                  <a:gd name="T14" fmla="*/ 6 w 464"/>
                  <a:gd name="T15" fmla="*/ 18 h 626"/>
                  <a:gd name="T16" fmla="*/ 2 w 464"/>
                  <a:gd name="T17" fmla="*/ 25 h 626"/>
                  <a:gd name="T18" fmla="*/ 0 w 464"/>
                  <a:gd name="T19" fmla="*/ 31 h 626"/>
                  <a:gd name="T20" fmla="*/ 0 w 464"/>
                  <a:gd name="T21" fmla="*/ 40 h 626"/>
                  <a:gd name="T22" fmla="*/ 0 w 464"/>
                  <a:gd name="T23" fmla="*/ 587 h 626"/>
                  <a:gd name="T24" fmla="*/ 0 w 464"/>
                  <a:gd name="T25" fmla="*/ 587 h 626"/>
                  <a:gd name="T26" fmla="*/ 0 w 464"/>
                  <a:gd name="T27" fmla="*/ 595 h 626"/>
                  <a:gd name="T28" fmla="*/ 2 w 464"/>
                  <a:gd name="T29" fmla="*/ 602 h 626"/>
                  <a:gd name="T30" fmla="*/ 6 w 464"/>
                  <a:gd name="T31" fmla="*/ 609 h 626"/>
                  <a:gd name="T32" fmla="*/ 10 w 464"/>
                  <a:gd name="T33" fmla="*/ 615 h 626"/>
                  <a:gd name="T34" fmla="*/ 16 w 464"/>
                  <a:gd name="T35" fmla="*/ 619 h 626"/>
                  <a:gd name="T36" fmla="*/ 23 w 464"/>
                  <a:gd name="T37" fmla="*/ 623 h 626"/>
                  <a:gd name="T38" fmla="*/ 31 w 464"/>
                  <a:gd name="T39" fmla="*/ 626 h 626"/>
                  <a:gd name="T40" fmla="*/ 39 w 464"/>
                  <a:gd name="T41" fmla="*/ 626 h 626"/>
                  <a:gd name="T42" fmla="*/ 424 w 464"/>
                  <a:gd name="T43" fmla="*/ 626 h 626"/>
                  <a:gd name="T44" fmla="*/ 424 w 464"/>
                  <a:gd name="T45" fmla="*/ 626 h 626"/>
                  <a:gd name="T46" fmla="*/ 433 w 464"/>
                  <a:gd name="T47" fmla="*/ 626 h 626"/>
                  <a:gd name="T48" fmla="*/ 439 w 464"/>
                  <a:gd name="T49" fmla="*/ 623 h 626"/>
                  <a:gd name="T50" fmla="*/ 446 w 464"/>
                  <a:gd name="T51" fmla="*/ 619 h 626"/>
                  <a:gd name="T52" fmla="*/ 453 w 464"/>
                  <a:gd name="T53" fmla="*/ 615 h 626"/>
                  <a:gd name="T54" fmla="*/ 457 w 464"/>
                  <a:gd name="T55" fmla="*/ 609 h 626"/>
                  <a:gd name="T56" fmla="*/ 461 w 464"/>
                  <a:gd name="T57" fmla="*/ 602 h 626"/>
                  <a:gd name="T58" fmla="*/ 464 w 464"/>
                  <a:gd name="T59" fmla="*/ 595 h 626"/>
                  <a:gd name="T60" fmla="*/ 464 w 464"/>
                  <a:gd name="T61" fmla="*/ 587 h 626"/>
                  <a:gd name="T62" fmla="*/ 464 w 464"/>
                  <a:gd name="T63" fmla="*/ 40 h 626"/>
                  <a:gd name="T64" fmla="*/ 464 w 464"/>
                  <a:gd name="T65" fmla="*/ 40 h 626"/>
                  <a:gd name="T66" fmla="*/ 464 w 464"/>
                  <a:gd name="T67" fmla="*/ 31 h 626"/>
                  <a:gd name="T68" fmla="*/ 461 w 464"/>
                  <a:gd name="T69" fmla="*/ 25 h 626"/>
                  <a:gd name="T70" fmla="*/ 457 w 464"/>
                  <a:gd name="T71" fmla="*/ 18 h 626"/>
                  <a:gd name="T72" fmla="*/ 453 w 464"/>
                  <a:gd name="T73" fmla="*/ 13 h 626"/>
                  <a:gd name="T74" fmla="*/ 446 w 464"/>
                  <a:gd name="T75" fmla="*/ 7 h 626"/>
                  <a:gd name="T76" fmla="*/ 439 w 464"/>
                  <a:gd name="T77" fmla="*/ 3 h 626"/>
                  <a:gd name="T78" fmla="*/ 433 w 464"/>
                  <a:gd name="T79" fmla="*/ 2 h 626"/>
                  <a:gd name="T80" fmla="*/ 424 w 464"/>
                  <a:gd name="T81" fmla="*/ 0 h 626"/>
                  <a:gd name="T82" fmla="*/ 424 w 464"/>
                  <a:gd name="T83" fmla="*/ 0 h 626"/>
                  <a:gd name="T84" fmla="*/ 135 w 464"/>
                  <a:gd name="T85" fmla="*/ 587 h 626"/>
                  <a:gd name="T86" fmla="*/ 86 w 464"/>
                  <a:gd name="T87" fmla="*/ 587 h 626"/>
                  <a:gd name="T88" fmla="*/ 86 w 464"/>
                  <a:gd name="T89" fmla="*/ 571 h 626"/>
                  <a:gd name="T90" fmla="*/ 135 w 464"/>
                  <a:gd name="T91" fmla="*/ 571 h 626"/>
                  <a:gd name="T92" fmla="*/ 135 w 464"/>
                  <a:gd name="T93" fmla="*/ 587 h 626"/>
                  <a:gd name="T94" fmla="*/ 271 w 464"/>
                  <a:gd name="T95" fmla="*/ 591 h 626"/>
                  <a:gd name="T96" fmla="*/ 192 w 464"/>
                  <a:gd name="T97" fmla="*/ 591 h 626"/>
                  <a:gd name="T98" fmla="*/ 192 w 464"/>
                  <a:gd name="T99" fmla="*/ 567 h 626"/>
                  <a:gd name="T100" fmla="*/ 271 w 464"/>
                  <a:gd name="T101" fmla="*/ 567 h 626"/>
                  <a:gd name="T102" fmla="*/ 271 w 464"/>
                  <a:gd name="T103" fmla="*/ 591 h 626"/>
                  <a:gd name="T104" fmla="*/ 377 w 464"/>
                  <a:gd name="T105" fmla="*/ 587 h 626"/>
                  <a:gd name="T106" fmla="*/ 329 w 464"/>
                  <a:gd name="T107" fmla="*/ 587 h 626"/>
                  <a:gd name="T108" fmla="*/ 329 w 464"/>
                  <a:gd name="T109" fmla="*/ 571 h 626"/>
                  <a:gd name="T110" fmla="*/ 377 w 464"/>
                  <a:gd name="T111" fmla="*/ 571 h 626"/>
                  <a:gd name="T112" fmla="*/ 377 w 464"/>
                  <a:gd name="T113" fmla="*/ 587 h 626"/>
                  <a:gd name="T114" fmla="*/ 412 w 464"/>
                  <a:gd name="T115" fmla="*/ 534 h 626"/>
                  <a:gd name="T116" fmla="*/ 51 w 464"/>
                  <a:gd name="T117" fmla="*/ 534 h 626"/>
                  <a:gd name="T118" fmla="*/ 51 w 464"/>
                  <a:gd name="T119" fmla="*/ 56 h 626"/>
                  <a:gd name="T120" fmla="*/ 412 w 464"/>
                  <a:gd name="T121" fmla="*/ 56 h 626"/>
                  <a:gd name="T122" fmla="*/ 412 w 464"/>
                  <a:gd name="T123" fmla="*/ 53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4" h="626">
                    <a:moveTo>
                      <a:pt x="424" y="0"/>
                    </a:moveTo>
                    <a:lnTo>
                      <a:pt x="39" y="0"/>
                    </a:lnTo>
                    <a:lnTo>
                      <a:pt x="39" y="0"/>
                    </a:lnTo>
                    <a:lnTo>
                      <a:pt x="31" y="2"/>
                    </a:lnTo>
                    <a:lnTo>
                      <a:pt x="23" y="3"/>
                    </a:lnTo>
                    <a:lnTo>
                      <a:pt x="16" y="7"/>
                    </a:lnTo>
                    <a:lnTo>
                      <a:pt x="10" y="13"/>
                    </a:lnTo>
                    <a:lnTo>
                      <a:pt x="6" y="18"/>
                    </a:lnTo>
                    <a:lnTo>
                      <a:pt x="2" y="25"/>
                    </a:lnTo>
                    <a:lnTo>
                      <a:pt x="0" y="31"/>
                    </a:lnTo>
                    <a:lnTo>
                      <a:pt x="0" y="40"/>
                    </a:lnTo>
                    <a:lnTo>
                      <a:pt x="0" y="587"/>
                    </a:lnTo>
                    <a:lnTo>
                      <a:pt x="0" y="587"/>
                    </a:lnTo>
                    <a:lnTo>
                      <a:pt x="0" y="595"/>
                    </a:lnTo>
                    <a:lnTo>
                      <a:pt x="2" y="602"/>
                    </a:lnTo>
                    <a:lnTo>
                      <a:pt x="6" y="609"/>
                    </a:lnTo>
                    <a:lnTo>
                      <a:pt x="10" y="615"/>
                    </a:lnTo>
                    <a:lnTo>
                      <a:pt x="16" y="619"/>
                    </a:lnTo>
                    <a:lnTo>
                      <a:pt x="23" y="623"/>
                    </a:lnTo>
                    <a:lnTo>
                      <a:pt x="31" y="626"/>
                    </a:lnTo>
                    <a:lnTo>
                      <a:pt x="39" y="626"/>
                    </a:lnTo>
                    <a:lnTo>
                      <a:pt x="424" y="626"/>
                    </a:lnTo>
                    <a:lnTo>
                      <a:pt x="424" y="626"/>
                    </a:lnTo>
                    <a:lnTo>
                      <a:pt x="433" y="626"/>
                    </a:lnTo>
                    <a:lnTo>
                      <a:pt x="439" y="623"/>
                    </a:lnTo>
                    <a:lnTo>
                      <a:pt x="446" y="619"/>
                    </a:lnTo>
                    <a:lnTo>
                      <a:pt x="453" y="615"/>
                    </a:lnTo>
                    <a:lnTo>
                      <a:pt x="457" y="609"/>
                    </a:lnTo>
                    <a:lnTo>
                      <a:pt x="461" y="602"/>
                    </a:lnTo>
                    <a:lnTo>
                      <a:pt x="464" y="595"/>
                    </a:lnTo>
                    <a:lnTo>
                      <a:pt x="464" y="587"/>
                    </a:lnTo>
                    <a:lnTo>
                      <a:pt x="464" y="40"/>
                    </a:lnTo>
                    <a:lnTo>
                      <a:pt x="464" y="40"/>
                    </a:lnTo>
                    <a:lnTo>
                      <a:pt x="464" y="31"/>
                    </a:lnTo>
                    <a:lnTo>
                      <a:pt x="461" y="25"/>
                    </a:lnTo>
                    <a:lnTo>
                      <a:pt x="457" y="18"/>
                    </a:lnTo>
                    <a:lnTo>
                      <a:pt x="453" y="13"/>
                    </a:lnTo>
                    <a:lnTo>
                      <a:pt x="446" y="7"/>
                    </a:lnTo>
                    <a:lnTo>
                      <a:pt x="439" y="3"/>
                    </a:lnTo>
                    <a:lnTo>
                      <a:pt x="433" y="2"/>
                    </a:lnTo>
                    <a:lnTo>
                      <a:pt x="424" y="0"/>
                    </a:lnTo>
                    <a:lnTo>
                      <a:pt x="424" y="0"/>
                    </a:lnTo>
                    <a:close/>
                    <a:moveTo>
                      <a:pt x="135" y="587"/>
                    </a:moveTo>
                    <a:lnTo>
                      <a:pt x="86" y="587"/>
                    </a:lnTo>
                    <a:lnTo>
                      <a:pt x="86" y="571"/>
                    </a:lnTo>
                    <a:lnTo>
                      <a:pt x="135" y="571"/>
                    </a:lnTo>
                    <a:lnTo>
                      <a:pt x="135" y="587"/>
                    </a:lnTo>
                    <a:close/>
                    <a:moveTo>
                      <a:pt x="271" y="591"/>
                    </a:moveTo>
                    <a:lnTo>
                      <a:pt x="192" y="591"/>
                    </a:lnTo>
                    <a:lnTo>
                      <a:pt x="192" y="567"/>
                    </a:lnTo>
                    <a:lnTo>
                      <a:pt x="271" y="567"/>
                    </a:lnTo>
                    <a:lnTo>
                      <a:pt x="271" y="591"/>
                    </a:lnTo>
                    <a:close/>
                    <a:moveTo>
                      <a:pt x="377" y="587"/>
                    </a:moveTo>
                    <a:lnTo>
                      <a:pt x="329" y="587"/>
                    </a:lnTo>
                    <a:lnTo>
                      <a:pt x="329" y="571"/>
                    </a:lnTo>
                    <a:lnTo>
                      <a:pt x="377" y="571"/>
                    </a:lnTo>
                    <a:lnTo>
                      <a:pt x="377" y="587"/>
                    </a:lnTo>
                    <a:close/>
                    <a:moveTo>
                      <a:pt x="412" y="534"/>
                    </a:moveTo>
                    <a:lnTo>
                      <a:pt x="51" y="534"/>
                    </a:lnTo>
                    <a:lnTo>
                      <a:pt x="51" y="56"/>
                    </a:lnTo>
                    <a:lnTo>
                      <a:pt x="412" y="56"/>
                    </a:lnTo>
                    <a:lnTo>
                      <a:pt x="412" y="53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2" name="Rounded Rectangle 71"/>
              <p:cNvSpPr/>
              <p:nvPr/>
            </p:nvSpPr>
            <p:spPr>
              <a:xfrm>
                <a:off x="1419352" y="2253821"/>
                <a:ext cx="437593" cy="689909"/>
              </a:xfrm>
              <a:prstGeom prst="roundRect">
                <a:avLst>
                  <a:gd name="adj" fmla="val 18337"/>
                </a:avLst>
              </a:prstGeom>
              <a:solidFill>
                <a:srgbClr val="57B8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sp>
            <p:nvSpPr>
              <p:cNvPr id="73" name="Freeform 72"/>
              <p:cNvSpPr>
                <a:spLocks noEditPoints="1"/>
              </p:cNvSpPr>
              <p:nvPr/>
            </p:nvSpPr>
            <p:spPr bwMode="auto">
              <a:xfrm>
                <a:off x="1455179" y="2279107"/>
                <a:ext cx="373695" cy="641448"/>
              </a:xfrm>
              <a:custGeom>
                <a:avLst/>
                <a:gdLst>
                  <a:gd name="T0" fmla="*/ 66 w 387"/>
                  <a:gd name="T1" fmla="*/ 0 h 666"/>
                  <a:gd name="T2" fmla="*/ 53 w 387"/>
                  <a:gd name="T3" fmla="*/ 1 h 666"/>
                  <a:gd name="T4" fmla="*/ 30 w 387"/>
                  <a:gd name="T5" fmla="*/ 12 h 666"/>
                  <a:gd name="T6" fmla="*/ 12 w 387"/>
                  <a:gd name="T7" fmla="*/ 34 h 666"/>
                  <a:gd name="T8" fmla="*/ 1 w 387"/>
                  <a:gd name="T9" fmla="*/ 61 h 666"/>
                  <a:gd name="T10" fmla="*/ 0 w 387"/>
                  <a:gd name="T11" fmla="*/ 588 h 666"/>
                  <a:gd name="T12" fmla="*/ 1 w 387"/>
                  <a:gd name="T13" fmla="*/ 604 h 666"/>
                  <a:gd name="T14" fmla="*/ 12 w 387"/>
                  <a:gd name="T15" fmla="*/ 632 h 666"/>
                  <a:gd name="T16" fmla="*/ 30 w 387"/>
                  <a:gd name="T17" fmla="*/ 653 h 666"/>
                  <a:gd name="T18" fmla="*/ 53 w 387"/>
                  <a:gd name="T19" fmla="*/ 665 h 666"/>
                  <a:gd name="T20" fmla="*/ 321 w 387"/>
                  <a:gd name="T21" fmla="*/ 666 h 666"/>
                  <a:gd name="T22" fmla="*/ 334 w 387"/>
                  <a:gd name="T23" fmla="*/ 665 h 666"/>
                  <a:gd name="T24" fmla="*/ 359 w 387"/>
                  <a:gd name="T25" fmla="*/ 653 h 666"/>
                  <a:gd name="T26" fmla="*/ 376 w 387"/>
                  <a:gd name="T27" fmla="*/ 632 h 666"/>
                  <a:gd name="T28" fmla="*/ 386 w 387"/>
                  <a:gd name="T29" fmla="*/ 604 h 666"/>
                  <a:gd name="T30" fmla="*/ 387 w 387"/>
                  <a:gd name="T31" fmla="*/ 77 h 666"/>
                  <a:gd name="T32" fmla="*/ 386 w 387"/>
                  <a:gd name="T33" fmla="*/ 61 h 666"/>
                  <a:gd name="T34" fmla="*/ 376 w 387"/>
                  <a:gd name="T35" fmla="*/ 34 h 666"/>
                  <a:gd name="T36" fmla="*/ 359 w 387"/>
                  <a:gd name="T37" fmla="*/ 12 h 666"/>
                  <a:gd name="T38" fmla="*/ 334 w 387"/>
                  <a:gd name="T39" fmla="*/ 1 h 666"/>
                  <a:gd name="T40" fmla="*/ 321 w 387"/>
                  <a:gd name="T41" fmla="*/ 0 h 666"/>
                  <a:gd name="T42" fmla="*/ 236 w 387"/>
                  <a:gd name="T43" fmla="*/ 30 h 666"/>
                  <a:gd name="T44" fmla="*/ 152 w 387"/>
                  <a:gd name="T45" fmla="*/ 50 h 666"/>
                  <a:gd name="T46" fmla="*/ 103 w 387"/>
                  <a:gd name="T47" fmla="*/ 593 h 666"/>
                  <a:gd name="T48" fmla="*/ 103 w 387"/>
                  <a:gd name="T49" fmla="*/ 595 h 666"/>
                  <a:gd name="T50" fmla="*/ 98 w 387"/>
                  <a:gd name="T51" fmla="*/ 597 h 666"/>
                  <a:gd name="T52" fmla="*/ 58 w 387"/>
                  <a:gd name="T53" fmla="*/ 597 h 666"/>
                  <a:gd name="T54" fmla="*/ 55 w 387"/>
                  <a:gd name="T55" fmla="*/ 597 h 666"/>
                  <a:gd name="T56" fmla="*/ 53 w 387"/>
                  <a:gd name="T57" fmla="*/ 595 h 666"/>
                  <a:gd name="T58" fmla="*/ 51 w 387"/>
                  <a:gd name="T59" fmla="*/ 572 h 666"/>
                  <a:gd name="T60" fmla="*/ 53 w 387"/>
                  <a:gd name="T61" fmla="*/ 569 h 666"/>
                  <a:gd name="T62" fmla="*/ 55 w 387"/>
                  <a:gd name="T63" fmla="*/ 566 h 666"/>
                  <a:gd name="T64" fmla="*/ 97 w 387"/>
                  <a:gd name="T65" fmla="*/ 566 h 666"/>
                  <a:gd name="T66" fmla="*/ 98 w 387"/>
                  <a:gd name="T67" fmla="*/ 566 h 666"/>
                  <a:gd name="T68" fmla="*/ 103 w 387"/>
                  <a:gd name="T69" fmla="*/ 569 h 666"/>
                  <a:gd name="T70" fmla="*/ 103 w 387"/>
                  <a:gd name="T71" fmla="*/ 593 h 666"/>
                  <a:gd name="T72" fmla="*/ 245 w 387"/>
                  <a:gd name="T73" fmla="*/ 620 h 666"/>
                  <a:gd name="T74" fmla="*/ 241 w 387"/>
                  <a:gd name="T75" fmla="*/ 630 h 666"/>
                  <a:gd name="T76" fmla="*/ 232 w 387"/>
                  <a:gd name="T77" fmla="*/ 634 h 666"/>
                  <a:gd name="T78" fmla="*/ 155 w 387"/>
                  <a:gd name="T79" fmla="*/ 634 h 666"/>
                  <a:gd name="T80" fmla="*/ 146 w 387"/>
                  <a:gd name="T81" fmla="*/ 630 h 666"/>
                  <a:gd name="T82" fmla="*/ 143 w 387"/>
                  <a:gd name="T83" fmla="*/ 620 h 666"/>
                  <a:gd name="T84" fmla="*/ 143 w 387"/>
                  <a:gd name="T85" fmla="*/ 543 h 666"/>
                  <a:gd name="T86" fmla="*/ 146 w 387"/>
                  <a:gd name="T87" fmla="*/ 534 h 666"/>
                  <a:gd name="T88" fmla="*/ 155 w 387"/>
                  <a:gd name="T89" fmla="*/ 531 h 666"/>
                  <a:gd name="T90" fmla="*/ 232 w 387"/>
                  <a:gd name="T91" fmla="*/ 531 h 666"/>
                  <a:gd name="T92" fmla="*/ 241 w 387"/>
                  <a:gd name="T93" fmla="*/ 534 h 666"/>
                  <a:gd name="T94" fmla="*/ 245 w 387"/>
                  <a:gd name="T95" fmla="*/ 543 h 666"/>
                  <a:gd name="T96" fmla="*/ 336 w 387"/>
                  <a:gd name="T97" fmla="*/ 593 h 666"/>
                  <a:gd name="T98" fmla="*/ 334 w 387"/>
                  <a:gd name="T99" fmla="*/ 595 h 666"/>
                  <a:gd name="T100" fmla="*/ 330 w 387"/>
                  <a:gd name="T101" fmla="*/ 597 h 666"/>
                  <a:gd name="T102" fmla="*/ 291 w 387"/>
                  <a:gd name="T103" fmla="*/ 597 h 666"/>
                  <a:gd name="T104" fmla="*/ 287 w 387"/>
                  <a:gd name="T105" fmla="*/ 596 h 666"/>
                  <a:gd name="T106" fmla="*/ 285 w 387"/>
                  <a:gd name="T107" fmla="*/ 593 h 666"/>
                  <a:gd name="T108" fmla="*/ 285 w 387"/>
                  <a:gd name="T109" fmla="*/ 572 h 666"/>
                  <a:gd name="T110" fmla="*/ 287 w 387"/>
                  <a:gd name="T111" fmla="*/ 568 h 666"/>
                  <a:gd name="T112" fmla="*/ 291 w 387"/>
                  <a:gd name="T113" fmla="*/ 566 h 666"/>
                  <a:gd name="T114" fmla="*/ 330 w 387"/>
                  <a:gd name="T115" fmla="*/ 566 h 666"/>
                  <a:gd name="T116" fmla="*/ 334 w 387"/>
                  <a:gd name="T117" fmla="*/ 569 h 666"/>
                  <a:gd name="T118" fmla="*/ 336 w 387"/>
                  <a:gd name="T119" fmla="*/ 593 h 666"/>
                  <a:gd name="T120" fmla="*/ 41 w 387"/>
                  <a:gd name="T121" fmla="*/ 493 h 666"/>
                  <a:gd name="T122" fmla="*/ 347 w 387"/>
                  <a:gd name="T123" fmla="*/ 81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7" h="666">
                    <a:moveTo>
                      <a:pt x="321" y="0"/>
                    </a:moveTo>
                    <a:lnTo>
                      <a:pt x="66" y="0"/>
                    </a:lnTo>
                    <a:lnTo>
                      <a:pt x="66" y="0"/>
                    </a:lnTo>
                    <a:lnTo>
                      <a:pt x="53" y="1"/>
                    </a:lnTo>
                    <a:lnTo>
                      <a:pt x="41" y="5"/>
                    </a:lnTo>
                    <a:lnTo>
                      <a:pt x="30" y="12"/>
                    </a:lnTo>
                    <a:lnTo>
                      <a:pt x="20" y="22"/>
                    </a:lnTo>
                    <a:lnTo>
                      <a:pt x="12" y="34"/>
                    </a:lnTo>
                    <a:lnTo>
                      <a:pt x="5" y="47"/>
                    </a:lnTo>
                    <a:lnTo>
                      <a:pt x="1" y="61"/>
                    </a:lnTo>
                    <a:lnTo>
                      <a:pt x="0" y="77"/>
                    </a:lnTo>
                    <a:lnTo>
                      <a:pt x="0" y="588"/>
                    </a:lnTo>
                    <a:lnTo>
                      <a:pt x="0" y="588"/>
                    </a:lnTo>
                    <a:lnTo>
                      <a:pt x="1" y="604"/>
                    </a:lnTo>
                    <a:lnTo>
                      <a:pt x="5" y="619"/>
                    </a:lnTo>
                    <a:lnTo>
                      <a:pt x="12" y="632"/>
                    </a:lnTo>
                    <a:lnTo>
                      <a:pt x="20" y="643"/>
                    </a:lnTo>
                    <a:lnTo>
                      <a:pt x="30" y="653"/>
                    </a:lnTo>
                    <a:lnTo>
                      <a:pt x="41" y="659"/>
                    </a:lnTo>
                    <a:lnTo>
                      <a:pt x="53" y="665"/>
                    </a:lnTo>
                    <a:lnTo>
                      <a:pt x="66" y="666"/>
                    </a:lnTo>
                    <a:lnTo>
                      <a:pt x="321" y="666"/>
                    </a:lnTo>
                    <a:lnTo>
                      <a:pt x="321" y="666"/>
                    </a:lnTo>
                    <a:lnTo>
                      <a:pt x="334" y="665"/>
                    </a:lnTo>
                    <a:lnTo>
                      <a:pt x="347" y="659"/>
                    </a:lnTo>
                    <a:lnTo>
                      <a:pt x="359" y="653"/>
                    </a:lnTo>
                    <a:lnTo>
                      <a:pt x="368" y="643"/>
                    </a:lnTo>
                    <a:lnTo>
                      <a:pt x="376" y="632"/>
                    </a:lnTo>
                    <a:lnTo>
                      <a:pt x="382" y="619"/>
                    </a:lnTo>
                    <a:lnTo>
                      <a:pt x="386" y="604"/>
                    </a:lnTo>
                    <a:lnTo>
                      <a:pt x="387" y="588"/>
                    </a:lnTo>
                    <a:lnTo>
                      <a:pt x="387" y="77"/>
                    </a:lnTo>
                    <a:lnTo>
                      <a:pt x="387" y="77"/>
                    </a:lnTo>
                    <a:lnTo>
                      <a:pt x="386" y="61"/>
                    </a:lnTo>
                    <a:lnTo>
                      <a:pt x="382" y="47"/>
                    </a:lnTo>
                    <a:lnTo>
                      <a:pt x="376" y="34"/>
                    </a:lnTo>
                    <a:lnTo>
                      <a:pt x="368" y="22"/>
                    </a:lnTo>
                    <a:lnTo>
                      <a:pt x="359" y="12"/>
                    </a:lnTo>
                    <a:lnTo>
                      <a:pt x="347" y="5"/>
                    </a:lnTo>
                    <a:lnTo>
                      <a:pt x="334" y="1"/>
                    </a:lnTo>
                    <a:lnTo>
                      <a:pt x="321" y="0"/>
                    </a:lnTo>
                    <a:lnTo>
                      <a:pt x="321" y="0"/>
                    </a:lnTo>
                    <a:close/>
                    <a:moveTo>
                      <a:pt x="152" y="30"/>
                    </a:moveTo>
                    <a:lnTo>
                      <a:pt x="236" y="30"/>
                    </a:lnTo>
                    <a:lnTo>
                      <a:pt x="236" y="50"/>
                    </a:lnTo>
                    <a:lnTo>
                      <a:pt x="152" y="50"/>
                    </a:lnTo>
                    <a:lnTo>
                      <a:pt x="152" y="30"/>
                    </a:lnTo>
                    <a:close/>
                    <a:moveTo>
                      <a:pt x="103" y="593"/>
                    </a:moveTo>
                    <a:lnTo>
                      <a:pt x="103" y="593"/>
                    </a:lnTo>
                    <a:lnTo>
                      <a:pt x="103" y="595"/>
                    </a:lnTo>
                    <a:lnTo>
                      <a:pt x="101" y="596"/>
                    </a:lnTo>
                    <a:lnTo>
                      <a:pt x="98" y="597"/>
                    </a:lnTo>
                    <a:lnTo>
                      <a:pt x="97" y="597"/>
                    </a:lnTo>
                    <a:lnTo>
                      <a:pt x="58" y="597"/>
                    </a:lnTo>
                    <a:lnTo>
                      <a:pt x="58" y="597"/>
                    </a:lnTo>
                    <a:lnTo>
                      <a:pt x="55" y="597"/>
                    </a:lnTo>
                    <a:lnTo>
                      <a:pt x="54" y="596"/>
                    </a:lnTo>
                    <a:lnTo>
                      <a:pt x="53" y="595"/>
                    </a:lnTo>
                    <a:lnTo>
                      <a:pt x="51" y="593"/>
                    </a:lnTo>
                    <a:lnTo>
                      <a:pt x="51" y="572"/>
                    </a:lnTo>
                    <a:lnTo>
                      <a:pt x="51" y="572"/>
                    </a:lnTo>
                    <a:lnTo>
                      <a:pt x="53" y="569"/>
                    </a:lnTo>
                    <a:lnTo>
                      <a:pt x="54" y="568"/>
                    </a:lnTo>
                    <a:lnTo>
                      <a:pt x="55" y="566"/>
                    </a:lnTo>
                    <a:lnTo>
                      <a:pt x="58" y="566"/>
                    </a:lnTo>
                    <a:lnTo>
                      <a:pt x="97" y="566"/>
                    </a:lnTo>
                    <a:lnTo>
                      <a:pt x="97" y="566"/>
                    </a:lnTo>
                    <a:lnTo>
                      <a:pt x="98" y="566"/>
                    </a:lnTo>
                    <a:lnTo>
                      <a:pt x="101" y="568"/>
                    </a:lnTo>
                    <a:lnTo>
                      <a:pt x="103" y="569"/>
                    </a:lnTo>
                    <a:lnTo>
                      <a:pt x="103" y="572"/>
                    </a:lnTo>
                    <a:lnTo>
                      <a:pt x="103" y="593"/>
                    </a:lnTo>
                    <a:close/>
                    <a:moveTo>
                      <a:pt x="245" y="620"/>
                    </a:moveTo>
                    <a:lnTo>
                      <a:pt x="245" y="620"/>
                    </a:lnTo>
                    <a:lnTo>
                      <a:pt x="244" y="626"/>
                    </a:lnTo>
                    <a:lnTo>
                      <a:pt x="241" y="630"/>
                    </a:lnTo>
                    <a:lnTo>
                      <a:pt x="237" y="632"/>
                    </a:lnTo>
                    <a:lnTo>
                      <a:pt x="232" y="634"/>
                    </a:lnTo>
                    <a:lnTo>
                      <a:pt x="155" y="634"/>
                    </a:lnTo>
                    <a:lnTo>
                      <a:pt x="155" y="634"/>
                    </a:lnTo>
                    <a:lnTo>
                      <a:pt x="150" y="632"/>
                    </a:lnTo>
                    <a:lnTo>
                      <a:pt x="146" y="630"/>
                    </a:lnTo>
                    <a:lnTo>
                      <a:pt x="143" y="626"/>
                    </a:lnTo>
                    <a:lnTo>
                      <a:pt x="143" y="620"/>
                    </a:lnTo>
                    <a:lnTo>
                      <a:pt x="143" y="543"/>
                    </a:lnTo>
                    <a:lnTo>
                      <a:pt x="143" y="543"/>
                    </a:lnTo>
                    <a:lnTo>
                      <a:pt x="143" y="538"/>
                    </a:lnTo>
                    <a:lnTo>
                      <a:pt x="146" y="534"/>
                    </a:lnTo>
                    <a:lnTo>
                      <a:pt x="150" y="531"/>
                    </a:lnTo>
                    <a:lnTo>
                      <a:pt x="155" y="531"/>
                    </a:lnTo>
                    <a:lnTo>
                      <a:pt x="232" y="531"/>
                    </a:lnTo>
                    <a:lnTo>
                      <a:pt x="232" y="531"/>
                    </a:lnTo>
                    <a:lnTo>
                      <a:pt x="237" y="531"/>
                    </a:lnTo>
                    <a:lnTo>
                      <a:pt x="241" y="534"/>
                    </a:lnTo>
                    <a:lnTo>
                      <a:pt x="244" y="538"/>
                    </a:lnTo>
                    <a:lnTo>
                      <a:pt x="245" y="543"/>
                    </a:lnTo>
                    <a:lnTo>
                      <a:pt x="245" y="620"/>
                    </a:lnTo>
                    <a:close/>
                    <a:moveTo>
                      <a:pt x="336" y="593"/>
                    </a:moveTo>
                    <a:lnTo>
                      <a:pt x="336" y="593"/>
                    </a:lnTo>
                    <a:lnTo>
                      <a:pt x="334" y="595"/>
                    </a:lnTo>
                    <a:lnTo>
                      <a:pt x="334" y="596"/>
                    </a:lnTo>
                    <a:lnTo>
                      <a:pt x="330" y="597"/>
                    </a:lnTo>
                    <a:lnTo>
                      <a:pt x="291" y="597"/>
                    </a:lnTo>
                    <a:lnTo>
                      <a:pt x="291" y="597"/>
                    </a:lnTo>
                    <a:lnTo>
                      <a:pt x="289" y="597"/>
                    </a:lnTo>
                    <a:lnTo>
                      <a:pt x="287" y="596"/>
                    </a:lnTo>
                    <a:lnTo>
                      <a:pt x="286" y="595"/>
                    </a:lnTo>
                    <a:lnTo>
                      <a:pt x="285" y="593"/>
                    </a:lnTo>
                    <a:lnTo>
                      <a:pt x="285" y="572"/>
                    </a:lnTo>
                    <a:lnTo>
                      <a:pt x="285" y="572"/>
                    </a:lnTo>
                    <a:lnTo>
                      <a:pt x="286" y="569"/>
                    </a:lnTo>
                    <a:lnTo>
                      <a:pt x="287" y="568"/>
                    </a:lnTo>
                    <a:lnTo>
                      <a:pt x="289" y="566"/>
                    </a:lnTo>
                    <a:lnTo>
                      <a:pt x="291" y="566"/>
                    </a:lnTo>
                    <a:lnTo>
                      <a:pt x="330" y="566"/>
                    </a:lnTo>
                    <a:lnTo>
                      <a:pt x="330" y="566"/>
                    </a:lnTo>
                    <a:lnTo>
                      <a:pt x="334" y="568"/>
                    </a:lnTo>
                    <a:lnTo>
                      <a:pt x="334" y="569"/>
                    </a:lnTo>
                    <a:lnTo>
                      <a:pt x="336" y="572"/>
                    </a:lnTo>
                    <a:lnTo>
                      <a:pt x="336" y="593"/>
                    </a:lnTo>
                    <a:close/>
                    <a:moveTo>
                      <a:pt x="347" y="493"/>
                    </a:moveTo>
                    <a:lnTo>
                      <a:pt x="41" y="493"/>
                    </a:lnTo>
                    <a:lnTo>
                      <a:pt x="41" y="81"/>
                    </a:lnTo>
                    <a:lnTo>
                      <a:pt x="347" y="81"/>
                    </a:lnTo>
                    <a:lnTo>
                      <a:pt x="347" y="49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Rectangle 73"/>
              <p:cNvSpPr>
                <a:spLocks noChangeArrowheads="1"/>
              </p:cNvSpPr>
              <p:nvPr/>
            </p:nvSpPr>
            <p:spPr bwMode="auto">
              <a:xfrm>
                <a:off x="1610933" y="2808556"/>
                <a:ext cx="61641" cy="61641"/>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 name="Group 3"/>
          <p:cNvGrpSpPr/>
          <p:nvPr/>
        </p:nvGrpSpPr>
        <p:grpSpPr>
          <a:xfrm>
            <a:off x="3466442" y="1182624"/>
            <a:ext cx="5087657" cy="811567"/>
            <a:chOff x="3466442" y="1182624"/>
            <a:chExt cx="5087657" cy="811567"/>
          </a:xfrm>
        </p:grpSpPr>
        <p:sp>
          <p:nvSpPr>
            <p:cNvPr id="76" name="Rectangle 75"/>
            <p:cNvSpPr/>
            <p:nvPr/>
          </p:nvSpPr>
          <p:spPr>
            <a:xfrm>
              <a:off x="3466442" y="1182624"/>
              <a:ext cx="2527958" cy="811567"/>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7" name="Rectangle 76"/>
            <p:cNvSpPr/>
            <p:nvPr/>
          </p:nvSpPr>
          <p:spPr>
            <a:xfrm>
              <a:off x="6018784" y="1182624"/>
              <a:ext cx="2535315" cy="811567"/>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8" name="Cross 77"/>
            <p:cNvSpPr/>
            <p:nvPr/>
          </p:nvSpPr>
          <p:spPr>
            <a:xfrm>
              <a:off x="5868144" y="1466569"/>
              <a:ext cx="271404" cy="271404"/>
            </a:xfrm>
            <a:prstGeom prst="plus">
              <a:avLst>
                <a:gd name="adj" fmla="val 38381"/>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79" name="Picture 78"/>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793242" y="1296415"/>
              <a:ext cx="999892" cy="613665"/>
            </a:xfrm>
            <a:prstGeom prst="rect">
              <a:avLst/>
            </a:prstGeom>
          </p:spPr>
        </p:pic>
        <p:pic>
          <p:nvPicPr>
            <p:cNvPr id="80" name="Picture 7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066230" y="1485336"/>
              <a:ext cx="1317226" cy="221544"/>
            </a:xfrm>
            <a:prstGeom prst="rect">
              <a:avLst/>
            </a:prstGeom>
          </p:spPr>
        </p:pic>
      </p:grpSp>
      <p:grpSp>
        <p:nvGrpSpPr>
          <p:cNvPr id="85" name="Group 84"/>
          <p:cNvGrpSpPr/>
          <p:nvPr/>
        </p:nvGrpSpPr>
        <p:grpSpPr>
          <a:xfrm>
            <a:off x="562108" y="3763286"/>
            <a:ext cx="8054112" cy="660550"/>
            <a:chOff x="562108" y="3763286"/>
            <a:chExt cx="8054112" cy="660550"/>
          </a:xfrm>
        </p:grpSpPr>
        <p:sp>
          <p:nvSpPr>
            <p:cNvPr id="86" name="Rounded Rectangle 85"/>
            <p:cNvSpPr/>
            <p:nvPr/>
          </p:nvSpPr>
          <p:spPr>
            <a:xfrm rot="16200000">
              <a:off x="4566304" y="-240910"/>
              <a:ext cx="45719" cy="8054112"/>
            </a:xfrm>
            <a:prstGeom prst="roundRect">
              <a:avLst>
                <a:gd name="adj" fmla="val 50000"/>
              </a:avLst>
            </a:prstGeom>
            <a:solidFill>
              <a:schemeClr val="bg1">
                <a:lumMod val="75000"/>
              </a:schemeClr>
            </a:solidFill>
            <a:ln w="25400" cap="flat" cmpd="sng" algn="ctr">
              <a:noFill/>
              <a:prstDash val="solid"/>
            </a:ln>
            <a:effectLst/>
          </p:spPr>
          <p:txBody>
            <a:bodyPr vert="vert" lIns="68588" tIns="34295" rIns="68588" bIns="34295" rtlCol="0" anchor="ctr"/>
            <a:lstStyle/>
            <a:p>
              <a:pPr algn="ctr" defTabSz="914378">
                <a:defRPr/>
              </a:pPr>
              <a:endParaRPr lang="en-US" sz="700" kern="0" dirty="0">
                <a:solidFill>
                  <a:srgbClr val="FFFFFF"/>
                </a:solidFill>
                <a:ea typeface="ＭＳ Ｐゴシック" pitchFamily="34" charset="-128"/>
              </a:endParaRPr>
            </a:p>
          </p:txBody>
        </p:sp>
        <p:sp>
          <p:nvSpPr>
            <p:cNvPr id="87" name="TextBox 86"/>
            <p:cNvSpPr txBox="1"/>
            <p:nvPr/>
          </p:nvSpPr>
          <p:spPr>
            <a:xfrm>
              <a:off x="1444887" y="3839061"/>
              <a:ext cx="6409584" cy="584775"/>
            </a:xfrm>
            <a:prstGeom prst="rect">
              <a:avLst/>
            </a:prstGeom>
            <a:solidFill>
              <a:schemeClr val="bg1"/>
            </a:solidFill>
          </p:spPr>
          <p:txBody>
            <a:bodyPr wrap="square" rtlCol="0">
              <a:spAutoFit/>
            </a:bodyPr>
            <a:lstStyle/>
            <a:p>
              <a:pPr algn="ctr"/>
              <a:r>
                <a:rPr lang="en-US" sz="1600" dirty="0"/>
                <a:t>Samsung and Cisco are </a:t>
              </a:r>
              <a:r>
                <a:rPr lang="en-US" sz="1600" smtClean="0"/>
                <a:t>working together to </a:t>
              </a:r>
              <a:r>
                <a:rPr lang="en-US" sz="1600" dirty="0"/>
                <a:t>provide the most secure mobile device platform with unmatched visibility for the enterprise</a:t>
              </a:r>
            </a:p>
          </p:txBody>
        </p:sp>
      </p:grpSp>
      <p:grpSp>
        <p:nvGrpSpPr>
          <p:cNvPr id="5" name="Group 4"/>
          <p:cNvGrpSpPr/>
          <p:nvPr/>
        </p:nvGrpSpPr>
        <p:grpSpPr>
          <a:xfrm>
            <a:off x="3489832" y="2095995"/>
            <a:ext cx="5267550" cy="1572270"/>
            <a:chOff x="3388232" y="2095995"/>
            <a:chExt cx="5267550" cy="1572270"/>
          </a:xfrm>
        </p:grpSpPr>
        <p:pic>
          <p:nvPicPr>
            <p:cNvPr id="88" name="Picture 8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388232" y="2242496"/>
              <a:ext cx="5267550" cy="1425769"/>
            </a:xfrm>
            <a:prstGeom prst="rect">
              <a:avLst/>
            </a:prstGeom>
          </p:spPr>
        </p:pic>
        <p:sp>
          <p:nvSpPr>
            <p:cNvPr id="90" name="Content Placeholder 17"/>
            <p:cNvSpPr txBox="1">
              <a:spLocks/>
            </p:cNvSpPr>
            <p:nvPr/>
          </p:nvSpPr>
          <p:spPr>
            <a:xfrm>
              <a:off x="3530471" y="2095995"/>
              <a:ext cx="1400009" cy="274742"/>
            </a:xfrm>
            <a:prstGeom prst="rect">
              <a:avLst/>
            </a:prstGeom>
          </p:spPr>
          <p:txBody>
            <a:bodyPr lIns="91420" tIns="45710" rIns="91420" bIns="45710" anchor="ctr">
              <a:noAutofit/>
            </a:bodyPr>
            <a:lstStyle>
              <a:lvl1pPr marL="0" marR="0" indent="0" algn="ctr" defTabSz="457105" rtl="0" eaLnBrk="1" fontAlgn="auto" latinLnBrk="0" hangingPunct="1">
                <a:lnSpc>
                  <a:spcPct val="100000"/>
                </a:lnSpc>
                <a:spcBef>
                  <a:spcPts val="1800"/>
                </a:spcBef>
                <a:spcAft>
                  <a:spcPts val="0"/>
                </a:spcAft>
                <a:buClrTx/>
                <a:buSzTx/>
                <a:buFont typeface="Arial"/>
                <a:buNone/>
                <a:tabLst/>
                <a:defRPr lang="en-US" sz="1800" b="0" i="0" kern="1200" baseline="0">
                  <a:solidFill>
                    <a:schemeClr val="tx1"/>
                  </a:solidFill>
                  <a:latin typeface="+mn-lt"/>
                  <a:ea typeface="ＭＳ Ｐゴシック" charset="0"/>
                  <a:cs typeface="CiscoSans ExtraLight"/>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90000"/>
                </a:lnSpc>
              </a:pPr>
              <a:r>
                <a:rPr lang="en-US" sz="1100" b="1" dirty="0" smtClean="0">
                  <a:ea typeface="ＭＳ Ｐゴシック" pitchFamily="34" charset="-128"/>
                </a:rPr>
                <a:t>Trusted Device</a:t>
              </a:r>
              <a:endParaRPr lang="en-US" sz="1100" b="1" dirty="0">
                <a:ea typeface="ＭＳ Ｐゴシック" pitchFamily="34" charset="-128"/>
              </a:endParaRPr>
            </a:p>
          </p:txBody>
        </p:sp>
        <p:sp>
          <p:nvSpPr>
            <p:cNvPr id="93" name="Content Placeholder 17"/>
            <p:cNvSpPr txBox="1">
              <a:spLocks/>
            </p:cNvSpPr>
            <p:nvPr/>
          </p:nvSpPr>
          <p:spPr>
            <a:xfrm>
              <a:off x="5166126" y="2095995"/>
              <a:ext cx="1400009" cy="274742"/>
            </a:xfrm>
            <a:prstGeom prst="rect">
              <a:avLst/>
            </a:prstGeom>
          </p:spPr>
          <p:txBody>
            <a:bodyPr lIns="91420" tIns="45710" rIns="91420" bIns="45710" anchor="ctr">
              <a:noAutofit/>
            </a:bodyPr>
            <a:lstStyle>
              <a:lvl1pPr marL="0" marR="0" indent="0" algn="ctr" defTabSz="457105" rtl="0" eaLnBrk="1" fontAlgn="auto" latinLnBrk="0" hangingPunct="1">
                <a:lnSpc>
                  <a:spcPct val="100000"/>
                </a:lnSpc>
                <a:spcBef>
                  <a:spcPts val="1800"/>
                </a:spcBef>
                <a:spcAft>
                  <a:spcPts val="0"/>
                </a:spcAft>
                <a:buClrTx/>
                <a:buSzTx/>
                <a:buFont typeface="Arial"/>
                <a:buNone/>
                <a:tabLst/>
                <a:defRPr lang="en-US" sz="1800" b="0" i="0" kern="1200" baseline="0">
                  <a:solidFill>
                    <a:schemeClr val="tx1"/>
                  </a:solidFill>
                  <a:latin typeface="+mn-lt"/>
                  <a:ea typeface="ＭＳ Ｐゴシック" charset="0"/>
                  <a:cs typeface="CiscoSans ExtraLight"/>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90000"/>
                </a:lnSpc>
              </a:pPr>
              <a:r>
                <a:rPr lang="en-US" sz="1100" b="1" dirty="0" smtClean="0">
                  <a:ea typeface="ＭＳ Ｐゴシック" pitchFamily="34" charset="-128"/>
                </a:rPr>
                <a:t>Visibility</a:t>
              </a:r>
              <a:endParaRPr lang="en-US" sz="1100" b="1" dirty="0">
                <a:ea typeface="ＭＳ Ｐゴシック" pitchFamily="34" charset="-128"/>
              </a:endParaRPr>
            </a:p>
          </p:txBody>
        </p:sp>
        <p:sp>
          <p:nvSpPr>
            <p:cNvPr id="94" name="Content Placeholder 17"/>
            <p:cNvSpPr txBox="1">
              <a:spLocks/>
            </p:cNvSpPr>
            <p:nvPr/>
          </p:nvSpPr>
          <p:spPr>
            <a:xfrm>
              <a:off x="7133770" y="2095995"/>
              <a:ext cx="1400009" cy="274742"/>
            </a:xfrm>
            <a:prstGeom prst="rect">
              <a:avLst/>
            </a:prstGeom>
          </p:spPr>
          <p:txBody>
            <a:bodyPr lIns="91420" tIns="45710" rIns="91420" bIns="45710" anchor="ctr">
              <a:noAutofit/>
            </a:bodyPr>
            <a:lstStyle>
              <a:lvl1pPr marL="0" marR="0" indent="0" algn="ctr" defTabSz="457105" rtl="0" eaLnBrk="1" fontAlgn="auto" latinLnBrk="0" hangingPunct="1">
                <a:lnSpc>
                  <a:spcPct val="100000"/>
                </a:lnSpc>
                <a:spcBef>
                  <a:spcPts val="1800"/>
                </a:spcBef>
                <a:spcAft>
                  <a:spcPts val="0"/>
                </a:spcAft>
                <a:buClrTx/>
                <a:buSzTx/>
                <a:buFont typeface="Arial"/>
                <a:buNone/>
                <a:tabLst/>
                <a:defRPr lang="en-US" sz="1800" b="0" i="0" kern="1200" baseline="0">
                  <a:solidFill>
                    <a:schemeClr val="tx1"/>
                  </a:solidFill>
                  <a:latin typeface="+mn-lt"/>
                  <a:ea typeface="ＭＳ Ｐゴシック" charset="0"/>
                  <a:cs typeface="CiscoSans ExtraLight"/>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90000"/>
                </a:lnSpc>
              </a:pPr>
              <a:r>
                <a:rPr lang="en-US" sz="1100" b="1" dirty="0" smtClean="0">
                  <a:ea typeface="ＭＳ Ｐゴシック" pitchFamily="34" charset="-128"/>
                </a:rPr>
                <a:t>Collection &amp; Analytics</a:t>
              </a:r>
              <a:endParaRPr lang="en-US" sz="1100" b="1" dirty="0">
                <a:ea typeface="ＭＳ Ｐゴシック" pitchFamily="34" charset="-128"/>
              </a:endParaRPr>
            </a:p>
          </p:txBody>
        </p:sp>
      </p:grpSp>
    </p:spTree>
    <p:extLst>
      <p:ext uri="{BB962C8B-B14F-4D97-AF65-F5344CB8AC3E}">
        <p14:creationId xmlns:p14="http://schemas.microsoft.com/office/powerpoint/2010/main" val="153334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257" y="152929"/>
            <a:ext cx="8345488" cy="731837"/>
          </a:xfrm>
        </p:spPr>
        <p:txBody>
          <a:bodyPr/>
          <a:lstStyle/>
          <a:p>
            <a:r>
              <a:rPr lang="en-US" dirty="0" smtClean="0"/>
              <a:t>Security Press Coverage</a:t>
            </a:r>
            <a:endParaRPr lang="en-US" dirty="0"/>
          </a:p>
        </p:txBody>
      </p:sp>
      <p:sp>
        <p:nvSpPr>
          <p:cNvPr id="5" name="TextBox 4"/>
          <p:cNvSpPr txBox="1"/>
          <p:nvPr/>
        </p:nvSpPr>
        <p:spPr>
          <a:xfrm>
            <a:off x="11604" y="884766"/>
            <a:ext cx="5011271" cy="3485570"/>
          </a:xfrm>
          <a:prstGeom prst="rect">
            <a:avLst/>
          </a:prstGeom>
          <a:solidFill>
            <a:schemeClr val="bg1"/>
          </a:solidFill>
        </p:spPr>
        <p:txBody>
          <a:bodyPr wrap="square" rtlCol="0">
            <a:spAutoFit/>
          </a:bodyPr>
          <a:lstStyle/>
          <a:p>
            <a:r>
              <a:rPr lang="en-US" sz="1050" dirty="0" smtClean="0"/>
              <a:t>Cisco </a:t>
            </a:r>
            <a:r>
              <a:rPr lang="en-US" sz="1050" dirty="0"/>
              <a:t>Intros Security Architecture for Mobile Operators: </a:t>
            </a:r>
            <a:r>
              <a:rPr lang="en-US" sz="1050" u="sng" dirty="0">
                <a:hlinkClick r:id="rId3"/>
              </a:rPr>
              <a:t>Converge! Network Digest</a:t>
            </a:r>
          </a:p>
          <a:p>
            <a:r>
              <a:rPr lang="en-US" sz="1050" dirty="0"/>
              <a:t>Cisco Unveils New Mobile Data Security Solution: </a:t>
            </a:r>
            <a:r>
              <a:rPr lang="en-US" sz="1050" u="sng" dirty="0">
                <a:hlinkClick r:id="rId4"/>
              </a:rPr>
              <a:t>Investopedia</a:t>
            </a:r>
          </a:p>
          <a:p>
            <a:r>
              <a:rPr lang="en-US" sz="1050" dirty="0"/>
              <a:t>MWC 2017: Cisco unveils security architecture for mobile operators: </a:t>
            </a:r>
            <a:r>
              <a:rPr lang="en-US" sz="1050" u="sng" dirty="0">
                <a:hlinkClick r:id="rId5"/>
              </a:rPr>
              <a:t>Telecomlead</a:t>
            </a:r>
          </a:p>
          <a:p>
            <a:r>
              <a:rPr lang="en-US" sz="1050" dirty="0"/>
              <a:t>Cisco introduces security 'umbrella' for mobile operators: </a:t>
            </a:r>
            <a:r>
              <a:rPr lang="en-US" sz="1050" u="sng" dirty="0">
                <a:hlinkClick r:id="rId6"/>
              </a:rPr>
              <a:t>Telecompaper</a:t>
            </a:r>
          </a:p>
          <a:p>
            <a:r>
              <a:rPr lang="en-US" sz="1050" dirty="0"/>
              <a:t>Cisco brings Security Architecture for telecom operators: </a:t>
            </a:r>
            <a:r>
              <a:rPr lang="en-US" sz="1050" u="sng" dirty="0">
                <a:hlinkClick r:id="rId7"/>
              </a:rPr>
              <a:t>The Technews</a:t>
            </a:r>
          </a:p>
          <a:p>
            <a:r>
              <a:rPr lang="en-US" sz="1050" dirty="0"/>
              <a:t>Cisco’s OpenDNS Unfolds Into a Managed Security Service: </a:t>
            </a:r>
            <a:r>
              <a:rPr lang="en-US" sz="1050" u="sng" dirty="0">
                <a:hlinkClick r:id="rId8"/>
              </a:rPr>
              <a:t>SDX Central</a:t>
            </a:r>
          </a:p>
          <a:p>
            <a:r>
              <a:rPr lang="en-US" sz="1050" dirty="0"/>
              <a:t>Cisco Scales Mobile Security for 5G: </a:t>
            </a:r>
            <a:r>
              <a:rPr lang="en-US" sz="1050" u="sng" dirty="0">
                <a:hlinkClick r:id="rId9"/>
              </a:rPr>
              <a:t>eWEEK</a:t>
            </a:r>
          </a:p>
          <a:p>
            <a:r>
              <a:rPr lang="en-US" sz="1050" dirty="0"/>
              <a:t>Cisco brings 5G architecture to Verizon’s mobile network trials: </a:t>
            </a:r>
            <a:r>
              <a:rPr lang="en-US" sz="1050" u="sng" dirty="0">
                <a:hlinkClick r:id="rId10"/>
              </a:rPr>
              <a:t>ZDNet</a:t>
            </a:r>
          </a:p>
          <a:p>
            <a:r>
              <a:rPr lang="en-US" sz="1050" dirty="0"/>
              <a:t>Cisco: Security leaders 'going crazy' under a pile of vendors: </a:t>
            </a:r>
            <a:r>
              <a:rPr lang="en-US" sz="1050" u="sng" dirty="0">
                <a:hlinkClick r:id="rId11"/>
              </a:rPr>
              <a:t>Channelnomics</a:t>
            </a:r>
          </a:p>
          <a:p>
            <a:r>
              <a:rPr lang="en-US" sz="1050" dirty="0"/>
              <a:t>Mobile Workforce Strategies (MWS) @ MWC 2017: </a:t>
            </a:r>
            <a:r>
              <a:rPr lang="en-US" sz="1050" dirty="0" err="1"/>
              <a:t>VoLTE</a:t>
            </a:r>
            <a:r>
              <a:rPr lang="en-US" sz="1050" dirty="0"/>
              <a:t>, Enterprise Mobility Management, and Mobile Security: </a:t>
            </a:r>
            <a:r>
              <a:rPr lang="en-US" sz="1050" u="sng" dirty="0">
                <a:hlinkClick r:id="rId12"/>
              </a:rPr>
              <a:t>Strategy </a:t>
            </a:r>
            <a:r>
              <a:rPr lang="en-US" sz="1050" u="sng" dirty="0" smtClean="0">
                <a:hlinkClick r:id="rId12"/>
              </a:rPr>
              <a:t>Analytics</a:t>
            </a:r>
            <a:endParaRPr lang="en-US" sz="1050" dirty="0"/>
          </a:p>
          <a:p>
            <a:r>
              <a:rPr lang="en-US" sz="1050" dirty="0"/>
              <a:t>MWC | Cisco Enhances Security for Mobile Networks: </a:t>
            </a:r>
            <a:r>
              <a:rPr lang="en-US" sz="1050" u="sng" dirty="0">
                <a:hlinkClick r:id="rId13"/>
              </a:rPr>
              <a:t>B!T Magazine</a:t>
            </a:r>
          </a:p>
          <a:p>
            <a:r>
              <a:rPr lang="en-US" sz="1050" dirty="0" smtClean="0"/>
              <a:t>Cisco </a:t>
            </a:r>
            <a:r>
              <a:rPr lang="en-US" sz="1050" dirty="0"/>
              <a:t>presents an assortment of security solutions on 5G arrival: </a:t>
            </a:r>
            <a:r>
              <a:rPr lang="en-US" sz="1050" u="sng" dirty="0">
                <a:hlinkClick r:id="rId14"/>
              </a:rPr>
              <a:t>Diario Vasco</a:t>
            </a:r>
          </a:p>
          <a:p>
            <a:r>
              <a:rPr lang="en-US" sz="1050" dirty="0"/>
              <a:t>Cisco presents an assortment of security solutions on 5G arrival: </a:t>
            </a:r>
            <a:r>
              <a:rPr lang="en-US" sz="1050" u="sng" dirty="0">
                <a:hlinkClick r:id="rId15"/>
              </a:rPr>
              <a:t>Diario SUR</a:t>
            </a:r>
          </a:p>
          <a:p>
            <a:r>
              <a:rPr lang="en-US" sz="1050" dirty="0"/>
              <a:t>Cisco presents security solutions on 5G arrival: </a:t>
            </a:r>
            <a:r>
              <a:rPr lang="en-US" sz="1050" u="sng" dirty="0">
                <a:hlinkClick r:id="rId16"/>
              </a:rPr>
              <a:t>EFE Futuro</a:t>
            </a:r>
          </a:p>
          <a:p>
            <a:r>
              <a:rPr lang="en-US" sz="1050" dirty="0"/>
              <a:t>Cisco presents an assortment of security solutions on 5G arrival: </a:t>
            </a:r>
            <a:r>
              <a:rPr lang="en-US" sz="1050" u="sng" dirty="0">
                <a:hlinkClick r:id="rId17"/>
              </a:rPr>
              <a:t>El Comercio</a:t>
            </a:r>
          </a:p>
          <a:p>
            <a:r>
              <a:rPr lang="en-US" sz="1050" dirty="0"/>
              <a:t>Cisco presents an assortment of security solutions on 5G arrival: </a:t>
            </a:r>
            <a:r>
              <a:rPr lang="en-US" sz="1050" u="sng" dirty="0">
                <a:hlinkClick r:id="rId18"/>
              </a:rPr>
              <a:t>El Día</a:t>
            </a:r>
          </a:p>
          <a:p>
            <a:r>
              <a:rPr lang="en-US" sz="1050" dirty="0"/>
              <a:t>Cisco presents an assortment of security solutions on 5G arrival: </a:t>
            </a:r>
            <a:r>
              <a:rPr lang="en-US" sz="1050" u="sng" dirty="0">
                <a:hlinkClick r:id="rId19"/>
              </a:rPr>
              <a:t>El Diario</a:t>
            </a:r>
          </a:p>
          <a:p>
            <a:r>
              <a:rPr lang="en-US" sz="1050" dirty="0"/>
              <a:t>Cisco presents an assortment of security solutions on 5G arrival: </a:t>
            </a:r>
            <a:r>
              <a:rPr lang="en-US" sz="1050" u="sng" dirty="0">
                <a:hlinkClick r:id="rId20"/>
              </a:rPr>
              <a:t>El Diario </a:t>
            </a:r>
            <a:r>
              <a:rPr lang="en-US" sz="1050" u="sng" dirty="0" smtClean="0">
                <a:hlinkClick r:id="rId20"/>
              </a:rPr>
              <a:t>Montañés</a:t>
            </a:r>
            <a:endParaRPr lang="en-US" sz="1050" u="sng" dirty="0">
              <a:hlinkClick r:id="rId20"/>
            </a:endParaRPr>
          </a:p>
        </p:txBody>
      </p:sp>
      <p:sp>
        <p:nvSpPr>
          <p:cNvPr id="7" name="TextBox 6"/>
          <p:cNvSpPr txBox="1"/>
          <p:nvPr/>
        </p:nvSpPr>
        <p:spPr>
          <a:xfrm>
            <a:off x="4908951" y="884766"/>
            <a:ext cx="4148422" cy="3162404"/>
          </a:xfrm>
          <a:prstGeom prst="rect">
            <a:avLst/>
          </a:prstGeom>
          <a:noFill/>
        </p:spPr>
        <p:txBody>
          <a:bodyPr wrap="square" rtlCol="0">
            <a:spAutoFit/>
          </a:bodyPr>
          <a:lstStyle/>
          <a:p>
            <a:r>
              <a:rPr lang="en-US" sz="1050" dirty="0" smtClean="0"/>
              <a:t>Cisco </a:t>
            </a:r>
            <a:r>
              <a:rPr lang="en-US" sz="1050" dirty="0"/>
              <a:t>presents an assortment of security solutions on 5G arrival: </a:t>
            </a:r>
            <a:r>
              <a:rPr lang="en-US" sz="1050" u="sng" dirty="0">
                <a:hlinkClick r:id="rId21"/>
              </a:rPr>
              <a:t>El Norte de Castilla</a:t>
            </a:r>
          </a:p>
          <a:p>
            <a:r>
              <a:rPr lang="en-US" sz="1050" dirty="0"/>
              <a:t>Cisco presents an assortment of security solutions on 5G arrival: </a:t>
            </a:r>
            <a:r>
              <a:rPr lang="en-US" sz="1050" u="sng" dirty="0">
                <a:hlinkClick r:id="rId22"/>
              </a:rPr>
              <a:t>Finanzas</a:t>
            </a:r>
          </a:p>
          <a:p>
            <a:r>
              <a:rPr lang="en-US" sz="1050" dirty="0"/>
              <a:t>Cisco strengthens mobile networks security: </a:t>
            </a:r>
            <a:r>
              <a:rPr lang="en-US" sz="1050" u="sng" dirty="0">
                <a:hlinkClick r:id="rId23"/>
              </a:rPr>
              <a:t>Hay Canal</a:t>
            </a:r>
          </a:p>
          <a:p>
            <a:r>
              <a:rPr lang="en-US" sz="1050" dirty="0"/>
              <a:t>Cisco presents an assortment of security solutions on 5G arrival: </a:t>
            </a:r>
            <a:r>
              <a:rPr lang="en-US" sz="1050" u="sng" dirty="0">
                <a:hlinkClick r:id="rId24"/>
              </a:rPr>
              <a:t>Hoy</a:t>
            </a:r>
          </a:p>
          <a:p>
            <a:r>
              <a:rPr lang="en-US" sz="1050" dirty="0"/>
              <a:t>Cisco presents an assortment of security solutions on 5G arrival: </a:t>
            </a:r>
            <a:r>
              <a:rPr lang="en-US" sz="1050" u="sng" dirty="0">
                <a:hlinkClick r:id="rId25"/>
              </a:rPr>
              <a:t>Invertia</a:t>
            </a:r>
          </a:p>
          <a:p>
            <a:r>
              <a:rPr lang="en-US" sz="1050" dirty="0"/>
              <a:t>Cisco presents an assortment of security solutions on 5G arrival: </a:t>
            </a:r>
            <a:r>
              <a:rPr lang="en-US" sz="1050" u="sng" dirty="0">
                <a:hlinkClick r:id="rId26"/>
              </a:rPr>
              <a:t>La Rioja</a:t>
            </a:r>
          </a:p>
          <a:p>
            <a:r>
              <a:rPr lang="en-US" sz="1050" dirty="0"/>
              <a:t>Cisco presents an assortment of security solutions on 5G arrival: </a:t>
            </a:r>
            <a:r>
              <a:rPr lang="en-US" sz="1050" u="sng" dirty="0">
                <a:hlinkClick r:id="rId27"/>
              </a:rPr>
              <a:t>La Vanguardia</a:t>
            </a:r>
          </a:p>
          <a:p>
            <a:r>
              <a:rPr lang="en-US" sz="1050" dirty="0"/>
              <a:t>Cisco presents an assortment of security solutions on 5G arrival: </a:t>
            </a:r>
            <a:r>
              <a:rPr lang="en-US" sz="1050" u="sng" dirty="0">
                <a:hlinkClick r:id="rId28"/>
              </a:rPr>
              <a:t>La Verdad</a:t>
            </a:r>
          </a:p>
          <a:p>
            <a:r>
              <a:rPr lang="en-US" sz="1050" dirty="0"/>
              <a:t>Cisco presents an assortment of security solutions on 5G arrival: </a:t>
            </a:r>
            <a:r>
              <a:rPr lang="en-US" sz="1050" u="sng" dirty="0">
                <a:hlinkClick r:id="rId29"/>
              </a:rPr>
              <a:t>Las Provincias</a:t>
            </a:r>
          </a:p>
          <a:p>
            <a:r>
              <a:rPr lang="en-US" sz="1050" dirty="0"/>
              <a:t>Cisco strengthens mobile networks security: </a:t>
            </a:r>
            <a:r>
              <a:rPr lang="en-US" sz="1050" u="sng" dirty="0">
                <a:hlinkClick r:id="rId30"/>
              </a:rPr>
              <a:t>MuyComputer PRO</a:t>
            </a:r>
          </a:p>
          <a:p>
            <a:r>
              <a:rPr lang="en-US" sz="1050" dirty="0"/>
              <a:t>Cisco strengthens mobile networks security: </a:t>
            </a:r>
            <a:r>
              <a:rPr lang="en-US" sz="1050" u="sng" dirty="0">
                <a:hlinkClick r:id="rId31"/>
              </a:rPr>
              <a:t>Noticias </a:t>
            </a:r>
            <a:r>
              <a:rPr lang="en-US" sz="1050" u="sng" dirty="0" smtClean="0">
                <a:hlinkClick r:id="rId31"/>
              </a:rPr>
              <a:t>2D</a:t>
            </a:r>
            <a:endParaRPr lang="en-US" sz="1050" u="sng" dirty="0">
              <a:hlinkClick r:id="rId31"/>
            </a:endParaRPr>
          </a:p>
        </p:txBody>
      </p:sp>
    </p:spTree>
    <p:extLst>
      <p:ext uri="{BB962C8B-B14F-4D97-AF65-F5344CB8AC3E}">
        <p14:creationId xmlns:p14="http://schemas.microsoft.com/office/powerpoint/2010/main" val="173110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curity – More Info</a:t>
            </a:r>
            <a:endParaRPr lang="en-US" dirty="0"/>
          </a:p>
        </p:txBody>
      </p:sp>
      <p:sp>
        <p:nvSpPr>
          <p:cNvPr id="5" name="TextBox 4"/>
          <p:cNvSpPr txBox="1"/>
          <p:nvPr/>
        </p:nvSpPr>
        <p:spPr>
          <a:xfrm>
            <a:off x="340714" y="1166191"/>
            <a:ext cx="8457765" cy="3354765"/>
          </a:xfrm>
          <a:prstGeom prst="rect">
            <a:avLst/>
          </a:prstGeom>
          <a:noFill/>
        </p:spPr>
        <p:txBody>
          <a:bodyPr wrap="none" rtlCol="0">
            <a:spAutoFit/>
          </a:bodyPr>
          <a:lstStyle/>
          <a:p>
            <a:r>
              <a:rPr lang="en-US" b="1" dirty="0" smtClean="0"/>
              <a:t>Cisco Blogs</a:t>
            </a:r>
            <a:r>
              <a:rPr lang="en-US" b="1" dirty="0"/>
              <a:t>, </a:t>
            </a:r>
            <a:r>
              <a:rPr lang="en-US" b="1" dirty="0" smtClean="0"/>
              <a:t>Releases</a:t>
            </a:r>
            <a:r>
              <a:rPr lang="en-US" b="1" dirty="0"/>
              <a:t>, etc</a:t>
            </a:r>
            <a:r>
              <a:rPr lang="en-US" b="1" dirty="0" smtClean="0"/>
              <a:t>.</a:t>
            </a:r>
            <a:endParaRPr lang="en-US" dirty="0"/>
          </a:p>
          <a:p>
            <a:pPr lvl="0"/>
            <a:r>
              <a:rPr lang="en-US" sz="1600" dirty="0">
                <a:hlinkClick r:id="rId2"/>
              </a:rPr>
              <a:t>Cisco Enables a Secure Path to Network Transformation for Mobile Operators</a:t>
            </a:r>
            <a:r>
              <a:rPr lang="en-US" sz="1600" dirty="0"/>
              <a:t> </a:t>
            </a:r>
          </a:p>
          <a:p>
            <a:pPr lvl="0"/>
            <a:r>
              <a:rPr lang="en-US" sz="1600" dirty="0">
                <a:hlinkClick r:id="rId3"/>
              </a:rPr>
              <a:t>Cisco and Ericsson Enable Service Providers and Enterprises to </a:t>
            </a:r>
            <a:r>
              <a:rPr lang="en-US" sz="1600" dirty="0" smtClean="0">
                <a:hlinkClick r:id="rId3"/>
              </a:rPr>
              <a:t>Embrace NFV and Deliver</a:t>
            </a:r>
            <a:br>
              <a:rPr lang="en-US" sz="1600" dirty="0" smtClean="0">
                <a:hlinkClick r:id="rId3"/>
              </a:rPr>
            </a:br>
            <a:r>
              <a:rPr lang="en-US" sz="1600" dirty="0" smtClean="0">
                <a:hlinkClick r:id="rId3"/>
              </a:rPr>
              <a:t>Cloud Security Services</a:t>
            </a:r>
            <a:endParaRPr lang="en-US" sz="1600" dirty="0"/>
          </a:p>
          <a:p>
            <a:pPr lvl="0"/>
            <a:r>
              <a:rPr lang="en-US" sz="1600" dirty="0">
                <a:hlinkClick r:id="rId4"/>
              </a:rPr>
              <a:t>Mobile Network Security Paves the Road to 5G</a:t>
            </a:r>
            <a:endParaRPr lang="en-US" sz="1600" dirty="0"/>
          </a:p>
          <a:p>
            <a:pPr lvl="0"/>
            <a:r>
              <a:rPr lang="en-US" sz="1600" dirty="0">
                <a:hlinkClick r:id="rId5"/>
              </a:rPr>
              <a:t>Be the First to Deliver a Secure Network</a:t>
            </a:r>
            <a:endParaRPr lang="en-US" sz="1600" dirty="0"/>
          </a:p>
          <a:p>
            <a:pPr lvl="0"/>
            <a:r>
              <a:rPr lang="en-US" sz="1600" dirty="0">
                <a:hlinkClick r:id="rId6"/>
              </a:rPr>
              <a:t>Cisco and Samsung Are Redefining Secure Mobility</a:t>
            </a:r>
            <a:endParaRPr lang="en-US" sz="1600" dirty="0"/>
          </a:p>
          <a:p>
            <a:pPr lvl="0"/>
            <a:r>
              <a:rPr lang="en-US" sz="1600" dirty="0">
                <a:hlinkClick r:id="rId7"/>
              </a:rPr>
              <a:t>Service Provider Security Architecture – Part 1</a:t>
            </a:r>
            <a:endParaRPr lang="en-US" sz="1600" dirty="0"/>
          </a:p>
          <a:p>
            <a:pPr lvl="0"/>
            <a:r>
              <a:rPr lang="en-US" sz="1600" dirty="0">
                <a:hlinkClick r:id="rId8"/>
              </a:rPr>
              <a:t>Service Provider Security Architecture – Part 2</a:t>
            </a:r>
            <a:endParaRPr lang="en-US" sz="1600" dirty="0"/>
          </a:p>
          <a:p>
            <a:endParaRPr lang="en-US" sz="1600" b="1" dirty="0" smtClean="0"/>
          </a:p>
          <a:p>
            <a:r>
              <a:rPr lang="en-US" b="1" dirty="0" smtClean="0"/>
              <a:t>For </a:t>
            </a:r>
            <a:r>
              <a:rPr lang="en-US" b="1" dirty="0"/>
              <a:t>more information, visit:</a:t>
            </a:r>
            <a:endParaRPr lang="en-US" dirty="0"/>
          </a:p>
          <a:p>
            <a:pPr lvl="0"/>
            <a:r>
              <a:rPr lang="en-US" sz="1600" dirty="0">
                <a:hlinkClick r:id="rId9"/>
              </a:rPr>
              <a:t>SP Security Solutions</a:t>
            </a:r>
            <a:endParaRPr lang="en-US" sz="1600" dirty="0"/>
          </a:p>
          <a:p>
            <a:pPr lvl="0"/>
            <a:r>
              <a:rPr lang="en-US" sz="1600" dirty="0">
                <a:hlinkClick r:id="rId10"/>
              </a:rPr>
              <a:t>Cisco Umbrella for Service </a:t>
            </a:r>
            <a:r>
              <a:rPr lang="en-US" sz="1600" dirty="0" smtClean="0">
                <a:hlinkClick r:id="rId10"/>
              </a:rPr>
              <a:t>Providers</a:t>
            </a:r>
            <a:endParaRPr lang="en-US" sz="1600" dirty="0"/>
          </a:p>
        </p:txBody>
      </p:sp>
    </p:spTree>
    <p:extLst>
      <p:ext uri="{BB962C8B-B14F-4D97-AF65-F5344CB8AC3E}">
        <p14:creationId xmlns:p14="http://schemas.microsoft.com/office/powerpoint/2010/main" val="653734521"/>
      </p:ext>
    </p:extLst>
  </p:cSld>
  <p:clrMapOvr>
    <a:masterClrMapping/>
  </p:clrMapOvr>
  <p:transition spd="med">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16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20" y="0"/>
            <a:ext cx="9151620" cy="5158740"/>
          </a:xfrm>
          <a:prstGeom prst="rect">
            <a:avLst/>
          </a:prstGeom>
        </p:spPr>
      </p:pic>
      <p:sp>
        <p:nvSpPr>
          <p:cNvPr id="25" name="TextBox 24"/>
          <p:cNvSpPr txBox="1"/>
          <p:nvPr/>
        </p:nvSpPr>
        <p:spPr>
          <a:xfrm>
            <a:off x="-7620" y="3021461"/>
            <a:ext cx="9151620" cy="1526475"/>
          </a:xfrm>
          <a:prstGeom prst="rect">
            <a:avLst/>
          </a:prstGeom>
          <a:solidFill>
            <a:schemeClr val="bg1">
              <a:alpha val="7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endParaRPr lang="en-US" dirty="0"/>
          </a:p>
          <a:p>
            <a:endParaRPr lang="en-US" dirty="0"/>
          </a:p>
          <a:p>
            <a:endParaRPr lang="en-US" dirty="0"/>
          </a:p>
          <a:p>
            <a:endParaRPr lang="en-US" dirty="0"/>
          </a:p>
          <a:p>
            <a:endParaRPr lang="en-US" dirty="0"/>
          </a:p>
          <a:p>
            <a:endParaRPr lang="en-US" dirty="0"/>
          </a:p>
        </p:txBody>
      </p:sp>
      <p:cxnSp>
        <p:nvCxnSpPr>
          <p:cNvPr id="58" name="Straight Connector 57"/>
          <p:cNvCxnSpPr/>
          <p:nvPr/>
        </p:nvCxnSpPr>
        <p:spPr>
          <a:xfrm>
            <a:off x="2286000" y="3297952"/>
            <a:ext cx="0" cy="1098510"/>
          </a:xfrm>
          <a:prstGeom prst="line">
            <a:avLst/>
          </a:prstGeom>
          <a:ln w="222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4572000" y="3297952"/>
            <a:ext cx="0" cy="1098510"/>
          </a:xfrm>
          <a:prstGeom prst="line">
            <a:avLst/>
          </a:prstGeom>
          <a:ln w="222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61"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5</a:t>
            </a:fld>
            <a:endParaRPr lang="en-US" sz="600" dirty="0">
              <a:solidFill>
                <a:schemeClr val="bg1">
                  <a:alpha val="60000"/>
                </a:schemeClr>
              </a:solidFill>
              <a:latin typeface="+mn-lt"/>
              <a:ea typeface="+mn-ea"/>
              <a:cs typeface="CiscoSans Thin"/>
            </a:endParaRPr>
          </a:p>
        </p:txBody>
      </p:sp>
      <p:sp>
        <p:nvSpPr>
          <p:cNvPr id="62"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2017  </a:t>
            </a:r>
            <a:r>
              <a:rPr lang="en-US" sz="600" dirty="0">
                <a:solidFill>
                  <a:schemeClr val="bg1">
                    <a:alpha val="60000"/>
                  </a:schemeClr>
                </a:solidFill>
                <a:latin typeface="+mn-lt"/>
                <a:ea typeface="+mn-ea"/>
                <a:cs typeface="CiscoSans Thin"/>
              </a:rPr>
              <a:t>Cisco and/or its affiliates. All rights reserved.   Cisco Confidential</a:t>
            </a:r>
          </a:p>
        </p:txBody>
      </p:sp>
      <p:pic>
        <p:nvPicPr>
          <p:cNvPr id="67" name="Picture 2" descr="C:\Users\spius\Pictures\cisco logo blue gradient.png"/>
          <p:cNvPicPr>
            <a:picLocks noChangeAspect="1" noChangeArrowheads="1"/>
          </p:cNvPicPr>
          <p:nvPr/>
        </p:nvPicPr>
        <p:blipFill>
          <a:blip r:embed="rId4" cstate="screen">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
        <p:nvSpPr>
          <p:cNvPr id="94" name="Rectangle 93"/>
          <p:cNvSpPr/>
          <p:nvPr/>
        </p:nvSpPr>
        <p:spPr>
          <a:xfrm rot="5400000">
            <a:off x="3129126" y="-3144360"/>
            <a:ext cx="2885748" cy="9159240"/>
          </a:xfrm>
          <a:prstGeom prst="rect">
            <a:avLst/>
          </a:prstGeom>
          <a:gradFill flip="none" rotWithShape="1">
            <a:gsLst>
              <a:gs pos="0">
                <a:srgbClr val="FFFFFF">
                  <a:alpha val="99000"/>
                </a:srgbClr>
              </a:gs>
              <a:gs pos="36000">
                <a:srgbClr val="FFFFFF">
                  <a:alpha val="83000"/>
                </a:srgbClr>
              </a:gs>
              <a:gs pos="100000">
                <a:schemeClr val="bg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94" tIns="34298" rIns="68594" bIns="34298" spcCol="0" rtlCol="0" anchor="ctr"/>
          <a:lstStyle/>
          <a:p>
            <a:pPr algn="ctr"/>
            <a:endParaRPr lang="en-US" dirty="0" smtClean="0"/>
          </a:p>
        </p:txBody>
      </p:sp>
      <p:sp>
        <p:nvSpPr>
          <p:cNvPr id="3" name="Title 2"/>
          <p:cNvSpPr>
            <a:spLocks noGrp="1"/>
          </p:cNvSpPr>
          <p:nvPr>
            <p:ph type="title"/>
          </p:nvPr>
        </p:nvSpPr>
        <p:spPr>
          <a:xfrm>
            <a:off x="437766" y="219393"/>
            <a:ext cx="8345488" cy="731837"/>
          </a:xfrm>
        </p:spPr>
        <p:txBody>
          <a:bodyPr/>
          <a:lstStyle/>
          <a:p>
            <a:r>
              <a:rPr lang="en-US" dirty="0" smtClean="0"/>
              <a:t>Digitization Leading Cloud, IoT, 5G</a:t>
            </a:r>
            <a:endParaRPr lang="en-US" dirty="0"/>
          </a:p>
        </p:txBody>
      </p:sp>
      <p:grpSp>
        <p:nvGrpSpPr>
          <p:cNvPr id="2" name="Group 1"/>
          <p:cNvGrpSpPr/>
          <p:nvPr/>
        </p:nvGrpSpPr>
        <p:grpSpPr>
          <a:xfrm>
            <a:off x="3303900" y="601110"/>
            <a:ext cx="2523090" cy="2523090"/>
            <a:chOff x="28927" y="804672"/>
            <a:chExt cx="3105958" cy="3105958"/>
          </a:xfrm>
        </p:grpSpPr>
        <p:grpSp>
          <p:nvGrpSpPr>
            <p:cNvPr id="84" name="Group 83"/>
            <p:cNvGrpSpPr/>
            <p:nvPr/>
          </p:nvGrpSpPr>
          <p:grpSpPr>
            <a:xfrm>
              <a:off x="28927" y="804672"/>
              <a:ext cx="3105958" cy="3105958"/>
              <a:chOff x="-8512" y="753130"/>
              <a:chExt cx="3239928" cy="3239928"/>
            </a:xfrm>
          </p:grpSpPr>
          <p:sp>
            <p:nvSpPr>
              <p:cNvPr id="85" name="Oval 84"/>
              <p:cNvSpPr/>
              <p:nvPr/>
            </p:nvSpPr>
            <p:spPr>
              <a:xfrm>
                <a:off x="-8512" y="753130"/>
                <a:ext cx="3239928" cy="3239928"/>
              </a:xfrm>
              <a:prstGeom prst="ellipse">
                <a:avLst/>
              </a:prstGeom>
              <a:solidFill>
                <a:srgbClr val="36A4D7">
                  <a:alpha val="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6" name="Arc 85"/>
              <p:cNvSpPr/>
              <p:nvPr/>
            </p:nvSpPr>
            <p:spPr>
              <a:xfrm>
                <a:off x="250819" y="1012461"/>
                <a:ext cx="2721266" cy="2721266"/>
              </a:xfrm>
              <a:prstGeom prst="arc">
                <a:avLst>
                  <a:gd name="adj1" fmla="val 2836177"/>
                  <a:gd name="adj2" fmla="val 2392252"/>
                </a:avLst>
              </a:prstGeom>
              <a:noFill/>
              <a:ln w="15875" cmpd="sng">
                <a:solidFill>
                  <a:schemeClr val="bg1"/>
                </a:solidFill>
                <a:headEnd type="none"/>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a:solidFill>
                    <a:srgbClr val="FFFFFF"/>
                  </a:solidFill>
                  <a:latin typeface="Arial"/>
                </a:endParaRPr>
              </a:p>
            </p:txBody>
          </p:sp>
          <p:sp>
            <p:nvSpPr>
              <p:cNvPr id="87" name="Oval 86"/>
              <p:cNvSpPr/>
              <p:nvPr/>
            </p:nvSpPr>
            <p:spPr>
              <a:xfrm>
                <a:off x="2513279" y="3233619"/>
                <a:ext cx="165435" cy="165435"/>
              </a:xfrm>
              <a:prstGeom prst="ellipse">
                <a:avLst/>
              </a:prstGeom>
              <a:no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88" name="Group 87"/>
            <p:cNvGrpSpPr/>
            <p:nvPr/>
          </p:nvGrpSpPr>
          <p:grpSpPr>
            <a:xfrm>
              <a:off x="397920" y="1173665"/>
              <a:ext cx="2367972" cy="2367972"/>
              <a:chOff x="332602" y="1856276"/>
              <a:chExt cx="3553212" cy="3553212"/>
            </a:xfrm>
          </p:grpSpPr>
          <p:sp>
            <p:nvSpPr>
              <p:cNvPr id="89" name="Rounded Rectangle 88"/>
              <p:cNvSpPr>
                <a:spLocks noChangeAspect="1"/>
              </p:cNvSpPr>
              <p:nvPr/>
            </p:nvSpPr>
            <p:spPr>
              <a:xfrm>
                <a:off x="332602" y="1856276"/>
                <a:ext cx="3553212" cy="3553212"/>
              </a:xfrm>
              <a:prstGeom prst="roundRect">
                <a:avLst>
                  <a:gd name="adj" fmla="val 50000"/>
                </a:avLst>
              </a:prstGeom>
              <a:solidFill>
                <a:schemeClr val="bg1">
                  <a:alpha val="80000"/>
                </a:schemeClr>
              </a:solidFill>
              <a:ln w="22225">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457189"/>
                <a:endParaRPr lang="en-US" sz="1400" dirty="0">
                  <a:solidFill>
                    <a:srgbClr val="FFFFFF"/>
                  </a:solidFill>
                  <a:latin typeface="Arial"/>
                </a:endParaRPr>
              </a:p>
            </p:txBody>
          </p:sp>
          <p:sp>
            <p:nvSpPr>
              <p:cNvPr id="90" name="Rectangle 89"/>
              <p:cNvSpPr/>
              <p:nvPr/>
            </p:nvSpPr>
            <p:spPr>
              <a:xfrm>
                <a:off x="376182" y="2261459"/>
                <a:ext cx="3466051" cy="2217215"/>
              </a:xfrm>
              <a:prstGeom prst="rect">
                <a:avLst/>
              </a:prstGeom>
            </p:spPr>
            <p:txBody>
              <a:bodyPr wrap="square">
                <a:spAutoFit/>
              </a:bodyPr>
              <a:lstStyle/>
              <a:p>
                <a:pPr algn="ctr">
                  <a:lnSpc>
                    <a:spcPct val="90000"/>
                  </a:lnSpc>
                  <a:spcAft>
                    <a:spcPts val="0"/>
                  </a:spcAft>
                </a:pPr>
                <a:r>
                  <a:rPr lang="en-US" sz="4800" b="1" dirty="0" smtClean="0">
                    <a:solidFill>
                      <a:schemeClr val="accent4"/>
                    </a:solidFill>
                  </a:rPr>
                  <a:t>$2 </a:t>
                </a:r>
                <a:r>
                  <a:rPr lang="en-US" sz="3200" b="1" dirty="0" smtClean="0">
                    <a:solidFill>
                      <a:schemeClr val="accent4"/>
                    </a:solidFill>
                  </a:rPr>
                  <a:t>Trillion</a:t>
                </a:r>
                <a:endParaRPr lang="en-US" sz="3200" b="1" dirty="0">
                  <a:solidFill>
                    <a:schemeClr val="accent4"/>
                  </a:solidFill>
                </a:endParaRPr>
              </a:p>
            </p:txBody>
          </p:sp>
          <p:sp>
            <p:nvSpPr>
              <p:cNvPr id="91" name="Rectangle 90"/>
              <p:cNvSpPr/>
              <p:nvPr/>
            </p:nvSpPr>
            <p:spPr>
              <a:xfrm>
                <a:off x="572404" y="4199451"/>
                <a:ext cx="3073607" cy="785107"/>
              </a:xfrm>
              <a:prstGeom prst="rect">
                <a:avLst/>
              </a:prstGeom>
            </p:spPr>
            <p:txBody>
              <a:bodyPr wrap="square">
                <a:spAutoFit/>
              </a:bodyPr>
              <a:lstStyle/>
              <a:p>
                <a:pPr algn="ctr">
                  <a:spcAft>
                    <a:spcPts val="300"/>
                  </a:spcAft>
                </a:pPr>
                <a:r>
                  <a:rPr lang="en-US" sz="1400" dirty="0" smtClean="0">
                    <a:solidFill>
                      <a:srgbClr val="676767">
                        <a:lumMod val="75000"/>
                      </a:srgbClr>
                    </a:solidFill>
                    <a:latin typeface="Arial"/>
                  </a:rPr>
                  <a:t>SP Economic Opportunity</a:t>
                </a:r>
                <a:endParaRPr lang="en-US" sz="1400" dirty="0">
                  <a:solidFill>
                    <a:srgbClr val="676767">
                      <a:lumMod val="75000"/>
                    </a:srgbClr>
                  </a:solidFill>
                  <a:latin typeface="Arial"/>
                </a:endParaRPr>
              </a:p>
            </p:txBody>
          </p:sp>
        </p:grpSp>
      </p:grpSp>
      <p:grpSp>
        <p:nvGrpSpPr>
          <p:cNvPr id="6" name="Group 5"/>
          <p:cNvGrpSpPr/>
          <p:nvPr/>
        </p:nvGrpSpPr>
        <p:grpSpPr>
          <a:xfrm>
            <a:off x="331738" y="3118020"/>
            <a:ext cx="1675459" cy="1420583"/>
            <a:chOff x="776344" y="3118020"/>
            <a:chExt cx="1675459" cy="1420583"/>
          </a:xfrm>
        </p:grpSpPr>
        <p:sp>
          <p:nvSpPr>
            <p:cNvPr id="34" name="TextBox 33"/>
            <p:cNvSpPr txBox="1"/>
            <p:nvPr/>
          </p:nvSpPr>
          <p:spPr>
            <a:xfrm>
              <a:off x="1282213" y="3796685"/>
              <a:ext cx="663720" cy="560153"/>
            </a:xfrm>
            <a:prstGeom prst="rect">
              <a:avLst/>
            </a:prstGeom>
            <a:noFill/>
            <a:effectLst/>
          </p:spPr>
          <p:txBody>
            <a:bodyPr wrap="square" lIns="45720" tIns="45720" rIns="45720" bIns="45720" rtlCol="0" anchor="ctr">
              <a:spAutoFit/>
            </a:bodyPr>
            <a:lstStyle/>
            <a:p>
              <a:pPr algn="ctr">
                <a:lnSpc>
                  <a:spcPct val="95000"/>
                </a:lnSpc>
                <a:spcBef>
                  <a:spcPts val="0"/>
                </a:spcBef>
                <a:spcAft>
                  <a:spcPts val="0"/>
                </a:spcAft>
              </a:pPr>
              <a:r>
                <a:rPr lang="en-IN" sz="3200" b="1" dirty="0" smtClean="0">
                  <a:ln w="0"/>
                  <a:solidFill>
                    <a:schemeClr val="accent4">
                      <a:lumMod val="75000"/>
                    </a:schemeClr>
                  </a:solidFill>
                  <a:latin typeface="+mn-lt"/>
                  <a:cs typeface="Avenir Book"/>
                </a:rPr>
                <a:t>4X</a:t>
              </a:r>
              <a:endParaRPr lang="en-IN" sz="1400" b="1" dirty="0">
                <a:ln w="0"/>
                <a:solidFill>
                  <a:schemeClr val="accent4">
                    <a:lumMod val="75000"/>
                  </a:schemeClr>
                </a:solidFill>
                <a:latin typeface="+mn-lt"/>
                <a:cs typeface="Avenir Book"/>
              </a:endParaRPr>
            </a:p>
          </p:txBody>
        </p:sp>
        <p:sp>
          <p:nvSpPr>
            <p:cNvPr id="8" name="Rectangle 7"/>
            <p:cNvSpPr/>
            <p:nvPr/>
          </p:nvSpPr>
          <p:spPr>
            <a:xfrm>
              <a:off x="776344" y="4270837"/>
              <a:ext cx="1675459" cy="267766"/>
            </a:xfrm>
            <a:prstGeom prst="rect">
              <a:avLst/>
            </a:prstGeom>
          </p:spPr>
          <p:txBody>
            <a:bodyPr wrap="none">
              <a:spAutoFit/>
            </a:bodyPr>
            <a:lstStyle/>
            <a:p>
              <a:pPr algn="ctr">
                <a:lnSpc>
                  <a:spcPct val="95000"/>
                </a:lnSpc>
                <a:spcBef>
                  <a:spcPts val="0"/>
                </a:spcBef>
                <a:spcAft>
                  <a:spcPts val="0"/>
                </a:spcAft>
              </a:pPr>
              <a:r>
                <a:rPr lang="en-IN" sz="1200" dirty="0">
                  <a:solidFill>
                    <a:schemeClr val="accent1"/>
                  </a:solidFill>
                  <a:cs typeface="Avenir Book"/>
                </a:rPr>
                <a:t>Cloud Traffic Increase</a:t>
              </a:r>
            </a:p>
          </p:txBody>
        </p:sp>
        <p:sp>
          <p:nvSpPr>
            <p:cNvPr id="71" name="TextBox 70"/>
            <p:cNvSpPr txBox="1"/>
            <p:nvPr/>
          </p:nvSpPr>
          <p:spPr>
            <a:xfrm>
              <a:off x="801813" y="3400303"/>
              <a:ext cx="1624522" cy="480131"/>
            </a:xfrm>
            <a:prstGeom prst="rect">
              <a:avLst/>
            </a:prstGeom>
            <a:noFill/>
            <a:effectLst/>
          </p:spPr>
          <p:txBody>
            <a:bodyPr wrap="square" lIns="45720" tIns="45720" rIns="45720" bIns="45720" rtlCol="0" anchor="ctr">
              <a:spAutoFit/>
            </a:bodyPr>
            <a:lstStyle/>
            <a:p>
              <a:pPr algn="ctr">
                <a:lnSpc>
                  <a:spcPct val="90000"/>
                </a:lnSpc>
                <a:spcBef>
                  <a:spcPts val="0"/>
                </a:spcBef>
                <a:spcAft>
                  <a:spcPts val="0"/>
                </a:spcAft>
              </a:pPr>
              <a:r>
                <a:rPr lang="en-IN" sz="1400" b="1" dirty="0" smtClean="0">
                  <a:solidFill>
                    <a:schemeClr val="accent1"/>
                  </a:solidFill>
                  <a:latin typeface="+mn-lt"/>
                  <a:cs typeface="Avenir Book"/>
                </a:rPr>
                <a:t>More Cloudification</a:t>
              </a:r>
            </a:p>
          </p:txBody>
        </p:sp>
        <p:sp>
          <p:nvSpPr>
            <p:cNvPr id="70" name="Freeform 69"/>
            <p:cNvSpPr>
              <a:spLocks/>
            </p:cNvSpPr>
            <p:nvPr/>
          </p:nvSpPr>
          <p:spPr bwMode="auto">
            <a:xfrm>
              <a:off x="1375447" y="3118020"/>
              <a:ext cx="477252" cy="272880"/>
            </a:xfrm>
            <a:custGeom>
              <a:avLst/>
              <a:gdLst>
                <a:gd name="T0" fmla="*/ 255 w 301"/>
                <a:gd name="T1" fmla="*/ 182 h 182"/>
                <a:gd name="T2" fmla="*/ 301 w 301"/>
                <a:gd name="T3" fmla="*/ 136 h 182"/>
                <a:gd name="T4" fmla="*/ 262 w 301"/>
                <a:gd name="T5" fmla="*/ 91 h 182"/>
                <a:gd name="T6" fmla="*/ 264 w 301"/>
                <a:gd name="T7" fmla="*/ 73 h 182"/>
                <a:gd name="T8" fmla="*/ 191 w 301"/>
                <a:gd name="T9" fmla="*/ 0 h 182"/>
                <a:gd name="T10" fmla="*/ 122 w 301"/>
                <a:gd name="T11" fmla="*/ 51 h 182"/>
                <a:gd name="T12" fmla="*/ 85 w 301"/>
                <a:gd name="T13" fmla="*/ 34 h 182"/>
                <a:gd name="T14" fmla="*/ 38 w 301"/>
                <a:gd name="T15" fmla="*/ 82 h 182"/>
                <a:gd name="T16" fmla="*/ 38 w 301"/>
                <a:gd name="T17" fmla="*/ 91 h 182"/>
                <a:gd name="T18" fmla="*/ 0 w 301"/>
                <a:gd name="T19" fmla="*/ 136 h 182"/>
                <a:gd name="T20" fmla="*/ 46 w 301"/>
                <a:gd name="T21" fmla="*/ 182 h 182"/>
                <a:gd name="T22" fmla="*/ 255 w 301"/>
                <a:gd name="T23"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1" h="182">
                  <a:moveTo>
                    <a:pt x="255" y="182"/>
                  </a:moveTo>
                  <a:cubicBezTo>
                    <a:pt x="280" y="182"/>
                    <a:pt x="301" y="162"/>
                    <a:pt x="301" y="136"/>
                  </a:cubicBezTo>
                  <a:cubicBezTo>
                    <a:pt x="301" y="112"/>
                    <a:pt x="284" y="93"/>
                    <a:pt x="262" y="91"/>
                  </a:cubicBezTo>
                  <a:cubicBezTo>
                    <a:pt x="263" y="85"/>
                    <a:pt x="264" y="79"/>
                    <a:pt x="264" y="73"/>
                  </a:cubicBezTo>
                  <a:cubicBezTo>
                    <a:pt x="264" y="33"/>
                    <a:pt x="231" y="0"/>
                    <a:pt x="191" y="0"/>
                  </a:cubicBezTo>
                  <a:cubicBezTo>
                    <a:pt x="158" y="0"/>
                    <a:pt x="131" y="22"/>
                    <a:pt x="122" y="51"/>
                  </a:cubicBezTo>
                  <a:cubicBezTo>
                    <a:pt x="113" y="41"/>
                    <a:pt x="99" y="34"/>
                    <a:pt x="85" y="34"/>
                  </a:cubicBezTo>
                  <a:cubicBezTo>
                    <a:pt x="59" y="34"/>
                    <a:pt x="38" y="56"/>
                    <a:pt x="38" y="82"/>
                  </a:cubicBezTo>
                  <a:cubicBezTo>
                    <a:pt x="38" y="84"/>
                    <a:pt x="38" y="88"/>
                    <a:pt x="38" y="91"/>
                  </a:cubicBezTo>
                  <a:cubicBezTo>
                    <a:pt x="16" y="94"/>
                    <a:pt x="0" y="113"/>
                    <a:pt x="0" y="136"/>
                  </a:cubicBezTo>
                  <a:cubicBezTo>
                    <a:pt x="0" y="162"/>
                    <a:pt x="20" y="182"/>
                    <a:pt x="46" y="182"/>
                  </a:cubicBezTo>
                  <a:lnTo>
                    <a:pt x="255" y="1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7385"/>
              <a:endParaRPr lang="en-US" sz="1100" dirty="0">
                <a:solidFill>
                  <a:schemeClr val="bg1"/>
                </a:solidFill>
              </a:endParaRPr>
            </a:p>
          </p:txBody>
        </p:sp>
      </p:grpSp>
      <p:grpSp>
        <p:nvGrpSpPr>
          <p:cNvPr id="10" name="Group 9"/>
          <p:cNvGrpSpPr/>
          <p:nvPr/>
        </p:nvGrpSpPr>
        <p:grpSpPr>
          <a:xfrm>
            <a:off x="7074353" y="3137737"/>
            <a:ext cx="1737908" cy="1400866"/>
            <a:chOff x="6710139" y="3137737"/>
            <a:chExt cx="1737908" cy="1400866"/>
          </a:xfrm>
        </p:grpSpPr>
        <p:grpSp>
          <p:nvGrpSpPr>
            <p:cNvPr id="9" name="Group 8"/>
            <p:cNvGrpSpPr/>
            <p:nvPr/>
          </p:nvGrpSpPr>
          <p:grpSpPr>
            <a:xfrm>
              <a:off x="6710139" y="3137737"/>
              <a:ext cx="1737908" cy="1219101"/>
              <a:chOff x="6710139" y="3137737"/>
              <a:chExt cx="1737908" cy="1219101"/>
            </a:xfrm>
          </p:grpSpPr>
          <p:sp>
            <p:nvSpPr>
              <p:cNvPr id="78" name="TextBox 77"/>
              <p:cNvSpPr txBox="1"/>
              <p:nvPr/>
            </p:nvSpPr>
            <p:spPr>
              <a:xfrm>
                <a:off x="6710139" y="3555060"/>
                <a:ext cx="1737908" cy="307777"/>
              </a:xfrm>
              <a:prstGeom prst="rect">
                <a:avLst/>
              </a:prstGeom>
              <a:noFill/>
              <a:effectLst/>
            </p:spPr>
            <p:txBody>
              <a:bodyPr wrap="square" lIns="45720" tIns="45720" rIns="45720" bIns="45720" rtlCol="0" anchor="ctr">
                <a:spAutoFit/>
              </a:bodyPr>
              <a:lstStyle/>
              <a:p>
                <a:pPr algn="ctr">
                  <a:spcBef>
                    <a:spcPts val="600"/>
                  </a:spcBef>
                  <a:spcAft>
                    <a:spcPts val="0"/>
                  </a:spcAft>
                </a:pPr>
                <a:r>
                  <a:rPr lang="en-IN" sz="1400" b="1" dirty="0" smtClean="0">
                    <a:solidFill>
                      <a:schemeClr val="accent1"/>
                    </a:solidFill>
                    <a:latin typeface="+mn-lt"/>
                    <a:cs typeface="Avenir Book"/>
                  </a:rPr>
                  <a:t>More Video</a:t>
                </a:r>
              </a:p>
            </p:txBody>
          </p:sp>
          <p:grpSp>
            <p:nvGrpSpPr>
              <p:cNvPr id="79" name="Group 78"/>
              <p:cNvGrpSpPr/>
              <p:nvPr/>
            </p:nvGrpSpPr>
            <p:grpSpPr>
              <a:xfrm>
                <a:off x="7339771" y="3137737"/>
                <a:ext cx="478658" cy="387194"/>
                <a:chOff x="9286369" y="4380074"/>
                <a:chExt cx="1034234" cy="836610"/>
              </a:xfrm>
              <a:solidFill>
                <a:schemeClr val="accent1"/>
              </a:solidFill>
            </p:grpSpPr>
            <p:sp>
              <p:nvSpPr>
                <p:cNvPr id="80" name="Freeform 176"/>
                <p:cNvSpPr>
                  <a:spLocks/>
                </p:cNvSpPr>
                <p:nvPr/>
              </p:nvSpPr>
              <p:spPr bwMode="auto">
                <a:xfrm>
                  <a:off x="9688201" y="4979534"/>
                  <a:ext cx="237149" cy="237150"/>
                </a:xfrm>
                <a:custGeom>
                  <a:avLst/>
                  <a:gdLst>
                    <a:gd name="T0" fmla="*/ 31 w 213"/>
                    <a:gd name="T1" fmla="*/ 31 h 213"/>
                    <a:gd name="T2" fmla="*/ 17 w 213"/>
                    <a:gd name="T3" fmla="*/ 48 h 213"/>
                    <a:gd name="T4" fmla="*/ 8 w 213"/>
                    <a:gd name="T5" fmla="*/ 67 h 213"/>
                    <a:gd name="T6" fmla="*/ 2 w 213"/>
                    <a:gd name="T7" fmla="*/ 86 h 213"/>
                    <a:gd name="T8" fmla="*/ 0 w 213"/>
                    <a:gd name="T9" fmla="*/ 107 h 213"/>
                    <a:gd name="T10" fmla="*/ 2 w 213"/>
                    <a:gd name="T11" fmla="*/ 127 h 213"/>
                    <a:gd name="T12" fmla="*/ 8 w 213"/>
                    <a:gd name="T13" fmla="*/ 146 h 213"/>
                    <a:gd name="T14" fmla="*/ 17 w 213"/>
                    <a:gd name="T15" fmla="*/ 166 h 213"/>
                    <a:gd name="T16" fmla="*/ 31 w 213"/>
                    <a:gd name="T17" fmla="*/ 182 h 213"/>
                    <a:gd name="T18" fmla="*/ 39 w 213"/>
                    <a:gd name="T19" fmla="*/ 190 h 213"/>
                    <a:gd name="T20" fmla="*/ 57 w 213"/>
                    <a:gd name="T21" fmla="*/ 202 h 213"/>
                    <a:gd name="T22" fmla="*/ 76 w 213"/>
                    <a:gd name="T23" fmla="*/ 210 h 213"/>
                    <a:gd name="T24" fmla="*/ 97 w 213"/>
                    <a:gd name="T25" fmla="*/ 213 h 213"/>
                    <a:gd name="T26" fmla="*/ 117 w 213"/>
                    <a:gd name="T27" fmla="*/ 213 h 213"/>
                    <a:gd name="T28" fmla="*/ 137 w 213"/>
                    <a:gd name="T29" fmla="*/ 210 h 213"/>
                    <a:gd name="T30" fmla="*/ 157 w 213"/>
                    <a:gd name="T31" fmla="*/ 202 h 213"/>
                    <a:gd name="T32" fmla="*/ 174 w 213"/>
                    <a:gd name="T33" fmla="*/ 190 h 213"/>
                    <a:gd name="T34" fmla="*/ 182 w 213"/>
                    <a:gd name="T35" fmla="*/ 182 h 213"/>
                    <a:gd name="T36" fmla="*/ 196 w 213"/>
                    <a:gd name="T37" fmla="*/ 166 h 213"/>
                    <a:gd name="T38" fmla="*/ 206 w 213"/>
                    <a:gd name="T39" fmla="*/ 146 h 213"/>
                    <a:gd name="T40" fmla="*/ 212 w 213"/>
                    <a:gd name="T41" fmla="*/ 127 h 213"/>
                    <a:gd name="T42" fmla="*/ 213 w 213"/>
                    <a:gd name="T43" fmla="*/ 107 h 213"/>
                    <a:gd name="T44" fmla="*/ 212 w 213"/>
                    <a:gd name="T45" fmla="*/ 86 h 213"/>
                    <a:gd name="T46" fmla="*/ 206 w 213"/>
                    <a:gd name="T47" fmla="*/ 67 h 213"/>
                    <a:gd name="T48" fmla="*/ 196 w 213"/>
                    <a:gd name="T49" fmla="*/ 48 h 213"/>
                    <a:gd name="T50" fmla="*/ 182 w 213"/>
                    <a:gd name="T51" fmla="*/ 31 h 213"/>
                    <a:gd name="T52" fmla="*/ 174 w 213"/>
                    <a:gd name="T53" fmla="*/ 24 h 213"/>
                    <a:gd name="T54" fmla="*/ 157 w 213"/>
                    <a:gd name="T55" fmla="*/ 12 h 213"/>
                    <a:gd name="T56" fmla="*/ 137 w 213"/>
                    <a:gd name="T57" fmla="*/ 4 h 213"/>
                    <a:gd name="T58" fmla="*/ 117 w 213"/>
                    <a:gd name="T59" fmla="*/ 0 h 213"/>
                    <a:gd name="T60" fmla="*/ 97 w 213"/>
                    <a:gd name="T61" fmla="*/ 0 h 213"/>
                    <a:gd name="T62" fmla="*/ 76 w 213"/>
                    <a:gd name="T63" fmla="*/ 4 h 213"/>
                    <a:gd name="T64" fmla="*/ 57 w 213"/>
                    <a:gd name="T65" fmla="*/ 12 h 213"/>
                    <a:gd name="T66" fmla="*/ 39 w 213"/>
                    <a:gd name="T67" fmla="*/ 24 h 213"/>
                    <a:gd name="T68" fmla="*/ 31 w 213"/>
                    <a:gd name="T69" fmla="*/ 3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213">
                      <a:moveTo>
                        <a:pt x="31" y="31"/>
                      </a:moveTo>
                      <a:lnTo>
                        <a:pt x="31" y="31"/>
                      </a:lnTo>
                      <a:lnTo>
                        <a:pt x="24" y="39"/>
                      </a:lnTo>
                      <a:lnTo>
                        <a:pt x="17" y="48"/>
                      </a:lnTo>
                      <a:lnTo>
                        <a:pt x="12" y="57"/>
                      </a:lnTo>
                      <a:lnTo>
                        <a:pt x="8" y="67"/>
                      </a:lnTo>
                      <a:lnTo>
                        <a:pt x="4" y="76"/>
                      </a:lnTo>
                      <a:lnTo>
                        <a:pt x="2" y="86"/>
                      </a:lnTo>
                      <a:lnTo>
                        <a:pt x="1" y="97"/>
                      </a:lnTo>
                      <a:lnTo>
                        <a:pt x="0" y="107"/>
                      </a:lnTo>
                      <a:lnTo>
                        <a:pt x="1" y="116"/>
                      </a:lnTo>
                      <a:lnTo>
                        <a:pt x="2" y="127"/>
                      </a:lnTo>
                      <a:lnTo>
                        <a:pt x="4" y="137"/>
                      </a:lnTo>
                      <a:lnTo>
                        <a:pt x="8" y="146"/>
                      </a:lnTo>
                      <a:lnTo>
                        <a:pt x="12" y="157"/>
                      </a:lnTo>
                      <a:lnTo>
                        <a:pt x="17" y="166"/>
                      </a:lnTo>
                      <a:lnTo>
                        <a:pt x="24" y="174"/>
                      </a:lnTo>
                      <a:lnTo>
                        <a:pt x="31" y="182"/>
                      </a:lnTo>
                      <a:lnTo>
                        <a:pt x="31" y="182"/>
                      </a:lnTo>
                      <a:lnTo>
                        <a:pt x="39" y="190"/>
                      </a:lnTo>
                      <a:lnTo>
                        <a:pt x="48" y="196"/>
                      </a:lnTo>
                      <a:lnTo>
                        <a:pt x="57" y="202"/>
                      </a:lnTo>
                      <a:lnTo>
                        <a:pt x="67" y="206"/>
                      </a:lnTo>
                      <a:lnTo>
                        <a:pt x="76" y="210"/>
                      </a:lnTo>
                      <a:lnTo>
                        <a:pt x="86" y="212"/>
                      </a:lnTo>
                      <a:lnTo>
                        <a:pt x="97" y="213"/>
                      </a:lnTo>
                      <a:lnTo>
                        <a:pt x="107" y="213"/>
                      </a:lnTo>
                      <a:lnTo>
                        <a:pt x="117" y="213"/>
                      </a:lnTo>
                      <a:lnTo>
                        <a:pt x="127" y="212"/>
                      </a:lnTo>
                      <a:lnTo>
                        <a:pt x="137" y="210"/>
                      </a:lnTo>
                      <a:lnTo>
                        <a:pt x="147" y="206"/>
                      </a:lnTo>
                      <a:lnTo>
                        <a:pt x="157" y="202"/>
                      </a:lnTo>
                      <a:lnTo>
                        <a:pt x="166" y="196"/>
                      </a:lnTo>
                      <a:lnTo>
                        <a:pt x="174" y="190"/>
                      </a:lnTo>
                      <a:lnTo>
                        <a:pt x="182" y="182"/>
                      </a:lnTo>
                      <a:lnTo>
                        <a:pt x="182" y="182"/>
                      </a:lnTo>
                      <a:lnTo>
                        <a:pt x="190" y="174"/>
                      </a:lnTo>
                      <a:lnTo>
                        <a:pt x="196" y="166"/>
                      </a:lnTo>
                      <a:lnTo>
                        <a:pt x="202" y="157"/>
                      </a:lnTo>
                      <a:lnTo>
                        <a:pt x="206" y="146"/>
                      </a:lnTo>
                      <a:lnTo>
                        <a:pt x="210" y="137"/>
                      </a:lnTo>
                      <a:lnTo>
                        <a:pt x="212" y="127"/>
                      </a:lnTo>
                      <a:lnTo>
                        <a:pt x="213" y="116"/>
                      </a:lnTo>
                      <a:lnTo>
                        <a:pt x="213" y="107"/>
                      </a:lnTo>
                      <a:lnTo>
                        <a:pt x="213" y="97"/>
                      </a:lnTo>
                      <a:lnTo>
                        <a:pt x="212" y="86"/>
                      </a:lnTo>
                      <a:lnTo>
                        <a:pt x="210" y="76"/>
                      </a:lnTo>
                      <a:lnTo>
                        <a:pt x="206" y="67"/>
                      </a:lnTo>
                      <a:lnTo>
                        <a:pt x="202" y="57"/>
                      </a:lnTo>
                      <a:lnTo>
                        <a:pt x="196" y="48"/>
                      </a:lnTo>
                      <a:lnTo>
                        <a:pt x="190" y="39"/>
                      </a:lnTo>
                      <a:lnTo>
                        <a:pt x="182" y="31"/>
                      </a:lnTo>
                      <a:lnTo>
                        <a:pt x="182" y="31"/>
                      </a:lnTo>
                      <a:lnTo>
                        <a:pt x="174" y="24"/>
                      </a:lnTo>
                      <a:lnTo>
                        <a:pt x="166" y="17"/>
                      </a:lnTo>
                      <a:lnTo>
                        <a:pt x="157" y="12"/>
                      </a:lnTo>
                      <a:lnTo>
                        <a:pt x="147" y="8"/>
                      </a:lnTo>
                      <a:lnTo>
                        <a:pt x="137" y="4"/>
                      </a:lnTo>
                      <a:lnTo>
                        <a:pt x="127" y="2"/>
                      </a:lnTo>
                      <a:lnTo>
                        <a:pt x="117" y="0"/>
                      </a:lnTo>
                      <a:lnTo>
                        <a:pt x="107" y="0"/>
                      </a:lnTo>
                      <a:lnTo>
                        <a:pt x="97" y="0"/>
                      </a:lnTo>
                      <a:lnTo>
                        <a:pt x="86" y="2"/>
                      </a:lnTo>
                      <a:lnTo>
                        <a:pt x="76" y="4"/>
                      </a:lnTo>
                      <a:lnTo>
                        <a:pt x="67" y="8"/>
                      </a:lnTo>
                      <a:lnTo>
                        <a:pt x="57" y="12"/>
                      </a:lnTo>
                      <a:lnTo>
                        <a:pt x="48" y="17"/>
                      </a:lnTo>
                      <a:lnTo>
                        <a:pt x="39" y="24"/>
                      </a:lnTo>
                      <a:lnTo>
                        <a:pt x="31" y="31"/>
                      </a:lnTo>
                      <a:lnTo>
                        <a:pt x="3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177"/>
                <p:cNvSpPr>
                  <a:spLocks/>
                </p:cNvSpPr>
                <p:nvPr/>
              </p:nvSpPr>
              <p:spPr bwMode="auto">
                <a:xfrm>
                  <a:off x="9576216" y="4788498"/>
                  <a:ext cx="461122" cy="164689"/>
                </a:xfrm>
                <a:custGeom>
                  <a:avLst/>
                  <a:gdLst>
                    <a:gd name="T0" fmla="*/ 302 w 424"/>
                    <a:gd name="T1" fmla="*/ 15 h 155"/>
                    <a:gd name="T2" fmla="*/ 257 w 424"/>
                    <a:gd name="T3" fmla="*/ 4 h 155"/>
                    <a:gd name="T4" fmla="*/ 212 w 424"/>
                    <a:gd name="T5" fmla="*/ 0 h 155"/>
                    <a:gd name="T6" fmla="*/ 184 w 424"/>
                    <a:gd name="T7" fmla="*/ 1 h 155"/>
                    <a:gd name="T8" fmla="*/ 131 w 424"/>
                    <a:gd name="T9" fmla="*/ 12 h 155"/>
                    <a:gd name="T10" fmla="*/ 81 w 424"/>
                    <a:gd name="T11" fmla="*/ 32 h 155"/>
                    <a:gd name="T12" fmla="*/ 56 w 424"/>
                    <a:gd name="T13" fmla="*/ 47 h 155"/>
                    <a:gd name="T14" fmla="*/ 33 w 424"/>
                    <a:gd name="T15" fmla="*/ 64 h 155"/>
                    <a:gd name="T16" fmla="*/ 11 w 424"/>
                    <a:gd name="T17" fmla="*/ 83 h 155"/>
                    <a:gd name="T18" fmla="*/ 7 w 424"/>
                    <a:gd name="T19" fmla="*/ 90 h 155"/>
                    <a:gd name="T20" fmla="*/ 0 w 424"/>
                    <a:gd name="T21" fmla="*/ 105 h 155"/>
                    <a:gd name="T22" fmla="*/ 0 w 424"/>
                    <a:gd name="T23" fmla="*/ 121 h 155"/>
                    <a:gd name="T24" fmla="*/ 7 w 424"/>
                    <a:gd name="T25" fmla="*/ 136 h 155"/>
                    <a:gd name="T26" fmla="*/ 11 w 424"/>
                    <a:gd name="T27" fmla="*/ 142 h 155"/>
                    <a:gd name="T28" fmla="*/ 25 w 424"/>
                    <a:gd name="T29" fmla="*/ 151 h 155"/>
                    <a:gd name="T30" fmla="*/ 41 w 424"/>
                    <a:gd name="T31" fmla="*/ 155 h 155"/>
                    <a:gd name="T32" fmla="*/ 49 w 424"/>
                    <a:gd name="T33" fmla="*/ 154 h 155"/>
                    <a:gd name="T34" fmla="*/ 64 w 424"/>
                    <a:gd name="T35" fmla="*/ 148 h 155"/>
                    <a:gd name="T36" fmla="*/ 70 w 424"/>
                    <a:gd name="T37" fmla="*/ 142 h 155"/>
                    <a:gd name="T38" fmla="*/ 102 w 424"/>
                    <a:gd name="T39" fmla="*/ 117 h 155"/>
                    <a:gd name="T40" fmla="*/ 137 w 424"/>
                    <a:gd name="T41" fmla="*/ 98 h 155"/>
                    <a:gd name="T42" fmla="*/ 174 w 424"/>
                    <a:gd name="T43" fmla="*/ 88 h 155"/>
                    <a:gd name="T44" fmla="*/ 212 w 424"/>
                    <a:gd name="T45" fmla="*/ 84 h 155"/>
                    <a:gd name="T46" fmla="*/ 228 w 424"/>
                    <a:gd name="T47" fmla="*/ 84 h 155"/>
                    <a:gd name="T48" fmla="*/ 261 w 424"/>
                    <a:gd name="T49" fmla="*/ 90 h 155"/>
                    <a:gd name="T50" fmla="*/ 276 w 424"/>
                    <a:gd name="T51" fmla="*/ 95 h 155"/>
                    <a:gd name="T52" fmla="*/ 316 w 424"/>
                    <a:gd name="T53" fmla="*/ 113 h 155"/>
                    <a:gd name="T54" fmla="*/ 353 w 424"/>
                    <a:gd name="T55" fmla="*/ 142 h 155"/>
                    <a:gd name="T56" fmla="*/ 360 w 424"/>
                    <a:gd name="T57" fmla="*/ 148 h 155"/>
                    <a:gd name="T58" fmla="*/ 375 w 424"/>
                    <a:gd name="T59" fmla="*/ 154 h 155"/>
                    <a:gd name="T60" fmla="*/ 391 w 424"/>
                    <a:gd name="T61" fmla="*/ 154 h 155"/>
                    <a:gd name="T62" fmla="*/ 406 w 424"/>
                    <a:gd name="T63" fmla="*/ 148 h 155"/>
                    <a:gd name="T64" fmla="*/ 412 w 424"/>
                    <a:gd name="T65" fmla="*/ 142 h 155"/>
                    <a:gd name="T66" fmla="*/ 421 w 424"/>
                    <a:gd name="T67" fmla="*/ 128 h 155"/>
                    <a:gd name="T68" fmla="*/ 424 w 424"/>
                    <a:gd name="T69" fmla="*/ 113 h 155"/>
                    <a:gd name="T70" fmla="*/ 421 w 424"/>
                    <a:gd name="T71" fmla="*/ 97 h 155"/>
                    <a:gd name="T72" fmla="*/ 412 w 424"/>
                    <a:gd name="T73" fmla="*/ 83 h 155"/>
                    <a:gd name="T74" fmla="*/ 400 w 424"/>
                    <a:gd name="T75" fmla="*/ 72 h 155"/>
                    <a:gd name="T76" fmla="*/ 374 w 424"/>
                    <a:gd name="T77" fmla="*/ 51 h 155"/>
                    <a:gd name="T78" fmla="*/ 346 w 424"/>
                    <a:gd name="T79" fmla="*/ 35 h 155"/>
                    <a:gd name="T80" fmla="*/ 317 w 424"/>
                    <a:gd name="T81" fmla="*/ 21 h 155"/>
                    <a:gd name="T82" fmla="*/ 302 w 424"/>
                    <a:gd name="T83" fmla="*/ 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4" h="155">
                      <a:moveTo>
                        <a:pt x="302" y="15"/>
                      </a:moveTo>
                      <a:lnTo>
                        <a:pt x="302" y="15"/>
                      </a:lnTo>
                      <a:lnTo>
                        <a:pt x="280" y="8"/>
                      </a:lnTo>
                      <a:lnTo>
                        <a:pt x="257" y="4"/>
                      </a:lnTo>
                      <a:lnTo>
                        <a:pt x="235" y="1"/>
                      </a:lnTo>
                      <a:lnTo>
                        <a:pt x="212" y="0"/>
                      </a:lnTo>
                      <a:lnTo>
                        <a:pt x="212" y="0"/>
                      </a:lnTo>
                      <a:lnTo>
                        <a:pt x="184" y="1"/>
                      </a:lnTo>
                      <a:lnTo>
                        <a:pt x="158" y="6"/>
                      </a:lnTo>
                      <a:lnTo>
                        <a:pt x="131" y="12"/>
                      </a:lnTo>
                      <a:lnTo>
                        <a:pt x="105" y="21"/>
                      </a:lnTo>
                      <a:lnTo>
                        <a:pt x="81" y="32"/>
                      </a:lnTo>
                      <a:lnTo>
                        <a:pt x="68" y="39"/>
                      </a:lnTo>
                      <a:lnTo>
                        <a:pt x="56" y="47"/>
                      </a:lnTo>
                      <a:lnTo>
                        <a:pt x="45" y="56"/>
                      </a:lnTo>
                      <a:lnTo>
                        <a:pt x="33" y="64"/>
                      </a:lnTo>
                      <a:lnTo>
                        <a:pt x="22" y="73"/>
                      </a:lnTo>
                      <a:lnTo>
                        <a:pt x="11" y="83"/>
                      </a:lnTo>
                      <a:lnTo>
                        <a:pt x="11" y="83"/>
                      </a:lnTo>
                      <a:lnTo>
                        <a:pt x="7" y="90"/>
                      </a:lnTo>
                      <a:lnTo>
                        <a:pt x="2" y="97"/>
                      </a:lnTo>
                      <a:lnTo>
                        <a:pt x="0" y="105"/>
                      </a:lnTo>
                      <a:lnTo>
                        <a:pt x="0" y="113"/>
                      </a:lnTo>
                      <a:lnTo>
                        <a:pt x="0" y="121"/>
                      </a:lnTo>
                      <a:lnTo>
                        <a:pt x="2" y="128"/>
                      </a:lnTo>
                      <a:lnTo>
                        <a:pt x="7" y="136"/>
                      </a:lnTo>
                      <a:lnTo>
                        <a:pt x="11" y="142"/>
                      </a:lnTo>
                      <a:lnTo>
                        <a:pt x="11" y="142"/>
                      </a:lnTo>
                      <a:lnTo>
                        <a:pt x="18" y="148"/>
                      </a:lnTo>
                      <a:lnTo>
                        <a:pt x="25" y="151"/>
                      </a:lnTo>
                      <a:lnTo>
                        <a:pt x="33" y="154"/>
                      </a:lnTo>
                      <a:lnTo>
                        <a:pt x="41" y="155"/>
                      </a:lnTo>
                      <a:lnTo>
                        <a:pt x="41" y="155"/>
                      </a:lnTo>
                      <a:lnTo>
                        <a:pt x="49" y="154"/>
                      </a:lnTo>
                      <a:lnTo>
                        <a:pt x="57" y="151"/>
                      </a:lnTo>
                      <a:lnTo>
                        <a:pt x="64" y="148"/>
                      </a:lnTo>
                      <a:lnTo>
                        <a:pt x="70" y="142"/>
                      </a:lnTo>
                      <a:lnTo>
                        <a:pt x="70" y="142"/>
                      </a:lnTo>
                      <a:lnTo>
                        <a:pt x="86" y="128"/>
                      </a:lnTo>
                      <a:lnTo>
                        <a:pt x="102" y="117"/>
                      </a:lnTo>
                      <a:lnTo>
                        <a:pt x="119" y="106"/>
                      </a:lnTo>
                      <a:lnTo>
                        <a:pt x="137" y="98"/>
                      </a:lnTo>
                      <a:lnTo>
                        <a:pt x="154" y="92"/>
                      </a:lnTo>
                      <a:lnTo>
                        <a:pt x="174" y="88"/>
                      </a:lnTo>
                      <a:lnTo>
                        <a:pt x="192" y="84"/>
                      </a:lnTo>
                      <a:lnTo>
                        <a:pt x="212" y="84"/>
                      </a:lnTo>
                      <a:lnTo>
                        <a:pt x="212" y="84"/>
                      </a:lnTo>
                      <a:lnTo>
                        <a:pt x="228" y="84"/>
                      </a:lnTo>
                      <a:lnTo>
                        <a:pt x="244" y="87"/>
                      </a:lnTo>
                      <a:lnTo>
                        <a:pt x="261" y="90"/>
                      </a:lnTo>
                      <a:lnTo>
                        <a:pt x="276" y="95"/>
                      </a:lnTo>
                      <a:lnTo>
                        <a:pt x="276" y="95"/>
                      </a:lnTo>
                      <a:lnTo>
                        <a:pt x="296" y="103"/>
                      </a:lnTo>
                      <a:lnTo>
                        <a:pt x="316" y="113"/>
                      </a:lnTo>
                      <a:lnTo>
                        <a:pt x="336" y="127"/>
                      </a:lnTo>
                      <a:lnTo>
                        <a:pt x="353" y="142"/>
                      </a:lnTo>
                      <a:lnTo>
                        <a:pt x="353" y="142"/>
                      </a:lnTo>
                      <a:lnTo>
                        <a:pt x="360" y="148"/>
                      </a:lnTo>
                      <a:lnTo>
                        <a:pt x="367" y="151"/>
                      </a:lnTo>
                      <a:lnTo>
                        <a:pt x="375" y="154"/>
                      </a:lnTo>
                      <a:lnTo>
                        <a:pt x="383" y="155"/>
                      </a:lnTo>
                      <a:lnTo>
                        <a:pt x="391" y="154"/>
                      </a:lnTo>
                      <a:lnTo>
                        <a:pt x="398" y="151"/>
                      </a:lnTo>
                      <a:lnTo>
                        <a:pt x="406" y="148"/>
                      </a:lnTo>
                      <a:lnTo>
                        <a:pt x="412" y="142"/>
                      </a:lnTo>
                      <a:lnTo>
                        <a:pt x="412" y="142"/>
                      </a:lnTo>
                      <a:lnTo>
                        <a:pt x="417" y="136"/>
                      </a:lnTo>
                      <a:lnTo>
                        <a:pt x="421" y="128"/>
                      </a:lnTo>
                      <a:lnTo>
                        <a:pt x="423" y="121"/>
                      </a:lnTo>
                      <a:lnTo>
                        <a:pt x="424" y="113"/>
                      </a:lnTo>
                      <a:lnTo>
                        <a:pt x="423" y="105"/>
                      </a:lnTo>
                      <a:lnTo>
                        <a:pt x="421" y="97"/>
                      </a:lnTo>
                      <a:lnTo>
                        <a:pt x="417" y="90"/>
                      </a:lnTo>
                      <a:lnTo>
                        <a:pt x="412" y="83"/>
                      </a:lnTo>
                      <a:lnTo>
                        <a:pt x="412" y="83"/>
                      </a:lnTo>
                      <a:lnTo>
                        <a:pt x="400" y="72"/>
                      </a:lnTo>
                      <a:lnTo>
                        <a:pt x="387" y="61"/>
                      </a:lnTo>
                      <a:lnTo>
                        <a:pt x="374" y="51"/>
                      </a:lnTo>
                      <a:lnTo>
                        <a:pt x="360" y="43"/>
                      </a:lnTo>
                      <a:lnTo>
                        <a:pt x="346" y="35"/>
                      </a:lnTo>
                      <a:lnTo>
                        <a:pt x="332" y="27"/>
                      </a:lnTo>
                      <a:lnTo>
                        <a:pt x="317" y="21"/>
                      </a:lnTo>
                      <a:lnTo>
                        <a:pt x="302" y="15"/>
                      </a:lnTo>
                      <a:lnTo>
                        <a:pt x="30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178"/>
                <p:cNvSpPr>
                  <a:spLocks/>
                </p:cNvSpPr>
                <p:nvPr/>
              </p:nvSpPr>
              <p:spPr bwMode="auto">
                <a:xfrm>
                  <a:off x="9431293" y="4584285"/>
                  <a:ext cx="750972" cy="230565"/>
                </a:xfrm>
                <a:custGeom>
                  <a:avLst/>
                  <a:gdLst>
                    <a:gd name="T0" fmla="*/ 341 w 682"/>
                    <a:gd name="T1" fmla="*/ 0 h 208"/>
                    <a:gd name="T2" fmla="*/ 296 w 682"/>
                    <a:gd name="T3" fmla="*/ 2 h 208"/>
                    <a:gd name="T4" fmla="*/ 252 w 682"/>
                    <a:gd name="T5" fmla="*/ 9 h 208"/>
                    <a:gd name="T6" fmla="*/ 208 w 682"/>
                    <a:gd name="T7" fmla="*/ 19 h 208"/>
                    <a:gd name="T8" fmla="*/ 166 w 682"/>
                    <a:gd name="T9" fmla="*/ 34 h 208"/>
                    <a:gd name="T10" fmla="*/ 124 w 682"/>
                    <a:gd name="T11" fmla="*/ 54 h 208"/>
                    <a:gd name="T12" fmla="*/ 85 w 682"/>
                    <a:gd name="T13" fmla="*/ 77 h 208"/>
                    <a:gd name="T14" fmla="*/ 47 w 682"/>
                    <a:gd name="T15" fmla="*/ 105 h 208"/>
                    <a:gd name="T16" fmla="*/ 12 w 682"/>
                    <a:gd name="T17" fmla="*/ 137 h 208"/>
                    <a:gd name="T18" fmla="*/ 6 w 682"/>
                    <a:gd name="T19" fmla="*/ 143 h 208"/>
                    <a:gd name="T20" fmla="*/ 1 w 682"/>
                    <a:gd name="T21" fmla="*/ 158 h 208"/>
                    <a:gd name="T22" fmla="*/ 1 w 682"/>
                    <a:gd name="T23" fmla="*/ 174 h 208"/>
                    <a:gd name="T24" fmla="*/ 6 w 682"/>
                    <a:gd name="T25" fmla="*/ 189 h 208"/>
                    <a:gd name="T26" fmla="*/ 12 w 682"/>
                    <a:gd name="T27" fmla="*/ 196 h 208"/>
                    <a:gd name="T28" fmla="*/ 26 w 682"/>
                    <a:gd name="T29" fmla="*/ 205 h 208"/>
                    <a:gd name="T30" fmla="*/ 41 w 682"/>
                    <a:gd name="T31" fmla="*/ 208 h 208"/>
                    <a:gd name="T32" fmla="*/ 49 w 682"/>
                    <a:gd name="T33" fmla="*/ 208 h 208"/>
                    <a:gd name="T34" fmla="*/ 64 w 682"/>
                    <a:gd name="T35" fmla="*/ 201 h 208"/>
                    <a:gd name="T36" fmla="*/ 71 w 682"/>
                    <a:gd name="T37" fmla="*/ 196 h 208"/>
                    <a:gd name="T38" fmla="*/ 100 w 682"/>
                    <a:gd name="T39" fmla="*/ 169 h 208"/>
                    <a:gd name="T40" fmla="*/ 131 w 682"/>
                    <a:gd name="T41" fmla="*/ 146 h 208"/>
                    <a:gd name="T42" fmla="*/ 163 w 682"/>
                    <a:gd name="T43" fmla="*/ 128 h 208"/>
                    <a:gd name="T44" fmla="*/ 197 w 682"/>
                    <a:gd name="T45" fmla="*/ 112 h 208"/>
                    <a:gd name="T46" fmla="*/ 233 w 682"/>
                    <a:gd name="T47" fmla="*/ 99 h 208"/>
                    <a:gd name="T48" fmla="*/ 268 w 682"/>
                    <a:gd name="T49" fmla="*/ 91 h 208"/>
                    <a:gd name="T50" fmla="*/ 304 w 682"/>
                    <a:gd name="T51" fmla="*/ 85 h 208"/>
                    <a:gd name="T52" fmla="*/ 341 w 682"/>
                    <a:gd name="T53" fmla="*/ 84 h 208"/>
                    <a:gd name="T54" fmla="*/ 360 w 682"/>
                    <a:gd name="T55" fmla="*/ 84 h 208"/>
                    <a:gd name="T56" fmla="*/ 395 w 682"/>
                    <a:gd name="T57" fmla="*/ 88 h 208"/>
                    <a:gd name="T58" fmla="*/ 432 w 682"/>
                    <a:gd name="T59" fmla="*/ 94 h 208"/>
                    <a:gd name="T60" fmla="*/ 467 w 682"/>
                    <a:gd name="T61" fmla="*/ 105 h 208"/>
                    <a:gd name="T62" fmla="*/ 501 w 682"/>
                    <a:gd name="T63" fmla="*/ 119 h 208"/>
                    <a:gd name="T64" fmla="*/ 535 w 682"/>
                    <a:gd name="T65" fmla="*/ 136 h 208"/>
                    <a:gd name="T66" fmla="*/ 566 w 682"/>
                    <a:gd name="T67" fmla="*/ 158 h 208"/>
                    <a:gd name="T68" fmla="*/ 596 w 682"/>
                    <a:gd name="T69" fmla="*/ 182 h 208"/>
                    <a:gd name="T70" fmla="*/ 611 w 682"/>
                    <a:gd name="T71" fmla="*/ 196 h 208"/>
                    <a:gd name="T72" fmla="*/ 625 w 682"/>
                    <a:gd name="T73" fmla="*/ 205 h 208"/>
                    <a:gd name="T74" fmla="*/ 640 w 682"/>
                    <a:gd name="T75" fmla="*/ 208 h 208"/>
                    <a:gd name="T76" fmla="*/ 656 w 682"/>
                    <a:gd name="T77" fmla="*/ 205 h 208"/>
                    <a:gd name="T78" fmla="*/ 670 w 682"/>
                    <a:gd name="T79" fmla="*/ 196 h 208"/>
                    <a:gd name="T80" fmla="*/ 675 w 682"/>
                    <a:gd name="T81" fmla="*/ 189 h 208"/>
                    <a:gd name="T82" fmla="*/ 682 w 682"/>
                    <a:gd name="T83" fmla="*/ 174 h 208"/>
                    <a:gd name="T84" fmla="*/ 682 w 682"/>
                    <a:gd name="T85" fmla="*/ 158 h 208"/>
                    <a:gd name="T86" fmla="*/ 675 w 682"/>
                    <a:gd name="T87" fmla="*/ 143 h 208"/>
                    <a:gd name="T88" fmla="*/ 670 w 682"/>
                    <a:gd name="T89" fmla="*/ 137 h 208"/>
                    <a:gd name="T90" fmla="*/ 634 w 682"/>
                    <a:gd name="T91" fmla="*/ 105 h 208"/>
                    <a:gd name="T92" fmla="*/ 597 w 682"/>
                    <a:gd name="T93" fmla="*/ 77 h 208"/>
                    <a:gd name="T94" fmla="*/ 557 w 682"/>
                    <a:gd name="T95" fmla="*/ 54 h 208"/>
                    <a:gd name="T96" fmla="*/ 515 w 682"/>
                    <a:gd name="T97" fmla="*/ 34 h 208"/>
                    <a:gd name="T98" fmla="*/ 473 w 682"/>
                    <a:gd name="T99" fmla="*/ 19 h 208"/>
                    <a:gd name="T100" fmla="*/ 430 w 682"/>
                    <a:gd name="T101" fmla="*/ 9 h 208"/>
                    <a:gd name="T102" fmla="*/ 385 w 682"/>
                    <a:gd name="T103" fmla="*/ 2 h 208"/>
                    <a:gd name="T104" fmla="*/ 341 w 682"/>
                    <a:gd name="T10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2" h="208">
                      <a:moveTo>
                        <a:pt x="341" y="0"/>
                      </a:moveTo>
                      <a:lnTo>
                        <a:pt x="341" y="0"/>
                      </a:lnTo>
                      <a:lnTo>
                        <a:pt x="318" y="1"/>
                      </a:lnTo>
                      <a:lnTo>
                        <a:pt x="296" y="2"/>
                      </a:lnTo>
                      <a:lnTo>
                        <a:pt x="274" y="6"/>
                      </a:lnTo>
                      <a:lnTo>
                        <a:pt x="252" y="9"/>
                      </a:lnTo>
                      <a:lnTo>
                        <a:pt x="230" y="14"/>
                      </a:lnTo>
                      <a:lnTo>
                        <a:pt x="208" y="19"/>
                      </a:lnTo>
                      <a:lnTo>
                        <a:pt x="186" y="26"/>
                      </a:lnTo>
                      <a:lnTo>
                        <a:pt x="166" y="34"/>
                      </a:lnTo>
                      <a:lnTo>
                        <a:pt x="145" y="44"/>
                      </a:lnTo>
                      <a:lnTo>
                        <a:pt x="124" y="54"/>
                      </a:lnTo>
                      <a:lnTo>
                        <a:pt x="105" y="64"/>
                      </a:lnTo>
                      <a:lnTo>
                        <a:pt x="85" y="77"/>
                      </a:lnTo>
                      <a:lnTo>
                        <a:pt x="65" y="90"/>
                      </a:lnTo>
                      <a:lnTo>
                        <a:pt x="47" y="105"/>
                      </a:lnTo>
                      <a:lnTo>
                        <a:pt x="30" y="120"/>
                      </a:lnTo>
                      <a:lnTo>
                        <a:pt x="12" y="137"/>
                      </a:lnTo>
                      <a:lnTo>
                        <a:pt x="12" y="137"/>
                      </a:lnTo>
                      <a:lnTo>
                        <a:pt x="6" y="143"/>
                      </a:lnTo>
                      <a:lnTo>
                        <a:pt x="3" y="150"/>
                      </a:lnTo>
                      <a:lnTo>
                        <a:pt x="1" y="158"/>
                      </a:lnTo>
                      <a:lnTo>
                        <a:pt x="0" y="166"/>
                      </a:lnTo>
                      <a:lnTo>
                        <a:pt x="1" y="174"/>
                      </a:lnTo>
                      <a:lnTo>
                        <a:pt x="3" y="182"/>
                      </a:lnTo>
                      <a:lnTo>
                        <a:pt x="6" y="189"/>
                      </a:lnTo>
                      <a:lnTo>
                        <a:pt x="12" y="196"/>
                      </a:lnTo>
                      <a:lnTo>
                        <a:pt x="12" y="196"/>
                      </a:lnTo>
                      <a:lnTo>
                        <a:pt x="18" y="201"/>
                      </a:lnTo>
                      <a:lnTo>
                        <a:pt x="26" y="205"/>
                      </a:lnTo>
                      <a:lnTo>
                        <a:pt x="33" y="208"/>
                      </a:lnTo>
                      <a:lnTo>
                        <a:pt x="41" y="208"/>
                      </a:lnTo>
                      <a:lnTo>
                        <a:pt x="41" y="208"/>
                      </a:lnTo>
                      <a:lnTo>
                        <a:pt x="49" y="208"/>
                      </a:lnTo>
                      <a:lnTo>
                        <a:pt x="57" y="205"/>
                      </a:lnTo>
                      <a:lnTo>
                        <a:pt x="64" y="201"/>
                      </a:lnTo>
                      <a:lnTo>
                        <a:pt x="71" y="196"/>
                      </a:lnTo>
                      <a:lnTo>
                        <a:pt x="71" y="196"/>
                      </a:lnTo>
                      <a:lnTo>
                        <a:pt x="85" y="182"/>
                      </a:lnTo>
                      <a:lnTo>
                        <a:pt x="100" y="169"/>
                      </a:lnTo>
                      <a:lnTo>
                        <a:pt x="115" y="158"/>
                      </a:lnTo>
                      <a:lnTo>
                        <a:pt x="131" y="146"/>
                      </a:lnTo>
                      <a:lnTo>
                        <a:pt x="147" y="136"/>
                      </a:lnTo>
                      <a:lnTo>
                        <a:pt x="163" y="128"/>
                      </a:lnTo>
                      <a:lnTo>
                        <a:pt x="181" y="119"/>
                      </a:lnTo>
                      <a:lnTo>
                        <a:pt x="197" y="112"/>
                      </a:lnTo>
                      <a:lnTo>
                        <a:pt x="214" y="105"/>
                      </a:lnTo>
                      <a:lnTo>
                        <a:pt x="233" y="99"/>
                      </a:lnTo>
                      <a:lnTo>
                        <a:pt x="250" y="94"/>
                      </a:lnTo>
                      <a:lnTo>
                        <a:pt x="268" y="91"/>
                      </a:lnTo>
                      <a:lnTo>
                        <a:pt x="286" y="88"/>
                      </a:lnTo>
                      <a:lnTo>
                        <a:pt x="304" y="85"/>
                      </a:lnTo>
                      <a:lnTo>
                        <a:pt x="323" y="84"/>
                      </a:lnTo>
                      <a:lnTo>
                        <a:pt x="341" y="84"/>
                      </a:lnTo>
                      <a:lnTo>
                        <a:pt x="341" y="84"/>
                      </a:lnTo>
                      <a:lnTo>
                        <a:pt x="360" y="84"/>
                      </a:lnTo>
                      <a:lnTo>
                        <a:pt x="378" y="85"/>
                      </a:lnTo>
                      <a:lnTo>
                        <a:pt x="395" y="88"/>
                      </a:lnTo>
                      <a:lnTo>
                        <a:pt x="414" y="91"/>
                      </a:lnTo>
                      <a:lnTo>
                        <a:pt x="432" y="94"/>
                      </a:lnTo>
                      <a:lnTo>
                        <a:pt x="450" y="99"/>
                      </a:lnTo>
                      <a:lnTo>
                        <a:pt x="467" y="105"/>
                      </a:lnTo>
                      <a:lnTo>
                        <a:pt x="484" y="112"/>
                      </a:lnTo>
                      <a:lnTo>
                        <a:pt x="501" y="119"/>
                      </a:lnTo>
                      <a:lnTo>
                        <a:pt x="519" y="128"/>
                      </a:lnTo>
                      <a:lnTo>
                        <a:pt x="535" y="136"/>
                      </a:lnTo>
                      <a:lnTo>
                        <a:pt x="551" y="146"/>
                      </a:lnTo>
                      <a:lnTo>
                        <a:pt x="566" y="158"/>
                      </a:lnTo>
                      <a:lnTo>
                        <a:pt x="581" y="169"/>
                      </a:lnTo>
                      <a:lnTo>
                        <a:pt x="596" y="182"/>
                      </a:lnTo>
                      <a:lnTo>
                        <a:pt x="611" y="196"/>
                      </a:lnTo>
                      <a:lnTo>
                        <a:pt x="611" y="196"/>
                      </a:lnTo>
                      <a:lnTo>
                        <a:pt x="617" y="201"/>
                      </a:lnTo>
                      <a:lnTo>
                        <a:pt x="625" y="205"/>
                      </a:lnTo>
                      <a:lnTo>
                        <a:pt x="632" y="208"/>
                      </a:lnTo>
                      <a:lnTo>
                        <a:pt x="640" y="208"/>
                      </a:lnTo>
                      <a:lnTo>
                        <a:pt x="648" y="208"/>
                      </a:lnTo>
                      <a:lnTo>
                        <a:pt x="656" y="205"/>
                      </a:lnTo>
                      <a:lnTo>
                        <a:pt x="663" y="201"/>
                      </a:lnTo>
                      <a:lnTo>
                        <a:pt x="670" y="196"/>
                      </a:lnTo>
                      <a:lnTo>
                        <a:pt x="670" y="196"/>
                      </a:lnTo>
                      <a:lnTo>
                        <a:pt x="675" y="189"/>
                      </a:lnTo>
                      <a:lnTo>
                        <a:pt x="679" y="182"/>
                      </a:lnTo>
                      <a:lnTo>
                        <a:pt x="682" y="174"/>
                      </a:lnTo>
                      <a:lnTo>
                        <a:pt x="682" y="166"/>
                      </a:lnTo>
                      <a:lnTo>
                        <a:pt x="682" y="158"/>
                      </a:lnTo>
                      <a:lnTo>
                        <a:pt x="679" y="150"/>
                      </a:lnTo>
                      <a:lnTo>
                        <a:pt x="675" y="143"/>
                      </a:lnTo>
                      <a:lnTo>
                        <a:pt x="670" y="137"/>
                      </a:lnTo>
                      <a:lnTo>
                        <a:pt x="670" y="137"/>
                      </a:lnTo>
                      <a:lnTo>
                        <a:pt x="653" y="120"/>
                      </a:lnTo>
                      <a:lnTo>
                        <a:pt x="634" y="105"/>
                      </a:lnTo>
                      <a:lnTo>
                        <a:pt x="616" y="90"/>
                      </a:lnTo>
                      <a:lnTo>
                        <a:pt x="597" y="77"/>
                      </a:lnTo>
                      <a:lnTo>
                        <a:pt x="578" y="64"/>
                      </a:lnTo>
                      <a:lnTo>
                        <a:pt x="557" y="54"/>
                      </a:lnTo>
                      <a:lnTo>
                        <a:pt x="536" y="44"/>
                      </a:lnTo>
                      <a:lnTo>
                        <a:pt x="515" y="34"/>
                      </a:lnTo>
                      <a:lnTo>
                        <a:pt x="495" y="26"/>
                      </a:lnTo>
                      <a:lnTo>
                        <a:pt x="473" y="19"/>
                      </a:lnTo>
                      <a:lnTo>
                        <a:pt x="452" y="14"/>
                      </a:lnTo>
                      <a:lnTo>
                        <a:pt x="430" y="9"/>
                      </a:lnTo>
                      <a:lnTo>
                        <a:pt x="408" y="6"/>
                      </a:lnTo>
                      <a:lnTo>
                        <a:pt x="385" y="2"/>
                      </a:lnTo>
                      <a:lnTo>
                        <a:pt x="363" y="1"/>
                      </a:lnTo>
                      <a:lnTo>
                        <a:pt x="341" y="0"/>
                      </a:lnTo>
                      <a:lnTo>
                        <a:pt x="3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79"/>
                <p:cNvSpPr>
                  <a:spLocks/>
                </p:cNvSpPr>
                <p:nvPr/>
              </p:nvSpPr>
              <p:spPr bwMode="auto">
                <a:xfrm>
                  <a:off x="9286369" y="4380074"/>
                  <a:ext cx="1034234" cy="296439"/>
                </a:xfrm>
                <a:custGeom>
                  <a:avLst/>
                  <a:gdLst>
                    <a:gd name="T0" fmla="*/ 495 w 946"/>
                    <a:gd name="T1" fmla="*/ 0 h 270"/>
                    <a:gd name="T2" fmla="*/ 430 w 946"/>
                    <a:gd name="T3" fmla="*/ 3 h 270"/>
                    <a:gd name="T4" fmla="*/ 366 w 946"/>
                    <a:gd name="T5" fmla="*/ 13 h 270"/>
                    <a:gd name="T6" fmla="*/ 303 w 946"/>
                    <a:gd name="T7" fmla="*/ 28 h 270"/>
                    <a:gd name="T8" fmla="*/ 241 w 946"/>
                    <a:gd name="T9" fmla="*/ 50 h 270"/>
                    <a:gd name="T10" fmla="*/ 180 w 946"/>
                    <a:gd name="T11" fmla="*/ 77 h 270"/>
                    <a:gd name="T12" fmla="*/ 121 w 946"/>
                    <a:gd name="T13" fmla="*/ 112 h 270"/>
                    <a:gd name="T14" fmla="*/ 65 w 946"/>
                    <a:gd name="T15" fmla="*/ 152 h 270"/>
                    <a:gd name="T16" fmla="*/ 12 w 946"/>
                    <a:gd name="T17" fmla="*/ 198 h 270"/>
                    <a:gd name="T18" fmla="*/ 6 w 946"/>
                    <a:gd name="T19" fmla="*/ 204 h 270"/>
                    <a:gd name="T20" fmla="*/ 1 w 946"/>
                    <a:gd name="T21" fmla="*/ 219 h 270"/>
                    <a:gd name="T22" fmla="*/ 0 w 946"/>
                    <a:gd name="T23" fmla="*/ 235 h 270"/>
                    <a:gd name="T24" fmla="*/ 5 w 946"/>
                    <a:gd name="T25" fmla="*/ 250 h 270"/>
                    <a:gd name="T26" fmla="*/ 11 w 946"/>
                    <a:gd name="T27" fmla="*/ 257 h 270"/>
                    <a:gd name="T28" fmla="*/ 25 w 946"/>
                    <a:gd name="T29" fmla="*/ 266 h 270"/>
                    <a:gd name="T30" fmla="*/ 41 w 946"/>
                    <a:gd name="T31" fmla="*/ 270 h 270"/>
                    <a:gd name="T32" fmla="*/ 49 w 946"/>
                    <a:gd name="T33" fmla="*/ 269 h 270"/>
                    <a:gd name="T34" fmla="*/ 64 w 946"/>
                    <a:gd name="T35" fmla="*/ 263 h 270"/>
                    <a:gd name="T36" fmla="*/ 70 w 946"/>
                    <a:gd name="T37" fmla="*/ 258 h 270"/>
                    <a:gd name="T38" fmla="*/ 117 w 946"/>
                    <a:gd name="T39" fmla="*/ 217 h 270"/>
                    <a:gd name="T40" fmla="*/ 167 w 946"/>
                    <a:gd name="T41" fmla="*/ 182 h 270"/>
                    <a:gd name="T42" fmla="*/ 218 w 946"/>
                    <a:gd name="T43" fmla="*/ 152 h 270"/>
                    <a:gd name="T44" fmla="*/ 272 w 946"/>
                    <a:gd name="T45" fmla="*/ 127 h 270"/>
                    <a:gd name="T46" fmla="*/ 326 w 946"/>
                    <a:gd name="T47" fmla="*/ 108 h 270"/>
                    <a:gd name="T48" fmla="*/ 381 w 946"/>
                    <a:gd name="T49" fmla="*/ 95 h 270"/>
                    <a:gd name="T50" fmla="*/ 438 w 946"/>
                    <a:gd name="T51" fmla="*/ 86 h 270"/>
                    <a:gd name="T52" fmla="*/ 495 w 946"/>
                    <a:gd name="T53" fmla="*/ 83 h 270"/>
                    <a:gd name="T54" fmla="*/ 521 w 946"/>
                    <a:gd name="T55" fmla="*/ 84 h 270"/>
                    <a:gd name="T56" fmla="*/ 573 w 946"/>
                    <a:gd name="T57" fmla="*/ 89 h 270"/>
                    <a:gd name="T58" fmla="*/ 625 w 946"/>
                    <a:gd name="T59" fmla="*/ 99 h 270"/>
                    <a:gd name="T60" fmla="*/ 675 w 946"/>
                    <a:gd name="T61" fmla="*/ 114 h 270"/>
                    <a:gd name="T62" fmla="*/ 723 w 946"/>
                    <a:gd name="T63" fmla="*/ 134 h 270"/>
                    <a:gd name="T64" fmla="*/ 769 w 946"/>
                    <a:gd name="T65" fmla="*/ 158 h 270"/>
                    <a:gd name="T66" fmla="*/ 813 w 946"/>
                    <a:gd name="T67" fmla="*/ 188 h 270"/>
                    <a:gd name="T68" fmla="*/ 855 w 946"/>
                    <a:gd name="T69" fmla="*/ 223 h 270"/>
                    <a:gd name="T70" fmla="*/ 874 w 946"/>
                    <a:gd name="T71" fmla="*/ 241 h 270"/>
                    <a:gd name="T72" fmla="*/ 888 w 946"/>
                    <a:gd name="T73" fmla="*/ 250 h 270"/>
                    <a:gd name="T74" fmla="*/ 903 w 946"/>
                    <a:gd name="T75" fmla="*/ 254 h 270"/>
                    <a:gd name="T76" fmla="*/ 919 w 946"/>
                    <a:gd name="T77" fmla="*/ 251 h 270"/>
                    <a:gd name="T78" fmla="*/ 933 w 946"/>
                    <a:gd name="T79" fmla="*/ 242 h 270"/>
                    <a:gd name="T80" fmla="*/ 939 w 946"/>
                    <a:gd name="T81" fmla="*/ 236 h 270"/>
                    <a:gd name="T82" fmla="*/ 945 w 946"/>
                    <a:gd name="T83" fmla="*/ 221 h 270"/>
                    <a:gd name="T84" fmla="*/ 946 w 946"/>
                    <a:gd name="T85" fmla="*/ 205 h 270"/>
                    <a:gd name="T86" fmla="*/ 939 w 946"/>
                    <a:gd name="T87" fmla="*/ 190 h 270"/>
                    <a:gd name="T88" fmla="*/ 934 w 946"/>
                    <a:gd name="T89" fmla="*/ 183 h 270"/>
                    <a:gd name="T90" fmla="*/ 888 w 946"/>
                    <a:gd name="T91" fmla="*/ 141 h 270"/>
                    <a:gd name="T92" fmla="*/ 838 w 946"/>
                    <a:gd name="T93" fmla="*/ 103 h 270"/>
                    <a:gd name="T94" fmla="*/ 787 w 946"/>
                    <a:gd name="T95" fmla="*/ 71 h 270"/>
                    <a:gd name="T96" fmla="*/ 731 w 946"/>
                    <a:gd name="T97" fmla="*/ 46 h 270"/>
                    <a:gd name="T98" fmla="*/ 673 w 946"/>
                    <a:gd name="T99" fmla="*/ 25 h 270"/>
                    <a:gd name="T100" fmla="*/ 615 w 946"/>
                    <a:gd name="T101" fmla="*/ 11 h 270"/>
                    <a:gd name="T102" fmla="*/ 555 w 946"/>
                    <a:gd name="T103" fmla="*/ 3 h 270"/>
                    <a:gd name="T104" fmla="*/ 495 w 946"/>
                    <a:gd name="T10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6" h="270">
                      <a:moveTo>
                        <a:pt x="495" y="0"/>
                      </a:moveTo>
                      <a:lnTo>
                        <a:pt x="495" y="0"/>
                      </a:lnTo>
                      <a:lnTo>
                        <a:pt x="462" y="1"/>
                      </a:lnTo>
                      <a:lnTo>
                        <a:pt x="430" y="3"/>
                      </a:lnTo>
                      <a:lnTo>
                        <a:pt x="398" y="7"/>
                      </a:lnTo>
                      <a:lnTo>
                        <a:pt x="366" y="13"/>
                      </a:lnTo>
                      <a:lnTo>
                        <a:pt x="334" y="20"/>
                      </a:lnTo>
                      <a:lnTo>
                        <a:pt x="303" y="28"/>
                      </a:lnTo>
                      <a:lnTo>
                        <a:pt x="272" y="38"/>
                      </a:lnTo>
                      <a:lnTo>
                        <a:pt x="241" y="50"/>
                      </a:lnTo>
                      <a:lnTo>
                        <a:pt x="210" y="63"/>
                      </a:lnTo>
                      <a:lnTo>
                        <a:pt x="180" y="77"/>
                      </a:lnTo>
                      <a:lnTo>
                        <a:pt x="151" y="95"/>
                      </a:lnTo>
                      <a:lnTo>
                        <a:pt x="121" y="112"/>
                      </a:lnTo>
                      <a:lnTo>
                        <a:pt x="93" y="131"/>
                      </a:lnTo>
                      <a:lnTo>
                        <a:pt x="65" y="152"/>
                      </a:lnTo>
                      <a:lnTo>
                        <a:pt x="39" y="174"/>
                      </a:lnTo>
                      <a:lnTo>
                        <a:pt x="12" y="198"/>
                      </a:lnTo>
                      <a:lnTo>
                        <a:pt x="12" y="198"/>
                      </a:lnTo>
                      <a:lnTo>
                        <a:pt x="6" y="204"/>
                      </a:lnTo>
                      <a:lnTo>
                        <a:pt x="3" y="212"/>
                      </a:lnTo>
                      <a:lnTo>
                        <a:pt x="1" y="219"/>
                      </a:lnTo>
                      <a:lnTo>
                        <a:pt x="0" y="227"/>
                      </a:lnTo>
                      <a:lnTo>
                        <a:pt x="0" y="235"/>
                      </a:lnTo>
                      <a:lnTo>
                        <a:pt x="2" y="243"/>
                      </a:lnTo>
                      <a:lnTo>
                        <a:pt x="5" y="250"/>
                      </a:lnTo>
                      <a:lnTo>
                        <a:pt x="11" y="257"/>
                      </a:lnTo>
                      <a:lnTo>
                        <a:pt x="11" y="257"/>
                      </a:lnTo>
                      <a:lnTo>
                        <a:pt x="18" y="263"/>
                      </a:lnTo>
                      <a:lnTo>
                        <a:pt x="25" y="266"/>
                      </a:lnTo>
                      <a:lnTo>
                        <a:pt x="33" y="269"/>
                      </a:lnTo>
                      <a:lnTo>
                        <a:pt x="41" y="270"/>
                      </a:lnTo>
                      <a:lnTo>
                        <a:pt x="41" y="270"/>
                      </a:lnTo>
                      <a:lnTo>
                        <a:pt x="49" y="269"/>
                      </a:lnTo>
                      <a:lnTo>
                        <a:pt x="56" y="266"/>
                      </a:lnTo>
                      <a:lnTo>
                        <a:pt x="64" y="263"/>
                      </a:lnTo>
                      <a:lnTo>
                        <a:pt x="70" y="258"/>
                      </a:lnTo>
                      <a:lnTo>
                        <a:pt x="70" y="258"/>
                      </a:lnTo>
                      <a:lnTo>
                        <a:pt x="93" y="238"/>
                      </a:lnTo>
                      <a:lnTo>
                        <a:pt x="117" y="217"/>
                      </a:lnTo>
                      <a:lnTo>
                        <a:pt x="141" y="198"/>
                      </a:lnTo>
                      <a:lnTo>
                        <a:pt x="167" y="182"/>
                      </a:lnTo>
                      <a:lnTo>
                        <a:pt x="192" y="166"/>
                      </a:lnTo>
                      <a:lnTo>
                        <a:pt x="218" y="152"/>
                      </a:lnTo>
                      <a:lnTo>
                        <a:pt x="244" y="138"/>
                      </a:lnTo>
                      <a:lnTo>
                        <a:pt x="272" y="127"/>
                      </a:lnTo>
                      <a:lnTo>
                        <a:pt x="298" y="116"/>
                      </a:lnTo>
                      <a:lnTo>
                        <a:pt x="326" y="108"/>
                      </a:lnTo>
                      <a:lnTo>
                        <a:pt x="354" y="100"/>
                      </a:lnTo>
                      <a:lnTo>
                        <a:pt x="381" y="95"/>
                      </a:lnTo>
                      <a:lnTo>
                        <a:pt x="410" y="90"/>
                      </a:lnTo>
                      <a:lnTo>
                        <a:pt x="438" y="86"/>
                      </a:lnTo>
                      <a:lnTo>
                        <a:pt x="466" y="84"/>
                      </a:lnTo>
                      <a:lnTo>
                        <a:pt x="495" y="83"/>
                      </a:lnTo>
                      <a:lnTo>
                        <a:pt x="495" y="83"/>
                      </a:lnTo>
                      <a:lnTo>
                        <a:pt x="521" y="84"/>
                      </a:lnTo>
                      <a:lnTo>
                        <a:pt x="546" y="86"/>
                      </a:lnTo>
                      <a:lnTo>
                        <a:pt x="573" y="89"/>
                      </a:lnTo>
                      <a:lnTo>
                        <a:pt x="600" y="93"/>
                      </a:lnTo>
                      <a:lnTo>
                        <a:pt x="625" y="99"/>
                      </a:lnTo>
                      <a:lnTo>
                        <a:pt x="650" y="106"/>
                      </a:lnTo>
                      <a:lnTo>
                        <a:pt x="675" y="114"/>
                      </a:lnTo>
                      <a:lnTo>
                        <a:pt x="699" y="123"/>
                      </a:lnTo>
                      <a:lnTo>
                        <a:pt x="723" y="134"/>
                      </a:lnTo>
                      <a:lnTo>
                        <a:pt x="746" y="145"/>
                      </a:lnTo>
                      <a:lnTo>
                        <a:pt x="769" y="158"/>
                      </a:lnTo>
                      <a:lnTo>
                        <a:pt x="792" y="172"/>
                      </a:lnTo>
                      <a:lnTo>
                        <a:pt x="813" y="188"/>
                      </a:lnTo>
                      <a:lnTo>
                        <a:pt x="835" y="204"/>
                      </a:lnTo>
                      <a:lnTo>
                        <a:pt x="855" y="223"/>
                      </a:lnTo>
                      <a:lnTo>
                        <a:pt x="874" y="241"/>
                      </a:lnTo>
                      <a:lnTo>
                        <a:pt x="874" y="241"/>
                      </a:lnTo>
                      <a:lnTo>
                        <a:pt x="880" y="247"/>
                      </a:lnTo>
                      <a:lnTo>
                        <a:pt x="888" y="250"/>
                      </a:lnTo>
                      <a:lnTo>
                        <a:pt x="895" y="254"/>
                      </a:lnTo>
                      <a:lnTo>
                        <a:pt x="903" y="254"/>
                      </a:lnTo>
                      <a:lnTo>
                        <a:pt x="911" y="254"/>
                      </a:lnTo>
                      <a:lnTo>
                        <a:pt x="919" y="251"/>
                      </a:lnTo>
                      <a:lnTo>
                        <a:pt x="926" y="248"/>
                      </a:lnTo>
                      <a:lnTo>
                        <a:pt x="933" y="242"/>
                      </a:lnTo>
                      <a:lnTo>
                        <a:pt x="933" y="242"/>
                      </a:lnTo>
                      <a:lnTo>
                        <a:pt x="939" y="236"/>
                      </a:lnTo>
                      <a:lnTo>
                        <a:pt x="942" y="230"/>
                      </a:lnTo>
                      <a:lnTo>
                        <a:pt x="945" y="221"/>
                      </a:lnTo>
                      <a:lnTo>
                        <a:pt x="946" y="213"/>
                      </a:lnTo>
                      <a:lnTo>
                        <a:pt x="946" y="205"/>
                      </a:lnTo>
                      <a:lnTo>
                        <a:pt x="943" y="197"/>
                      </a:lnTo>
                      <a:lnTo>
                        <a:pt x="939" y="190"/>
                      </a:lnTo>
                      <a:lnTo>
                        <a:pt x="934" y="183"/>
                      </a:lnTo>
                      <a:lnTo>
                        <a:pt x="934" y="183"/>
                      </a:lnTo>
                      <a:lnTo>
                        <a:pt x="911" y="161"/>
                      </a:lnTo>
                      <a:lnTo>
                        <a:pt x="888" y="141"/>
                      </a:lnTo>
                      <a:lnTo>
                        <a:pt x="864" y="121"/>
                      </a:lnTo>
                      <a:lnTo>
                        <a:pt x="838" y="103"/>
                      </a:lnTo>
                      <a:lnTo>
                        <a:pt x="813" y="86"/>
                      </a:lnTo>
                      <a:lnTo>
                        <a:pt x="787" y="71"/>
                      </a:lnTo>
                      <a:lnTo>
                        <a:pt x="759" y="58"/>
                      </a:lnTo>
                      <a:lnTo>
                        <a:pt x="731" y="46"/>
                      </a:lnTo>
                      <a:lnTo>
                        <a:pt x="702" y="35"/>
                      </a:lnTo>
                      <a:lnTo>
                        <a:pt x="673" y="25"/>
                      </a:lnTo>
                      <a:lnTo>
                        <a:pt x="645" y="18"/>
                      </a:lnTo>
                      <a:lnTo>
                        <a:pt x="615" y="11"/>
                      </a:lnTo>
                      <a:lnTo>
                        <a:pt x="585" y="7"/>
                      </a:lnTo>
                      <a:lnTo>
                        <a:pt x="555" y="3"/>
                      </a:lnTo>
                      <a:lnTo>
                        <a:pt x="525" y="1"/>
                      </a:lnTo>
                      <a:lnTo>
                        <a:pt x="495" y="0"/>
                      </a:lnTo>
                      <a:lnTo>
                        <a:pt x="4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TextBox 55"/>
              <p:cNvSpPr txBox="1"/>
              <p:nvPr/>
            </p:nvSpPr>
            <p:spPr>
              <a:xfrm>
                <a:off x="6946193" y="3796685"/>
                <a:ext cx="1265800" cy="560153"/>
              </a:xfrm>
              <a:prstGeom prst="rect">
                <a:avLst/>
              </a:prstGeom>
              <a:noFill/>
              <a:effectLst/>
            </p:spPr>
            <p:txBody>
              <a:bodyPr wrap="square" lIns="45720" tIns="45720" rIns="45720" bIns="45720" rtlCol="0" anchor="ctr">
                <a:spAutoFit/>
              </a:bodyPr>
              <a:lstStyle/>
              <a:p>
                <a:pPr algn="ctr">
                  <a:lnSpc>
                    <a:spcPct val="95000"/>
                  </a:lnSpc>
                  <a:spcBef>
                    <a:spcPts val="0"/>
                  </a:spcBef>
                  <a:spcAft>
                    <a:spcPts val="0"/>
                  </a:spcAft>
                </a:pPr>
                <a:r>
                  <a:rPr lang="en-IN" sz="3200" b="1" dirty="0" smtClean="0">
                    <a:ln w="0"/>
                    <a:solidFill>
                      <a:schemeClr val="accent4">
                        <a:lumMod val="75000"/>
                      </a:schemeClr>
                    </a:solidFill>
                    <a:latin typeface="+mn-lt"/>
                    <a:cs typeface="Avenir Book"/>
                  </a:rPr>
                  <a:t>7X</a:t>
                </a:r>
                <a:endParaRPr lang="en-IN" sz="1400" b="1" dirty="0">
                  <a:ln w="0"/>
                  <a:solidFill>
                    <a:schemeClr val="accent4">
                      <a:lumMod val="75000"/>
                    </a:schemeClr>
                  </a:solidFill>
                  <a:latin typeface="+mn-lt"/>
                  <a:cs typeface="Avenir Book"/>
                </a:endParaRPr>
              </a:p>
            </p:txBody>
          </p:sp>
        </p:grpSp>
        <p:sp>
          <p:nvSpPr>
            <p:cNvPr id="60" name="Rectangle 59"/>
            <p:cNvSpPr/>
            <p:nvPr/>
          </p:nvSpPr>
          <p:spPr>
            <a:xfrm>
              <a:off x="6715715" y="4270837"/>
              <a:ext cx="1726756" cy="267766"/>
            </a:xfrm>
            <a:prstGeom prst="rect">
              <a:avLst/>
            </a:prstGeom>
          </p:spPr>
          <p:txBody>
            <a:bodyPr wrap="none">
              <a:spAutoFit/>
            </a:bodyPr>
            <a:lstStyle/>
            <a:p>
              <a:pPr algn="ctr">
                <a:lnSpc>
                  <a:spcPct val="95000"/>
                </a:lnSpc>
                <a:spcBef>
                  <a:spcPts val="0"/>
                </a:spcBef>
                <a:spcAft>
                  <a:spcPts val="0"/>
                </a:spcAft>
              </a:pPr>
              <a:r>
                <a:rPr lang="en-IN" sz="1200" dirty="0" smtClean="0">
                  <a:solidFill>
                    <a:schemeClr val="accent1"/>
                  </a:solidFill>
                  <a:cs typeface="Avenir Book"/>
                </a:rPr>
                <a:t>Mobile </a:t>
              </a:r>
              <a:r>
                <a:rPr lang="en-IN" sz="1200" dirty="0">
                  <a:solidFill>
                    <a:schemeClr val="accent1"/>
                  </a:solidFill>
                  <a:cs typeface="Avenir Book"/>
                </a:rPr>
                <a:t>Traffic Increase</a:t>
              </a:r>
            </a:p>
          </p:txBody>
        </p:sp>
      </p:grpSp>
      <p:grpSp>
        <p:nvGrpSpPr>
          <p:cNvPr id="75" name="Group 74"/>
          <p:cNvGrpSpPr/>
          <p:nvPr/>
        </p:nvGrpSpPr>
        <p:grpSpPr>
          <a:xfrm>
            <a:off x="2338935" y="3071094"/>
            <a:ext cx="2171941" cy="1467509"/>
            <a:chOff x="3485336" y="3071094"/>
            <a:chExt cx="2171941" cy="1467509"/>
          </a:xfrm>
        </p:grpSpPr>
        <p:sp>
          <p:nvSpPr>
            <p:cNvPr id="92" name="TextBox 91"/>
            <p:cNvSpPr txBox="1"/>
            <p:nvPr/>
          </p:nvSpPr>
          <p:spPr>
            <a:xfrm>
              <a:off x="4097981" y="3539430"/>
              <a:ext cx="915428" cy="307777"/>
            </a:xfrm>
            <a:prstGeom prst="rect">
              <a:avLst/>
            </a:prstGeom>
            <a:noFill/>
            <a:effectLst/>
          </p:spPr>
          <p:txBody>
            <a:bodyPr wrap="square" lIns="45720" tIns="45720" rIns="45720" bIns="45720" rtlCol="0" anchor="ctr">
              <a:spAutoFit/>
            </a:bodyPr>
            <a:lstStyle/>
            <a:p>
              <a:pPr algn="ctr">
                <a:spcBef>
                  <a:spcPts val="600"/>
                </a:spcBef>
                <a:spcAft>
                  <a:spcPts val="0"/>
                </a:spcAft>
              </a:pPr>
              <a:r>
                <a:rPr lang="en-IN" sz="1400" b="1" dirty="0" smtClean="0">
                  <a:solidFill>
                    <a:schemeClr val="accent1"/>
                  </a:solidFill>
                  <a:latin typeface="+mn-lt"/>
                  <a:cs typeface="Avenir Book"/>
                </a:rPr>
                <a:t>More IoT</a:t>
              </a:r>
            </a:p>
          </p:txBody>
        </p:sp>
        <p:sp>
          <p:nvSpPr>
            <p:cNvPr id="93" name="Freeform 92"/>
            <p:cNvSpPr>
              <a:spLocks noEditPoints="1"/>
            </p:cNvSpPr>
            <p:nvPr/>
          </p:nvSpPr>
          <p:spPr bwMode="auto">
            <a:xfrm>
              <a:off x="4282077" y="3071094"/>
              <a:ext cx="547236" cy="522020"/>
            </a:xfrm>
            <a:custGeom>
              <a:avLst/>
              <a:gdLst>
                <a:gd name="T0" fmla="*/ 4598 w 5557"/>
                <a:gd name="T1" fmla="*/ 3107 h 5300"/>
                <a:gd name="T2" fmla="*/ 5516 w 5557"/>
                <a:gd name="T3" fmla="*/ 2721 h 5300"/>
                <a:gd name="T4" fmla="*/ 4190 w 5557"/>
                <a:gd name="T5" fmla="*/ 2817 h 5300"/>
                <a:gd name="T6" fmla="*/ 5326 w 5557"/>
                <a:gd name="T7" fmla="*/ 2592 h 5300"/>
                <a:gd name="T8" fmla="*/ 4676 w 5557"/>
                <a:gd name="T9" fmla="*/ 2851 h 5300"/>
                <a:gd name="T10" fmla="*/ 5049 w 5557"/>
                <a:gd name="T11" fmla="*/ 2787 h 5300"/>
                <a:gd name="T12" fmla="*/ 5434 w 5557"/>
                <a:gd name="T13" fmla="*/ 3107 h 5300"/>
                <a:gd name="T14" fmla="*/ 4044 w 5557"/>
                <a:gd name="T15" fmla="*/ 2066 h 5300"/>
                <a:gd name="T16" fmla="*/ 1678 w 5557"/>
                <a:gd name="T17" fmla="*/ 1180 h 5300"/>
                <a:gd name="T18" fmla="*/ 2138 w 5557"/>
                <a:gd name="T19" fmla="*/ 4528 h 5300"/>
                <a:gd name="T20" fmla="*/ 1553 w 5557"/>
                <a:gd name="T21" fmla="*/ 3776 h 5300"/>
                <a:gd name="T22" fmla="*/ 3527 w 5557"/>
                <a:gd name="T23" fmla="*/ 4092 h 5300"/>
                <a:gd name="T24" fmla="*/ 2004 w 5557"/>
                <a:gd name="T25" fmla="*/ 3052 h 5300"/>
                <a:gd name="T26" fmla="*/ 2547 w 5557"/>
                <a:gd name="T27" fmla="*/ 2192 h 5300"/>
                <a:gd name="T28" fmla="*/ 2227 w 5557"/>
                <a:gd name="T29" fmla="*/ 2530 h 5300"/>
                <a:gd name="T30" fmla="*/ 1838 w 5557"/>
                <a:gd name="T31" fmla="*/ 2680 h 5300"/>
                <a:gd name="T32" fmla="*/ 3457 w 5557"/>
                <a:gd name="T33" fmla="*/ 2346 h 5300"/>
                <a:gd name="T34" fmla="*/ 2793 w 5557"/>
                <a:gd name="T35" fmla="*/ 1828 h 5300"/>
                <a:gd name="T36" fmla="*/ 3605 w 5557"/>
                <a:gd name="T37" fmla="*/ 2488 h 5300"/>
                <a:gd name="T38" fmla="*/ 3526 w 5557"/>
                <a:gd name="T39" fmla="*/ 2512 h 5300"/>
                <a:gd name="T40" fmla="*/ 2723 w 5557"/>
                <a:gd name="T41" fmla="*/ 3371 h 5300"/>
                <a:gd name="T42" fmla="*/ 3418 w 5557"/>
                <a:gd name="T43" fmla="*/ 3403 h 5300"/>
                <a:gd name="T44" fmla="*/ 2633 w 5557"/>
                <a:gd name="T45" fmla="*/ 3339 h 5300"/>
                <a:gd name="T46" fmla="*/ 3018 w 5557"/>
                <a:gd name="T47" fmla="*/ 0 h 5300"/>
                <a:gd name="T48" fmla="*/ 2693 w 5557"/>
                <a:gd name="T49" fmla="*/ 1218 h 5300"/>
                <a:gd name="T50" fmla="*/ 2693 w 5557"/>
                <a:gd name="T51" fmla="*/ 1309 h 5300"/>
                <a:gd name="T52" fmla="*/ 2783 w 5557"/>
                <a:gd name="T53" fmla="*/ 1138 h 5300"/>
                <a:gd name="T54" fmla="*/ 3022 w 5557"/>
                <a:gd name="T55" fmla="*/ 786 h 5300"/>
                <a:gd name="T56" fmla="*/ 2831 w 5557"/>
                <a:gd name="T57" fmla="*/ 779 h 5300"/>
                <a:gd name="T58" fmla="*/ 2752 w 5557"/>
                <a:gd name="T59" fmla="*/ 860 h 5300"/>
                <a:gd name="T60" fmla="*/ 2492 w 5557"/>
                <a:gd name="T61" fmla="*/ 988 h 5300"/>
                <a:gd name="T62" fmla="*/ 2546 w 5557"/>
                <a:gd name="T63" fmla="*/ 1160 h 5300"/>
                <a:gd name="T64" fmla="*/ 2640 w 5557"/>
                <a:gd name="T65" fmla="*/ 1440 h 5300"/>
                <a:gd name="T66" fmla="*/ 3039 w 5557"/>
                <a:gd name="T67" fmla="*/ 1332 h 5300"/>
                <a:gd name="T68" fmla="*/ 3039 w 5557"/>
                <a:gd name="T69" fmla="*/ 1103 h 5300"/>
                <a:gd name="T70" fmla="*/ 2949 w 5557"/>
                <a:gd name="T71" fmla="*/ 1023 h 5300"/>
                <a:gd name="T72" fmla="*/ 2483 w 5557"/>
                <a:gd name="T73" fmla="*/ 113 h 5300"/>
                <a:gd name="T74" fmla="*/ 2450 w 5557"/>
                <a:gd name="T75" fmla="*/ 4927 h 5300"/>
                <a:gd name="T76" fmla="*/ 2602 w 5557"/>
                <a:gd name="T77" fmla="*/ 4631 h 5300"/>
                <a:gd name="T78" fmla="*/ 2814 w 5557"/>
                <a:gd name="T79" fmla="*/ 4365 h 5300"/>
                <a:gd name="T80" fmla="*/ 2526 w 5557"/>
                <a:gd name="T81" fmla="*/ 5300 h 5300"/>
                <a:gd name="T82" fmla="*/ 2602 w 5557"/>
                <a:gd name="T83" fmla="*/ 4927 h 5300"/>
                <a:gd name="T84" fmla="*/ 2450 w 5557"/>
                <a:gd name="T85" fmla="*/ 4631 h 5300"/>
                <a:gd name="T86" fmla="*/ 2602 w 5557"/>
                <a:gd name="T87" fmla="*/ 4570 h 5300"/>
                <a:gd name="T88" fmla="*/ 2367 w 5557"/>
                <a:gd name="T89" fmla="*/ 5300 h 5300"/>
                <a:gd name="T90" fmla="*/ 2814 w 5557"/>
                <a:gd name="T91" fmla="*/ 4927 h 5300"/>
                <a:gd name="T92" fmla="*/ 2450 w 5557"/>
                <a:gd name="T93" fmla="*/ 4745 h 5300"/>
                <a:gd name="T94" fmla="*/ 2602 w 5557"/>
                <a:gd name="T95" fmla="*/ 4418 h 5300"/>
                <a:gd name="T96" fmla="*/ 2367 w 5557"/>
                <a:gd name="T97" fmla="*/ 4083 h 5300"/>
                <a:gd name="T98" fmla="*/ 3367 w 5557"/>
                <a:gd name="T99" fmla="*/ 4821 h 5300"/>
                <a:gd name="T100" fmla="*/ 3147 w 5557"/>
                <a:gd name="T101" fmla="*/ 4768 h 5300"/>
                <a:gd name="T102" fmla="*/ 3443 w 5557"/>
                <a:gd name="T103" fmla="*/ 4479 h 5300"/>
                <a:gd name="T104" fmla="*/ 3367 w 5557"/>
                <a:gd name="T105" fmla="*/ 4768 h 5300"/>
                <a:gd name="T106" fmla="*/ 3079 w 5557"/>
                <a:gd name="T107" fmla="*/ 5300 h 5300"/>
                <a:gd name="T108" fmla="*/ 3147 w 5557"/>
                <a:gd name="T109" fmla="*/ 4981 h 5300"/>
                <a:gd name="T110" fmla="*/ 2996 w 5557"/>
                <a:gd name="T111" fmla="*/ 4608 h 5300"/>
                <a:gd name="T112" fmla="*/ 697 w 5557"/>
                <a:gd name="T113" fmla="*/ 2398 h 5300"/>
                <a:gd name="T114" fmla="*/ 363 w 5557"/>
                <a:gd name="T115" fmla="*/ 3164 h 5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7" h="5300">
                  <a:moveTo>
                    <a:pt x="4221" y="2564"/>
                  </a:moveTo>
                  <a:cubicBezTo>
                    <a:pt x="4271" y="2579"/>
                    <a:pt x="4271" y="2579"/>
                    <a:pt x="4271" y="2579"/>
                  </a:cubicBezTo>
                  <a:cubicBezTo>
                    <a:pt x="4302" y="2588"/>
                    <a:pt x="4336" y="2574"/>
                    <a:pt x="4345" y="2547"/>
                  </a:cubicBezTo>
                  <a:cubicBezTo>
                    <a:pt x="4354" y="2521"/>
                    <a:pt x="4354" y="2521"/>
                    <a:pt x="4354" y="2521"/>
                  </a:cubicBezTo>
                  <a:cubicBezTo>
                    <a:pt x="4364" y="2494"/>
                    <a:pt x="4345" y="2473"/>
                    <a:pt x="4312" y="2473"/>
                  </a:cubicBezTo>
                  <a:cubicBezTo>
                    <a:pt x="4242" y="2473"/>
                    <a:pt x="4242" y="2473"/>
                    <a:pt x="4242" y="2473"/>
                  </a:cubicBezTo>
                  <a:cubicBezTo>
                    <a:pt x="4209" y="2473"/>
                    <a:pt x="4178" y="2490"/>
                    <a:pt x="4173" y="2510"/>
                  </a:cubicBezTo>
                  <a:cubicBezTo>
                    <a:pt x="4168" y="2531"/>
                    <a:pt x="4189" y="2555"/>
                    <a:pt x="4221" y="2564"/>
                  </a:cubicBezTo>
                  <a:close/>
                  <a:moveTo>
                    <a:pt x="4291" y="3107"/>
                  </a:moveTo>
                  <a:cubicBezTo>
                    <a:pt x="4291" y="3149"/>
                    <a:pt x="4331" y="3183"/>
                    <a:pt x="4381" y="3183"/>
                  </a:cubicBezTo>
                  <a:cubicBezTo>
                    <a:pt x="4508" y="3183"/>
                    <a:pt x="4508" y="3183"/>
                    <a:pt x="4508" y="3183"/>
                  </a:cubicBezTo>
                  <a:cubicBezTo>
                    <a:pt x="4558" y="3183"/>
                    <a:pt x="4598" y="3149"/>
                    <a:pt x="4598" y="3107"/>
                  </a:cubicBezTo>
                  <a:cubicBezTo>
                    <a:pt x="4598" y="3041"/>
                    <a:pt x="4598" y="3041"/>
                    <a:pt x="4598" y="3041"/>
                  </a:cubicBezTo>
                  <a:cubicBezTo>
                    <a:pt x="4291" y="3041"/>
                    <a:pt x="4291" y="3041"/>
                    <a:pt x="4291" y="3041"/>
                  </a:cubicBezTo>
                  <a:lnTo>
                    <a:pt x="4291" y="3107"/>
                  </a:lnTo>
                  <a:close/>
                  <a:moveTo>
                    <a:pt x="5380" y="2547"/>
                  </a:moveTo>
                  <a:cubicBezTo>
                    <a:pt x="5389" y="2574"/>
                    <a:pt x="5422" y="2588"/>
                    <a:pt x="5454" y="2579"/>
                  </a:cubicBezTo>
                  <a:cubicBezTo>
                    <a:pt x="5504" y="2564"/>
                    <a:pt x="5504" y="2564"/>
                    <a:pt x="5504" y="2564"/>
                  </a:cubicBezTo>
                  <a:cubicBezTo>
                    <a:pt x="5536" y="2555"/>
                    <a:pt x="5557" y="2531"/>
                    <a:pt x="5552" y="2510"/>
                  </a:cubicBezTo>
                  <a:cubicBezTo>
                    <a:pt x="5547" y="2490"/>
                    <a:pt x="5516" y="2473"/>
                    <a:pt x="5483" y="2473"/>
                  </a:cubicBezTo>
                  <a:cubicBezTo>
                    <a:pt x="5413" y="2473"/>
                    <a:pt x="5413" y="2473"/>
                    <a:pt x="5413" y="2473"/>
                  </a:cubicBezTo>
                  <a:cubicBezTo>
                    <a:pt x="5380" y="2473"/>
                    <a:pt x="5361" y="2494"/>
                    <a:pt x="5370" y="2521"/>
                  </a:cubicBezTo>
                  <a:lnTo>
                    <a:pt x="5380" y="2547"/>
                  </a:lnTo>
                  <a:close/>
                  <a:moveTo>
                    <a:pt x="5516" y="2721"/>
                  </a:moveTo>
                  <a:cubicBezTo>
                    <a:pt x="5491" y="2627"/>
                    <a:pt x="5374" y="2582"/>
                    <a:pt x="5374" y="2582"/>
                  </a:cubicBezTo>
                  <a:cubicBezTo>
                    <a:pt x="5314" y="2467"/>
                    <a:pt x="5200" y="2387"/>
                    <a:pt x="5200" y="2387"/>
                  </a:cubicBezTo>
                  <a:cubicBezTo>
                    <a:pt x="5200" y="2387"/>
                    <a:pt x="5135" y="2377"/>
                    <a:pt x="5040" y="2370"/>
                  </a:cubicBezTo>
                  <a:cubicBezTo>
                    <a:pt x="5036" y="2355"/>
                    <a:pt x="5033" y="2345"/>
                    <a:pt x="5028" y="2329"/>
                  </a:cubicBezTo>
                  <a:cubicBezTo>
                    <a:pt x="5019" y="2299"/>
                    <a:pt x="4987" y="2275"/>
                    <a:pt x="4955" y="2275"/>
                  </a:cubicBezTo>
                  <a:cubicBezTo>
                    <a:pt x="4770" y="2275"/>
                    <a:pt x="4770" y="2275"/>
                    <a:pt x="4770" y="2275"/>
                  </a:cubicBezTo>
                  <a:cubicBezTo>
                    <a:pt x="4738" y="2275"/>
                    <a:pt x="4705" y="2299"/>
                    <a:pt x="4697" y="2329"/>
                  </a:cubicBezTo>
                  <a:cubicBezTo>
                    <a:pt x="4692" y="2345"/>
                    <a:pt x="4689" y="2355"/>
                    <a:pt x="4685" y="2370"/>
                  </a:cubicBezTo>
                  <a:cubicBezTo>
                    <a:pt x="4589" y="2377"/>
                    <a:pt x="4525" y="2387"/>
                    <a:pt x="4525" y="2387"/>
                  </a:cubicBezTo>
                  <a:cubicBezTo>
                    <a:pt x="4525" y="2387"/>
                    <a:pt x="4411" y="2467"/>
                    <a:pt x="4351" y="2582"/>
                  </a:cubicBezTo>
                  <a:cubicBezTo>
                    <a:pt x="4351" y="2582"/>
                    <a:pt x="4234" y="2627"/>
                    <a:pt x="4209" y="2721"/>
                  </a:cubicBezTo>
                  <a:cubicBezTo>
                    <a:pt x="4209" y="2721"/>
                    <a:pt x="4190" y="2777"/>
                    <a:pt x="4190" y="2817"/>
                  </a:cubicBezTo>
                  <a:cubicBezTo>
                    <a:pt x="4190" y="2817"/>
                    <a:pt x="4177" y="2862"/>
                    <a:pt x="4177" y="2912"/>
                  </a:cubicBezTo>
                  <a:cubicBezTo>
                    <a:pt x="4177" y="3016"/>
                    <a:pt x="4228" y="3017"/>
                    <a:pt x="4228" y="3017"/>
                  </a:cubicBezTo>
                  <a:cubicBezTo>
                    <a:pt x="5497" y="3017"/>
                    <a:pt x="5497" y="3017"/>
                    <a:pt x="5497" y="3017"/>
                  </a:cubicBezTo>
                  <a:cubicBezTo>
                    <a:pt x="5497" y="3017"/>
                    <a:pt x="5548" y="3016"/>
                    <a:pt x="5548" y="2912"/>
                  </a:cubicBezTo>
                  <a:cubicBezTo>
                    <a:pt x="5548" y="2862"/>
                    <a:pt x="5535" y="2817"/>
                    <a:pt x="5535" y="2817"/>
                  </a:cubicBezTo>
                  <a:cubicBezTo>
                    <a:pt x="5535" y="2777"/>
                    <a:pt x="5516" y="2721"/>
                    <a:pt x="5516" y="2721"/>
                  </a:cubicBezTo>
                  <a:close/>
                  <a:moveTo>
                    <a:pt x="4400" y="2589"/>
                  </a:moveTo>
                  <a:cubicBezTo>
                    <a:pt x="4445" y="2503"/>
                    <a:pt x="4523" y="2442"/>
                    <a:pt x="4550" y="2423"/>
                  </a:cubicBezTo>
                  <a:cubicBezTo>
                    <a:pt x="4590" y="2417"/>
                    <a:pt x="4718" y="2404"/>
                    <a:pt x="4862" y="2404"/>
                  </a:cubicBezTo>
                  <a:cubicBezTo>
                    <a:pt x="5008" y="2404"/>
                    <a:pt x="5135" y="2417"/>
                    <a:pt x="5175" y="2423"/>
                  </a:cubicBezTo>
                  <a:cubicBezTo>
                    <a:pt x="5202" y="2441"/>
                    <a:pt x="5280" y="2503"/>
                    <a:pt x="5325" y="2589"/>
                  </a:cubicBezTo>
                  <a:cubicBezTo>
                    <a:pt x="5325" y="2591"/>
                    <a:pt x="5325" y="2591"/>
                    <a:pt x="5326" y="2592"/>
                  </a:cubicBezTo>
                  <a:cubicBezTo>
                    <a:pt x="5018" y="2561"/>
                    <a:pt x="4706" y="2561"/>
                    <a:pt x="4399" y="2592"/>
                  </a:cubicBezTo>
                  <a:cubicBezTo>
                    <a:pt x="4399" y="2591"/>
                    <a:pt x="4400" y="2591"/>
                    <a:pt x="4400" y="2589"/>
                  </a:cubicBezTo>
                  <a:close/>
                  <a:moveTo>
                    <a:pt x="4319" y="2852"/>
                  </a:moveTo>
                  <a:cubicBezTo>
                    <a:pt x="4301" y="2852"/>
                    <a:pt x="4287" y="2840"/>
                    <a:pt x="4287" y="2825"/>
                  </a:cubicBezTo>
                  <a:cubicBezTo>
                    <a:pt x="4287" y="2779"/>
                    <a:pt x="4287" y="2779"/>
                    <a:pt x="4287" y="2779"/>
                  </a:cubicBezTo>
                  <a:cubicBezTo>
                    <a:pt x="4287" y="2749"/>
                    <a:pt x="4315" y="2727"/>
                    <a:pt x="4350" y="2730"/>
                  </a:cubicBezTo>
                  <a:cubicBezTo>
                    <a:pt x="4465" y="2735"/>
                    <a:pt x="4465" y="2735"/>
                    <a:pt x="4465" y="2735"/>
                  </a:cubicBezTo>
                  <a:cubicBezTo>
                    <a:pt x="4500" y="2737"/>
                    <a:pt x="4535" y="2762"/>
                    <a:pt x="4544" y="2790"/>
                  </a:cubicBezTo>
                  <a:cubicBezTo>
                    <a:pt x="4564" y="2854"/>
                    <a:pt x="4564" y="2854"/>
                    <a:pt x="4564" y="2854"/>
                  </a:cubicBezTo>
                  <a:lnTo>
                    <a:pt x="4319" y="2852"/>
                  </a:lnTo>
                  <a:close/>
                  <a:moveTo>
                    <a:pt x="5049" y="2851"/>
                  </a:moveTo>
                  <a:cubicBezTo>
                    <a:pt x="4676" y="2851"/>
                    <a:pt x="4676" y="2851"/>
                    <a:pt x="4676" y="2851"/>
                  </a:cubicBezTo>
                  <a:cubicBezTo>
                    <a:pt x="4665" y="2851"/>
                    <a:pt x="4656" y="2843"/>
                    <a:pt x="4656" y="2834"/>
                  </a:cubicBezTo>
                  <a:cubicBezTo>
                    <a:pt x="4656" y="2824"/>
                    <a:pt x="4665" y="2816"/>
                    <a:pt x="4676" y="2816"/>
                  </a:cubicBezTo>
                  <a:cubicBezTo>
                    <a:pt x="5049" y="2816"/>
                    <a:pt x="5049" y="2816"/>
                    <a:pt x="5049" y="2816"/>
                  </a:cubicBezTo>
                  <a:cubicBezTo>
                    <a:pt x="5060" y="2816"/>
                    <a:pt x="5069" y="2824"/>
                    <a:pt x="5069" y="2834"/>
                  </a:cubicBezTo>
                  <a:cubicBezTo>
                    <a:pt x="5069" y="2843"/>
                    <a:pt x="5060" y="2851"/>
                    <a:pt x="5049" y="2851"/>
                  </a:cubicBezTo>
                  <a:close/>
                  <a:moveTo>
                    <a:pt x="5049" y="2787"/>
                  </a:moveTo>
                  <a:cubicBezTo>
                    <a:pt x="4676" y="2787"/>
                    <a:pt x="4676" y="2787"/>
                    <a:pt x="4676" y="2787"/>
                  </a:cubicBezTo>
                  <a:cubicBezTo>
                    <a:pt x="4665" y="2787"/>
                    <a:pt x="4656" y="2780"/>
                    <a:pt x="4656" y="2770"/>
                  </a:cubicBezTo>
                  <a:cubicBezTo>
                    <a:pt x="4656" y="2761"/>
                    <a:pt x="4665" y="2753"/>
                    <a:pt x="4676" y="2753"/>
                  </a:cubicBezTo>
                  <a:cubicBezTo>
                    <a:pt x="5049" y="2753"/>
                    <a:pt x="5049" y="2753"/>
                    <a:pt x="5049" y="2753"/>
                  </a:cubicBezTo>
                  <a:cubicBezTo>
                    <a:pt x="5060" y="2753"/>
                    <a:pt x="5069" y="2761"/>
                    <a:pt x="5069" y="2770"/>
                  </a:cubicBezTo>
                  <a:cubicBezTo>
                    <a:pt x="5069" y="2780"/>
                    <a:pt x="5060" y="2787"/>
                    <a:pt x="5049" y="2787"/>
                  </a:cubicBezTo>
                  <a:close/>
                  <a:moveTo>
                    <a:pt x="5438" y="2825"/>
                  </a:moveTo>
                  <a:cubicBezTo>
                    <a:pt x="5438" y="2840"/>
                    <a:pt x="5424" y="2852"/>
                    <a:pt x="5406" y="2852"/>
                  </a:cubicBezTo>
                  <a:cubicBezTo>
                    <a:pt x="5161" y="2854"/>
                    <a:pt x="5161" y="2854"/>
                    <a:pt x="5161" y="2854"/>
                  </a:cubicBezTo>
                  <a:cubicBezTo>
                    <a:pt x="5181" y="2790"/>
                    <a:pt x="5181" y="2790"/>
                    <a:pt x="5181" y="2790"/>
                  </a:cubicBezTo>
                  <a:cubicBezTo>
                    <a:pt x="5190" y="2762"/>
                    <a:pt x="5225" y="2737"/>
                    <a:pt x="5260" y="2735"/>
                  </a:cubicBezTo>
                  <a:cubicBezTo>
                    <a:pt x="5375" y="2730"/>
                    <a:pt x="5375" y="2730"/>
                    <a:pt x="5375" y="2730"/>
                  </a:cubicBezTo>
                  <a:cubicBezTo>
                    <a:pt x="5410" y="2727"/>
                    <a:pt x="5438" y="2749"/>
                    <a:pt x="5438" y="2779"/>
                  </a:cubicBezTo>
                  <a:lnTo>
                    <a:pt x="5438" y="2825"/>
                  </a:lnTo>
                  <a:close/>
                  <a:moveTo>
                    <a:pt x="5127" y="3107"/>
                  </a:moveTo>
                  <a:cubicBezTo>
                    <a:pt x="5127" y="3149"/>
                    <a:pt x="5167" y="3183"/>
                    <a:pt x="5217" y="3183"/>
                  </a:cubicBezTo>
                  <a:cubicBezTo>
                    <a:pt x="5344" y="3183"/>
                    <a:pt x="5344" y="3183"/>
                    <a:pt x="5344" y="3183"/>
                  </a:cubicBezTo>
                  <a:cubicBezTo>
                    <a:pt x="5393" y="3183"/>
                    <a:pt x="5434" y="3149"/>
                    <a:pt x="5434" y="3107"/>
                  </a:cubicBezTo>
                  <a:cubicBezTo>
                    <a:pt x="5434" y="3041"/>
                    <a:pt x="5434" y="3041"/>
                    <a:pt x="5434" y="3041"/>
                  </a:cubicBezTo>
                  <a:cubicBezTo>
                    <a:pt x="5127" y="3041"/>
                    <a:pt x="5127" y="3041"/>
                    <a:pt x="5127" y="3041"/>
                  </a:cubicBezTo>
                  <a:lnTo>
                    <a:pt x="5127" y="3107"/>
                  </a:lnTo>
                  <a:close/>
                  <a:moveTo>
                    <a:pt x="3398" y="1056"/>
                  </a:moveTo>
                  <a:cubicBezTo>
                    <a:pt x="3571" y="1096"/>
                    <a:pt x="3739" y="1172"/>
                    <a:pt x="3889" y="1287"/>
                  </a:cubicBezTo>
                  <a:cubicBezTo>
                    <a:pt x="4044" y="1405"/>
                    <a:pt x="4164" y="1552"/>
                    <a:pt x="4248" y="1715"/>
                  </a:cubicBezTo>
                  <a:cubicBezTo>
                    <a:pt x="4463" y="1598"/>
                    <a:pt x="4463" y="1598"/>
                    <a:pt x="4463" y="1598"/>
                  </a:cubicBezTo>
                  <a:cubicBezTo>
                    <a:pt x="4419" y="1746"/>
                    <a:pt x="4419" y="1746"/>
                    <a:pt x="4419" y="1746"/>
                  </a:cubicBezTo>
                  <a:cubicBezTo>
                    <a:pt x="4349" y="1981"/>
                    <a:pt x="4349" y="1981"/>
                    <a:pt x="4349" y="1981"/>
                  </a:cubicBezTo>
                  <a:cubicBezTo>
                    <a:pt x="4321" y="2077"/>
                    <a:pt x="4321" y="2077"/>
                    <a:pt x="4321" y="2077"/>
                  </a:cubicBezTo>
                  <a:cubicBezTo>
                    <a:pt x="4301" y="2143"/>
                    <a:pt x="4301" y="2143"/>
                    <a:pt x="4301" y="2143"/>
                  </a:cubicBezTo>
                  <a:cubicBezTo>
                    <a:pt x="4044" y="2066"/>
                    <a:pt x="4044" y="2066"/>
                    <a:pt x="4044" y="2066"/>
                  </a:cubicBezTo>
                  <a:cubicBezTo>
                    <a:pt x="4029" y="2062"/>
                    <a:pt x="4029" y="2062"/>
                    <a:pt x="4029" y="2062"/>
                  </a:cubicBezTo>
                  <a:cubicBezTo>
                    <a:pt x="3934" y="2033"/>
                    <a:pt x="3934" y="2033"/>
                    <a:pt x="3934" y="2033"/>
                  </a:cubicBezTo>
                  <a:cubicBezTo>
                    <a:pt x="3756" y="1980"/>
                    <a:pt x="3756" y="1980"/>
                    <a:pt x="3756" y="1980"/>
                  </a:cubicBezTo>
                  <a:cubicBezTo>
                    <a:pt x="3969" y="1865"/>
                    <a:pt x="3969" y="1865"/>
                    <a:pt x="3969" y="1865"/>
                  </a:cubicBezTo>
                  <a:cubicBezTo>
                    <a:pt x="3906" y="1741"/>
                    <a:pt x="3815" y="1629"/>
                    <a:pt x="3697" y="1539"/>
                  </a:cubicBezTo>
                  <a:cubicBezTo>
                    <a:pt x="3589" y="1457"/>
                    <a:pt x="3470" y="1401"/>
                    <a:pt x="3347" y="1370"/>
                  </a:cubicBezTo>
                  <a:lnTo>
                    <a:pt x="3398" y="1056"/>
                  </a:lnTo>
                  <a:close/>
                  <a:moveTo>
                    <a:pt x="1048" y="2193"/>
                  </a:moveTo>
                  <a:cubicBezTo>
                    <a:pt x="1083" y="2008"/>
                    <a:pt x="1159" y="1829"/>
                    <a:pt x="1279" y="1668"/>
                  </a:cubicBezTo>
                  <a:cubicBezTo>
                    <a:pt x="1379" y="1534"/>
                    <a:pt x="1500" y="1426"/>
                    <a:pt x="1635" y="1343"/>
                  </a:cubicBezTo>
                  <a:cubicBezTo>
                    <a:pt x="1519" y="1134"/>
                    <a:pt x="1519" y="1134"/>
                    <a:pt x="1519" y="1134"/>
                  </a:cubicBezTo>
                  <a:cubicBezTo>
                    <a:pt x="1678" y="1180"/>
                    <a:pt x="1678" y="1180"/>
                    <a:pt x="1678" y="1180"/>
                  </a:cubicBezTo>
                  <a:cubicBezTo>
                    <a:pt x="1864" y="1233"/>
                    <a:pt x="1864" y="1233"/>
                    <a:pt x="1864" y="1233"/>
                  </a:cubicBezTo>
                  <a:cubicBezTo>
                    <a:pt x="1970" y="1263"/>
                    <a:pt x="1970" y="1263"/>
                    <a:pt x="1970" y="1263"/>
                  </a:cubicBezTo>
                  <a:cubicBezTo>
                    <a:pt x="2065" y="1290"/>
                    <a:pt x="2065" y="1290"/>
                    <a:pt x="2065" y="1290"/>
                  </a:cubicBezTo>
                  <a:cubicBezTo>
                    <a:pt x="2000" y="1518"/>
                    <a:pt x="2000" y="1518"/>
                    <a:pt x="2000" y="1518"/>
                  </a:cubicBezTo>
                  <a:cubicBezTo>
                    <a:pt x="1999" y="1521"/>
                    <a:pt x="1999" y="1521"/>
                    <a:pt x="1999" y="1521"/>
                  </a:cubicBezTo>
                  <a:cubicBezTo>
                    <a:pt x="1928" y="1771"/>
                    <a:pt x="1928" y="1771"/>
                    <a:pt x="1928" y="1771"/>
                  </a:cubicBezTo>
                  <a:cubicBezTo>
                    <a:pt x="1909" y="1837"/>
                    <a:pt x="1909" y="1837"/>
                    <a:pt x="1909" y="1837"/>
                  </a:cubicBezTo>
                  <a:cubicBezTo>
                    <a:pt x="1789" y="1620"/>
                    <a:pt x="1789" y="1620"/>
                    <a:pt x="1789" y="1620"/>
                  </a:cubicBezTo>
                  <a:cubicBezTo>
                    <a:pt x="1692" y="1682"/>
                    <a:pt x="1605" y="1761"/>
                    <a:pt x="1532" y="1858"/>
                  </a:cubicBezTo>
                  <a:cubicBezTo>
                    <a:pt x="1444" y="1976"/>
                    <a:pt x="1387" y="2108"/>
                    <a:pt x="1360" y="2243"/>
                  </a:cubicBezTo>
                  <a:lnTo>
                    <a:pt x="1048" y="2193"/>
                  </a:lnTo>
                  <a:close/>
                  <a:moveTo>
                    <a:pt x="2138" y="4528"/>
                  </a:moveTo>
                  <a:cubicBezTo>
                    <a:pt x="1947" y="4493"/>
                    <a:pt x="1760" y="4413"/>
                    <a:pt x="1595" y="4287"/>
                  </a:cubicBezTo>
                  <a:cubicBezTo>
                    <a:pt x="1462" y="4185"/>
                    <a:pt x="1355" y="4062"/>
                    <a:pt x="1274" y="3926"/>
                  </a:cubicBezTo>
                  <a:cubicBezTo>
                    <a:pt x="1064" y="4040"/>
                    <a:pt x="1064" y="4040"/>
                    <a:pt x="1064" y="4040"/>
                  </a:cubicBezTo>
                  <a:cubicBezTo>
                    <a:pt x="1111" y="3881"/>
                    <a:pt x="1111" y="3881"/>
                    <a:pt x="1111" y="3881"/>
                  </a:cubicBezTo>
                  <a:cubicBezTo>
                    <a:pt x="1166" y="3696"/>
                    <a:pt x="1166" y="3696"/>
                    <a:pt x="1166" y="3696"/>
                  </a:cubicBezTo>
                  <a:cubicBezTo>
                    <a:pt x="1198" y="3590"/>
                    <a:pt x="1198" y="3590"/>
                    <a:pt x="1198" y="3590"/>
                  </a:cubicBezTo>
                  <a:cubicBezTo>
                    <a:pt x="1226" y="3496"/>
                    <a:pt x="1226" y="3496"/>
                    <a:pt x="1226" y="3496"/>
                  </a:cubicBezTo>
                  <a:cubicBezTo>
                    <a:pt x="1454" y="3563"/>
                    <a:pt x="1454" y="3563"/>
                    <a:pt x="1454" y="3563"/>
                  </a:cubicBezTo>
                  <a:cubicBezTo>
                    <a:pt x="1456" y="3564"/>
                    <a:pt x="1456" y="3564"/>
                    <a:pt x="1456" y="3564"/>
                  </a:cubicBezTo>
                  <a:cubicBezTo>
                    <a:pt x="1705" y="3639"/>
                    <a:pt x="1705" y="3639"/>
                    <a:pt x="1705" y="3639"/>
                  </a:cubicBezTo>
                  <a:cubicBezTo>
                    <a:pt x="1771" y="3658"/>
                    <a:pt x="1771" y="3658"/>
                    <a:pt x="1771" y="3658"/>
                  </a:cubicBezTo>
                  <a:cubicBezTo>
                    <a:pt x="1553" y="3776"/>
                    <a:pt x="1553" y="3776"/>
                    <a:pt x="1553" y="3776"/>
                  </a:cubicBezTo>
                  <a:cubicBezTo>
                    <a:pt x="1613" y="3873"/>
                    <a:pt x="1691" y="3962"/>
                    <a:pt x="1787" y="4035"/>
                  </a:cubicBezTo>
                  <a:cubicBezTo>
                    <a:pt x="1910" y="4128"/>
                    <a:pt x="2047" y="4188"/>
                    <a:pt x="2189" y="4215"/>
                  </a:cubicBezTo>
                  <a:lnTo>
                    <a:pt x="2138" y="4528"/>
                  </a:lnTo>
                  <a:close/>
                  <a:moveTo>
                    <a:pt x="4525" y="3453"/>
                  </a:moveTo>
                  <a:cubicBezTo>
                    <a:pt x="4486" y="3620"/>
                    <a:pt x="4413" y="3781"/>
                    <a:pt x="4305" y="3927"/>
                  </a:cubicBezTo>
                  <a:cubicBezTo>
                    <a:pt x="4188" y="4083"/>
                    <a:pt x="4043" y="4205"/>
                    <a:pt x="3881" y="4291"/>
                  </a:cubicBezTo>
                  <a:cubicBezTo>
                    <a:pt x="4000" y="4505"/>
                    <a:pt x="4000" y="4505"/>
                    <a:pt x="4000" y="4505"/>
                  </a:cubicBezTo>
                  <a:cubicBezTo>
                    <a:pt x="3852" y="4463"/>
                    <a:pt x="3852" y="4463"/>
                    <a:pt x="3852" y="4463"/>
                  </a:cubicBezTo>
                  <a:cubicBezTo>
                    <a:pt x="3616" y="4396"/>
                    <a:pt x="3616" y="4396"/>
                    <a:pt x="3616" y="4396"/>
                  </a:cubicBezTo>
                  <a:cubicBezTo>
                    <a:pt x="3520" y="4368"/>
                    <a:pt x="3520" y="4368"/>
                    <a:pt x="3520" y="4368"/>
                  </a:cubicBezTo>
                  <a:cubicBezTo>
                    <a:pt x="3454" y="4349"/>
                    <a:pt x="3454" y="4349"/>
                    <a:pt x="3454" y="4349"/>
                  </a:cubicBezTo>
                  <a:cubicBezTo>
                    <a:pt x="3527" y="4092"/>
                    <a:pt x="3527" y="4092"/>
                    <a:pt x="3527" y="4092"/>
                  </a:cubicBezTo>
                  <a:cubicBezTo>
                    <a:pt x="3532" y="4076"/>
                    <a:pt x="3532" y="4076"/>
                    <a:pt x="3532" y="4076"/>
                  </a:cubicBezTo>
                  <a:cubicBezTo>
                    <a:pt x="3559" y="3981"/>
                    <a:pt x="3559" y="3981"/>
                    <a:pt x="3559" y="3981"/>
                  </a:cubicBezTo>
                  <a:cubicBezTo>
                    <a:pt x="3610" y="3803"/>
                    <a:pt x="3610" y="3803"/>
                    <a:pt x="3610" y="3803"/>
                  </a:cubicBezTo>
                  <a:cubicBezTo>
                    <a:pt x="3727" y="4014"/>
                    <a:pt x="3727" y="4014"/>
                    <a:pt x="3727" y="4014"/>
                  </a:cubicBezTo>
                  <a:cubicBezTo>
                    <a:pt x="3851" y="3949"/>
                    <a:pt x="3962" y="3857"/>
                    <a:pt x="4051" y="3738"/>
                  </a:cubicBezTo>
                  <a:cubicBezTo>
                    <a:pt x="4128" y="3634"/>
                    <a:pt x="4181" y="3520"/>
                    <a:pt x="4212" y="3402"/>
                  </a:cubicBezTo>
                  <a:lnTo>
                    <a:pt x="4525" y="3453"/>
                  </a:lnTo>
                  <a:close/>
                  <a:moveTo>
                    <a:pt x="1826" y="2772"/>
                  </a:moveTo>
                  <a:cubicBezTo>
                    <a:pt x="1860" y="2816"/>
                    <a:pt x="1898" y="2862"/>
                    <a:pt x="1942" y="2903"/>
                  </a:cubicBezTo>
                  <a:cubicBezTo>
                    <a:pt x="1946" y="2907"/>
                    <a:pt x="1953" y="2910"/>
                    <a:pt x="1956" y="2917"/>
                  </a:cubicBezTo>
                  <a:cubicBezTo>
                    <a:pt x="1949" y="2931"/>
                    <a:pt x="1942" y="2945"/>
                    <a:pt x="1946" y="2962"/>
                  </a:cubicBezTo>
                  <a:cubicBezTo>
                    <a:pt x="1946" y="3000"/>
                    <a:pt x="1967" y="3035"/>
                    <a:pt x="2004" y="3052"/>
                  </a:cubicBezTo>
                  <a:cubicBezTo>
                    <a:pt x="1987" y="3156"/>
                    <a:pt x="1980" y="3242"/>
                    <a:pt x="1977" y="3308"/>
                  </a:cubicBezTo>
                  <a:cubicBezTo>
                    <a:pt x="1881" y="3156"/>
                    <a:pt x="1826" y="2986"/>
                    <a:pt x="1826" y="2813"/>
                  </a:cubicBezTo>
                  <a:cubicBezTo>
                    <a:pt x="1826" y="2799"/>
                    <a:pt x="1826" y="2785"/>
                    <a:pt x="1826" y="2772"/>
                  </a:cubicBezTo>
                  <a:moveTo>
                    <a:pt x="2111" y="3037"/>
                  </a:moveTo>
                  <a:cubicBezTo>
                    <a:pt x="2252" y="3134"/>
                    <a:pt x="2411" y="3210"/>
                    <a:pt x="2586" y="3258"/>
                  </a:cubicBezTo>
                  <a:cubicBezTo>
                    <a:pt x="2600" y="3262"/>
                    <a:pt x="2611" y="3265"/>
                    <a:pt x="2621" y="3269"/>
                  </a:cubicBezTo>
                  <a:cubicBezTo>
                    <a:pt x="2621" y="3272"/>
                    <a:pt x="2621" y="3272"/>
                    <a:pt x="2621" y="3275"/>
                  </a:cubicBezTo>
                  <a:cubicBezTo>
                    <a:pt x="2366" y="3393"/>
                    <a:pt x="2159" y="3424"/>
                    <a:pt x="2073" y="3431"/>
                  </a:cubicBezTo>
                  <a:cubicBezTo>
                    <a:pt x="2063" y="3417"/>
                    <a:pt x="2049" y="3400"/>
                    <a:pt x="2035" y="3386"/>
                  </a:cubicBezTo>
                  <a:cubicBezTo>
                    <a:pt x="2035" y="3324"/>
                    <a:pt x="2035" y="3206"/>
                    <a:pt x="2063" y="3057"/>
                  </a:cubicBezTo>
                  <a:cubicBezTo>
                    <a:pt x="2080" y="3057"/>
                    <a:pt x="2097" y="3051"/>
                    <a:pt x="2111" y="3037"/>
                  </a:cubicBezTo>
                  <a:moveTo>
                    <a:pt x="2547" y="2192"/>
                  </a:moveTo>
                  <a:cubicBezTo>
                    <a:pt x="2664" y="2192"/>
                    <a:pt x="2781" y="2199"/>
                    <a:pt x="2894" y="2220"/>
                  </a:cubicBezTo>
                  <a:cubicBezTo>
                    <a:pt x="2939" y="2227"/>
                    <a:pt x="2987" y="2237"/>
                    <a:pt x="3032" y="2248"/>
                  </a:cubicBezTo>
                  <a:cubicBezTo>
                    <a:pt x="3035" y="2279"/>
                    <a:pt x="3052" y="2310"/>
                    <a:pt x="3083" y="2328"/>
                  </a:cubicBezTo>
                  <a:cubicBezTo>
                    <a:pt x="3049" y="2512"/>
                    <a:pt x="2994" y="2690"/>
                    <a:pt x="2918" y="2857"/>
                  </a:cubicBezTo>
                  <a:cubicBezTo>
                    <a:pt x="2870" y="2965"/>
                    <a:pt x="2815" y="3070"/>
                    <a:pt x="2750" y="3171"/>
                  </a:cubicBezTo>
                  <a:cubicBezTo>
                    <a:pt x="2743" y="3167"/>
                    <a:pt x="2732" y="3164"/>
                    <a:pt x="2722" y="3164"/>
                  </a:cubicBezTo>
                  <a:cubicBezTo>
                    <a:pt x="2691" y="3164"/>
                    <a:pt x="2657" y="3181"/>
                    <a:pt x="2640" y="3209"/>
                  </a:cubicBezTo>
                  <a:cubicBezTo>
                    <a:pt x="2629" y="3206"/>
                    <a:pt x="2616" y="3202"/>
                    <a:pt x="2605" y="3202"/>
                  </a:cubicBezTo>
                  <a:cubicBezTo>
                    <a:pt x="2433" y="3154"/>
                    <a:pt x="2278" y="3080"/>
                    <a:pt x="2144" y="2986"/>
                  </a:cubicBezTo>
                  <a:cubicBezTo>
                    <a:pt x="2148" y="2979"/>
                    <a:pt x="2148" y="2969"/>
                    <a:pt x="2148" y="2958"/>
                  </a:cubicBezTo>
                  <a:cubicBezTo>
                    <a:pt x="2148" y="2927"/>
                    <a:pt x="2131" y="2896"/>
                    <a:pt x="2103" y="2875"/>
                  </a:cubicBezTo>
                  <a:cubicBezTo>
                    <a:pt x="2134" y="2753"/>
                    <a:pt x="2175" y="2638"/>
                    <a:pt x="2227" y="2530"/>
                  </a:cubicBezTo>
                  <a:cubicBezTo>
                    <a:pt x="2272" y="2439"/>
                    <a:pt x="2323" y="2349"/>
                    <a:pt x="2385" y="2262"/>
                  </a:cubicBezTo>
                  <a:cubicBezTo>
                    <a:pt x="2392" y="2262"/>
                    <a:pt x="2402" y="2265"/>
                    <a:pt x="2409" y="2265"/>
                  </a:cubicBezTo>
                  <a:cubicBezTo>
                    <a:pt x="2409" y="2265"/>
                    <a:pt x="2409" y="2265"/>
                    <a:pt x="2413" y="2265"/>
                  </a:cubicBezTo>
                  <a:cubicBezTo>
                    <a:pt x="2454" y="2265"/>
                    <a:pt x="2495" y="2234"/>
                    <a:pt x="2505" y="2192"/>
                  </a:cubicBezTo>
                  <a:cubicBezTo>
                    <a:pt x="2509" y="2192"/>
                    <a:pt x="2509" y="2192"/>
                    <a:pt x="2512" y="2192"/>
                  </a:cubicBezTo>
                  <a:cubicBezTo>
                    <a:pt x="2523" y="2192"/>
                    <a:pt x="2536" y="2192"/>
                    <a:pt x="2547" y="2192"/>
                  </a:cubicBezTo>
                  <a:moveTo>
                    <a:pt x="2320" y="2204"/>
                  </a:moveTo>
                  <a:cubicBezTo>
                    <a:pt x="2324" y="2215"/>
                    <a:pt x="2330" y="2225"/>
                    <a:pt x="2337" y="2232"/>
                  </a:cubicBezTo>
                  <a:cubicBezTo>
                    <a:pt x="2275" y="2323"/>
                    <a:pt x="2220" y="2414"/>
                    <a:pt x="2175" y="2509"/>
                  </a:cubicBezTo>
                  <a:cubicBezTo>
                    <a:pt x="2124" y="2621"/>
                    <a:pt x="2079" y="2740"/>
                    <a:pt x="2045" y="2866"/>
                  </a:cubicBezTo>
                  <a:cubicBezTo>
                    <a:pt x="2031" y="2866"/>
                    <a:pt x="2014" y="2869"/>
                    <a:pt x="2000" y="2876"/>
                  </a:cubicBezTo>
                  <a:cubicBezTo>
                    <a:pt x="1910" y="2792"/>
                    <a:pt x="1862" y="2719"/>
                    <a:pt x="1838" y="2680"/>
                  </a:cubicBezTo>
                  <a:cubicBezTo>
                    <a:pt x="1859" y="2533"/>
                    <a:pt x="1924" y="2386"/>
                    <a:pt x="2017" y="2257"/>
                  </a:cubicBezTo>
                  <a:cubicBezTo>
                    <a:pt x="2072" y="2243"/>
                    <a:pt x="2179" y="2218"/>
                    <a:pt x="2320" y="2204"/>
                  </a:cubicBezTo>
                  <a:moveTo>
                    <a:pt x="3590" y="2285"/>
                  </a:moveTo>
                  <a:cubicBezTo>
                    <a:pt x="3636" y="2344"/>
                    <a:pt x="3671" y="2410"/>
                    <a:pt x="3700" y="2476"/>
                  </a:cubicBezTo>
                  <a:cubicBezTo>
                    <a:pt x="3679" y="2462"/>
                    <a:pt x="3657" y="2448"/>
                    <a:pt x="3632" y="2437"/>
                  </a:cubicBezTo>
                  <a:cubicBezTo>
                    <a:pt x="3636" y="2430"/>
                    <a:pt x="3636" y="2423"/>
                    <a:pt x="3636" y="2413"/>
                  </a:cubicBezTo>
                  <a:cubicBezTo>
                    <a:pt x="3632" y="2378"/>
                    <a:pt x="3615" y="2347"/>
                    <a:pt x="3583" y="2330"/>
                  </a:cubicBezTo>
                  <a:cubicBezTo>
                    <a:pt x="3586" y="2312"/>
                    <a:pt x="3590" y="2298"/>
                    <a:pt x="3590" y="2285"/>
                  </a:cubicBezTo>
                  <a:moveTo>
                    <a:pt x="3174" y="1921"/>
                  </a:moveTo>
                  <a:cubicBezTo>
                    <a:pt x="3312" y="1991"/>
                    <a:pt x="3436" y="2097"/>
                    <a:pt x="3540" y="2220"/>
                  </a:cubicBezTo>
                  <a:cubicBezTo>
                    <a:pt x="3536" y="2244"/>
                    <a:pt x="3533" y="2276"/>
                    <a:pt x="3522" y="2318"/>
                  </a:cubicBezTo>
                  <a:cubicBezTo>
                    <a:pt x="3498" y="2318"/>
                    <a:pt x="3474" y="2329"/>
                    <a:pt x="3457" y="2346"/>
                  </a:cubicBezTo>
                  <a:cubicBezTo>
                    <a:pt x="3381" y="2311"/>
                    <a:pt x="3305" y="2276"/>
                    <a:pt x="3226" y="2248"/>
                  </a:cubicBezTo>
                  <a:cubicBezTo>
                    <a:pt x="3226" y="2248"/>
                    <a:pt x="3226" y="2248"/>
                    <a:pt x="3226" y="2248"/>
                  </a:cubicBezTo>
                  <a:cubicBezTo>
                    <a:pt x="3226" y="2205"/>
                    <a:pt x="3201" y="2167"/>
                    <a:pt x="3163" y="2153"/>
                  </a:cubicBezTo>
                  <a:cubicBezTo>
                    <a:pt x="3170" y="2072"/>
                    <a:pt x="3174" y="1995"/>
                    <a:pt x="3174" y="1921"/>
                  </a:cubicBezTo>
                  <a:moveTo>
                    <a:pt x="2676" y="1834"/>
                  </a:moveTo>
                  <a:cubicBezTo>
                    <a:pt x="2621" y="1887"/>
                    <a:pt x="2541" y="1967"/>
                    <a:pt x="2458" y="2068"/>
                  </a:cubicBezTo>
                  <a:cubicBezTo>
                    <a:pt x="2447" y="2061"/>
                    <a:pt x="2433" y="2061"/>
                    <a:pt x="2419" y="2061"/>
                  </a:cubicBezTo>
                  <a:cubicBezTo>
                    <a:pt x="2416" y="2061"/>
                    <a:pt x="2416" y="2061"/>
                    <a:pt x="2416" y="2061"/>
                  </a:cubicBezTo>
                  <a:cubicBezTo>
                    <a:pt x="2367" y="2061"/>
                    <a:pt x="2329" y="2096"/>
                    <a:pt x="2315" y="2141"/>
                  </a:cubicBezTo>
                  <a:cubicBezTo>
                    <a:pt x="2215" y="2152"/>
                    <a:pt x="2131" y="2169"/>
                    <a:pt x="2072" y="2180"/>
                  </a:cubicBezTo>
                  <a:cubicBezTo>
                    <a:pt x="2235" y="1995"/>
                    <a:pt x="2451" y="1869"/>
                    <a:pt x="2676" y="1834"/>
                  </a:cubicBezTo>
                  <a:moveTo>
                    <a:pt x="2793" y="1828"/>
                  </a:moveTo>
                  <a:cubicBezTo>
                    <a:pt x="2904" y="1828"/>
                    <a:pt x="3014" y="1849"/>
                    <a:pt x="3117" y="1895"/>
                  </a:cubicBezTo>
                  <a:cubicBezTo>
                    <a:pt x="3120" y="1977"/>
                    <a:pt x="3117" y="2058"/>
                    <a:pt x="3107" y="2146"/>
                  </a:cubicBezTo>
                  <a:cubicBezTo>
                    <a:pt x="3079" y="2150"/>
                    <a:pt x="3055" y="2167"/>
                    <a:pt x="3041" y="2192"/>
                  </a:cubicBezTo>
                  <a:cubicBezTo>
                    <a:pt x="2996" y="2181"/>
                    <a:pt x="2948" y="2171"/>
                    <a:pt x="2900" y="2164"/>
                  </a:cubicBezTo>
                  <a:cubicBezTo>
                    <a:pt x="2787" y="2143"/>
                    <a:pt x="2670" y="2135"/>
                    <a:pt x="2553" y="2135"/>
                  </a:cubicBezTo>
                  <a:cubicBezTo>
                    <a:pt x="2539" y="2135"/>
                    <a:pt x="2525" y="2135"/>
                    <a:pt x="2511" y="2135"/>
                  </a:cubicBezTo>
                  <a:cubicBezTo>
                    <a:pt x="2508" y="2135"/>
                    <a:pt x="2508" y="2135"/>
                    <a:pt x="2508" y="2135"/>
                  </a:cubicBezTo>
                  <a:cubicBezTo>
                    <a:pt x="2504" y="2128"/>
                    <a:pt x="2501" y="2118"/>
                    <a:pt x="2498" y="2111"/>
                  </a:cubicBezTo>
                  <a:cubicBezTo>
                    <a:pt x="2618" y="1962"/>
                    <a:pt x="2728" y="1867"/>
                    <a:pt x="2769" y="1828"/>
                  </a:cubicBezTo>
                  <a:cubicBezTo>
                    <a:pt x="2776" y="1828"/>
                    <a:pt x="2787" y="1828"/>
                    <a:pt x="2793" y="1828"/>
                  </a:cubicBezTo>
                  <a:cubicBezTo>
                    <a:pt x="2793" y="1828"/>
                    <a:pt x="2793" y="1828"/>
                    <a:pt x="2793" y="1828"/>
                  </a:cubicBezTo>
                  <a:moveTo>
                    <a:pt x="3605" y="2488"/>
                  </a:moveTo>
                  <a:cubicBezTo>
                    <a:pt x="3660" y="2519"/>
                    <a:pt x="3702" y="2547"/>
                    <a:pt x="3729" y="2568"/>
                  </a:cubicBezTo>
                  <a:cubicBezTo>
                    <a:pt x="3733" y="2586"/>
                    <a:pt x="3740" y="2603"/>
                    <a:pt x="3743" y="2620"/>
                  </a:cubicBezTo>
                  <a:cubicBezTo>
                    <a:pt x="3726" y="2701"/>
                    <a:pt x="3650" y="2955"/>
                    <a:pt x="3464" y="3207"/>
                  </a:cubicBezTo>
                  <a:cubicBezTo>
                    <a:pt x="3453" y="3203"/>
                    <a:pt x="3439" y="3203"/>
                    <a:pt x="3429" y="3203"/>
                  </a:cubicBezTo>
                  <a:cubicBezTo>
                    <a:pt x="3426" y="3203"/>
                    <a:pt x="3426" y="3203"/>
                    <a:pt x="3426" y="3203"/>
                  </a:cubicBezTo>
                  <a:cubicBezTo>
                    <a:pt x="3381" y="3203"/>
                    <a:pt x="3339" y="3234"/>
                    <a:pt x="3329" y="3280"/>
                  </a:cubicBezTo>
                  <a:cubicBezTo>
                    <a:pt x="3305" y="3280"/>
                    <a:pt x="3284" y="3283"/>
                    <a:pt x="3260" y="3283"/>
                  </a:cubicBezTo>
                  <a:cubicBezTo>
                    <a:pt x="3243" y="3283"/>
                    <a:pt x="3225" y="3283"/>
                    <a:pt x="3208" y="3283"/>
                  </a:cubicBezTo>
                  <a:cubicBezTo>
                    <a:pt x="3077" y="3283"/>
                    <a:pt x="2949" y="3273"/>
                    <a:pt x="2822" y="3248"/>
                  </a:cubicBezTo>
                  <a:cubicBezTo>
                    <a:pt x="2822" y="3248"/>
                    <a:pt x="2822" y="3245"/>
                    <a:pt x="2818" y="3245"/>
                  </a:cubicBezTo>
                  <a:cubicBezTo>
                    <a:pt x="2904" y="3196"/>
                    <a:pt x="2984" y="3144"/>
                    <a:pt x="3060" y="3084"/>
                  </a:cubicBezTo>
                  <a:cubicBezTo>
                    <a:pt x="3329" y="2886"/>
                    <a:pt x="3464" y="2666"/>
                    <a:pt x="3526" y="2512"/>
                  </a:cubicBezTo>
                  <a:cubicBezTo>
                    <a:pt x="3532" y="2512"/>
                    <a:pt x="3536" y="2512"/>
                    <a:pt x="3539" y="2512"/>
                  </a:cubicBezTo>
                  <a:cubicBezTo>
                    <a:pt x="3567" y="2512"/>
                    <a:pt x="3588" y="2502"/>
                    <a:pt x="3605" y="2488"/>
                  </a:cubicBezTo>
                  <a:moveTo>
                    <a:pt x="2815" y="3308"/>
                  </a:moveTo>
                  <a:cubicBezTo>
                    <a:pt x="2942" y="3332"/>
                    <a:pt x="3069" y="3343"/>
                    <a:pt x="3199" y="3343"/>
                  </a:cubicBezTo>
                  <a:cubicBezTo>
                    <a:pt x="3220" y="3343"/>
                    <a:pt x="3237" y="3343"/>
                    <a:pt x="3254" y="3343"/>
                  </a:cubicBezTo>
                  <a:cubicBezTo>
                    <a:pt x="3278" y="3339"/>
                    <a:pt x="3302" y="3339"/>
                    <a:pt x="3326" y="3339"/>
                  </a:cubicBezTo>
                  <a:cubicBezTo>
                    <a:pt x="3329" y="3346"/>
                    <a:pt x="3329" y="3353"/>
                    <a:pt x="3336" y="3357"/>
                  </a:cubicBezTo>
                  <a:cubicBezTo>
                    <a:pt x="3082" y="3629"/>
                    <a:pt x="2788" y="3755"/>
                    <a:pt x="2699" y="3783"/>
                  </a:cubicBezTo>
                  <a:cubicBezTo>
                    <a:pt x="2592" y="3772"/>
                    <a:pt x="2486" y="3737"/>
                    <a:pt x="2387" y="3685"/>
                  </a:cubicBezTo>
                  <a:cubicBezTo>
                    <a:pt x="2452" y="3633"/>
                    <a:pt x="2565" y="3528"/>
                    <a:pt x="2688" y="3364"/>
                  </a:cubicBezTo>
                  <a:cubicBezTo>
                    <a:pt x="2699" y="3367"/>
                    <a:pt x="2712" y="3371"/>
                    <a:pt x="2723" y="3371"/>
                  </a:cubicBezTo>
                  <a:cubicBezTo>
                    <a:pt x="2723" y="3371"/>
                    <a:pt x="2723" y="3371"/>
                    <a:pt x="2723" y="3371"/>
                  </a:cubicBezTo>
                  <a:cubicBezTo>
                    <a:pt x="2764" y="3371"/>
                    <a:pt x="2798" y="3346"/>
                    <a:pt x="2815" y="3308"/>
                  </a:cubicBezTo>
                  <a:moveTo>
                    <a:pt x="3758" y="2765"/>
                  </a:moveTo>
                  <a:cubicBezTo>
                    <a:pt x="3761" y="2779"/>
                    <a:pt x="3761" y="2797"/>
                    <a:pt x="3761" y="2811"/>
                  </a:cubicBezTo>
                  <a:cubicBezTo>
                    <a:pt x="3761" y="2961"/>
                    <a:pt x="3721" y="3108"/>
                    <a:pt x="3645" y="3244"/>
                  </a:cubicBezTo>
                  <a:cubicBezTo>
                    <a:pt x="3618" y="3251"/>
                    <a:pt x="3574" y="3258"/>
                    <a:pt x="3519" y="3265"/>
                  </a:cubicBezTo>
                  <a:cubicBezTo>
                    <a:pt x="3516" y="3258"/>
                    <a:pt x="3512" y="3251"/>
                    <a:pt x="3509" y="3247"/>
                  </a:cubicBezTo>
                  <a:cubicBezTo>
                    <a:pt x="3635" y="3073"/>
                    <a:pt x="3717" y="2895"/>
                    <a:pt x="3758" y="2765"/>
                  </a:cubicBezTo>
                  <a:moveTo>
                    <a:pt x="3607" y="3308"/>
                  </a:moveTo>
                  <a:cubicBezTo>
                    <a:pt x="3432" y="3578"/>
                    <a:pt x="3142" y="3771"/>
                    <a:pt x="2843" y="3789"/>
                  </a:cubicBezTo>
                  <a:cubicBezTo>
                    <a:pt x="2974" y="3726"/>
                    <a:pt x="3191" y="3599"/>
                    <a:pt x="3380" y="3396"/>
                  </a:cubicBezTo>
                  <a:cubicBezTo>
                    <a:pt x="3390" y="3399"/>
                    <a:pt x="3404" y="3403"/>
                    <a:pt x="3415" y="3403"/>
                  </a:cubicBezTo>
                  <a:cubicBezTo>
                    <a:pt x="3418" y="3403"/>
                    <a:pt x="3418" y="3403"/>
                    <a:pt x="3418" y="3403"/>
                  </a:cubicBezTo>
                  <a:cubicBezTo>
                    <a:pt x="3466" y="3403"/>
                    <a:pt x="3508" y="3368"/>
                    <a:pt x="3518" y="3322"/>
                  </a:cubicBezTo>
                  <a:cubicBezTo>
                    <a:pt x="3549" y="3315"/>
                    <a:pt x="3580" y="3311"/>
                    <a:pt x="3607" y="3308"/>
                  </a:cubicBezTo>
                  <a:moveTo>
                    <a:pt x="3215" y="2303"/>
                  </a:moveTo>
                  <a:cubicBezTo>
                    <a:pt x="3288" y="2331"/>
                    <a:pt x="3364" y="2362"/>
                    <a:pt x="3437" y="2397"/>
                  </a:cubicBezTo>
                  <a:cubicBezTo>
                    <a:pt x="3437" y="2404"/>
                    <a:pt x="3437" y="2408"/>
                    <a:pt x="3437" y="2415"/>
                  </a:cubicBezTo>
                  <a:cubicBezTo>
                    <a:pt x="3437" y="2442"/>
                    <a:pt x="3451" y="2470"/>
                    <a:pt x="3472" y="2491"/>
                  </a:cubicBezTo>
                  <a:cubicBezTo>
                    <a:pt x="3385" y="2704"/>
                    <a:pt x="3232" y="2889"/>
                    <a:pt x="3024" y="3042"/>
                  </a:cubicBezTo>
                  <a:cubicBezTo>
                    <a:pt x="2958" y="3091"/>
                    <a:pt x="2885" y="3137"/>
                    <a:pt x="2812" y="3178"/>
                  </a:cubicBezTo>
                  <a:cubicBezTo>
                    <a:pt x="2871" y="3088"/>
                    <a:pt x="2923" y="2990"/>
                    <a:pt x="2972" y="2885"/>
                  </a:cubicBezTo>
                  <a:cubicBezTo>
                    <a:pt x="3048" y="2715"/>
                    <a:pt x="3104" y="2533"/>
                    <a:pt x="3138" y="2345"/>
                  </a:cubicBezTo>
                  <a:cubicBezTo>
                    <a:pt x="3170" y="2345"/>
                    <a:pt x="3197" y="2327"/>
                    <a:pt x="3215" y="2303"/>
                  </a:cubicBezTo>
                  <a:moveTo>
                    <a:pt x="2633" y="3339"/>
                  </a:moveTo>
                  <a:cubicBezTo>
                    <a:pt x="2499" y="3508"/>
                    <a:pt x="2382" y="3609"/>
                    <a:pt x="2331" y="3647"/>
                  </a:cubicBezTo>
                  <a:cubicBezTo>
                    <a:pt x="2258" y="3602"/>
                    <a:pt x="2190" y="3550"/>
                    <a:pt x="2128" y="3488"/>
                  </a:cubicBezTo>
                  <a:cubicBezTo>
                    <a:pt x="2227" y="3474"/>
                    <a:pt x="2413" y="3436"/>
                    <a:pt x="2633" y="3339"/>
                  </a:cubicBezTo>
                  <a:moveTo>
                    <a:pt x="3018" y="0"/>
                  </a:moveTo>
                  <a:cubicBezTo>
                    <a:pt x="2513" y="0"/>
                    <a:pt x="2513" y="0"/>
                    <a:pt x="2513" y="0"/>
                  </a:cubicBezTo>
                  <a:cubicBezTo>
                    <a:pt x="2456" y="0"/>
                    <a:pt x="2409" y="47"/>
                    <a:pt x="2409" y="103"/>
                  </a:cubicBezTo>
                  <a:cubicBezTo>
                    <a:pt x="2409" y="1416"/>
                    <a:pt x="2409" y="1416"/>
                    <a:pt x="2409" y="1416"/>
                  </a:cubicBezTo>
                  <a:cubicBezTo>
                    <a:pt x="2409" y="1473"/>
                    <a:pt x="2456" y="1519"/>
                    <a:pt x="2513" y="1519"/>
                  </a:cubicBezTo>
                  <a:cubicBezTo>
                    <a:pt x="3018" y="1519"/>
                    <a:pt x="3018" y="1519"/>
                    <a:pt x="3018" y="1519"/>
                  </a:cubicBezTo>
                  <a:cubicBezTo>
                    <a:pt x="3076" y="1519"/>
                    <a:pt x="3121" y="1473"/>
                    <a:pt x="3121" y="1416"/>
                  </a:cubicBezTo>
                  <a:cubicBezTo>
                    <a:pt x="3121" y="103"/>
                    <a:pt x="3121" y="103"/>
                    <a:pt x="3121" y="103"/>
                  </a:cubicBezTo>
                  <a:cubicBezTo>
                    <a:pt x="3121" y="47"/>
                    <a:pt x="3076" y="0"/>
                    <a:pt x="3018" y="0"/>
                  </a:cubicBezTo>
                  <a:close/>
                  <a:moveTo>
                    <a:pt x="2582" y="1368"/>
                  </a:moveTo>
                  <a:cubicBezTo>
                    <a:pt x="2546" y="1368"/>
                    <a:pt x="2546" y="1368"/>
                    <a:pt x="2546" y="1368"/>
                  </a:cubicBezTo>
                  <a:cubicBezTo>
                    <a:pt x="2517" y="1368"/>
                    <a:pt x="2492" y="1352"/>
                    <a:pt x="2492" y="1332"/>
                  </a:cubicBezTo>
                  <a:cubicBezTo>
                    <a:pt x="2492" y="1309"/>
                    <a:pt x="2492" y="1309"/>
                    <a:pt x="2492" y="1309"/>
                  </a:cubicBezTo>
                  <a:cubicBezTo>
                    <a:pt x="2492" y="1290"/>
                    <a:pt x="2517" y="1275"/>
                    <a:pt x="2546" y="1275"/>
                  </a:cubicBezTo>
                  <a:cubicBezTo>
                    <a:pt x="2582" y="1275"/>
                    <a:pt x="2582" y="1275"/>
                    <a:pt x="2582" y="1275"/>
                  </a:cubicBezTo>
                  <a:cubicBezTo>
                    <a:pt x="2612" y="1275"/>
                    <a:pt x="2636" y="1290"/>
                    <a:pt x="2636" y="1309"/>
                  </a:cubicBezTo>
                  <a:cubicBezTo>
                    <a:pt x="2636" y="1332"/>
                    <a:pt x="2636" y="1332"/>
                    <a:pt x="2636" y="1332"/>
                  </a:cubicBezTo>
                  <a:cubicBezTo>
                    <a:pt x="2636" y="1352"/>
                    <a:pt x="2612" y="1368"/>
                    <a:pt x="2582" y="1368"/>
                  </a:cubicBezTo>
                  <a:close/>
                  <a:moveTo>
                    <a:pt x="2783" y="1253"/>
                  </a:moveTo>
                  <a:cubicBezTo>
                    <a:pt x="2747" y="1253"/>
                    <a:pt x="2747" y="1253"/>
                    <a:pt x="2747" y="1253"/>
                  </a:cubicBezTo>
                  <a:cubicBezTo>
                    <a:pt x="2718" y="1253"/>
                    <a:pt x="2693" y="1238"/>
                    <a:pt x="2693" y="1218"/>
                  </a:cubicBezTo>
                  <a:cubicBezTo>
                    <a:pt x="2693" y="1195"/>
                    <a:pt x="2693" y="1195"/>
                    <a:pt x="2693" y="1195"/>
                  </a:cubicBezTo>
                  <a:cubicBezTo>
                    <a:pt x="2693" y="1176"/>
                    <a:pt x="2718" y="1160"/>
                    <a:pt x="2747" y="1160"/>
                  </a:cubicBezTo>
                  <a:cubicBezTo>
                    <a:pt x="2783" y="1160"/>
                    <a:pt x="2783" y="1160"/>
                    <a:pt x="2783" y="1160"/>
                  </a:cubicBezTo>
                  <a:cubicBezTo>
                    <a:pt x="2813" y="1160"/>
                    <a:pt x="2837" y="1176"/>
                    <a:pt x="2837" y="1195"/>
                  </a:cubicBezTo>
                  <a:cubicBezTo>
                    <a:pt x="2837" y="1218"/>
                    <a:pt x="2837" y="1218"/>
                    <a:pt x="2837" y="1218"/>
                  </a:cubicBezTo>
                  <a:cubicBezTo>
                    <a:pt x="2837" y="1238"/>
                    <a:pt x="2813" y="1253"/>
                    <a:pt x="2783" y="1253"/>
                  </a:cubicBezTo>
                  <a:close/>
                  <a:moveTo>
                    <a:pt x="2837" y="1309"/>
                  </a:moveTo>
                  <a:cubicBezTo>
                    <a:pt x="2837" y="1332"/>
                    <a:pt x="2837" y="1332"/>
                    <a:pt x="2837" y="1332"/>
                  </a:cubicBezTo>
                  <a:cubicBezTo>
                    <a:pt x="2837" y="1352"/>
                    <a:pt x="2813" y="1368"/>
                    <a:pt x="2783" y="1368"/>
                  </a:cubicBezTo>
                  <a:cubicBezTo>
                    <a:pt x="2747" y="1368"/>
                    <a:pt x="2747" y="1368"/>
                    <a:pt x="2747" y="1368"/>
                  </a:cubicBezTo>
                  <a:cubicBezTo>
                    <a:pt x="2718" y="1368"/>
                    <a:pt x="2693" y="1352"/>
                    <a:pt x="2693" y="1332"/>
                  </a:cubicBezTo>
                  <a:cubicBezTo>
                    <a:pt x="2693" y="1309"/>
                    <a:pt x="2693" y="1309"/>
                    <a:pt x="2693" y="1309"/>
                  </a:cubicBezTo>
                  <a:cubicBezTo>
                    <a:pt x="2693" y="1290"/>
                    <a:pt x="2718" y="1275"/>
                    <a:pt x="2747" y="1275"/>
                  </a:cubicBezTo>
                  <a:cubicBezTo>
                    <a:pt x="2783" y="1275"/>
                    <a:pt x="2783" y="1275"/>
                    <a:pt x="2783" y="1275"/>
                  </a:cubicBezTo>
                  <a:cubicBezTo>
                    <a:pt x="2813" y="1275"/>
                    <a:pt x="2837" y="1290"/>
                    <a:pt x="2837" y="1309"/>
                  </a:cubicBezTo>
                  <a:close/>
                  <a:moveTo>
                    <a:pt x="2783" y="1138"/>
                  </a:moveTo>
                  <a:cubicBezTo>
                    <a:pt x="2747" y="1138"/>
                    <a:pt x="2747" y="1138"/>
                    <a:pt x="2747" y="1138"/>
                  </a:cubicBezTo>
                  <a:cubicBezTo>
                    <a:pt x="2718" y="1138"/>
                    <a:pt x="2693" y="1122"/>
                    <a:pt x="2693" y="1103"/>
                  </a:cubicBezTo>
                  <a:cubicBezTo>
                    <a:pt x="2693" y="1080"/>
                    <a:pt x="2693" y="1080"/>
                    <a:pt x="2693" y="1080"/>
                  </a:cubicBezTo>
                  <a:cubicBezTo>
                    <a:pt x="2693" y="1060"/>
                    <a:pt x="2718" y="1045"/>
                    <a:pt x="2747" y="1045"/>
                  </a:cubicBezTo>
                  <a:cubicBezTo>
                    <a:pt x="2783" y="1045"/>
                    <a:pt x="2783" y="1045"/>
                    <a:pt x="2783" y="1045"/>
                  </a:cubicBezTo>
                  <a:cubicBezTo>
                    <a:pt x="2813" y="1045"/>
                    <a:pt x="2837" y="1060"/>
                    <a:pt x="2837" y="1080"/>
                  </a:cubicBezTo>
                  <a:cubicBezTo>
                    <a:pt x="2837" y="1103"/>
                    <a:pt x="2837" y="1103"/>
                    <a:pt x="2837" y="1103"/>
                  </a:cubicBezTo>
                  <a:cubicBezTo>
                    <a:pt x="2837" y="1122"/>
                    <a:pt x="2813" y="1138"/>
                    <a:pt x="2783" y="1138"/>
                  </a:cubicBezTo>
                  <a:close/>
                  <a:moveTo>
                    <a:pt x="2783" y="1023"/>
                  </a:moveTo>
                  <a:cubicBezTo>
                    <a:pt x="2747" y="1023"/>
                    <a:pt x="2747" y="1023"/>
                    <a:pt x="2747" y="1023"/>
                  </a:cubicBezTo>
                  <a:cubicBezTo>
                    <a:pt x="2718" y="1023"/>
                    <a:pt x="2693" y="1008"/>
                    <a:pt x="2693" y="988"/>
                  </a:cubicBezTo>
                  <a:cubicBezTo>
                    <a:pt x="2693" y="965"/>
                    <a:pt x="2693" y="965"/>
                    <a:pt x="2693" y="965"/>
                  </a:cubicBezTo>
                  <a:cubicBezTo>
                    <a:pt x="2693" y="946"/>
                    <a:pt x="2718" y="930"/>
                    <a:pt x="2747" y="930"/>
                  </a:cubicBezTo>
                  <a:cubicBezTo>
                    <a:pt x="2783" y="930"/>
                    <a:pt x="2783" y="930"/>
                    <a:pt x="2783" y="930"/>
                  </a:cubicBezTo>
                  <a:cubicBezTo>
                    <a:pt x="2813" y="930"/>
                    <a:pt x="2837" y="946"/>
                    <a:pt x="2837" y="965"/>
                  </a:cubicBezTo>
                  <a:cubicBezTo>
                    <a:pt x="2837" y="988"/>
                    <a:pt x="2837" y="988"/>
                    <a:pt x="2837" y="988"/>
                  </a:cubicBezTo>
                  <a:cubicBezTo>
                    <a:pt x="2837" y="1008"/>
                    <a:pt x="2813" y="1023"/>
                    <a:pt x="2783" y="1023"/>
                  </a:cubicBezTo>
                  <a:close/>
                  <a:moveTo>
                    <a:pt x="2780" y="860"/>
                  </a:moveTo>
                  <a:cubicBezTo>
                    <a:pt x="2816" y="854"/>
                    <a:pt x="2844" y="824"/>
                    <a:pt x="2847" y="786"/>
                  </a:cubicBezTo>
                  <a:cubicBezTo>
                    <a:pt x="3022" y="786"/>
                    <a:pt x="3022" y="786"/>
                    <a:pt x="3022" y="786"/>
                  </a:cubicBezTo>
                  <a:cubicBezTo>
                    <a:pt x="3022" y="787"/>
                    <a:pt x="3022" y="787"/>
                    <a:pt x="3022" y="787"/>
                  </a:cubicBezTo>
                  <a:cubicBezTo>
                    <a:pt x="3022" y="828"/>
                    <a:pt x="2990" y="860"/>
                    <a:pt x="2949" y="860"/>
                  </a:cubicBezTo>
                  <a:cubicBezTo>
                    <a:pt x="2780" y="860"/>
                    <a:pt x="2780" y="860"/>
                    <a:pt x="2780" y="860"/>
                  </a:cubicBezTo>
                  <a:cubicBezTo>
                    <a:pt x="2780" y="860"/>
                    <a:pt x="2780" y="860"/>
                    <a:pt x="2780" y="860"/>
                  </a:cubicBezTo>
                  <a:close/>
                  <a:moveTo>
                    <a:pt x="2847" y="777"/>
                  </a:moveTo>
                  <a:cubicBezTo>
                    <a:pt x="2846" y="742"/>
                    <a:pt x="2822" y="712"/>
                    <a:pt x="2790" y="702"/>
                  </a:cubicBezTo>
                  <a:cubicBezTo>
                    <a:pt x="2949" y="702"/>
                    <a:pt x="2949" y="702"/>
                    <a:pt x="2949" y="702"/>
                  </a:cubicBezTo>
                  <a:cubicBezTo>
                    <a:pt x="2990" y="702"/>
                    <a:pt x="3022" y="735"/>
                    <a:pt x="3022" y="775"/>
                  </a:cubicBezTo>
                  <a:cubicBezTo>
                    <a:pt x="3022" y="777"/>
                    <a:pt x="3022" y="777"/>
                    <a:pt x="3022" y="777"/>
                  </a:cubicBezTo>
                  <a:cubicBezTo>
                    <a:pt x="2847" y="777"/>
                    <a:pt x="2847" y="777"/>
                    <a:pt x="2847" y="777"/>
                  </a:cubicBezTo>
                  <a:cubicBezTo>
                    <a:pt x="2847" y="777"/>
                    <a:pt x="2847" y="777"/>
                    <a:pt x="2847" y="777"/>
                  </a:cubicBezTo>
                  <a:close/>
                  <a:moveTo>
                    <a:pt x="2831" y="779"/>
                  </a:moveTo>
                  <a:cubicBezTo>
                    <a:pt x="2831" y="816"/>
                    <a:pt x="2802" y="845"/>
                    <a:pt x="2765" y="845"/>
                  </a:cubicBezTo>
                  <a:cubicBezTo>
                    <a:pt x="2729" y="845"/>
                    <a:pt x="2700" y="816"/>
                    <a:pt x="2700" y="779"/>
                  </a:cubicBezTo>
                  <a:cubicBezTo>
                    <a:pt x="2700" y="742"/>
                    <a:pt x="2729" y="713"/>
                    <a:pt x="2765" y="713"/>
                  </a:cubicBezTo>
                  <a:cubicBezTo>
                    <a:pt x="2802" y="713"/>
                    <a:pt x="2831" y="742"/>
                    <a:pt x="2831" y="779"/>
                  </a:cubicBezTo>
                  <a:close/>
                  <a:moveTo>
                    <a:pt x="2684" y="777"/>
                  </a:moveTo>
                  <a:cubicBezTo>
                    <a:pt x="2509" y="777"/>
                    <a:pt x="2509" y="777"/>
                    <a:pt x="2509" y="777"/>
                  </a:cubicBezTo>
                  <a:cubicBezTo>
                    <a:pt x="2509" y="775"/>
                    <a:pt x="2509" y="775"/>
                    <a:pt x="2509" y="775"/>
                  </a:cubicBezTo>
                  <a:cubicBezTo>
                    <a:pt x="2509" y="735"/>
                    <a:pt x="2542" y="702"/>
                    <a:pt x="2582" y="702"/>
                  </a:cubicBezTo>
                  <a:cubicBezTo>
                    <a:pt x="2741" y="702"/>
                    <a:pt x="2741" y="702"/>
                    <a:pt x="2741" y="702"/>
                  </a:cubicBezTo>
                  <a:cubicBezTo>
                    <a:pt x="2709" y="712"/>
                    <a:pt x="2685" y="742"/>
                    <a:pt x="2684" y="777"/>
                  </a:cubicBezTo>
                  <a:close/>
                  <a:moveTo>
                    <a:pt x="2685" y="786"/>
                  </a:moveTo>
                  <a:cubicBezTo>
                    <a:pt x="2687" y="824"/>
                    <a:pt x="2715" y="854"/>
                    <a:pt x="2752" y="860"/>
                  </a:cubicBezTo>
                  <a:cubicBezTo>
                    <a:pt x="2582" y="860"/>
                    <a:pt x="2582" y="860"/>
                    <a:pt x="2582" y="860"/>
                  </a:cubicBezTo>
                  <a:cubicBezTo>
                    <a:pt x="2542" y="860"/>
                    <a:pt x="2509" y="828"/>
                    <a:pt x="2509" y="787"/>
                  </a:cubicBezTo>
                  <a:cubicBezTo>
                    <a:pt x="2509" y="786"/>
                    <a:pt x="2509" y="786"/>
                    <a:pt x="2509" y="786"/>
                  </a:cubicBezTo>
                  <a:cubicBezTo>
                    <a:pt x="2685" y="786"/>
                    <a:pt x="2685" y="786"/>
                    <a:pt x="2685" y="786"/>
                  </a:cubicBezTo>
                  <a:cubicBezTo>
                    <a:pt x="2685" y="786"/>
                    <a:pt x="2685" y="786"/>
                    <a:pt x="2685" y="786"/>
                  </a:cubicBezTo>
                  <a:close/>
                  <a:moveTo>
                    <a:pt x="2546" y="930"/>
                  </a:moveTo>
                  <a:cubicBezTo>
                    <a:pt x="2582" y="930"/>
                    <a:pt x="2582" y="930"/>
                    <a:pt x="2582" y="930"/>
                  </a:cubicBezTo>
                  <a:cubicBezTo>
                    <a:pt x="2612" y="930"/>
                    <a:pt x="2636" y="946"/>
                    <a:pt x="2636" y="965"/>
                  </a:cubicBezTo>
                  <a:cubicBezTo>
                    <a:pt x="2636" y="988"/>
                    <a:pt x="2636" y="988"/>
                    <a:pt x="2636" y="988"/>
                  </a:cubicBezTo>
                  <a:cubicBezTo>
                    <a:pt x="2636" y="1008"/>
                    <a:pt x="2612" y="1023"/>
                    <a:pt x="2582" y="1023"/>
                  </a:cubicBezTo>
                  <a:cubicBezTo>
                    <a:pt x="2546" y="1023"/>
                    <a:pt x="2546" y="1023"/>
                    <a:pt x="2546" y="1023"/>
                  </a:cubicBezTo>
                  <a:cubicBezTo>
                    <a:pt x="2517" y="1023"/>
                    <a:pt x="2492" y="1008"/>
                    <a:pt x="2492" y="988"/>
                  </a:cubicBezTo>
                  <a:cubicBezTo>
                    <a:pt x="2492" y="965"/>
                    <a:pt x="2492" y="965"/>
                    <a:pt x="2492" y="965"/>
                  </a:cubicBezTo>
                  <a:cubicBezTo>
                    <a:pt x="2492" y="946"/>
                    <a:pt x="2517" y="930"/>
                    <a:pt x="2546" y="930"/>
                  </a:cubicBezTo>
                  <a:close/>
                  <a:moveTo>
                    <a:pt x="2546" y="1045"/>
                  </a:moveTo>
                  <a:cubicBezTo>
                    <a:pt x="2582" y="1045"/>
                    <a:pt x="2582" y="1045"/>
                    <a:pt x="2582" y="1045"/>
                  </a:cubicBezTo>
                  <a:cubicBezTo>
                    <a:pt x="2612" y="1045"/>
                    <a:pt x="2636" y="1060"/>
                    <a:pt x="2636" y="1080"/>
                  </a:cubicBezTo>
                  <a:cubicBezTo>
                    <a:pt x="2636" y="1103"/>
                    <a:pt x="2636" y="1103"/>
                    <a:pt x="2636" y="1103"/>
                  </a:cubicBezTo>
                  <a:cubicBezTo>
                    <a:pt x="2636" y="1122"/>
                    <a:pt x="2612" y="1138"/>
                    <a:pt x="2582" y="1138"/>
                  </a:cubicBezTo>
                  <a:cubicBezTo>
                    <a:pt x="2546" y="1138"/>
                    <a:pt x="2546" y="1138"/>
                    <a:pt x="2546" y="1138"/>
                  </a:cubicBezTo>
                  <a:cubicBezTo>
                    <a:pt x="2517" y="1138"/>
                    <a:pt x="2492" y="1122"/>
                    <a:pt x="2492" y="1103"/>
                  </a:cubicBezTo>
                  <a:cubicBezTo>
                    <a:pt x="2492" y="1080"/>
                    <a:pt x="2492" y="1080"/>
                    <a:pt x="2492" y="1080"/>
                  </a:cubicBezTo>
                  <a:cubicBezTo>
                    <a:pt x="2492" y="1060"/>
                    <a:pt x="2517" y="1045"/>
                    <a:pt x="2546" y="1045"/>
                  </a:cubicBezTo>
                  <a:close/>
                  <a:moveTo>
                    <a:pt x="2546" y="1160"/>
                  </a:moveTo>
                  <a:cubicBezTo>
                    <a:pt x="2582" y="1160"/>
                    <a:pt x="2582" y="1160"/>
                    <a:pt x="2582" y="1160"/>
                  </a:cubicBezTo>
                  <a:cubicBezTo>
                    <a:pt x="2612" y="1160"/>
                    <a:pt x="2636" y="1176"/>
                    <a:pt x="2636" y="1195"/>
                  </a:cubicBezTo>
                  <a:cubicBezTo>
                    <a:pt x="2636" y="1218"/>
                    <a:pt x="2636" y="1218"/>
                    <a:pt x="2636" y="1218"/>
                  </a:cubicBezTo>
                  <a:cubicBezTo>
                    <a:pt x="2636" y="1238"/>
                    <a:pt x="2612" y="1253"/>
                    <a:pt x="2582" y="1253"/>
                  </a:cubicBezTo>
                  <a:cubicBezTo>
                    <a:pt x="2546" y="1253"/>
                    <a:pt x="2546" y="1253"/>
                    <a:pt x="2546" y="1253"/>
                  </a:cubicBezTo>
                  <a:cubicBezTo>
                    <a:pt x="2517" y="1253"/>
                    <a:pt x="2492" y="1238"/>
                    <a:pt x="2492" y="1218"/>
                  </a:cubicBezTo>
                  <a:cubicBezTo>
                    <a:pt x="2492" y="1195"/>
                    <a:pt x="2492" y="1195"/>
                    <a:pt x="2492" y="1195"/>
                  </a:cubicBezTo>
                  <a:cubicBezTo>
                    <a:pt x="2492" y="1176"/>
                    <a:pt x="2517" y="1160"/>
                    <a:pt x="2546" y="1160"/>
                  </a:cubicBezTo>
                  <a:close/>
                  <a:moveTo>
                    <a:pt x="2891" y="1461"/>
                  </a:moveTo>
                  <a:cubicBezTo>
                    <a:pt x="2640" y="1461"/>
                    <a:pt x="2640" y="1461"/>
                    <a:pt x="2640" y="1461"/>
                  </a:cubicBezTo>
                  <a:cubicBezTo>
                    <a:pt x="2635" y="1461"/>
                    <a:pt x="2629" y="1456"/>
                    <a:pt x="2629" y="1450"/>
                  </a:cubicBezTo>
                  <a:cubicBezTo>
                    <a:pt x="2629" y="1444"/>
                    <a:pt x="2635" y="1440"/>
                    <a:pt x="2640" y="1440"/>
                  </a:cubicBezTo>
                  <a:cubicBezTo>
                    <a:pt x="2891" y="1440"/>
                    <a:pt x="2891" y="1440"/>
                    <a:pt x="2891" y="1440"/>
                  </a:cubicBezTo>
                  <a:cubicBezTo>
                    <a:pt x="2897" y="1440"/>
                    <a:pt x="2901" y="1444"/>
                    <a:pt x="2901" y="1450"/>
                  </a:cubicBezTo>
                  <a:cubicBezTo>
                    <a:pt x="2901" y="1456"/>
                    <a:pt x="2897" y="1461"/>
                    <a:pt x="2891" y="1461"/>
                  </a:cubicBezTo>
                  <a:close/>
                  <a:moveTo>
                    <a:pt x="3039" y="1332"/>
                  </a:moveTo>
                  <a:cubicBezTo>
                    <a:pt x="3039" y="1352"/>
                    <a:pt x="3015" y="1368"/>
                    <a:pt x="2984" y="1368"/>
                  </a:cubicBezTo>
                  <a:cubicBezTo>
                    <a:pt x="2949" y="1368"/>
                    <a:pt x="2949" y="1368"/>
                    <a:pt x="2949" y="1368"/>
                  </a:cubicBezTo>
                  <a:cubicBezTo>
                    <a:pt x="2919" y="1368"/>
                    <a:pt x="2895" y="1352"/>
                    <a:pt x="2895" y="1332"/>
                  </a:cubicBezTo>
                  <a:cubicBezTo>
                    <a:pt x="2895" y="1309"/>
                    <a:pt x="2895" y="1309"/>
                    <a:pt x="2895" y="1309"/>
                  </a:cubicBezTo>
                  <a:cubicBezTo>
                    <a:pt x="2895" y="1290"/>
                    <a:pt x="2919" y="1275"/>
                    <a:pt x="2949" y="1275"/>
                  </a:cubicBezTo>
                  <a:cubicBezTo>
                    <a:pt x="2984" y="1275"/>
                    <a:pt x="2984" y="1275"/>
                    <a:pt x="2984" y="1275"/>
                  </a:cubicBezTo>
                  <a:cubicBezTo>
                    <a:pt x="3015" y="1275"/>
                    <a:pt x="3039" y="1290"/>
                    <a:pt x="3039" y="1309"/>
                  </a:cubicBezTo>
                  <a:cubicBezTo>
                    <a:pt x="3039" y="1332"/>
                    <a:pt x="3039" y="1332"/>
                    <a:pt x="3039" y="1332"/>
                  </a:cubicBezTo>
                  <a:cubicBezTo>
                    <a:pt x="3039" y="1332"/>
                    <a:pt x="3039" y="1332"/>
                    <a:pt x="3039" y="1332"/>
                  </a:cubicBezTo>
                  <a:close/>
                  <a:moveTo>
                    <a:pt x="3039" y="1218"/>
                  </a:moveTo>
                  <a:cubicBezTo>
                    <a:pt x="3039" y="1238"/>
                    <a:pt x="3015" y="1253"/>
                    <a:pt x="2984" y="1253"/>
                  </a:cubicBezTo>
                  <a:cubicBezTo>
                    <a:pt x="2949" y="1253"/>
                    <a:pt x="2949" y="1253"/>
                    <a:pt x="2949" y="1253"/>
                  </a:cubicBezTo>
                  <a:cubicBezTo>
                    <a:pt x="2919" y="1253"/>
                    <a:pt x="2895" y="1238"/>
                    <a:pt x="2895" y="1218"/>
                  </a:cubicBezTo>
                  <a:cubicBezTo>
                    <a:pt x="2895" y="1195"/>
                    <a:pt x="2895" y="1195"/>
                    <a:pt x="2895" y="1195"/>
                  </a:cubicBezTo>
                  <a:cubicBezTo>
                    <a:pt x="2895" y="1176"/>
                    <a:pt x="2919" y="1160"/>
                    <a:pt x="2949" y="1160"/>
                  </a:cubicBezTo>
                  <a:cubicBezTo>
                    <a:pt x="2984" y="1160"/>
                    <a:pt x="2984" y="1160"/>
                    <a:pt x="2984" y="1160"/>
                  </a:cubicBezTo>
                  <a:cubicBezTo>
                    <a:pt x="3015" y="1160"/>
                    <a:pt x="3039" y="1176"/>
                    <a:pt x="3039" y="1195"/>
                  </a:cubicBezTo>
                  <a:cubicBezTo>
                    <a:pt x="3039" y="1218"/>
                    <a:pt x="3039" y="1218"/>
                    <a:pt x="3039" y="1218"/>
                  </a:cubicBezTo>
                  <a:cubicBezTo>
                    <a:pt x="3039" y="1218"/>
                    <a:pt x="3039" y="1218"/>
                    <a:pt x="3039" y="1218"/>
                  </a:cubicBezTo>
                  <a:close/>
                  <a:moveTo>
                    <a:pt x="3039" y="1103"/>
                  </a:moveTo>
                  <a:cubicBezTo>
                    <a:pt x="3039" y="1122"/>
                    <a:pt x="3015" y="1138"/>
                    <a:pt x="2984" y="1138"/>
                  </a:cubicBezTo>
                  <a:cubicBezTo>
                    <a:pt x="2949" y="1138"/>
                    <a:pt x="2949" y="1138"/>
                    <a:pt x="2949" y="1138"/>
                  </a:cubicBezTo>
                  <a:cubicBezTo>
                    <a:pt x="2919" y="1138"/>
                    <a:pt x="2895" y="1122"/>
                    <a:pt x="2895" y="1103"/>
                  </a:cubicBezTo>
                  <a:cubicBezTo>
                    <a:pt x="2895" y="1080"/>
                    <a:pt x="2895" y="1080"/>
                    <a:pt x="2895" y="1080"/>
                  </a:cubicBezTo>
                  <a:cubicBezTo>
                    <a:pt x="2895" y="1060"/>
                    <a:pt x="2919" y="1045"/>
                    <a:pt x="2949" y="1045"/>
                  </a:cubicBezTo>
                  <a:cubicBezTo>
                    <a:pt x="2984" y="1045"/>
                    <a:pt x="2984" y="1045"/>
                    <a:pt x="2984" y="1045"/>
                  </a:cubicBezTo>
                  <a:cubicBezTo>
                    <a:pt x="3015" y="1045"/>
                    <a:pt x="3039" y="1060"/>
                    <a:pt x="3039" y="1080"/>
                  </a:cubicBezTo>
                  <a:cubicBezTo>
                    <a:pt x="3039" y="1103"/>
                    <a:pt x="3039" y="1103"/>
                    <a:pt x="3039" y="1103"/>
                  </a:cubicBezTo>
                  <a:cubicBezTo>
                    <a:pt x="3039" y="1103"/>
                    <a:pt x="3039" y="1103"/>
                    <a:pt x="3039" y="1103"/>
                  </a:cubicBezTo>
                  <a:close/>
                  <a:moveTo>
                    <a:pt x="3039" y="988"/>
                  </a:moveTo>
                  <a:cubicBezTo>
                    <a:pt x="3039" y="1008"/>
                    <a:pt x="3015" y="1023"/>
                    <a:pt x="2984" y="1023"/>
                  </a:cubicBezTo>
                  <a:cubicBezTo>
                    <a:pt x="2949" y="1023"/>
                    <a:pt x="2949" y="1023"/>
                    <a:pt x="2949" y="1023"/>
                  </a:cubicBezTo>
                  <a:cubicBezTo>
                    <a:pt x="2919" y="1023"/>
                    <a:pt x="2895" y="1008"/>
                    <a:pt x="2895" y="988"/>
                  </a:cubicBezTo>
                  <a:cubicBezTo>
                    <a:pt x="2895" y="965"/>
                    <a:pt x="2895" y="965"/>
                    <a:pt x="2895" y="965"/>
                  </a:cubicBezTo>
                  <a:cubicBezTo>
                    <a:pt x="2895" y="946"/>
                    <a:pt x="2919" y="930"/>
                    <a:pt x="2949" y="930"/>
                  </a:cubicBezTo>
                  <a:cubicBezTo>
                    <a:pt x="2984" y="930"/>
                    <a:pt x="2984" y="930"/>
                    <a:pt x="2984" y="930"/>
                  </a:cubicBezTo>
                  <a:cubicBezTo>
                    <a:pt x="3015" y="930"/>
                    <a:pt x="3039" y="946"/>
                    <a:pt x="3039" y="965"/>
                  </a:cubicBezTo>
                  <a:cubicBezTo>
                    <a:pt x="3039" y="988"/>
                    <a:pt x="3039" y="988"/>
                    <a:pt x="3039" y="988"/>
                  </a:cubicBezTo>
                  <a:cubicBezTo>
                    <a:pt x="3039" y="988"/>
                    <a:pt x="3039" y="988"/>
                    <a:pt x="3039" y="988"/>
                  </a:cubicBezTo>
                  <a:close/>
                  <a:moveTo>
                    <a:pt x="3047" y="604"/>
                  </a:moveTo>
                  <a:cubicBezTo>
                    <a:pt x="3047" y="624"/>
                    <a:pt x="3031" y="641"/>
                    <a:pt x="3011" y="641"/>
                  </a:cubicBezTo>
                  <a:cubicBezTo>
                    <a:pt x="2520" y="641"/>
                    <a:pt x="2520" y="641"/>
                    <a:pt x="2520" y="641"/>
                  </a:cubicBezTo>
                  <a:cubicBezTo>
                    <a:pt x="2501" y="641"/>
                    <a:pt x="2483" y="624"/>
                    <a:pt x="2483" y="604"/>
                  </a:cubicBezTo>
                  <a:cubicBezTo>
                    <a:pt x="2483" y="113"/>
                    <a:pt x="2483" y="113"/>
                    <a:pt x="2483" y="113"/>
                  </a:cubicBezTo>
                  <a:cubicBezTo>
                    <a:pt x="2483" y="92"/>
                    <a:pt x="2501" y="76"/>
                    <a:pt x="2520" y="76"/>
                  </a:cubicBezTo>
                  <a:cubicBezTo>
                    <a:pt x="3011" y="76"/>
                    <a:pt x="3011" y="76"/>
                    <a:pt x="3011" y="76"/>
                  </a:cubicBezTo>
                  <a:cubicBezTo>
                    <a:pt x="3031" y="76"/>
                    <a:pt x="3047" y="92"/>
                    <a:pt x="3047" y="113"/>
                  </a:cubicBezTo>
                  <a:cubicBezTo>
                    <a:pt x="3047" y="604"/>
                    <a:pt x="3047" y="604"/>
                    <a:pt x="3047" y="604"/>
                  </a:cubicBezTo>
                  <a:cubicBezTo>
                    <a:pt x="3047" y="604"/>
                    <a:pt x="3047" y="604"/>
                    <a:pt x="3047" y="604"/>
                  </a:cubicBezTo>
                  <a:close/>
                  <a:moveTo>
                    <a:pt x="2814" y="4927"/>
                  </a:moveTo>
                  <a:cubicBezTo>
                    <a:pt x="2662" y="4927"/>
                    <a:pt x="2662" y="4927"/>
                    <a:pt x="2662" y="4927"/>
                  </a:cubicBezTo>
                  <a:cubicBezTo>
                    <a:pt x="2662" y="4813"/>
                    <a:pt x="2662" y="4813"/>
                    <a:pt x="2662" y="4813"/>
                  </a:cubicBezTo>
                  <a:cubicBezTo>
                    <a:pt x="2814" y="4813"/>
                    <a:pt x="2814" y="4813"/>
                    <a:pt x="2814" y="4813"/>
                  </a:cubicBezTo>
                  <a:cubicBezTo>
                    <a:pt x="2814" y="4927"/>
                    <a:pt x="2814" y="4927"/>
                    <a:pt x="2814" y="4927"/>
                  </a:cubicBezTo>
                  <a:close/>
                  <a:moveTo>
                    <a:pt x="2602" y="4927"/>
                  </a:moveTo>
                  <a:cubicBezTo>
                    <a:pt x="2450" y="4927"/>
                    <a:pt x="2450" y="4927"/>
                    <a:pt x="2450" y="4927"/>
                  </a:cubicBezTo>
                  <a:cubicBezTo>
                    <a:pt x="2450" y="4813"/>
                    <a:pt x="2450" y="4813"/>
                    <a:pt x="2450" y="4813"/>
                  </a:cubicBezTo>
                  <a:cubicBezTo>
                    <a:pt x="2602" y="4813"/>
                    <a:pt x="2602" y="4813"/>
                    <a:pt x="2602" y="4813"/>
                  </a:cubicBezTo>
                  <a:cubicBezTo>
                    <a:pt x="2602" y="4927"/>
                    <a:pt x="2602" y="4927"/>
                    <a:pt x="2602" y="4927"/>
                  </a:cubicBezTo>
                  <a:close/>
                  <a:moveTo>
                    <a:pt x="2814" y="4745"/>
                  </a:moveTo>
                  <a:cubicBezTo>
                    <a:pt x="2662" y="4745"/>
                    <a:pt x="2662" y="4745"/>
                    <a:pt x="2662" y="4745"/>
                  </a:cubicBezTo>
                  <a:cubicBezTo>
                    <a:pt x="2662" y="4631"/>
                    <a:pt x="2662" y="4631"/>
                    <a:pt x="2662" y="4631"/>
                  </a:cubicBezTo>
                  <a:cubicBezTo>
                    <a:pt x="2814" y="4631"/>
                    <a:pt x="2814" y="4631"/>
                    <a:pt x="2814" y="4631"/>
                  </a:cubicBezTo>
                  <a:cubicBezTo>
                    <a:pt x="2814" y="4745"/>
                    <a:pt x="2814" y="4745"/>
                    <a:pt x="2814" y="4745"/>
                  </a:cubicBezTo>
                  <a:close/>
                  <a:moveTo>
                    <a:pt x="2602" y="4745"/>
                  </a:moveTo>
                  <a:cubicBezTo>
                    <a:pt x="2450" y="4745"/>
                    <a:pt x="2450" y="4745"/>
                    <a:pt x="2450" y="4745"/>
                  </a:cubicBezTo>
                  <a:cubicBezTo>
                    <a:pt x="2450" y="4631"/>
                    <a:pt x="2450" y="4631"/>
                    <a:pt x="2450" y="4631"/>
                  </a:cubicBezTo>
                  <a:cubicBezTo>
                    <a:pt x="2602" y="4631"/>
                    <a:pt x="2602" y="4631"/>
                    <a:pt x="2602" y="4631"/>
                  </a:cubicBezTo>
                  <a:cubicBezTo>
                    <a:pt x="2602" y="4745"/>
                    <a:pt x="2602" y="4745"/>
                    <a:pt x="2602" y="4745"/>
                  </a:cubicBezTo>
                  <a:close/>
                  <a:moveTo>
                    <a:pt x="2814" y="4570"/>
                  </a:moveTo>
                  <a:cubicBezTo>
                    <a:pt x="2662" y="4570"/>
                    <a:pt x="2662" y="4570"/>
                    <a:pt x="2662" y="4570"/>
                  </a:cubicBezTo>
                  <a:cubicBezTo>
                    <a:pt x="2662" y="4418"/>
                    <a:pt x="2662" y="4418"/>
                    <a:pt x="2662" y="4418"/>
                  </a:cubicBezTo>
                  <a:cubicBezTo>
                    <a:pt x="2814" y="4418"/>
                    <a:pt x="2814" y="4418"/>
                    <a:pt x="2814" y="4418"/>
                  </a:cubicBezTo>
                  <a:cubicBezTo>
                    <a:pt x="2814" y="4570"/>
                    <a:pt x="2814" y="4570"/>
                    <a:pt x="2814" y="4570"/>
                  </a:cubicBezTo>
                  <a:close/>
                  <a:moveTo>
                    <a:pt x="2602" y="4570"/>
                  </a:moveTo>
                  <a:cubicBezTo>
                    <a:pt x="2450" y="4570"/>
                    <a:pt x="2450" y="4570"/>
                    <a:pt x="2450" y="4570"/>
                  </a:cubicBezTo>
                  <a:cubicBezTo>
                    <a:pt x="2450" y="4418"/>
                    <a:pt x="2450" y="4418"/>
                    <a:pt x="2450" y="4418"/>
                  </a:cubicBezTo>
                  <a:cubicBezTo>
                    <a:pt x="2602" y="4418"/>
                    <a:pt x="2602" y="4418"/>
                    <a:pt x="2602" y="4418"/>
                  </a:cubicBezTo>
                  <a:cubicBezTo>
                    <a:pt x="2602" y="4570"/>
                    <a:pt x="2602" y="4570"/>
                    <a:pt x="2602" y="4570"/>
                  </a:cubicBezTo>
                  <a:close/>
                  <a:moveTo>
                    <a:pt x="2814" y="4365"/>
                  </a:moveTo>
                  <a:cubicBezTo>
                    <a:pt x="2662" y="4365"/>
                    <a:pt x="2662" y="4365"/>
                    <a:pt x="2662" y="4365"/>
                  </a:cubicBezTo>
                  <a:cubicBezTo>
                    <a:pt x="2662" y="4220"/>
                    <a:pt x="2662" y="4220"/>
                    <a:pt x="2662" y="4220"/>
                  </a:cubicBezTo>
                  <a:cubicBezTo>
                    <a:pt x="2814" y="4220"/>
                    <a:pt x="2814" y="4220"/>
                    <a:pt x="2814" y="4220"/>
                  </a:cubicBezTo>
                  <a:cubicBezTo>
                    <a:pt x="2814" y="4365"/>
                    <a:pt x="2814" y="4365"/>
                    <a:pt x="2814" y="4365"/>
                  </a:cubicBezTo>
                  <a:close/>
                  <a:moveTo>
                    <a:pt x="2602" y="4365"/>
                  </a:moveTo>
                  <a:cubicBezTo>
                    <a:pt x="2450" y="4365"/>
                    <a:pt x="2450" y="4365"/>
                    <a:pt x="2450" y="4365"/>
                  </a:cubicBezTo>
                  <a:cubicBezTo>
                    <a:pt x="2450" y="4220"/>
                    <a:pt x="2450" y="4220"/>
                    <a:pt x="2450" y="4220"/>
                  </a:cubicBezTo>
                  <a:cubicBezTo>
                    <a:pt x="2602" y="4220"/>
                    <a:pt x="2602" y="4220"/>
                    <a:pt x="2602" y="4220"/>
                  </a:cubicBezTo>
                  <a:cubicBezTo>
                    <a:pt x="2602" y="4365"/>
                    <a:pt x="2602" y="4365"/>
                    <a:pt x="2602" y="4365"/>
                  </a:cubicBezTo>
                  <a:close/>
                  <a:moveTo>
                    <a:pt x="2367" y="4083"/>
                  </a:moveTo>
                  <a:cubicBezTo>
                    <a:pt x="2367" y="5300"/>
                    <a:pt x="2367" y="5300"/>
                    <a:pt x="2367" y="5300"/>
                  </a:cubicBezTo>
                  <a:cubicBezTo>
                    <a:pt x="2526" y="5300"/>
                    <a:pt x="2526" y="5300"/>
                    <a:pt x="2526" y="5300"/>
                  </a:cubicBezTo>
                  <a:cubicBezTo>
                    <a:pt x="2526" y="5095"/>
                    <a:pt x="2526" y="5095"/>
                    <a:pt x="2526" y="5095"/>
                  </a:cubicBezTo>
                  <a:cubicBezTo>
                    <a:pt x="2738" y="5095"/>
                    <a:pt x="2738" y="5095"/>
                    <a:pt x="2738" y="5095"/>
                  </a:cubicBezTo>
                  <a:cubicBezTo>
                    <a:pt x="2738" y="5300"/>
                    <a:pt x="2738" y="5300"/>
                    <a:pt x="2738" y="5300"/>
                  </a:cubicBezTo>
                  <a:cubicBezTo>
                    <a:pt x="2890" y="5300"/>
                    <a:pt x="2890" y="5300"/>
                    <a:pt x="2890" y="5300"/>
                  </a:cubicBezTo>
                  <a:cubicBezTo>
                    <a:pt x="2890" y="4083"/>
                    <a:pt x="2890" y="4083"/>
                    <a:pt x="2890" y="4083"/>
                  </a:cubicBezTo>
                  <a:cubicBezTo>
                    <a:pt x="2367" y="4083"/>
                    <a:pt x="2367" y="4083"/>
                    <a:pt x="2367" y="4083"/>
                  </a:cubicBezTo>
                  <a:close/>
                  <a:moveTo>
                    <a:pt x="2814" y="4927"/>
                  </a:moveTo>
                  <a:cubicBezTo>
                    <a:pt x="2662" y="4927"/>
                    <a:pt x="2662" y="4927"/>
                    <a:pt x="2662" y="4927"/>
                  </a:cubicBezTo>
                  <a:cubicBezTo>
                    <a:pt x="2662" y="4813"/>
                    <a:pt x="2662" y="4813"/>
                    <a:pt x="2662" y="4813"/>
                  </a:cubicBezTo>
                  <a:cubicBezTo>
                    <a:pt x="2814" y="4813"/>
                    <a:pt x="2814" y="4813"/>
                    <a:pt x="2814" y="4813"/>
                  </a:cubicBezTo>
                  <a:cubicBezTo>
                    <a:pt x="2814" y="4927"/>
                    <a:pt x="2814" y="4927"/>
                    <a:pt x="2814" y="4927"/>
                  </a:cubicBezTo>
                  <a:close/>
                  <a:moveTo>
                    <a:pt x="2602" y="4927"/>
                  </a:moveTo>
                  <a:cubicBezTo>
                    <a:pt x="2450" y="4927"/>
                    <a:pt x="2450" y="4927"/>
                    <a:pt x="2450" y="4927"/>
                  </a:cubicBezTo>
                  <a:cubicBezTo>
                    <a:pt x="2450" y="4813"/>
                    <a:pt x="2450" y="4813"/>
                    <a:pt x="2450" y="4813"/>
                  </a:cubicBezTo>
                  <a:cubicBezTo>
                    <a:pt x="2602" y="4813"/>
                    <a:pt x="2602" y="4813"/>
                    <a:pt x="2602" y="4813"/>
                  </a:cubicBezTo>
                  <a:cubicBezTo>
                    <a:pt x="2602" y="4927"/>
                    <a:pt x="2602" y="4927"/>
                    <a:pt x="2602" y="4927"/>
                  </a:cubicBezTo>
                  <a:close/>
                  <a:moveTo>
                    <a:pt x="2814" y="4745"/>
                  </a:moveTo>
                  <a:cubicBezTo>
                    <a:pt x="2662" y="4745"/>
                    <a:pt x="2662" y="4745"/>
                    <a:pt x="2662" y="4745"/>
                  </a:cubicBezTo>
                  <a:cubicBezTo>
                    <a:pt x="2662" y="4631"/>
                    <a:pt x="2662" y="4631"/>
                    <a:pt x="2662" y="4631"/>
                  </a:cubicBezTo>
                  <a:cubicBezTo>
                    <a:pt x="2814" y="4631"/>
                    <a:pt x="2814" y="4631"/>
                    <a:pt x="2814" y="4631"/>
                  </a:cubicBezTo>
                  <a:cubicBezTo>
                    <a:pt x="2814" y="4745"/>
                    <a:pt x="2814" y="4745"/>
                    <a:pt x="2814" y="4745"/>
                  </a:cubicBezTo>
                  <a:close/>
                  <a:moveTo>
                    <a:pt x="2602" y="4745"/>
                  </a:moveTo>
                  <a:cubicBezTo>
                    <a:pt x="2450" y="4745"/>
                    <a:pt x="2450" y="4745"/>
                    <a:pt x="2450" y="4745"/>
                  </a:cubicBezTo>
                  <a:cubicBezTo>
                    <a:pt x="2450" y="4631"/>
                    <a:pt x="2450" y="4631"/>
                    <a:pt x="2450" y="4631"/>
                  </a:cubicBezTo>
                  <a:cubicBezTo>
                    <a:pt x="2602" y="4631"/>
                    <a:pt x="2602" y="4631"/>
                    <a:pt x="2602" y="4631"/>
                  </a:cubicBezTo>
                  <a:cubicBezTo>
                    <a:pt x="2602" y="4745"/>
                    <a:pt x="2602" y="4745"/>
                    <a:pt x="2602" y="4745"/>
                  </a:cubicBezTo>
                  <a:close/>
                  <a:moveTo>
                    <a:pt x="2814" y="4570"/>
                  </a:moveTo>
                  <a:cubicBezTo>
                    <a:pt x="2662" y="4570"/>
                    <a:pt x="2662" y="4570"/>
                    <a:pt x="2662" y="4570"/>
                  </a:cubicBezTo>
                  <a:cubicBezTo>
                    <a:pt x="2662" y="4418"/>
                    <a:pt x="2662" y="4418"/>
                    <a:pt x="2662" y="4418"/>
                  </a:cubicBezTo>
                  <a:cubicBezTo>
                    <a:pt x="2814" y="4418"/>
                    <a:pt x="2814" y="4418"/>
                    <a:pt x="2814" y="4418"/>
                  </a:cubicBezTo>
                  <a:cubicBezTo>
                    <a:pt x="2814" y="4570"/>
                    <a:pt x="2814" y="4570"/>
                    <a:pt x="2814" y="4570"/>
                  </a:cubicBezTo>
                  <a:close/>
                  <a:moveTo>
                    <a:pt x="2602" y="4570"/>
                  </a:moveTo>
                  <a:cubicBezTo>
                    <a:pt x="2450" y="4570"/>
                    <a:pt x="2450" y="4570"/>
                    <a:pt x="2450" y="4570"/>
                  </a:cubicBezTo>
                  <a:cubicBezTo>
                    <a:pt x="2450" y="4418"/>
                    <a:pt x="2450" y="4418"/>
                    <a:pt x="2450" y="4418"/>
                  </a:cubicBezTo>
                  <a:cubicBezTo>
                    <a:pt x="2602" y="4418"/>
                    <a:pt x="2602" y="4418"/>
                    <a:pt x="2602" y="4418"/>
                  </a:cubicBezTo>
                  <a:cubicBezTo>
                    <a:pt x="2602" y="4570"/>
                    <a:pt x="2602" y="4570"/>
                    <a:pt x="2602" y="4570"/>
                  </a:cubicBezTo>
                  <a:close/>
                  <a:moveTo>
                    <a:pt x="2814" y="4365"/>
                  </a:moveTo>
                  <a:cubicBezTo>
                    <a:pt x="2662" y="4365"/>
                    <a:pt x="2662" y="4365"/>
                    <a:pt x="2662" y="4365"/>
                  </a:cubicBezTo>
                  <a:cubicBezTo>
                    <a:pt x="2662" y="4220"/>
                    <a:pt x="2662" y="4220"/>
                    <a:pt x="2662" y="4220"/>
                  </a:cubicBezTo>
                  <a:cubicBezTo>
                    <a:pt x="2814" y="4220"/>
                    <a:pt x="2814" y="4220"/>
                    <a:pt x="2814" y="4220"/>
                  </a:cubicBezTo>
                  <a:cubicBezTo>
                    <a:pt x="2814" y="4365"/>
                    <a:pt x="2814" y="4365"/>
                    <a:pt x="2814" y="4365"/>
                  </a:cubicBezTo>
                  <a:close/>
                  <a:moveTo>
                    <a:pt x="2602" y="4365"/>
                  </a:moveTo>
                  <a:cubicBezTo>
                    <a:pt x="2450" y="4365"/>
                    <a:pt x="2450" y="4365"/>
                    <a:pt x="2450" y="4365"/>
                  </a:cubicBezTo>
                  <a:cubicBezTo>
                    <a:pt x="2450" y="4220"/>
                    <a:pt x="2450" y="4220"/>
                    <a:pt x="2450" y="4220"/>
                  </a:cubicBezTo>
                  <a:cubicBezTo>
                    <a:pt x="2602" y="4220"/>
                    <a:pt x="2602" y="4220"/>
                    <a:pt x="2602" y="4220"/>
                  </a:cubicBezTo>
                  <a:cubicBezTo>
                    <a:pt x="2602" y="4365"/>
                    <a:pt x="2602" y="4365"/>
                    <a:pt x="2602" y="4365"/>
                  </a:cubicBezTo>
                  <a:close/>
                  <a:moveTo>
                    <a:pt x="2367" y="4083"/>
                  </a:moveTo>
                  <a:cubicBezTo>
                    <a:pt x="2367" y="5300"/>
                    <a:pt x="2367" y="5300"/>
                    <a:pt x="2367" y="5300"/>
                  </a:cubicBezTo>
                  <a:cubicBezTo>
                    <a:pt x="2526" y="5300"/>
                    <a:pt x="2526" y="5300"/>
                    <a:pt x="2526" y="5300"/>
                  </a:cubicBezTo>
                  <a:cubicBezTo>
                    <a:pt x="2526" y="5095"/>
                    <a:pt x="2526" y="5095"/>
                    <a:pt x="2526" y="5095"/>
                  </a:cubicBezTo>
                  <a:cubicBezTo>
                    <a:pt x="2738" y="5095"/>
                    <a:pt x="2738" y="5095"/>
                    <a:pt x="2738" y="5095"/>
                  </a:cubicBezTo>
                  <a:cubicBezTo>
                    <a:pt x="2738" y="5300"/>
                    <a:pt x="2738" y="5300"/>
                    <a:pt x="2738" y="5300"/>
                  </a:cubicBezTo>
                  <a:cubicBezTo>
                    <a:pt x="2890" y="5300"/>
                    <a:pt x="2890" y="5300"/>
                    <a:pt x="2890" y="5300"/>
                  </a:cubicBezTo>
                  <a:cubicBezTo>
                    <a:pt x="2890" y="4083"/>
                    <a:pt x="2890" y="4083"/>
                    <a:pt x="2890" y="4083"/>
                  </a:cubicBezTo>
                  <a:cubicBezTo>
                    <a:pt x="2367" y="4083"/>
                    <a:pt x="2367" y="4083"/>
                    <a:pt x="2367" y="4083"/>
                  </a:cubicBezTo>
                  <a:close/>
                  <a:moveTo>
                    <a:pt x="2814" y="4927"/>
                  </a:moveTo>
                  <a:cubicBezTo>
                    <a:pt x="2662" y="4927"/>
                    <a:pt x="2662" y="4927"/>
                    <a:pt x="2662" y="4927"/>
                  </a:cubicBezTo>
                  <a:cubicBezTo>
                    <a:pt x="2662" y="4813"/>
                    <a:pt x="2662" y="4813"/>
                    <a:pt x="2662" y="4813"/>
                  </a:cubicBezTo>
                  <a:cubicBezTo>
                    <a:pt x="2814" y="4813"/>
                    <a:pt x="2814" y="4813"/>
                    <a:pt x="2814" y="4813"/>
                  </a:cubicBezTo>
                  <a:cubicBezTo>
                    <a:pt x="2814" y="4927"/>
                    <a:pt x="2814" y="4927"/>
                    <a:pt x="2814" y="4927"/>
                  </a:cubicBezTo>
                  <a:moveTo>
                    <a:pt x="2602" y="4927"/>
                  </a:moveTo>
                  <a:cubicBezTo>
                    <a:pt x="2450" y="4927"/>
                    <a:pt x="2450" y="4927"/>
                    <a:pt x="2450" y="4927"/>
                  </a:cubicBezTo>
                  <a:cubicBezTo>
                    <a:pt x="2450" y="4813"/>
                    <a:pt x="2450" y="4813"/>
                    <a:pt x="2450" y="4813"/>
                  </a:cubicBezTo>
                  <a:cubicBezTo>
                    <a:pt x="2602" y="4813"/>
                    <a:pt x="2602" y="4813"/>
                    <a:pt x="2602" y="4813"/>
                  </a:cubicBezTo>
                  <a:cubicBezTo>
                    <a:pt x="2602" y="4927"/>
                    <a:pt x="2602" y="4927"/>
                    <a:pt x="2602" y="4927"/>
                  </a:cubicBezTo>
                  <a:moveTo>
                    <a:pt x="2814" y="4745"/>
                  </a:moveTo>
                  <a:cubicBezTo>
                    <a:pt x="2662" y="4745"/>
                    <a:pt x="2662" y="4745"/>
                    <a:pt x="2662" y="4745"/>
                  </a:cubicBezTo>
                  <a:cubicBezTo>
                    <a:pt x="2662" y="4631"/>
                    <a:pt x="2662" y="4631"/>
                    <a:pt x="2662" y="4631"/>
                  </a:cubicBezTo>
                  <a:cubicBezTo>
                    <a:pt x="2814" y="4631"/>
                    <a:pt x="2814" y="4631"/>
                    <a:pt x="2814" y="4631"/>
                  </a:cubicBezTo>
                  <a:cubicBezTo>
                    <a:pt x="2814" y="4745"/>
                    <a:pt x="2814" y="4745"/>
                    <a:pt x="2814" y="4745"/>
                  </a:cubicBezTo>
                  <a:moveTo>
                    <a:pt x="2602" y="4745"/>
                  </a:moveTo>
                  <a:cubicBezTo>
                    <a:pt x="2450" y="4745"/>
                    <a:pt x="2450" y="4745"/>
                    <a:pt x="2450" y="4745"/>
                  </a:cubicBezTo>
                  <a:cubicBezTo>
                    <a:pt x="2450" y="4631"/>
                    <a:pt x="2450" y="4631"/>
                    <a:pt x="2450" y="4631"/>
                  </a:cubicBezTo>
                  <a:cubicBezTo>
                    <a:pt x="2602" y="4631"/>
                    <a:pt x="2602" y="4631"/>
                    <a:pt x="2602" y="4631"/>
                  </a:cubicBezTo>
                  <a:cubicBezTo>
                    <a:pt x="2602" y="4745"/>
                    <a:pt x="2602" y="4745"/>
                    <a:pt x="2602" y="4745"/>
                  </a:cubicBezTo>
                  <a:moveTo>
                    <a:pt x="2814" y="4570"/>
                  </a:moveTo>
                  <a:cubicBezTo>
                    <a:pt x="2662" y="4570"/>
                    <a:pt x="2662" y="4570"/>
                    <a:pt x="2662" y="4570"/>
                  </a:cubicBezTo>
                  <a:cubicBezTo>
                    <a:pt x="2662" y="4418"/>
                    <a:pt x="2662" y="4418"/>
                    <a:pt x="2662" y="4418"/>
                  </a:cubicBezTo>
                  <a:cubicBezTo>
                    <a:pt x="2814" y="4418"/>
                    <a:pt x="2814" y="4418"/>
                    <a:pt x="2814" y="4418"/>
                  </a:cubicBezTo>
                  <a:cubicBezTo>
                    <a:pt x="2814" y="4570"/>
                    <a:pt x="2814" y="4570"/>
                    <a:pt x="2814" y="4570"/>
                  </a:cubicBezTo>
                  <a:moveTo>
                    <a:pt x="2602" y="4570"/>
                  </a:moveTo>
                  <a:cubicBezTo>
                    <a:pt x="2450" y="4570"/>
                    <a:pt x="2450" y="4570"/>
                    <a:pt x="2450" y="4570"/>
                  </a:cubicBezTo>
                  <a:cubicBezTo>
                    <a:pt x="2450" y="4418"/>
                    <a:pt x="2450" y="4418"/>
                    <a:pt x="2450" y="4418"/>
                  </a:cubicBezTo>
                  <a:cubicBezTo>
                    <a:pt x="2602" y="4418"/>
                    <a:pt x="2602" y="4418"/>
                    <a:pt x="2602" y="4418"/>
                  </a:cubicBezTo>
                  <a:cubicBezTo>
                    <a:pt x="2602" y="4570"/>
                    <a:pt x="2602" y="4570"/>
                    <a:pt x="2602" y="4570"/>
                  </a:cubicBezTo>
                  <a:moveTo>
                    <a:pt x="2814" y="4365"/>
                  </a:moveTo>
                  <a:cubicBezTo>
                    <a:pt x="2662" y="4365"/>
                    <a:pt x="2662" y="4365"/>
                    <a:pt x="2662" y="4365"/>
                  </a:cubicBezTo>
                  <a:cubicBezTo>
                    <a:pt x="2662" y="4220"/>
                    <a:pt x="2662" y="4220"/>
                    <a:pt x="2662" y="4220"/>
                  </a:cubicBezTo>
                  <a:cubicBezTo>
                    <a:pt x="2814" y="4220"/>
                    <a:pt x="2814" y="4220"/>
                    <a:pt x="2814" y="4220"/>
                  </a:cubicBezTo>
                  <a:cubicBezTo>
                    <a:pt x="2814" y="4365"/>
                    <a:pt x="2814" y="4365"/>
                    <a:pt x="2814" y="4365"/>
                  </a:cubicBezTo>
                  <a:moveTo>
                    <a:pt x="2602" y="4365"/>
                  </a:moveTo>
                  <a:cubicBezTo>
                    <a:pt x="2450" y="4365"/>
                    <a:pt x="2450" y="4365"/>
                    <a:pt x="2450" y="4365"/>
                  </a:cubicBezTo>
                  <a:cubicBezTo>
                    <a:pt x="2450" y="4220"/>
                    <a:pt x="2450" y="4220"/>
                    <a:pt x="2450" y="4220"/>
                  </a:cubicBezTo>
                  <a:cubicBezTo>
                    <a:pt x="2602" y="4220"/>
                    <a:pt x="2602" y="4220"/>
                    <a:pt x="2602" y="4220"/>
                  </a:cubicBezTo>
                  <a:cubicBezTo>
                    <a:pt x="2602" y="4365"/>
                    <a:pt x="2602" y="4365"/>
                    <a:pt x="2602" y="4365"/>
                  </a:cubicBezTo>
                  <a:moveTo>
                    <a:pt x="2367" y="4083"/>
                  </a:moveTo>
                  <a:cubicBezTo>
                    <a:pt x="2367" y="5300"/>
                    <a:pt x="2367" y="5300"/>
                    <a:pt x="2367" y="5300"/>
                  </a:cubicBezTo>
                  <a:cubicBezTo>
                    <a:pt x="2526" y="5300"/>
                    <a:pt x="2526" y="5300"/>
                    <a:pt x="2526" y="5300"/>
                  </a:cubicBezTo>
                  <a:cubicBezTo>
                    <a:pt x="2526" y="5095"/>
                    <a:pt x="2526" y="5095"/>
                    <a:pt x="2526" y="5095"/>
                  </a:cubicBezTo>
                  <a:cubicBezTo>
                    <a:pt x="2738" y="5095"/>
                    <a:pt x="2738" y="5095"/>
                    <a:pt x="2738" y="5095"/>
                  </a:cubicBezTo>
                  <a:cubicBezTo>
                    <a:pt x="2738" y="5300"/>
                    <a:pt x="2738" y="5300"/>
                    <a:pt x="2738" y="5300"/>
                  </a:cubicBezTo>
                  <a:cubicBezTo>
                    <a:pt x="2890" y="5300"/>
                    <a:pt x="2890" y="5300"/>
                    <a:pt x="2890" y="5300"/>
                  </a:cubicBezTo>
                  <a:cubicBezTo>
                    <a:pt x="2890" y="4083"/>
                    <a:pt x="2890" y="4083"/>
                    <a:pt x="2890" y="4083"/>
                  </a:cubicBezTo>
                  <a:cubicBezTo>
                    <a:pt x="2367" y="4083"/>
                    <a:pt x="2367" y="4083"/>
                    <a:pt x="2367" y="4083"/>
                  </a:cubicBezTo>
                  <a:moveTo>
                    <a:pt x="3367" y="4981"/>
                  </a:moveTo>
                  <a:cubicBezTo>
                    <a:pt x="3208" y="4981"/>
                    <a:pt x="3208" y="4981"/>
                    <a:pt x="3208" y="4981"/>
                  </a:cubicBezTo>
                  <a:cubicBezTo>
                    <a:pt x="3208" y="4821"/>
                    <a:pt x="3208" y="4821"/>
                    <a:pt x="3208" y="4821"/>
                  </a:cubicBezTo>
                  <a:cubicBezTo>
                    <a:pt x="3367" y="4821"/>
                    <a:pt x="3367" y="4821"/>
                    <a:pt x="3367" y="4821"/>
                  </a:cubicBezTo>
                  <a:cubicBezTo>
                    <a:pt x="3367" y="4981"/>
                    <a:pt x="3367" y="4981"/>
                    <a:pt x="3367" y="4981"/>
                  </a:cubicBezTo>
                  <a:close/>
                  <a:moveTo>
                    <a:pt x="3147" y="4981"/>
                  </a:moveTo>
                  <a:cubicBezTo>
                    <a:pt x="2996" y="4981"/>
                    <a:pt x="2996" y="4981"/>
                    <a:pt x="2996" y="4981"/>
                  </a:cubicBezTo>
                  <a:cubicBezTo>
                    <a:pt x="2996" y="4821"/>
                    <a:pt x="2996" y="4821"/>
                    <a:pt x="2996" y="4821"/>
                  </a:cubicBezTo>
                  <a:cubicBezTo>
                    <a:pt x="3147" y="4821"/>
                    <a:pt x="3147" y="4821"/>
                    <a:pt x="3147" y="4821"/>
                  </a:cubicBezTo>
                  <a:cubicBezTo>
                    <a:pt x="3147" y="4981"/>
                    <a:pt x="3147" y="4981"/>
                    <a:pt x="3147" y="4981"/>
                  </a:cubicBezTo>
                  <a:close/>
                  <a:moveTo>
                    <a:pt x="3367" y="4768"/>
                  </a:moveTo>
                  <a:cubicBezTo>
                    <a:pt x="3208" y="4768"/>
                    <a:pt x="3208" y="4768"/>
                    <a:pt x="3208" y="4768"/>
                  </a:cubicBezTo>
                  <a:cubicBezTo>
                    <a:pt x="3208" y="4608"/>
                    <a:pt x="3208" y="4608"/>
                    <a:pt x="3208" y="4608"/>
                  </a:cubicBezTo>
                  <a:cubicBezTo>
                    <a:pt x="3367" y="4608"/>
                    <a:pt x="3367" y="4608"/>
                    <a:pt x="3367" y="4608"/>
                  </a:cubicBezTo>
                  <a:cubicBezTo>
                    <a:pt x="3367" y="4768"/>
                    <a:pt x="3367" y="4768"/>
                    <a:pt x="3367" y="4768"/>
                  </a:cubicBezTo>
                  <a:close/>
                  <a:moveTo>
                    <a:pt x="3147" y="4768"/>
                  </a:moveTo>
                  <a:cubicBezTo>
                    <a:pt x="2996" y="4768"/>
                    <a:pt x="2996" y="4768"/>
                    <a:pt x="2996" y="4768"/>
                  </a:cubicBezTo>
                  <a:cubicBezTo>
                    <a:pt x="2996" y="4608"/>
                    <a:pt x="2996" y="4608"/>
                    <a:pt x="2996" y="4608"/>
                  </a:cubicBezTo>
                  <a:cubicBezTo>
                    <a:pt x="3147" y="4608"/>
                    <a:pt x="3147" y="4608"/>
                    <a:pt x="3147" y="4608"/>
                  </a:cubicBezTo>
                  <a:cubicBezTo>
                    <a:pt x="3147" y="4768"/>
                    <a:pt x="3147" y="4768"/>
                    <a:pt x="3147" y="4768"/>
                  </a:cubicBezTo>
                  <a:close/>
                  <a:moveTo>
                    <a:pt x="2920" y="4479"/>
                  </a:moveTo>
                  <a:cubicBezTo>
                    <a:pt x="2920" y="5300"/>
                    <a:pt x="2920" y="5300"/>
                    <a:pt x="2920" y="5300"/>
                  </a:cubicBezTo>
                  <a:cubicBezTo>
                    <a:pt x="3079" y="5300"/>
                    <a:pt x="3079" y="5300"/>
                    <a:pt x="3079" y="5300"/>
                  </a:cubicBezTo>
                  <a:cubicBezTo>
                    <a:pt x="3079" y="5095"/>
                    <a:pt x="3079" y="5095"/>
                    <a:pt x="3079" y="5095"/>
                  </a:cubicBezTo>
                  <a:cubicBezTo>
                    <a:pt x="3284" y="5095"/>
                    <a:pt x="3284" y="5095"/>
                    <a:pt x="3284" y="5095"/>
                  </a:cubicBezTo>
                  <a:cubicBezTo>
                    <a:pt x="3284" y="5300"/>
                    <a:pt x="3284" y="5300"/>
                    <a:pt x="3284" y="5300"/>
                  </a:cubicBezTo>
                  <a:cubicBezTo>
                    <a:pt x="3443" y="5300"/>
                    <a:pt x="3443" y="5300"/>
                    <a:pt x="3443" y="5300"/>
                  </a:cubicBezTo>
                  <a:cubicBezTo>
                    <a:pt x="3443" y="4479"/>
                    <a:pt x="3443" y="4479"/>
                    <a:pt x="3443" y="4479"/>
                  </a:cubicBezTo>
                  <a:cubicBezTo>
                    <a:pt x="2920" y="4479"/>
                    <a:pt x="2920" y="4479"/>
                    <a:pt x="2920" y="4479"/>
                  </a:cubicBezTo>
                  <a:close/>
                  <a:moveTo>
                    <a:pt x="3367" y="4981"/>
                  </a:moveTo>
                  <a:cubicBezTo>
                    <a:pt x="3208" y="4981"/>
                    <a:pt x="3208" y="4981"/>
                    <a:pt x="3208" y="4981"/>
                  </a:cubicBezTo>
                  <a:cubicBezTo>
                    <a:pt x="3208" y="4821"/>
                    <a:pt x="3208" y="4821"/>
                    <a:pt x="3208" y="4821"/>
                  </a:cubicBezTo>
                  <a:cubicBezTo>
                    <a:pt x="3367" y="4821"/>
                    <a:pt x="3367" y="4821"/>
                    <a:pt x="3367" y="4821"/>
                  </a:cubicBezTo>
                  <a:cubicBezTo>
                    <a:pt x="3367" y="4981"/>
                    <a:pt x="3367" y="4981"/>
                    <a:pt x="3367" y="4981"/>
                  </a:cubicBezTo>
                  <a:close/>
                  <a:moveTo>
                    <a:pt x="3147" y="4981"/>
                  </a:moveTo>
                  <a:cubicBezTo>
                    <a:pt x="2996" y="4981"/>
                    <a:pt x="2996" y="4981"/>
                    <a:pt x="2996" y="4981"/>
                  </a:cubicBezTo>
                  <a:cubicBezTo>
                    <a:pt x="2996" y="4821"/>
                    <a:pt x="2996" y="4821"/>
                    <a:pt x="2996" y="4821"/>
                  </a:cubicBezTo>
                  <a:cubicBezTo>
                    <a:pt x="3147" y="4821"/>
                    <a:pt x="3147" y="4821"/>
                    <a:pt x="3147" y="4821"/>
                  </a:cubicBezTo>
                  <a:cubicBezTo>
                    <a:pt x="3147" y="4981"/>
                    <a:pt x="3147" y="4981"/>
                    <a:pt x="3147" y="4981"/>
                  </a:cubicBezTo>
                  <a:close/>
                  <a:moveTo>
                    <a:pt x="3367" y="4768"/>
                  </a:moveTo>
                  <a:cubicBezTo>
                    <a:pt x="3208" y="4768"/>
                    <a:pt x="3208" y="4768"/>
                    <a:pt x="3208" y="4768"/>
                  </a:cubicBezTo>
                  <a:cubicBezTo>
                    <a:pt x="3208" y="4608"/>
                    <a:pt x="3208" y="4608"/>
                    <a:pt x="3208" y="4608"/>
                  </a:cubicBezTo>
                  <a:cubicBezTo>
                    <a:pt x="3367" y="4608"/>
                    <a:pt x="3367" y="4608"/>
                    <a:pt x="3367" y="4608"/>
                  </a:cubicBezTo>
                  <a:cubicBezTo>
                    <a:pt x="3367" y="4768"/>
                    <a:pt x="3367" y="4768"/>
                    <a:pt x="3367" y="4768"/>
                  </a:cubicBezTo>
                  <a:close/>
                  <a:moveTo>
                    <a:pt x="3147" y="4768"/>
                  </a:moveTo>
                  <a:cubicBezTo>
                    <a:pt x="2996" y="4768"/>
                    <a:pt x="2996" y="4768"/>
                    <a:pt x="2996" y="4768"/>
                  </a:cubicBezTo>
                  <a:cubicBezTo>
                    <a:pt x="2996" y="4608"/>
                    <a:pt x="2996" y="4608"/>
                    <a:pt x="2996" y="4608"/>
                  </a:cubicBezTo>
                  <a:cubicBezTo>
                    <a:pt x="3147" y="4608"/>
                    <a:pt x="3147" y="4608"/>
                    <a:pt x="3147" y="4608"/>
                  </a:cubicBezTo>
                  <a:cubicBezTo>
                    <a:pt x="3147" y="4768"/>
                    <a:pt x="3147" y="4768"/>
                    <a:pt x="3147" y="4768"/>
                  </a:cubicBezTo>
                  <a:close/>
                  <a:moveTo>
                    <a:pt x="2920" y="4479"/>
                  </a:moveTo>
                  <a:cubicBezTo>
                    <a:pt x="2920" y="5300"/>
                    <a:pt x="2920" y="5300"/>
                    <a:pt x="2920" y="5300"/>
                  </a:cubicBezTo>
                  <a:cubicBezTo>
                    <a:pt x="3079" y="5300"/>
                    <a:pt x="3079" y="5300"/>
                    <a:pt x="3079" y="5300"/>
                  </a:cubicBezTo>
                  <a:cubicBezTo>
                    <a:pt x="3079" y="5095"/>
                    <a:pt x="3079" y="5095"/>
                    <a:pt x="3079" y="5095"/>
                  </a:cubicBezTo>
                  <a:cubicBezTo>
                    <a:pt x="3284" y="5095"/>
                    <a:pt x="3284" y="5095"/>
                    <a:pt x="3284" y="5095"/>
                  </a:cubicBezTo>
                  <a:cubicBezTo>
                    <a:pt x="3284" y="5300"/>
                    <a:pt x="3284" y="5300"/>
                    <a:pt x="3284" y="5300"/>
                  </a:cubicBezTo>
                  <a:cubicBezTo>
                    <a:pt x="3443" y="5300"/>
                    <a:pt x="3443" y="5300"/>
                    <a:pt x="3443" y="5300"/>
                  </a:cubicBezTo>
                  <a:cubicBezTo>
                    <a:pt x="3443" y="4479"/>
                    <a:pt x="3443" y="4479"/>
                    <a:pt x="3443" y="4479"/>
                  </a:cubicBezTo>
                  <a:cubicBezTo>
                    <a:pt x="2920" y="4479"/>
                    <a:pt x="2920" y="4479"/>
                    <a:pt x="2920" y="4479"/>
                  </a:cubicBezTo>
                  <a:close/>
                  <a:moveTo>
                    <a:pt x="3367" y="4981"/>
                  </a:moveTo>
                  <a:cubicBezTo>
                    <a:pt x="3208" y="4981"/>
                    <a:pt x="3208" y="4981"/>
                    <a:pt x="3208" y="4981"/>
                  </a:cubicBezTo>
                  <a:cubicBezTo>
                    <a:pt x="3208" y="4821"/>
                    <a:pt x="3208" y="4821"/>
                    <a:pt x="3208" y="4821"/>
                  </a:cubicBezTo>
                  <a:cubicBezTo>
                    <a:pt x="3367" y="4821"/>
                    <a:pt x="3367" y="4821"/>
                    <a:pt x="3367" y="4821"/>
                  </a:cubicBezTo>
                  <a:cubicBezTo>
                    <a:pt x="3367" y="4981"/>
                    <a:pt x="3367" y="4981"/>
                    <a:pt x="3367" y="4981"/>
                  </a:cubicBezTo>
                  <a:moveTo>
                    <a:pt x="3147" y="4981"/>
                  </a:moveTo>
                  <a:cubicBezTo>
                    <a:pt x="2996" y="4981"/>
                    <a:pt x="2996" y="4981"/>
                    <a:pt x="2996" y="4981"/>
                  </a:cubicBezTo>
                  <a:cubicBezTo>
                    <a:pt x="2996" y="4821"/>
                    <a:pt x="2996" y="4821"/>
                    <a:pt x="2996" y="4821"/>
                  </a:cubicBezTo>
                  <a:cubicBezTo>
                    <a:pt x="3147" y="4821"/>
                    <a:pt x="3147" y="4821"/>
                    <a:pt x="3147" y="4821"/>
                  </a:cubicBezTo>
                  <a:cubicBezTo>
                    <a:pt x="3147" y="4981"/>
                    <a:pt x="3147" y="4981"/>
                    <a:pt x="3147" y="4981"/>
                  </a:cubicBezTo>
                  <a:moveTo>
                    <a:pt x="3367" y="4768"/>
                  </a:moveTo>
                  <a:cubicBezTo>
                    <a:pt x="3208" y="4768"/>
                    <a:pt x="3208" y="4768"/>
                    <a:pt x="3208" y="4768"/>
                  </a:cubicBezTo>
                  <a:cubicBezTo>
                    <a:pt x="3208" y="4608"/>
                    <a:pt x="3208" y="4608"/>
                    <a:pt x="3208" y="4608"/>
                  </a:cubicBezTo>
                  <a:cubicBezTo>
                    <a:pt x="3367" y="4608"/>
                    <a:pt x="3367" y="4608"/>
                    <a:pt x="3367" y="4608"/>
                  </a:cubicBezTo>
                  <a:cubicBezTo>
                    <a:pt x="3367" y="4768"/>
                    <a:pt x="3367" y="4768"/>
                    <a:pt x="3367" y="4768"/>
                  </a:cubicBezTo>
                  <a:moveTo>
                    <a:pt x="3147" y="4768"/>
                  </a:moveTo>
                  <a:cubicBezTo>
                    <a:pt x="2996" y="4768"/>
                    <a:pt x="2996" y="4768"/>
                    <a:pt x="2996" y="4768"/>
                  </a:cubicBezTo>
                  <a:cubicBezTo>
                    <a:pt x="2996" y="4608"/>
                    <a:pt x="2996" y="4608"/>
                    <a:pt x="2996" y="4608"/>
                  </a:cubicBezTo>
                  <a:cubicBezTo>
                    <a:pt x="3147" y="4608"/>
                    <a:pt x="3147" y="4608"/>
                    <a:pt x="3147" y="4608"/>
                  </a:cubicBezTo>
                  <a:cubicBezTo>
                    <a:pt x="3147" y="4768"/>
                    <a:pt x="3147" y="4768"/>
                    <a:pt x="3147" y="4768"/>
                  </a:cubicBezTo>
                  <a:moveTo>
                    <a:pt x="2920" y="4479"/>
                  </a:moveTo>
                  <a:cubicBezTo>
                    <a:pt x="2920" y="5300"/>
                    <a:pt x="2920" y="5300"/>
                    <a:pt x="2920" y="5300"/>
                  </a:cubicBezTo>
                  <a:cubicBezTo>
                    <a:pt x="3079" y="5300"/>
                    <a:pt x="3079" y="5300"/>
                    <a:pt x="3079" y="5300"/>
                  </a:cubicBezTo>
                  <a:cubicBezTo>
                    <a:pt x="3079" y="5095"/>
                    <a:pt x="3079" y="5095"/>
                    <a:pt x="3079" y="5095"/>
                  </a:cubicBezTo>
                  <a:cubicBezTo>
                    <a:pt x="3284" y="5095"/>
                    <a:pt x="3284" y="5095"/>
                    <a:pt x="3284" y="5095"/>
                  </a:cubicBezTo>
                  <a:cubicBezTo>
                    <a:pt x="3284" y="5300"/>
                    <a:pt x="3284" y="5300"/>
                    <a:pt x="3284" y="5300"/>
                  </a:cubicBezTo>
                  <a:cubicBezTo>
                    <a:pt x="3443" y="5300"/>
                    <a:pt x="3443" y="5300"/>
                    <a:pt x="3443" y="5300"/>
                  </a:cubicBezTo>
                  <a:cubicBezTo>
                    <a:pt x="3443" y="4479"/>
                    <a:pt x="3443" y="4479"/>
                    <a:pt x="3443" y="4479"/>
                  </a:cubicBezTo>
                  <a:cubicBezTo>
                    <a:pt x="2920" y="4479"/>
                    <a:pt x="2920" y="4479"/>
                    <a:pt x="2920" y="4479"/>
                  </a:cubicBezTo>
                  <a:moveTo>
                    <a:pt x="697" y="2398"/>
                  </a:moveTo>
                  <a:cubicBezTo>
                    <a:pt x="794" y="2398"/>
                    <a:pt x="875" y="2464"/>
                    <a:pt x="920" y="2559"/>
                  </a:cubicBezTo>
                  <a:cubicBezTo>
                    <a:pt x="972" y="2522"/>
                    <a:pt x="1031" y="2500"/>
                    <a:pt x="1098" y="2500"/>
                  </a:cubicBezTo>
                  <a:cubicBezTo>
                    <a:pt x="1247" y="2500"/>
                    <a:pt x="1373" y="2602"/>
                    <a:pt x="1402" y="2741"/>
                  </a:cubicBezTo>
                  <a:cubicBezTo>
                    <a:pt x="1417" y="2734"/>
                    <a:pt x="1440" y="2726"/>
                    <a:pt x="1462" y="2726"/>
                  </a:cubicBezTo>
                  <a:cubicBezTo>
                    <a:pt x="1543" y="2726"/>
                    <a:pt x="1610" y="2792"/>
                    <a:pt x="1610" y="2872"/>
                  </a:cubicBezTo>
                  <a:cubicBezTo>
                    <a:pt x="1610" y="2953"/>
                    <a:pt x="1543" y="3018"/>
                    <a:pt x="1462" y="3018"/>
                  </a:cubicBezTo>
                  <a:cubicBezTo>
                    <a:pt x="1432" y="3018"/>
                    <a:pt x="1410" y="3011"/>
                    <a:pt x="1388" y="2996"/>
                  </a:cubicBezTo>
                  <a:cubicBezTo>
                    <a:pt x="1343" y="3106"/>
                    <a:pt x="1232" y="3186"/>
                    <a:pt x="1098" y="3186"/>
                  </a:cubicBezTo>
                  <a:cubicBezTo>
                    <a:pt x="1016" y="3186"/>
                    <a:pt x="935" y="3150"/>
                    <a:pt x="883" y="3099"/>
                  </a:cubicBezTo>
                  <a:cubicBezTo>
                    <a:pt x="838" y="3150"/>
                    <a:pt x="772" y="3179"/>
                    <a:pt x="697" y="3179"/>
                  </a:cubicBezTo>
                  <a:cubicBezTo>
                    <a:pt x="608" y="3179"/>
                    <a:pt x="534" y="3135"/>
                    <a:pt x="489" y="3077"/>
                  </a:cubicBezTo>
                  <a:cubicBezTo>
                    <a:pt x="475" y="3128"/>
                    <a:pt x="423" y="3164"/>
                    <a:pt x="363" y="3164"/>
                  </a:cubicBezTo>
                  <a:cubicBezTo>
                    <a:pt x="296" y="3164"/>
                    <a:pt x="244" y="3120"/>
                    <a:pt x="230" y="3062"/>
                  </a:cubicBezTo>
                  <a:cubicBezTo>
                    <a:pt x="207" y="3091"/>
                    <a:pt x="170" y="3106"/>
                    <a:pt x="133" y="3106"/>
                  </a:cubicBezTo>
                  <a:cubicBezTo>
                    <a:pt x="59" y="3106"/>
                    <a:pt x="0" y="3047"/>
                    <a:pt x="0" y="2982"/>
                  </a:cubicBezTo>
                  <a:cubicBezTo>
                    <a:pt x="0" y="2909"/>
                    <a:pt x="59" y="2850"/>
                    <a:pt x="133" y="2850"/>
                  </a:cubicBezTo>
                  <a:cubicBezTo>
                    <a:pt x="155" y="2850"/>
                    <a:pt x="170" y="2858"/>
                    <a:pt x="193" y="2865"/>
                  </a:cubicBezTo>
                  <a:cubicBezTo>
                    <a:pt x="193" y="2858"/>
                    <a:pt x="193" y="2850"/>
                    <a:pt x="193" y="2843"/>
                  </a:cubicBezTo>
                  <a:cubicBezTo>
                    <a:pt x="193" y="2726"/>
                    <a:pt x="289" y="2632"/>
                    <a:pt x="408" y="2632"/>
                  </a:cubicBezTo>
                  <a:cubicBezTo>
                    <a:pt x="423" y="2632"/>
                    <a:pt x="430" y="2632"/>
                    <a:pt x="445" y="2632"/>
                  </a:cubicBezTo>
                  <a:cubicBezTo>
                    <a:pt x="467" y="2500"/>
                    <a:pt x="571" y="2398"/>
                    <a:pt x="697" y="2398"/>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178"/>
              <a:endParaRPr lang="en-US" sz="800" dirty="0">
                <a:solidFill>
                  <a:srgbClr val="2F2E7E"/>
                </a:solidFill>
              </a:endParaRPr>
            </a:p>
          </p:txBody>
        </p:sp>
        <p:sp>
          <p:nvSpPr>
            <p:cNvPr id="95" name="TextBox 94"/>
            <p:cNvSpPr txBox="1"/>
            <p:nvPr/>
          </p:nvSpPr>
          <p:spPr>
            <a:xfrm>
              <a:off x="3938401" y="3796685"/>
              <a:ext cx="1265800" cy="560153"/>
            </a:xfrm>
            <a:prstGeom prst="rect">
              <a:avLst/>
            </a:prstGeom>
            <a:noFill/>
            <a:effectLst/>
          </p:spPr>
          <p:txBody>
            <a:bodyPr wrap="square" lIns="45720" tIns="45720" rIns="45720" bIns="45720" rtlCol="0" anchor="ctr">
              <a:spAutoFit/>
            </a:bodyPr>
            <a:lstStyle/>
            <a:p>
              <a:pPr algn="ctr">
                <a:lnSpc>
                  <a:spcPct val="95000"/>
                </a:lnSpc>
                <a:spcBef>
                  <a:spcPts val="0"/>
                </a:spcBef>
                <a:spcAft>
                  <a:spcPts val="0"/>
                </a:spcAft>
              </a:pPr>
              <a:r>
                <a:rPr lang="en-IN" sz="3200" b="1" dirty="0" smtClean="0">
                  <a:ln w="0"/>
                  <a:solidFill>
                    <a:schemeClr val="accent4">
                      <a:lumMod val="75000"/>
                    </a:schemeClr>
                  </a:solidFill>
                  <a:latin typeface="+mn-lt"/>
                  <a:cs typeface="Avenir Book"/>
                </a:rPr>
                <a:t>HALF</a:t>
              </a:r>
              <a:endParaRPr lang="en-IN" sz="1400" b="1" dirty="0">
                <a:ln w="0"/>
                <a:solidFill>
                  <a:schemeClr val="accent4">
                    <a:lumMod val="75000"/>
                  </a:schemeClr>
                </a:solidFill>
                <a:latin typeface="+mn-lt"/>
                <a:cs typeface="Avenir Book"/>
              </a:endParaRPr>
            </a:p>
          </p:txBody>
        </p:sp>
        <p:sp>
          <p:nvSpPr>
            <p:cNvPr id="96" name="Rectangle 95"/>
            <p:cNvSpPr/>
            <p:nvPr/>
          </p:nvSpPr>
          <p:spPr>
            <a:xfrm>
              <a:off x="3485336" y="4270837"/>
              <a:ext cx="2171941" cy="267766"/>
            </a:xfrm>
            <a:prstGeom prst="rect">
              <a:avLst/>
            </a:prstGeom>
          </p:spPr>
          <p:txBody>
            <a:bodyPr wrap="none">
              <a:spAutoFit/>
            </a:bodyPr>
            <a:lstStyle/>
            <a:p>
              <a:pPr algn="ctr">
                <a:lnSpc>
                  <a:spcPct val="95000"/>
                </a:lnSpc>
                <a:spcBef>
                  <a:spcPts val="0"/>
                </a:spcBef>
                <a:spcAft>
                  <a:spcPts val="0"/>
                </a:spcAft>
              </a:pPr>
              <a:r>
                <a:rPr lang="en-IN" sz="1200" dirty="0" smtClean="0">
                  <a:solidFill>
                    <a:schemeClr val="accent1"/>
                  </a:solidFill>
                  <a:cs typeface="Avenir Book"/>
                </a:rPr>
                <a:t>Connected Devices Are M2M</a:t>
              </a:r>
              <a:endParaRPr lang="en-IN" sz="1200" dirty="0">
                <a:solidFill>
                  <a:schemeClr val="accent1"/>
                </a:solidFill>
                <a:cs typeface="Avenir Book"/>
              </a:endParaRPr>
            </a:p>
          </p:txBody>
        </p:sp>
      </p:grpSp>
      <p:grpSp>
        <p:nvGrpSpPr>
          <p:cNvPr id="97" name="Group 96"/>
          <p:cNvGrpSpPr/>
          <p:nvPr/>
        </p:nvGrpSpPr>
        <p:grpSpPr>
          <a:xfrm>
            <a:off x="4842614" y="3071094"/>
            <a:ext cx="1900001" cy="1467509"/>
            <a:chOff x="3619898" y="3071094"/>
            <a:chExt cx="1900001" cy="1467509"/>
          </a:xfrm>
        </p:grpSpPr>
        <p:sp>
          <p:nvSpPr>
            <p:cNvPr id="98" name="TextBox 97"/>
            <p:cNvSpPr txBox="1"/>
            <p:nvPr/>
          </p:nvSpPr>
          <p:spPr>
            <a:xfrm>
              <a:off x="3619898" y="3539430"/>
              <a:ext cx="1900001" cy="307777"/>
            </a:xfrm>
            <a:prstGeom prst="rect">
              <a:avLst/>
            </a:prstGeom>
            <a:noFill/>
            <a:effectLst/>
          </p:spPr>
          <p:txBody>
            <a:bodyPr wrap="square" lIns="45720" tIns="45720" rIns="45720" bIns="45720" rtlCol="0" anchor="ctr">
              <a:spAutoFit/>
            </a:bodyPr>
            <a:lstStyle/>
            <a:p>
              <a:pPr algn="ctr">
                <a:spcBef>
                  <a:spcPts val="600"/>
                </a:spcBef>
                <a:spcAft>
                  <a:spcPts val="0"/>
                </a:spcAft>
              </a:pPr>
              <a:r>
                <a:rPr lang="en-IN" sz="1400" b="1" dirty="0" smtClean="0">
                  <a:solidFill>
                    <a:schemeClr val="accent1"/>
                  </a:solidFill>
                  <a:latin typeface="+mn-lt"/>
                  <a:cs typeface="Avenir Book"/>
                </a:rPr>
                <a:t>5G Rollouts Begin</a:t>
              </a:r>
            </a:p>
          </p:txBody>
        </p:sp>
        <p:sp>
          <p:nvSpPr>
            <p:cNvPr id="99" name="Freeform 98"/>
            <p:cNvSpPr>
              <a:spLocks noEditPoints="1"/>
            </p:cNvSpPr>
            <p:nvPr/>
          </p:nvSpPr>
          <p:spPr bwMode="auto">
            <a:xfrm>
              <a:off x="4282077" y="3071094"/>
              <a:ext cx="547236" cy="522020"/>
            </a:xfrm>
            <a:custGeom>
              <a:avLst/>
              <a:gdLst>
                <a:gd name="T0" fmla="*/ 4598 w 5557"/>
                <a:gd name="T1" fmla="*/ 3107 h 5300"/>
                <a:gd name="T2" fmla="*/ 5516 w 5557"/>
                <a:gd name="T3" fmla="*/ 2721 h 5300"/>
                <a:gd name="T4" fmla="*/ 4190 w 5557"/>
                <a:gd name="T5" fmla="*/ 2817 h 5300"/>
                <a:gd name="T6" fmla="*/ 5326 w 5557"/>
                <a:gd name="T7" fmla="*/ 2592 h 5300"/>
                <a:gd name="T8" fmla="*/ 4676 w 5557"/>
                <a:gd name="T9" fmla="*/ 2851 h 5300"/>
                <a:gd name="T10" fmla="*/ 5049 w 5557"/>
                <a:gd name="T11" fmla="*/ 2787 h 5300"/>
                <a:gd name="T12" fmla="*/ 5434 w 5557"/>
                <a:gd name="T13" fmla="*/ 3107 h 5300"/>
                <a:gd name="T14" fmla="*/ 4044 w 5557"/>
                <a:gd name="T15" fmla="*/ 2066 h 5300"/>
                <a:gd name="T16" fmla="*/ 1678 w 5557"/>
                <a:gd name="T17" fmla="*/ 1180 h 5300"/>
                <a:gd name="T18" fmla="*/ 2138 w 5557"/>
                <a:gd name="T19" fmla="*/ 4528 h 5300"/>
                <a:gd name="T20" fmla="*/ 1553 w 5557"/>
                <a:gd name="T21" fmla="*/ 3776 h 5300"/>
                <a:gd name="T22" fmla="*/ 3527 w 5557"/>
                <a:gd name="T23" fmla="*/ 4092 h 5300"/>
                <a:gd name="T24" fmla="*/ 2004 w 5557"/>
                <a:gd name="T25" fmla="*/ 3052 h 5300"/>
                <a:gd name="T26" fmla="*/ 2547 w 5557"/>
                <a:gd name="T27" fmla="*/ 2192 h 5300"/>
                <a:gd name="T28" fmla="*/ 2227 w 5557"/>
                <a:gd name="T29" fmla="*/ 2530 h 5300"/>
                <a:gd name="T30" fmla="*/ 1838 w 5557"/>
                <a:gd name="T31" fmla="*/ 2680 h 5300"/>
                <a:gd name="T32" fmla="*/ 3457 w 5557"/>
                <a:gd name="T33" fmla="*/ 2346 h 5300"/>
                <a:gd name="T34" fmla="*/ 2793 w 5557"/>
                <a:gd name="T35" fmla="*/ 1828 h 5300"/>
                <a:gd name="T36" fmla="*/ 3605 w 5557"/>
                <a:gd name="T37" fmla="*/ 2488 h 5300"/>
                <a:gd name="T38" fmla="*/ 3526 w 5557"/>
                <a:gd name="T39" fmla="*/ 2512 h 5300"/>
                <a:gd name="T40" fmla="*/ 2723 w 5557"/>
                <a:gd name="T41" fmla="*/ 3371 h 5300"/>
                <a:gd name="T42" fmla="*/ 3418 w 5557"/>
                <a:gd name="T43" fmla="*/ 3403 h 5300"/>
                <a:gd name="T44" fmla="*/ 2633 w 5557"/>
                <a:gd name="T45" fmla="*/ 3339 h 5300"/>
                <a:gd name="T46" fmla="*/ 3018 w 5557"/>
                <a:gd name="T47" fmla="*/ 0 h 5300"/>
                <a:gd name="T48" fmla="*/ 2693 w 5557"/>
                <a:gd name="T49" fmla="*/ 1218 h 5300"/>
                <a:gd name="T50" fmla="*/ 2693 w 5557"/>
                <a:gd name="T51" fmla="*/ 1309 h 5300"/>
                <a:gd name="T52" fmla="*/ 2783 w 5557"/>
                <a:gd name="T53" fmla="*/ 1138 h 5300"/>
                <a:gd name="T54" fmla="*/ 3022 w 5557"/>
                <a:gd name="T55" fmla="*/ 786 h 5300"/>
                <a:gd name="T56" fmla="*/ 2831 w 5557"/>
                <a:gd name="T57" fmla="*/ 779 h 5300"/>
                <a:gd name="T58" fmla="*/ 2752 w 5557"/>
                <a:gd name="T59" fmla="*/ 860 h 5300"/>
                <a:gd name="T60" fmla="*/ 2492 w 5557"/>
                <a:gd name="T61" fmla="*/ 988 h 5300"/>
                <a:gd name="T62" fmla="*/ 2546 w 5557"/>
                <a:gd name="T63" fmla="*/ 1160 h 5300"/>
                <a:gd name="T64" fmla="*/ 2640 w 5557"/>
                <a:gd name="T65" fmla="*/ 1440 h 5300"/>
                <a:gd name="T66" fmla="*/ 3039 w 5557"/>
                <a:gd name="T67" fmla="*/ 1332 h 5300"/>
                <a:gd name="T68" fmla="*/ 3039 w 5557"/>
                <a:gd name="T69" fmla="*/ 1103 h 5300"/>
                <a:gd name="T70" fmla="*/ 2949 w 5557"/>
                <a:gd name="T71" fmla="*/ 1023 h 5300"/>
                <a:gd name="T72" fmla="*/ 2483 w 5557"/>
                <a:gd name="T73" fmla="*/ 113 h 5300"/>
                <a:gd name="T74" fmla="*/ 2450 w 5557"/>
                <a:gd name="T75" fmla="*/ 4927 h 5300"/>
                <a:gd name="T76" fmla="*/ 2602 w 5557"/>
                <a:gd name="T77" fmla="*/ 4631 h 5300"/>
                <a:gd name="T78" fmla="*/ 2814 w 5557"/>
                <a:gd name="T79" fmla="*/ 4365 h 5300"/>
                <a:gd name="T80" fmla="*/ 2526 w 5557"/>
                <a:gd name="T81" fmla="*/ 5300 h 5300"/>
                <a:gd name="T82" fmla="*/ 2602 w 5557"/>
                <a:gd name="T83" fmla="*/ 4927 h 5300"/>
                <a:gd name="T84" fmla="*/ 2450 w 5557"/>
                <a:gd name="T85" fmla="*/ 4631 h 5300"/>
                <a:gd name="T86" fmla="*/ 2602 w 5557"/>
                <a:gd name="T87" fmla="*/ 4570 h 5300"/>
                <a:gd name="T88" fmla="*/ 2367 w 5557"/>
                <a:gd name="T89" fmla="*/ 5300 h 5300"/>
                <a:gd name="T90" fmla="*/ 2814 w 5557"/>
                <a:gd name="T91" fmla="*/ 4927 h 5300"/>
                <a:gd name="T92" fmla="*/ 2450 w 5557"/>
                <a:gd name="T93" fmla="*/ 4745 h 5300"/>
                <a:gd name="T94" fmla="*/ 2602 w 5557"/>
                <a:gd name="T95" fmla="*/ 4418 h 5300"/>
                <a:gd name="T96" fmla="*/ 2367 w 5557"/>
                <a:gd name="T97" fmla="*/ 4083 h 5300"/>
                <a:gd name="T98" fmla="*/ 3367 w 5557"/>
                <a:gd name="T99" fmla="*/ 4821 h 5300"/>
                <a:gd name="T100" fmla="*/ 3147 w 5557"/>
                <a:gd name="T101" fmla="*/ 4768 h 5300"/>
                <a:gd name="T102" fmla="*/ 3443 w 5557"/>
                <a:gd name="T103" fmla="*/ 4479 h 5300"/>
                <a:gd name="T104" fmla="*/ 3367 w 5557"/>
                <a:gd name="T105" fmla="*/ 4768 h 5300"/>
                <a:gd name="T106" fmla="*/ 3079 w 5557"/>
                <a:gd name="T107" fmla="*/ 5300 h 5300"/>
                <a:gd name="T108" fmla="*/ 3147 w 5557"/>
                <a:gd name="T109" fmla="*/ 4981 h 5300"/>
                <a:gd name="T110" fmla="*/ 2996 w 5557"/>
                <a:gd name="T111" fmla="*/ 4608 h 5300"/>
                <a:gd name="T112" fmla="*/ 697 w 5557"/>
                <a:gd name="T113" fmla="*/ 2398 h 5300"/>
                <a:gd name="T114" fmla="*/ 363 w 5557"/>
                <a:gd name="T115" fmla="*/ 3164 h 5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7" h="5300">
                  <a:moveTo>
                    <a:pt x="4221" y="2564"/>
                  </a:moveTo>
                  <a:cubicBezTo>
                    <a:pt x="4271" y="2579"/>
                    <a:pt x="4271" y="2579"/>
                    <a:pt x="4271" y="2579"/>
                  </a:cubicBezTo>
                  <a:cubicBezTo>
                    <a:pt x="4302" y="2588"/>
                    <a:pt x="4336" y="2574"/>
                    <a:pt x="4345" y="2547"/>
                  </a:cubicBezTo>
                  <a:cubicBezTo>
                    <a:pt x="4354" y="2521"/>
                    <a:pt x="4354" y="2521"/>
                    <a:pt x="4354" y="2521"/>
                  </a:cubicBezTo>
                  <a:cubicBezTo>
                    <a:pt x="4364" y="2494"/>
                    <a:pt x="4345" y="2473"/>
                    <a:pt x="4312" y="2473"/>
                  </a:cubicBezTo>
                  <a:cubicBezTo>
                    <a:pt x="4242" y="2473"/>
                    <a:pt x="4242" y="2473"/>
                    <a:pt x="4242" y="2473"/>
                  </a:cubicBezTo>
                  <a:cubicBezTo>
                    <a:pt x="4209" y="2473"/>
                    <a:pt x="4178" y="2490"/>
                    <a:pt x="4173" y="2510"/>
                  </a:cubicBezTo>
                  <a:cubicBezTo>
                    <a:pt x="4168" y="2531"/>
                    <a:pt x="4189" y="2555"/>
                    <a:pt x="4221" y="2564"/>
                  </a:cubicBezTo>
                  <a:close/>
                  <a:moveTo>
                    <a:pt x="4291" y="3107"/>
                  </a:moveTo>
                  <a:cubicBezTo>
                    <a:pt x="4291" y="3149"/>
                    <a:pt x="4331" y="3183"/>
                    <a:pt x="4381" y="3183"/>
                  </a:cubicBezTo>
                  <a:cubicBezTo>
                    <a:pt x="4508" y="3183"/>
                    <a:pt x="4508" y="3183"/>
                    <a:pt x="4508" y="3183"/>
                  </a:cubicBezTo>
                  <a:cubicBezTo>
                    <a:pt x="4558" y="3183"/>
                    <a:pt x="4598" y="3149"/>
                    <a:pt x="4598" y="3107"/>
                  </a:cubicBezTo>
                  <a:cubicBezTo>
                    <a:pt x="4598" y="3041"/>
                    <a:pt x="4598" y="3041"/>
                    <a:pt x="4598" y="3041"/>
                  </a:cubicBezTo>
                  <a:cubicBezTo>
                    <a:pt x="4291" y="3041"/>
                    <a:pt x="4291" y="3041"/>
                    <a:pt x="4291" y="3041"/>
                  </a:cubicBezTo>
                  <a:lnTo>
                    <a:pt x="4291" y="3107"/>
                  </a:lnTo>
                  <a:close/>
                  <a:moveTo>
                    <a:pt x="5380" y="2547"/>
                  </a:moveTo>
                  <a:cubicBezTo>
                    <a:pt x="5389" y="2574"/>
                    <a:pt x="5422" y="2588"/>
                    <a:pt x="5454" y="2579"/>
                  </a:cubicBezTo>
                  <a:cubicBezTo>
                    <a:pt x="5504" y="2564"/>
                    <a:pt x="5504" y="2564"/>
                    <a:pt x="5504" y="2564"/>
                  </a:cubicBezTo>
                  <a:cubicBezTo>
                    <a:pt x="5536" y="2555"/>
                    <a:pt x="5557" y="2531"/>
                    <a:pt x="5552" y="2510"/>
                  </a:cubicBezTo>
                  <a:cubicBezTo>
                    <a:pt x="5547" y="2490"/>
                    <a:pt x="5516" y="2473"/>
                    <a:pt x="5483" y="2473"/>
                  </a:cubicBezTo>
                  <a:cubicBezTo>
                    <a:pt x="5413" y="2473"/>
                    <a:pt x="5413" y="2473"/>
                    <a:pt x="5413" y="2473"/>
                  </a:cubicBezTo>
                  <a:cubicBezTo>
                    <a:pt x="5380" y="2473"/>
                    <a:pt x="5361" y="2494"/>
                    <a:pt x="5370" y="2521"/>
                  </a:cubicBezTo>
                  <a:lnTo>
                    <a:pt x="5380" y="2547"/>
                  </a:lnTo>
                  <a:close/>
                  <a:moveTo>
                    <a:pt x="5516" y="2721"/>
                  </a:moveTo>
                  <a:cubicBezTo>
                    <a:pt x="5491" y="2627"/>
                    <a:pt x="5374" y="2582"/>
                    <a:pt x="5374" y="2582"/>
                  </a:cubicBezTo>
                  <a:cubicBezTo>
                    <a:pt x="5314" y="2467"/>
                    <a:pt x="5200" y="2387"/>
                    <a:pt x="5200" y="2387"/>
                  </a:cubicBezTo>
                  <a:cubicBezTo>
                    <a:pt x="5200" y="2387"/>
                    <a:pt x="5135" y="2377"/>
                    <a:pt x="5040" y="2370"/>
                  </a:cubicBezTo>
                  <a:cubicBezTo>
                    <a:pt x="5036" y="2355"/>
                    <a:pt x="5033" y="2345"/>
                    <a:pt x="5028" y="2329"/>
                  </a:cubicBezTo>
                  <a:cubicBezTo>
                    <a:pt x="5019" y="2299"/>
                    <a:pt x="4987" y="2275"/>
                    <a:pt x="4955" y="2275"/>
                  </a:cubicBezTo>
                  <a:cubicBezTo>
                    <a:pt x="4770" y="2275"/>
                    <a:pt x="4770" y="2275"/>
                    <a:pt x="4770" y="2275"/>
                  </a:cubicBezTo>
                  <a:cubicBezTo>
                    <a:pt x="4738" y="2275"/>
                    <a:pt x="4705" y="2299"/>
                    <a:pt x="4697" y="2329"/>
                  </a:cubicBezTo>
                  <a:cubicBezTo>
                    <a:pt x="4692" y="2345"/>
                    <a:pt x="4689" y="2355"/>
                    <a:pt x="4685" y="2370"/>
                  </a:cubicBezTo>
                  <a:cubicBezTo>
                    <a:pt x="4589" y="2377"/>
                    <a:pt x="4525" y="2387"/>
                    <a:pt x="4525" y="2387"/>
                  </a:cubicBezTo>
                  <a:cubicBezTo>
                    <a:pt x="4525" y="2387"/>
                    <a:pt x="4411" y="2467"/>
                    <a:pt x="4351" y="2582"/>
                  </a:cubicBezTo>
                  <a:cubicBezTo>
                    <a:pt x="4351" y="2582"/>
                    <a:pt x="4234" y="2627"/>
                    <a:pt x="4209" y="2721"/>
                  </a:cubicBezTo>
                  <a:cubicBezTo>
                    <a:pt x="4209" y="2721"/>
                    <a:pt x="4190" y="2777"/>
                    <a:pt x="4190" y="2817"/>
                  </a:cubicBezTo>
                  <a:cubicBezTo>
                    <a:pt x="4190" y="2817"/>
                    <a:pt x="4177" y="2862"/>
                    <a:pt x="4177" y="2912"/>
                  </a:cubicBezTo>
                  <a:cubicBezTo>
                    <a:pt x="4177" y="3016"/>
                    <a:pt x="4228" y="3017"/>
                    <a:pt x="4228" y="3017"/>
                  </a:cubicBezTo>
                  <a:cubicBezTo>
                    <a:pt x="5497" y="3017"/>
                    <a:pt x="5497" y="3017"/>
                    <a:pt x="5497" y="3017"/>
                  </a:cubicBezTo>
                  <a:cubicBezTo>
                    <a:pt x="5497" y="3017"/>
                    <a:pt x="5548" y="3016"/>
                    <a:pt x="5548" y="2912"/>
                  </a:cubicBezTo>
                  <a:cubicBezTo>
                    <a:pt x="5548" y="2862"/>
                    <a:pt x="5535" y="2817"/>
                    <a:pt x="5535" y="2817"/>
                  </a:cubicBezTo>
                  <a:cubicBezTo>
                    <a:pt x="5535" y="2777"/>
                    <a:pt x="5516" y="2721"/>
                    <a:pt x="5516" y="2721"/>
                  </a:cubicBezTo>
                  <a:close/>
                  <a:moveTo>
                    <a:pt x="4400" y="2589"/>
                  </a:moveTo>
                  <a:cubicBezTo>
                    <a:pt x="4445" y="2503"/>
                    <a:pt x="4523" y="2442"/>
                    <a:pt x="4550" y="2423"/>
                  </a:cubicBezTo>
                  <a:cubicBezTo>
                    <a:pt x="4590" y="2417"/>
                    <a:pt x="4718" y="2404"/>
                    <a:pt x="4862" y="2404"/>
                  </a:cubicBezTo>
                  <a:cubicBezTo>
                    <a:pt x="5008" y="2404"/>
                    <a:pt x="5135" y="2417"/>
                    <a:pt x="5175" y="2423"/>
                  </a:cubicBezTo>
                  <a:cubicBezTo>
                    <a:pt x="5202" y="2441"/>
                    <a:pt x="5280" y="2503"/>
                    <a:pt x="5325" y="2589"/>
                  </a:cubicBezTo>
                  <a:cubicBezTo>
                    <a:pt x="5325" y="2591"/>
                    <a:pt x="5325" y="2591"/>
                    <a:pt x="5326" y="2592"/>
                  </a:cubicBezTo>
                  <a:cubicBezTo>
                    <a:pt x="5018" y="2561"/>
                    <a:pt x="4706" y="2561"/>
                    <a:pt x="4399" y="2592"/>
                  </a:cubicBezTo>
                  <a:cubicBezTo>
                    <a:pt x="4399" y="2591"/>
                    <a:pt x="4400" y="2591"/>
                    <a:pt x="4400" y="2589"/>
                  </a:cubicBezTo>
                  <a:close/>
                  <a:moveTo>
                    <a:pt x="4319" y="2852"/>
                  </a:moveTo>
                  <a:cubicBezTo>
                    <a:pt x="4301" y="2852"/>
                    <a:pt x="4287" y="2840"/>
                    <a:pt x="4287" y="2825"/>
                  </a:cubicBezTo>
                  <a:cubicBezTo>
                    <a:pt x="4287" y="2779"/>
                    <a:pt x="4287" y="2779"/>
                    <a:pt x="4287" y="2779"/>
                  </a:cubicBezTo>
                  <a:cubicBezTo>
                    <a:pt x="4287" y="2749"/>
                    <a:pt x="4315" y="2727"/>
                    <a:pt x="4350" y="2730"/>
                  </a:cubicBezTo>
                  <a:cubicBezTo>
                    <a:pt x="4465" y="2735"/>
                    <a:pt x="4465" y="2735"/>
                    <a:pt x="4465" y="2735"/>
                  </a:cubicBezTo>
                  <a:cubicBezTo>
                    <a:pt x="4500" y="2737"/>
                    <a:pt x="4535" y="2762"/>
                    <a:pt x="4544" y="2790"/>
                  </a:cubicBezTo>
                  <a:cubicBezTo>
                    <a:pt x="4564" y="2854"/>
                    <a:pt x="4564" y="2854"/>
                    <a:pt x="4564" y="2854"/>
                  </a:cubicBezTo>
                  <a:lnTo>
                    <a:pt x="4319" y="2852"/>
                  </a:lnTo>
                  <a:close/>
                  <a:moveTo>
                    <a:pt x="5049" y="2851"/>
                  </a:moveTo>
                  <a:cubicBezTo>
                    <a:pt x="4676" y="2851"/>
                    <a:pt x="4676" y="2851"/>
                    <a:pt x="4676" y="2851"/>
                  </a:cubicBezTo>
                  <a:cubicBezTo>
                    <a:pt x="4665" y="2851"/>
                    <a:pt x="4656" y="2843"/>
                    <a:pt x="4656" y="2834"/>
                  </a:cubicBezTo>
                  <a:cubicBezTo>
                    <a:pt x="4656" y="2824"/>
                    <a:pt x="4665" y="2816"/>
                    <a:pt x="4676" y="2816"/>
                  </a:cubicBezTo>
                  <a:cubicBezTo>
                    <a:pt x="5049" y="2816"/>
                    <a:pt x="5049" y="2816"/>
                    <a:pt x="5049" y="2816"/>
                  </a:cubicBezTo>
                  <a:cubicBezTo>
                    <a:pt x="5060" y="2816"/>
                    <a:pt x="5069" y="2824"/>
                    <a:pt x="5069" y="2834"/>
                  </a:cubicBezTo>
                  <a:cubicBezTo>
                    <a:pt x="5069" y="2843"/>
                    <a:pt x="5060" y="2851"/>
                    <a:pt x="5049" y="2851"/>
                  </a:cubicBezTo>
                  <a:close/>
                  <a:moveTo>
                    <a:pt x="5049" y="2787"/>
                  </a:moveTo>
                  <a:cubicBezTo>
                    <a:pt x="4676" y="2787"/>
                    <a:pt x="4676" y="2787"/>
                    <a:pt x="4676" y="2787"/>
                  </a:cubicBezTo>
                  <a:cubicBezTo>
                    <a:pt x="4665" y="2787"/>
                    <a:pt x="4656" y="2780"/>
                    <a:pt x="4656" y="2770"/>
                  </a:cubicBezTo>
                  <a:cubicBezTo>
                    <a:pt x="4656" y="2761"/>
                    <a:pt x="4665" y="2753"/>
                    <a:pt x="4676" y="2753"/>
                  </a:cubicBezTo>
                  <a:cubicBezTo>
                    <a:pt x="5049" y="2753"/>
                    <a:pt x="5049" y="2753"/>
                    <a:pt x="5049" y="2753"/>
                  </a:cubicBezTo>
                  <a:cubicBezTo>
                    <a:pt x="5060" y="2753"/>
                    <a:pt x="5069" y="2761"/>
                    <a:pt x="5069" y="2770"/>
                  </a:cubicBezTo>
                  <a:cubicBezTo>
                    <a:pt x="5069" y="2780"/>
                    <a:pt x="5060" y="2787"/>
                    <a:pt x="5049" y="2787"/>
                  </a:cubicBezTo>
                  <a:close/>
                  <a:moveTo>
                    <a:pt x="5438" y="2825"/>
                  </a:moveTo>
                  <a:cubicBezTo>
                    <a:pt x="5438" y="2840"/>
                    <a:pt x="5424" y="2852"/>
                    <a:pt x="5406" y="2852"/>
                  </a:cubicBezTo>
                  <a:cubicBezTo>
                    <a:pt x="5161" y="2854"/>
                    <a:pt x="5161" y="2854"/>
                    <a:pt x="5161" y="2854"/>
                  </a:cubicBezTo>
                  <a:cubicBezTo>
                    <a:pt x="5181" y="2790"/>
                    <a:pt x="5181" y="2790"/>
                    <a:pt x="5181" y="2790"/>
                  </a:cubicBezTo>
                  <a:cubicBezTo>
                    <a:pt x="5190" y="2762"/>
                    <a:pt x="5225" y="2737"/>
                    <a:pt x="5260" y="2735"/>
                  </a:cubicBezTo>
                  <a:cubicBezTo>
                    <a:pt x="5375" y="2730"/>
                    <a:pt x="5375" y="2730"/>
                    <a:pt x="5375" y="2730"/>
                  </a:cubicBezTo>
                  <a:cubicBezTo>
                    <a:pt x="5410" y="2727"/>
                    <a:pt x="5438" y="2749"/>
                    <a:pt x="5438" y="2779"/>
                  </a:cubicBezTo>
                  <a:lnTo>
                    <a:pt x="5438" y="2825"/>
                  </a:lnTo>
                  <a:close/>
                  <a:moveTo>
                    <a:pt x="5127" y="3107"/>
                  </a:moveTo>
                  <a:cubicBezTo>
                    <a:pt x="5127" y="3149"/>
                    <a:pt x="5167" y="3183"/>
                    <a:pt x="5217" y="3183"/>
                  </a:cubicBezTo>
                  <a:cubicBezTo>
                    <a:pt x="5344" y="3183"/>
                    <a:pt x="5344" y="3183"/>
                    <a:pt x="5344" y="3183"/>
                  </a:cubicBezTo>
                  <a:cubicBezTo>
                    <a:pt x="5393" y="3183"/>
                    <a:pt x="5434" y="3149"/>
                    <a:pt x="5434" y="3107"/>
                  </a:cubicBezTo>
                  <a:cubicBezTo>
                    <a:pt x="5434" y="3041"/>
                    <a:pt x="5434" y="3041"/>
                    <a:pt x="5434" y="3041"/>
                  </a:cubicBezTo>
                  <a:cubicBezTo>
                    <a:pt x="5127" y="3041"/>
                    <a:pt x="5127" y="3041"/>
                    <a:pt x="5127" y="3041"/>
                  </a:cubicBezTo>
                  <a:lnTo>
                    <a:pt x="5127" y="3107"/>
                  </a:lnTo>
                  <a:close/>
                  <a:moveTo>
                    <a:pt x="3398" y="1056"/>
                  </a:moveTo>
                  <a:cubicBezTo>
                    <a:pt x="3571" y="1096"/>
                    <a:pt x="3739" y="1172"/>
                    <a:pt x="3889" y="1287"/>
                  </a:cubicBezTo>
                  <a:cubicBezTo>
                    <a:pt x="4044" y="1405"/>
                    <a:pt x="4164" y="1552"/>
                    <a:pt x="4248" y="1715"/>
                  </a:cubicBezTo>
                  <a:cubicBezTo>
                    <a:pt x="4463" y="1598"/>
                    <a:pt x="4463" y="1598"/>
                    <a:pt x="4463" y="1598"/>
                  </a:cubicBezTo>
                  <a:cubicBezTo>
                    <a:pt x="4419" y="1746"/>
                    <a:pt x="4419" y="1746"/>
                    <a:pt x="4419" y="1746"/>
                  </a:cubicBezTo>
                  <a:cubicBezTo>
                    <a:pt x="4349" y="1981"/>
                    <a:pt x="4349" y="1981"/>
                    <a:pt x="4349" y="1981"/>
                  </a:cubicBezTo>
                  <a:cubicBezTo>
                    <a:pt x="4321" y="2077"/>
                    <a:pt x="4321" y="2077"/>
                    <a:pt x="4321" y="2077"/>
                  </a:cubicBezTo>
                  <a:cubicBezTo>
                    <a:pt x="4301" y="2143"/>
                    <a:pt x="4301" y="2143"/>
                    <a:pt x="4301" y="2143"/>
                  </a:cubicBezTo>
                  <a:cubicBezTo>
                    <a:pt x="4044" y="2066"/>
                    <a:pt x="4044" y="2066"/>
                    <a:pt x="4044" y="2066"/>
                  </a:cubicBezTo>
                  <a:cubicBezTo>
                    <a:pt x="4029" y="2062"/>
                    <a:pt x="4029" y="2062"/>
                    <a:pt x="4029" y="2062"/>
                  </a:cubicBezTo>
                  <a:cubicBezTo>
                    <a:pt x="3934" y="2033"/>
                    <a:pt x="3934" y="2033"/>
                    <a:pt x="3934" y="2033"/>
                  </a:cubicBezTo>
                  <a:cubicBezTo>
                    <a:pt x="3756" y="1980"/>
                    <a:pt x="3756" y="1980"/>
                    <a:pt x="3756" y="1980"/>
                  </a:cubicBezTo>
                  <a:cubicBezTo>
                    <a:pt x="3969" y="1865"/>
                    <a:pt x="3969" y="1865"/>
                    <a:pt x="3969" y="1865"/>
                  </a:cubicBezTo>
                  <a:cubicBezTo>
                    <a:pt x="3906" y="1741"/>
                    <a:pt x="3815" y="1629"/>
                    <a:pt x="3697" y="1539"/>
                  </a:cubicBezTo>
                  <a:cubicBezTo>
                    <a:pt x="3589" y="1457"/>
                    <a:pt x="3470" y="1401"/>
                    <a:pt x="3347" y="1370"/>
                  </a:cubicBezTo>
                  <a:lnTo>
                    <a:pt x="3398" y="1056"/>
                  </a:lnTo>
                  <a:close/>
                  <a:moveTo>
                    <a:pt x="1048" y="2193"/>
                  </a:moveTo>
                  <a:cubicBezTo>
                    <a:pt x="1083" y="2008"/>
                    <a:pt x="1159" y="1829"/>
                    <a:pt x="1279" y="1668"/>
                  </a:cubicBezTo>
                  <a:cubicBezTo>
                    <a:pt x="1379" y="1534"/>
                    <a:pt x="1500" y="1426"/>
                    <a:pt x="1635" y="1343"/>
                  </a:cubicBezTo>
                  <a:cubicBezTo>
                    <a:pt x="1519" y="1134"/>
                    <a:pt x="1519" y="1134"/>
                    <a:pt x="1519" y="1134"/>
                  </a:cubicBezTo>
                  <a:cubicBezTo>
                    <a:pt x="1678" y="1180"/>
                    <a:pt x="1678" y="1180"/>
                    <a:pt x="1678" y="1180"/>
                  </a:cubicBezTo>
                  <a:cubicBezTo>
                    <a:pt x="1864" y="1233"/>
                    <a:pt x="1864" y="1233"/>
                    <a:pt x="1864" y="1233"/>
                  </a:cubicBezTo>
                  <a:cubicBezTo>
                    <a:pt x="1970" y="1263"/>
                    <a:pt x="1970" y="1263"/>
                    <a:pt x="1970" y="1263"/>
                  </a:cubicBezTo>
                  <a:cubicBezTo>
                    <a:pt x="2065" y="1290"/>
                    <a:pt x="2065" y="1290"/>
                    <a:pt x="2065" y="1290"/>
                  </a:cubicBezTo>
                  <a:cubicBezTo>
                    <a:pt x="2000" y="1518"/>
                    <a:pt x="2000" y="1518"/>
                    <a:pt x="2000" y="1518"/>
                  </a:cubicBezTo>
                  <a:cubicBezTo>
                    <a:pt x="1999" y="1521"/>
                    <a:pt x="1999" y="1521"/>
                    <a:pt x="1999" y="1521"/>
                  </a:cubicBezTo>
                  <a:cubicBezTo>
                    <a:pt x="1928" y="1771"/>
                    <a:pt x="1928" y="1771"/>
                    <a:pt x="1928" y="1771"/>
                  </a:cubicBezTo>
                  <a:cubicBezTo>
                    <a:pt x="1909" y="1837"/>
                    <a:pt x="1909" y="1837"/>
                    <a:pt x="1909" y="1837"/>
                  </a:cubicBezTo>
                  <a:cubicBezTo>
                    <a:pt x="1789" y="1620"/>
                    <a:pt x="1789" y="1620"/>
                    <a:pt x="1789" y="1620"/>
                  </a:cubicBezTo>
                  <a:cubicBezTo>
                    <a:pt x="1692" y="1682"/>
                    <a:pt x="1605" y="1761"/>
                    <a:pt x="1532" y="1858"/>
                  </a:cubicBezTo>
                  <a:cubicBezTo>
                    <a:pt x="1444" y="1976"/>
                    <a:pt x="1387" y="2108"/>
                    <a:pt x="1360" y="2243"/>
                  </a:cubicBezTo>
                  <a:lnTo>
                    <a:pt x="1048" y="2193"/>
                  </a:lnTo>
                  <a:close/>
                  <a:moveTo>
                    <a:pt x="2138" y="4528"/>
                  </a:moveTo>
                  <a:cubicBezTo>
                    <a:pt x="1947" y="4493"/>
                    <a:pt x="1760" y="4413"/>
                    <a:pt x="1595" y="4287"/>
                  </a:cubicBezTo>
                  <a:cubicBezTo>
                    <a:pt x="1462" y="4185"/>
                    <a:pt x="1355" y="4062"/>
                    <a:pt x="1274" y="3926"/>
                  </a:cubicBezTo>
                  <a:cubicBezTo>
                    <a:pt x="1064" y="4040"/>
                    <a:pt x="1064" y="4040"/>
                    <a:pt x="1064" y="4040"/>
                  </a:cubicBezTo>
                  <a:cubicBezTo>
                    <a:pt x="1111" y="3881"/>
                    <a:pt x="1111" y="3881"/>
                    <a:pt x="1111" y="3881"/>
                  </a:cubicBezTo>
                  <a:cubicBezTo>
                    <a:pt x="1166" y="3696"/>
                    <a:pt x="1166" y="3696"/>
                    <a:pt x="1166" y="3696"/>
                  </a:cubicBezTo>
                  <a:cubicBezTo>
                    <a:pt x="1198" y="3590"/>
                    <a:pt x="1198" y="3590"/>
                    <a:pt x="1198" y="3590"/>
                  </a:cubicBezTo>
                  <a:cubicBezTo>
                    <a:pt x="1226" y="3496"/>
                    <a:pt x="1226" y="3496"/>
                    <a:pt x="1226" y="3496"/>
                  </a:cubicBezTo>
                  <a:cubicBezTo>
                    <a:pt x="1454" y="3563"/>
                    <a:pt x="1454" y="3563"/>
                    <a:pt x="1454" y="3563"/>
                  </a:cubicBezTo>
                  <a:cubicBezTo>
                    <a:pt x="1456" y="3564"/>
                    <a:pt x="1456" y="3564"/>
                    <a:pt x="1456" y="3564"/>
                  </a:cubicBezTo>
                  <a:cubicBezTo>
                    <a:pt x="1705" y="3639"/>
                    <a:pt x="1705" y="3639"/>
                    <a:pt x="1705" y="3639"/>
                  </a:cubicBezTo>
                  <a:cubicBezTo>
                    <a:pt x="1771" y="3658"/>
                    <a:pt x="1771" y="3658"/>
                    <a:pt x="1771" y="3658"/>
                  </a:cubicBezTo>
                  <a:cubicBezTo>
                    <a:pt x="1553" y="3776"/>
                    <a:pt x="1553" y="3776"/>
                    <a:pt x="1553" y="3776"/>
                  </a:cubicBezTo>
                  <a:cubicBezTo>
                    <a:pt x="1613" y="3873"/>
                    <a:pt x="1691" y="3962"/>
                    <a:pt x="1787" y="4035"/>
                  </a:cubicBezTo>
                  <a:cubicBezTo>
                    <a:pt x="1910" y="4128"/>
                    <a:pt x="2047" y="4188"/>
                    <a:pt x="2189" y="4215"/>
                  </a:cubicBezTo>
                  <a:lnTo>
                    <a:pt x="2138" y="4528"/>
                  </a:lnTo>
                  <a:close/>
                  <a:moveTo>
                    <a:pt x="4525" y="3453"/>
                  </a:moveTo>
                  <a:cubicBezTo>
                    <a:pt x="4486" y="3620"/>
                    <a:pt x="4413" y="3781"/>
                    <a:pt x="4305" y="3927"/>
                  </a:cubicBezTo>
                  <a:cubicBezTo>
                    <a:pt x="4188" y="4083"/>
                    <a:pt x="4043" y="4205"/>
                    <a:pt x="3881" y="4291"/>
                  </a:cubicBezTo>
                  <a:cubicBezTo>
                    <a:pt x="4000" y="4505"/>
                    <a:pt x="4000" y="4505"/>
                    <a:pt x="4000" y="4505"/>
                  </a:cubicBezTo>
                  <a:cubicBezTo>
                    <a:pt x="3852" y="4463"/>
                    <a:pt x="3852" y="4463"/>
                    <a:pt x="3852" y="4463"/>
                  </a:cubicBezTo>
                  <a:cubicBezTo>
                    <a:pt x="3616" y="4396"/>
                    <a:pt x="3616" y="4396"/>
                    <a:pt x="3616" y="4396"/>
                  </a:cubicBezTo>
                  <a:cubicBezTo>
                    <a:pt x="3520" y="4368"/>
                    <a:pt x="3520" y="4368"/>
                    <a:pt x="3520" y="4368"/>
                  </a:cubicBezTo>
                  <a:cubicBezTo>
                    <a:pt x="3454" y="4349"/>
                    <a:pt x="3454" y="4349"/>
                    <a:pt x="3454" y="4349"/>
                  </a:cubicBezTo>
                  <a:cubicBezTo>
                    <a:pt x="3527" y="4092"/>
                    <a:pt x="3527" y="4092"/>
                    <a:pt x="3527" y="4092"/>
                  </a:cubicBezTo>
                  <a:cubicBezTo>
                    <a:pt x="3532" y="4076"/>
                    <a:pt x="3532" y="4076"/>
                    <a:pt x="3532" y="4076"/>
                  </a:cubicBezTo>
                  <a:cubicBezTo>
                    <a:pt x="3559" y="3981"/>
                    <a:pt x="3559" y="3981"/>
                    <a:pt x="3559" y="3981"/>
                  </a:cubicBezTo>
                  <a:cubicBezTo>
                    <a:pt x="3610" y="3803"/>
                    <a:pt x="3610" y="3803"/>
                    <a:pt x="3610" y="3803"/>
                  </a:cubicBezTo>
                  <a:cubicBezTo>
                    <a:pt x="3727" y="4014"/>
                    <a:pt x="3727" y="4014"/>
                    <a:pt x="3727" y="4014"/>
                  </a:cubicBezTo>
                  <a:cubicBezTo>
                    <a:pt x="3851" y="3949"/>
                    <a:pt x="3962" y="3857"/>
                    <a:pt x="4051" y="3738"/>
                  </a:cubicBezTo>
                  <a:cubicBezTo>
                    <a:pt x="4128" y="3634"/>
                    <a:pt x="4181" y="3520"/>
                    <a:pt x="4212" y="3402"/>
                  </a:cubicBezTo>
                  <a:lnTo>
                    <a:pt x="4525" y="3453"/>
                  </a:lnTo>
                  <a:close/>
                  <a:moveTo>
                    <a:pt x="1826" y="2772"/>
                  </a:moveTo>
                  <a:cubicBezTo>
                    <a:pt x="1860" y="2816"/>
                    <a:pt x="1898" y="2862"/>
                    <a:pt x="1942" y="2903"/>
                  </a:cubicBezTo>
                  <a:cubicBezTo>
                    <a:pt x="1946" y="2907"/>
                    <a:pt x="1953" y="2910"/>
                    <a:pt x="1956" y="2917"/>
                  </a:cubicBezTo>
                  <a:cubicBezTo>
                    <a:pt x="1949" y="2931"/>
                    <a:pt x="1942" y="2945"/>
                    <a:pt x="1946" y="2962"/>
                  </a:cubicBezTo>
                  <a:cubicBezTo>
                    <a:pt x="1946" y="3000"/>
                    <a:pt x="1967" y="3035"/>
                    <a:pt x="2004" y="3052"/>
                  </a:cubicBezTo>
                  <a:cubicBezTo>
                    <a:pt x="1987" y="3156"/>
                    <a:pt x="1980" y="3242"/>
                    <a:pt x="1977" y="3308"/>
                  </a:cubicBezTo>
                  <a:cubicBezTo>
                    <a:pt x="1881" y="3156"/>
                    <a:pt x="1826" y="2986"/>
                    <a:pt x="1826" y="2813"/>
                  </a:cubicBezTo>
                  <a:cubicBezTo>
                    <a:pt x="1826" y="2799"/>
                    <a:pt x="1826" y="2785"/>
                    <a:pt x="1826" y="2772"/>
                  </a:cubicBezTo>
                  <a:moveTo>
                    <a:pt x="2111" y="3037"/>
                  </a:moveTo>
                  <a:cubicBezTo>
                    <a:pt x="2252" y="3134"/>
                    <a:pt x="2411" y="3210"/>
                    <a:pt x="2586" y="3258"/>
                  </a:cubicBezTo>
                  <a:cubicBezTo>
                    <a:pt x="2600" y="3262"/>
                    <a:pt x="2611" y="3265"/>
                    <a:pt x="2621" y="3269"/>
                  </a:cubicBezTo>
                  <a:cubicBezTo>
                    <a:pt x="2621" y="3272"/>
                    <a:pt x="2621" y="3272"/>
                    <a:pt x="2621" y="3275"/>
                  </a:cubicBezTo>
                  <a:cubicBezTo>
                    <a:pt x="2366" y="3393"/>
                    <a:pt x="2159" y="3424"/>
                    <a:pt x="2073" y="3431"/>
                  </a:cubicBezTo>
                  <a:cubicBezTo>
                    <a:pt x="2063" y="3417"/>
                    <a:pt x="2049" y="3400"/>
                    <a:pt x="2035" y="3386"/>
                  </a:cubicBezTo>
                  <a:cubicBezTo>
                    <a:pt x="2035" y="3324"/>
                    <a:pt x="2035" y="3206"/>
                    <a:pt x="2063" y="3057"/>
                  </a:cubicBezTo>
                  <a:cubicBezTo>
                    <a:pt x="2080" y="3057"/>
                    <a:pt x="2097" y="3051"/>
                    <a:pt x="2111" y="3037"/>
                  </a:cubicBezTo>
                  <a:moveTo>
                    <a:pt x="2547" y="2192"/>
                  </a:moveTo>
                  <a:cubicBezTo>
                    <a:pt x="2664" y="2192"/>
                    <a:pt x="2781" y="2199"/>
                    <a:pt x="2894" y="2220"/>
                  </a:cubicBezTo>
                  <a:cubicBezTo>
                    <a:pt x="2939" y="2227"/>
                    <a:pt x="2987" y="2237"/>
                    <a:pt x="3032" y="2248"/>
                  </a:cubicBezTo>
                  <a:cubicBezTo>
                    <a:pt x="3035" y="2279"/>
                    <a:pt x="3052" y="2310"/>
                    <a:pt x="3083" y="2328"/>
                  </a:cubicBezTo>
                  <a:cubicBezTo>
                    <a:pt x="3049" y="2512"/>
                    <a:pt x="2994" y="2690"/>
                    <a:pt x="2918" y="2857"/>
                  </a:cubicBezTo>
                  <a:cubicBezTo>
                    <a:pt x="2870" y="2965"/>
                    <a:pt x="2815" y="3070"/>
                    <a:pt x="2750" y="3171"/>
                  </a:cubicBezTo>
                  <a:cubicBezTo>
                    <a:pt x="2743" y="3167"/>
                    <a:pt x="2732" y="3164"/>
                    <a:pt x="2722" y="3164"/>
                  </a:cubicBezTo>
                  <a:cubicBezTo>
                    <a:pt x="2691" y="3164"/>
                    <a:pt x="2657" y="3181"/>
                    <a:pt x="2640" y="3209"/>
                  </a:cubicBezTo>
                  <a:cubicBezTo>
                    <a:pt x="2629" y="3206"/>
                    <a:pt x="2616" y="3202"/>
                    <a:pt x="2605" y="3202"/>
                  </a:cubicBezTo>
                  <a:cubicBezTo>
                    <a:pt x="2433" y="3154"/>
                    <a:pt x="2278" y="3080"/>
                    <a:pt x="2144" y="2986"/>
                  </a:cubicBezTo>
                  <a:cubicBezTo>
                    <a:pt x="2148" y="2979"/>
                    <a:pt x="2148" y="2969"/>
                    <a:pt x="2148" y="2958"/>
                  </a:cubicBezTo>
                  <a:cubicBezTo>
                    <a:pt x="2148" y="2927"/>
                    <a:pt x="2131" y="2896"/>
                    <a:pt x="2103" y="2875"/>
                  </a:cubicBezTo>
                  <a:cubicBezTo>
                    <a:pt x="2134" y="2753"/>
                    <a:pt x="2175" y="2638"/>
                    <a:pt x="2227" y="2530"/>
                  </a:cubicBezTo>
                  <a:cubicBezTo>
                    <a:pt x="2272" y="2439"/>
                    <a:pt x="2323" y="2349"/>
                    <a:pt x="2385" y="2262"/>
                  </a:cubicBezTo>
                  <a:cubicBezTo>
                    <a:pt x="2392" y="2262"/>
                    <a:pt x="2402" y="2265"/>
                    <a:pt x="2409" y="2265"/>
                  </a:cubicBezTo>
                  <a:cubicBezTo>
                    <a:pt x="2409" y="2265"/>
                    <a:pt x="2409" y="2265"/>
                    <a:pt x="2413" y="2265"/>
                  </a:cubicBezTo>
                  <a:cubicBezTo>
                    <a:pt x="2454" y="2265"/>
                    <a:pt x="2495" y="2234"/>
                    <a:pt x="2505" y="2192"/>
                  </a:cubicBezTo>
                  <a:cubicBezTo>
                    <a:pt x="2509" y="2192"/>
                    <a:pt x="2509" y="2192"/>
                    <a:pt x="2512" y="2192"/>
                  </a:cubicBezTo>
                  <a:cubicBezTo>
                    <a:pt x="2523" y="2192"/>
                    <a:pt x="2536" y="2192"/>
                    <a:pt x="2547" y="2192"/>
                  </a:cubicBezTo>
                  <a:moveTo>
                    <a:pt x="2320" y="2204"/>
                  </a:moveTo>
                  <a:cubicBezTo>
                    <a:pt x="2324" y="2215"/>
                    <a:pt x="2330" y="2225"/>
                    <a:pt x="2337" y="2232"/>
                  </a:cubicBezTo>
                  <a:cubicBezTo>
                    <a:pt x="2275" y="2323"/>
                    <a:pt x="2220" y="2414"/>
                    <a:pt x="2175" y="2509"/>
                  </a:cubicBezTo>
                  <a:cubicBezTo>
                    <a:pt x="2124" y="2621"/>
                    <a:pt x="2079" y="2740"/>
                    <a:pt x="2045" y="2866"/>
                  </a:cubicBezTo>
                  <a:cubicBezTo>
                    <a:pt x="2031" y="2866"/>
                    <a:pt x="2014" y="2869"/>
                    <a:pt x="2000" y="2876"/>
                  </a:cubicBezTo>
                  <a:cubicBezTo>
                    <a:pt x="1910" y="2792"/>
                    <a:pt x="1862" y="2719"/>
                    <a:pt x="1838" y="2680"/>
                  </a:cubicBezTo>
                  <a:cubicBezTo>
                    <a:pt x="1859" y="2533"/>
                    <a:pt x="1924" y="2386"/>
                    <a:pt x="2017" y="2257"/>
                  </a:cubicBezTo>
                  <a:cubicBezTo>
                    <a:pt x="2072" y="2243"/>
                    <a:pt x="2179" y="2218"/>
                    <a:pt x="2320" y="2204"/>
                  </a:cubicBezTo>
                  <a:moveTo>
                    <a:pt x="3590" y="2285"/>
                  </a:moveTo>
                  <a:cubicBezTo>
                    <a:pt x="3636" y="2344"/>
                    <a:pt x="3671" y="2410"/>
                    <a:pt x="3700" y="2476"/>
                  </a:cubicBezTo>
                  <a:cubicBezTo>
                    <a:pt x="3679" y="2462"/>
                    <a:pt x="3657" y="2448"/>
                    <a:pt x="3632" y="2437"/>
                  </a:cubicBezTo>
                  <a:cubicBezTo>
                    <a:pt x="3636" y="2430"/>
                    <a:pt x="3636" y="2423"/>
                    <a:pt x="3636" y="2413"/>
                  </a:cubicBezTo>
                  <a:cubicBezTo>
                    <a:pt x="3632" y="2378"/>
                    <a:pt x="3615" y="2347"/>
                    <a:pt x="3583" y="2330"/>
                  </a:cubicBezTo>
                  <a:cubicBezTo>
                    <a:pt x="3586" y="2312"/>
                    <a:pt x="3590" y="2298"/>
                    <a:pt x="3590" y="2285"/>
                  </a:cubicBezTo>
                  <a:moveTo>
                    <a:pt x="3174" y="1921"/>
                  </a:moveTo>
                  <a:cubicBezTo>
                    <a:pt x="3312" y="1991"/>
                    <a:pt x="3436" y="2097"/>
                    <a:pt x="3540" y="2220"/>
                  </a:cubicBezTo>
                  <a:cubicBezTo>
                    <a:pt x="3536" y="2244"/>
                    <a:pt x="3533" y="2276"/>
                    <a:pt x="3522" y="2318"/>
                  </a:cubicBezTo>
                  <a:cubicBezTo>
                    <a:pt x="3498" y="2318"/>
                    <a:pt x="3474" y="2329"/>
                    <a:pt x="3457" y="2346"/>
                  </a:cubicBezTo>
                  <a:cubicBezTo>
                    <a:pt x="3381" y="2311"/>
                    <a:pt x="3305" y="2276"/>
                    <a:pt x="3226" y="2248"/>
                  </a:cubicBezTo>
                  <a:cubicBezTo>
                    <a:pt x="3226" y="2248"/>
                    <a:pt x="3226" y="2248"/>
                    <a:pt x="3226" y="2248"/>
                  </a:cubicBezTo>
                  <a:cubicBezTo>
                    <a:pt x="3226" y="2205"/>
                    <a:pt x="3201" y="2167"/>
                    <a:pt x="3163" y="2153"/>
                  </a:cubicBezTo>
                  <a:cubicBezTo>
                    <a:pt x="3170" y="2072"/>
                    <a:pt x="3174" y="1995"/>
                    <a:pt x="3174" y="1921"/>
                  </a:cubicBezTo>
                  <a:moveTo>
                    <a:pt x="2676" y="1834"/>
                  </a:moveTo>
                  <a:cubicBezTo>
                    <a:pt x="2621" y="1887"/>
                    <a:pt x="2541" y="1967"/>
                    <a:pt x="2458" y="2068"/>
                  </a:cubicBezTo>
                  <a:cubicBezTo>
                    <a:pt x="2447" y="2061"/>
                    <a:pt x="2433" y="2061"/>
                    <a:pt x="2419" y="2061"/>
                  </a:cubicBezTo>
                  <a:cubicBezTo>
                    <a:pt x="2416" y="2061"/>
                    <a:pt x="2416" y="2061"/>
                    <a:pt x="2416" y="2061"/>
                  </a:cubicBezTo>
                  <a:cubicBezTo>
                    <a:pt x="2367" y="2061"/>
                    <a:pt x="2329" y="2096"/>
                    <a:pt x="2315" y="2141"/>
                  </a:cubicBezTo>
                  <a:cubicBezTo>
                    <a:pt x="2215" y="2152"/>
                    <a:pt x="2131" y="2169"/>
                    <a:pt x="2072" y="2180"/>
                  </a:cubicBezTo>
                  <a:cubicBezTo>
                    <a:pt x="2235" y="1995"/>
                    <a:pt x="2451" y="1869"/>
                    <a:pt x="2676" y="1834"/>
                  </a:cubicBezTo>
                  <a:moveTo>
                    <a:pt x="2793" y="1828"/>
                  </a:moveTo>
                  <a:cubicBezTo>
                    <a:pt x="2904" y="1828"/>
                    <a:pt x="3014" y="1849"/>
                    <a:pt x="3117" y="1895"/>
                  </a:cubicBezTo>
                  <a:cubicBezTo>
                    <a:pt x="3120" y="1977"/>
                    <a:pt x="3117" y="2058"/>
                    <a:pt x="3107" y="2146"/>
                  </a:cubicBezTo>
                  <a:cubicBezTo>
                    <a:pt x="3079" y="2150"/>
                    <a:pt x="3055" y="2167"/>
                    <a:pt x="3041" y="2192"/>
                  </a:cubicBezTo>
                  <a:cubicBezTo>
                    <a:pt x="2996" y="2181"/>
                    <a:pt x="2948" y="2171"/>
                    <a:pt x="2900" y="2164"/>
                  </a:cubicBezTo>
                  <a:cubicBezTo>
                    <a:pt x="2787" y="2143"/>
                    <a:pt x="2670" y="2135"/>
                    <a:pt x="2553" y="2135"/>
                  </a:cubicBezTo>
                  <a:cubicBezTo>
                    <a:pt x="2539" y="2135"/>
                    <a:pt x="2525" y="2135"/>
                    <a:pt x="2511" y="2135"/>
                  </a:cubicBezTo>
                  <a:cubicBezTo>
                    <a:pt x="2508" y="2135"/>
                    <a:pt x="2508" y="2135"/>
                    <a:pt x="2508" y="2135"/>
                  </a:cubicBezTo>
                  <a:cubicBezTo>
                    <a:pt x="2504" y="2128"/>
                    <a:pt x="2501" y="2118"/>
                    <a:pt x="2498" y="2111"/>
                  </a:cubicBezTo>
                  <a:cubicBezTo>
                    <a:pt x="2618" y="1962"/>
                    <a:pt x="2728" y="1867"/>
                    <a:pt x="2769" y="1828"/>
                  </a:cubicBezTo>
                  <a:cubicBezTo>
                    <a:pt x="2776" y="1828"/>
                    <a:pt x="2787" y="1828"/>
                    <a:pt x="2793" y="1828"/>
                  </a:cubicBezTo>
                  <a:cubicBezTo>
                    <a:pt x="2793" y="1828"/>
                    <a:pt x="2793" y="1828"/>
                    <a:pt x="2793" y="1828"/>
                  </a:cubicBezTo>
                  <a:moveTo>
                    <a:pt x="3605" y="2488"/>
                  </a:moveTo>
                  <a:cubicBezTo>
                    <a:pt x="3660" y="2519"/>
                    <a:pt x="3702" y="2547"/>
                    <a:pt x="3729" y="2568"/>
                  </a:cubicBezTo>
                  <a:cubicBezTo>
                    <a:pt x="3733" y="2586"/>
                    <a:pt x="3740" y="2603"/>
                    <a:pt x="3743" y="2620"/>
                  </a:cubicBezTo>
                  <a:cubicBezTo>
                    <a:pt x="3726" y="2701"/>
                    <a:pt x="3650" y="2955"/>
                    <a:pt x="3464" y="3207"/>
                  </a:cubicBezTo>
                  <a:cubicBezTo>
                    <a:pt x="3453" y="3203"/>
                    <a:pt x="3439" y="3203"/>
                    <a:pt x="3429" y="3203"/>
                  </a:cubicBezTo>
                  <a:cubicBezTo>
                    <a:pt x="3426" y="3203"/>
                    <a:pt x="3426" y="3203"/>
                    <a:pt x="3426" y="3203"/>
                  </a:cubicBezTo>
                  <a:cubicBezTo>
                    <a:pt x="3381" y="3203"/>
                    <a:pt x="3339" y="3234"/>
                    <a:pt x="3329" y="3280"/>
                  </a:cubicBezTo>
                  <a:cubicBezTo>
                    <a:pt x="3305" y="3280"/>
                    <a:pt x="3284" y="3283"/>
                    <a:pt x="3260" y="3283"/>
                  </a:cubicBezTo>
                  <a:cubicBezTo>
                    <a:pt x="3243" y="3283"/>
                    <a:pt x="3225" y="3283"/>
                    <a:pt x="3208" y="3283"/>
                  </a:cubicBezTo>
                  <a:cubicBezTo>
                    <a:pt x="3077" y="3283"/>
                    <a:pt x="2949" y="3273"/>
                    <a:pt x="2822" y="3248"/>
                  </a:cubicBezTo>
                  <a:cubicBezTo>
                    <a:pt x="2822" y="3248"/>
                    <a:pt x="2822" y="3245"/>
                    <a:pt x="2818" y="3245"/>
                  </a:cubicBezTo>
                  <a:cubicBezTo>
                    <a:pt x="2904" y="3196"/>
                    <a:pt x="2984" y="3144"/>
                    <a:pt x="3060" y="3084"/>
                  </a:cubicBezTo>
                  <a:cubicBezTo>
                    <a:pt x="3329" y="2886"/>
                    <a:pt x="3464" y="2666"/>
                    <a:pt x="3526" y="2512"/>
                  </a:cubicBezTo>
                  <a:cubicBezTo>
                    <a:pt x="3532" y="2512"/>
                    <a:pt x="3536" y="2512"/>
                    <a:pt x="3539" y="2512"/>
                  </a:cubicBezTo>
                  <a:cubicBezTo>
                    <a:pt x="3567" y="2512"/>
                    <a:pt x="3588" y="2502"/>
                    <a:pt x="3605" y="2488"/>
                  </a:cubicBezTo>
                  <a:moveTo>
                    <a:pt x="2815" y="3308"/>
                  </a:moveTo>
                  <a:cubicBezTo>
                    <a:pt x="2942" y="3332"/>
                    <a:pt x="3069" y="3343"/>
                    <a:pt x="3199" y="3343"/>
                  </a:cubicBezTo>
                  <a:cubicBezTo>
                    <a:pt x="3220" y="3343"/>
                    <a:pt x="3237" y="3343"/>
                    <a:pt x="3254" y="3343"/>
                  </a:cubicBezTo>
                  <a:cubicBezTo>
                    <a:pt x="3278" y="3339"/>
                    <a:pt x="3302" y="3339"/>
                    <a:pt x="3326" y="3339"/>
                  </a:cubicBezTo>
                  <a:cubicBezTo>
                    <a:pt x="3329" y="3346"/>
                    <a:pt x="3329" y="3353"/>
                    <a:pt x="3336" y="3357"/>
                  </a:cubicBezTo>
                  <a:cubicBezTo>
                    <a:pt x="3082" y="3629"/>
                    <a:pt x="2788" y="3755"/>
                    <a:pt x="2699" y="3783"/>
                  </a:cubicBezTo>
                  <a:cubicBezTo>
                    <a:pt x="2592" y="3772"/>
                    <a:pt x="2486" y="3737"/>
                    <a:pt x="2387" y="3685"/>
                  </a:cubicBezTo>
                  <a:cubicBezTo>
                    <a:pt x="2452" y="3633"/>
                    <a:pt x="2565" y="3528"/>
                    <a:pt x="2688" y="3364"/>
                  </a:cubicBezTo>
                  <a:cubicBezTo>
                    <a:pt x="2699" y="3367"/>
                    <a:pt x="2712" y="3371"/>
                    <a:pt x="2723" y="3371"/>
                  </a:cubicBezTo>
                  <a:cubicBezTo>
                    <a:pt x="2723" y="3371"/>
                    <a:pt x="2723" y="3371"/>
                    <a:pt x="2723" y="3371"/>
                  </a:cubicBezTo>
                  <a:cubicBezTo>
                    <a:pt x="2764" y="3371"/>
                    <a:pt x="2798" y="3346"/>
                    <a:pt x="2815" y="3308"/>
                  </a:cubicBezTo>
                  <a:moveTo>
                    <a:pt x="3758" y="2765"/>
                  </a:moveTo>
                  <a:cubicBezTo>
                    <a:pt x="3761" y="2779"/>
                    <a:pt x="3761" y="2797"/>
                    <a:pt x="3761" y="2811"/>
                  </a:cubicBezTo>
                  <a:cubicBezTo>
                    <a:pt x="3761" y="2961"/>
                    <a:pt x="3721" y="3108"/>
                    <a:pt x="3645" y="3244"/>
                  </a:cubicBezTo>
                  <a:cubicBezTo>
                    <a:pt x="3618" y="3251"/>
                    <a:pt x="3574" y="3258"/>
                    <a:pt x="3519" y="3265"/>
                  </a:cubicBezTo>
                  <a:cubicBezTo>
                    <a:pt x="3516" y="3258"/>
                    <a:pt x="3512" y="3251"/>
                    <a:pt x="3509" y="3247"/>
                  </a:cubicBezTo>
                  <a:cubicBezTo>
                    <a:pt x="3635" y="3073"/>
                    <a:pt x="3717" y="2895"/>
                    <a:pt x="3758" y="2765"/>
                  </a:cubicBezTo>
                  <a:moveTo>
                    <a:pt x="3607" y="3308"/>
                  </a:moveTo>
                  <a:cubicBezTo>
                    <a:pt x="3432" y="3578"/>
                    <a:pt x="3142" y="3771"/>
                    <a:pt x="2843" y="3789"/>
                  </a:cubicBezTo>
                  <a:cubicBezTo>
                    <a:pt x="2974" y="3726"/>
                    <a:pt x="3191" y="3599"/>
                    <a:pt x="3380" y="3396"/>
                  </a:cubicBezTo>
                  <a:cubicBezTo>
                    <a:pt x="3390" y="3399"/>
                    <a:pt x="3404" y="3403"/>
                    <a:pt x="3415" y="3403"/>
                  </a:cubicBezTo>
                  <a:cubicBezTo>
                    <a:pt x="3418" y="3403"/>
                    <a:pt x="3418" y="3403"/>
                    <a:pt x="3418" y="3403"/>
                  </a:cubicBezTo>
                  <a:cubicBezTo>
                    <a:pt x="3466" y="3403"/>
                    <a:pt x="3508" y="3368"/>
                    <a:pt x="3518" y="3322"/>
                  </a:cubicBezTo>
                  <a:cubicBezTo>
                    <a:pt x="3549" y="3315"/>
                    <a:pt x="3580" y="3311"/>
                    <a:pt x="3607" y="3308"/>
                  </a:cubicBezTo>
                  <a:moveTo>
                    <a:pt x="3215" y="2303"/>
                  </a:moveTo>
                  <a:cubicBezTo>
                    <a:pt x="3288" y="2331"/>
                    <a:pt x="3364" y="2362"/>
                    <a:pt x="3437" y="2397"/>
                  </a:cubicBezTo>
                  <a:cubicBezTo>
                    <a:pt x="3437" y="2404"/>
                    <a:pt x="3437" y="2408"/>
                    <a:pt x="3437" y="2415"/>
                  </a:cubicBezTo>
                  <a:cubicBezTo>
                    <a:pt x="3437" y="2442"/>
                    <a:pt x="3451" y="2470"/>
                    <a:pt x="3472" y="2491"/>
                  </a:cubicBezTo>
                  <a:cubicBezTo>
                    <a:pt x="3385" y="2704"/>
                    <a:pt x="3232" y="2889"/>
                    <a:pt x="3024" y="3042"/>
                  </a:cubicBezTo>
                  <a:cubicBezTo>
                    <a:pt x="2958" y="3091"/>
                    <a:pt x="2885" y="3137"/>
                    <a:pt x="2812" y="3178"/>
                  </a:cubicBezTo>
                  <a:cubicBezTo>
                    <a:pt x="2871" y="3088"/>
                    <a:pt x="2923" y="2990"/>
                    <a:pt x="2972" y="2885"/>
                  </a:cubicBezTo>
                  <a:cubicBezTo>
                    <a:pt x="3048" y="2715"/>
                    <a:pt x="3104" y="2533"/>
                    <a:pt x="3138" y="2345"/>
                  </a:cubicBezTo>
                  <a:cubicBezTo>
                    <a:pt x="3170" y="2345"/>
                    <a:pt x="3197" y="2327"/>
                    <a:pt x="3215" y="2303"/>
                  </a:cubicBezTo>
                  <a:moveTo>
                    <a:pt x="2633" y="3339"/>
                  </a:moveTo>
                  <a:cubicBezTo>
                    <a:pt x="2499" y="3508"/>
                    <a:pt x="2382" y="3609"/>
                    <a:pt x="2331" y="3647"/>
                  </a:cubicBezTo>
                  <a:cubicBezTo>
                    <a:pt x="2258" y="3602"/>
                    <a:pt x="2190" y="3550"/>
                    <a:pt x="2128" y="3488"/>
                  </a:cubicBezTo>
                  <a:cubicBezTo>
                    <a:pt x="2227" y="3474"/>
                    <a:pt x="2413" y="3436"/>
                    <a:pt x="2633" y="3339"/>
                  </a:cubicBezTo>
                  <a:moveTo>
                    <a:pt x="3018" y="0"/>
                  </a:moveTo>
                  <a:cubicBezTo>
                    <a:pt x="2513" y="0"/>
                    <a:pt x="2513" y="0"/>
                    <a:pt x="2513" y="0"/>
                  </a:cubicBezTo>
                  <a:cubicBezTo>
                    <a:pt x="2456" y="0"/>
                    <a:pt x="2409" y="47"/>
                    <a:pt x="2409" y="103"/>
                  </a:cubicBezTo>
                  <a:cubicBezTo>
                    <a:pt x="2409" y="1416"/>
                    <a:pt x="2409" y="1416"/>
                    <a:pt x="2409" y="1416"/>
                  </a:cubicBezTo>
                  <a:cubicBezTo>
                    <a:pt x="2409" y="1473"/>
                    <a:pt x="2456" y="1519"/>
                    <a:pt x="2513" y="1519"/>
                  </a:cubicBezTo>
                  <a:cubicBezTo>
                    <a:pt x="3018" y="1519"/>
                    <a:pt x="3018" y="1519"/>
                    <a:pt x="3018" y="1519"/>
                  </a:cubicBezTo>
                  <a:cubicBezTo>
                    <a:pt x="3076" y="1519"/>
                    <a:pt x="3121" y="1473"/>
                    <a:pt x="3121" y="1416"/>
                  </a:cubicBezTo>
                  <a:cubicBezTo>
                    <a:pt x="3121" y="103"/>
                    <a:pt x="3121" y="103"/>
                    <a:pt x="3121" y="103"/>
                  </a:cubicBezTo>
                  <a:cubicBezTo>
                    <a:pt x="3121" y="47"/>
                    <a:pt x="3076" y="0"/>
                    <a:pt x="3018" y="0"/>
                  </a:cubicBezTo>
                  <a:close/>
                  <a:moveTo>
                    <a:pt x="2582" y="1368"/>
                  </a:moveTo>
                  <a:cubicBezTo>
                    <a:pt x="2546" y="1368"/>
                    <a:pt x="2546" y="1368"/>
                    <a:pt x="2546" y="1368"/>
                  </a:cubicBezTo>
                  <a:cubicBezTo>
                    <a:pt x="2517" y="1368"/>
                    <a:pt x="2492" y="1352"/>
                    <a:pt x="2492" y="1332"/>
                  </a:cubicBezTo>
                  <a:cubicBezTo>
                    <a:pt x="2492" y="1309"/>
                    <a:pt x="2492" y="1309"/>
                    <a:pt x="2492" y="1309"/>
                  </a:cubicBezTo>
                  <a:cubicBezTo>
                    <a:pt x="2492" y="1290"/>
                    <a:pt x="2517" y="1275"/>
                    <a:pt x="2546" y="1275"/>
                  </a:cubicBezTo>
                  <a:cubicBezTo>
                    <a:pt x="2582" y="1275"/>
                    <a:pt x="2582" y="1275"/>
                    <a:pt x="2582" y="1275"/>
                  </a:cubicBezTo>
                  <a:cubicBezTo>
                    <a:pt x="2612" y="1275"/>
                    <a:pt x="2636" y="1290"/>
                    <a:pt x="2636" y="1309"/>
                  </a:cubicBezTo>
                  <a:cubicBezTo>
                    <a:pt x="2636" y="1332"/>
                    <a:pt x="2636" y="1332"/>
                    <a:pt x="2636" y="1332"/>
                  </a:cubicBezTo>
                  <a:cubicBezTo>
                    <a:pt x="2636" y="1352"/>
                    <a:pt x="2612" y="1368"/>
                    <a:pt x="2582" y="1368"/>
                  </a:cubicBezTo>
                  <a:close/>
                  <a:moveTo>
                    <a:pt x="2783" y="1253"/>
                  </a:moveTo>
                  <a:cubicBezTo>
                    <a:pt x="2747" y="1253"/>
                    <a:pt x="2747" y="1253"/>
                    <a:pt x="2747" y="1253"/>
                  </a:cubicBezTo>
                  <a:cubicBezTo>
                    <a:pt x="2718" y="1253"/>
                    <a:pt x="2693" y="1238"/>
                    <a:pt x="2693" y="1218"/>
                  </a:cubicBezTo>
                  <a:cubicBezTo>
                    <a:pt x="2693" y="1195"/>
                    <a:pt x="2693" y="1195"/>
                    <a:pt x="2693" y="1195"/>
                  </a:cubicBezTo>
                  <a:cubicBezTo>
                    <a:pt x="2693" y="1176"/>
                    <a:pt x="2718" y="1160"/>
                    <a:pt x="2747" y="1160"/>
                  </a:cubicBezTo>
                  <a:cubicBezTo>
                    <a:pt x="2783" y="1160"/>
                    <a:pt x="2783" y="1160"/>
                    <a:pt x="2783" y="1160"/>
                  </a:cubicBezTo>
                  <a:cubicBezTo>
                    <a:pt x="2813" y="1160"/>
                    <a:pt x="2837" y="1176"/>
                    <a:pt x="2837" y="1195"/>
                  </a:cubicBezTo>
                  <a:cubicBezTo>
                    <a:pt x="2837" y="1218"/>
                    <a:pt x="2837" y="1218"/>
                    <a:pt x="2837" y="1218"/>
                  </a:cubicBezTo>
                  <a:cubicBezTo>
                    <a:pt x="2837" y="1238"/>
                    <a:pt x="2813" y="1253"/>
                    <a:pt x="2783" y="1253"/>
                  </a:cubicBezTo>
                  <a:close/>
                  <a:moveTo>
                    <a:pt x="2837" y="1309"/>
                  </a:moveTo>
                  <a:cubicBezTo>
                    <a:pt x="2837" y="1332"/>
                    <a:pt x="2837" y="1332"/>
                    <a:pt x="2837" y="1332"/>
                  </a:cubicBezTo>
                  <a:cubicBezTo>
                    <a:pt x="2837" y="1352"/>
                    <a:pt x="2813" y="1368"/>
                    <a:pt x="2783" y="1368"/>
                  </a:cubicBezTo>
                  <a:cubicBezTo>
                    <a:pt x="2747" y="1368"/>
                    <a:pt x="2747" y="1368"/>
                    <a:pt x="2747" y="1368"/>
                  </a:cubicBezTo>
                  <a:cubicBezTo>
                    <a:pt x="2718" y="1368"/>
                    <a:pt x="2693" y="1352"/>
                    <a:pt x="2693" y="1332"/>
                  </a:cubicBezTo>
                  <a:cubicBezTo>
                    <a:pt x="2693" y="1309"/>
                    <a:pt x="2693" y="1309"/>
                    <a:pt x="2693" y="1309"/>
                  </a:cubicBezTo>
                  <a:cubicBezTo>
                    <a:pt x="2693" y="1290"/>
                    <a:pt x="2718" y="1275"/>
                    <a:pt x="2747" y="1275"/>
                  </a:cubicBezTo>
                  <a:cubicBezTo>
                    <a:pt x="2783" y="1275"/>
                    <a:pt x="2783" y="1275"/>
                    <a:pt x="2783" y="1275"/>
                  </a:cubicBezTo>
                  <a:cubicBezTo>
                    <a:pt x="2813" y="1275"/>
                    <a:pt x="2837" y="1290"/>
                    <a:pt x="2837" y="1309"/>
                  </a:cubicBezTo>
                  <a:close/>
                  <a:moveTo>
                    <a:pt x="2783" y="1138"/>
                  </a:moveTo>
                  <a:cubicBezTo>
                    <a:pt x="2747" y="1138"/>
                    <a:pt x="2747" y="1138"/>
                    <a:pt x="2747" y="1138"/>
                  </a:cubicBezTo>
                  <a:cubicBezTo>
                    <a:pt x="2718" y="1138"/>
                    <a:pt x="2693" y="1122"/>
                    <a:pt x="2693" y="1103"/>
                  </a:cubicBezTo>
                  <a:cubicBezTo>
                    <a:pt x="2693" y="1080"/>
                    <a:pt x="2693" y="1080"/>
                    <a:pt x="2693" y="1080"/>
                  </a:cubicBezTo>
                  <a:cubicBezTo>
                    <a:pt x="2693" y="1060"/>
                    <a:pt x="2718" y="1045"/>
                    <a:pt x="2747" y="1045"/>
                  </a:cubicBezTo>
                  <a:cubicBezTo>
                    <a:pt x="2783" y="1045"/>
                    <a:pt x="2783" y="1045"/>
                    <a:pt x="2783" y="1045"/>
                  </a:cubicBezTo>
                  <a:cubicBezTo>
                    <a:pt x="2813" y="1045"/>
                    <a:pt x="2837" y="1060"/>
                    <a:pt x="2837" y="1080"/>
                  </a:cubicBezTo>
                  <a:cubicBezTo>
                    <a:pt x="2837" y="1103"/>
                    <a:pt x="2837" y="1103"/>
                    <a:pt x="2837" y="1103"/>
                  </a:cubicBezTo>
                  <a:cubicBezTo>
                    <a:pt x="2837" y="1122"/>
                    <a:pt x="2813" y="1138"/>
                    <a:pt x="2783" y="1138"/>
                  </a:cubicBezTo>
                  <a:close/>
                  <a:moveTo>
                    <a:pt x="2783" y="1023"/>
                  </a:moveTo>
                  <a:cubicBezTo>
                    <a:pt x="2747" y="1023"/>
                    <a:pt x="2747" y="1023"/>
                    <a:pt x="2747" y="1023"/>
                  </a:cubicBezTo>
                  <a:cubicBezTo>
                    <a:pt x="2718" y="1023"/>
                    <a:pt x="2693" y="1008"/>
                    <a:pt x="2693" y="988"/>
                  </a:cubicBezTo>
                  <a:cubicBezTo>
                    <a:pt x="2693" y="965"/>
                    <a:pt x="2693" y="965"/>
                    <a:pt x="2693" y="965"/>
                  </a:cubicBezTo>
                  <a:cubicBezTo>
                    <a:pt x="2693" y="946"/>
                    <a:pt x="2718" y="930"/>
                    <a:pt x="2747" y="930"/>
                  </a:cubicBezTo>
                  <a:cubicBezTo>
                    <a:pt x="2783" y="930"/>
                    <a:pt x="2783" y="930"/>
                    <a:pt x="2783" y="930"/>
                  </a:cubicBezTo>
                  <a:cubicBezTo>
                    <a:pt x="2813" y="930"/>
                    <a:pt x="2837" y="946"/>
                    <a:pt x="2837" y="965"/>
                  </a:cubicBezTo>
                  <a:cubicBezTo>
                    <a:pt x="2837" y="988"/>
                    <a:pt x="2837" y="988"/>
                    <a:pt x="2837" y="988"/>
                  </a:cubicBezTo>
                  <a:cubicBezTo>
                    <a:pt x="2837" y="1008"/>
                    <a:pt x="2813" y="1023"/>
                    <a:pt x="2783" y="1023"/>
                  </a:cubicBezTo>
                  <a:close/>
                  <a:moveTo>
                    <a:pt x="2780" y="860"/>
                  </a:moveTo>
                  <a:cubicBezTo>
                    <a:pt x="2816" y="854"/>
                    <a:pt x="2844" y="824"/>
                    <a:pt x="2847" y="786"/>
                  </a:cubicBezTo>
                  <a:cubicBezTo>
                    <a:pt x="3022" y="786"/>
                    <a:pt x="3022" y="786"/>
                    <a:pt x="3022" y="786"/>
                  </a:cubicBezTo>
                  <a:cubicBezTo>
                    <a:pt x="3022" y="787"/>
                    <a:pt x="3022" y="787"/>
                    <a:pt x="3022" y="787"/>
                  </a:cubicBezTo>
                  <a:cubicBezTo>
                    <a:pt x="3022" y="828"/>
                    <a:pt x="2990" y="860"/>
                    <a:pt x="2949" y="860"/>
                  </a:cubicBezTo>
                  <a:cubicBezTo>
                    <a:pt x="2780" y="860"/>
                    <a:pt x="2780" y="860"/>
                    <a:pt x="2780" y="860"/>
                  </a:cubicBezTo>
                  <a:cubicBezTo>
                    <a:pt x="2780" y="860"/>
                    <a:pt x="2780" y="860"/>
                    <a:pt x="2780" y="860"/>
                  </a:cubicBezTo>
                  <a:close/>
                  <a:moveTo>
                    <a:pt x="2847" y="777"/>
                  </a:moveTo>
                  <a:cubicBezTo>
                    <a:pt x="2846" y="742"/>
                    <a:pt x="2822" y="712"/>
                    <a:pt x="2790" y="702"/>
                  </a:cubicBezTo>
                  <a:cubicBezTo>
                    <a:pt x="2949" y="702"/>
                    <a:pt x="2949" y="702"/>
                    <a:pt x="2949" y="702"/>
                  </a:cubicBezTo>
                  <a:cubicBezTo>
                    <a:pt x="2990" y="702"/>
                    <a:pt x="3022" y="735"/>
                    <a:pt x="3022" y="775"/>
                  </a:cubicBezTo>
                  <a:cubicBezTo>
                    <a:pt x="3022" y="777"/>
                    <a:pt x="3022" y="777"/>
                    <a:pt x="3022" y="777"/>
                  </a:cubicBezTo>
                  <a:cubicBezTo>
                    <a:pt x="2847" y="777"/>
                    <a:pt x="2847" y="777"/>
                    <a:pt x="2847" y="777"/>
                  </a:cubicBezTo>
                  <a:cubicBezTo>
                    <a:pt x="2847" y="777"/>
                    <a:pt x="2847" y="777"/>
                    <a:pt x="2847" y="777"/>
                  </a:cubicBezTo>
                  <a:close/>
                  <a:moveTo>
                    <a:pt x="2831" y="779"/>
                  </a:moveTo>
                  <a:cubicBezTo>
                    <a:pt x="2831" y="816"/>
                    <a:pt x="2802" y="845"/>
                    <a:pt x="2765" y="845"/>
                  </a:cubicBezTo>
                  <a:cubicBezTo>
                    <a:pt x="2729" y="845"/>
                    <a:pt x="2700" y="816"/>
                    <a:pt x="2700" y="779"/>
                  </a:cubicBezTo>
                  <a:cubicBezTo>
                    <a:pt x="2700" y="742"/>
                    <a:pt x="2729" y="713"/>
                    <a:pt x="2765" y="713"/>
                  </a:cubicBezTo>
                  <a:cubicBezTo>
                    <a:pt x="2802" y="713"/>
                    <a:pt x="2831" y="742"/>
                    <a:pt x="2831" y="779"/>
                  </a:cubicBezTo>
                  <a:close/>
                  <a:moveTo>
                    <a:pt x="2684" y="777"/>
                  </a:moveTo>
                  <a:cubicBezTo>
                    <a:pt x="2509" y="777"/>
                    <a:pt x="2509" y="777"/>
                    <a:pt x="2509" y="777"/>
                  </a:cubicBezTo>
                  <a:cubicBezTo>
                    <a:pt x="2509" y="775"/>
                    <a:pt x="2509" y="775"/>
                    <a:pt x="2509" y="775"/>
                  </a:cubicBezTo>
                  <a:cubicBezTo>
                    <a:pt x="2509" y="735"/>
                    <a:pt x="2542" y="702"/>
                    <a:pt x="2582" y="702"/>
                  </a:cubicBezTo>
                  <a:cubicBezTo>
                    <a:pt x="2741" y="702"/>
                    <a:pt x="2741" y="702"/>
                    <a:pt x="2741" y="702"/>
                  </a:cubicBezTo>
                  <a:cubicBezTo>
                    <a:pt x="2709" y="712"/>
                    <a:pt x="2685" y="742"/>
                    <a:pt x="2684" y="777"/>
                  </a:cubicBezTo>
                  <a:close/>
                  <a:moveTo>
                    <a:pt x="2685" y="786"/>
                  </a:moveTo>
                  <a:cubicBezTo>
                    <a:pt x="2687" y="824"/>
                    <a:pt x="2715" y="854"/>
                    <a:pt x="2752" y="860"/>
                  </a:cubicBezTo>
                  <a:cubicBezTo>
                    <a:pt x="2582" y="860"/>
                    <a:pt x="2582" y="860"/>
                    <a:pt x="2582" y="860"/>
                  </a:cubicBezTo>
                  <a:cubicBezTo>
                    <a:pt x="2542" y="860"/>
                    <a:pt x="2509" y="828"/>
                    <a:pt x="2509" y="787"/>
                  </a:cubicBezTo>
                  <a:cubicBezTo>
                    <a:pt x="2509" y="786"/>
                    <a:pt x="2509" y="786"/>
                    <a:pt x="2509" y="786"/>
                  </a:cubicBezTo>
                  <a:cubicBezTo>
                    <a:pt x="2685" y="786"/>
                    <a:pt x="2685" y="786"/>
                    <a:pt x="2685" y="786"/>
                  </a:cubicBezTo>
                  <a:cubicBezTo>
                    <a:pt x="2685" y="786"/>
                    <a:pt x="2685" y="786"/>
                    <a:pt x="2685" y="786"/>
                  </a:cubicBezTo>
                  <a:close/>
                  <a:moveTo>
                    <a:pt x="2546" y="930"/>
                  </a:moveTo>
                  <a:cubicBezTo>
                    <a:pt x="2582" y="930"/>
                    <a:pt x="2582" y="930"/>
                    <a:pt x="2582" y="930"/>
                  </a:cubicBezTo>
                  <a:cubicBezTo>
                    <a:pt x="2612" y="930"/>
                    <a:pt x="2636" y="946"/>
                    <a:pt x="2636" y="965"/>
                  </a:cubicBezTo>
                  <a:cubicBezTo>
                    <a:pt x="2636" y="988"/>
                    <a:pt x="2636" y="988"/>
                    <a:pt x="2636" y="988"/>
                  </a:cubicBezTo>
                  <a:cubicBezTo>
                    <a:pt x="2636" y="1008"/>
                    <a:pt x="2612" y="1023"/>
                    <a:pt x="2582" y="1023"/>
                  </a:cubicBezTo>
                  <a:cubicBezTo>
                    <a:pt x="2546" y="1023"/>
                    <a:pt x="2546" y="1023"/>
                    <a:pt x="2546" y="1023"/>
                  </a:cubicBezTo>
                  <a:cubicBezTo>
                    <a:pt x="2517" y="1023"/>
                    <a:pt x="2492" y="1008"/>
                    <a:pt x="2492" y="988"/>
                  </a:cubicBezTo>
                  <a:cubicBezTo>
                    <a:pt x="2492" y="965"/>
                    <a:pt x="2492" y="965"/>
                    <a:pt x="2492" y="965"/>
                  </a:cubicBezTo>
                  <a:cubicBezTo>
                    <a:pt x="2492" y="946"/>
                    <a:pt x="2517" y="930"/>
                    <a:pt x="2546" y="930"/>
                  </a:cubicBezTo>
                  <a:close/>
                  <a:moveTo>
                    <a:pt x="2546" y="1045"/>
                  </a:moveTo>
                  <a:cubicBezTo>
                    <a:pt x="2582" y="1045"/>
                    <a:pt x="2582" y="1045"/>
                    <a:pt x="2582" y="1045"/>
                  </a:cubicBezTo>
                  <a:cubicBezTo>
                    <a:pt x="2612" y="1045"/>
                    <a:pt x="2636" y="1060"/>
                    <a:pt x="2636" y="1080"/>
                  </a:cubicBezTo>
                  <a:cubicBezTo>
                    <a:pt x="2636" y="1103"/>
                    <a:pt x="2636" y="1103"/>
                    <a:pt x="2636" y="1103"/>
                  </a:cubicBezTo>
                  <a:cubicBezTo>
                    <a:pt x="2636" y="1122"/>
                    <a:pt x="2612" y="1138"/>
                    <a:pt x="2582" y="1138"/>
                  </a:cubicBezTo>
                  <a:cubicBezTo>
                    <a:pt x="2546" y="1138"/>
                    <a:pt x="2546" y="1138"/>
                    <a:pt x="2546" y="1138"/>
                  </a:cubicBezTo>
                  <a:cubicBezTo>
                    <a:pt x="2517" y="1138"/>
                    <a:pt x="2492" y="1122"/>
                    <a:pt x="2492" y="1103"/>
                  </a:cubicBezTo>
                  <a:cubicBezTo>
                    <a:pt x="2492" y="1080"/>
                    <a:pt x="2492" y="1080"/>
                    <a:pt x="2492" y="1080"/>
                  </a:cubicBezTo>
                  <a:cubicBezTo>
                    <a:pt x="2492" y="1060"/>
                    <a:pt x="2517" y="1045"/>
                    <a:pt x="2546" y="1045"/>
                  </a:cubicBezTo>
                  <a:close/>
                  <a:moveTo>
                    <a:pt x="2546" y="1160"/>
                  </a:moveTo>
                  <a:cubicBezTo>
                    <a:pt x="2582" y="1160"/>
                    <a:pt x="2582" y="1160"/>
                    <a:pt x="2582" y="1160"/>
                  </a:cubicBezTo>
                  <a:cubicBezTo>
                    <a:pt x="2612" y="1160"/>
                    <a:pt x="2636" y="1176"/>
                    <a:pt x="2636" y="1195"/>
                  </a:cubicBezTo>
                  <a:cubicBezTo>
                    <a:pt x="2636" y="1218"/>
                    <a:pt x="2636" y="1218"/>
                    <a:pt x="2636" y="1218"/>
                  </a:cubicBezTo>
                  <a:cubicBezTo>
                    <a:pt x="2636" y="1238"/>
                    <a:pt x="2612" y="1253"/>
                    <a:pt x="2582" y="1253"/>
                  </a:cubicBezTo>
                  <a:cubicBezTo>
                    <a:pt x="2546" y="1253"/>
                    <a:pt x="2546" y="1253"/>
                    <a:pt x="2546" y="1253"/>
                  </a:cubicBezTo>
                  <a:cubicBezTo>
                    <a:pt x="2517" y="1253"/>
                    <a:pt x="2492" y="1238"/>
                    <a:pt x="2492" y="1218"/>
                  </a:cubicBezTo>
                  <a:cubicBezTo>
                    <a:pt x="2492" y="1195"/>
                    <a:pt x="2492" y="1195"/>
                    <a:pt x="2492" y="1195"/>
                  </a:cubicBezTo>
                  <a:cubicBezTo>
                    <a:pt x="2492" y="1176"/>
                    <a:pt x="2517" y="1160"/>
                    <a:pt x="2546" y="1160"/>
                  </a:cubicBezTo>
                  <a:close/>
                  <a:moveTo>
                    <a:pt x="2891" y="1461"/>
                  </a:moveTo>
                  <a:cubicBezTo>
                    <a:pt x="2640" y="1461"/>
                    <a:pt x="2640" y="1461"/>
                    <a:pt x="2640" y="1461"/>
                  </a:cubicBezTo>
                  <a:cubicBezTo>
                    <a:pt x="2635" y="1461"/>
                    <a:pt x="2629" y="1456"/>
                    <a:pt x="2629" y="1450"/>
                  </a:cubicBezTo>
                  <a:cubicBezTo>
                    <a:pt x="2629" y="1444"/>
                    <a:pt x="2635" y="1440"/>
                    <a:pt x="2640" y="1440"/>
                  </a:cubicBezTo>
                  <a:cubicBezTo>
                    <a:pt x="2891" y="1440"/>
                    <a:pt x="2891" y="1440"/>
                    <a:pt x="2891" y="1440"/>
                  </a:cubicBezTo>
                  <a:cubicBezTo>
                    <a:pt x="2897" y="1440"/>
                    <a:pt x="2901" y="1444"/>
                    <a:pt x="2901" y="1450"/>
                  </a:cubicBezTo>
                  <a:cubicBezTo>
                    <a:pt x="2901" y="1456"/>
                    <a:pt x="2897" y="1461"/>
                    <a:pt x="2891" y="1461"/>
                  </a:cubicBezTo>
                  <a:close/>
                  <a:moveTo>
                    <a:pt x="3039" y="1332"/>
                  </a:moveTo>
                  <a:cubicBezTo>
                    <a:pt x="3039" y="1352"/>
                    <a:pt x="3015" y="1368"/>
                    <a:pt x="2984" y="1368"/>
                  </a:cubicBezTo>
                  <a:cubicBezTo>
                    <a:pt x="2949" y="1368"/>
                    <a:pt x="2949" y="1368"/>
                    <a:pt x="2949" y="1368"/>
                  </a:cubicBezTo>
                  <a:cubicBezTo>
                    <a:pt x="2919" y="1368"/>
                    <a:pt x="2895" y="1352"/>
                    <a:pt x="2895" y="1332"/>
                  </a:cubicBezTo>
                  <a:cubicBezTo>
                    <a:pt x="2895" y="1309"/>
                    <a:pt x="2895" y="1309"/>
                    <a:pt x="2895" y="1309"/>
                  </a:cubicBezTo>
                  <a:cubicBezTo>
                    <a:pt x="2895" y="1290"/>
                    <a:pt x="2919" y="1275"/>
                    <a:pt x="2949" y="1275"/>
                  </a:cubicBezTo>
                  <a:cubicBezTo>
                    <a:pt x="2984" y="1275"/>
                    <a:pt x="2984" y="1275"/>
                    <a:pt x="2984" y="1275"/>
                  </a:cubicBezTo>
                  <a:cubicBezTo>
                    <a:pt x="3015" y="1275"/>
                    <a:pt x="3039" y="1290"/>
                    <a:pt x="3039" y="1309"/>
                  </a:cubicBezTo>
                  <a:cubicBezTo>
                    <a:pt x="3039" y="1332"/>
                    <a:pt x="3039" y="1332"/>
                    <a:pt x="3039" y="1332"/>
                  </a:cubicBezTo>
                  <a:cubicBezTo>
                    <a:pt x="3039" y="1332"/>
                    <a:pt x="3039" y="1332"/>
                    <a:pt x="3039" y="1332"/>
                  </a:cubicBezTo>
                  <a:close/>
                  <a:moveTo>
                    <a:pt x="3039" y="1218"/>
                  </a:moveTo>
                  <a:cubicBezTo>
                    <a:pt x="3039" y="1238"/>
                    <a:pt x="3015" y="1253"/>
                    <a:pt x="2984" y="1253"/>
                  </a:cubicBezTo>
                  <a:cubicBezTo>
                    <a:pt x="2949" y="1253"/>
                    <a:pt x="2949" y="1253"/>
                    <a:pt x="2949" y="1253"/>
                  </a:cubicBezTo>
                  <a:cubicBezTo>
                    <a:pt x="2919" y="1253"/>
                    <a:pt x="2895" y="1238"/>
                    <a:pt x="2895" y="1218"/>
                  </a:cubicBezTo>
                  <a:cubicBezTo>
                    <a:pt x="2895" y="1195"/>
                    <a:pt x="2895" y="1195"/>
                    <a:pt x="2895" y="1195"/>
                  </a:cubicBezTo>
                  <a:cubicBezTo>
                    <a:pt x="2895" y="1176"/>
                    <a:pt x="2919" y="1160"/>
                    <a:pt x="2949" y="1160"/>
                  </a:cubicBezTo>
                  <a:cubicBezTo>
                    <a:pt x="2984" y="1160"/>
                    <a:pt x="2984" y="1160"/>
                    <a:pt x="2984" y="1160"/>
                  </a:cubicBezTo>
                  <a:cubicBezTo>
                    <a:pt x="3015" y="1160"/>
                    <a:pt x="3039" y="1176"/>
                    <a:pt x="3039" y="1195"/>
                  </a:cubicBezTo>
                  <a:cubicBezTo>
                    <a:pt x="3039" y="1218"/>
                    <a:pt x="3039" y="1218"/>
                    <a:pt x="3039" y="1218"/>
                  </a:cubicBezTo>
                  <a:cubicBezTo>
                    <a:pt x="3039" y="1218"/>
                    <a:pt x="3039" y="1218"/>
                    <a:pt x="3039" y="1218"/>
                  </a:cubicBezTo>
                  <a:close/>
                  <a:moveTo>
                    <a:pt x="3039" y="1103"/>
                  </a:moveTo>
                  <a:cubicBezTo>
                    <a:pt x="3039" y="1122"/>
                    <a:pt x="3015" y="1138"/>
                    <a:pt x="2984" y="1138"/>
                  </a:cubicBezTo>
                  <a:cubicBezTo>
                    <a:pt x="2949" y="1138"/>
                    <a:pt x="2949" y="1138"/>
                    <a:pt x="2949" y="1138"/>
                  </a:cubicBezTo>
                  <a:cubicBezTo>
                    <a:pt x="2919" y="1138"/>
                    <a:pt x="2895" y="1122"/>
                    <a:pt x="2895" y="1103"/>
                  </a:cubicBezTo>
                  <a:cubicBezTo>
                    <a:pt x="2895" y="1080"/>
                    <a:pt x="2895" y="1080"/>
                    <a:pt x="2895" y="1080"/>
                  </a:cubicBezTo>
                  <a:cubicBezTo>
                    <a:pt x="2895" y="1060"/>
                    <a:pt x="2919" y="1045"/>
                    <a:pt x="2949" y="1045"/>
                  </a:cubicBezTo>
                  <a:cubicBezTo>
                    <a:pt x="2984" y="1045"/>
                    <a:pt x="2984" y="1045"/>
                    <a:pt x="2984" y="1045"/>
                  </a:cubicBezTo>
                  <a:cubicBezTo>
                    <a:pt x="3015" y="1045"/>
                    <a:pt x="3039" y="1060"/>
                    <a:pt x="3039" y="1080"/>
                  </a:cubicBezTo>
                  <a:cubicBezTo>
                    <a:pt x="3039" y="1103"/>
                    <a:pt x="3039" y="1103"/>
                    <a:pt x="3039" y="1103"/>
                  </a:cubicBezTo>
                  <a:cubicBezTo>
                    <a:pt x="3039" y="1103"/>
                    <a:pt x="3039" y="1103"/>
                    <a:pt x="3039" y="1103"/>
                  </a:cubicBezTo>
                  <a:close/>
                  <a:moveTo>
                    <a:pt x="3039" y="988"/>
                  </a:moveTo>
                  <a:cubicBezTo>
                    <a:pt x="3039" y="1008"/>
                    <a:pt x="3015" y="1023"/>
                    <a:pt x="2984" y="1023"/>
                  </a:cubicBezTo>
                  <a:cubicBezTo>
                    <a:pt x="2949" y="1023"/>
                    <a:pt x="2949" y="1023"/>
                    <a:pt x="2949" y="1023"/>
                  </a:cubicBezTo>
                  <a:cubicBezTo>
                    <a:pt x="2919" y="1023"/>
                    <a:pt x="2895" y="1008"/>
                    <a:pt x="2895" y="988"/>
                  </a:cubicBezTo>
                  <a:cubicBezTo>
                    <a:pt x="2895" y="965"/>
                    <a:pt x="2895" y="965"/>
                    <a:pt x="2895" y="965"/>
                  </a:cubicBezTo>
                  <a:cubicBezTo>
                    <a:pt x="2895" y="946"/>
                    <a:pt x="2919" y="930"/>
                    <a:pt x="2949" y="930"/>
                  </a:cubicBezTo>
                  <a:cubicBezTo>
                    <a:pt x="2984" y="930"/>
                    <a:pt x="2984" y="930"/>
                    <a:pt x="2984" y="930"/>
                  </a:cubicBezTo>
                  <a:cubicBezTo>
                    <a:pt x="3015" y="930"/>
                    <a:pt x="3039" y="946"/>
                    <a:pt x="3039" y="965"/>
                  </a:cubicBezTo>
                  <a:cubicBezTo>
                    <a:pt x="3039" y="988"/>
                    <a:pt x="3039" y="988"/>
                    <a:pt x="3039" y="988"/>
                  </a:cubicBezTo>
                  <a:cubicBezTo>
                    <a:pt x="3039" y="988"/>
                    <a:pt x="3039" y="988"/>
                    <a:pt x="3039" y="988"/>
                  </a:cubicBezTo>
                  <a:close/>
                  <a:moveTo>
                    <a:pt x="3047" y="604"/>
                  </a:moveTo>
                  <a:cubicBezTo>
                    <a:pt x="3047" y="624"/>
                    <a:pt x="3031" y="641"/>
                    <a:pt x="3011" y="641"/>
                  </a:cubicBezTo>
                  <a:cubicBezTo>
                    <a:pt x="2520" y="641"/>
                    <a:pt x="2520" y="641"/>
                    <a:pt x="2520" y="641"/>
                  </a:cubicBezTo>
                  <a:cubicBezTo>
                    <a:pt x="2501" y="641"/>
                    <a:pt x="2483" y="624"/>
                    <a:pt x="2483" y="604"/>
                  </a:cubicBezTo>
                  <a:cubicBezTo>
                    <a:pt x="2483" y="113"/>
                    <a:pt x="2483" y="113"/>
                    <a:pt x="2483" y="113"/>
                  </a:cubicBezTo>
                  <a:cubicBezTo>
                    <a:pt x="2483" y="92"/>
                    <a:pt x="2501" y="76"/>
                    <a:pt x="2520" y="76"/>
                  </a:cubicBezTo>
                  <a:cubicBezTo>
                    <a:pt x="3011" y="76"/>
                    <a:pt x="3011" y="76"/>
                    <a:pt x="3011" y="76"/>
                  </a:cubicBezTo>
                  <a:cubicBezTo>
                    <a:pt x="3031" y="76"/>
                    <a:pt x="3047" y="92"/>
                    <a:pt x="3047" y="113"/>
                  </a:cubicBezTo>
                  <a:cubicBezTo>
                    <a:pt x="3047" y="604"/>
                    <a:pt x="3047" y="604"/>
                    <a:pt x="3047" y="604"/>
                  </a:cubicBezTo>
                  <a:cubicBezTo>
                    <a:pt x="3047" y="604"/>
                    <a:pt x="3047" y="604"/>
                    <a:pt x="3047" y="604"/>
                  </a:cubicBezTo>
                  <a:close/>
                  <a:moveTo>
                    <a:pt x="2814" y="4927"/>
                  </a:moveTo>
                  <a:cubicBezTo>
                    <a:pt x="2662" y="4927"/>
                    <a:pt x="2662" y="4927"/>
                    <a:pt x="2662" y="4927"/>
                  </a:cubicBezTo>
                  <a:cubicBezTo>
                    <a:pt x="2662" y="4813"/>
                    <a:pt x="2662" y="4813"/>
                    <a:pt x="2662" y="4813"/>
                  </a:cubicBezTo>
                  <a:cubicBezTo>
                    <a:pt x="2814" y="4813"/>
                    <a:pt x="2814" y="4813"/>
                    <a:pt x="2814" y="4813"/>
                  </a:cubicBezTo>
                  <a:cubicBezTo>
                    <a:pt x="2814" y="4927"/>
                    <a:pt x="2814" y="4927"/>
                    <a:pt x="2814" y="4927"/>
                  </a:cubicBezTo>
                  <a:close/>
                  <a:moveTo>
                    <a:pt x="2602" y="4927"/>
                  </a:moveTo>
                  <a:cubicBezTo>
                    <a:pt x="2450" y="4927"/>
                    <a:pt x="2450" y="4927"/>
                    <a:pt x="2450" y="4927"/>
                  </a:cubicBezTo>
                  <a:cubicBezTo>
                    <a:pt x="2450" y="4813"/>
                    <a:pt x="2450" y="4813"/>
                    <a:pt x="2450" y="4813"/>
                  </a:cubicBezTo>
                  <a:cubicBezTo>
                    <a:pt x="2602" y="4813"/>
                    <a:pt x="2602" y="4813"/>
                    <a:pt x="2602" y="4813"/>
                  </a:cubicBezTo>
                  <a:cubicBezTo>
                    <a:pt x="2602" y="4927"/>
                    <a:pt x="2602" y="4927"/>
                    <a:pt x="2602" y="4927"/>
                  </a:cubicBezTo>
                  <a:close/>
                  <a:moveTo>
                    <a:pt x="2814" y="4745"/>
                  </a:moveTo>
                  <a:cubicBezTo>
                    <a:pt x="2662" y="4745"/>
                    <a:pt x="2662" y="4745"/>
                    <a:pt x="2662" y="4745"/>
                  </a:cubicBezTo>
                  <a:cubicBezTo>
                    <a:pt x="2662" y="4631"/>
                    <a:pt x="2662" y="4631"/>
                    <a:pt x="2662" y="4631"/>
                  </a:cubicBezTo>
                  <a:cubicBezTo>
                    <a:pt x="2814" y="4631"/>
                    <a:pt x="2814" y="4631"/>
                    <a:pt x="2814" y="4631"/>
                  </a:cubicBezTo>
                  <a:cubicBezTo>
                    <a:pt x="2814" y="4745"/>
                    <a:pt x="2814" y="4745"/>
                    <a:pt x="2814" y="4745"/>
                  </a:cubicBezTo>
                  <a:close/>
                  <a:moveTo>
                    <a:pt x="2602" y="4745"/>
                  </a:moveTo>
                  <a:cubicBezTo>
                    <a:pt x="2450" y="4745"/>
                    <a:pt x="2450" y="4745"/>
                    <a:pt x="2450" y="4745"/>
                  </a:cubicBezTo>
                  <a:cubicBezTo>
                    <a:pt x="2450" y="4631"/>
                    <a:pt x="2450" y="4631"/>
                    <a:pt x="2450" y="4631"/>
                  </a:cubicBezTo>
                  <a:cubicBezTo>
                    <a:pt x="2602" y="4631"/>
                    <a:pt x="2602" y="4631"/>
                    <a:pt x="2602" y="4631"/>
                  </a:cubicBezTo>
                  <a:cubicBezTo>
                    <a:pt x="2602" y="4745"/>
                    <a:pt x="2602" y="4745"/>
                    <a:pt x="2602" y="4745"/>
                  </a:cubicBezTo>
                  <a:close/>
                  <a:moveTo>
                    <a:pt x="2814" y="4570"/>
                  </a:moveTo>
                  <a:cubicBezTo>
                    <a:pt x="2662" y="4570"/>
                    <a:pt x="2662" y="4570"/>
                    <a:pt x="2662" y="4570"/>
                  </a:cubicBezTo>
                  <a:cubicBezTo>
                    <a:pt x="2662" y="4418"/>
                    <a:pt x="2662" y="4418"/>
                    <a:pt x="2662" y="4418"/>
                  </a:cubicBezTo>
                  <a:cubicBezTo>
                    <a:pt x="2814" y="4418"/>
                    <a:pt x="2814" y="4418"/>
                    <a:pt x="2814" y="4418"/>
                  </a:cubicBezTo>
                  <a:cubicBezTo>
                    <a:pt x="2814" y="4570"/>
                    <a:pt x="2814" y="4570"/>
                    <a:pt x="2814" y="4570"/>
                  </a:cubicBezTo>
                  <a:close/>
                  <a:moveTo>
                    <a:pt x="2602" y="4570"/>
                  </a:moveTo>
                  <a:cubicBezTo>
                    <a:pt x="2450" y="4570"/>
                    <a:pt x="2450" y="4570"/>
                    <a:pt x="2450" y="4570"/>
                  </a:cubicBezTo>
                  <a:cubicBezTo>
                    <a:pt x="2450" y="4418"/>
                    <a:pt x="2450" y="4418"/>
                    <a:pt x="2450" y="4418"/>
                  </a:cubicBezTo>
                  <a:cubicBezTo>
                    <a:pt x="2602" y="4418"/>
                    <a:pt x="2602" y="4418"/>
                    <a:pt x="2602" y="4418"/>
                  </a:cubicBezTo>
                  <a:cubicBezTo>
                    <a:pt x="2602" y="4570"/>
                    <a:pt x="2602" y="4570"/>
                    <a:pt x="2602" y="4570"/>
                  </a:cubicBezTo>
                  <a:close/>
                  <a:moveTo>
                    <a:pt x="2814" y="4365"/>
                  </a:moveTo>
                  <a:cubicBezTo>
                    <a:pt x="2662" y="4365"/>
                    <a:pt x="2662" y="4365"/>
                    <a:pt x="2662" y="4365"/>
                  </a:cubicBezTo>
                  <a:cubicBezTo>
                    <a:pt x="2662" y="4220"/>
                    <a:pt x="2662" y="4220"/>
                    <a:pt x="2662" y="4220"/>
                  </a:cubicBezTo>
                  <a:cubicBezTo>
                    <a:pt x="2814" y="4220"/>
                    <a:pt x="2814" y="4220"/>
                    <a:pt x="2814" y="4220"/>
                  </a:cubicBezTo>
                  <a:cubicBezTo>
                    <a:pt x="2814" y="4365"/>
                    <a:pt x="2814" y="4365"/>
                    <a:pt x="2814" y="4365"/>
                  </a:cubicBezTo>
                  <a:close/>
                  <a:moveTo>
                    <a:pt x="2602" y="4365"/>
                  </a:moveTo>
                  <a:cubicBezTo>
                    <a:pt x="2450" y="4365"/>
                    <a:pt x="2450" y="4365"/>
                    <a:pt x="2450" y="4365"/>
                  </a:cubicBezTo>
                  <a:cubicBezTo>
                    <a:pt x="2450" y="4220"/>
                    <a:pt x="2450" y="4220"/>
                    <a:pt x="2450" y="4220"/>
                  </a:cubicBezTo>
                  <a:cubicBezTo>
                    <a:pt x="2602" y="4220"/>
                    <a:pt x="2602" y="4220"/>
                    <a:pt x="2602" y="4220"/>
                  </a:cubicBezTo>
                  <a:cubicBezTo>
                    <a:pt x="2602" y="4365"/>
                    <a:pt x="2602" y="4365"/>
                    <a:pt x="2602" y="4365"/>
                  </a:cubicBezTo>
                  <a:close/>
                  <a:moveTo>
                    <a:pt x="2367" y="4083"/>
                  </a:moveTo>
                  <a:cubicBezTo>
                    <a:pt x="2367" y="5300"/>
                    <a:pt x="2367" y="5300"/>
                    <a:pt x="2367" y="5300"/>
                  </a:cubicBezTo>
                  <a:cubicBezTo>
                    <a:pt x="2526" y="5300"/>
                    <a:pt x="2526" y="5300"/>
                    <a:pt x="2526" y="5300"/>
                  </a:cubicBezTo>
                  <a:cubicBezTo>
                    <a:pt x="2526" y="5095"/>
                    <a:pt x="2526" y="5095"/>
                    <a:pt x="2526" y="5095"/>
                  </a:cubicBezTo>
                  <a:cubicBezTo>
                    <a:pt x="2738" y="5095"/>
                    <a:pt x="2738" y="5095"/>
                    <a:pt x="2738" y="5095"/>
                  </a:cubicBezTo>
                  <a:cubicBezTo>
                    <a:pt x="2738" y="5300"/>
                    <a:pt x="2738" y="5300"/>
                    <a:pt x="2738" y="5300"/>
                  </a:cubicBezTo>
                  <a:cubicBezTo>
                    <a:pt x="2890" y="5300"/>
                    <a:pt x="2890" y="5300"/>
                    <a:pt x="2890" y="5300"/>
                  </a:cubicBezTo>
                  <a:cubicBezTo>
                    <a:pt x="2890" y="4083"/>
                    <a:pt x="2890" y="4083"/>
                    <a:pt x="2890" y="4083"/>
                  </a:cubicBezTo>
                  <a:cubicBezTo>
                    <a:pt x="2367" y="4083"/>
                    <a:pt x="2367" y="4083"/>
                    <a:pt x="2367" y="4083"/>
                  </a:cubicBezTo>
                  <a:close/>
                  <a:moveTo>
                    <a:pt x="2814" y="4927"/>
                  </a:moveTo>
                  <a:cubicBezTo>
                    <a:pt x="2662" y="4927"/>
                    <a:pt x="2662" y="4927"/>
                    <a:pt x="2662" y="4927"/>
                  </a:cubicBezTo>
                  <a:cubicBezTo>
                    <a:pt x="2662" y="4813"/>
                    <a:pt x="2662" y="4813"/>
                    <a:pt x="2662" y="4813"/>
                  </a:cubicBezTo>
                  <a:cubicBezTo>
                    <a:pt x="2814" y="4813"/>
                    <a:pt x="2814" y="4813"/>
                    <a:pt x="2814" y="4813"/>
                  </a:cubicBezTo>
                  <a:cubicBezTo>
                    <a:pt x="2814" y="4927"/>
                    <a:pt x="2814" y="4927"/>
                    <a:pt x="2814" y="4927"/>
                  </a:cubicBezTo>
                  <a:close/>
                  <a:moveTo>
                    <a:pt x="2602" y="4927"/>
                  </a:moveTo>
                  <a:cubicBezTo>
                    <a:pt x="2450" y="4927"/>
                    <a:pt x="2450" y="4927"/>
                    <a:pt x="2450" y="4927"/>
                  </a:cubicBezTo>
                  <a:cubicBezTo>
                    <a:pt x="2450" y="4813"/>
                    <a:pt x="2450" y="4813"/>
                    <a:pt x="2450" y="4813"/>
                  </a:cubicBezTo>
                  <a:cubicBezTo>
                    <a:pt x="2602" y="4813"/>
                    <a:pt x="2602" y="4813"/>
                    <a:pt x="2602" y="4813"/>
                  </a:cubicBezTo>
                  <a:cubicBezTo>
                    <a:pt x="2602" y="4927"/>
                    <a:pt x="2602" y="4927"/>
                    <a:pt x="2602" y="4927"/>
                  </a:cubicBezTo>
                  <a:close/>
                  <a:moveTo>
                    <a:pt x="2814" y="4745"/>
                  </a:moveTo>
                  <a:cubicBezTo>
                    <a:pt x="2662" y="4745"/>
                    <a:pt x="2662" y="4745"/>
                    <a:pt x="2662" y="4745"/>
                  </a:cubicBezTo>
                  <a:cubicBezTo>
                    <a:pt x="2662" y="4631"/>
                    <a:pt x="2662" y="4631"/>
                    <a:pt x="2662" y="4631"/>
                  </a:cubicBezTo>
                  <a:cubicBezTo>
                    <a:pt x="2814" y="4631"/>
                    <a:pt x="2814" y="4631"/>
                    <a:pt x="2814" y="4631"/>
                  </a:cubicBezTo>
                  <a:cubicBezTo>
                    <a:pt x="2814" y="4745"/>
                    <a:pt x="2814" y="4745"/>
                    <a:pt x="2814" y="4745"/>
                  </a:cubicBezTo>
                  <a:close/>
                  <a:moveTo>
                    <a:pt x="2602" y="4745"/>
                  </a:moveTo>
                  <a:cubicBezTo>
                    <a:pt x="2450" y="4745"/>
                    <a:pt x="2450" y="4745"/>
                    <a:pt x="2450" y="4745"/>
                  </a:cubicBezTo>
                  <a:cubicBezTo>
                    <a:pt x="2450" y="4631"/>
                    <a:pt x="2450" y="4631"/>
                    <a:pt x="2450" y="4631"/>
                  </a:cubicBezTo>
                  <a:cubicBezTo>
                    <a:pt x="2602" y="4631"/>
                    <a:pt x="2602" y="4631"/>
                    <a:pt x="2602" y="4631"/>
                  </a:cubicBezTo>
                  <a:cubicBezTo>
                    <a:pt x="2602" y="4745"/>
                    <a:pt x="2602" y="4745"/>
                    <a:pt x="2602" y="4745"/>
                  </a:cubicBezTo>
                  <a:close/>
                  <a:moveTo>
                    <a:pt x="2814" y="4570"/>
                  </a:moveTo>
                  <a:cubicBezTo>
                    <a:pt x="2662" y="4570"/>
                    <a:pt x="2662" y="4570"/>
                    <a:pt x="2662" y="4570"/>
                  </a:cubicBezTo>
                  <a:cubicBezTo>
                    <a:pt x="2662" y="4418"/>
                    <a:pt x="2662" y="4418"/>
                    <a:pt x="2662" y="4418"/>
                  </a:cubicBezTo>
                  <a:cubicBezTo>
                    <a:pt x="2814" y="4418"/>
                    <a:pt x="2814" y="4418"/>
                    <a:pt x="2814" y="4418"/>
                  </a:cubicBezTo>
                  <a:cubicBezTo>
                    <a:pt x="2814" y="4570"/>
                    <a:pt x="2814" y="4570"/>
                    <a:pt x="2814" y="4570"/>
                  </a:cubicBezTo>
                  <a:close/>
                  <a:moveTo>
                    <a:pt x="2602" y="4570"/>
                  </a:moveTo>
                  <a:cubicBezTo>
                    <a:pt x="2450" y="4570"/>
                    <a:pt x="2450" y="4570"/>
                    <a:pt x="2450" y="4570"/>
                  </a:cubicBezTo>
                  <a:cubicBezTo>
                    <a:pt x="2450" y="4418"/>
                    <a:pt x="2450" y="4418"/>
                    <a:pt x="2450" y="4418"/>
                  </a:cubicBezTo>
                  <a:cubicBezTo>
                    <a:pt x="2602" y="4418"/>
                    <a:pt x="2602" y="4418"/>
                    <a:pt x="2602" y="4418"/>
                  </a:cubicBezTo>
                  <a:cubicBezTo>
                    <a:pt x="2602" y="4570"/>
                    <a:pt x="2602" y="4570"/>
                    <a:pt x="2602" y="4570"/>
                  </a:cubicBezTo>
                  <a:close/>
                  <a:moveTo>
                    <a:pt x="2814" y="4365"/>
                  </a:moveTo>
                  <a:cubicBezTo>
                    <a:pt x="2662" y="4365"/>
                    <a:pt x="2662" y="4365"/>
                    <a:pt x="2662" y="4365"/>
                  </a:cubicBezTo>
                  <a:cubicBezTo>
                    <a:pt x="2662" y="4220"/>
                    <a:pt x="2662" y="4220"/>
                    <a:pt x="2662" y="4220"/>
                  </a:cubicBezTo>
                  <a:cubicBezTo>
                    <a:pt x="2814" y="4220"/>
                    <a:pt x="2814" y="4220"/>
                    <a:pt x="2814" y="4220"/>
                  </a:cubicBezTo>
                  <a:cubicBezTo>
                    <a:pt x="2814" y="4365"/>
                    <a:pt x="2814" y="4365"/>
                    <a:pt x="2814" y="4365"/>
                  </a:cubicBezTo>
                  <a:close/>
                  <a:moveTo>
                    <a:pt x="2602" y="4365"/>
                  </a:moveTo>
                  <a:cubicBezTo>
                    <a:pt x="2450" y="4365"/>
                    <a:pt x="2450" y="4365"/>
                    <a:pt x="2450" y="4365"/>
                  </a:cubicBezTo>
                  <a:cubicBezTo>
                    <a:pt x="2450" y="4220"/>
                    <a:pt x="2450" y="4220"/>
                    <a:pt x="2450" y="4220"/>
                  </a:cubicBezTo>
                  <a:cubicBezTo>
                    <a:pt x="2602" y="4220"/>
                    <a:pt x="2602" y="4220"/>
                    <a:pt x="2602" y="4220"/>
                  </a:cubicBezTo>
                  <a:cubicBezTo>
                    <a:pt x="2602" y="4365"/>
                    <a:pt x="2602" y="4365"/>
                    <a:pt x="2602" y="4365"/>
                  </a:cubicBezTo>
                  <a:close/>
                  <a:moveTo>
                    <a:pt x="2367" y="4083"/>
                  </a:moveTo>
                  <a:cubicBezTo>
                    <a:pt x="2367" y="5300"/>
                    <a:pt x="2367" y="5300"/>
                    <a:pt x="2367" y="5300"/>
                  </a:cubicBezTo>
                  <a:cubicBezTo>
                    <a:pt x="2526" y="5300"/>
                    <a:pt x="2526" y="5300"/>
                    <a:pt x="2526" y="5300"/>
                  </a:cubicBezTo>
                  <a:cubicBezTo>
                    <a:pt x="2526" y="5095"/>
                    <a:pt x="2526" y="5095"/>
                    <a:pt x="2526" y="5095"/>
                  </a:cubicBezTo>
                  <a:cubicBezTo>
                    <a:pt x="2738" y="5095"/>
                    <a:pt x="2738" y="5095"/>
                    <a:pt x="2738" y="5095"/>
                  </a:cubicBezTo>
                  <a:cubicBezTo>
                    <a:pt x="2738" y="5300"/>
                    <a:pt x="2738" y="5300"/>
                    <a:pt x="2738" y="5300"/>
                  </a:cubicBezTo>
                  <a:cubicBezTo>
                    <a:pt x="2890" y="5300"/>
                    <a:pt x="2890" y="5300"/>
                    <a:pt x="2890" y="5300"/>
                  </a:cubicBezTo>
                  <a:cubicBezTo>
                    <a:pt x="2890" y="4083"/>
                    <a:pt x="2890" y="4083"/>
                    <a:pt x="2890" y="4083"/>
                  </a:cubicBezTo>
                  <a:cubicBezTo>
                    <a:pt x="2367" y="4083"/>
                    <a:pt x="2367" y="4083"/>
                    <a:pt x="2367" y="4083"/>
                  </a:cubicBezTo>
                  <a:close/>
                  <a:moveTo>
                    <a:pt x="2814" y="4927"/>
                  </a:moveTo>
                  <a:cubicBezTo>
                    <a:pt x="2662" y="4927"/>
                    <a:pt x="2662" y="4927"/>
                    <a:pt x="2662" y="4927"/>
                  </a:cubicBezTo>
                  <a:cubicBezTo>
                    <a:pt x="2662" y="4813"/>
                    <a:pt x="2662" y="4813"/>
                    <a:pt x="2662" y="4813"/>
                  </a:cubicBezTo>
                  <a:cubicBezTo>
                    <a:pt x="2814" y="4813"/>
                    <a:pt x="2814" y="4813"/>
                    <a:pt x="2814" y="4813"/>
                  </a:cubicBezTo>
                  <a:cubicBezTo>
                    <a:pt x="2814" y="4927"/>
                    <a:pt x="2814" y="4927"/>
                    <a:pt x="2814" y="4927"/>
                  </a:cubicBezTo>
                  <a:moveTo>
                    <a:pt x="2602" y="4927"/>
                  </a:moveTo>
                  <a:cubicBezTo>
                    <a:pt x="2450" y="4927"/>
                    <a:pt x="2450" y="4927"/>
                    <a:pt x="2450" y="4927"/>
                  </a:cubicBezTo>
                  <a:cubicBezTo>
                    <a:pt x="2450" y="4813"/>
                    <a:pt x="2450" y="4813"/>
                    <a:pt x="2450" y="4813"/>
                  </a:cubicBezTo>
                  <a:cubicBezTo>
                    <a:pt x="2602" y="4813"/>
                    <a:pt x="2602" y="4813"/>
                    <a:pt x="2602" y="4813"/>
                  </a:cubicBezTo>
                  <a:cubicBezTo>
                    <a:pt x="2602" y="4927"/>
                    <a:pt x="2602" y="4927"/>
                    <a:pt x="2602" y="4927"/>
                  </a:cubicBezTo>
                  <a:moveTo>
                    <a:pt x="2814" y="4745"/>
                  </a:moveTo>
                  <a:cubicBezTo>
                    <a:pt x="2662" y="4745"/>
                    <a:pt x="2662" y="4745"/>
                    <a:pt x="2662" y="4745"/>
                  </a:cubicBezTo>
                  <a:cubicBezTo>
                    <a:pt x="2662" y="4631"/>
                    <a:pt x="2662" y="4631"/>
                    <a:pt x="2662" y="4631"/>
                  </a:cubicBezTo>
                  <a:cubicBezTo>
                    <a:pt x="2814" y="4631"/>
                    <a:pt x="2814" y="4631"/>
                    <a:pt x="2814" y="4631"/>
                  </a:cubicBezTo>
                  <a:cubicBezTo>
                    <a:pt x="2814" y="4745"/>
                    <a:pt x="2814" y="4745"/>
                    <a:pt x="2814" y="4745"/>
                  </a:cubicBezTo>
                  <a:moveTo>
                    <a:pt x="2602" y="4745"/>
                  </a:moveTo>
                  <a:cubicBezTo>
                    <a:pt x="2450" y="4745"/>
                    <a:pt x="2450" y="4745"/>
                    <a:pt x="2450" y="4745"/>
                  </a:cubicBezTo>
                  <a:cubicBezTo>
                    <a:pt x="2450" y="4631"/>
                    <a:pt x="2450" y="4631"/>
                    <a:pt x="2450" y="4631"/>
                  </a:cubicBezTo>
                  <a:cubicBezTo>
                    <a:pt x="2602" y="4631"/>
                    <a:pt x="2602" y="4631"/>
                    <a:pt x="2602" y="4631"/>
                  </a:cubicBezTo>
                  <a:cubicBezTo>
                    <a:pt x="2602" y="4745"/>
                    <a:pt x="2602" y="4745"/>
                    <a:pt x="2602" y="4745"/>
                  </a:cubicBezTo>
                  <a:moveTo>
                    <a:pt x="2814" y="4570"/>
                  </a:moveTo>
                  <a:cubicBezTo>
                    <a:pt x="2662" y="4570"/>
                    <a:pt x="2662" y="4570"/>
                    <a:pt x="2662" y="4570"/>
                  </a:cubicBezTo>
                  <a:cubicBezTo>
                    <a:pt x="2662" y="4418"/>
                    <a:pt x="2662" y="4418"/>
                    <a:pt x="2662" y="4418"/>
                  </a:cubicBezTo>
                  <a:cubicBezTo>
                    <a:pt x="2814" y="4418"/>
                    <a:pt x="2814" y="4418"/>
                    <a:pt x="2814" y="4418"/>
                  </a:cubicBezTo>
                  <a:cubicBezTo>
                    <a:pt x="2814" y="4570"/>
                    <a:pt x="2814" y="4570"/>
                    <a:pt x="2814" y="4570"/>
                  </a:cubicBezTo>
                  <a:moveTo>
                    <a:pt x="2602" y="4570"/>
                  </a:moveTo>
                  <a:cubicBezTo>
                    <a:pt x="2450" y="4570"/>
                    <a:pt x="2450" y="4570"/>
                    <a:pt x="2450" y="4570"/>
                  </a:cubicBezTo>
                  <a:cubicBezTo>
                    <a:pt x="2450" y="4418"/>
                    <a:pt x="2450" y="4418"/>
                    <a:pt x="2450" y="4418"/>
                  </a:cubicBezTo>
                  <a:cubicBezTo>
                    <a:pt x="2602" y="4418"/>
                    <a:pt x="2602" y="4418"/>
                    <a:pt x="2602" y="4418"/>
                  </a:cubicBezTo>
                  <a:cubicBezTo>
                    <a:pt x="2602" y="4570"/>
                    <a:pt x="2602" y="4570"/>
                    <a:pt x="2602" y="4570"/>
                  </a:cubicBezTo>
                  <a:moveTo>
                    <a:pt x="2814" y="4365"/>
                  </a:moveTo>
                  <a:cubicBezTo>
                    <a:pt x="2662" y="4365"/>
                    <a:pt x="2662" y="4365"/>
                    <a:pt x="2662" y="4365"/>
                  </a:cubicBezTo>
                  <a:cubicBezTo>
                    <a:pt x="2662" y="4220"/>
                    <a:pt x="2662" y="4220"/>
                    <a:pt x="2662" y="4220"/>
                  </a:cubicBezTo>
                  <a:cubicBezTo>
                    <a:pt x="2814" y="4220"/>
                    <a:pt x="2814" y="4220"/>
                    <a:pt x="2814" y="4220"/>
                  </a:cubicBezTo>
                  <a:cubicBezTo>
                    <a:pt x="2814" y="4365"/>
                    <a:pt x="2814" y="4365"/>
                    <a:pt x="2814" y="4365"/>
                  </a:cubicBezTo>
                  <a:moveTo>
                    <a:pt x="2602" y="4365"/>
                  </a:moveTo>
                  <a:cubicBezTo>
                    <a:pt x="2450" y="4365"/>
                    <a:pt x="2450" y="4365"/>
                    <a:pt x="2450" y="4365"/>
                  </a:cubicBezTo>
                  <a:cubicBezTo>
                    <a:pt x="2450" y="4220"/>
                    <a:pt x="2450" y="4220"/>
                    <a:pt x="2450" y="4220"/>
                  </a:cubicBezTo>
                  <a:cubicBezTo>
                    <a:pt x="2602" y="4220"/>
                    <a:pt x="2602" y="4220"/>
                    <a:pt x="2602" y="4220"/>
                  </a:cubicBezTo>
                  <a:cubicBezTo>
                    <a:pt x="2602" y="4365"/>
                    <a:pt x="2602" y="4365"/>
                    <a:pt x="2602" y="4365"/>
                  </a:cubicBezTo>
                  <a:moveTo>
                    <a:pt x="2367" y="4083"/>
                  </a:moveTo>
                  <a:cubicBezTo>
                    <a:pt x="2367" y="5300"/>
                    <a:pt x="2367" y="5300"/>
                    <a:pt x="2367" y="5300"/>
                  </a:cubicBezTo>
                  <a:cubicBezTo>
                    <a:pt x="2526" y="5300"/>
                    <a:pt x="2526" y="5300"/>
                    <a:pt x="2526" y="5300"/>
                  </a:cubicBezTo>
                  <a:cubicBezTo>
                    <a:pt x="2526" y="5095"/>
                    <a:pt x="2526" y="5095"/>
                    <a:pt x="2526" y="5095"/>
                  </a:cubicBezTo>
                  <a:cubicBezTo>
                    <a:pt x="2738" y="5095"/>
                    <a:pt x="2738" y="5095"/>
                    <a:pt x="2738" y="5095"/>
                  </a:cubicBezTo>
                  <a:cubicBezTo>
                    <a:pt x="2738" y="5300"/>
                    <a:pt x="2738" y="5300"/>
                    <a:pt x="2738" y="5300"/>
                  </a:cubicBezTo>
                  <a:cubicBezTo>
                    <a:pt x="2890" y="5300"/>
                    <a:pt x="2890" y="5300"/>
                    <a:pt x="2890" y="5300"/>
                  </a:cubicBezTo>
                  <a:cubicBezTo>
                    <a:pt x="2890" y="4083"/>
                    <a:pt x="2890" y="4083"/>
                    <a:pt x="2890" y="4083"/>
                  </a:cubicBezTo>
                  <a:cubicBezTo>
                    <a:pt x="2367" y="4083"/>
                    <a:pt x="2367" y="4083"/>
                    <a:pt x="2367" y="4083"/>
                  </a:cubicBezTo>
                  <a:moveTo>
                    <a:pt x="3367" y="4981"/>
                  </a:moveTo>
                  <a:cubicBezTo>
                    <a:pt x="3208" y="4981"/>
                    <a:pt x="3208" y="4981"/>
                    <a:pt x="3208" y="4981"/>
                  </a:cubicBezTo>
                  <a:cubicBezTo>
                    <a:pt x="3208" y="4821"/>
                    <a:pt x="3208" y="4821"/>
                    <a:pt x="3208" y="4821"/>
                  </a:cubicBezTo>
                  <a:cubicBezTo>
                    <a:pt x="3367" y="4821"/>
                    <a:pt x="3367" y="4821"/>
                    <a:pt x="3367" y="4821"/>
                  </a:cubicBezTo>
                  <a:cubicBezTo>
                    <a:pt x="3367" y="4981"/>
                    <a:pt x="3367" y="4981"/>
                    <a:pt x="3367" y="4981"/>
                  </a:cubicBezTo>
                  <a:close/>
                  <a:moveTo>
                    <a:pt x="3147" y="4981"/>
                  </a:moveTo>
                  <a:cubicBezTo>
                    <a:pt x="2996" y="4981"/>
                    <a:pt x="2996" y="4981"/>
                    <a:pt x="2996" y="4981"/>
                  </a:cubicBezTo>
                  <a:cubicBezTo>
                    <a:pt x="2996" y="4821"/>
                    <a:pt x="2996" y="4821"/>
                    <a:pt x="2996" y="4821"/>
                  </a:cubicBezTo>
                  <a:cubicBezTo>
                    <a:pt x="3147" y="4821"/>
                    <a:pt x="3147" y="4821"/>
                    <a:pt x="3147" y="4821"/>
                  </a:cubicBezTo>
                  <a:cubicBezTo>
                    <a:pt x="3147" y="4981"/>
                    <a:pt x="3147" y="4981"/>
                    <a:pt x="3147" y="4981"/>
                  </a:cubicBezTo>
                  <a:close/>
                  <a:moveTo>
                    <a:pt x="3367" y="4768"/>
                  </a:moveTo>
                  <a:cubicBezTo>
                    <a:pt x="3208" y="4768"/>
                    <a:pt x="3208" y="4768"/>
                    <a:pt x="3208" y="4768"/>
                  </a:cubicBezTo>
                  <a:cubicBezTo>
                    <a:pt x="3208" y="4608"/>
                    <a:pt x="3208" y="4608"/>
                    <a:pt x="3208" y="4608"/>
                  </a:cubicBezTo>
                  <a:cubicBezTo>
                    <a:pt x="3367" y="4608"/>
                    <a:pt x="3367" y="4608"/>
                    <a:pt x="3367" y="4608"/>
                  </a:cubicBezTo>
                  <a:cubicBezTo>
                    <a:pt x="3367" y="4768"/>
                    <a:pt x="3367" y="4768"/>
                    <a:pt x="3367" y="4768"/>
                  </a:cubicBezTo>
                  <a:close/>
                  <a:moveTo>
                    <a:pt x="3147" y="4768"/>
                  </a:moveTo>
                  <a:cubicBezTo>
                    <a:pt x="2996" y="4768"/>
                    <a:pt x="2996" y="4768"/>
                    <a:pt x="2996" y="4768"/>
                  </a:cubicBezTo>
                  <a:cubicBezTo>
                    <a:pt x="2996" y="4608"/>
                    <a:pt x="2996" y="4608"/>
                    <a:pt x="2996" y="4608"/>
                  </a:cubicBezTo>
                  <a:cubicBezTo>
                    <a:pt x="3147" y="4608"/>
                    <a:pt x="3147" y="4608"/>
                    <a:pt x="3147" y="4608"/>
                  </a:cubicBezTo>
                  <a:cubicBezTo>
                    <a:pt x="3147" y="4768"/>
                    <a:pt x="3147" y="4768"/>
                    <a:pt x="3147" y="4768"/>
                  </a:cubicBezTo>
                  <a:close/>
                  <a:moveTo>
                    <a:pt x="2920" y="4479"/>
                  </a:moveTo>
                  <a:cubicBezTo>
                    <a:pt x="2920" y="5300"/>
                    <a:pt x="2920" y="5300"/>
                    <a:pt x="2920" y="5300"/>
                  </a:cubicBezTo>
                  <a:cubicBezTo>
                    <a:pt x="3079" y="5300"/>
                    <a:pt x="3079" y="5300"/>
                    <a:pt x="3079" y="5300"/>
                  </a:cubicBezTo>
                  <a:cubicBezTo>
                    <a:pt x="3079" y="5095"/>
                    <a:pt x="3079" y="5095"/>
                    <a:pt x="3079" y="5095"/>
                  </a:cubicBezTo>
                  <a:cubicBezTo>
                    <a:pt x="3284" y="5095"/>
                    <a:pt x="3284" y="5095"/>
                    <a:pt x="3284" y="5095"/>
                  </a:cubicBezTo>
                  <a:cubicBezTo>
                    <a:pt x="3284" y="5300"/>
                    <a:pt x="3284" y="5300"/>
                    <a:pt x="3284" y="5300"/>
                  </a:cubicBezTo>
                  <a:cubicBezTo>
                    <a:pt x="3443" y="5300"/>
                    <a:pt x="3443" y="5300"/>
                    <a:pt x="3443" y="5300"/>
                  </a:cubicBezTo>
                  <a:cubicBezTo>
                    <a:pt x="3443" y="4479"/>
                    <a:pt x="3443" y="4479"/>
                    <a:pt x="3443" y="4479"/>
                  </a:cubicBezTo>
                  <a:cubicBezTo>
                    <a:pt x="2920" y="4479"/>
                    <a:pt x="2920" y="4479"/>
                    <a:pt x="2920" y="4479"/>
                  </a:cubicBezTo>
                  <a:close/>
                  <a:moveTo>
                    <a:pt x="3367" y="4981"/>
                  </a:moveTo>
                  <a:cubicBezTo>
                    <a:pt x="3208" y="4981"/>
                    <a:pt x="3208" y="4981"/>
                    <a:pt x="3208" y="4981"/>
                  </a:cubicBezTo>
                  <a:cubicBezTo>
                    <a:pt x="3208" y="4821"/>
                    <a:pt x="3208" y="4821"/>
                    <a:pt x="3208" y="4821"/>
                  </a:cubicBezTo>
                  <a:cubicBezTo>
                    <a:pt x="3367" y="4821"/>
                    <a:pt x="3367" y="4821"/>
                    <a:pt x="3367" y="4821"/>
                  </a:cubicBezTo>
                  <a:cubicBezTo>
                    <a:pt x="3367" y="4981"/>
                    <a:pt x="3367" y="4981"/>
                    <a:pt x="3367" y="4981"/>
                  </a:cubicBezTo>
                  <a:close/>
                  <a:moveTo>
                    <a:pt x="3147" y="4981"/>
                  </a:moveTo>
                  <a:cubicBezTo>
                    <a:pt x="2996" y="4981"/>
                    <a:pt x="2996" y="4981"/>
                    <a:pt x="2996" y="4981"/>
                  </a:cubicBezTo>
                  <a:cubicBezTo>
                    <a:pt x="2996" y="4821"/>
                    <a:pt x="2996" y="4821"/>
                    <a:pt x="2996" y="4821"/>
                  </a:cubicBezTo>
                  <a:cubicBezTo>
                    <a:pt x="3147" y="4821"/>
                    <a:pt x="3147" y="4821"/>
                    <a:pt x="3147" y="4821"/>
                  </a:cubicBezTo>
                  <a:cubicBezTo>
                    <a:pt x="3147" y="4981"/>
                    <a:pt x="3147" y="4981"/>
                    <a:pt x="3147" y="4981"/>
                  </a:cubicBezTo>
                  <a:close/>
                  <a:moveTo>
                    <a:pt x="3367" y="4768"/>
                  </a:moveTo>
                  <a:cubicBezTo>
                    <a:pt x="3208" y="4768"/>
                    <a:pt x="3208" y="4768"/>
                    <a:pt x="3208" y="4768"/>
                  </a:cubicBezTo>
                  <a:cubicBezTo>
                    <a:pt x="3208" y="4608"/>
                    <a:pt x="3208" y="4608"/>
                    <a:pt x="3208" y="4608"/>
                  </a:cubicBezTo>
                  <a:cubicBezTo>
                    <a:pt x="3367" y="4608"/>
                    <a:pt x="3367" y="4608"/>
                    <a:pt x="3367" y="4608"/>
                  </a:cubicBezTo>
                  <a:cubicBezTo>
                    <a:pt x="3367" y="4768"/>
                    <a:pt x="3367" y="4768"/>
                    <a:pt x="3367" y="4768"/>
                  </a:cubicBezTo>
                  <a:close/>
                  <a:moveTo>
                    <a:pt x="3147" y="4768"/>
                  </a:moveTo>
                  <a:cubicBezTo>
                    <a:pt x="2996" y="4768"/>
                    <a:pt x="2996" y="4768"/>
                    <a:pt x="2996" y="4768"/>
                  </a:cubicBezTo>
                  <a:cubicBezTo>
                    <a:pt x="2996" y="4608"/>
                    <a:pt x="2996" y="4608"/>
                    <a:pt x="2996" y="4608"/>
                  </a:cubicBezTo>
                  <a:cubicBezTo>
                    <a:pt x="3147" y="4608"/>
                    <a:pt x="3147" y="4608"/>
                    <a:pt x="3147" y="4608"/>
                  </a:cubicBezTo>
                  <a:cubicBezTo>
                    <a:pt x="3147" y="4768"/>
                    <a:pt x="3147" y="4768"/>
                    <a:pt x="3147" y="4768"/>
                  </a:cubicBezTo>
                  <a:close/>
                  <a:moveTo>
                    <a:pt x="2920" y="4479"/>
                  </a:moveTo>
                  <a:cubicBezTo>
                    <a:pt x="2920" y="5300"/>
                    <a:pt x="2920" y="5300"/>
                    <a:pt x="2920" y="5300"/>
                  </a:cubicBezTo>
                  <a:cubicBezTo>
                    <a:pt x="3079" y="5300"/>
                    <a:pt x="3079" y="5300"/>
                    <a:pt x="3079" y="5300"/>
                  </a:cubicBezTo>
                  <a:cubicBezTo>
                    <a:pt x="3079" y="5095"/>
                    <a:pt x="3079" y="5095"/>
                    <a:pt x="3079" y="5095"/>
                  </a:cubicBezTo>
                  <a:cubicBezTo>
                    <a:pt x="3284" y="5095"/>
                    <a:pt x="3284" y="5095"/>
                    <a:pt x="3284" y="5095"/>
                  </a:cubicBezTo>
                  <a:cubicBezTo>
                    <a:pt x="3284" y="5300"/>
                    <a:pt x="3284" y="5300"/>
                    <a:pt x="3284" y="5300"/>
                  </a:cubicBezTo>
                  <a:cubicBezTo>
                    <a:pt x="3443" y="5300"/>
                    <a:pt x="3443" y="5300"/>
                    <a:pt x="3443" y="5300"/>
                  </a:cubicBezTo>
                  <a:cubicBezTo>
                    <a:pt x="3443" y="4479"/>
                    <a:pt x="3443" y="4479"/>
                    <a:pt x="3443" y="4479"/>
                  </a:cubicBezTo>
                  <a:cubicBezTo>
                    <a:pt x="2920" y="4479"/>
                    <a:pt x="2920" y="4479"/>
                    <a:pt x="2920" y="4479"/>
                  </a:cubicBezTo>
                  <a:close/>
                  <a:moveTo>
                    <a:pt x="3367" y="4981"/>
                  </a:moveTo>
                  <a:cubicBezTo>
                    <a:pt x="3208" y="4981"/>
                    <a:pt x="3208" y="4981"/>
                    <a:pt x="3208" y="4981"/>
                  </a:cubicBezTo>
                  <a:cubicBezTo>
                    <a:pt x="3208" y="4821"/>
                    <a:pt x="3208" y="4821"/>
                    <a:pt x="3208" y="4821"/>
                  </a:cubicBezTo>
                  <a:cubicBezTo>
                    <a:pt x="3367" y="4821"/>
                    <a:pt x="3367" y="4821"/>
                    <a:pt x="3367" y="4821"/>
                  </a:cubicBezTo>
                  <a:cubicBezTo>
                    <a:pt x="3367" y="4981"/>
                    <a:pt x="3367" y="4981"/>
                    <a:pt x="3367" y="4981"/>
                  </a:cubicBezTo>
                  <a:moveTo>
                    <a:pt x="3147" y="4981"/>
                  </a:moveTo>
                  <a:cubicBezTo>
                    <a:pt x="2996" y="4981"/>
                    <a:pt x="2996" y="4981"/>
                    <a:pt x="2996" y="4981"/>
                  </a:cubicBezTo>
                  <a:cubicBezTo>
                    <a:pt x="2996" y="4821"/>
                    <a:pt x="2996" y="4821"/>
                    <a:pt x="2996" y="4821"/>
                  </a:cubicBezTo>
                  <a:cubicBezTo>
                    <a:pt x="3147" y="4821"/>
                    <a:pt x="3147" y="4821"/>
                    <a:pt x="3147" y="4821"/>
                  </a:cubicBezTo>
                  <a:cubicBezTo>
                    <a:pt x="3147" y="4981"/>
                    <a:pt x="3147" y="4981"/>
                    <a:pt x="3147" y="4981"/>
                  </a:cubicBezTo>
                  <a:moveTo>
                    <a:pt x="3367" y="4768"/>
                  </a:moveTo>
                  <a:cubicBezTo>
                    <a:pt x="3208" y="4768"/>
                    <a:pt x="3208" y="4768"/>
                    <a:pt x="3208" y="4768"/>
                  </a:cubicBezTo>
                  <a:cubicBezTo>
                    <a:pt x="3208" y="4608"/>
                    <a:pt x="3208" y="4608"/>
                    <a:pt x="3208" y="4608"/>
                  </a:cubicBezTo>
                  <a:cubicBezTo>
                    <a:pt x="3367" y="4608"/>
                    <a:pt x="3367" y="4608"/>
                    <a:pt x="3367" y="4608"/>
                  </a:cubicBezTo>
                  <a:cubicBezTo>
                    <a:pt x="3367" y="4768"/>
                    <a:pt x="3367" y="4768"/>
                    <a:pt x="3367" y="4768"/>
                  </a:cubicBezTo>
                  <a:moveTo>
                    <a:pt x="3147" y="4768"/>
                  </a:moveTo>
                  <a:cubicBezTo>
                    <a:pt x="2996" y="4768"/>
                    <a:pt x="2996" y="4768"/>
                    <a:pt x="2996" y="4768"/>
                  </a:cubicBezTo>
                  <a:cubicBezTo>
                    <a:pt x="2996" y="4608"/>
                    <a:pt x="2996" y="4608"/>
                    <a:pt x="2996" y="4608"/>
                  </a:cubicBezTo>
                  <a:cubicBezTo>
                    <a:pt x="3147" y="4608"/>
                    <a:pt x="3147" y="4608"/>
                    <a:pt x="3147" y="4608"/>
                  </a:cubicBezTo>
                  <a:cubicBezTo>
                    <a:pt x="3147" y="4768"/>
                    <a:pt x="3147" y="4768"/>
                    <a:pt x="3147" y="4768"/>
                  </a:cubicBezTo>
                  <a:moveTo>
                    <a:pt x="2920" y="4479"/>
                  </a:moveTo>
                  <a:cubicBezTo>
                    <a:pt x="2920" y="5300"/>
                    <a:pt x="2920" y="5300"/>
                    <a:pt x="2920" y="5300"/>
                  </a:cubicBezTo>
                  <a:cubicBezTo>
                    <a:pt x="3079" y="5300"/>
                    <a:pt x="3079" y="5300"/>
                    <a:pt x="3079" y="5300"/>
                  </a:cubicBezTo>
                  <a:cubicBezTo>
                    <a:pt x="3079" y="5095"/>
                    <a:pt x="3079" y="5095"/>
                    <a:pt x="3079" y="5095"/>
                  </a:cubicBezTo>
                  <a:cubicBezTo>
                    <a:pt x="3284" y="5095"/>
                    <a:pt x="3284" y="5095"/>
                    <a:pt x="3284" y="5095"/>
                  </a:cubicBezTo>
                  <a:cubicBezTo>
                    <a:pt x="3284" y="5300"/>
                    <a:pt x="3284" y="5300"/>
                    <a:pt x="3284" y="5300"/>
                  </a:cubicBezTo>
                  <a:cubicBezTo>
                    <a:pt x="3443" y="5300"/>
                    <a:pt x="3443" y="5300"/>
                    <a:pt x="3443" y="5300"/>
                  </a:cubicBezTo>
                  <a:cubicBezTo>
                    <a:pt x="3443" y="4479"/>
                    <a:pt x="3443" y="4479"/>
                    <a:pt x="3443" y="4479"/>
                  </a:cubicBezTo>
                  <a:cubicBezTo>
                    <a:pt x="2920" y="4479"/>
                    <a:pt x="2920" y="4479"/>
                    <a:pt x="2920" y="4479"/>
                  </a:cubicBezTo>
                  <a:moveTo>
                    <a:pt x="697" y="2398"/>
                  </a:moveTo>
                  <a:cubicBezTo>
                    <a:pt x="794" y="2398"/>
                    <a:pt x="875" y="2464"/>
                    <a:pt x="920" y="2559"/>
                  </a:cubicBezTo>
                  <a:cubicBezTo>
                    <a:pt x="972" y="2522"/>
                    <a:pt x="1031" y="2500"/>
                    <a:pt x="1098" y="2500"/>
                  </a:cubicBezTo>
                  <a:cubicBezTo>
                    <a:pt x="1247" y="2500"/>
                    <a:pt x="1373" y="2602"/>
                    <a:pt x="1402" y="2741"/>
                  </a:cubicBezTo>
                  <a:cubicBezTo>
                    <a:pt x="1417" y="2734"/>
                    <a:pt x="1440" y="2726"/>
                    <a:pt x="1462" y="2726"/>
                  </a:cubicBezTo>
                  <a:cubicBezTo>
                    <a:pt x="1543" y="2726"/>
                    <a:pt x="1610" y="2792"/>
                    <a:pt x="1610" y="2872"/>
                  </a:cubicBezTo>
                  <a:cubicBezTo>
                    <a:pt x="1610" y="2953"/>
                    <a:pt x="1543" y="3018"/>
                    <a:pt x="1462" y="3018"/>
                  </a:cubicBezTo>
                  <a:cubicBezTo>
                    <a:pt x="1432" y="3018"/>
                    <a:pt x="1410" y="3011"/>
                    <a:pt x="1388" y="2996"/>
                  </a:cubicBezTo>
                  <a:cubicBezTo>
                    <a:pt x="1343" y="3106"/>
                    <a:pt x="1232" y="3186"/>
                    <a:pt x="1098" y="3186"/>
                  </a:cubicBezTo>
                  <a:cubicBezTo>
                    <a:pt x="1016" y="3186"/>
                    <a:pt x="935" y="3150"/>
                    <a:pt x="883" y="3099"/>
                  </a:cubicBezTo>
                  <a:cubicBezTo>
                    <a:pt x="838" y="3150"/>
                    <a:pt x="772" y="3179"/>
                    <a:pt x="697" y="3179"/>
                  </a:cubicBezTo>
                  <a:cubicBezTo>
                    <a:pt x="608" y="3179"/>
                    <a:pt x="534" y="3135"/>
                    <a:pt x="489" y="3077"/>
                  </a:cubicBezTo>
                  <a:cubicBezTo>
                    <a:pt x="475" y="3128"/>
                    <a:pt x="423" y="3164"/>
                    <a:pt x="363" y="3164"/>
                  </a:cubicBezTo>
                  <a:cubicBezTo>
                    <a:pt x="296" y="3164"/>
                    <a:pt x="244" y="3120"/>
                    <a:pt x="230" y="3062"/>
                  </a:cubicBezTo>
                  <a:cubicBezTo>
                    <a:pt x="207" y="3091"/>
                    <a:pt x="170" y="3106"/>
                    <a:pt x="133" y="3106"/>
                  </a:cubicBezTo>
                  <a:cubicBezTo>
                    <a:pt x="59" y="3106"/>
                    <a:pt x="0" y="3047"/>
                    <a:pt x="0" y="2982"/>
                  </a:cubicBezTo>
                  <a:cubicBezTo>
                    <a:pt x="0" y="2909"/>
                    <a:pt x="59" y="2850"/>
                    <a:pt x="133" y="2850"/>
                  </a:cubicBezTo>
                  <a:cubicBezTo>
                    <a:pt x="155" y="2850"/>
                    <a:pt x="170" y="2858"/>
                    <a:pt x="193" y="2865"/>
                  </a:cubicBezTo>
                  <a:cubicBezTo>
                    <a:pt x="193" y="2858"/>
                    <a:pt x="193" y="2850"/>
                    <a:pt x="193" y="2843"/>
                  </a:cubicBezTo>
                  <a:cubicBezTo>
                    <a:pt x="193" y="2726"/>
                    <a:pt x="289" y="2632"/>
                    <a:pt x="408" y="2632"/>
                  </a:cubicBezTo>
                  <a:cubicBezTo>
                    <a:pt x="423" y="2632"/>
                    <a:pt x="430" y="2632"/>
                    <a:pt x="445" y="2632"/>
                  </a:cubicBezTo>
                  <a:cubicBezTo>
                    <a:pt x="467" y="2500"/>
                    <a:pt x="571" y="2398"/>
                    <a:pt x="697" y="2398"/>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178"/>
              <a:endParaRPr lang="en-US" sz="800" dirty="0">
                <a:solidFill>
                  <a:srgbClr val="2F2E7E"/>
                </a:solidFill>
              </a:endParaRPr>
            </a:p>
          </p:txBody>
        </p:sp>
        <p:sp>
          <p:nvSpPr>
            <p:cNvPr id="100" name="TextBox 99"/>
            <p:cNvSpPr txBox="1"/>
            <p:nvPr/>
          </p:nvSpPr>
          <p:spPr>
            <a:xfrm>
              <a:off x="3938401" y="3796685"/>
              <a:ext cx="1265800" cy="560153"/>
            </a:xfrm>
            <a:prstGeom prst="rect">
              <a:avLst/>
            </a:prstGeom>
            <a:noFill/>
            <a:effectLst/>
          </p:spPr>
          <p:txBody>
            <a:bodyPr wrap="square" lIns="45720" tIns="45720" rIns="45720" bIns="45720" rtlCol="0" anchor="ctr">
              <a:spAutoFit/>
            </a:bodyPr>
            <a:lstStyle/>
            <a:p>
              <a:pPr algn="ctr">
                <a:lnSpc>
                  <a:spcPct val="95000"/>
                </a:lnSpc>
                <a:spcBef>
                  <a:spcPts val="0"/>
                </a:spcBef>
                <a:spcAft>
                  <a:spcPts val="0"/>
                </a:spcAft>
              </a:pPr>
              <a:r>
                <a:rPr lang="en-IN" sz="3200" b="1" dirty="0" smtClean="0">
                  <a:ln w="0"/>
                  <a:solidFill>
                    <a:schemeClr val="accent4">
                      <a:lumMod val="75000"/>
                    </a:schemeClr>
                  </a:solidFill>
                  <a:latin typeface="+mn-lt"/>
                  <a:cs typeface="Avenir Book"/>
                </a:rPr>
                <a:t>4.7X</a:t>
              </a:r>
              <a:endParaRPr lang="en-IN" sz="1400" b="1" dirty="0">
                <a:ln w="0"/>
                <a:solidFill>
                  <a:schemeClr val="accent4">
                    <a:lumMod val="75000"/>
                  </a:schemeClr>
                </a:solidFill>
                <a:latin typeface="+mn-lt"/>
                <a:cs typeface="Avenir Book"/>
              </a:endParaRPr>
            </a:p>
          </p:txBody>
        </p:sp>
        <p:sp>
          <p:nvSpPr>
            <p:cNvPr id="101" name="Rectangle 100"/>
            <p:cNvSpPr/>
            <p:nvPr/>
          </p:nvSpPr>
          <p:spPr>
            <a:xfrm>
              <a:off x="4026447" y="4270837"/>
              <a:ext cx="1089722" cy="267766"/>
            </a:xfrm>
            <a:prstGeom prst="rect">
              <a:avLst/>
            </a:prstGeom>
          </p:spPr>
          <p:txBody>
            <a:bodyPr wrap="none">
              <a:spAutoFit/>
            </a:bodyPr>
            <a:lstStyle/>
            <a:p>
              <a:pPr algn="ctr">
                <a:lnSpc>
                  <a:spcPct val="95000"/>
                </a:lnSpc>
                <a:spcBef>
                  <a:spcPts val="0"/>
                </a:spcBef>
                <a:spcAft>
                  <a:spcPts val="0"/>
                </a:spcAft>
              </a:pPr>
              <a:r>
                <a:rPr lang="en-IN" sz="1200" dirty="0" smtClean="0">
                  <a:solidFill>
                    <a:schemeClr val="accent1"/>
                  </a:solidFill>
                  <a:cs typeface="Avenir Book"/>
                </a:rPr>
                <a:t>Traffic of LTE</a:t>
              </a:r>
              <a:endParaRPr lang="en-IN" sz="1200" dirty="0">
                <a:solidFill>
                  <a:schemeClr val="accent1"/>
                </a:solidFill>
                <a:cs typeface="Avenir Book"/>
              </a:endParaRPr>
            </a:p>
          </p:txBody>
        </p:sp>
      </p:grpSp>
      <p:cxnSp>
        <p:nvCxnSpPr>
          <p:cNvPr id="102" name="Straight Connector 101"/>
          <p:cNvCxnSpPr/>
          <p:nvPr/>
        </p:nvCxnSpPr>
        <p:spPr>
          <a:xfrm>
            <a:off x="6858000" y="3301069"/>
            <a:ext cx="0" cy="1098510"/>
          </a:xfrm>
          <a:prstGeom prst="line">
            <a:avLst/>
          </a:prstGeom>
          <a:ln w="22225"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7938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22"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smtClean="0"/>
              <a:t>Transforming for the Future</a:t>
            </a:r>
            <a:endParaRPr lang="en-US" dirty="0"/>
          </a:p>
        </p:txBody>
      </p:sp>
      <p:sp>
        <p:nvSpPr>
          <p:cNvPr id="133" name="TextBox 132"/>
          <p:cNvSpPr txBox="1"/>
          <p:nvPr/>
        </p:nvSpPr>
        <p:spPr>
          <a:xfrm>
            <a:off x="3963741" y="997752"/>
            <a:ext cx="1227644" cy="369332"/>
          </a:xfrm>
          <a:prstGeom prst="rect">
            <a:avLst/>
          </a:prstGeom>
          <a:noFill/>
        </p:spPr>
        <p:txBody>
          <a:bodyPr wrap="none" rtlCol="0" anchor="ctr">
            <a:spAutoFit/>
          </a:bodyPr>
          <a:lstStyle/>
          <a:p>
            <a:pPr algn="ctr"/>
            <a:r>
              <a:rPr lang="en-US" dirty="0" smtClean="0">
                <a:solidFill>
                  <a:schemeClr val="bg1"/>
                </a:solidFill>
              </a:rPr>
              <a:t>Transform</a:t>
            </a:r>
            <a:endParaRPr lang="en-US" dirty="0">
              <a:solidFill>
                <a:schemeClr val="bg1"/>
              </a:solidFill>
            </a:endParaRPr>
          </a:p>
        </p:txBody>
      </p:sp>
      <p:grpSp>
        <p:nvGrpSpPr>
          <p:cNvPr id="38" name="Group 37"/>
          <p:cNvGrpSpPr/>
          <p:nvPr/>
        </p:nvGrpSpPr>
        <p:grpSpPr>
          <a:xfrm>
            <a:off x="472354" y="2086340"/>
            <a:ext cx="1967216" cy="1103700"/>
            <a:chOff x="472354" y="2031866"/>
            <a:chExt cx="1967216" cy="1103700"/>
          </a:xfrm>
        </p:grpSpPr>
        <p:sp>
          <p:nvSpPr>
            <p:cNvPr id="75" name="Rectangle 12"/>
            <p:cNvSpPr>
              <a:spLocks noChangeArrowheads="1"/>
            </p:cNvSpPr>
            <p:nvPr/>
          </p:nvSpPr>
          <p:spPr bwMode="auto">
            <a:xfrm>
              <a:off x="472354" y="2031866"/>
              <a:ext cx="1967216" cy="11037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lt1"/>
                </a:solidFill>
                <a:latin typeface="+mn-lt"/>
                <a:ea typeface="+mn-ea"/>
                <a:cs typeface="+mn-cs"/>
              </a:endParaRPr>
            </a:p>
          </p:txBody>
        </p:sp>
        <p:sp>
          <p:nvSpPr>
            <p:cNvPr id="76" name="Rectangle 75"/>
            <p:cNvSpPr/>
            <p:nvPr/>
          </p:nvSpPr>
          <p:spPr>
            <a:xfrm>
              <a:off x="1328000" y="2306717"/>
              <a:ext cx="1096330" cy="553998"/>
            </a:xfrm>
            <a:prstGeom prst="rect">
              <a:avLst/>
            </a:prstGeom>
          </p:spPr>
          <p:txBody>
            <a:bodyPr wrap="square" anchor="ctr">
              <a:spAutoFit/>
            </a:bodyPr>
            <a:lstStyle/>
            <a:p>
              <a:pPr>
                <a:spcAft>
                  <a:spcPts val="300"/>
                </a:spcAft>
              </a:pPr>
              <a:r>
                <a:rPr lang="en-US" sz="1500" kern="0" dirty="0" smtClean="0">
                  <a:solidFill>
                    <a:srgbClr val="FFFFFF"/>
                  </a:solidFill>
                </a:rPr>
                <a:t>Increase Speed</a:t>
              </a:r>
              <a:endParaRPr lang="en-US" sz="1500" dirty="0"/>
            </a:p>
          </p:txBody>
        </p:sp>
        <p:grpSp>
          <p:nvGrpSpPr>
            <p:cNvPr id="10" name="Group 9"/>
            <p:cNvGrpSpPr/>
            <p:nvPr/>
          </p:nvGrpSpPr>
          <p:grpSpPr>
            <a:xfrm>
              <a:off x="565161" y="2225437"/>
              <a:ext cx="716374" cy="716558"/>
              <a:chOff x="565161" y="2031866"/>
              <a:chExt cx="716374" cy="716558"/>
            </a:xfrm>
          </p:grpSpPr>
          <p:sp>
            <p:nvSpPr>
              <p:cNvPr id="78" name="Oval 77"/>
              <p:cNvSpPr>
                <a:spLocks noChangeAspect="1"/>
              </p:cNvSpPr>
              <p:nvPr/>
            </p:nvSpPr>
            <p:spPr>
              <a:xfrm>
                <a:off x="565161" y="2031866"/>
                <a:ext cx="716374" cy="716558"/>
              </a:xfrm>
              <a:prstGeom prst="ellipse">
                <a:avLst/>
              </a:prstGeom>
              <a:solidFill>
                <a:schemeClr val="accent1">
                  <a:lumMod val="75000"/>
                </a:schemeClr>
              </a:solidFill>
              <a:ln w="9525" cap="flat" cmpd="sng" algn="ctr">
                <a:solidFill>
                  <a:schemeClr val="bg1">
                    <a:alpha val="70000"/>
                  </a:schemeClr>
                </a:solidFill>
                <a:prstDash val="solid"/>
                <a:roun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82124" tIns="41061" rIns="82124" bIns="41061" numCol="1" spcCol="0" rtlCol="0" fromWordArt="0" anchor="ctr" anchorCtr="0" forceAA="0" compatLnSpc="1">
                <a:prstTxWarp prst="textNoShape">
                  <a:avLst/>
                </a:prstTxWarp>
                <a:noAutofit/>
              </a:bodyPr>
              <a:lstStyle/>
              <a:p>
                <a:pPr marL="0" marR="0" lvl="0" indent="0" algn="ctr" defTabSz="1085661"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FFFFFF"/>
                  </a:solidFill>
                  <a:effectLst/>
                  <a:uLnTx/>
                  <a:uFillTx/>
                  <a:latin typeface="Arial"/>
                  <a:cs typeface="Arial" charset="0"/>
                </a:endParaRPr>
              </a:p>
            </p:txBody>
          </p:sp>
          <p:grpSp>
            <p:nvGrpSpPr>
              <p:cNvPr id="79" name="Group 78"/>
              <p:cNvGrpSpPr/>
              <p:nvPr/>
            </p:nvGrpSpPr>
            <p:grpSpPr>
              <a:xfrm>
                <a:off x="709847" y="2135796"/>
                <a:ext cx="456903" cy="539178"/>
                <a:chOff x="2785148" y="2114897"/>
                <a:chExt cx="391440" cy="471172"/>
              </a:xfrm>
              <a:solidFill>
                <a:schemeClr val="bg1"/>
              </a:solidFill>
              <a:effectLst>
                <a:outerShdw blurRad="63500" sx="102000" sy="102000" algn="ctr" rotWithShape="0">
                  <a:prstClr val="black">
                    <a:alpha val="40000"/>
                  </a:prstClr>
                </a:outerShdw>
              </a:effectLst>
            </p:grpSpPr>
            <p:sp>
              <p:nvSpPr>
                <p:cNvPr id="80" name="Freeform 98"/>
                <p:cNvSpPr>
                  <a:spLocks noEditPoints="1"/>
                </p:cNvSpPr>
                <p:nvPr/>
              </p:nvSpPr>
              <p:spPr bwMode="auto">
                <a:xfrm>
                  <a:off x="2785148" y="2114897"/>
                  <a:ext cx="270064" cy="268734"/>
                </a:xfrm>
                <a:custGeom>
                  <a:avLst/>
                  <a:gdLst>
                    <a:gd name="T0" fmla="*/ 400 w 800"/>
                    <a:gd name="T1" fmla="*/ 583 h 799"/>
                    <a:gd name="T2" fmla="*/ 216 w 800"/>
                    <a:gd name="T3" fmla="*/ 400 h 799"/>
                    <a:gd name="T4" fmla="*/ 400 w 800"/>
                    <a:gd name="T5" fmla="*/ 216 h 799"/>
                    <a:gd name="T6" fmla="*/ 583 w 800"/>
                    <a:gd name="T7" fmla="*/ 400 h 799"/>
                    <a:gd name="T8" fmla="*/ 400 w 800"/>
                    <a:gd name="T9" fmla="*/ 583 h 799"/>
                    <a:gd name="T10" fmla="*/ 800 w 800"/>
                    <a:gd name="T11" fmla="*/ 433 h 799"/>
                    <a:gd name="T12" fmla="*/ 800 w 800"/>
                    <a:gd name="T13" fmla="*/ 366 h 799"/>
                    <a:gd name="T14" fmla="*/ 633 w 800"/>
                    <a:gd name="T15" fmla="*/ 311 h 799"/>
                    <a:gd name="T16" fmla="*/ 627 w 800"/>
                    <a:gd name="T17" fmla="*/ 297 h 799"/>
                    <a:gd name="T18" fmla="*/ 706 w 800"/>
                    <a:gd name="T19" fmla="*/ 140 h 799"/>
                    <a:gd name="T20" fmla="*/ 659 w 800"/>
                    <a:gd name="T21" fmla="*/ 93 h 799"/>
                    <a:gd name="T22" fmla="*/ 502 w 800"/>
                    <a:gd name="T23" fmla="*/ 172 h 799"/>
                    <a:gd name="T24" fmla="*/ 489 w 800"/>
                    <a:gd name="T25" fmla="*/ 166 h 799"/>
                    <a:gd name="T26" fmla="*/ 433 w 800"/>
                    <a:gd name="T27" fmla="*/ 0 h 799"/>
                    <a:gd name="T28" fmla="*/ 366 w 800"/>
                    <a:gd name="T29" fmla="*/ 0 h 799"/>
                    <a:gd name="T30" fmla="*/ 311 w 800"/>
                    <a:gd name="T31" fmla="*/ 166 h 799"/>
                    <a:gd name="T32" fmla="*/ 298 w 800"/>
                    <a:gd name="T33" fmla="*/ 172 h 799"/>
                    <a:gd name="T34" fmla="*/ 141 w 800"/>
                    <a:gd name="T35" fmla="*/ 93 h 799"/>
                    <a:gd name="T36" fmla="*/ 93 w 800"/>
                    <a:gd name="T37" fmla="*/ 140 h 799"/>
                    <a:gd name="T38" fmla="*/ 172 w 800"/>
                    <a:gd name="T39" fmla="*/ 297 h 799"/>
                    <a:gd name="T40" fmla="*/ 166 w 800"/>
                    <a:gd name="T41" fmla="*/ 310 h 799"/>
                    <a:gd name="T42" fmla="*/ 0 w 800"/>
                    <a:gd name="T43" fmla="*/ 366 h 799"/>
                    <a:gd name="T44" fmla="*/ 0 w 800"/>
                    <a:gd name="T45" fmla="*/ 433 h 799"/>
                    <a:gd name="T46" fmla="*/ 166 w 800"/>
                    <a:gd name="T47" fmla="*/ 488 h 799"/>
                    <a:gd name="T48" fmla="*/ 172 w 800"/>
                    <a:gd name="T49" fmla="*/ 502 h 799"/>
                    <a:gd name="T50" fmla="*/ 93 w 800"/>
                    <a:gd name="T51" fmla="*/ 659 h 799"/>
                    <a:gd name="T52" fmla="*/ 141 w 800"/>
                    <a:gd name="T53" fmla="*/ 706 h 799"/>
                    <a:gd name="T54" fmla="*/ 297 w 800"/>
                    <a:gd name="T55" fmla="*/ 627 h 799"/>
                    <a:gd name="T56" fmla="*/ 311 w 800"/>
                    <a:gd name="T57" fmla="*/ 633 h 799"/>
                    <a:gd name="T58" fmla="*/ 366 w 800"/>
                    <a:gd name="T59" fmla="*/ 799 h 799"/>
                    <a:gd name="T60" fmla="*/ 433 w 800"/>
                    <a:gd name="T61" fmla="*/ 799 h 799"/>
                    <a:gd name="T62" fmla="*/ 488 w 800"/>
                    <a:gd name="T63" fmla="*/ 633 h 799"/>
                    <a:gd name="T64" fmla="*/ 502 w 800"/>
                    <a:gd name="T65" fmla="*/ 627 h 799"/>
                    <a:gd name="T66" fmla="*/ 659 w 800"/>
                    <a:gd name="T67" fmla="*/ 706 h 799"/>
                    <a:gd name="T68" fmla="*/ 706 w 800"/>
                    <a:gd name="T69" fmla="*/ 658 h 799"/>
                    <a:gd name="T70" fmla="*/ 627 w 800"/>
                    <a:gd name="T71" fmla="*/ 502 h 799"/>
                    <a:gd name="T72" fmla="*/ 633 w 800"/>
                    <a:gd name="T73" fmla="*/ 488 h 799"/>
                    <a:gd name="T74" fmla="*/ 800 w 800"/>
                    <a:gd name="T75" fmla="*/ 433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0" h="799">
                      <a:moveTo>
                        <a:pt x="400" y="583"/>
                      </a:moveTo>
                      <a:cubicBezTo>
                        <a:pt x="298" y="583"/>
                        <a:pt x="216" y="501"/>
                        <a:pt x="216" y="400"/>
                      </a:cubicBezTo>
                      <a:cubicBezTo>
                        <a:pt x="216" y="298"/>
                        <a:pt x="298" y="216"/>
                        <a:pt x="400" y="216"/>
                      </a:cubicBezTo>
                      <a:cubicBezTo>
                        <a:pt x="501" y="216"/>
                        <a:pt x="583" y="298"/>
                        <a:pt x="583" y="400"/>
                      </a:cubicBezTo>
                      <a:cubicBezTo>
                        <a:pt x="583" y="501"/>
                        <a:pt x="501" y="583"/>
                        <a:pt x="400" y="583"/>
                      </a:cubicBezTo>
                      <a:moveTo>
                        <a:pt x="800" y="433"/>
                      </a:moveTo>
                      <a:lnTo>
                        <a:pt x="800" y="366"/>
                      </a:lnTo>
                      <a:lnTo>
                        <a:pt x="633" y="311"/>
                      </a:lnTo>
                      <a:cubicBezTo>
                        <a:pt x="631" y="306"/>
                        <a:pt x="629" y="302"/>
                        <a:pt x="627" y="297"/>
                      </a:cubicBezTo>
                      <a:lnTo>
                        <a:pt x="706" y="140"/>
                      </a:lnTo>
                      <a:lnTo>
                        <a:pt x="659" y="93"/>
                      </a:lnTo>
                      <a:lnTo>
                        <a:pt x="502" y="172"/>
                      </a:lnTo>
                      <a:cubicBezTo>
                        <a:pt x="497" y="170"/>
                        <a:pt x="493" y="168"/>
                        <a:pt x="489" y="166"/>
                      </a:cubicBezTo>
                      <a:lnTo>
                        <a:pt x="433" y="0"/>
                      </a:lnTo>
                      <a:lnTo>
                        <a:pt x="366" y="0"/>
                      </a:lnTo>
                      <a:lnTo>
                        <a:pt x="311" y="166"/>
                      </a:lnTo>
                      <a:cubicBezTo>
                        <a:pt x="306" y="168"/>
                        <a:pt x="302" y="170"/>
                        <a:pt x="298" y="172"/>
                      </a:cubicBezTo>
                      <a:lnTo>
                        <a:pt x="141" y="93"/>
                      </a:lnTo>
                      <a:lnTo>
                        <a:pt x="93" y="140"/>
                      </a:lnTo>
                      <a:lnTo>
                        <a:pt x="172" y="297"/>
                      </a:lnTo>
                      <a:cubicBezTo>
                        <a:pt x="170" y="302"/>
                        <a:pt x="168" y="306"/>
                        <a:pt x="166" y="310"/>
                      </a:cubicBezTo>
                      <a:lnTo>
                        <a:pt x="0" y="366"/>
                      </a:lnTo>
                      <a:lnTo>
                        <a:pt x="0" y="433"/>
                      </a:lnTo>
                      <a:lnTo>
                        <a:pt x="166" y="488"/>
                      </a:lnTo>
                      <a:cubicBezTo>
                        <a:pt x="168" y="493"/>
                        <a:pt x="170" y="497"/>
                        <a:pt x="172" y="502"/>
                      </a:cubicBezTo>
                      <a:lnTo>
                        <a:pt x="93" y="659"/>
                      </a:lnTo>
                      <a:lnTo>
                        <a:pt x="141" y="706"/>
                      </a:lnTo>
                      <a:lnTo>
                        <a:pt x="297" y="627"/>
                      </a:lnTo>
                      <a:cubicBezTo>
                        <a:pt x="302" y="629"/>
                        <a:pt x="306" y="631"/>
                        <a:pt x="311" y="633"/>
                      </a:cubicBezTo>
                      <a:lnTo>
                        <a:pt x="366" y="799"/>
                      </a:lnTo>
                      <a:lnTo>
                        <a:pt x="433" y="799"/>
                      </a:lnTo>
                      <a:lnTo>
                        <a:pt x="488" y="633"/>
                      </a:lnTo>
                      <a:cubicBezTo>
                        <a:pt x="493" y="631"/>
                        <a:pt x="498" y="630"/>
                        <a:pt x="502" y="627"/>
                      </a:cubicBezTo>
                      <a:lnTo>
                        <a:pt x="659" y="706"/>
                      </a:lnTo>
                      <a:lnTo>
                        <a:pt x="706" y="658"/>
                      </a:lnTo>
                      <a:lnTo>
                        <a:pt x="627" y="502"/>
                      </a:lnTo>
                      <a:cubicBezTo>
                        <a:pt x="630" y="497"/>
                        <a:pt x="631" y="493"/>
                        <a:pt x="633" y="488"/>
                      </a:cubicBezTo>
                      <a:lnTo>
                        <a:pt x="800" y="433"/>
                      </a:lnTo>
                      <a:close/>
                    </a:path>
                  </a:pathLst>
                </a:custGeom>
                <a:grpFill/>
                <a:ln>
                  <a:noFill/>
                </a:ln>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dirty="0">
                    <a:solidFill>
                      <a:srgbClr val="58585B"/>
                    </a:solidFill>
                    <a:ea typeface="ＭＳ Ｐゴシック" pitchFamily="34" charset="-128"/>
                  </a:endParaRPr>
                </a:p>
              </p:txBody>
            </p:sp>
            <p:sp>
              <p:nvSpPr>
                <p:cNvPr id="81" name="Freeform 98"/>
                <p:cNvSpPr>
                  <a:spLocks noEditPoints="1"/>
                </p:cNvSpPr>
                <p:nvPr/>
              </p:nvSpPr>
              <p:spPr bwMode="auto">
                <a:xfrm>
                  <a:off x="2893307" y="2383631"/>
                  <a:ext cx="203440" cy="202438"/>
                </a:xfrm>
                <a:custGeom>
                  <a:avLst/>
                  <a:gdLst>
                    <a:gd name="T0" fmla="*/ 400 w 800"/>
                    <a:gd name="T1" fmla="*/ 583 h 799"/>
                    <a:gd name="T2" fmla="*/ 216 w 800"/>
                    <a:gd name="T3" fmla="*/ 400 h 799"/>
                    <a:gd name="T4" fmla="*/ 400 w 800"/>
                    <a:gd name="T5" fmla="*/ 216 h 799"/>
                    <a:gd name="T6" fmla="*/ 583 w 800"/>
                    <a:gd name="T7" fmla="*/ 400 h 799"/>
                    <a:gd name="T8" fmla="*/ 400 w 800"/>
                    <a:gd name="T9" fmla="*/ 583 h 799"/>
                    <a:gd name="T10" fmla="*/ 800 w 800"/>
                    <a:gd name="T11" fmla="*/ 433 h 799"/>
                    <a:gd name="T12" fmla="*/ 800 w 800"/>
                    <a:gd name="T13" fmla="*/ 366 h 799"/>
                    <a:gd name="T14" fmla="*/ 633 w 800"/>
                    <a:gd name="T15" fmla="*/ 311 h 799"/>
                    <a:gd name="T16" fmla="*/ 627 w 800"/>
                    <a:gd name="T17" fmla="*/ 297 h 799"/>
                    <a:gd name="T18" fmla="*/ 706 w 800"/>
                    <a:gd name="T19" fmla="*/ 140 h 799"/>
                    <a:gd name="T20" fmla="*/ 659 w 800"/>
                    <a:gd name="T21" fmla="*/ 93 h 799"/>
                    <a:gd name="T22" fmla="*/ 502 w 800"/>
                    <a:gd name="T23" fmla="*/ 172 h 799"/>
                    <a:gd name="T24" fmla="*/ 489 w 800"/>
                    <a:gd name="T25" fmla="*/ 166 h 799"/>
                    <a:gd name="T26" fmla="*/ 433 w 800"/>
                    <a:gd name="T27" fmla="*/ 0 h 799"/>
                    <a:gd name="T28" fmla="*/ 366 w 800"/>
                    <a:gd name="T29" fmla="*/ 0 h 799"/>
                    <a:gd name="T30" fmla="*/ 311 w 800"/>
                    <a:gd name="T31" fmla="*/ 166 h 799"/>
                    <a:gd name="T32" fmla="*/ 298 w 800"/>
                    <a:gd name="T33" fmla="*/ 172 h 799"/>
                    <a:gd name="T34" fmla="*/ 141 w 800"/>
                    <a:gd name="T35" fmla="*/ 93 h 799"/>
                    <a:gd name="T36" fmla="*/ 93 w 800"/>
                    <a:gd name="T37" fmla="*/ 140 h 799"/>
                    <a:gd name="T38" fmla="*/ 172 w 800"/>
                    <a:gd name="T39" fmla="*/ 297 h 799"/>
                    <a:gd name="T40" fmla="*/ 166 w 800"/>
                    <a:gd name="T41" fmla="*/ 310 h 799"/>
                    <a:gd name="T42" fmla="*/ 0 w 800"/>
                    <a:gd name="T43" fmla="*/ 366 h 799"/>
                    <a:gd name="T44" fmla="*/ 0 w 800"/>
                    <a:gd name="T45" fmla="*/ 433 h 799"/>
                    <a:gd name="T46" fmla="*/ 166 w 800"/>
                    <a:gd name="T47" fmla="*/ 488 h 799"/>
                    <a:gd name="T48" fmla="*/ 172 w 800"/>
                    <a:gd name="T49" fmla="*/ 502 h 799"/>
                    <a:gd name="T50" fmla="*/ 93 w 800"/>
                    <a:gd name="T51" fmla="*/ 659 h 799"/>
                    <a:gd name="T52" fmla="*/ 141 w 800"/>
                    <a:gd name="T53" fmla="*/ 706 h 799"/>
                    <a:gd name="T54" fmla="*/ 297 w 800"/>
                    <a:gd name="T55" fmla="*/ 627 h 799"/>
                    <a:gd name="T56" fmla="*/ 311 w 800"/>
                    <a:gd name="T57" fmla="*/ 633 h 799"/>
                    <a:gd name="T58" fmla="*/ 366 w 800"/>
                    <a:gd name="T59" fmla="*/ 799 h 799"/>
                    <a:gd name="T60" fmla="*/ 433 w 800"/>
                    <a:gd name="T61" fmla="*/ 799 h 799"/>
                    <a:gd name="T62" fmla="*/ 488 w 800"/>
                    <a:gd name="T63" fmla="*/ 633 h 799"/>
                    <a:gd name="T64" fmla="*/ 502 w 800"/>
                    <a:gd name="T65" fmla="*/ 627 h 799"/>
                    <a:gd name="T66" fmla="*/ 659 w 800"/>
                    <a:gd name="T67" fmla="*/ 706 h 799"/>
                    <a:gd name="T68" fmla="*/ 706 w 800"/>
                    <a:gd name="T69" fmla="*/ 658 h 799"/>
                    <a:gd name="T70" fmla="*/ 627 w 800"/>
                    <a:gd name="T71" fmla="*/ 502 h 799"/>
                    <a:gd name="T72" fmla="*/ 633 w 800"/>
                    <a:gd name="T73" fmla="*/ 488 h 799"/>
                    <a:gd name="T74" fmla="*/ 800 w 800"/>
                    <a:gd name="T75" fmla="*/ 433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0" h="799">
                      <a:moveTo>
                        <a:pt x="400" y="583"/>
                      </a:moveTo>
                      <a:cubicBezTo>
                        <a:pt x="298" y="583"/>
                        <a:pt x="216" y="501"/>
                        <a:pt x="216" y="400"/>
                      </a:cubicBezTo>
                      <a:cubicBezTo>
                        <a:pt x="216" y="298"/>
                        <a:pt x="298" y="216"/>
                        <a:pt x="400" y="216"/>
                      </a:cubicBezTo>
                      <a:cubicBezTo>
                        <a:pt x="501" y="216"/>
                        <a:pt x="583" y="298"/>
                        <a:pt x="583" y="400"/>
                      </a:cubicBezTo>
                      <a:cubicBezTo>
                        <a:pt x="583" y="501"/>
                        <a:pt x="501" y="583"/>
                        <a:pt x="400" y="583"/>
                      </a:cubicBezTo>
                      <a:moveTo>
                        <a:pt x="800" y="433"/>
                      </a:moveTo>
                      <a:lnTo>
                        <a:pt x="800" y="366"/>
                      </a:lnTo>
                      <a:lnTo>
                        <a:pt x="633" y="311"/>
                      </a:lnTo>
                      <a:cubicBezTo>
                        <a:pt x="631" y="306"/>
                        <a:pt x="629" y="302"/>
                        <a:pt x="627" y="297"/>
                      </a:cubicBezTo>
                      <a:lnTo>
                        <a:pt x="706" y="140"/>
                      </a:lnTo>
                      <a:lnTo>
                        <a:pt x="659" y="93"/>
                      </a:lnTo>
                      <a:lnTo>
                        <a:pt x="502" y="172"/>
                      </a:lnTo>
                      <a:cubicBezTo>
                        <a:pt x="497" y="170"/>
                        <a:pt x="493" y="168"/>
                        <a:pt x="489" y="166"/>
                      </a:cubicBezTo>
                      <a:lnTo>
                        <a:pt x="433" y="0"/>
                      </a:lnTo>
                      <a:lnTo>
                        <a:pt x="366" y="0"/>
                      </a:lnTo>
                      <a:lnTo>
                        <a:pt x="311" y="166"/>
                      </a:lnTo>
                      <a:cubicBezTo>
                        <a:pt x="306" y="168"/>
                        <a:pt x="302" y="170"/>
                        <a:pt x="298" y="172"/>
                      </a:cubicBezTo>
                      <a:lnTo>
                        <a:pt x="141" y="93"/>
                      </a:lnTo>
                      <a:lnTo>
                        <a:pt x="93" y="140"/>
                      </a:lnTo>
                      <a:lnTo>
                        <a:pt x="172" y="297"/>
                      </a:lnTo>
                      <a:cubicBezTo>
                        <a:pt x="170" y="302"/>
                        <a:pt x="168" y="306"/>
                        <a:pt x="166" y="310"/>
                      </a:cubicBezTo>
                      <a:lnTo>
                        <a:pt x="0" y="366"/>
                      </a:lnTo>
                      <a:lnTo>
                        <a:pt x="0" y="433"/>
                      </a:lnTo>
                      <a:lnTo>
                        <a:pt x="166" y="488"/>
                      </a:lnTo>
                      <a:cubicBezTo>
                        <a:pt x="168" y="493"/>
                        <a:pt x="170" y="497"/>
                        <a:pt x="172" y="502"/>
                      </a:cubicBezTo>
                      <a:lnTo>
                        <a:pt x="93" y="659"/>
                      </a:lnTo>
                      <a:lnTo>
                        <a:pt x="141" y="706"/>
                      </a:lnTo>
                      <a:lnTo>
                        <a:pt x="297" y="627"/>
                      </a:lnTo>
                      <a:cubicBezTo>
                        <a:pt x="302" y="629"/>
                        <a:pt x="306" y="631"/>
                        <a:pt x="311" y="633"/>
                      </a:cubicBezTo>
                      <a:lnTo>
                        <a:pt x="366" y="799"/>
                      </a:lnTo>
                      <a:lnTo>
                        <a:pt x="433" y="799"/>
                      </a:lnTo>
                      <a:lnTo>
                        <a:pt x="488" y="633"/>
                      </a:lnTo>
                      <a:cubicBezTo>
                        <a:pt x="493" y="631"/>
                        <a:pt x="498" y="630"/>
                        <a:pt x="502" y="627"/>
                      </a:cubicBezTo>
                      <a:lnTo>
                        <a:pt x="659" y="706"/>
                      </a:lnTo>
                      <a:lnTo>
                        <a:pt x="706" y="658"/>
                      </a:lnTo>
                      <a:lnTo>
                        <a:pt x="627" y="502"/>
                      </a:lnTo>
                      <a:cubicBezTo>
                        <a:pt x="630" y="497"/>
                        <a:pt x="631" y="493"/>
                        <a:pt x="633" y="488"/>
                      </a:cubicBezTo>
                      <a:lnTo>
                        <a:pt x="800" y="433"/>
                      </a:lnTo>
                      <a:close/>
                    </a:path>
                  </a:pathLst>
                </a:custGeom>
                <a:grpFill/>
                <a:ln>
                  <a:noFill/>
                </a:ln>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dirty="0">
                    <a:solidFill>
                      <a:srgbClr val="58585B"/>
                    </a:solidFill>
                    <a:ea typeface="ＭＳ Ｐゴシック" pitchFamily="34" charset="-128"/>
                  </a:endParaRPr>
                </a:p>
              </p:txBody>
            </p:sp>
            <p:sp>
              <p:nvSpPr>
                <p:cNvPr id="82" name="Freeform 98"/>
                <p:cNvSpPr>
                  <a:spLocks noEditPoints="1"/>
                </p:cNvSpPr>
                <p:nvPr/>
              </p:nvSpPr>
              <p:spPr bwMode="auto">
                <a:xfrm>
                  <a:off x="3041115" y="2270094"/>
                  <a:ext cx="135473" cy="134806"/>
                </a:xfrm>
                <a:custGeom>
                  <a:avLst/>
                  <a:gdLst>
                    <a:gd name="T0" fmla="*/ 400 w 800"/>
                    <a:gd name="T1" fmla="*/ 583 h 799"/>
                    <a:gd name="T2" fmla="*/ 216 w 800"/>
                    <a:gd name="T3" fmla="*/ 400 h 799"/>
                    <a:gd name="T4" fmla="*/ 400 w 800"/>
                    <a:gd name="T5" fmla="*/ 216 h 799"/>
                    <a:gd name="T6" fmla="*/ 583 w 800"/>
                    <a:gd name="T7" fmla="*/ 400 h 799"/>
                    <a:gd name="T8" fmla="*/ 400 w 800"/>
                    <a:gd name="T9" fmla="*/ 583 h 799"/>
                    <a:gd name="T10" fmla="*/ 800 w 800"/>
                    <a:gd name="T11" fmla="*/ 433 h 799"/>
                    <a:gd name="T12" fmla="*/ 800 w 800"/>
                    <a:gd name="T13" fmla="*/ 366 h 799"/>
                    <a:gd name="T14" fmla="*/ 633 w 800"/>
                    <a:gd name="T15" fmla="*/ 311 h 799"/>
                    <a:gd name="T16" fmla="*/ 627 w 800"/>
                    <a:gd name="T17" fmla="*/ 297 h 799"/>
                    <a:gd name="T18" fmla="*/ 706 w 800"/>
                    <a:gd name="T19" fmla="*/ 140 h 799"/>
                    <a:gd name="T20" fmla="*/ 659 w 800"/>
                    <a:gd name="T21" fmla="*/ 93 h 799"/>
                    <a:gd name="T22" fmla="*/ 502 w 800"/>
                    <a:gd name="T23" fmla="*/ 172 h 799"/>
                    <a:gd name="T24" fmla="*/ 489 w 800"/>
                    <a:gd name="T25" fmla="*/ 166 h 799"/>
                    <a:gd name="T26" fmla="*/ 433 w 800"/>
                    <a:gd name="T27" fmla="*/ 0 h 799"/>
                    <a:gd name="T28" fmla="*/ 366 w 800"/>
                    <a:gd name="T29" fmla="*/ 0 h 799"/>
                    <a:gd name="T30" fmla="*/ 311 w 800"/>
                    <a:gd name="T31" fmla="*/ 166 h 799"/>
                    <a:gd name="T32" fmla="*/ 298 w 800"/>
                    <a:gd name="T33" fmla="*/ 172 h 799"/>
                    <a:gd name="T34" fmla="*/ 141 w 800"/>
                    <a:gd name="T35" fmla="*/ 93 h 799"/>
                    <a:gd name="T36" fmla="*/ 93 w 800"/>
                    <a:gd name="T37" fmla="*/ 140 h 799"/>
                    <a:gd name="T38" fmla="*/ 172 w 800"/>
                    <a:gd name="T39" fmla="*/ 297 h 799"/>
                    <a:gd name="T40" fmla="*/ 166 w 800"/>
                    <a:gd name="T41" fmla="*/ 310 h 799"/>
                    <a:gd name="T42" fmla="*/ 0 w 800"/>
                    <a:gd name="T43" fmla="*/ 366 h 799"/>
                    <a:gd name="T44" fmla="*/ 0 w 800"/>
                    <a:gd name="T45" fmla="*/ 433 h 799"/>
                    <a:gd name="T46" fmla="*/ 166 w 800"/>
                    <a:gd name="T47" fmla="*/ 488 h 799"/>
                    <a:gd name="T48" fmla="*/ 172 w 800"/>
                    <a:gd name="T49" fmla="*/ 502 h 799"/>
                    <a:gd name="T50" fmla="*/ 93 w 800"/>
                    <a:gd name="T51" fmla="*/ 659 h 799"/>
                    <a:gd name="T52" fmla="*/ 141 w 800"/>
                    <a:gd name="T53" fmla="*/ 706 h 799"/>
                    <a:gd name="T54" fmla="*/ 297 w 800"/>
                    <a:gd name="T55" fmla="*/ 627 h 799"/>
                    <a:gd name="T56" fmla="*/ 311 w 800"/>
                    <a:gd name="T57" fmla="*/ 633 h 799"/>
                    <a:gd name="T58" fmla="*/ 366 w 800"/>
                    <a:gd name="T59" fmla="*/ 799 h 799"/>
                    <a:gd name="T60" fmla="*/ 433 w 800"/>
                    <a:gd name="T61" fmla="*/ 799 h 799"/>
                    <a:gd name="T62" fmla="*/ 488 w 800"/>
                    <a:gd name="T63" fmla="*/ 633 h 799"/>
                    <a:gd name="T64" fmla="*/ 502 w 800"/>
                    <a:gd name="T65" fmla="*/ 627 h 799"/>
                    <a:gd name="T66" fmla="*/ 659 w 800"/>
                    <a:gd name="T67" fmla="*/ 706 h 799"/>
                    <a:gd name="T68" fmla="*/ 706 w 800"/>
                    <a:gd name="T69" fmla="*/ 658 h 799"/>
                    <a:gd name="T70" fmla="*/ 627 w 800"/>
                    <a:gd name="T71" fmla="*/ 502 h 799"/>
                    <a:gd name="T72" fmla="*/ 633 w 800"/>
                    <a:gd name="T73" fmla="*/ 488 h 799"/>
                    <a:gd name="T74" fmla="*/ 800 w 800"/>
                    <a:gd name="T75" fmla="*/ 433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0" h="799">
                      <a:moveTo>
                        <a:pt x="400" y="583"/>
                      </a:moveTo>
                      <a:cubicBezTo>
                        <a:pt x="298" y="583"/>
                        <a:pt x="216" y="501"/>
                        <a:pt x="216" y="400"/>
                      </a:cubicBezTo>
                      <a:cubicBezTo>
                        <a:pt x="216" y="298"/>
                        <a:pt x="298" y="216"/>
                        <a:pt x="400" y="216"/>
                      </a:cubicBezTo>
                      <a:cubicBezTo>
                        <a:pt x="501" y="216"/>
                        <a:pt x="583" y="298"/>
                        <a:pt x="583" y="400"/>
                      </a:cubicBezTo>
                      <a:cubicBezTo>
                        <a:pt x="583" y="501"/>
                        <a:pt x="501" y="583"/>
                        <a:pt x="400" y="583"/>
                      </a:cubicBezTo>
                      <a:moveTo>
                        <a:pt x="800" y="433"/>
                      </a:moveTo>
                      <a:lnTo>
                        <a:pt x="800" y="366"/>
                      </a:lnTo>
                      <a:lnTo>
                        <a:pt x="633" y="311"/>
                      </a:lnTo>
                      <a:cubicBezTo>
                        <a:pt x="631" y="306"/>
                        <a:pt x="629" y="302"/>
                        <a:pt x="627" y="297"/>
                      </a:cubicBezTo>
                      <a:lnTo>
                        <a:pt x="706" y="140"/>
                      </a:lnTo>
                      <a:lnTo>
                        <a:pt x="659" y="93"/>
                      </a:lnTo>
                      <a:lnTo>
                        <a:pt x="502" y="172"/>
                      </a:lnTo>
                      <a:cubicBezTo>
                        <a:pt x="497" y="170"/>
                        <a:pt x="493" y="168"/>
                        <a:pt x="489" y="166"/>
                      </a:cubicBezTo>
                      <a:lnTo>
                        <a:pt x="433" y="0"/>
                      </a:lnTo>
                      <a:lnTo>
                        <a:pt x="366" y="0"/>
                      </a:lnTo>
                      <a:lnTo>
                        <a:pt x="311" y="166"/>
                      </a:lnTo>
                      <a:cubicBezTo>
                        <a:pt x="306" y="168"/>
                        <a:pt x="302" y="170"/>
                        <a:pt x="298" y="172"/>
                      </a:cubicBezTo>
                      <a:lnTo>
                        <a:pt x="141" y="93"/>
                      </a:lnTo>
                      <a:lnTo>
                        <a:pt x="93" y="140"/>
                      </a:lnTo>
                      <a:lnTo>
                        <a:pt x="172" y="297"/>
                      </a:lnTo>
                      <a:cubicBezTo>
                        <a:pt x="170" y="302"/>
                        <a:pt x="168" y="306"/>
                        <a:pt x="166" y="310"/>
                      </a:cubicBezTo>
                      <a:lnTo>
                        <a:pt x="0" y="366"/>
                      </a:lnTo>
                      <a:lnTo>
                        <a:pt x="0" y="433"/>
                      </a:lnTo>
                      <a:lnTo>
                        <a:pt x="166" y="488"/>
                      </a:lnTo>
                      <a:cubicBezTo>
                        <a:pt x="168" y="493"/>
                        <a:pt x="170" y="497"/>
                        <a:pt x="172" y="502"/>
                      </a:cubicBezTo>
                      <a:lnTo>
                        <a:pt x="93" y="659"/>
                      </a:lnTo>
                      <a:lnTo>
                        <a:pt x="141" y="706"/>
                      </a:lnTo>
                      <a:lnTo>
                        <a:pt x="297" y="627"/>
                      </a:lnTo>
                      <a:cubicBezTo>
                        <a:pt x="302" y="629"/>
                        <a:pt x="306" y="631"/>
                        <a:pt x="311" y="633"/>
                      </a:cubicBezTo>
                      <a:lnTo>
                        <a:pt x="366" y="799"/>
                      </a:lnTo>
                      <a:lnTo>
                        <a:pt x="433" y="799"/>
                      </a:lnTo>
                      <a:lnTo>
                        <a:pt x="488" y="633"/>
                      </a:lnTo>
                      <a:cubicBezTo>
                        <a:pt x="493" y="631"/>
                        <a:pt x="498" y="630"/>
                        <a:pt x="502" y="627"/>
                      </a:cubicBezTo>
                      <a:lnTo>
                        <a:pt x="659" y="706"/>
                      </a:lnTo>
                      <a:lnTo>
                        <a:pt x="706" y="658"/>
                      </a:lnTo>
                      <a:lnTo>
                        <a:pt x="627" y="502"/>
                      </a:lnTo>
                      <a:cubicBezTo>
                        <a:pt x="630" y="497"/>
                        <a:pt x="631" y="493"/>
                        <a:pt x="633" y="488"/>
                      </a:cubicBezTo>
                      <a:lnTo>
                        <a:pt x="800" y="433"/>
                      </a:lnTo>
                      <a:close/>
                    </a:path>
                  </a:pathLst>
                </a:custGeom>
                <a:grpFill/>
                <a:ln>
                  <a:noFill/>
                </a:ln>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sz="1800" dirty="0">
                    <a:solidFill>
                      <a:srgbClr val="58585B"/>
                    </a:solidFill>
                    <a:ea typeface="ＭＳ Ｐゴシック" pitchFamily="34" charset="-128"/>
                  </a:endParaRPr>
                </a:p>
              </p:txBody>
            </p:sp>
          </p:grpSp>
        </p:grpSp>
      </p:grpSp>
      <p:grpSp>
        <p:nvGrpSpPr>
          <p:cNvPr id="39" name="Group 38"/>
          <p:cNvGrpSpPr/>
          <p:nvPr/>
        </p:nvGrpSpPr>
        <p:grpSpPr>
          <a:xfrm>
            <a:off x="2556881" y="2086340"/>
            <a:ext cx="1967216" cy="1103700"/>
            <a:chOff x="2556881" y="2031866"/>
            <a:chExt cx="1967216" cy="1103700"/>
          </a:xfrm>
        </p:grpSpPr>
        <p:sp>
          <p:nvSpPr>
            <p:cNvPr id="86" name="Rectangle 12"/>
            <p:cNvSpPr>
              <a:spLocks noChangeArrowheads="1"/>
            </p:cNvSpPr>
            <p:nvPr/>
          </p:nvSpPr>
          <p:spPr bwMode="auto">
            <a:xfrm>
              <a:off x="2556881" y="2031866"/>
              <a:ext cx="1967216" cy="11037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lt1"/>
                </a:solidFill>
                <a:latin typeface="+mn-lt"/>
                <a:ea typeface="+mn-ea"/>
                <a:cs typeface="+mn-cs"/>
              </a:endParaRPr>
            </a:p>
          </p:txBody>
        </p:sp>
        <p:sp>
          <p:nvSpPr>
            <p:cNvPr id="87" name="Rectangle 86"/>
            <p:cNvSpPr/>
            <p:nvPr/>
          </p:nvSpPr>
          <p:spPr>
            <a:xfrm>
              <a:off x="3412527" y="2306717"/>
              <a:ext cx="1096330" cy="553998"/>
            </a:xfrm>
            <a:prstGeom prst="rect">
              <a:avLst/>
            </a:prstGeom>
          </p:spPr>
          <p:txBody>
            <a:bodyPr wrap="square" anchor="ctr">
              <a:spAutoFit/>
            </a:bodyPr>
            <a:lstStyle/>
            <a:p>
              <a:pPr>
                <a:spcAft>
                  <a:spcPts val="300"/>
                </a:spcAft>
              </a:pPr>
              <a:r>
                <a:rPr lang="en-US" sz="1500" kern="0" dirty="0" smtClean="0">
                  <a:solidFill>
                    <a:srgbClr val="FFFFFF"/>
                  </a:solidFill>
                </a:rPr>
                <a:t>Accelerate Growth</a:t>
              </a:r>
              <a:endParaRPr lang="en-US" sz="1500" dirty="0"/>
            </a:p>
          </p:txBody>
        </p:sp>
        <p:grpSp>
          <p:nvGrpSpPr>
            <p:cNvPr id="11" name="Group 10"/>
            <p:cNvGrpSpPr/>
            <p:nvPr/>
          </p:nvGrpSpPr>
          <p:grpSpPr>
            <a:xfrm>
              <a:off x="2649688" y="2225437"/>
              <a:ext cx="716374" cy="716558"/>
              <a:chOff x="2649688" y="2031866"/>
              <a:chExt cx="716374" cy="716558"/>
            </a:xfrm>
          </p:grpSpPr>
          <p:sp>
            <p:nvSpPr>
              <p:cNvPr id="89" name="Oval 88"/>
              <p:cNvSpPr>
                <a:spLocks noChangeAspect="1"/>
              </p:cNvSpPr>
              <p:nvPr/>
            </p:nvSpPr>
            <p:spPr>
              <a:xfrm>
                <a:off x="2649688" y="2031866"/>
                <a:ext cx="716374" cy="716558"/>
              </a:xfrm>
              <a:prstGeom prst="ellipse">
                <a:avLst/>
              </a:prstGeom>
              <a:solidFill>
                <a:schemeClr val="accent5">
                  <a:lumMod val="75000"/>
                </a:schemeClr>
              </a:solidFill>
              <a:ln w="9525" cap="flat" cmpd="sng" algn="ctr">
                <a:solidFill>
                  <a:schemeClr val="bg1">
                    <a:alpha val="70000"/>
                  </a:schemeClr>
                </a:solidFill>
                <a:prstDash val="solid"/>
                <a:roun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82124" tIns="41061" rIns="82124" bIns="41061" numCol="1" spcCol="0" rtlCol="0" fromWordArt="0" anchor="ctr" anchorCtr="0" forceAA="0" compatLnSpc="1">
                <a:prstTxWarp prst="textNoShape">
                  <a:avLst/>
                </a:prstTxWarp>
                <a:noAutofit/>
              </a:bodyPr>
              <a:lstStyle/>
              <a:p>
                <a:pPr marL="0" marR="0" lvl="0" indent="0" algn="ctr" defTabSz="1085661"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FFFFFF"/>
                  </a:solidFill>
                  <a:effectLst/>
                  <a:uLnTx/>
                  <a:uFillTx/>
                  <a:latin typeface="Arial"/>
                  <a:cs typeface="Arial" charset="0"/>
                </a:endParaRPr>
              </a:p>
            </p:txBody>
          </p:sp>
          <p:sp>
            <p:nvSpPr>
              <p:cNvPr id="149" name="Trapezoid 129"/>
              <p:cNvSpPr/>
              <p:nvPr/>
            </p:nvSpPr>
            <p:spPr>
              <a:xfrm>
                <a:off x="2747578" y="2201326"/>
                <a:ext cx="524146" cy="330759"/>
              </a:xfrm>
              <a:custGeom>
                <a:avLst/>
                <a:gdLst/>
                <a:ahLst/>
                <a:cxnLst/>
                <a:rect l="l" t="t" r="r" b="b"/>
                <a:pathLst>
                  <a:path w="1747474" h="1102733">
                    <a:moveTo>
                      <a:pt x="874537" y="719797"/>
                    </a:moveTo>
                    <a:cubicBezTo>
                      <a:pt x="1004405" y="719797"/>
                      <a:pt x="1125052" y="744748"/>
                      <a:pt x="1225132" y="787478"/>
                    </a:cubicBezTo>
                    <a:lnTo>
                      <a:pt x="1226057" y="787916"/>
                    </a:lnTo>
                    <a:lnTo>
                      <a:pt x="1257473" y="1102733"/>
                    </a:lnTo>
                    <a:lnTo>
                      <a:pt x="491600" y="1102733"/>
                    </a:lnTo>
                    <a:lnTo>
                      <a:pt x="523016" y="787916"/>
                    </a:lnTo>
                    <a:lnTo>
                      <a:pt x="523942" y="787478"/>
                    </a:lnTo>
                    <a:cubicBezTo>
                      <a:pt x="624021" y="744748"/>
                      <a:pt x="744669" y="719797"/>
                      <a:pt x="874537" y="719797"/>
                    </a:cubicBezTo>
                    <a:close/>
                    <a:moveTo>
                      <a:pt x="382936" y="595416"/>
                    </a:moveTo>
                    <a:cubicBezTo>
                      <a:pt x="512803" y="595416"/>
                      <a:pt x="633451" y="620367"/>
                      <a:pt x="733530" y="663097"/>
                    </a:cubicBezTo>
                    <a:lnTo>
                      <a:pt x="734456" y="663535"/>
                    </a:lnTo>
                    <a:lnTo>
                      <a:pt x="736112" y="680130"/>
                    </a:lnTo>
                    <a:lnTo>
                      <a:pt x="662374" y="690870"/>
                    </a:lnTo>
                    <a:cubicBezTo>
                      <a:pt x="594293" y="704253"/>
                      <a:pt x="530515" y="723809"/>
                      <a:pt x="472681" y="748502"/>
                    </a:cubicBezTo>
                    <a:lnTo>
                      <a:pt x="471611" y="749008"/>
                    </a:lnTo>
                    <a:lnTo>
                      <a:pt x="448725" y="978353"/>
                    </a:lnTo>
                    <a:lnTo>
                      <a:pt x="0" y="978353"/>
                    </a:lnTo>
                    <a:lnTo>
                      <a:pt x="31415" y="663535"/>
                    </a:lnTo>
                    <a:lnTo>
                      <a:pt x="32341" y="663097"/>
                    </a:lnTo>
                    <a:cubicBezTo>
                      <a:pt x="132420" y="620367"/>
                      <a:pt x="253067" y="595416"/>
                      <a:pt x="382936" y="595416"/>
                    </a:cubicBezTo>
                    <a:close/>
                    <a:moveTo>
                      <a:pt x="1364538" y="595415"/>
                    </a:moveTo>
                    <a:cubicBezTo>
                      <a:pt x="1494407" y="595415"/>
                      <a:pt x="1615054" y="620366"/>
                      <a:pt x="1715133" y="663096"/>
                    </a:cubicBezTo>
                    <a:lnTo>
                      <a:pt x="1716059" y="663534"/>
                    </a:lnTo>
                    <a:lnTo>
                      <a:pt x="1747474" y="978352"/>
                    </a:lnTo>
                    <a:lnTo>
                      <a:pt x="1298749" y="978352"/>
                    </a:lnTo>
                    <a:lnTo>
                      <a:pt x="1275863" y="749007"/>
                    </a:lnTo>
                    <a:lnTo>
                      <a:pt x="1274793" y="748501"/>
                    </a:lnTo>
                    <a:cubicBezTo>
                      <a:pt x="1216959" y="723808"/>
                      <a:pt x="1153181" y="704252"/>
                      <a:pt x="1085100" y="690869"/>
                    </a:cubicBezTo>
                    <a:lnTo>
                      <a:pt x="1011362" y="680129"/>
                    </a:lnTo>
                    <a:lnTo>
                      <a:pt x="1013018" y="663534"/>
                    </a:lnTo>
                    <a:lnTo>
                      <a:pt x="1013944" y="663096"/>
                    </a:lnTo>
                    <a:cubicBezTo>
                      <a:pt x="1114023" y="620366"/>
                      <a:pt x="1234671" y="595415"/>
                      <a:pt x="1364538" y="595415"/>
                    </a:cubicBezTo>
                    <a:close/>
                    <a:moveTo>
                      <a:pt x="871898" y="124382"/>
                    </a:moveTo>
                    <a:lnTo>
                      <a:pt x="872953" y="124518"/>
                    </a:lnTo>
                    <a:lnTo>
                      <a:pt x="874007" y="124382"/>
                    </a:lnTo>
                    <a:lnTo>
                      <a:pt x="875315" y="124514"/>
                    </a:lnTo>
                    <a:lnTo>
                      <a:pt x="876623" y="124382"/>
                    </a:lnTo>
                    <a:lnTo>
                      <a:pt x="877678" y="124518"/>
                    </a:lnTo>
                    <a:lnTo>
                      <a:pt x="878732" y="124382"/>
                    </a:lnTo>
                    <a:cubicBezTo>
                      <a:pt x="986936" y="124382"/>
                      <a:pt x="1074653" y="212098"/>
                      <a:pt x="1074653" y="320303"/>
                    </a:cubicBezTo>
                    <a:cubicBezTo>
                      <a:pt x="1075883" y="424643"/>
                      <a:pt x="1070821" y="432846"/>
                      <a:pt x="1062825" y="470649"/>
                    </a:cubicBezTo>
                    <a:cubicBezTo>
                      <a:pt x="1051594" y="499327"/>
                      <a:pt x="1039647" y="524897"/>
                      <a:pt x="1026674" y="547120"/>
                    </a:cubicBezTo>
                    <a:lnTo>
                      <a:pt x="1011173" y="570670"/>
                    </a:lnTo>
                    <a:lnTo>
                      <a:pt x="1003436" y="583578"/>
                    </a:lnTo>
                    <a:cubicBezTo>
                      <a:pt x="978514" y="621248"/>
                      <a:pt x="947309" y="650197"/>
                      <a:pt x="881531" y="650262"/>
                    </a:cubicBezTo>
                    <a:lnTo>
                      <a:pt x="878905" y="650012"/>
                    </a:lnTo>
                    <a:lnTo>
                      <a:pt x="876807" y="650262"/>
                    </a:lnTo>
                    <a:lnTo>
                      <a:pt x="875315" y="650120"/>
                    </a:lnTo>
                    <a:lnTo>
                      <a:pt x="873824" y="650262"/>
                    </a:lnTo>
                    <a:lnTo>
                      <a:pt x="871726" y="650012"/>
                    </a:lnTo>
                    <a:lnTo>
                      <a:pt x="869099" y="650262"/>
                    </a:lnTo>
                    <a:cubicBezTo>
                      <a:pt x="803322" y="650197"/>
                      <a:pt x="772117" y="621248"/>
                      <a:pt x="747195" y="583578"/>
                    </a:cubicBezTo>
                    <a:lnTo>
                      <a:pt x="739457" y="570670"/>
                    </a:lnTo>
                    <a:lnTo>
                      <a:pt x="723957" y="547120"/>
                    </a:lnTo>
                    <a:cubicBezTo>
                      <a:pt x="710984" y="524897"/>
                      <a:pt x="699037" y="499327"/>
                      <a:pt x="687806" y="470649"/>
                    </a:cubicBezTo>
                    <a:cubicBezTo>
                      <a:pt x="679809" y="432846"/>
                      <a:pt x="674748" y="424643"/>
                      <a:pt x="675978" y="320303"/>
                    </a:cubicBezTo>
                    <a:cubicBezTo>
                      <a:pt x="675978" y="212098"/>
                      <a:pt x="763694" y="124382"/>
                      <a:pt x="871898" y="124382"/>
                    </a:cubicBezTo>
                    <a:close/>
                    <a:moveTo>
                      <a:pt x="378741" y="1"/>
                    </a:moveTo>
                    <a:lnTo>
                      <a:pt x="379795" y="137"/>
                    </a:lnTo>
                    <a:lnTo>
                      <a:pt x="380850" y="1"/>
                    </a:lnTo>
                    <a:lnTo>
                      <a:pt x="382158" y="133"/>
                    </a:lnTo>
                    <a:lnTo>
                      <a:pt x="383466" y="1"/>
                    </a:lnTo>
                    <a:lnTo>
                      <a:pt x="384520" y="137"/>
                    </a:lnTo>
                    <a:lnTo>
                      <a:pt x="385575" y="1"/>
                    </a:lnTo>
                    <a:cubicBezTo>
                      <a:pt x="493779" y="1"/>
                      <a:pt x="581495" y="87717"/>
                      <a:pt x="581495" y="195922"/>
                    </a:cubicBezTo>
                    <a:cubicBezTo>
                      <a:pt x="582725" y="300262"/>
                      <a:pt x="577664" y="308465"/>
                      <a:pt x="569667" y="346268"/>
                    </a:cubicBezTo>
                    <a:cubicBezTo>
                      <a:pt x="558436" y="374946"/>
                      <a:pt x="546489" y="400516"/>
                      <a:pt x="533516" y="422739"/>
                    </a:cubicBezTo>
                    <a:lnTo>
                      <a:pt x="518016" y="446289"/>
                    </a:lnTo>
                    <a:lnTo>
                      <a:pt x="510278" y="459197"/>
                    </a:lnTo>
                    <a:cubicBezTo>
                      <a:pt x="485356" y="496867"/>
                      <a:pt x="454151" y="525816"/>
                      <a:pt x="388374" y="525881"/>
                    </a:cubicBezTo>
                    <a:lnTo>
                      <a:pt x="385747" y="525631"/>
                    </a:lnTo>
                    <a:lnTo>
                      <a:pt x="383649" y="525881"/>
                    </a:lnTo>
                    <a:lnTo>
                      <a:pt x="382158" y="525739"/>
                    </a:lnTo>
                    <a:lnTo>
                      <a:pt x="380667" y="525881"/>
                    </a:lnTo>
                    <a:lnTo>
                      <a:pt x="378568" y="525631"/>
                    </a:lnTo>
                    <a:lnTo>
                      <a:pt x="375942" y="525881"/>
                    </a:lnTo>
                    <a:cubicBezTo>
                      <a:pt x="310164" y="525816"/>
                      <a:pt x="278959" y="496867"/>
                      <a:pt x="254037" y="459197"/>
                    </a:cubicBezTo>
                    <a:lnTo>
                      <a:pt x="246300" y="446289"/>
                    </a:lnTo>
                    <a:lnTo>
                      <a:pt x="230799" y="422739"/>
                    </a:lnTo>
                    <a:cubicBezTo>
                      <a:pt x="217826" y="400516"/>
                      <a:pt x="205879" y="374946"/>
                      <a:pt x="194648" y="346268"/>
                    </a:cubicBezTo>
                    <a:cubicBezTo>
                      <a:pt x="186652" y="308465"/>
                      <a:pt x="181590" y="300262"/>
                      <a:pt x="182820" y="195922"/>
                    </a:cubicBezTo>
                    <a:cubicBezTo>
                      <a:pt x="182820" y="87717"/>
                      <a:pt x="270537" y="1"/>
                      <a:pt x="378741" y="1"/>
                    </a:cubicBezTo>
                    <a:close/>
                    <a:moveTo>
                      <a:pt x="1361899" y="0"/>
                    </a:moveTo>
                    <a:lnTo>
                      <a:pt x="1362954" y="136"/>
                    </a:lnTo>
                    <a:lnTo>
                      <a:pt x="1364008" y="0"/>
                    </a:lnTo>
                    <a:lnTo>
                      <a:pt x="1365316" y="132"/>
                    </a:lnTo>
                    <a:lnTo>
                      <a:pt x="1366624" y="0"/>
                    </a:lnTo>
                    <a:lnTo>
                      <a:pt x="1367679" y="136"/>
                    </a:lnTo>
                    <a:lnTo>
                      <a:pt x="1368733" y="0"/>
                    </a:lnTo>
                    <a:cubicBezTo>
                      <a:pt x="1476937" y="0"/>
                      <a:pt x="1564654" y="87716"/>
                      <a:pt x="1564654" y="195921"/>
                    </a:cubicBezTo>
                    <a:cubicBezTo>
                      <a:pt x="1565884" y="300261"/>
                      <a:pt x="1560822" y="308464"/>
                      <a:pt x="1552826" y="346267"/>
                    </a:cubicBezTo>
                    <a:cubicBezTo>
                      <a:pt x="1541595" y="374945"/>
                      <a:pt x="1529648" y="400515"/>
                      <a:pt x="1516675" y="422738"/>
                    </a:cubicBezTo>
                    <a:lnTo>
                      <a:pt x="1501174" y="446288"/>
                    </a:lnTo>
                    <a:lnTo>
                      <a:pt x="1493437" y="459196"/>
                    </a:lnTo>
                    <a:cubicBezTo>
                      <a:pt x="1468515" y="496866"/>
                      <a:pt x="1437310" y="525815"/>
                      <a:pt x="1371532" y="525880"/>
                    </a:cubicBezTo>
                    <a:lnTo>
                      <a:pt x="1368906" y="525630"/>
                    </a:lnTo>
                    <a:lnTo>
                      <a:pt x="1366807" y="525880"/>
                    </a:lnTo>
                    <a:lnTo>
                      <a:pt x="1365316" y="525738"/>
                    </a:lnTo>
                    <a:lnTo>
                      <a:pt x="1363825" y="525880"/>
                    </a:lnTo>
                    <a:lnTo>
                      <a:pt x="1361727" y="525630"/>
                    </a:lnTo>
                    <a:lnTo>
                      <a:pt x="1359100" y="525880"/>
                    </a:lnTo>
                    <a:cubicBezTo>
                      <a:pt x="1293323" y="525815"/>
                      <a:pt x="1262118" y="496866"/>
                      <a:pt x="1237196" y="459196"/>
                    </a:cubicBezTo>
                    <a:lnTo>
                      <a:pt x="1229458" y="446288"/>
                    </a:lnTo>
                    <a:lnTo>
                      <a:pt x="1213958" y="422738"/>
                    </a:lnTo>
                    <a:cubicBezTo>
                      <a:pt x="1200985" y="400515"/>
                      <a:pt x="1189038" y="374945"/>
                      <a:pt x="1177807" y="346267"/>
                    </a:cubicBezTo>
                    <a:cubicBezTo>
                      <a:pt x="1169810" y="308464"/>
                      <a:pt x="1164749" y="300261"/>
                      <a:pt x="1165979" y="195921"/>
                    </a:cubicBezTo>
                    <a:cubicBezTo>
                      <a:pt x="1165979" y="87716"/>
                      <a:pt x="1253695" y="0"/>
                      <a:pt x="1361899" y="0"/>
                    </a:cubicBezTo>
                    <a:close/>
                  </a:path>
                </a:pathLst>
              </a:custGeom>
              <a:solidFill>
                <a:srgbClr val="F2F2F2"/>
              </a:solidFill>
              <a:ln w="952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mn-ea"/>
                  <a:cs typeface="+mn-cs"/>
                </a:endParaRPr>
              </a:p>
            </p:txBody>
          </p:sp>
        </p:grpSp>
      </p:grpSp>
      <p:grpSp>
        <p:nvGrpSpPr>
          <p:cNvPr id="40" name="Group 39"/>
          <p:cNvGrpSpPr/>
          <p:nvPr/>
        </p:nvGrpSpPr>
        <p:grpSpPr>
          <a:xfrm>
            <a:off x="4641408" y="2086340"/>
            <a:ext cx="1967216" cy="1103700"/>
            <a:chOff x="4641408" y="2031866"/>
            <a:chExt cx="1967216" cy="1103700"/>
          </a:xfrm>
        </p:grpSpPr>
        <p:sp>
          <p:nvSpPr>
            <p:cNvPr id="95" name="Rectangle 12"/>
            <p:cNvSpPr>
              <a:spLocks noChangeArrowheads="1"/>
            </p:cNvSpPr>
            <p:nvPr/>
          </p:nvSpPr>
          <p:spPr bwMode="auto">
            <a:xfrm>
              <a:off x="4641408" y="2031866"/>
              <a:ext cx="1967216" cy="11037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lt1"/>
                </a:solidFill>
                <a:latin typeface="+mn-lt"/>
                <a:ea typeface="+mn-ea"/>
                <a:cs typeface="+mn-cs"/>
              </a:endParaRPr>
            </a:p>
          </p:txBody>
        </p:sp>
        <p:sp>
          <p:nvSpPr>
            <p:cNvPr id="96" name="Rectangle 95"/>
            <p:cNvSpPr/>
            <p:nvPr/>
          </p:nvSpPr>
          <p:spPr>
            <a:xfrm>
              <a:off x="5497054" y="2306717"/>
              <a:ext cx="1096330" cy="553998"/>
            </a:xfrm>
            <a:prstGeom prst="rect">
              <a:avLst/>
            </a:prstGeom>
          </p:spPr>
          <p:txBody>
            <a:bodyPr wrap="square" anchor="ctr">
              <a:spAutoFit/>
            </a:bodyPr>
            <a:lstStyle/>
            <a:p>
              <a:pPr>
                <a:spcAft>
                  <a:spcPts val="300"/>
                </a:spcAft>
              </a:pPr>
              <a:r>
                <a:rPr lang="en-US" sz="1500" kern="0" dirty="0" smtClean="0">
                  <a:solidFill>
                    <a:srgbClr val="FFFFFF"/>
                  </a:solidFill>
                </a:rPr>
                <a:t>Improve Efficiency</a:t>
              </a:r>
              <a:endParaRPr lang="en-US" sz="1500" dirty="0"/>
            </a:p>
          </p:txBody>
        </p:sp>
        <p:grpSp>
          <p:nvGrpSpPr>
            <p:cNvPr id="12" name="Group 11"/>
            <p:cNvGrpSpPr/>
            <p:nvPr/>
          </p:nvGrpSpPr>
          <p:grpSpPr>
            <a:xfrm>
              <a:off x="4734215" y="2225437"/>
              <a:ext cx="716374" cy="716558"/>
              <a:chOff x="4734215" y="2031866"/>
              <a:chExt cx="716374" cy="716558"/>
            </a:xfrm>
          </p:grpSpPr>
          <p:sp>
            <p:nvSpPr>
              <p:cNvPr id="126" name="Oval 125"/>
              <p:cNvSpPr>
                <a:spLocks noChangeAspect="1"/>
              </p:cNvSpPr>
              <p:nvPr/>
            </p:nvSpPr>
            <p:spPr>
              <a:xfrm>
                <a:off x="4734215" y="2031866"/>
                <a:ext cx="716374" cy="716558"/>
              </a:xfrm>
              <a:prstGeom prst="ellipse">
                <a:avLst/>
              </a:prstGeom>
              <a:solidFill>
                <a:schemeClr val="accent4">
                  <a:lumMod val="75000"/>
                </a:schemeClr>
              </a:solidFill>
              <a:ln w="9525" cap="flat" cmpd="sng" algn="ctr">
                <a:solidFill>
                  <a:schemeClr val="bg1">
                    <a:alpha val="70000"/>
                  </a:schemeClr>
                </a:solidFill>
                <a:prstDash val="solid"/>
                <a:roun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82124" tIns="41061" rIns="82124" bIns="41061" numCol="1" spcCol="0" rtlCol="0" fromWordArt="0" anchor="ctr" anchorCtr="0" forceAA="0" compatLnSpc="1">
                <a:prstTxWarp prst="textNoShape">
                  <a:avLst/>
                </a:prstTxWarp>
                <a:noAutofit/>
              </a:bodyPr>
              <a:lstStyle/>
              <a:p>
                <a:pPr marL="0" marR="0" lvl="0" indent="0" algn="ctr" defTabSz="1085661"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FFFFFF"/>
                  </a:solidFill>
                  <a:effectLst/>
                  <a:uLnTx/>
                  <a:uFillTx/>
                  <a:latin typeface="Arial"/>
                  <a:cs typeface="Arial" charset="0"/>
                </a:endParaRPr>
              </a:p>
            </p:txBody>
          </p:sp>
          <p:grpSp>
            <p:nvGrpSpPr>
              <p:cNvPr id="150" name="Group 149"/>
              <p:cNvGrpSpPr>
                <a:grpSpLocks noChangeAspect="1"/>
              </p:cNvGrpSpPr>
              <p:nvPr/>
            </p:nvGrpSpPr>
            <p:grpSpPr>
              <a:xfrm>
                <a:off x="4859920" y="2157663"/>
                <a:ext cx="472584" cy="472584"/>
                <a:chOff x="-1314450" y="2822306"/>
                <a:chExt cx="977900" cy="977900"/>
              </a:xfrm>
              <a:solidFill>
                <a:schemeClr val="bg1"/>
              </a:solidFill>
              <a:effectLst>
                <a:outerShdw blurRad="63500" sx="102000" sy="102000" algn="ctr" rotWithShape="0">
                  <a:prstClr val="black">
                    <a:alpha val="40000"/>
                  </a:prstClr>
                </a:outerShdw>
              </a:effectLst>
            </p:grpSpPr>
            <p:sp>
              <p:nvSpPr>
                <p:cNvPr id="151" name="Freeform 66"/>
                <p:cNvSpPr>
                  <a:spLocks/>
                </p:cNvSpPr>
                <p:nvPr/>
              </p:nvSpPr>
              <p:spPr bwMode="auto">
                <a:xfrm>
                  <a:off x="-1139825" y="2979738"/>
                  <a:ext cx="568325" cy="322263"/>
                </a:xfrm>
                <a:custGeom>
                  <a:avLst/>
                  <a:gdLst>
                    <a:gd name="T0" fmla="*/ 1187 w 2146"/>
                    <a:gd name="T1" fmla="*/ 0 h 1215"/>
                    <a:gd name="T2" fmla="*/ 1277 w 2146"/>
                    <a:gd name="T3" fmla="*/ 3 h 1215"/>
                    <a:gd name="T4" fmla="*/ 1366 w 2146"/>
                    <a:gd name="T5" fmla="*/ 14 h 1215"/>
                    <a:gd name="T6" fmla="*/ 1451 w 2146"/>
                    <a:gd name="T7" fmla="*/ 29 h 1215"/>
                    <a:gd name="T8" fmla="*/ 1536 w 2146"/>
                    <a:gd name="T9" fmla="*/ 52 h 1215"/>
                    <a:gd name="T10" fmla="*/ 1616 w 2146"/>
                    <a:gd name="T11" fmla="*/ 80 h 1215"/>
                    <a:gd name="T12" fmla="*/ 1695 w 2146"/>
                    <a:gd name="T13" fmla="*/ 114 h 1215"/>
                    <a:gd name="T14" fmla="*/ 1770 w 2146"/>
                    <a:gd name="T15" fmla="*/ 153 h 1215"/>
                    <a:gd name="T16" fmla="*/ 1842 w 2146"/>
                    <a:gd name="T17" fmla="*/ 197 h 1215"/>
                    <a:gd name="T18" fmla="*/ 1911 w 2146"/>
                    <a:gd name="T19" fmla="*/ 246 h 1215"/>
                    <a:gd name="T20" fmla="*/ 1976 w 2146"/>
                    <a:gd name="T21" fmla="*/ 300 h 1215"/>
                    <a:gd name="T22" fmla="*/ 2037 w 2146"/>
                    <a:gd name="T23" fmla="*/ 358 h 1215"/>
                    <a:gd name="T24" fmla="*/ 2094 w 2146"/>
                    <a:gd name="T25" fmla="*/ 420 h 1215"/>
                    <a:gd name="T26" fmla="*/ 2146 w 2146"/>
                    <a:gd name="T27" fmla="*/ 487 h 1215"/>
                    <a:gd name="T28" fmla="*/ 2121 w 2146"/>
                    <a:gd name="T29" fmla="*/ 497 h 1215"/>
                    <a:gd name="T30" fmla="*/ 1581 w 2146"/>
                    <a:gd name="T31" fmla="*/ 709 h 1215"/>
                    <a:gd name="T32" fmla="*/ 1516 w 2146"/>
                    <a:gd name="T33" fmla="*/ 669 h 1215"/>
                    <a:gd name="T34" fmla="*/ 1448 w 2146"/>
                    <a:gd name="T35" fmla="*/ 633 h 1215"/>
                    <a:gd name="T36" fmla="*/ 1377 w 2146"/>
                    <a:gd name="T37" fmla="*/ 601 h 1215"/>
                    <a:gd name="T38" fmla="*/ 1304 w 2146"/>
                    <a:gd name="T39" fmla="*/ 575 h 1215"/>
                    <a:gd name="T40" fmla="*/ 1229 w 2146"/>
                    <a:gd name="T41" fmla="*/ 555 h 1215"/>
                    <a:gd name="T42" fmla="*/ 1150 w 2146"/>
                    <a:gd name="T43" fmla="*/ 539 h 1215"/>
                    <a:gd name="T44" fmla="*/ 1072 w 2146"/>
                    <a:gd name="T45" fmla="*/ 530 h 1215"/>
                    <a:gd name="T46" fmla="*/ 989 w 2146"/>
                    <a:gd name="T47" fmla="*/ 527 h 1215"/>
                    <a:gd name="T48" fmla="*/ 905 w 2146"/>
                    <a:gd name="T49" fmla="*/ 530 h 1215"/>
                    <a:gd name="T50" fmla="*/ 823 w 2146"/>
                    <a:gd name="T51" fmla="*/ 541 h 1215"/>
                    <a:gd name="T52" fmla="*/ 743 w 2146"/>
                    <a:gd name="T53" fmla="*/ 556 h 1215"/>
                    <a:gd name="T54" fmla="*/ 666 w 2146"/>
                    <a:gd name="T55" fmla="*/ 579 h 1215"/>
                    <a:gd name="T56" fmla="*/ 589 w 2146"/>
                    <a:gd name="T57" fmla="*/ 606 h 1215"/>
                    <a:gd name="T58" fmla="*/ 518 w 2146"/>
                    <a:gd name="T59" fmla="*/ 639 h 1215"/>
                    <a:gd name="T60" fmla="*/ 448 w 2146"/>
                    <a:gd name="T61" fmla="*/ 678 h 1215"/>
                    <a:gd name="T62" fmla="*/ 382 w 2146"/>
                    <a:gd name="T63" fmla="*/ 720 h 1215"/>
                    <a:gd name="T64" fmla="*/ 319 w 2146"/>
                    <a:gd name="T65" fmla="*/ 769 h 1215"/>
                    <a:gd name="T66" fmla="*/ 260 w 2146"/>
                    <a:gd name="T67" fmla="*/ 821 h 1215"/>
                    <a:gd name="T68" fmla="*/ 205 w 2146"/>
                    <a:gd name="T69" fmla="*/ 878 h 1215"/>
                    <a:gd name="T70" fmla="*/ 155 w 2146"/>
                    <a:gd name="T71" fmla="*/ 938 h 1215"/>
                    <a:gd name="T72" fmla="*/ 109 w 2146"/>
                    <a:gd name="T73" fmla="*/ 1002 h 1215"/>
                    <a:gd name="T74" fmla="*/ 67 w 2146"/>
                    <a:gd name="T75" fmla="*/ 1070 h 1215"/>
                    <a:gd name="T76" fmla="*/ 31 w 2146"/>
                    <a:gd name="T77" fmla="*/ 1141 h 1215"/>
                    <a:gd name="T78" fmla="*/ 1 w 2146"/>
                    <a:gd name="T79" fmla="*/ 1215 h 1215"/>
                    <a:gd name="T80" fmla="*/ 0 w 2146"/>
                    <a:gd name="T81" fmla="*/ 1188 h 1215"/>
                    <a:gd name="T82" fmla="*/ 3 w 2146"/>
                    <a:gd name="T83" fmla="*/ 1094 h 1215"/>
                    <a:gd name="T84" fmla="*/ 14 w 2146"/>
                    <a:gd name="T85" fmla="*/ 1003 h 1215"/>
                    <a:gd name="T86" fmla="*/ 31 w 2146"/>
                    <a:gd name="T87" fmla="*/ 916 h 1215"/>
                    <a:gd name="T88" fmla="*/ 55 w 2146"/>
                    <a:gd name="T89" fmla="*/ 829 h 1215"/>
                    <a:gd name="T90" fmla="*/ 85 w 2146"/>
                    <a:gd name="T91" fmla="*/ 746 h 1215"/>
                    <a:gd name="T92" fmla="*/ 121 w 2146"/>
                    <a:gd name="T93" fmla="*/ 665 h 1215"/>
                    <a:gd name="T94" fmla="*/ 163 w 2146"/>
                    <a:gd name="T95" fmla="*/ 589 h 1215"/>
                    <a:gd name="T96" fmla="*/ 209 w 2146"/>
                    <a:gd name="T97" fmla="*/ 515 h 1215"/>
                    <a:gd name="T98" fmla="*/ 261 w 2146"/>
                    <a:gd name="T99" fmla="*/ 445 h 1215"/>
                    <a:gd name="T100" fmla="*/ 318 w 2146"/>
                    <a:gd name="T101" fmla="*/ 379 h 1215"/>
                    <a:gd name="T102" fmla="*/ 379 w 2146"/>
                    <a:gd name="T103" fmla="*/ 318 h 1215"/>
                    <a:gd name="T104" fmla="*/ 446 w 2146"/>
                    <a:gd name="T105" fmla="*/ 261 h 1215"/>
                    <a:gd name="T106" fmla="*/ 515 w 2146"/>
                    <a:gd name="T107" fmla="*/ 209 h 1215"/>
                    <a:gd name="T108" fmla="*/ 588 w 2146"/>
                    <a:gd name="T109" fmla="*/ 162 h 1215"/>
                    <a:gd name="T110" fmla="*/ 666 w 2146"/>
                    <a:gd name="T111" fmla="*/ 120 h 1215"/>
                    <a:gd name="T112" fmla="*/ 746 w 2146"/>
                    <a:gd name="T113" fmla="*/ 84 h 1215"/>
                    <a:gd name="T114" fmla="*/ 830 w 2146"/>
                    <a:gd name="T115" fmla="*/ 55 h 1215"/>
                    <a:gd name="T116" fmla="*/ 915 w 2146"/>
                    <a:gd name="T117" fmla="*/ 32 h 1215"/>
                    <a:gd name="T118" fmla="*/ 1004 w 2146"/>
                    <a:gd name="T119" fmla="*/ 14 h 1215"/>
                    <a:gd name="T120" fmla="*/ 1095 w 2146"/>
                    <a:gd name="T121" fmla="*/ 3 h 1215"/>
                    <a:gd name="T122" fmla="*/ 1187 w 2146"/>
                    <a:gd name="T123" fmla="*/ 0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6" h="1215">
                      <a:moveTo>
                        <a:pt x="1187" y="0"/>
                      </a:moveTo>
                      <a:lnTo>
                        <a:pt x="1277" y="3"/>
                      </a:lnTo>
                      <a:lnTo>
                        <a:pt x="1366" y="14"/>
                      </a:lnTo>
                      <a:lnTo>
                        <a:pt x="1451" y="29"/>
                      </a:lnTo>
                      <a:lnTo>
                        <a:pt x="1536" y="52"/>
                      </a:lnTo>
                      <a:lnTo>
                        <a:pt x="1616" y="80"/>
                      </a:lnTo>
                      <a:lnTo>
                        <a:pt x="1695" y="114"/>
                      </a:lnTo>
                      <a:lnTo>
                        <a:pt x="1770" y="153"/>
                      </a:lnTo>
                      <a:lnTo>
                        <a:pt x="1842" y="197"/>
                      </a:lnTo>
                      <a:lnTo>
                        <a:pt x="1911" y="246"/>
                      </a:lnTo>
                      <a:lnTo>
                        <a:pt x="1976" y="300"/>
                      </a:lnTo>
                      <a:lnTo>
                        <a:pt x="2037" y="358"/>
                      </a:lnTo>
                      <a:lnTo>
                        <a:pt x="2094" y="420"/>
                      </a:lnTo>
                      <a:lnTo>
                        <a:pt x="2146" y="487"/>
                      </a:lnTo>
                      <a:lnTo>
                        <a:pt x="2121" y="497"/>
                      </a:lnTo>
                      <a:lnTo>
                        <a:pt x="1581" y="709"/>
                      </a:lnTo>
                      <a:lnTo>
                        <a:pt x="1516" y="669"/>
                      </a:lnTo>
                      <a:lnTo>
                        <a:pt x="1448" y="633"/>
                      </a:lnTo>
                      <a:lnTo>
                        <a:pt x="1377" y="601"/>
                      </a:lnTo>
                      <a:lnTo>
                        <a:pt x="1304" y="575"/>
                      </a:lnTo>
                      <a:lnTo>
                        <a:pt x="1229" y="555"/>
                      </a:lnTo>
                      <a:lnTo>
                        <a:pt x="1150" y="539"/>
                      </a:lnTo>
                      <a:lnTo>
                        <a:pt x="1072" y="530"/>
                      </a:lnTo>
                      <a:lnTo>
                        <a:pt x="989" y="527"/>
                      </a:lnTo>
                      <a:lnTo>
                        <a:pt x="905" y="530"/>
                      </a:lnTo>
                      <a:lnTo>
                        <a:pt x="823" y="541"/>
                      </a:lnTo>
                      <a:lnTo>
                        <a:pt x="743" y="556"/>
                      </a:lnTo>
                      <a:lnTo>
                        <a:pt x="666" y="579"/>
                      </a:lnTo>
                      <a:lnTo>
                        <a:pt x="589" y="606"/>
                      </a:lnTo>
                      <a:lnTo>
                        <a:pt x="518" y="639"/>
                      </a:lnTo>
                      <a:lnTo>
                        <a:pt x="448" y="678"/>
                      </a:lnTo>
                      <a:lnTo>
                        <a:pt x="382" y="720"/>
                      </a:lnTo>
                      <a:lnTo>
                        <a:pt x="319" y="769"/>
                      </a:lnTo>
                      <a:lnTo>
                        <a:pt x="260" y="821"/>
                      </a:lnTo>
                      <a:lnTo>
                        <a:pt x="205" y="878"/>
                      </a:lnTo>
                      <a:lnTo>
                        <a:pt x="155" y="938"/>
                      </a:lnTo>
                      <a:lnTo>
                        <a:pt x="109" y="1002"/>
                      </a:lnTo>
                      <a:lnTo>
                        <a:pt x="67" y="1070"/>
                      </a:lnTo>
                      <a:lnTo>
                        <a:pt x="31" y="1141"/>
                      </a:lnTo>
                      <a:lnTo>
                        <a:pt x="1" y="1215"/>
                      </a:lnTo>
                      <a:lnTo>
                        <a:pt x="0" y="1188"/>
                      </a:lnTo>
                      <a:lnTo>
                        <a:pt x="3" y="1094"/>
                      </a:lnTo>
                      <a:lnTo>
                        <a:pt x="14" y="1003"/>
                      </a:lnTo>
                      <a:lnTo>
                        <a:pt x="31" y="916"/>
                      </a:lnTo>
                      <a:lnTo>
                        <a:pt x="55" y="829"/>
                      </a:lnTo>
                      <a:lnTo>
                        <a:pt x="85" y="746"/>
                      </a:lnTo>
                      <a:lnTo>
                        <a:pt x="121" y="665"/>
                      </a:lnTo>
                      <a:lnTo>
                        <a:pt x="163" y="589"/>
                      </a:lnTo>
                      <a:lnTo>
                        <a:pt x="209" y="515"/>
                      </a:lnTo>
                      <a:lnTo>
                        <a:pt x="261" y="445"/>
                      </a:lnTo>
                      <a:lnTo>
                        <a:pt x="318" y="379"/>
                      </a:lnTo>
                      <a:lnTo>
                        <a:pt x="379" y="318"/>
                      </a:lnTo>
                      <a:lnTo>
                        <a:pt x="446" y="261"/>
                      </a:lnTo>
                      <a:lnTo>
                        <a:pt x="515" y="209"/>
                      </a:lnTo>
                      <a:lnTo>
                        <a:pt x="588" y="162"/>
                      </a:lnTo>
                      <a:lnTo>
                        <a:pt x="666" y="120"/>
                      </a:lnTo>
                      <a:lnTo>
                        <a:pt x="746" y="84"/>
                      </a:lnTo>
                      <a:lnTo>
                        <a:pt x="830" y="55"/>
                      </a:lnTo>
                      <a:lnTo>
                        <a:pt x="915" y="32"/>
                      </a:lnTo>
                      <a:lnTo>
                        <a:pt x="1004" y="14"/>
                      </a:lnTo>
                      <a:lnTo>
                        <a:pt x="1095" y="3"/>
                      </a:lnTo>
                      <a:lnTo>
                        <a:pt x="1187"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algn="ctr"/>
                  <a:endParaRPr lang="en-US" dirty="0">
                    <a:solidFill>
                      <a:srgbClr val="676767"/>
                    </a:solidFill>
                  </a:endParaRPr>
                </a:p>
              </p:txBody>
            </p:sp>
            <p:sp>
              <p:nvSpPr>
                <p:cNvPr id="152" name="Freeform 67"/>
                <p:cNvSpPr>
                  <a:spLocks noEditPoints="1"/>
                </p:cNvSpPr>
                <p:nvPr/>
              </p:nvSpPr>
              <p:spPr bwMode="auto">
                <a:xfrm>
                  <a:off x="-1314450" y="2822306"/>
                  <a:ext cx="977900" cy="977900"/>
                </a:xfrm>
                <a:custGeom>
                  <a:avLst/>
                  <a:gdLst>
                    <a:gd name="T0" fmla="*/ 1692 w 3696"/>
                    <a:gd name="T1" fmla="*/ 2163 h 3696"/>
                    <a:gd name="T2" fmla="*/ 1588 w 3696"/>
                    <a:gd name="T3" fmla="*/ 2333 h 3696"/>
                    <a:gd name="T4" fmla="*/ 1635 w 3696"/>
                    <a:gd name="T5" fmla="*/ 2532 h 3696"/>
                    <a:gd name="T6" fmla="*/ 1805 w 3696"/>
                    <a:gd name="T7" fmla="*/ 2636 h 3696"/>
                    <a:gd name="T8" fmla="*/ 2003 w 3696"/>
                    <a:gd name="T9" fmla="*/ 2589 h 3696"/>
                    <a:gd name="T10" fmla="*/ 2108 w 3696"/>
                    <a:gd name="T11" fmla="*/ 2420 h 3696"/>
                    <a:gd name="T12" fmla="*/ 2061 w 3696"/>
                    <a:gd name="T13" fmla="*/ 2221 h 3696"/>
                    <a:gd name="T14" fmla="*/ 1890 w 3696"/>
                    <a:gd name="T15" fmla="*/ 2116 h 3696"/>
                    <a:gd name="T16" fmla="*/ 2945 w 3696"/>
                    <a:gd name="T17" fmla="*/ 1415 h 3696"/>
                    <a:gd name="T18" fmla="*/ 2962 w 3696"/>
                    <a:gd name="T19" fmla="*/ 1493 h 3696"/>
                    <a:gd name="T20" fmla="*/ 2306 w 3696"/>
                    <a:gd name="T21" fmla="*/ 2639 h 3696"/>
                    <a:gd name="T22" fmla="*/ 2116 w 3696"/>
                    <a:gd name="T23" fmla="*/ 2831 h 3696"/>
                    <a:gd name="T24" fmla="*/ 1847 w 3696"/>
                    <a:gd name="T25" fmla="*/ 2905 h 3696"/>
                    <a:gd name="T26" fmla="*/ 1565 w 3696"/>
                    <a:gd name="T27" fmla="*/ 2822 h 3696"/>
                    <a:gd name="T28" fmla="*/ 1373 w 3696"/>
                    <a:gd name="T29" fmla="*/ 2608 h 3696"/>
                    <a:gd name="T30" fmla="*/ 1323 w 3696"/>
                    <a:gd name="T31" fmla="*/ 2316 h 3696"/>
                    <a:gd name="T32" fmla="*/ 1430 w 3696"/>
                    <a:gd name="T33" fmla="*/ 2053 h 3696"/>
                    <a:gd name="T34" fmla="*/ 1654 w 3696"/>
                    <a:gd name="T35" fmla="*/ 1886 h 3696"/>
                    <a:gd name="T36" fmla="*/ 1847 w 3696"/>
                    <a:gd name="T37" fmla="*/ 397 h 3696"/>
                    <a:gd name="T38" fmla="*/ 1371 w 3696"/>
                    <a:gd name="T39" fmla="*/ 477 h 3696"/>
                    <a:gd name="T40" fmla="*/ 961 w 3696"/>
                    <a:gd name="T41" fmla="*/ 699 h 3696"/>
                    <a:gd name="T42" fmla="*/ 644 w 3696"/>
                    <a:gd name="T43" fmla="*/ 1037 h 3696"/>
                    <a:gd name="T44" fmla="*/ 448 w 3696"/>
                    <a:gd name="T45" fmla="*/ 1463 h 3696"/>
                    <a:gd name="T46" fmla="*/ 399 w 3696"/>
                    <a:gd name="T47" fmla="*/ 1948 h 3696"/>
                    <a:gd name="T48" fmla="*/ 510 w 3696"/>
                    <a:gd name="T49" fmla="*/ 2413 h 3696"/>
                    <a:gd name="T50" fmla="*/ 758 w 3696"/>
                    <a:gd name="T51" fmla="*/ 2807 h 3696"/>
                    <a:gd name="T52" fmla="*/ 1116 w 3696"/>
                    <a:gd name="T53" fmla="*/ 3102 h 3696"/>
                    <a:gd name="T54" fmla="*/ 1555 w 3696"/>
                    <a:gd name="T55" fmla="*/ 3270 h 3696"/>
                    <a:gd name="T56" fmla="*/ 2044 w 3696"/>
                    <a:gd name="T57" fmla="*/ 3287 h 3696"/>
                    <a:gd name="T58" fmla="*/ 2498 w 3696"/>
                    <a:gd name="T59" fmla="*/ 3147 h 3696"/>
                    <a:gd name="T60" fmla="*/ 2873 w 3696"/>
                    <a:gd name="T61" fmla="*/ 2875 h 3696"/>
                    <a:gd name="T62" fmla="*/ 3145 w 3696"/>
                    <a:gd name="T63" fmla="*/ 2498 h 3696"/>
                    <a:gd name="T64" fmla="*/ 3286 w 3696"/>
                    <a:gd name="T65" fmla="*/ 2045 h 3696"/>
                    <a:gd name="T66" fmla="*/ 3270 w 3696"/>
                    <a:gd name="T67" fmla="*/ 1557 h 3696"/>
                    <a:gd name="T68" fmla="*/ 3101 w 3696"/>
                    <a:gd name="T69" fmla="*/ 1116 h 3696"/>
                    <a:gd name="T70" fmla="*/ 2806 w 3696"/>
                    <a:gd name="T71" fmla="*/ 759 h 3696"/>
                    <a:gd name="T72" fmla="*/ 2412 w 3696"/>
                    <a:gd name="T73" fmla="*/ 510 h 3696"/>
                    <a:gd name="T74" fmla="*/ 1947 w 3696"/>
                    <a:gd name="T75" fmla="*/ 400 h 3696"/>
                    <a:gd name="T76" fmla="*/ 2180 w 3696"/>
                    <a:gd name="T77" fmla="*/ 31 h 3696"/>
                    <a:gd name="T78" fmla="*/ 2688 w 3696"/>
                    <a:gd name="T79" fmla="*/ 203 h 3696"/>
                    <a:gd name="T80" fmla="*/ 3117 w 3696"/>
                    <a:gd name="T81" fmla="*/ 505 h 3696"/>
                    <a:gd name="T82" fmla="*/ 3443 w 3696"/>
                    <a:gd name="T83" fmla="*/ 916 h 3696"/>
                    <a:gd name="T84" fmla="*/ 3643 w 3696"/>
                    <a:gd name="T85" fmla="*/ 1409 h 3696"/>
                    <a:gd name="T86" fmla="*/ 3692 w 3696"/>
                    <a:gd name="T87" fmla="*/ 1961 h 3696"/>
                    <a:gd name="T88" fmla="*/ 3580 w 3696"/>
                    <a:gd name="T89" fmla="*/ 2493 h 3696"/>
                    <a:gd name="T90" fmla="*/ 3326 w 3696"/>
                    <a:gd name="T91" fmla="*/ 2957 h 3696"/>
                    <a:gd name="T92" fmla="*/ 2955 w 3696"/>
                    <a:gd name="T93" fmla="*/ 3327 h 3696"/>
                    <a:gd name="T94" fmla="*/ 2492 w 3696"/>
                    <a:gd name="T95" fmla="*/ 3580 h 3696"/>
                    <a:gd name="T96" fmla="*/ 1960 w 3696"/>
                    <a:gd name="T97" fmla="*/ 3693 h 3696"/>
                    <a:gd name="T98" fmla="*/ 1409 w 3696"/>
                    <a:gd name="T99" fmla="*/ 3643 h 3696"/>
                    <a:gd name="T100" fmla="*/ 915 w 3696"/>
                    <a:gd name="T101" fmla="*/ 3444 h 3696"/>
                    <a:gd name="T102" fmla="*/ 505 w 3696"/>
                    <a:gd name="T103" fmla="*/ 3117 h 3696"/>
                    <a:gd name="T104" fmla="*/ 201 w 3696"/>
                    <a:gd name="T105" fmla="*/ 2688 h 3696"/>
                    <a:gd name="T106" fmla="*/ 29 w 3696"/>
                    <a:gd name="T107" fmla="*/ 2180 h 3696"/>
                    <a:gd name="T108" fmla="*/ 13 w 3696"/>
                    <a:gd name="T109" fmla="*/ 1625 h 3696"/>
                    <a:gd name="T110" fmla="*/ 156 w 3696"/>
                    <a:gd name="T111" fmla="*/ 1105 h 3696"/>
                    <a:gd name="T112" fmla="*/ 435 w 3696"/>
                    <a:gd name="T113" fmla="*/ 658 h 3696"/>
                    <a:gd name="T114" fmla="*/ 826 w 3696"/>
                    <a:gd name="T115" fmla="*/ 309 h 3696"/>
                    <a:gd name="T116" fmla="*/ 1305 w 3696"/>
                    <a:gd name="T117" fmla="*/ 82 h 3696"/>
                    <a:gd name="T118" fmla="*/ 1847 w 3696"/>
                    <a:gd name="T119" fmla="*/ 0 h 3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96" h="3696">
                      <a:moveTo>
                        <a:pt x="1847" y="2113"/>
                      </a:moveTo>
                      <a:lnTo>
                        <a:pt x="1805" y="2116"/>
                      </a:lnTo>
                      <a:lnTo>
                        <a:pt x="1764" y="2126"/>
                      </a:lnTo>
                      <a:lnTo>
                        <a:pt x="1726" y="2142"/>
                      </a:lnTo>
                      <a:lnTo>
                        <a:pt x="1692" y="2163"/>
                      </a:lnTo>
                      <a:lnTo>
                        <a:pt x="1661" y="2189"/>
                      </a:lnTo>
                      <a:lnTo>
                        <a:pt x="1635" y="2221"/>
                      </a:lnTo>
                      <a:lnTo>
                        <a:pt x="1614" y="2255"/>
                      </a:lnTo>
                      <a:lnTo>
                        <a:pt x="1597" y="2293"/>
                      </a:lnTo>
                      <a:lnTo>
                        <a:pt x="1588" y="2333"/>
                      </a:lnTo>
                      <a:lnTo>
                        <a:pt x="1583" y="2377"/>
                      </a:lnTo>
                      <a:lnTo>
                        <a:pt x="1588" y="2420"/>
                      </a:lnTo>
                      <a:lnTo>
                        <a:pt x="1597" y="2460"/>
                      </a:lnTo>
                      <a:lnTo>
                        <a:pt x="1614" y="2497"/>
                      </a:lnTo>
                      <a:lnTo>
                        <a:pt x="1635" y="2532"/>
                      </a:lnTo>
                      <a:lnTo>
                        <a:pt x="1661" y="2563"/>
                      </a:lnTo>
                      <a:lnTo>
                        <a:pt x="1692" y="2589"/>
                      </a:lnTo>
                      <a:lnTo>
                        <a:pt x="1726" y="2611"/>
                      </a:lnTo>
                      <a:lnTo>
                        <a:pt x="1764" y="2626"/>
                      </a:lnTo>
                      <a:lnTo>
                        <a:pt x="1805" y="2636"/>
                      </a:lnTo>
                      <a:lnTo>
                        <a:pt x="1847" y="2640"/>
                      </a:lnTo>
                      <a:lnTo>
                        <a:pt x="1890" y="2636"/>
                      </a:lnTo>
                      <a:lnTo>
                        <a:pt x="1932" y="2626"/>
                      </a:lnTo>
                      <a:lnTo>
                        <a:pt x="1969" y="2611"/>
                      </a:lnTo>
                      <a:lnTo>
                        <a:pt x="2003" y="2589"/>
                      </a:lnTo>
                      <a:lnTo>
                        <a:pt x="2034" y="2563"/>
                      </a:lnTo>
                      <a:lnTo>
                        <a:pt x="2061" y="2532"/>
                      </a:lnTo>
                      <a:lnTo>
                        <a:pt x="2082" y="2497"/>
                      </a:lnTo>
                      <a:lnTo>
                        <a:pt x="2098" y="2460"/>
                      </a:lnTo>
                      <a:lnTo>
                        <a:pt x="2108" y="2420"/>
                      </a:lnTo>
                      <a:lnTo>
                        <a:pt x="2111" y="2377"/>
                      </a:lnTo>
                      <a:lnTo>
                        <a:pt x="2108" y="2333"/>
                      </a:lnTo>
                      <a:lnTo>
                        <a:pt x="2098" y="2293"/>
                      </a:lnTo>
                      <a:lnTo>
                        <a:pt x="2082" y="2255"/>
                      </a:lnTo>
                      <a:lnTo>
                        <a:pt x="2061" y="2221"/>
                      </a:lnTo>
                      <a:lnTo>
                        <a:pt x="2034" y="2189"/>
                      </a:lnTo>
                      <a:lnTo>
                        <a:pt x="2003" y="2163"/>
                      </a:lnTo>
                      <a:lnTo>
                        <a:pt x="1969" y="2142"/>
                      </a:lnTo>
                      <a:lnTo>
                        <a:pt x="1932" y="2126"/>
                      </a:lnTo>
                      <a:lnTo>
                        <a:pt x="1890" y="2116"/>
                      </a:lnTo>
                      <a:lnTo>
                        <a:pt x="1847" y="2113"/>
                      </a:lnTo>
                      <a:close/>
                      <a:moveTo>
                        <a:pt x="2894" y="1399"/>
                      </a:moveTo>
                      <a:lnTo>
                        <a:pt x="2912" y="1399"/>
                      </a:lnTo>
                      <a:lnTo>
                        <a:pt x="2929" y="1405"/>
                      </a:lnTo>
                      <a:lnTo>
                        <a:pt x="2945" y="1415"/>
                      </a:lnTo>
                      <a:lnTo>
                        <a:pt x="2956" y="1427"/>
                      </a:lnTo>
                      <a:lnTo>
                        <a:pt x="2964" y="1442"/>
                      </a:lnTo>
                      <a:lnTo>
                        <a:pt x="2968" y="1459"/>
                      </a:lnTo>
                      <a:lnTo>
                        <a:pt x="2966" y="1476"/>
                      </a:lnTo>
                      <a:lnTo>
                        <a:pt x="2962" y="1493"/>
                      </a:lnTo>
                      <a:lnTo>
                        <a:pt x="2960" y="1495"/>
                      </a:lnTo>
                      <a:lnTo>
                        <a:pt x="2959" y="1497"/>
                      </a:lnTo>
                      <a:lnTo>
                        <a:pt x="2959" y="1497"/>
                      </a:lnTo>
                      <a:lnTo>
                        <a:pt x="2306" y="2639"/>
                      </a:lnTo>
                      <a:lnTo>
                        <a:pt x="2306" y="2639"/>
                      </a:lnTo>
                      <a:lnTo>
                        <a:pt x="2275" y="2685"/>
                      </a:lnTo>
                      <a:lnTo>
                        <a:pt x="2242" y="2727"/>
                      </a:lnTo>
                      <a:lnTo>
                        <a:pt x="2203" y="2766"/>
                      </a:lnTo>
                      <a:lnTo>
                        <a:pt x="2162" y="2800"/>
                      </a:lnTo>
                      <a:lnTo>
                        <a:pt x="2116" y="2831"/>
                      </a:lnTo>
                      <a:lnTo>
                        <a:pt x="2067" y="2857"/>
                      </a:lnTo>
                      <a:lnTo>
                        <a:pt x="2016" y="2877"/>
                      </a:lnTo>
                      <a:lnTo>
                        <a:pt x="1962" y="2891"/>
                      </a:lnTo>
                      <a:lnTo>
                        <a:pt x="1906" y="2902"/>
                      </a:lnTo>
                      <a:lnTo>
                        <a:pt x="1847" y="2905"/>
                      </a:lnTo>
                      <a:lnTo>
                        <a:pt x="1787" y="2900"/>
                      </a:lnTo>
                      <a:lnTo>
                        <a:pt x="1727" y="2890"/>
                      </a:lnTo>
                      <a:lnTo>
                        <a:pt x="1670" y="2873"/>
                      </a:lnTo>
                      <a:lnTo>
                        <a:pt x="1616" y="2851"/>
                      </a:lnTo>
                      <a:lnTo>
                        <a:pt x="1565" y="2822"/>
                      </a:lnTo>
                      <a:lnTo>
                        <a:pt x="1518" y="2788"/>
                      </a:lnTo>
                      <a:lnTo>
                        <a:pt x="1474" y="2750"/>
                      </a:lnTo>
                      <a:lnTo>
                        <a:pt x="1436" y="2706"/>
                      </a:lnTo>
                      <a:lnTo>
                        <a:pt x="1402" y="2659"/>
                      </a:lnTo>
                      <a:lnTo>
                        <a:pt x="1373" y="2608"/>
                      </a:lnTo>
                      <a:lnTo>
                        <a:pt x="1351" y="2554"/>
                      </a:lnTo>
                      <a:lnTo>
                        <a:pt x="1334" y="2497"/>
                      </a:lnTo>
                      <a:lnTo>
                        <a:pt x="1323" y="2438"/>
                      </a:lnTo>
                      <a:lnTo>
                        <a:pt x="1319" y="2377"/>
                      </a:lnTo>
                      <a:lnTo>
                        <a:pt x="1323" y="2316"/>
                      </a:lnTo>
                      <a:lnTo>
                        <a:pt x="1333" y="2259"/>
                      </a:lnTo>
                      <a:lnTo>
                        <a:pt x="1348" y="2203"/>
                      </a:lnTo>
                      <a:lnTo>
                        <a:pt x="1371" y="2150"/>
                      </a:lnTo>
                      <a:lnTo>
                        <a:pt x="1398" y="2100"/>
                      </a:lnTo>
                      <a:lnTo>
                        <a:pt x="1430" y="2053"/>
                      </a:lnTo>
                      <a:lnTo>
                        <a:pt x="1467" y="2011"/>
                      </a:lnTo>
                      <a:lnTo>
                        <a:pt x="1508" y="1972"/>
                      </a:lnTo>
                      <a:lnTo>
                        <a:pt x="1553" y="1939"/>
                      </a:lnTo>
                      <a:lnTo>
                        <a:pt x="1602" y="1909"/>
                      </a:lnTo>
                      <a:lnTo>
                        <a:pt x="1654" y="1886"/>
                      </a:lnTo>
                      <a:lnTo>
                        <a:pt x="1654" y="1885"/>
                      </a:lnTo>
                      <a:lnTo>
                        <a:pt x="2878" y="1404"/>
                      </a:lnTo>
                      <a:lnTo>
                        <a:pt x="2878" y="1404"/>
                      </a:lnTo>
                      <a:lnTo>
                        <a:pt x="2894" y="1399"/>
                      </a:lnTo>
                      <a:close/>
                      <a:moveTo>
                        <a:pt x="1847" y="397"/>
                      </a:moveTo>
                      <a:lnTo>
                        <a:pt x="1748" y="400"/>
                      </a:lnTo>
                      <a:lnTo>
                        <a:pt x="1651" y="410"/>
                      </a:lnTo>
                      <a:lnTo>
                        <a:pt x="1555" y="426"/>
                      </a:lnTo>
                      <a:lnTo>
                        <a:pt x="1462" y="449"/>
                      </a:lnTo>
                      <a:lnTo>
                        <a:pt x="1371" y="477"/>
                      </a:lnTo>
                      <a:lnTo>
                        <a:pt x="1283" y="510"/>
                      </a:lnTo>
                      <a:lnTo>
                        <a:pt x="1198" y="551"/>
                      </a:lnTo>
                      <a:lnTo>
                        <a:pt x="1116" y="595"/>
                      </a:lnTo>
                      <a:lnTo>
                        <a:pt x="1036" y="645"/>
                      </a:lnTo>
                      <a:lnTo>
                        <a:pt x="961" y="699"/>
                      </a:lnTo>
                      <a:lnTo>
                        <a:pt x="890" y="759"/>
                      </a:lnTo>
                      <a:lnTo>
                        <a:pt x="821" y="823"/>
                      </a:lnTo>
                      <a:lnTo>
                        <a:pt x="758" y="890"/>
                      </a:lnTo>
                      <a:lnTo>
                        <a:pt x="699" y="962"/>
                      </a:lnTo>
                      <a:lnTo>
                        <a:pt x="644" y="1037"/>
                      </a:lnTo>
                      <a:lnTo>
                        <a:pt x="594" y="1116"/>
                      </a:lnTo>
                      <a:lnTo>
                        <a:pt x="549" y="1198"/>
                      </a:lnTo>
                      <a:lnTo>
                        <a:pt x="510" y="1284"/>
                      </a:lnTo>
                      <a:lnTo>
                        <a:pt x="476" y="1372"/>
                      </a:lnTo>
                      <a:lnTo>
                        <a:pt x="448" y="1463"/>
                      </a:lnTo>
                      <a:lnTo>
                        <a:pt x="426" y="1557"/>
                      </a:lnTo>
                      <a:lnTo>
                        <a:pt x="409" y="1652"/>
                      </a:lnTo>
                      <a:lnTo>
                        <a:pt x="399" y="1749"/>
                      </a:lnTo>
                      <a:lnTo>
                        <a:pt x="396" y="1849"/>
                      </a:lnTo>
                      <a:lnTo>
                        <a:pt x="399" y="1948"/>
                      </a:lnTo>
                      <a:lnTo>
                        <a:pt x="409" y="2045"/>
                      </a:lnTo>
                      <a:lnTo>
                        <a:pt x="426" y="2141"/>
                      </a:lnTo>
                      <a:lnTo>
                        <a:pt x="448" y="2234"/>
                      </a:lnTo>
                      <a:lnTo>
                        <a:pt x="476" y="2325"/>
                      </a:lnTo>
                      <a:lnTo>
                        <a:pt x="510" y="2413"/>
                      </a:lnTo>
                      <a:lnTo>
                        <a:pt x="549" y="2498"/>
                      </a:lnTo>
                      <a:lnTo>
                        <a:pt x="594" y="2580"/>
                      </a:lnTo>
                      <a:lnTo>
                        <a:pt x="644" y="2660"/>
                      </a:lnTo>
                      <a:lnTo>
                        <a:pt x="699" y="2735"/>
                      </a:lnTo>
                      <a:lnTo>
                        <a:pt x="758" y="2807"/>
                      </a:lnTo>
                      <a:lnTo>
                        <a:pt x="821" y="2875"/>
                      </a:lnTo>
                      <a:lnTo>
                        <a:pt x="890" y="2938"/>
                      </a:lnTo>
                      <a:lnTo>
                        <a:pt x="961" y="2997"/>
                      </a:lnTo>
                      <a:lnTo>
                        <a:pt x="1036" y="3052"/>
                      </a:lnTo>
                      <a:lnTo>
                        <a:pt x="1116" y="3102"/>
                      </a:lnTo>
                      <a:lnTo>
                        <a:pt x="1198" y="3147"/>
                      </a:lnTo>
                      <a:lnTo>
                        <a:pt x="1283" y="3186"/>
                      </a:lnTo>
                      <a:lnTo>
                        <a:pt x="1371" y="3220"/>
                      </a:lnTo>
                      <a:lnTo>
                        <a:pt x="1462" y="3249"/>
                      </a:lnTo>
                      <a:lnTo>
                        <a:pt x="1555" y="3270"/>
                      </a:lnTo>
                      <a:lnTo>
                        <a:pt x="1651" y="3287"/>
                      </a:lnTo>
                      <a:lnTo>
                        <a:pt x="1748" y="3297"/>
                      </a:lnTo>
                      <a:lnTo>
                        <a:pt x="1847" y="3300"/>
                      </a:lnTo>
                      <a:lnTo>
                        <a:pt x="1947" y="3297"/>
                      </a:lnTo>
                      <a:lnTo>
                        <a:pt x="2044" y="3287"/>
                      </a:lnTo>
                      <a:lnTo>
                        <a:pt x="2139" y="3270"/>
                      </a:lnTo>
                      <a:lnTo>
                        <a:pt x="2233" y="3249"/>
                      </a:lnTo>
                      <a:lnTo>
                        <a:pt x="2324" y="3220"/>
                      </a:lnTo>
                      <a:lnTo>
                        <a:pt x="2412" y="3186"/>
                      </a:lnTo>
                      <a:lnTo>
                        <a:pt x="2498" y="3147"/>
                      </a:lnTo>
                      <a:lnTo>
                        <a:pt x="2580" y="3102"/>
                      </a:lnTo>
                      <a:lnTo>
                        <a:pt x="2659" y="3052"/>
                      </a:lnTo>
                      <a:lnTo>
                        <a:pt x="2734" y="2997"/>
                      </a:lnTo>
                      <a:lnTo>
                        <a:pt x="2806" y="2938"/>
                      </a:lnTo>
                      <a:lnTo>
                        <a:pt x="2873" y="2875"/>
                      </a:lnTo>
                      <a:lnTo>
                        <a:pt x="2937" y="2807"/>
                      </a:lnTo>
                      <a:lnTo>
                        <a:pt x="2997" y="2735"/>
                      </a:lnTo>
                      <a:lnTo>
                        <a:pt x="3051" y="2660"/>
                      </a:lnTo>
                      <a:lnTo>
                        <a:pt x="3101" y="2580"/>
                      </a:lnTo>
                      <a:lnTo>
                        <a:pt x="3145" y="2498"/>
                      </a:lnTo>
                      <a:lnTo>
                        <a:pt x="3186" y="2413"/>
                      </a:lnTo>
                      <a:lnTo>
                        <a:pt x="3219" y="2325"/>
                      </a:lnTo>
                      <a:lnTo>
                        <a:pt x="3247" y="2234"/>
                      </a:lnTo>
                      <a:lnTo>
                        <a:pt x="3270" y="2141"/>
                      </a:lnTo>
                      <a:lnTo>
                        <a:pt x="3286" y="2045"/>
                      </a:lnTo>
                      <a:lnTo>
                        <a:pt x="3296" y="1948"/>
                      </a:lnTo>
                      <a:lnTo>
                        <a:pt x="3299" y="1849"/>
                      </a:lnTo>
                      <a:lnTo>
                        <a:pt x="3296" y="1749"/>
                      </a:lnTo>
                      <a:lnTo>
                        <a:pt x="3286" y="1652"/>
                      </a:lnTo>
                      <a:lnTo>
                        <a:pt x="3270" y="1557"/>
                      </a:lnTo>
                      <a:lnTo>
                        <a:pt x="3247" y="1463"/>
                      </a:lnTo>
                      <a:lnTo>
                        <a:pt x="3219" y="1372"/>
                      </a:lnTo>
                      <a:lnTo>
                        <a:pt x="3186" y="1284"/>
                      </a:lnTo>
                      <a:lnTo>
                        <a:pt x="3145" y="1198"/>
                      </a:lnTo>
                      <a:lnTo>
                        <a:pt x="3101" y="1116"/>
                      </a:lnTo>
                      <a:lnTo>
                        <a:pt x="3051" y="1037"/>
                      </a:lnTo>
                      <a:lnTo>
                        <a:pt x="2997" y="962"/>
                      </a:lnTo>
                      <a:lnTo>
                        <a:pt x="2937" y="890"/>
                      </a:lnTo>
                      <a:lnTo>
                        <a:pt x="2873" y="823"/>
                      </a:lnTo>
                      <a:lnTo>
                        <a:pt x="2806" y="759"/>
                      </a:lnTo>
                      <a:lnTo>
                        <a:pt x="2734" y="699"/>
                      </a:lnTo>
                      <a:lnTo>
                        <a:pt x="2659" y="645"/>
                      </a:lnTo>
                      <a:lnTo>
                        <a:pt x="2580" y="595"/>
                      </a:lnTo>
                      <a:lnTo>
                        <a:pt x="2498" y="551"/>
                      </a:lnTo>
                      <a:lnTo>
                        <a:pt x="2412" y="510"/>
                      </a:lnTo>
                      <a:lnTo>
                        <a:pt x="2324" y="477"/>
                      </a:lnTo>
                      <a:lnTo>
                        <a:pt x="2233" y="449"/>
                      </a:lnTo>
                      <a:lnTo>
                        <a:pt x="2139" y="426"/>
                      </a:lnTo>
                      <a:lnTo>
                        <a:pt x="2044" y="410"/>
                      </a:lnTo>
                      <a:lnTo>
                        <a:pt x="1947" y="400"/>
                      </a:lnTo>
                      <a:lnTo>
                        <a:pt x="1847" y="397"/>
                      </a:lnTo>
                      <a:close/>
                      <a:moveTo>
                        <a:pt x="1847" y="0"/>
                      </a:moveTo>
                      <a:lnTo>
                        <a:pt x="1960" y="4"/>
                      </a:lnTo>
                      <a:lnTo>
                        <a:pt x="2071" y="14"/>
                      </a:lnTo>
                      <a:lnTo>
                        <a:pt x="2180" y="31"/>
                      </a:lnTo>
                      <a:lnTo>
                        <a:pt x="2287" y="53"/>
                      </a:lnTo>
                      <a:lnTo>
                        <a:pt x="2391" y="82"/>
                      </a:lnTo>
                      <a:lnTo>
                        <a:pt x="2492" y="116"/>
                      </a:lnTo>
                      <a:lnTo>
                        <a:pt x="2591" y="157"/>
                      </a:lnTo>
                      <a:lnTo>
                        <a:pt x="2688" y="203"/>
                      </a:lnTo>
                      <a:lnTo>
                        <a:pt x="2780" y="253"/>
                      </a:lnTo>
                      <a:lnTo>
                        <a:pt x="2870" y="309"/>
                      </a:lnTo>
                      <a:lnTo>
                        <a:pt x="2955" y="370"/>
                      </a:lnTo>
                      <a:lnTo>
                        <a:pt x="3038" y="435"/>
                      </a:lnTo>
                      <a:lnTo>
                        <a:pt x="3117" y="505"/>
                      </a:lnTo>
                      <a:lnTo>
                        <a:pt x="3191" y="580"/>
                      </a:lnTo>
                      <a:lnTo>
                        <a:pt x="3261" y="658"/>
                      </a:lnTo>
                      <a:lnTo>
                        <a:pt x="3326" y="741"/>
                      </a:lnTo>
                      <a:lnTo>
                        <a:pt x="3387" y="826"/>
                      </a:lnTo>
                      <a:lnTo>
                        <a:pt x="3443" y="916"/>
                      </a:lnTo>
                      <a:lnTo>
                        <a:pt x="3493" y="1008"/>
                      </a:lnTo>
                      <a:lnTo>
                        <a:pt x="3539" y="1105"/>
                      </a:lnTo>
                      <a:lnTo>
                        <a:pt x="3580" y="1204"/>
                      </a:lnTo>
                      <a:lnTo>
                        <a:pt x="3615" y="1305"/>
                      </a:lnTo>
                      <a:lnTo>
                        <a:pt x="3643" y="1409"/>
                      </a:lnTo>
                      <a:lnTo>
                        <a:pt x="3665" y="1516"/>
                      </a:lnTo>
                      <a:lnTo>
                        <a:pt x="3682" y="1625"/>
                      </a:lnTo>
                      <a:lnTo>
                        <a:pt x="3692" y="1736"/>
                      </a:lnTo>
                      <a:lnTo>
                        <a:pt x="3696" y="1849"/>
                      </a:lnTo>
                      <a:lnTo>
                        <a:pt x="3692" y="1961"/>
                      </a:lnTo>
                      <a:lnTo>
                        <a:pt x="3682" y="2071"/>
                      </a:lnTo>
                      <a:lnTo>
                        <a:pt x="3665" y="2180"/>
                      </a:lnTo>
                      <a:lnTo>
                        <a:pt x="3643" y="2287"/>
                      </a:lnTo>
                      <a:lnTo>
                        <a:pt x="3615" y="2391"/>
                      </a:lnTo>
                      <a:lnTo>
                        <a:pt x="3580" y="2493"/>
                      </a:lnTo>
                      <a:lnTo>
                        <a:pt x="3539" y="2593"/>
                      </a:lnTo>
                      <a:lnTo>
                        <a:pt x="3493" y="2688"/>
                      </a:lnTo>
                      <a:lnTo>
                        <a:pt x="3443" y="2781"/>
                      </a:lnTo>
                      <a:lnTo>
                        <a:pt x="3387" y="2870"/>
                      </a:lnTo>
                      <a:lnTo>
                        <a:pt x="3326" y="2957"/>
                      </a:lnTo>
                      <a:lnTo>
                        <a:pt x="3261" y="3039"/>
                      </a:lnTo>
                      <a:lnTo>
                        <a:pt x="3191" y="3117"/>
                      </a:lnTo>
                      <a:lnTo>
                        <a:pt x="3117" y="3191"/>
                      </a:lnTo>
                      <a:lnTo>
                        <a:pt x="3038" y="3261"/>
                      </a:lnTo>
                      <a:lnTo>
                        <a:pt x="2955" y="3327"/>
                      </a:lnTo>
                      <a:lnTo>
                        <a:pt x="2870" y="3388"/>
                      </a:lnTo>
                      <a:lnTo>
                        <a:pt x="2780" y="3444"/>
                      </a:lnTo>
                      <a:lnTo>
                        <a:pt x="2688" y="3495"/>
                      </a:lnTo>
                      <a:lnTo>
                        <a:pt x="2591" y="3540"/>
                      </a:lnTo>
                      <a:lnTo>
                        <a:pt x="2492" y="3580"/>
                      </a:lnTo>
                      <a:lnTo>
                        <a:pt x="2391" y="3615"/>
                      </a:lnTo>
                      <a:lnTo>
                        <a:pt x="2287" y="3643"/>
                      </a:lnTo>
                      <a:lnTo>
                        <a:pt x="2180" y="3667"/>
                      </a:lnTo>
                      <a:lnTo>
                        <a:pt x="2071" y="3683"/>
                      </a:lnTo>
                      <a:lnTo>
                        <a:pt x="1960" y="3693"/>
                      </a:lnTo>
                      <a:lnTo>
                        <a:pt x="1847" y="3696"/>
                      </a:lnTo>
                      <a:lnTo>
                        <a:pt x="1735" y="3693"/>
                      </a:lnTo>
                      <a:lnTo>
                        <a:pt x="1625" y="3683"/>
                      </a:lnTo>
                      <a:lnTo>
                        <a:pt x="1516" y="3667"/>
                      </a:lnTo>
                      <a:lnTo>
                        <a:pt x="1409" y="3643"/>
                      </a:lnTo>
                      <a:lnTo>
                        <a:pt x="1305" y="3615"/>
                      </a:lnTo>
                      <a:lnTo>
                        <a:pt x="1203" y="3580"/>
                      </a:lnTo>
                      <a:lnTo>
                        <a:pt x="1103" y="3540"/>
                      </a:lnTo>
                      <a:lnTo>
                        <a:pt x="1008" y="3495"/>
                      </a:lnTo>
                      <a:lnTo>
                        <a:pt x="915" y="3444"/>
                      </a:lnTo>
                      <a:lnTo>
                        <a:pt x="826" y="3388"/>
                      </a:lnTo>
                      <a:lnTo>
                        <a:pt x="739" y="3327"/>
                      </a:lnTo>
                      <a:lnTo>
                        <a:pt x="657" y="3261"/>
                      </a:lnTo>
                      <a:lnTo>
                        <a:pt x="579" y="3191"/>
                      </a:lnTo>
                      <a:lnTo>
                        <a:pt x="505" y="3117"/>
                      </a:lnTo>
                      <a:lnTo>
                        <a:pt x="435" y="3039"/>
                      </a:lnTo>
                      <a:lnTo>
                        <a:pt x="369" y="2957"/>
                      </a:lnTo>
                      <a:lnTo>
                        <a:pt x="308" y="2870"/>
                      </a:lnTo>
                      <a:lnTo>
                        <a:pt x="252" y="2781"/>
                      </a:lnTo>
                      <a:lnTo>
                        <a:pt x="201" y="2688"/>
                      </a:lnTo>
                      <a:lnTo>
                        <a:pt x="156" y="2593"/>
                      </a:lnTo>
                      <a:lnTo>
                        <a:pt x="116" y="2493"/>
                      </a:lnTo>
                      <a:lnTo>
                        <a:pt x="81" y="2391"/>
                      </a:lnTo>
                      <a:lnTo>
                        <a:pt x="53" y="2287"/>
                      </a:lnTo>
                      <a:lnTo>
                        <a:pt x="29" y="2180"/>
                      </a:lnTo>
                      <a:lnTo>
                        <a:pt x="13" y="2071"/>
                      </a:lnTo>
                      <a:lnTo>
                        <a:pt x="3" y="1961"/>
                      </a:lnTo>
                      <a:lnTo>
                        <a:pt x="0" y="1849"/>
                      </a:lnTo>
                      <a:lnTo>
                        <a:pt x="3" y="1736"/>
                      </a:lnTo>
                      <a:lnTo>
                        <a:pt x="13" y="1625"/>
                      </a:lnTo>
                      <a:lnTo>
                        <a:pt x="29" y="1516"/>
                      </a:lnTo>
                      <a:lnTo>
                        <a:pt x="53" y="1409"/>
                      </a:lnTo>
                      <a:lnTo>
                        <a:pt x="81" y="1305"/>
                      </a:lnTo>
                      <a:lnTo>
                        <a:pt x="116" y="1204"/>
                      </a:lnTo>
                      <a:lnTo>
                        <a:pt x="156" y="1105"/>
                      </a:lnTo>
                      <a:lnTo>
                        <a:pt x="201" y="1008"/>
                      </a:lnTo>
                      <a:lnTo>
                        <a:pt x="252" y="916"/>
                      </a:lnTo>
                      <a:lnTo>
                        <a:pt x="308" y="826"/>
                      </a:lnTo>
                      <a:lnTo>
                        <a:pt x="369" y="741"/>
                      </a:lnTo>
                      <a:lnTo>
                        <a:pt x="435" y="658"/>
                      </a:lnTo>
                      <a:lnTo>
                        <a:pt x="505" y="580"/>
                      </a:lnTo>
                      <a:lnTo>
                        <a:pt x="579" y="505"/>
                      </a:lnTo>
                      <a:lnTo>
                        <a:pt x="657" y="435"/>
                      </a:lnTo>
                      <a:lnTo>
                        <a:pt x="739" y="370"/>
                      </a:lnTo>
                      <a:lnTo>
                        <a:pt x="826" y="309"/>
                      </a:lnTo>
                      <a:lnTo>
                        <a:pt x="915" y="253"/>
                      </a:lnTo>
                      <a:lnTo>
                        <a:pt x="1008" y="203"/>
                      </a:lnTo>
                      <a:lnTo>
                        <a:pt x="1103" y="157"/>
                      </a:lnTo>
                      <a:lnTo>
                        <a:pt x="1203" y="116"/>
                      </a:lnTo>
                      <a:lnTo>
                        <a:pt x="1305" y="82"/>
                      </a:lnTo>
                      <a:lnTo>
                        <a:pt x="1409" y="53"/>
                      </a:lnTo>
                      <a:lnTo>
                        <a:pt x="1516" y="31"/>
                      </a:lnTo>
                      <a:lnTo>
                        <a:pt x="1625" y="14"/>
                      </a:lnTo>
                      <a:lnTo>
                        <a:pt x="1735" y="4"/>
                      </a:lnTo>
                      <a:lnTo>
                        <a:pt x="1847"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algn="ctr"/>
                  <a:endParaRPr lang="en-US" dirty="0">
                    <a:solidFill>
                      <a:srgbClr val="676767"/>
                    </a:solidFill>
                  </a:endParaRPr>
                </a:p>
              </p:txBody>
            </p:sp>
          </p:grpSp>
        </p:grpSp>
      </p:grpSp>
      <p:grpSp>
        <p:nvGrpSpPr>
          <p:cNvPr id="41" name="Group 40"/>
          <p:cNvGrpSpPr/>
          <p:nvPr/>
        </p:nvGrpSpPr>
        <p:grpSpPr>
          <a:xfrm>
            <a:off x="6725934" y="2086340"/>
            <a:ext cx="1967216" cy="1103700"/>
            <a:chOff x="6725934" y="2031866"/>
            <a:chExt cx="1967216" cy="1103700"/>
          </a:xfrm>
        </p:grpSpPr>
        <p:sp>
          <p:nvSpPr>
            <p:cNvPr id="141" name="Rectangle 12"/>
            <p:cNvSpPr>
              <a:spLocks noChangeArrowheads="1"/>
            </p:cNvSpPr>
            <p:nvPr/>
          </p:nvSpPr>
          <p:spPr bwMode="auto">
            <a:xfrm>
              <a:off x="6725934" y="2031866"/>
              <a:ext cx="1967216" cy="11037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lt1"/>
                </a:solidFill>
                <a:latin typeface="+mn-lt"/>
                <a:ea typeface="+mn-ea"/>
                <a:cs typeface="+mn-cs"/>
              </a:endParaRPr>
            </a:p>
          </p:txBody>
        </p:sp>
        <p:sp>
          <p:nvSpPr>
            <p:cNvPr id="142" name="Rectangle 141"/>
            <p:cNvSpPr/>
            <p:nvPr/>
          </p:nvSpPr>
          <p:spPr>
            <a:xfrm>
              <a:off x="7581580" y="2306717"/>
              <a:ext cx="1096330" cy="553998"/>
            </a:xfrm>
            <a:prstGeom prst="rect">
              <a:avLst/>
            </a:prstGeom>
          </p:spPr>
          <p:txBody>
            <a:bodyPr wrap="square" anchor="ctr">
              <a:spAutoFit/>
            </a:bodyPr>
            <a:lstStyle/>
            <a:p>
              <a:pPr>
                <a:spcAft>
                  <a:spcPts val="300"/>
                </a:spcAft>
              </a:pPr>
              <a:r>
                <a:rPr lang="en-US" sz="1500" kern="0" dirty="0" smtClean="0">
                  <a:solidFill>
                    <a:srgbClr val="FFFFFF"/>
                  </a:solidFill>
                </a:rPr>
                <a:t>Mitigate Risk</a:t>
              </a:r>
              <a:endParaRPr lang="en-US" sz="1500" dirty="0"/>
            </a:p>
          </p:txBody>
        </p:sp>
        <p:grpSp>
          <p:nvGrpSpPr>
            <p:cNvPr id="13" name="Group 12"/>
            <p:cNvGrpSpPr/>
            <p:nvPr/>
          </p:nvGrpSpPr>
          <p:grpSpPr>
            <a:xfrm>
              <a:off x="6818741" y="2225437"/>
              <a:ext cx="716374" cy="716558"/>
              <a:chOff x="6818741" y="2031866"/>
              <a:chExt cx="716374" cy="716558"/>
            </a:xfrm>
          </p:grpSpPr>
          <p:sp>
            <p:nvSpPr>
              <p:cNvPr id="144" name="Oval 143"/>
              <p:cNvSpPr>
                <a:spLocks noChangeAspect="1"/>
              </p:cNvSpPr>
              <p:nvPr/>
            </p:nvSpPr>
            <p:spPr>
              <a:xfrm>
                <a:off x="6818741" y="2031866"/>
                <a:ext cx="716374" cy="716558"/>
              </a:xfrm>
              <a:prstGeom prst="ellipse">
                <a:avLst/>
              </a:prstGeom>
              <a:solidFill>
                <a:schemeClr val="accent6">
                  <a:lumMod val="75000"/>
                </a:schemeClr>
              </a:solidFill>
              <a:ln w="9525" cap="flat" cmpd="sng" algn="ctr">
                <a:solidFill>
                  <a:schemeClr val="bg1">
                    <a:alpha val="70000"/>
                  </a:schemeClr>
                </a:solidFill>
                <a:prstDash val="solid"/>
                <a:roun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82124" tIns="41061" rIns="82124" bIns="41061" numCol="1" spcCol="0" rtlCol="0" fromWordArt="0" anchor="ctr" anchorCtr="0" forceAA="0" compatLnSpc="1">
                <a:prstTxWarp prst="textNoShape">
                  <a:avLst/>
                </a:prstTxWarp>
                <a:noAutofit/>
              </a:bodyPr>
              <a:lstStyle/>
              <a:p>
                <a:pPr marL="0" marR="0" lvl="0" indent="0" algn="ctr" defTabSz="1085661"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FFFFFF"/>
                  </a:solidFill>
                  <a:effectLst/>
                  <a:uLnTx/>
                  <a:uFillTx/>
                  <a:latin typeface="Arial"/>
                  <a:cs typeface="Arial" charset="0"/>
                </a:endParaRPr>
              </a:p>
            </p:txBody>
          </p:sp>
          <p:grpSp>
            <p:nvGrpSpPr>
              <p:cNvPr id="153" name="Group 152"/>
              <p:cNvGrpSpPr/>
              <p:nvPr/>
            </p:nvGrpSpPr>
            <p:grpSpPr>
              <a:xfrm>
                <a:off x="7008130" y="2148598"/>
                <a:ext cx="359192" cy="421851"/>
                <a:chOff x="4585714" y="753841"/>
                <a:chExt cx="327025" cy="384175"/>
              </a:xfrm>
              <a:solidFill>
                <a:srgbClr val="FFFFFF"/>
              </a:solidFill>
              <a:effectLst/>
            </p:grpSpPr>
            <p:sp>
              <p:nvSpPr>
                <p:cNvPr id="154" name="Freeform 153"/>
                <p:cNvSpPr>
                  <a:spLocks/>
                </p:cNvSpPr>
                <p:nvPr/>
              </p:nvSpPr>
              <p:spPr bwMode="auto">
                <a:xfrm flipH="1">
                  <a:off x="4585714" y="753841"/>
                  <a:ext cx="327025" cy="384175"/>
                </a:xfrm>
                <a:custGeom>
                  <a:avLst/>
                  <a:gdLst>
                    <a:gd name="T0" fmla="*/ 121 w 206"/>
                    <a:gd name="T1" fmla="*/ 20 h 242"/>
                    <a:gd name="T2" fmla="*/ 124 w 206"/>
                    <a:gd name="T3" fmla="*/ 15 h 242"/>
                    <a:gd name="T4" fmla="*/ 124 w 206"/>
                    <a:gd name="T5" fmla="*/ 7 h 242"/>
                    <a:gd name="T6" fmla="*/ 121 w 206"/>
                    <a:gd name="T7" fmla="*/ 4 h 242"/>
                    <a:gd name="T8" fmla="*/ 112 w 206"/>
                    <a:gd name="T9" fmla="*/ 0 h 242"/>
                    <a:gd name="T10" fmla="*/ 104 w 206"/>
                    <a:gd name="T11" fmla="*/ 4 h 242"/>
                    <a:gd name="T12" fmla="*/ 67 w 206"/>
                    <a:gd name="T13" fmla="*/ 41 h 242"/>
                    <a:gd name="T14" fmla="*/ 63 w 206"/>
                    <a:gd name="T15" fmla="*/ 49 h 242"/>
                    <a:gd name="T16" fmla="*/ 67 w 206"/>
                    <a:gd name="T17" fmla="*/ 58 h 242"/>
                    <a:gd name="T18" fmla="*/ 104 w 206"/>
                    <a:gd name="T19" fmla="*/ 95 h 242"/>
                    <a:gd name="T20" fmla="*/ 112 w 206"/>
                    <a:gd name="T21" fmla="*/ 98 h 242"/>
                    <a:gd name="T22" fmla="*/ 121 w 206"/>
                    <a:gd name="T23" fmla="*/ 95 h 242"/>
                    <a:gd name="T24" fmla="*/ 124 w 206"/>
                    <a:gd name="T25" fmla="*/ 90 h 242"/>
                    <a:gd name="T26" fmla="*/ 124 w 206"/>
                    <a:gd name="T27" fmla="*/ 82 h 242"/>
                    <a:gd name="T28" fmla="*/ 103 w 206"/>
                    <a:gd name="T29" fmla="*/ 59 h 242"/>
                    <a:gd name="T30" fmla="*/ 103 w 206"/>
                    <a:gd name="T31" fmla="*/ 59 h 242"/>
                    <a:gd name="T32" fmla="*/ 134 w 206"/>
                    <a:gd name="T33" fmla="*/ 66 h 242"/>
                    <a:gd name="T34" fmla="*/ 160 w 206"/>
                    <a:gd name="T35" fmla="*/ 84 h 242"/>
                    <a:gd name="T36" fmla="*/ 176 w 206"/>
                    <a:gd name="T37" fmla="*/ 108 h 242"/>
                    <a:gd name="T38" fmla="*/ 183 w 206"/>
                    <a:gd name="T39" fmla="*/ 139 h 242"/>
                    <a:gd name="T40" fmla="*/ 181 w 206"/>
                    <a:gd name="T41" fmla="*/ 156 h 242"/>
                    <a:gd name="T42" fmla="*/ 170 w 206"/>
                    <a:gd name="T43" fmla="*/ 185 h 242"/>
                    <a:gd name="T44" fmla="*/ 148 w 206"/>
                    <a:gd name="T45" fmla="*/ 206 h 242"/>
                    <a:gd name="T46" fmla="*/ 119 w 206"/>
                    <a:gd name="T47" fmla="*/ 218 h 242"/>
                    <a:gd name="T48" fmla="*/ 103 w 206"/>
                    <a:gd name="T49" fmla="*/ 219 h 242"/>
                    <a:gd name="T50" fmla="*/ 72 w 206"/>
                    <a:gd name="T51" fmla="*/ 213 h 242"/>
                    <a:gd name="T52" fmla="*/ 45 w 206"/>
                    <a:gd name="T53" fmla="*/ 197 h 242"/>
                    <a:gd name="T54" fmla="*/ 29 w 206"/>
                    <a:gd name="T55" fmla="*/ 170 h 242"/>
                    <a:gd name="T56" fmla="*/ 23 w 206"/>
                    <a:gd name="T57" fmla="*/ 139 h 242"/>
                    <a:gd name="T58" fmla="*/ 23 w 206"/>
                    <a:gd name="T59" fmla="*/ 136 h 242"/>
                    <a:gd name="T60" fmla="*/ 16 w 206"/>
                    <a:gd name="T61" fmla="*/ 129 h 242"/>
                    <a:gd name="T62" fmla="*/ 11 w 206"/>
                    <a:gd name="T63" fmla="*/ 128 h 242"/>
                    <a:gd name="T64" fmla="*/ 3 w 206"/>
                    <a:gd name="T65" fmla="*/ 131 h 242"/>
                    <a:gd name="T66" fmla="*/ 0 w 206"/>
                    <a:gd name="T67" fmla="*/ 139 h 242"/>
                    <a:gd name="T68" fmla="*/ 1 w 206"/>
                    <a:gd name="T69" fmla="*/ 151 h 242"/>
                    <a:gd name="T70" fmla="*/ 5 w 206"/>
                    <a:gd name="T71" fmla="*/ 170 h 242"/>
                    <a:gd name="T72" fmla="*/ 18 w 206"/>
                    <a:gd name="T73" fmla="*/ 197 h 242"/>
                    <a:gd name="T74" fmla="*/ 45 w 206"/>
                    <a:gd name="T75" fmla="*/ 224 h 242"/>
                    <a:gd name="T76" fmla="*/ 72 w 206"/>
                    <a:gd name="T77" fmla="*/ 237 h 242"/>
                    <a:gd name="T78" fmla="*/ 93 w 206"/>
                    <a:gd name="T79" fmla="*/ 242 h 242"/>
                    <a:gd name="T80" fmla="*/ 103 w 206"/>
                    <a:gd name="T81" fmla="*/ 242 h 242"/>
                    <a:gd name="T82" fmla="*/ 124 w 206"/>
                    <a:gd name="T83" fmla="*/ 241 h 242"/>
                    <a:gd name="T84" fmla="*/ 144 w 206"/>
                    <a:gd name="T85" fmla="*/ 234 h 242"/>
                    <a:gd name="T86" fmla="*/ 176 w 206"/>
                    <a:gd name="T87" fmla="*/ 213 h 242"/>
                    <a:gd name="T88" fmla="*/ 197 w 206"/>
                    <a:gd name="T89" fmla="*/ 180 h 242"/>
                    <a:gd name="T90" fmla="*/ 204 w 206"/>
                    <a:gd name="T91" fmla="*/ 161 h 242"/>
                    <a:gd name="T92" fmla="*/ 206 w 206"/>
                    <a:gd name="T93" fmla="*/ 139 h 242"/>
                    <a:gd name="T94" fmla="*/ 206 w 206"/>
                    <a:gd name="T95" fmla="*/ 129 h 242"/>
                    <a:gd name="T96" fmla="*/ 201 w 206"/>
                    <a:gd name="T97" fmla="*/ 110 h 242"/>
                    <a:gd name="T98" fmla="*/ 188 w 206"/>
                    <a:gd name="T99" fmla="*/ 82 h 242"/>
                    <a:gd name="T100" fmla="*/ 161 w 206"/>
                    <a:gd name="T101" fmla="*/ 54 h 242"/>
                    <a:gd name="T102" fmla="*/ 134 w 206"/>
                    <a:gd name="T103" fmla="*/ 41 h 242"/>
                    <a:gd name="T104" fmla="*/ 114 w 206"/>
                    <a:gd name="T105" fmla="*/ 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6" h="242">
                      <a:moveTo>
                        <a:pt x="104" y="36"/>
                      </a:moveTo>
                      <a:lnTo>
                        <a:pt x="121" y="20"/>
                      </a:lnTo>
                      <a:lnTo>
                        <a:pt x="121" y="20"/>
                      </a:lnTo>
                      <a:lnTo>
                        <a:pt x="124" y="15"/>
                      </a:lnTo>
                      <a:lnTo>
                        <a:pt x="124" y="12"/>
                      </a:lnTo>
                      <a:lnTo>
                        <a:pt x="124" y="7"/>
                      </a:lnTo>
                      <a:lnTo>
                        <a:pt x="121" y="4"/>
                      </a:lnTo>
                      <a:lnTo>
                        <a:pt x="121" y="4"/>
                      </a:lnTo>
                      <a:lnTo>
                        <a:pt x="117" y="0"/>
                      </a:lnTo>
                      <a:lnTo>
                        <a:pt x="112" y="0"/>
                      </a:lnTo>
                      <a:lnTo>
                        <a:pt x="109" y="0"/>
                      </a:lnTo>
                      <a:lnTo>
                        <a:pt x="104" y="4"/>
                      </a:lnTo>
                      <a:lnTo>
                        <a:pt x="67" y="41"/>
                      </a:lnTo>
                      <a:lnTo>
                        <a:pt x="67" y="41"/>
                      </a:lnTo>
                      <a:lnTo>
                        <a:pt x="65" y="44"/>
                      </a:lnTo>
                      <a:lnTo>
                        <a:pt x="63" y="49"/>
                      </a:lnTo>
                      <a:lnTo>
                        <a:pt x="65" y="53"/>
                      </a:lnTo>
                      <a:lnTo>
                        <a:pt x="67" y="58"/>
                      </a:lnTo>
                      <a:lnTo>
                        <a:pt x="104" y="95"/>
                      </a:lnTo>
                      <a:lnTo>
                        <a:pt x="104" y="95"/>
                      </a:lnTo>
                      <a:lnTo>
                        <a:pt x="109" y="97"/>
                      </a:lnTo>
                      <a:lnTo>
                        <a:pt x="112" y="98"/>
                      </a:lnTo>
                      <a:lnTo>
                        <a:pt x="117" y="97"/>
                      </a:lnTo>
                      <a:lnTo>
                        <a:pt x="121" y="95"/>
                      </a:lnTo>
                      <a:lnTo>
                        <a:pt x="121" y="95"/>
                      </a:lnTo>
                      <a:lnTo>
                        <a:pt x="124" y="90"/>
                      </a:lnTo>
                      <a:lnTo>
                        <a:pt x="124" y="87"/>
                      </a:lnTo>
                      <a:lnTo>
                        <a:pt x="124" y="82"/>
                      </a:lnTo>
                      <a:lnTo>
                        <a:pt x="121" y="79"/>
                      </a:lnTo>
                      <a:lnTo>
                        <a:pt x="103" y="59"/>
                      </a:lnTo>
                      <a:lnTo>
                        <a:pt x="103" y="59"/>
                      </a:lnTo>
                      <a:lnTo>
                        <a:pt x="103" y="59"/>
                      </a:lnTo>
                      <a:lnTo>
                        <a:pt x="119" y="61"/>
                      </a:lnTo>
                      <a:lnTo>
                        <a:pt x="134" y="66"/>
                      </a:lnTo>
                      <a:lnTo>
                        <a:pt x="148" y="74"/>
                      </a:lnTo>
                      <a:lnTo>
                        <a:pt x="160" y="84"/>
                      </a:lnTo>
                      <a:lnTo>
                        <a:pt x="170" y="95"/>
                      </a:lnTo>
                      <a:lnTo>
                        <a:pt x="176" y="108"/>
                      </a:lnTo>
                      <a:lnTo>
                        <a:pt x="181" y="123"/>
                      </a:lnTo>
                      <a:lnTo>
                        <a:pt x="183" y="139"/>
                      </a:lnTo>
                      <a:lnTo>
                        <a:pt x="183" y="139"/>
                      </a:lnTo>
                      <a:lnTo>
                        <a:pt x="181" y="156"/>
                      </a:lnTo>
                      <a:lnTo>
                        <a:pt x="176" y="170"/>
                      </a:lnTo>
                      <a:lnTo>
                        <a:pt x="170" y="185"/>
                      </a:lnTo>
                      <a:lnTo>
                        <a:pt x="160" y="197"/>
                      </a:lnTo>
                      <a:lnTo>
                        <a:pt x="148" y="206"/>
                      </a:lnTo>
                      <a:lnTo>
                        <a:pt x="134" y="213"/>
                      </a:lnTo>
                      <a:lnTo>
                        <a:pt x="119" y="218"/>
                      </a:lnTo>
                      <a:lnTo>
                        <a:pt x="103" y="219"/>
                      </a:lnTo>
                      <a:lnTo>
                        <a:pt x="103" y="219"/>
                      </a:lnTo>
                      <a:lnTo>
                        <a:pt x="86" y="218"/>
                      </a:lnTo>
                      <a:lnTo>
                        <a:pt x="72" y="213"/>
                      </a:lnTo>
                      <a:lnTo>
                        <a:pt x="58" y="206"/>
                      </a:lnTo>
                      <a:lnTo>
                        <a:pt x="45" y="197"/>
                      </a:lnTo>
                      <a:lnTo>
                        <a:pt x="36" y="185"/>
                      </a:lnTo>
                      <a:lnTo>
                        <a:pt x="29" y="170"/>
                      </a:lnTo>
                      <a:lnTo>
                        <a:pt x="24" y="156"/>
                      </a:lnTo>
                      <a:lnTo>
                        <a:pt x="23" y="139"/>
                      </a:lnTo>
                      <a:lnTo>
                        <a:pt x="23" y="139"/>
                      </a:lnTo>
                      <a:lnTo>
                        <a:pt x="23" y="136"/>
                      </a:lnTo>
                      <a:lnTo>
                        <a:pt x="19" y="131"/>
                      </a:lnTo>
                      <a:lnTo>
                        <a:pt x="16" y="129"/>
                      </a:lnTo>
                      <a:lnTo>
                        <a:pt x="11" y="128"/>
                      </a:lnTo>
                      <a:lnTo>
                        <a:pt x="11" y="128"/>
                      </a:lnTo>
                      <a:lnTo>
                        <a:pt x="6" y="129"/>
                      </a:lnTo>
                      <a:lnTo>
                        <a:pt x="3" y="131"/>
                      </a:lnTo>
                      <a:lnTo>
                        <a:pt x="1" y="136"/>
                      </a:lnTo>
                      <a:lnTo>
                        <a:pt x="0" y="139"/>
                      </a:lnTo>
                      <a:lnTo>
                        <a:pt x="0" y="139"/>
                      </a:lnTo>
                      <a:lnTo>
                        <a:pt x="1" y="151"/>
                      </a:lnTo>
                      <a:lnTo>
                        <a:pt x="1" y="161"/>
                      </a:lnTo>
                      <a:lnTo>
                        <a:pt x="5" y="170"/>
                      </a:lnTo>
                      <a:lnTo>
                        <a:pt x="8" y="180"/>
                      </a:lnTo>
                      <a:lnTo>
                        <a:pt x="18" y="197"/>
                      </a:lnTo>
                      <a:lnTo>
                        <a:pt x="31" y="213"/>
                      </a:lnTo>
                      <a:lnTo>
                        <a:pt x="45" y="224"/>
                      </a:lnTo>
                      <a:lnTo>
                        <a:pt x="63" y="234"/>
                      </a:lnTo>
                      <a:lnTo>
                        <a:pt x="72" y="237"/>
                      </a:lnTo>
                      <a:lnTo>
                        <a:pt x="81" y="241"/>
                      </a:lnTo>
                      <a:lnTo>
                        <a:pt x="93" y="242"/>
                      </a:lnTo>
                      <a:lnTo>
                        <a:pt x="103" y="242"/>
                      </a:lnTo>
                      <a:lnTo>
                        <a:pt x="103" y="242"/>
                      </a:lnTo>
                      <a:lnTo>
                        <a:pt x="114" y="242"/>
                      </a:lnTo>
                      <a:lnTo>
                        <a:pt x="124" y="241"/>
                      </a:lnTo>
                      <a:lnTo>
                        <a:pt x="134" y="237"/>
                      </a:lnTo>
                      <a:lnTo>
                        <a:pt x="144" y="234"/>
                      </a:lnTo>
                      <a:lnTo>
                        <a:pt x="160" y="224"/>
                      </a:lnTo>
                      <a:lnTo>
                        <a:pt x="176" y="213"/>
                      </a:lnTo>
                      <a:lnTo>
                        <a:pt x="188" y="197"/>
                      </a:lnTo>
                      <a:lnTo>
                        <a:pt x="197" y="180"/>
                      </a:lnTo>
                      <a:lnTo>
                        <a:pt x="201" y="170"/>
                      </a:lnTo>
                      <a:lnTo>
                        <a:pt x="204" y="161"/>
                      </a:lnTo>
                      <a:lnTo>
                        <a:pt x="206" y="151"/>
                      </a:lnTo>
                      <a:lnTo>
                        <a:pt x="206" y="139"/>
                      </a:lnTo>
                      <a:lnTo>
                        <a:pt x="206" y="139"/>
                      </a:lnTo>
                      <a:lnTo>
                        <a:pt x="206" y="129"/>
                      </a:lnTo>
                      <a:lnTo>
                        <a:pt x="204" y="120"/>
                      </a:lnTo>
                      <a:lnTo>
                        <a:pt x="201" y="110"/>
                      </a:lnTo>
                      <a:lnTo>
                        <a:pt x="197" y="100"/>
                      </a:lnTo>
                      <a:lnTo>
                        <a:pt x="188" y="82"/>
                      </a:lnTo>
                      <a:lnTo>
                        <a:pt x="176" y="67"/>
                      </a:lnTo>
                      <a:lnTo>
                        <a:pt x="161" y="54"/>
                      </a:lnTo>
                      <a:lnTo>
                        <a:pt x="144" y="44"/>
                      </a:lnTo>
                      <a:lnTo>
                        <a:pt x="134" y="41"/>
                      </a:lnTo>
                      <a:lnTo>
                        <a:pt x="124" y="40"/>
                      </a:lnTo>
                      <a:lnTo>
                        <a:pt x="114" y="38"/>
                      </a:lnTo>
                      <a:lnTo>
                        <a:pt x="104" y="36"/>
                      </a:lnTo>
                      <a:close/>
                    </a:path>
                  </a:pathLst>
                </a:custGeom>
                <a:grpFill/>
                <a:ln w="9525">
                  <a:noFill/>
                  <a:round/>
                  <a:headEnd/>
                  <a:tailEnd/>
                </a:ln>
                <a:effectLst>
                  <a:outerShdw blurRad="50800" dist="12700" dir="5400000" algn="t" rotWithShape="0">
                    <a:prstClr val="black">
                      <a:alpha val="40000"/>
                    </a:prstClr>
                  </a:outerShdw>
                </a:effectLst>
                <a:extLst/>
              </p:spPr>
              <p:txBody>
                <a:bodyPr vert="horz" wrap="square" lIns="91440" tIns="45720" rIns="91440" bIns="45720" numCol="1" anchor="t" anchorCtr="0" compatLnSpc="1">
                  <a:prstTxWarp prst="textNoShape">
                    <a:avLst/>
                  </a:prstTxWarp>
                </a:bodyPr>
                <a:lstStyle/>
                <a:p>
                  <a:pPr defTabSz="696545"/>
                  <a:endParaRPr lang="en-US" sz="1400" dirty="0">
                    <a:solidFill>
                      <a:srgbClr val="FFFFFF"/>
                    </a:solidFill>
                    <a:latin typeface="Arial"/>
                  </a:endParaRPr>
                </a:p>
              </p:txBody>
            </p:sp>
            <p:sp>
              <p:nvSpPr>
                <p:cNvPr id="155" name="Freeform 154"/>
                <p:cNvSpPr>
                  <a:spLocks/>
                </p:cNvSpPr>
                <p:nvPr/>
              </p:nvSpPr>
              <p:spPr bwMode="auto">
                <a:xfrm>
                  <a:off x="4694265" y="910717"/>
                  <a:ext cx="147638" cy="125412"/>
                </a:xfrm>
                <a:custGeom>
                  <a:avLst/>
                  <a:gdLst>
                    <a:gd name="T0" fmla="*/ 74 w 93"/>
                    <a:gd name="T1" fmla="*/ 4 h 79"/>
                    <a:gd name="T2" fmla="*/ 39 w 93"/>
                    <a:gd name="T3" fmla="*/ 53 h 79"/>
                    <a:gd name="T4" fmla="*/ 18 w 93"/>
                    <a:gd name="T5" fmla="*/ 30 h 79"/>
                    <a:gd name="T6" fmla="*/ 18 w 93"/>
                    <a:gd name="T7" fmla="*/ 30 h 79"/>
                    <a:gd name="T8" fmla="*/ 15 w 93"/>
                    <a:gd name="T9" fmla="*/ 28 h 79"/>
                    <a:gd name="T10" fmla="*/ 10 w 93"/>
                    <a:gd name="T11" fmla="*/ 27 h 79"/>
                    <a:gd name="T12" fmla="*/ 7 w 93"/>
                    <a:gd name="T13" fmla="*/ 28 h 79"/>
                    <a:gd name="T14" fmla="*/ 3 w 93"/>
                    <a:gd name="T15" fmla="*/ 30 h 79"/>
                    <a:gd name="T16" fmla="*/ 3 w 93"/>
                    <a:gd name="T17" fmla="*/ 30 h 79"/>
                    <a:gd name="T18" fmla="*/ 0 w 93"/>
                    <a:gd name="T19" fmla="*/ 33 h 79"/>
                    <a:gd name="T20" fmla="*/ 0 w 93"/>
                    <a:gd name="T21" fmla="*/ 38 h 79"/>
                    <a:gd name="T22" fmla="*/ 0 w 93"/>
                    <a:gd name="T23" fmla="*/ 41 h 79"/>
                    <a:gd name="T24" fmla="*/ 3 w 93"/>
                    <a:gd name="T25" fmla="*/ 46 h 79"/>
                    <a:gd name="T26" fmla="*/ 34 w 93"/>
                    <a:gd name="T27" fmla="*/ 77 h 79"/>
                    <a:gd name="T28" fmla="*/ 34 w 93"/>
                    <a:gd name="T29" fmla="*/ 77 h 79"/>
                    <a:gd name="T30" fmla="*/ 34 w 93"/>
                    <a:gd name="T31" fmla="*/ 77 h 79"/>
                    <a:gd name="T32" fmla="*/ 34 w 93"/>
                    <a:gd name="T33" fmla="*/ 77 h 79"/>
                    <a:gd name="T34" fmla="*/ 36 w 93"/>
                    <a:gd name="T35" fmla="*/ 77 h 79"/>
                    <a:gd name="T36" fmla="*/ 36 w 93"/>
                    <a:gd name="T37" fmla="*/ 77 h 79"/>
                    <a:gd name="T38" fmla="*/ 36 w 93"/>
                    <a:gd name="T39" fmla="*/ 79 h 79"/>
                    <a:gd name="T40" fmla="*/ 36 w 93"/>
                    <a:gd name="T41" fmla="*/ 79 h 79"/>
                    <a:gd name="T42" fmla="*/ 39 w 93"/>
                    <a:gd name="T43" fmla="*/ 79 h 79"/>
                    <a:gd name="T44" fmla="*/ 39 w 93"/>
                    <a:gd name="T45" fmla="*/ 79 h 79"/>
                    <a:gd name="T46" fmla="*/ 41 w 93"/>
                    <a:gd name="T47" fmla="*/ 79 h 79"/>
                    <a:gd name="T48" fmla="*/ 41 w 93"/>
                    <a:gd name="T49" fmla="*/ 79 h 79"/>
                    <a:gd name="T50" fmla="*/ 43 w 93"/>
                    <a:gd name="T51" fmla="*/ 79 h 79"/>
                    <a:gd name="T52" fmla="*/ 43 w 93"/>
                    <a:gd name="T53" fmla="*/ 79 h 79"/>
                    <a:gd name="T54" fmla="*/ 44 w 93"/>
                    <a:gd name="T55" fmla="*/ 79 h 79"/>
                    <a:gd name="T56" fmla="*/ 44 w 93"/>
                    <a:gd name="T57" fmla="*/ 79 h 79"/>
                    <a:gd name="T58" fmla="*/ 46 w 93"/>
                    <a:gd name="T59" fmla="*/ 79 h 79"/>
                    <a:gd name="T60" fmla="*/ 46 w 93"/>
                    <a:gd name="T61" fmla="*/ 79 h 79"/>
                    <a:gd name="T62" fmla="*/ 48 w 93"/>
                    <a:gd name="T63" fmla="*/ 77 h 79"/>
                    <a:gd name="T64" fmla="*/ 48 w 93"/>
                    <a:gd name="T65" fmla="*/ 77 h 79"/>
                    <a:gd name="T66" fmla="*/ 49 w 93"/>
                    <a:gd name="T67" fmla="*/ 77 h 79"/>
                    <a:gd name="T68" fmla="*/ 49 w 93"/>
                    <a:gd name="T69" fmla="*/ 77 h 79"/>
                    <a:gd name="T70" fmla="*/ 49 w 93"/>
                    <a:gd name="T71" fmla="*/ 76 h 79"/>
                    <a:gd name="T72" fmla="*/ 49 w 93"/>
                    <a:gd name="T73" fmla="*/ 76 h 79"/>
                    <a:gd name="T74" fmla="*/ 51 w 93"/>
                    <a:gd name="T75" fmla="*/ 76 h 79"/>
                    <a:gd name="T76" fmla="*/ 92 w 93"/>
                    <a:gd name="T77" fmla="*/ 17 h 79"/>
                    <a:gd name="T78" fmla="*/ 92 w 93"/>
                    <a:gd name="T79" fmla="*/ 17 h 79"/>
                    <a:gd name="T80" fmla="*/ 93 w 93"/>
                    <a:gd name="T81" fmla="*/ 12 h 79"/>
                    <a:gd name="T82" fmla="*/ 93 w 93"/>
                    <a:gd name="T83" fmla="*/ 9 h 79"/>
                    <a:gd name="T84" fmla="*/ 92 w 93"/>
                    <a:gd name="T85" fmla="*/ 4 h 79"/>
                    <a:gd name="T86" fmla="*/ 88 w 93"/>
                    <a:gd name="T87" fmla="*/ 2 h 79"/>
                    <a:gd name="T88" fmla="*/ 88 w 93"/>
                    <a:gd name="T89" fmla="*/ 2 h 79"/>
                    <a:gd name="T90" fmla="*/ 85 w 93"/>
                    <a:gd name="T91" fmla="*/ 0 h 79"/>
                    <a:gd name="T92" fmla="*/ 80 w 93"/>
                    <a:gd name="T93" fmla="*/ 0 h 79"/>
                    <a:gd name="T94" fmla="*/ 77 w 93"/>
                    <a:gd name="T95" fmla="*/ 0 h 79"/>
                    <a:gd name="T96" fmla="*/ 74 w 93"/>
                    <a:gd name="T97" fmla="*/ 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3" h="79">
                      <a:moveTo>
                        <a:pt x="74" y="4"/>
                      </a:moveTo>
                      <a:lnTo>
                        <a:pt x="39" y="53"/>
                      </a:lnTo>
                      <a:lnTo>
                        <a:pt x="18" y="30"/>
                      </a:lnTo>
                      <a:lnTo>
                        <a:pt x="18" y="30"/>
                      </a:lnTo>
                      <a:lnTo>
                        <a:pt x="15" y="28"/>
                      </a:lnTo>
                      <a:lnTo>
                        <a:pt x="10" y="27"/>
                      </a:lnTo>
                      <a:lnTo>
                        <a:pt x="7" y="28"/>
                      </a:lnTo>
                      <a:lnTo>
                        <a:pt x="3" y="30"/>
                      </a:lnTo>
                      <a:lnTo>
                        <a:pt x="3" y="30"/>
                      </a:lnTo>
                      <a:lnTo>
                        <a:pt x="0" y="33"/>
                      </a:lnTo>
                      <a:lnTo>
                        <a:pt x="0" y="38"/>
                      </a:lnTo>
                      <a:lnTo>
                        <a:pt x="0" y="41"/>
                      </a:lnTo>
                      <a:lnTo>
                        <a:pt x="3" y="46"/>
                      </a:lnTo>
                      <a:lnTo>
                        <a:pt x="34" y="77"/>
                      </a:lnTo>
                      <a:lnTo>
                        <a:pt x="34" y="77"/>
                      </a:lnTo>
                      <a:lnTo>
                        <a:pt x="34" y="77"/>
                      </a:lnTo>
                      <a:lnTo>
                        <a:pt x="34" y="77"/>
                      </a:lnTo>
                      <a:lnTo>
                        <a:pt x="36" y="77"/>
                      </a:lnTo>
                      <a:lnTo>
                        <a:pt x="36" y="77"/>
                      </a:lnTo>
                      <a:lnTo>
                        <a:pt x="36" y="79"/>
                      </a:lnTo>
                      <a:lnTo>
                        <a:pt x="36" y="79"/>
                      </a:lnTo>
                      <a:lnTo>
                        <a:pt x="39" y="79"/>
                      </a:lnTo>
                      <a:lnTo>
                        <a:pt x="39" y="79"/>
                      </a:lnTo>
                      <a:lnTo>
                        <a:pt x="41" y="79"/>
                      </a:lnTo>
                      <a:lnTo>
                        <a:pt x="41" y="79"/>
                      </a:lnTo>
                      <a:lnTo>
                        <a:pt x="43" y="79"/>
                      </a:lnTo>
                      <a:lnTo>
                        <a:pt x="43" y="79"/>
                      </a:lnTo>
                      <a:lnTo>
                        <a:pt x="44" y="79"/>
                      </a:lnTo>
                      <a:lnTo>
                        <a:pt x="44" y="79"/>
                      </a:lnTo>
                      <a:lnTo>
                        <a:pt x="46" y="79"/>
                      </a:lnTo>
                      <a:lnTo>
                        <a:pt x="46" y="79"/>
                      </a:lnTo>
                      <a:lnTo>
                        <a:pt x="48" y="77"/>
                      </a:lnTo>
                      <a:lnTo>
                        <a:pt x="48" y="77"/>
                      </a:lnTo>
                      <a:lnTo>
                        <a:pt x="49" y="77"/>
                      </a:lnTo>
                      <a:lnTo>
                        <a:pt x="49" y="77"/>
                      </a:lnTo>
                      <a:lnTo>
                        <a:pt x="49" y="76"/>
                      </a:lnTo>
                      <a:lnTo>
                        <a:pt x="49" y="76"/>
                      </a:lnTo>
                      <a:lnTo>
                        <a:pt x="51" y="76"/>
                      </a:lnTo>
                      <a:lnTo>
                        <a:pt x="92" y="17"/>
                      </a:lnTo>
                      <a:lnTo>
                        <a:pt x="92" y="17"/>
                      </a:lnTo>
                      <a:lnTo>
                        <a:pt x="93" y="12"/>
                      </a:lnTo>
                      <a:lnTo>
                        <a:pt x="93" y="9"/>
                      </a:lnTo>
                      <a:lnTo>
                        <a:pt x="92" y="4"/>
                      </a:lnTo>
                      <a:lnTo>
                        <a:pt x="88" y="2"/>
                      </a:lnTo>
                      <a:lnTo>
                        <a:pt x="88" y="2"/>
                      </a:lnTo>
                      <a:lnTo>
                        <a:pt x="85" y="0"/>
                      </a:lnTo>
                      <a:lnTo>
                        <a:pt x="80" y="0"/>
                      </a:lnTo>
                      <a:lnTo>
                        <a:pt x="77" y="0"/>
                      </a:lnTo>
                      <a:lnTo>
                        <a:pt x="74" y="4"/>
                      </a:lnTo>
                      <a:close/>
                    </a:path>
                  </a:pathLst>
                </a:custGeom>
                <a:grpFill/>
                <a:ln w="9525">
                  <a:noFill/>
                  <a:round/>
                  <a:headEnd/>
                  <a:tailEnd/>
                </a:ln>
                <a:effectLst>
                  <a:outerShdw blurRad="50800" dist="12700" dir="5400000" algn="t" rotWithShape="0">
                    <a:prstClr val="black">
                      <a:alpha val="40000"/>
                    </a:prstClr>
                  </a:outerShdw>
                </a:effectLst>
                <a:extLst/>
              </p:spPr>
              <p:txBody>
                <a:bodyPr vert="horz" wrap="square" lIns="91440" tIns="45720" rIns="91440" bIns="45720" numCol="1" anchor="t" anchorCtr="0" compatLnSpc="1">
                  <a:prstTxWarp prst="textNoShape">
                    <a:avLst/>
                  </a:prstTxWarp>
                </a:bodyPr>
                <a:lstStyle/>
                <a:p>
                  <a:pPr defTabSz="696545"/>
                  <a:endParaRPr lang="en-US" sz="1400" dirty="0">
                    <a:solidFill>
                      <a:srgbClr val="FFFFFF"/>
                    </a:solidFill>
                    <a:latin typeface="Arial"/>
                  </a:endParaRPr>
                </a:p>
              </p:txBody>
            </p:sp>
          </p:grpSp>
        </p:grpSp>
      </p:grpSp>
      <p:grpSp>
        <p:nvGrpSpPr>
          <p:cNvPr id="8" name="Group 7"/>
          <p:cNvGrpSpPr/>
          <p:nvPr/>
        </p:nvGrpSpPr>
        <p:grpSpPr>
          <a:xfrm>
            <a:off x="457200" y="1417598"/>
            <a:ext cx="8235953" cy="369332"/>
            <a:chOff x="457200" y="1780450"/>
            <a:chExt cx="8235953" cy="369332"/>
          </a:xfrm>
        </p:grpSpPr>
        <p:sp>
          <p:nvSpPr>
            <p:cNvPr id="72" name="Rounded Rectangle 71"/>
            <p:cNvSpPr/>
            <p:nvPr/>
          </p:nvSpPr>
          <p:spPr>
            <a:xfrm rot="16200000">
              <a:off x="4406966" y="-2152860"/>
              <a:ext cx="336422" cy="8235953"/>
            </a:xfrm>
            <a:prstGeom prst="roundRect">
              <a:avLst>
                <a:gd name="adj" fmla="val 50000"/>
              </a:avLst>
            </a:prstGeom>
            <a:gradFill flip="none" rotWithShape="1">
              <a:gsLst>
                <a:gs pos="63000">
                  <a:schemeClr val="accent5"/>
                </a:gs>
                <a:gs pos="36000">
                  <a:schemeClr val="accent4"/>
                </a:gs>
                <a:gs pos="16000">
                  <a:schemeClr val="accent6"/>
                </a:gs>
                <a:gs pos="84000">
                  <a:schemeClr val="accent1"/>
                </a:gs>
              </a:gsLst>
              <a:lin ang="16200000" scaled="1"/>
              <a:tileRect/>
            </a:gradFill>
            <a:ln w="25400" cap="flat" cmpd="sng" algn="ctr">
              <a:noFill/>
              <a:prstDash val="solid"/>
            </a:ln>
            <a:effectLst/>
          </p:spPr>
          <p:txBody>
            <a:bodyPr vert="vert" lIns="68588" tIns="34295" rIns="68588" bIns="34295" rtlCol="0" anchor="ctr"/>
            <a:lstStyle/>
            <a:p>
              <a:pPr algn="ctr" defTabSz="914378">
                <a:defRPr/>
              </a:pPr>
              <a:endParaRPr lang="en-US" sz="700" kern="0" dirty="0">
                <a:solidFill>
                  <a:srgbClr val="FFFFFF"/>
                </a:solidFill>
                <a:ea typeface="ＭＳ Ｐゴシック" pitchFamily="34" charset="-128"/>
              </a:endParaRPr>
            </a:p>
          </p:txBody>
        </p:sp>
        <p:sp>
          <p:nvSpPr>
            <p:cNvPr id="73" name="TextBox 72"/>
            <p:cNvSpPr txBox="1"/>
            <p:nvPr/>
          </p:nvSpPr>
          <p:spPr>
            <a:xfrm>
              <a:off x="3963741" y="1780450"/>
              <a:ext cx="1227644" cy="369332"/>
            </a:xfrm>
            <a:prstGeom prst="rect">
              <a:avLst/>
            </a:prstGeom>
            <a:noFill/>
          </p:spPr>
          <p:txBody>
            <a:bodyPr wrap="none" rtlCol="0" anchor="ctr">
              <a:spAutoFit/>
            </a:bodyPr>
            <a:lstStyle/>
            <a:p>
              <a:pPr algn="ctr"/>
              <a:r>
                <a:rPr lang="en-US" dirty="0" smtClean="0">
                  <a:solidFill>
                    <a:schemeClr val="bg1"/>
                  </a:solidFill>
                </a:rPr>
                <a:t>Transform</a:t>
              </a:r>
              <a:endParaRPr lang="en-US" dirty="0">
                <a:solidFill>
                  <a:schemeClr val="bg1"/>
                </a:solidFill>
              </a:endParaRPr>
            </a:p>
          </p:txBody>
        </p:sp>
      </p:grpSp>
      <p:sp>
        <p:nvSpPr>
          <p:cNvPr id="156" name="Isosceles Triangle 155"/>
          <p:cNvSpPr/>
          <p:nvPr/>
        </p:nvSpPr>
        <p:spPr>
          <a:xfrm flipV="1">
            <a:off x="1365428" y="1768089"/>
            <a:ext cx="183195" cy="157926"/>
          </a:xfrm>
          <a:prstGeom prs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8" name="Isosceles Triangle 167"/>
          <p:cNvSpPr/>
          <p:nvPr/>
        </p:nvSpPr>
        <p:spPr>
          <a:xfrm flipV="1">
            <a:off x="3448349" y="1768089"/>
            <a:ext cx="183195" cy="157926"/>
          </a:xfrm>
          <a:prstGeom prs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0" name="Isosceles Triangle 169"/>
          <p:cNvSpPr/>
          <p:nvPr/>
        </p:nvSpPr>
        <p:spPr>
          <a:xfrm flipV="1">
            <a:off x="5533418" y="1768089"/>
            <a:ext cx="183195" cy="157926"/>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1" name="Isosceles Triangle 170"/>
          <p:cNvSpPr/>
          <p:nvPr/>
        </p:nvSpPr>
        <p:spPr>
          <a:xfrm flipV="1">
            <a:off x="7613407" y="1768089"/>
            <a:ext cx="183195" cy="157926"/>
          </a:xfrm>
          <a:prstGeom prst="triangl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2" name="Rounded Rectangle 171"/>
          <p:cNvSpPr/>
          <p:nvPr/>
        </p:nvSpPr>
        <p:spPr>
          <a:xfrm rot="16200000">
            <a:off x="4458734" y="1372592"/>
            <a:ext cx="45719" cy="7390763"/>
          </a:xfrm>
          <a:prstGeom prst="roundRect">
            <a:avLst>
              <a:gd name="adj" fmla="val 50000"/>
            </a:avLst>
          </a:prstGeom>
          <a:gradFill flip="none" rotWithShape="1">
            <a:gsLst>
              <a:gs pos="52000">
                <a:schemeClr val="accent4"/>
              </a:gs>
              <a:gs pos="25000">
                <a:schemeClr val="accent6"/>
              </a:gs>
              <a:gs pos="80000">
                <a:schemeClr val="accent1"/>
              </a:gs>
            </a:gsLst>
            <a:lin ang="16200000" scaled="1"/>
            <a:tileRect/>
          </a:gradFill>
          <a:ln w="25400" cap="flat" cmpd="sng" algn="ctr">
            <a:noFill/>
            <a:prstDash val="solid"/>
          </a:ln>
          <a:effectLst/>
        </p:spPr>
        <p:txBody>
          <a:bodyPr vert="vert" lIns="68588" tIns="34295" rIns="68588" bIns="34295" rtlCol="0" anchor="ctr"/>
          <a:lstStyle/>
          <a:p>
            <a:pPr algn="ctr" defTabSz="914378">
              <a:defRPr/>
            </a:pPr>
            <a:endParaRPr lang="en-US" sz="700" kern="0" dirty="0">
              <a:solidFill>
                <a:srgbClr val="FFFFFF"/>
              </a:solidFill>
              <a:ea typeface="ＭＳ Ｐゴシック" pitchFamily="34" charset="-128"/>
            </a:endParaRPr>
          </a:p>
        </p:txBody>
      </p:sp>
      <p:grpSp>
        <p:nvGrpSpPr>
          <p:cNvPr id="173" name="Group 172"/>
          <p:cNvGrpSpPr/>
          <p:nvPr/>
        </p:nvGrpSpPr>
        <p:grpSpPr>
          <a:xfrm>
            <a:off x="6311900" y="3386137"/>
            <a:ext cx="1659016" cy="1741815"/>
            <a:chOff x="1559957" y="2235978"/>
            <a:chExt cx="1964375" cy="2062414"/>
          </a:xfrm>
        </p:grpSpPr>
        <p:sp>
          <p:nvSpPr>
            <p:cNvPr id="174" name="Rectangle 173"/>
            <p:cNvSpPr/>
            <p:nvPr/>
          </p:nvSpPr>
          <p:spPr>
            <a:xfrm>
              <a:off x="1559957" y="3872499"/>
              <a:ext cx="1964375" cy="364427"/>
            </a:xfrm>
            <a:prstGeom prst="rect">
              <a:avLst/>
            </a:prstGeom>
          </p:spPr>
          <p:txBody>
            <a:bodyPr wrap="square">
              <a:spAutoFit/>
            </a:bodyPr>
            <a:lstStyle/>
            <a:p>
              <a:pPr algn="ctr"/>
              <a:r>
                <a:rPr lang="en-US" sz="1400" b="1" dirty="0" smtClean="0"/>
                <a:t>VIRTUALIZE</a:t>
              </a:r>
              <a:endParaRPr lang="en-US" sz="1400" b="1" dirty="0"/>
            </a:p>
          </p:txBody>
        </p:sp>
        <p:sp>
          <p:nvSpPr>
            <p:cNvPr id="175" name="Oval 174"/>
            <p:cNvSpPr/>
            <p:nvPr/>
          </p:nvSpPr>
          <p:spPr>
            <a:xfrm>
              <a:off x="1780880" y="2235978"/>
              <a:ext cx="1543395" cy="1543394"/>
            </a:xfrm>
            <a:prstGeom prst="ellipse">
              <a:avLst/>
            </a:prstGeom>
            <a:solidFill>
              <a:schemeClr val="accent6"/>
            </a:solidFill>
            <a:ln w="12700" cmpd="sng">
              <a:noFill/>
            </a:ln>
            <a:effectLst>
              <a:outerShdw blurRad="50800" dist="50800" dir="5400000" algn="t"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pic>
          <p:nvPicPr>
            <p:cNvPr id="176" name="Picture 17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236316" y="2694337"/>
              <a:ext cx="632523" cy="632523"/>
            </a:xfrm>
            <a:prstGeom prst="rect">
              <a:avLst/>
            </a:prstGeom>
          </p:spPr>
        </p:pic>
        <p:sp>
          <p:nvSpPr>
            <p:cNvPr id="177" name="Oval 176"/>
            <p:cNvSpPr>
              <a:spLocks noChangeAspect="1"/>
            </p:cNvSpPr>
            <p:nvPr/>
          </p:nvSpPr>
          <p:spPr>
            <a:xfrm>
              <a:off x="2483997" y="4161232"/>
              <a:ext cx="137160" cy="137160"/>
            </a:xfrm>
            <a:prstGeom prst="ellipse">
              <a:avLst/>
            </a:prstGeom>
            <a:solidFill>
              <a:schemeClr val="accent6"/>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grpSp>
        <p:nvGrpSpPr>
          <p:cNvPr id="178" name="Group 177"/>
          <p:cNvGrpSpPr/>
          <p:nvPr/>
        </p:nvGrpSpPr>
        <p:grpSpPr>
          <a:xfrm>
            <a:off x="1015999" y="3359074"/>
            <a:ext cx="1658324" cy="1763406"/>
            <a:chOff x="3644145" y="2235978"/>
            <a:chExt cx="1963558" cy="2087979"/>
          </a:xfrm>
        </p:grpSpPr>
        <p:sp>
          <p:nvSpPr>
            <p:cNvPr id="179" name="Rectangle 178"/>
            <p:cNvSpPr/>
            <p:nvPr/>
          </p:nvSpPr>
          <p:spPr>
            <a:xfrm>
              <a:off x="3644145" y="3895054"/>
              <a:ext cx="1963558" cy="364427"/>
            </a:xfrm>
            <a:prstGeom prst="rect">
              <a:avLst/>
            </a:prstGeom>
          </p:spPr>
          <p:txBody>
            <a:bodyPr wrap="square">
              <a:spAutoFit/>
            </a:bodyPr>
            <a:lstStyle/>
            <a:p>
              <a:pPr algn="ctr"/>
              <a:r>
                <a:rPr lang="en-US" sz="1400" b="1" dirty="0" smtClean="0"/>
                <a:t>SIMPLIFY</a:t>
              </a:r>
              <a:endParaRPr lang="en-US" sz="1400" b="1" dirty="0"/>
            </a:p>
          </p:txBody>
        </p:sp>
        <p:sp>
          <p:nvSpPr>
            <p:cNvPr id="180" name="Oval 179"/>
            <p:cNvSpPr/>
            <p:nvPr/>
          </p:nvSpPr>
          <p:spPr>
            <a:xfrm>
              <a:off x="3803428" y="2235978"/>
              <a:ext cx="1543395" cy="1543394"/>
            </a:xfrm>
            <a:prstGeom prst="ellipse">
              <a:avLst/>
            </a:prstGeom>
            <a:solidFill>
              <a:schemeClr val="accent1"/>
            </a:solidFill>
            <a:ln w="12700" cmpd="sng">
              <a:noFill/>
            </a:ln>
            <a:effectLst>
              <a:outerShdw blurRad="50800" dist="50800" dir="5400000" algn="t"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nvGrpSpPr>
            <p:cNvPr id="181" name="Group 180"/>
            <p:cNvGrpSpPr/>
            <p:nvPr/>
          </p:nvGrpSpPr>
          <p:grpSpPr>
            <a:xfrm rot="2112269">
              <a:off x="4046758" y="2861109"/>
              <a:ext cx="1056735" cy="310132"/>
              <a:chOff x="2313930" y="2621671"/>
              <a:chExt cx="392904" cy="115310"/>
            </a:xfrm>
          </p:grpSpPr>
          <p:sp>
            <p:nvSpPr>
              <p:cNvPr id="183" name="Freeform 130"/>
              <p:cNvSpPr>
                <a:spLocks/>
              </p:cNvSpPr>
              <p:nvPr/>
            </p:nvSpPr>
            <p:spPr bwMode="auto">
              <a:xfrm>
                <a:off x="2527465" y="2621671"/>
                <a:ext cx="179369" cy="115310"/>
              </a:xfrm>
              <a:custGeom>
                <a:avLst/>
                <a:gdLst>
                  <a:gd name="T0" fmla="*/ 183 w 367"/>
                  <a:gd name="T1" fmla="*/ 224 h 240"/>
                  <a:gd name="T2" fmla="*/ 183 w 367"/>
                  <a:gd name="T3" fmla="*/ 153 h 240"/>
                  <a:gd name="T4" fmla="*/ 333 w 367"/>
                  <a:gd name="T5" fmla="*/ 153 h 240"/>
                  <a:gd name="T6" fmla="*/ 367 w 367"/>
                  <a:gd name="T7" fmla="*/ 120 h 240"/>
                  <a:gd name="T8" fmla="*/ 333 w 367"/>
                  <a:gd name="T9" fmla="*/ 86 h 240"/>
                  <a:gd name="T10" fmla="*/ 183 w 367"/>
                  <a:gd name="T11" fmla="*/ 86 h 240"/>
                  <a:gd name="T12" fmla="*/ 183 w 367"/>
                  <a:gd name="T13" fmla="*/ 16 h 240"/>
                  <a:gd name="T14" fmla="*/ 167 w 367"/>
                  <a:gd name="T15" fmla="*/ 7 h 240"/>
                  <a:gd name="T16" fmla="*/ 0 w 367"/>
                  <a:gd name="T17" fmla="*/ 120 h 240"/>
                  <a:gd name="T18" fmla="*/ 167 w 367"/>
                  <a:gd name="T19" fmla="*/ 233 h 240"/>
                  <a:gd name="T20" fmla="*/ 183 w 367"/>
                  <a:gd name="T21" fmla="*/ 22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240">
                    <a:moveTo>
                      <a:pt x="183" y="224"/>
                    </a:moveTo>
                    <a:lnTo>
                      <a:pt x="183" y="153"/>
                    </a:lnTo>
                    <a:lnTo>
                      <a:pt x="333" y="153"/>
                    </a:lnTo>
                    <a:cubicBezTo>
                      <a:pt x="352" y="153"/>
                      <a:pt x="367" y="138"/>
                      <a:pt x="367" y="120"/>
                    </a:cubicBezTo>
                    <a:cubicBezTo>
                      <a:pt x="367" y="101"/>
                      <a:pt x="352" y="86"/>
                      <a:pt x="333" y="86"/>
                    </a:cubicBezTo>
                    <a:lnTo>
                      <a:pt x="183" y="86"/>
                    </a:lnTo>
                    <a:lnTo>
                      <a:pt x="183" y="16"/>
                    </a:lnTo>
                    <a:cubicBezTo>
                      <a:pt x="183" y="4"/>
                      <a:pt x="176" y="0"/>
                      <a:pt x="167" y="7"/>
                    </a:cubicBezTo>
                    <a:lnTo>
                      <a:pt x="0" y="120"/>
                    </a:lnTo>
                    <a:lnTo>
                      <a:pt x="167" y="233"/>
                    </a:lnTo>
                    <a:cubicBezTo>
                      <a:pt x="176" y="240"/>
                      <a:pt x="183" y="236"/>
                      <a:pt x="183" y="224"/>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676767"/>
                  </a:solidFill>
                </a:endParaRPr>
              </a:p>
            </p:txBody>
          </p:sp>
          <p:sp>
            <p:nvSpPr>
              <p:cNvPr id="184" name="Freeform 131"/>
              <p:cNvSpPr>
                <a:spLocks/>
              </p:cNvSpPr>
              <p:nvPr/>
            </p:nvSpPr>
            <p:spPr bwMode="auto">
              <a:xfrm>
                <a:off x="2313930" y="2621671"/>
                <a:ext cx="179369" cy="115310"/>
              </a:xfrm>
              <a:custGeom>
                <a:avLst/>
                <a:gdLst>
                  <a:gd name="T0" fmla="*/ 183 w 366"/>
                  <a:gd name="T1" fmla="*/ 15 h 239"/>
                  <a:gd name="T2" fmla="*/ 183 w 366"/>
                  <a:gd name="T3" fmla="*/ 86 h 239"/>
                  <a:gd name="T4" fmla="*/ 33 w 366"/>
                  <a:gd name="T5" fmla="*/ 86 h 239"/>
                  <a:gd name="T6" fmla="*/ 0 w 366"/>
                  <a:gd name="T7" fmla="*/ 120 h 239"/>
                  <a:gd name="T8" fmla="*/ 33 w 366"/>
                  <a:gd name="T9" fmla="*/ 153 h 239"/>
                  <a:gd name="T10" fmla="*/ 183 w 366"/>
                  <a:gd name="T11" fmla="*/ 153 h 239"/>
                  <a:gd name="T12" fmla="*/ 183 w 366"/>
                  <a:gd name="T13" fmla="*/ 224 h 239"/>
                  <a:gd name="T14" fmla="*/ 200 w 366"/>
                  <a:gd name="T15" fmla="*/ 232 h 239"/>
                  <a:gd name="T16" fmla="*/ 366 w 366"/>
                  <a:gd name="T17" fmla="*/ 120 h 239"/>
                  <a:gd name="T18" fmla="*/ 200 w 366"/>
                  <a:gd name="T19" fmla="*/ 6 h 239"/>
                  <a:gd name="T20" fmla="*/ 183 w 366"/>
                  <a:gd name="T21" fmla="*/ 1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239">
                    <a:moveTo>
                      <a:pt x="183" y="15"/>
                    </a:moveTo>
                    <a:lnTo>
                      <a:pt x="183" y="86"/>
                    </a:lnTo>
                    <a:lnTo>
                      <a:pt x="33" y="86"/>
                    </a:lnTo>
                    <a:cubicBezTo>
                      <a:pt x="15" y="86"/>
                      <a:pt x="0" y="101"/>
                      <a:pt x="0" y="120"/>
                    </a:cubicBezTo>
                    <a:cubicBezTo>
                      <a:pt x="0" y="138"/>
                      <a:pt x="15" y="153"/>
                      <a:pt x="33" y="153"/>
                    </a:cubicBezTo>
                    <a:lnTo>
                      <a:pt x="183" y="153"/>
                    </a:lnTo>
                    <a:lnTo>
                      <a:pt x="183" y="224"/>
                    </a:lnTo>
                    <a:cubicBezTo>
                      <a:pt x="183" y="235"/>
                      <a:pt x="191" y="239"/>
                      <a:pt x="200" y="232"/>
                    </a:cubicBezTo>
                    <a:lnTo>
                      <a:pt x="366" y="120"/>
                    </a:lnTo>
                    <a:lnTo>
                      <a:pt x="200" y="6"/>
                    </a:lnTo>
                    <a:cubicBezTo>
                      <a:pt x="191" y="0"/>
                      <a:pt x="183" y="4"/>
                      <a:pt x="183" y="15"/>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676767"/>
                  </a:solidFill>
                </a:endParaRPr>
              </a:p>
            </p:txBody>
          </p:sp>
        </p:grpSp>
        <p:sp>
          <p:nvSpPr>
            <p:cNvPr id="182" name="Oval 181"/>
            <p:cNvSpPr>
              <a:spLocks noChangeAspect="1"/>
            </p:cNvSpPr>
            <p:nvPr/>
          </p:nvSpPr>
          <p:spPr>
            <a:xfrm>
              <a:off x="4506545" y="4186797"/>
              <a:ext cx="137160" cy="137160"/>
            </a:xfrm>
            <a:prstGeom prst="ellipse">
              <a:avLst/>
            </a:prstGeom>
            <a:solidFill>
              <a:schemeClr val="accent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grpSp>
        <p:nvGrpSpPr>
          <p:cNvPr id="185" name="Group 184"/>
          <p:cNvGrpSpPr/>
          <p:nvPr/>
        </p:nvGrpSpPr>
        <p:grpSpPr>
          <a:xfrm>
            <a:off x="3867148" y="3356870"/>
            <a:ext cx="1422401" cy="1766580"/>
            <a:chOff x="5765696" y="2235978"/>
            <a:chExt cx="1684210" cy="2091738"/>
          </a:xfrm>
        </p:grpSpPr>
        <p:sp>
          <p:nvSpPr>
            <p:cNvPr id="186" name="Rectangle 185"/>
            <p:cNvSpPr/>
            <p:nvPr/>
          </p:nvSpPr>
          <p:spPr>
            <a:xfrm>
              <a:off x="5765696" y="3898812"/>
              <a:ext cx="1684210" cy="364427"/>
            </a:xfrm>
            <a:prstGeom prst="rect">
              <a:avLst/>
            </a:prstGeom>
          </p:spPr>
          <p:txBody>
            <a:bodyPr wrap="square">
              <a:spAutoFit/>
            </a:bodyPr>
            <a:lstStyle/>
            <a:p>
              <a:pPr algn="ctr"/>
              <a:r>
                <a:rPr lang="en-US" sz="1400" b="1" dirty="0" smtClean="0"/>
                <a:t>AUTOMATE</a:t>
              </a:r>
              <a:endParaRPr lang="en-US" sz="1400" b="1" dirty="0"/>
            </a:p>
          </p:txBody>
        </p:sp>
        <p:sp>
          <p:nvSpPr>
            <p:cNvPr id="187" name="Oval 186"/>
            <p:cNvSpPr/>
            <p:nvPr/>
          </p:nvSpPr>
          <p:spPr>
            <a:xfrm>
              <a:off x="5822106" y="2235978"/>
              <a:ext cx="1543394" cy="1543394"/>
            </a:xfrm>
            <a:prstGeom prst="ellipse">
              <a:avLst/>
            </a:prstGeom>
            <a:solidFill>
              <a:schemeClr val="accent4">
                <a:lumMod val="75000"/>
              </a:schemeClr>
            </a:solidFill>
            <a:ln w="12700" cmpd="sng">
              <a:noFill/>
            </a:ln>
            <a:effectLst>
              <a:outerShdw blurRad="50800" dist="50800" dir="5400000" algn="t"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nvGrpSpPr>
            <p:cNvPr id="188" name="Group 187"/>
            <p:cNvGrpSpPr/>
            <p:nvPr/>
          </p:nvGrpSpPr>
          <p:grpSpPr>
            <a:xfrm>
              <a:off x="6216139" y="2627285"/>
              <a:ext cx="755329" cy="758910"/>
              <a:chOff x="7944249" y="2161936"/>
              <a:chExt cx="435821" cy="437887"/>
            </a:xfrm>
            <a:solidFill>
              <a:schemeClr val="bg1"/>
            </a:solidFill>
          </p:grpSpPr>
          <p:sp>
            <p:nvSpPr>
              <p:cNvPr id="190" name="Freeform 100"/>
              <p:cNvSpPr>
                <a:spLocks/>
              </p:cNvSpPr>
              <p:nvPr/>
            </p:nvSpPr>
            <p:spPr bwMode="auto">
              <a:xfrm>
                <a:off x="7944249" y="2161936"/>
                <a:ext cx="406904" cy="276777"/>
              </a:xfrm>
              <a:custGeom>
                <a:avLst/>
                <a:gdLst>
                  <a:gd name="T0" fmla="*/ 87 w 776"/>
                  <a:gd name="T1" fmla="*/ 491 h 530"/>
                  <a:gd name="T2" fmla="*/ 180 w 776"/>
                  <a:gd name="T3" fmla="*/ 200 h 530"/>
                  <a:gd name="T4" fmla="*/ 587 w 776"/>
                  <a:gd name="T5" fmla="*/ 150 h 530"/>
                  <a:gd name="T6" fmla="*/ 610 w 776"/>
                  <a:gd name="T7" fmla="*/ 241 h 530"/>
                  <a:gd name="T8" fmla="*/ 740 w 776"/>
                  <a:gd name="T9" fmla="*/ 241 h 530"/>
                  <a:gd name="T10" fmla="*/ 740 w 776"/>
                  <a:gd name="T11" fmla="*/ 112 h 530"/>
                  <a:gd name="T12" fmla="*/ 629 w 776"/>
                  <a:gd name="T13" fmla="*/ 98 h 530"/>
                  <a:gd name="T14" fmla="*/ 133 w 776"/>
                  <a:gd name="T15" fmla="*/ 153 h 530"/>
                  <a:gd name="T16" fmla="*/ 21 w 776"/>
                  <a:gd name="T17" fmla="*/ 503 h 530"/>
                  <a:gd name="T18" fmla="*/ 54 w 776"/>
                  <a:gd name="T19" fmla="*/ 530 h 530"/>
                  <a:gd name="T20" fmla="*/ 60 w 776"/>
                  <a:gd name="T21" fmla="*/ 530 h 530"/>
                  <a:gd name="T22" fmla="*/ 87 w 776"/>
                  <a:gd name="T23" fmla="*/ 491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6" h="530">
                    <a:moveTo>
                      <a:pt x="87" y="491"/>
                    </a:moveTo>
                    <a:cubicBezTo>
                      <a:pt x="69" y="385"/>
                      <a:pt x="104" y="276"/>
                      <a:pt x="180" y="200"/>
                    </a:cubicBezTo>
                    <a:cubicBezTo>
                      <a:pt x="290" y="90"/>
                      <a:pt x="459" y="73"/>
                      <a:pt x="587" y="150"/>
                    </a:cubicBezTo>
                    <a:cubicBezTo>
                      <a:pt x="578" y="182"/>
                      <a:pt x="586" y="217"/>
                      <a:pt x="610" y="241"/>
                    </a:cubicBezTo>
                    <a:cubicBezTo>
                      <a:pt x="646" y="277"/>
                      <a:pt x="704" y="277"/>
                      <a:pt x="740" y="241"/>
                    </a:cubicBezTo>
                    <a:cubicBezTo>
                      <a:pt x="776" y="205"/>
                      <a:pt x="776" y="147"/>
                      <a:pt x="740" y="112"/>
                    </a:cubicBezTo>
                    <a:cubicBezTo>
                      <a:pt x="710" y="81"/>
                      <a:pt x="664" y="77"/>
                      <a:pt x="629" y="98"/>
                    </a:cubicBezTo>
                    <a:cubicBezTo>
                      <a:pt x="474" y="0"/>
                      <a:pt x="267" y="18"/>
                      <a:pt x="133" y="153"/>
                    </a:cubicBezTo>
                    <a:cubicBezTo>
                      <a:pt x="41" y="244"/>
                      <a:pt x="0" y="375"/>
                      <a:pt x="21" y="503"/>
                    </a:cubicBezTo>
                    <a:cubicBezTo>
                      <a:pt x="24" y="519"/>
                      <a:pt x="38" y="530"/>
                      <a:pt x="54" y="530"/>
                    </a:cubicBezTo>
                    <a:cubicBezTo>
                      <a:pt x="56" y="530"/>
                      <a:pt x="58" y="530"/>
                      <a:pt x="60" y="530"/>
                    </a:cubicBezTo>
                    <a:cubicBezTo>
                      <a:pt x="78" y="527"/>
                      <a:pt x="90" y="510"/>
                      <a:pt x="87" y="4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76767"/>
                  </a:solidFill>
                </a:endParaRPr>
              </a:p>
            </p:txBody>
          </p:sp>
          <p:sp>
            <p:nvSpPr>
              <p:cNvPr id="191" name="Freeform 101"/>
              <p:cNvSpPr>
                <a:spLocks/>
              </p:cNvSpPr>
              <p:nvPr/>
            </p:nvSpPr>
            <p:spPr bwMode="auto">
              <a:xfrm>
                <a:off x="7973166" y="2339570"/>
                <a:ext cx="406904" cy="260253"/>
              </a:xfrm>
              <a:custGeom>
                <a:avLst/>
                <a:gdLst>
                  <a:gd name="T0" fmla="*/ 754 w 776"/>
                  <a:gd name="T1" fmla="*/ 31 h 497"/>
                  <a:gd name="T2" fmla="*/ 716 w 776"/>
                  <a:gd name="T3" fmla="*/ 3 h 497"/>
                  <a:gd name="T4" fmla="*/ 688 w 776"/>
                  <a:gd name="T5" fmla="*/ 42 h 497"/>
                  <a:gd name="T6" fmla="*/ 595 w 776"/>
                  <a:gd name="T7" fmla="*/ 333 h 497"/>
                  <a:gd name="T8" fmla="*/ 188 w 776"/>
                  <a:gd name="T9" fmla="*/ 383 h 497"/>
                  <a:gd name="T10" fmla="*/ 165 w 776"/>
                  <a:gd name="T11" fmla="*/ 292 h 497"/>
                  <a:gd name="T12" fmla="*/ 36 w 776"/>
                  <a:gd name="T13" fmla="*/ 292 h 497"/>
                  <a:gd name="T14" fmla="*/ 36 w 776"/>
                  <a:gd name="T15" fmla="*/ 422 h 497"/>
                  <a:gd name="T16" fmla="*/ 147 w 776"/>
                  <a:gd name="T17" fmla="*/ 436 h 497"/>
                  <a:gd name="T18" fmla="*/ 360 w 776"/>
                  <a:gd name="T19" fmla="*/ 497 h 497"/>
                  <a:gd name="T20" fmla="*/ 643 w 776"/>
                  <a:gd name="T21" fmla="*/ 380 h 497"/>
                  <a:gd name="T22" fmla="*/ 754 w 776"/>
                  <a:gd name="T23" fmla="*/ 3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6" h="497">
                    <a:moveTo>
                      <a:pt x="754" y="31"/>
                    </a:moveTo>
                    <a:cubicBezTo>
                      <a:pt x="751" y="13"/>
                      <a:pt x="734" y="0"/>
                      <a:pt x="716" y="3"/>
                    </a:cubicBezTo>
                    <a:cubicBezTo>
                      <a:pt x="698" y="7"/>
                      <a:pt x="685" y="24"/>
                      <a:pt x="688" y="42"/>
                    </a:cubicBezTo>
                    <a:cubicBezTo>
                      <a:pt x="706" y="148"/>
                      <a:pt x="672" y="257"/>
                      <a:pt x="595" y="333"/>
                    </a:cubicBezTo>
                    <a:cubicBezTo>
                      <a:pt x="485" y="444"/>
                      <a:pt x="316" y="460"/>
                      <a:pt x="188" y="383"/>
                    </a:cubicBezTo>
                    <a:cubicBezTo>
                      <a:pt x="197" y="352"/>
                      <a:pt x="190" y="317"/>
                      <a:pt x="165" y="292"/>
                    </a:cubicBezTo>
                    <a:cubicBezTo>
                      <a:pt x="129" y="256"/>
                      <a:pt x="71" y="256"/>
                      <a:pt x="36" y="292"/>
                    </a:cubicBezTo>
                    <a:cubicBezTo>
                      <a:pt x="0" y="328"/>
                      <a:pt x="0" y="386"/>
                      <a:pt x="36" y="422"/>
                    </a:cubicBezTo>
                    <a:cubicBezTo>
                      <a:pt x="66" y="452"/>
                      <a:pt x="111" y="456"/>
                      <a:pt x="147" y="436"/>
                    </a:cubicBezTo>
                    <a:cubicBezTo>
                      <a:pt x="211" y="477"/>
                      <a:pt x="285" y="497"/>
                      <a:pt x="360" y="497"/>
                    </a:cubicBezTo>
                    <a:cubicBezTo>
                      <a:pt x="462" y="497"/>
                      <a:pt x="565" y="458"/>
                      <a:pt x="643" y="380"/>
                    </a:cubicBezTo>
                    <a:cubicBezTo>
                      <a:pt x="734" y="289"/>
                      <a:pt x="776" y="158"/>
                      <a:pt x="754"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76767"/>
                  </a:solidFill>
                </a:endParaRPr>
              </a:p>
            </p:txBody>
          </p:sp>
        </p:grpSp>
        <p:sp>
          <p:nvSpPr>
            <p:cNvPr id="189" name="Oval 188"/>
            <p:cNvSpPr>
              <a:spLocks noChangeAspect="1"/>
            </p:cNvSpPr>
            <p:nvPr/>
          </p:nvSpPr>
          <p:spPr>
            <a:xfrm>
              <a:off x="6525223" y="4190556"/>
              <a:ext cx="137160" cy="137160"/>
            </a:xfrm>
            <a:prstGeom prst="ellipse">
              <a:avLst/>
            </a:prstGeom>
            <a:solidFill>
              <a:schemeClr val="accent4">
                <a:lumMod val="7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sp>
        <p:nvSpPr>
          <p:cNvPr id="63" name="Title 6"/>
          <p:cNvSpPr txBox="1">
            <a:spLocks/>
          </p:cNvSpPr>
          <p:nvPr/>
        </p:nvSpPr>
        <p:spPr bwMode="auto">
          <a:xfrm>
            <a:off x="437766" y="48736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dirty="0" smtClean="0"/>
              <a:t>Transforming for the Future</a:t>
            </a:r>
            <a:br>
              <a:rPr lang="en-US" dirty="0" smtClean="0"/>
            </a:br>
            <a:r>
              <a:rPr lang="en-US" sz="2400" dirty="0" smtClean="0"/>
              <a:t>Enabled by Cisco Open Network Architecture</a:t>
            </a:r>
            <a:endParaRPr lang="en-US" dirty="0"/>
          </a:p>
        </p:txBody>
      </p:sp>
    </p:spTree>
    <p:extLst>
      <p:ext uri="{BB962C8B-B14F-4D97-AF65-F5344CB8AC3E}">
        <p14:creationId xmlns:p14="http://schemas.microsoft.com/office/powerpoint/2010/main" val="155267118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37766" y="912505"/>
            <a:ext cx="8179484" cy="4138623"/>
          </a:xfrm>
          <a:prstGeom prst="rect">
            <a:avLst/>
          </a:prstGeom>
        </p:spPr>
      </p:pic>
      <p:sp>
        <p:nvSpPr>
          <p:cNvPr id="17" name="Rounded Rectangle 16"/>
          <p:cNvSpPr/>
          <p:nvPr/>
        </p:nvSpPr>
        <p:spPr>
          <a:xfrm>
            <a:off x="3216905" y="2782206"/>
            <a:ext cx="1037853" cy="455339"/>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p:txBody>
          <a:bodyPr/>
          <a:lstStyle/>
          <a:p>
            <a:r>
              <a:rPr lang="en-US" dirty="0" smtClean="0"/>
              <a:t>MWC2017 Solution Zones</a:t>
            </a:r>
            <a:endParaRPr lang="en-US" dirty="0"/>
          </a:p>
        </p:txBody>
      </p:sp>
      <p:grpSp>
        <p:nvGrpSpPr>
          <p:cNvPr id="19" name="Group 18"/>
          <p:cNvGrpSpPr/>
          <p:nvPr/>
        </p:nvGrpSpPr>
        <p:grpSpPr>
          <a:xfrm>
            <a:off x="6674284" y="2462320"/>
            <a:ext cx="1541152" cy="369332"/>
            <a:chOff x="6692946" y="2462320"/>
            <a:chExt cx="1541152" cy="369332"/>
          </a:xfrm>
        </p:grpSpPr>
        <p:sp>
          <p:nvSpPr>
            <p:cNvPr id="11" name="Rounded Rectangle 10"/>
            <p:cNvSpPr/>
            <p:nvPr/>
          </p:nvSpPr>
          <p:spPr>
            <a:xfrm>
              <a:off x="7023284" y="2462320"/>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 name="TextBox 3"/>
            <p:cNvSpPr txBox="1"/>
            <p:nvPr/>
          </p:nvSpPr>
          <p:spPr>
            <a:xfrm>
              <a:off x="6692946" y="2462320"/>
              <a:ext cx="1541152" cy="369332"/>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3 </a:t>
              </a: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 </a:t>
              </a: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Create </a:t>
              </a:r>
              <a:b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IoT  Services</a:t>
              </a:r>
              <a:endPar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endParaRPr>
            </a:p>
          </p:txBody>
        </p:sp>
      </p:grpSp>
      <p:grpSp>
        <p:nvGrpSpPr>
          <p:cNvPr id="20" name="Group 19"/>
          <p:cNvGrpSpPr/>
          <p:nvPr/>
        </p:nvGrpSpPr>
        <p:grpSpPr>
          <a:xfrm>
            <a:off x="5095808" y="1851807"/>
            <a:ext cx="1541152" cy="507831"/>
            <a:chOff x="5095808" y="1851807"/>
            <a:chExt cx="1541152" cy="507831"/>
          </a:xfrm>
        </p:grpSpPr>
        <p:sp>
          <p:nvSpPr>
            <p:cNvPr id="15" name="Rounded Rectangle 14"/>
            <p:cNvSpPr/>
            <p:nvPr/>
          </p:nvSpPr>
          <p:spPr>
            <a:xfrm>
              <a:off x="5411430" y="1921055"/>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TextBox 4"/>
            <p:cNvSpPr txBox="1"/>
            <p:nvPr/>
          </p:nvSpPr>
          <p:spPr>
            <a:xfrm>
              <a:off x="5095808" y="1851807"/>
              <a:ext cx="1541152" cy="507831"/>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4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Create </a:t>
              </a:r>
              <a:r>
                <a:rPr lang="en-US" sz="900" smtClean="0">
                  <a:solidFill>
                    <a:srgbClr val="C00000"/>
                  </a:solidFill>
                  <a:effectLst>
                    <a:outerShdw blurRad="50800" dist="76200" dir="2700000" algn="tl" rotWithShape="0">
                      <a:prstClr val="black">
                        <a:alpha val="40000"/>
                      </a:prstClr>
                    </a:outerShdw>
                  </a:effectLst>
                  <a:ea typeface="Courier" charset="0"/>
                  <a:cs typeface="Courier" charset="0"/>
                </a:rPr>
                <a:t>Business </a:t>
              </a:r>
              <a:br>
                <a:rPr lang="en-US" sz="900" smtClean="0">
                  <a:solidFill>
                    <a:srgbClr val="C00000"/>
                  </a:solidFill>
                  <a:effectLst>
                    <a:outerShdw blurRad="50800" dist="76200" dir="2700000" algn="tl" rotWithShape="0">
                      <a:prstClr val="black">
                        <a:alpha val="40000"/>
                      </a:prstClr>
                    </a:outerShdw>
                  </a:effectLst>
                  <a:ea typeface="Courier" charset="0"/>
                  <a:cs typeface="Courier" charset="0"/>
                </a:rPr>
              </a:br>
              <a:r>
                <a:rPr lang="en-US" sz="900" smtClean="0">
                  <a:solidFill>
                    <a:srgbClr val="C00000"/>
                  </a:solidFill>
                  <a:effectLst>
                    <a:outerShdw blurRad="50800" dist="76200" dir="2700000" algn="tl" rotWithShape="0">
                      <a:prstClr val="black">
                        <a:alpha val="40000"/>
                      </a:prstClr>
                    </a:outerShdw>
                  </a:effectLst>
                  <a:ea typeface="Courier" charset="0"/>
                  <a:cs typeface="Courier" charset="0"/>
                </a:rPr>
                <a:t>Services</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grpSp>
        <p:nvGrpSpPr>
          <p:cNvPr id="21" name="Group 20"/>
          <p:cNvGrpSpPr/>
          <p:nvPr/>
        </p:nvGrpSpPr>
        <p:grpSpPr>
          <a:xfrm>
            <a:off x="4371250" y="1275010"/>
            <a:ext cx="909908" cy="413674"/>
            <a:chOff x="4371250" y="1275010"/>
            <a:chExt cx="909908" cy="413674"/>
          </a:xfrm>
        </p:grpSpPr>
        <p:sp>
          <p:nvSpPr>
            <p:cNvPr id="16" name="Rounded Rectangle 15"/>
            <p:cNvSpPr/>
            <p:nvPr/>
          </p:nvSpPr>
          <p:spPr>
            <a:xfrm>
              <a:off x="4371250" y="1319352"/>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TextBox 5"/>
            <p:cNvSpPr txBox="1"/>
            <p:nvPr/>
          </p:nvSpPr>
          <p:spPr>
            <a:xfrm>
              <a:off x="4458154" y="1275010"/>
              <a:ext cx="736100" cy="369332"/>
            </a:xfrm>
            <a:prstGeom prst="rect">
              <a:avLst/>
            </a:prstGeom>
            <a:noFill/>
          </p:spPr>
          <p:txBody>
            <a:bodyPr wrap="non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5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Protect</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sp>
        <p:nvSpPr>
          <p:cNvPr id="7" name="TextBox 6"/>
          <p:cNvSpPr txBox="1"/>
          <p:nvPr/>
        </p:nvSpPr>
        <p:spPr>
          <a:xfrm>
            <a:off x="3125231" y="2762847"/>
            <a:ext cx="1210588" cy="507831"/>
          </a:xfrm>
          <a:prstGeom prst="rect">
            <a:avLst/>
          </a:prstGeom>
          <a:noFill/>
        </p:spPr>
        <p:txBody>
          <a:bodyPr wrap="none" rtlCol="0">
            <a:spAutoFit/>
          </a:bodyPr>
          <a:lstStyle/>
          <a:p>
            <a:pPr algn="ct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Zone 1 –</a:t>
            </a:r>
            <a:b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Simplify, Automate, </a:t>
            </a:r>
            <a:b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Virtualize</a:t>
            </a:r>
            <a:endPar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endParaRPr>
          </a:p>
        </p:txBody>
      </p:sp>
      <p:grpSp>
        <p:nvGrpSpPr>
          <p:cNvPr id="18" name="Group 17"/>
          <p:cNvGrpSpPr/>
          <p:nvPr/>
        </p:nvGrpSpPr>
        <p:grpSpPr>
          <a:xfrm>
            <a:off x="5166510" y="3046920"/>
            <a:ext cx="1541152" cy="507831"/>
            <a:chOff x="5166510" y="3046920"/>
            <a:chExt cx="1541152" cy="507831"/>
          </a:xfrm>
        </p:grpSpPr>
        <p:sp>
          <p:nvSpPr>
            <p:cNvPr id="12" name="Rounded Rectangle 11"/>
            <p:cNvSpPr/>
            <p:nvPr/>
          </p:nvSpPr>
          <p:spPr>
            <a:xfrm>
              <a:off x="5530940" y="3116169"/>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 name="TextBox 9"/>
            <p:cNvSpPr txBox="1"/>
            <p:nvPr/>
          </p:nvSpPr>
          <p:spPr>
            <a:xfrm>
              <a:off x="5166510" y="3046920"/>
              <a:ext cx="1541152" cy="507831"/>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2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Create Video </a:t>
              </a:r>
              <a:b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Services</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spTree>
    <p:extLst>
      <p:ext uri="{BB962C8B-B14F-4D97-AF65-F5344CB8AC3E}">
        <p14:creationId xmlns:p14="http://schemas.microsoft.com/office/powerpoint/2010/main" val="964658954"/>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437766" y="912505"/>
            <a:ext cx="8179484" cy="4138623"/>
          </a:xfrm>
          <a:prstGeom prst="rect">
            <a:avLst/>
          </a:prstGeom>
        </p:spPr>
      </p:pic>
      <p:sp>
        <p:nvSpPr>
          <p:cNvPr id="17" name="Rounded Rectangle 16"/>
          <p:cNvSpPr/>
          <p:nvPr/>
        </p:nvSpPr>
        <p:spPr>
          <a:xfrm>
            <a:off x="3216905" y="2782206"/>
            <a:ext cx="1037853" cy="455339"/>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437766" y="341313"/>
            <a:ext cx="8640920" cy="731837"/>
          </a:xfrm>
        </p:spPr>
        <p:txBody>
          <a:bodyPr/>
          <a:lstStyle/>
          <a:p>
            <a:r>
              <a:rPr lang="en-US" sz="2600" dirty="0" smtClean="0"/>
              <a:t>MWC2017 </a:t>
            </a:r>
            <a:r>
              <a:rPr lang="en-US" sz="2600" dirty="0"/>
              <a:t>Demo </a:t>
            </a:r>
            <a:r>
              <a:rPr lang="en-US" sz="2600" dirty="0" smtClean="0"/>
              <a:t>Zone 1 – </a:t>
            </a:r>
            <a:r>
              <a:rPr lang="en-US" sz="2600" dirty="0"/>
              <a:t>Simplify, Automate, </a:t>
            </a:r>
            <a:r>
              <a:rPr lang="en-US" sz="2600" dirty="0" smtClean="0"/>
              <a:t>Virtualize</a:t>
            </a:r>
            <a:endParaRPr lang="en-US" sz="2600" dirty="0"/>
          </a:p>
        </p:txBody>
      </p:sp>
      <p:grpSp>
        <p:nvGrpSpPr>
          <p:cNvPr id="19" name="Group 18"/>
          <p:cNvGrpSpPr/>
          <p:nvPr/>
        </p:nvGrpSpPr>
        <p:grpSpPr>
          <a:xfrm>
            <a:off x="6674284" y="2462320"/>
            <a:ext cx="1541152" cy="369332"/>
            <a:chOff x="6692946" y="2462320"/>
            <a:chExt cx="1541152" cy="369332"/>
          </a:xfrm>
        </p:grpSpPr>
        <p:sp>
          <p:nvSpPr>
            <p:cNvPr id="11" name="Rounded Rectangle 10"/>
            <p:cNvSpPr/>
            <p:nvPr/>
          </p:nvSpPr>
          <p:spPr>
            <a:xfrm>
              <a:off x="7023284" y="2462320"/>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 name="TextBox 3"/>
            <p:cNvSpPr txBox="1"/>
            <p:nvPr/>
          </p:nvSpPr>
          <p:spPr>
            <a:xfrm>
              <a:off x="6692946" y="2462320"/>
              <a:ext cx="1541152" cy="369332"/>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3 </a:t>
              </a: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 </a:t>
              </a: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Create </a:t>
              </a:r>
              <a:b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IoT  Services</a:t>
              </a:r>
              <a:endPar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endParaRPr>
            </a:p>
          </p:txBody>
        </p:sp>
      </p:grpSp>
      <p:grpSp>
        <p:nvGrpSpPr>
          <p:cNvPr id="20" name="Group 19"/>
          <p:cNvGrpSpPr/>
          <p:nvPr/>
        </p:nvGrpSpPr>
        <p:grpSpPr>
          <a:xfrm>
            <a:off x="5095808" y="1851807"/>
            <a:ext cx="1541152" cy="507831"/>
            <a:chOff x="5095808" y="1851807"/>
            <a:chExt cx="1541152" cy="507831"/>
          </a:xfrm>
        </p:grpSpPr>
        <p:sp>
          <p:nvSpPr>
            <p:cNvPr id="15" name="Rounded Rectangle 14"/>
            <p:cNvSpPr/>
            <p:nvPr/>
          </p:nvSpPr>
          <p:spPr>
            <a:xfrm>
              <a:off x="5411430" y="1921055"/>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TextBox 4"/>
            <p:cNvSpPr txBox="1"/>
            <p:nvPr/>
          </p:nvSpPr>
          <p:spPr>
            <a:xfrm>
              <a:off x="5095808" y="1851807"/>
              <a:ext cx="1541152" cy="507831"/>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4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Create </a:t>
              </a:r>
              <a:r>
                <a:rPr lang="en-US" sz="900" smtClean="0">
                  <a:solidFill>
                    <a:srgbClr val="C00000"/>
                  </a:solidFill>
                  <a:effectLst>
                    <a:outerShdw blurRad="50800" dist="76200" dir="2700000" algn="tl" rotWithShape="0">
                      <a:prstClr val="black">
                        <a:alpha val="40000"/>
                      </a:prstClr>
                    </a:outerShdw>
                  </a:effectLst>
                  <a:ea typeface="Courier" charset="0"/>
                  <a:cs typeface="Courier" charset="0"/>
                </a:rPr>
                <a:t>Business </a:t>
              </a:r>
              <a:br>
                <a:rPr lang="en-US" sz="900" smtClean="0">
                  <a:solidFill>
                    <a:srgbClr val="C00000"/>
                  </a:solidFill>
                  <a:effectLst>
                    <a:outerShdw blurRad="50800" dist="76200" dir="2700000" algn="tl" rotWithShape="0">
                      <a:prstClr val="black">
                        <a:alpha val="40000"/>
                      </a:prstClr>
                    </a:outerShdw>
                  </a:effectLst>
                  <a:ea typeface="Courier" charset="0"/>
                  <a:cs typeface="Courier" charset="0"/>
                </a:rPr>
              </a:br>
              <a:r>
                <a:rPr lang="en-US" sz="900" smtClean="0">
                  <a:solidFill>
                    <a:srgbClr val="C00000"/>
                  </a:solidFill>
                  <a:effectLst>
                    <a:outerShdw blurRad="50800" dist="76200" dir="2700000" algn="tl" rotWithShape="0">
                      <a:prstClr val="black">
                        <a:alpha val="40000"/>
                      </a:prstClr>
                    </a:outerShdw>
                  </a:effectLst>
                  <a:ea typeface="Courier" charset="0"/>
                  <a:cs typeface="Courier" charset="0"/>
                </a:rPr>
                <a:t>Services</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grpSp>
        <p:nvGrpSpPr>
          <p:cNvPr id="21" name="Group 20"/>
          <p:cNvGrpSpPr/>
          <p:nvPr/>
        </p:nvGrpSpPr>
        <p:grpSpPr>
          <a:xfrm>
            <a:off x="4371250" y="1275010"/>
            <a:ext cx="909908" cy="413674"/>
            <a:chOff x="4371250" y="1275010"/>
            <a:chExt cx="909908" cy="413674"/>
          </a:xfrm>
        </p:grpSpPr>
        <p:sp>
          <p:nvSpPr>
            <p:cNvPr id="16" name="Rounded Rectangle 15"/>
            <p:cNvSpPr/>
            <p:nvPr/>
          </p:nvSpPr>
          <p:spPr>
            <a:xfrm>
              <a:off x="4371250" y="1319352"/>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TextBox 5"/>
            <p:cNvSpPr txBox="1"/>
            <p:nvPr/>
          </p:nvSpPr>
          <p:spPr>
            <a:xfrm>
              <a:off x="4458154" y="1275010"/>
              <a:ext cx="736100" cy="369332"/>
            </a:xfrm>
            <a:prstGeom prst="rect">
              <a:avLst/>
            </a:prstGeom>
            <a:noFill/>
          </p:spPr>
          <p:txBody>
            <a:bodyPr wrap="non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5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Protect</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sp>
        <p:nvSpPr>
          <p:cNvPr id="7" name="TextBox 6"/>
          <p:cNvSpPr txBox="1"/>
          <p:nvPr/>
        </p:nvSpPr>
        <p:spPr>
          <a:xfrm>
            <a:off x="3125231" y="2762847"/>
            <a:ext cx="1210588" cy="507831"/>
          </a:xfrm>
          <a:prstGeom prst="rect">
            <a:avLst/>
          </a:prstGeom>
          <a:noFill/>
        </p:spPr>
        <p:txBody>
          <a:bodyPr wrap="none" rtlCol="0">
            <a:spAutoFit/>
          </a:bodyPr>
          <a:lstStyle/>
          <a:p>
            <a:pPr algn="ctr"/>
            <a: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t>Zone 1 –</a:t>
            </a:r>
            <a:br>
              <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Simplify, Automate, </a:t>
            </a:r>
            <a:b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latin typeface="+mn-lt"/>
                <a:ea typeface="Courier" charset="0"/>
                <a:cs typeface="Courier" charset="0"/>
              </a:rPr>
              <a:t>Virtualize</a:t>
            </a:r>
            <a:endParaRPr lang="en-US" sz="900" dirty="0">
              <a:solidFill>
                <a:srgbClr val="C00000"/>
              </a:solidFill>
              <a:effectLst>
                <a:outerShdw blurRad="50800" dist="76200" dir="2700000" algn="tl" rotWithShape="0">
                  <a:prstClr val="black">
                    <a:alpha val="40000"/>
                  </a:prstClr>
                </a:outerShdw>
              </a:effectLst>
              <a:latin typeface="+mn-lt"/>
              <a:ea typeface="Courier" charset="0"/>
              <a:cs typeface="Courier" charset="0"/>
            </a:endParaRPr>
          </a:p>
        </p:txBody>
      </p:sp>
      <p:grpSp>
        <p:nvGrpSpPr>
          <p:cNvPr id="18" name="Group 17"/>
          <p:cNvGrpSpPr/>
          <p:nvPr/>
        </p:nvGrpSpPr>
        <p:grpSpPr>
          <a:xfrm>
            <a:off x="5166510" y="3046920"/>
            <a:ext cx="1541152" cy="507831"/>
            <a:chOff x="5166510" y="3046920"/>
            <a:chExt cx="1541152" cy="507831"/>
          </a:xfrm>
        </p:grpSpPr>
        <p:sp>
          <p:nvSpPr>
            <p:cNvPr id="12" name="Rounded Rectangle 11"/>
            <p:cNvSpPr/>
            <p:nvPr/>
          </p:nvSpPr>
          <p:spPr>
            <a:xfrm>
              <a:off x="5530940" y="3116169"/>
              <a:ext cx="909908" cy="369332"/>
            </a:xfrm>
            <a:prstGeom prst="round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 name="TextBox 9"/>
            <p:cNvSpPr txBox="1"/>
            <p:nvPr/>
          </p:nvSpPr>
          <p:spPr>
            <a:xfrm>
              <a:off x="5166510" y="3046920"/>
              <a:ext cx="1541152" cy="507831"/>
            </a:xfrm>
            <a:prstGeom prst="rect">
              <a:avLst/>
            </a:prstGeom>
            <a:noFill/>
          </p:spPr>
          <p:txBody>
            <a:bodyPr wrap="square" rtlCol="0">
              <a:spAutoFit/>
            </a:bodyPr>
            <a:lstStyle/>
            <a:p>
              <a:pPr algn="ct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Zone </a:t>
              </a: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2 </a:t>
              </a:r>
              <a:r>
                <a:rPr lang="en-US" sz="900" dirty="0">
                  <a:solidFill>
                    <a:srgbClr val="C00000"/>
                  </a:solidFill>
                  <a:effectLst>
                    <a:outerShdw blurRad="50800" dist="76200" dir="2700000" algn="tl" rotWithShape="0">
                      <a:prstClr val="black">
                        <a:alpha val="40000"/>
                      </a:prstClr>
                    </a:outerShdw>
                  </a:effectLst>
                  <a:ea typeface="Courier" charset="0"/>
                  <a:cs typeface="Courier" charset="0"/>
                </a:rPr>
                <a:t>– </a:t>
              </a:r>
              <a:br>
                <a:rPr lang="en-US" sz="900" dirty="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Create Video </a:t>
              </a:r>
              <a:b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br>
              <a:r>
                <a:rPr lang="en-US" sz="900" dirty="0" smtClean="0">
                  <a:solidFill>
                    <a:srgbClr val="C00000"/>
                  </a:solidFill>
                  <a:effectLst>
                    <a:outerShdw blurRad="50800" dist="76200" dir="2700000" algn="tl" rotWithShape="0">
                      <a:prstClr val="black">
                        <a:alpha val="40000"/>
                      </a:prstClr>
                    </a:outerShdw>
                  </a:effectLst>
                  <a:ea typeface="Courier" charset="0"/>
                  <a:cs typeface="Courier" charset="0"/>
                </a:rPr>
                <a:t>Services</a:t>
              </a:r>
              <a:endParaRPr lang="en-US" sz="900" dirty="0">
                <a:solidFill>
                  <a:srgbClr val="C00000"/>
                </a:solidFill>
                <a:effectLst>
                  <a:outerShdw blurRad="50800" dist="76200" dir="2700000" algn="tl" rotWithShape="0">
                    <a:prstClr val="black">
                      <a:alpha val="40000"/>
                    </a:prstClr>
                  </a:outerShdw>
                </a:effectLst>
                <a:ea typeface="Courier" charset="0"/>
                <a:cs typeface="Courier" charset="0"/>
              </a:endParaRPr>
            </a:p>
          </p:txBody>
        </p:sp>
      </p:grpSp>
      <p:sp>
        <p:nvSpPr>
          <p:cNvPr id="24" name="Rounded Rectangle 23"/>
          <p:cNvSpPr/>
          <p:nvPr/>
        </p:nvSpPr>
        <p:spPr>
          <a:xfrm>
            <a:off x="3064739" y="2105720"/>
            <a:ext cx="1259965" cy="1271745"/>
          </a:xfrm>
          <a:prstGeom prst="roundRect">
            <a:avLst/>
          </a:prstGeom>
          <a:noFill/>
          <a:ln>
            <a:solidFill>
              <a:srgbClr val="FF00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8" name="Rectangle 27"/>
          <p:cNvSpPr/>
          <p:nvPr/>
        </p:nvSpPr>
        <p:spPr bwMode="auto">
          <a:xfrm>
            <a:off x="4440357" y="978939"/>
            <a:ext cx="4698821" cy="3970466"/>
          </a:xfrm>
          <a:prstGeom prst="rect">
            <a:avLst/>
          </a:prstGeom>
          <a:solidFill>
            <a:schemeClr val="bg1">
              <a:lumMod val="8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72000" tIns="45720" rIns="72000" bIns="45720" numCol="1" spcCol="0" rtlCol="0" fromWordArt="0" anchor="t" anchorCtr="0" forceAA="0" compatLnSpc="1">
            <a:prstTxWarp prst="textNoShape">
              <a:avLst/>
            </a:prstTxWarp>
            <a:noAutofit/>
          </a:bodyPr>
          <a:lstStyle/>
          <a:p>
            <a:pPr defTabSz="914378">
              <a:spcBef>
                <a:spcPct val="50000"/>
              </a:spcBef>
            </a:pPr>
            <a:endParaRPr lang="en-US" sz="2000">
              <a:solidFill>
                <a:srgbClr val="58585B"/>
              </a:solidFill>
              <a:latin typeface="Arial"/>
            </a:endParaRPr>
          </a:p>
        </p:txBody>
      </p:sp>
      <p:pic>
        <p:nvPicPr>
          <p:cNvPr id="29" name="Picture 4" descr="big dots"/>
          <p:cNvPicPr>
            <a:picLocks noChangeAspect="1" noChangeArrowheads="1"/>
          </p:cNvPicPr>
          <p:nvPr/>
        </p:nvPicPr>
        <p:blipFill>
          <a:blip r:embed="rId3">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440357" y="4036390"/>
            <a:ext cx="4703643" cy="497128"/>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p:cNvSpPr/>
          <p:nvPr/>
        </p:nvSpPr>
        <p:spPr>
          <a:xfrm>
            <a:off x="4625387" y="1841429"/>
            <a:ext cx="4327120" cy="1908215"/>
          </a:xfrm>
          <a:prstGeom prst="rect">
            <a:avLst/>
          </a:prstGeom>
        </p:spPr>
        <p:txBody>
          <a:bodyPr wrap="square">
            <a:spAutoFit/>
          </a:bodyPr>
          <a:lstStyle/>
          <a:p>
            <a:r>
              <a:rPr lang="en-US" sz="2000" dirty="0" smtClean="0"/>
              <a:t>Cisco’s </a:t>
            </a:r>
            <a:r>
              <a:rPr lang="en-US" sz="2000" dirty="0"/>
              <a:t>Open Network Architecture and Cloud Scale Networking helps Mobility Providers make the digital transformation to 5G, cloud and IP Networking</a:t>
            </a:r>
            <a:r>
              <a:rPr lang="en-US" sz="2000" dirty="0" smtClean="0"/>
              <a:t>.</a:t>
            </a:r>
            <a:endParaRPr lang="en-US" sz="2000" dirty="0"/>
          </a:p>
          <a:p>
            <a:endParaRPr lang="en-US" dirty="0" smtClean="0"/>
          </a:p>
        </p:txBody>
      </p:sp>
      <p:sp>
        <p:nvSpPr>
          <p:cNvPr id="34" name="Rectangle 33"/>
          <p:cNvSpPr/>
          <p:nvPr/>
        </p:nvSpPr>
        <p:spPr>
          <a:xfrm>
            <a:off x="4546331" y="1049497"/>
            <a:ext cx="3088203" cy="369126"/>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Key Takeaway…</a:t>
            </a:r>
            <a:endParaRPr lang="en-US" dirty="0"/>
          </a:p>
        </p:txBody>
      </p:sp>
    </p:spTree>
    <p:extLst>
      <p:ext uri="{BB962C8B-B14F-4D97-AF65-F5344CB8AC3E}">
        <p14:creationId xmlns:p14="http://schemas.microsoft.com/office/powerpoint/2010/main" val="936937864"/>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3267" y="184984"/>
            <a:ext cx="8637466" cy="461665"/>
          </a:xfrm>
        </p:spPr>
        <p:txBody>
          <a:bodyPr/>
          <a:lstStyle/>
          <a:p>
            <a:r>
              <a:rPr lang="en-US" dirty="0" smtClean="0"/>
              <a:t>Serving 5G-Ready Opportunities Today </a:t>
            </a:r>
            <a:endParaRPr lang="en-US" dirty="0"/>
          </a:p>
        </p:txBody>
      </p:sp>
      <p:sp>
        <p:nvSpPr>
          <p:cNvPr id="3" name="Rectangle 2"/>
          <p:cNvSpPr/>
          <p:nvPr/>
        </p:nvSpPr>
        <p:spPr>
          <a:xfrm>
            <a:off x="292847" y="1394097"/>
            <a:ext cx="3729318" cy="2490827"/>
          </a:xfrm>
          <a:prstGeom prst="rect">
            <a:avLst/>
          </a:prstGeom>
          <a:solidFill>
            <a:srgbClr val="004BAF"/>
          </a:solidFill>
          <a:ln w="12700"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t>New business opportunities can </a:t>
            </a:r>
            <a:r>
              <a:rPr lang="en-US" sz="2000" dirty="0" smtClean="0"/>
              <a:t>be served </a:t>
            </a:r>
            <a:r>
              <a:rPr lang="en-US" sz="2000" dirty="0"/>
              <a:t>through existing radio </a:t>
            </a:r>
            <a:r>
              <a:rPr lang="en-US" sz="2000" dirty="0" smtClean="0"/>
              <a:t>access</a:t>
            </a:r>
            <a:endParaRPr lang="en-US" sz="2000" dirty="0"/>
          </a:p>
          <a:p>
            <a:pPr algn="ctr"/>
            <a:r>
              <a:rPr lang="en-US" sz="2000" dirty="0"/>
              <a:t>– </a:t>
            </a:r>
            <a:endParaRPr lang="en-US" sz="2000" dirty="0" smtClean="0"/>
          </a:p>
          <a:p>
            <a:pPr algn="ctr"/>
            <a:r>
              <a:rPr lang="en-US" sz="2000" dirty="0" smtClean="0"/>
              <a:t>if </a:t>
            </a:r>
            <a:r>
              <a:rPr lang="en-US" sz="2000" dirty="0"/>
              <a:t>you have a </a:t>
            </a:r>
            <a:r>
              <a:rPr lang="en-US" sz="2000" dirty="0" smtClean="0"/>
              <a:t/>
            </a:r>
            <a:br>
              <a:rPr lang="en-US" sz="2000" dirty="0" smtClean="0"/>
            </a:br>
            <a:r>
              <a:rPr lang="en-US" sz="2000" dirty="0" smtClean="0"/>
              <a:t>5G-ready network</a:t>
            </a:r>
            <a:r>
              <a:rPr lang="en-US" sz="2000" dirty="0"/>
              <a:t> </a:t>
            </a:r>
            <a:r>
              <a:rPr lang="en-US" sz="2000" dirty="0" smtClean="0"/>
              <a:t>foundation </a:t>
            </a:r>
            <a:r>
              <a:rPr lang="en-US" sz="2000" dirty="0"/>
              <a:t>in place</a:t>
            </a:r>
          </a:p>
        </p:txBody>
      </p:sp>
      <p:grpSp>
        <p:nvGrpSpPr>
          <p:cNvPr id="6" name="Group 5"/>
          <p:cNvGrpSpPr/>
          <p:nvPr/>
        </p:nvGrpSpPr>
        <p:grpSpPr>
          <a:xfrm>
            <a:off x="4787153" y="633025"/>
            <a:ext cx="3926541" cy="699033"/>
            <a:chOff x="4787153" y="633025"/>
            <a:chExt cx="3926541" cy="699033"/>
          </a:xfrm>
        </p:grpSpPr>
        <p:sp>
          <p:nvSpPr>
            <p:cNvPr id="94" name="Rectangle 93"/>
            <p:cNvSpPr/>
            <p:nvPr/>
          </p:nvSpPr>
          <p:spPr>
            <a:xfrm>
              <a:off x="4787153" y="633025"/>
              <a:ext cx="3920564" cy="699033"/>
            </a:xfrm>
            <a:prstGeom prst="rect">
              <a:avLst/>
            </a:prstGeom>
            <a:solidFill>
              <a:srgbClr val="00197B"/>
            </a:soli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95" name="TextBox 94"/>
            <p:cNvSpPr txBox="1"/>
            <p:nvPr/>
          </p:nvSpPr>
          <p:spPr>
            <a:xfrm>
              <a:off x="5157975" y="677265"/>
              <a:ext cx="3555719" cy="610552"/>
            </a:xfrm>
            <a:prstGeom prst="rect">
              <a:avLst/>
            </a:prstGeom>
            <a:noFill/>
          </p:spPr>
          <p:txBody>
            <a:bodyPr wrap="square" rtlCol="0" anchor="t" anchorCtr="0">
              <a:spAutoFit/>
            </a:bodyPr>
            <a:lstStyle/>
            <a:p>
              <a:pPr>
                <a:lnSpc>
                  <a:spcPct val="90000"/>
                </a:lnSpc>
              </a:pPr>
              <a:r>
                <a:rPr lang="en-US" sz="2200" dirty="0">
                  <a:solidFill>
                    <a:schemeClr val="bg1"/>
                  </a:solidFill>
                </a:rPr>
                <a:t>$151B</a:t>
              </a:r>
            </a:p>
            <a:p>
              <a:pPr>
                <a:lnSpc>
                  <a:spcPct val="90000"/>
                </a:lnSpc>
              </a:pPr>
              <a:r>
                <a:rPr lang="en-US" sz="1500" dirty="0">
                  <a:solidFill>
                    <a:schemeClr val="bg1"/>
                  </a:solidFill>
                </a:rPr>
                <a:t>Combined AR/VR Market by 2022</a:t>
              </a:r>
            </a:p>
          </p:txBody>
        </p:sp>
        <p:sp>
          <p:nvSpPr>
            <p:cNvPr id="96" name="TextBox 95"/>
            <p:cNvSpPr txBox="1"/>
            <p:nvPr/>
          </p:nvSpPr>
          <p:spPr>
            <a:xfrm>
              <a:off x="6843229" y="704119"/>
              <a:ext cx="1774845" cy="277384"/>
            </a:xfrm>
            <a:prstGeom prst="rect">
              <a:avLst/>
            </a:prstGeom>
            <a:noFill/>
          </p:spPr>
          <p:txBody>
            <a:bodyPr wrap="none" rtlCol="0" anchor="t" anchorCtr="0">
              <a:spAutoFit/>
            </a:bodyPr>
            <a:lstStyle/>
            <a:p>
              <a:pPr algn="r">
                <a:lnSpc>
                  <a:spcPct val="90000"/>
                </a:lnSpc>
              </a:pPr>
              <a:r>
                <a:rPr lang="en-US" sz="1300" dirty="0">
                  <a:solidFill>
                    <a:schemeClr val="accent2">
                      <a:lumMod val="60000"/>
                      <a:lumOff val="40000"/>
                    </a:schemeClr>
                  </a:solidFill>
                </a:rPr>
                <a:t>AR/VR Collaboration</a:t>
              </a:r>
            </a:p>
          </p:txBody>
        </p:sp>
      </p:grpSp>
      <p:grpSp>
        <p:nvGrpSpPr>
          <p:cNvPr id="5" name="Group 4"/>
          <p:cNvGrpSpPr/>
          <p:nvPr/>
        </p:nvGrpSpPr>
        <p:grpSpPr>
          <a:xfrm>
            <a:off x="4787153" y="1417090"/>
            <a:ext cx="3926541" cy="873045"/>
            <a:chOff x="4787153" y="1403990"/>
            <a:chExt cx="3926541" cy="873045"/>
          </a:xfrm>
        </p:grpSpPr>
        <p:sp>
          <p:nvSpPr>
            <p:cNvPr id="99" name="Rectangle 98"/>
            <p:cNvSpPr/>
            <p:nvPr/>
          </p:nvSpPr>
          <p:spPr>
            <a:xfrm>
              <a:off x="4787153" y="1403990"/>
              <a:ext cx="3920564" cy="873045"/>
            </a:xfrm>
            <a:prstGeom prst="rect">
              <a:avLst/>
            </a:prstGeom>
            <a:solidFill>
              <a:srgbClr val="00197B"/>
            </a:soli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97" name="TextBox 96"/>
            <p:cNvSpPr txBox="1"/>
            <p:nvPr/>
          </p:nvSpPr>
          <p:spPr>
            <a:xfrm>
              <a:off x="5157975" y="1448227"/>
              <a:ext cx="3555719" cy="812530"/>
            </a:xfrm>
            <a:prstGeom prst="rect">
              <a:avLst/>
            </a:prstGeom>
            <a:noFill/>
          </p:spPr>
          <p:txBody>
            <a:bodyPr wrap="square" rtlCol="0" anchor="t" anchorCtr="0">
              <a:spAutoFit/>
            </a:bodyPr>
            <a:lstStyle/>
            <a:p>
              <a:pPr>
                <a:lnSpc>
                  <a:spcPct val="90000"/>
                </a:lnSpc>
              </a:pPr>
              <a:r>
                <a:rPr lang="en-US" sz="2200" dirty="0">
                  <a:solidFill>
                    <a:schemeClr val="bg1"/>
                  </a:solidFill>
                </a:rPr>
                <a:t>$1.45T</a:t>
              </a:r>
            </a:p>
            <a:p>
              <a:pPr>
                <a:lnSpc>
                  <a:spcPct val="90000"/>
                </a:lnSpc>
              </a:pPr>
              <a:r>
                <a:rPr lang="en-US" sz="1500" dirty="0">
                  <a:solidFill>
                    <a:schemeClr val="bg1"/>
                  </a:solidFill>
                </a:rPr>
                <a:t>Global Smart City Market by 2020,</a:t>
              </a:r>
            </a:p>
            <a:p>
              <a:pPr>
                <a:lnSpc>
                  <a:spcPct val="90000"/>
                </a:lnSpc>
              </a:pPr>
              <a:r>
                <a:rPr lang="en-US" sz="1500" dirty="0">
                  <a:solidFill>
                    <a:schemeClr val="bg1"/>
                  </a:solidFill>
                </a:rPr>
                <a:t>CAGR of </a:t>
              </a:r>
              <a:r>
                <a:rPr lang="en-US" sz="1500" dirty="0" smtClean="0">
                  <a:solidFill>
                    <a:schemeClr val="bg1"/>
                  </a:solidFill>
                </a:rPr>
                <a:t>almost </a:t>
              </a:r>
              <a:r>
                <a:rPr lang="en-US" sz="1500" dirty="0">
                  <a:solidFill>
                    <a:schemeClr val="bg1"/>
                  </a:solidFill>
                </a:rPr>
                <a:t>20%</a:t>
              </a:r>
            </a:p>
          </p:txBody>
        </p:sp>
        <p:sp>
          <p:nvSpPr>
            <p:cNvPr id="98" name="TextBox 97"/>
            <p:cNvSpPr txBox="1"/>
            <p:nvPr/>
          </p:nvSpPr>
          <p:spPr>
            <a:xfrm>
              <a:off x="7489239" y="1475081"/>
              <a:ext cx="1128835" cy="277384"/>
            </a:xfrm>
            <a:prstGeom prst="rect">
              <a:avLst/>
            </a:prstGeom>
            <a:noFill/>
          </p:spPr>
          <p:txBody>
            <a:bodyPr wrap="none" rtlCol="0" anchor="t" anchorCtr="0">
              <a:spAutoFit/>
            </a:bodyPr>
            <a:lstStyle/>
            <a:p>
              <a:pPr algn="r">
                <a:lnSpc>
                  <a:spcPct val="90000"/>
                </a:lnSpc>
              </a:pPr>
              <a:r>
                <a:rPr lang="en-US" sz="1300" dirty="0">
                  <a:solidFill>
                    <a:schemeClr val="accent2">
                      <a:lumMod val="60000"/>
                      <a:lumOff val="40000"/>
                    </a:schemeClr>
                  </a:solidFill>
                </a:rPr>
                <a:t>Smart Cities</a:t>
              </a:r>
            </a:p>
          </p:txBody>
        </p:sp>
      </p:grpSp>
      <p:grpSp>
        <p:nvGrpSpPr>
          <p:cNvPr id="100" name="Group 99"/>
          <p:cNvGrpSpPr/>
          <p:nvPr/>
        </p:nvGrpSpPr>
        <p:grpSpPr>
          <a:xfrm>
            <a:off x="4787153" y="2375167"/>
            <a:ext cx="3926541" cy="873045"/>
            <a:chOff x="4787153" y="1403990"/>
            <a:chExt cx="3926541" cy="873045"/>
          </a:xfrm>
        </p:grpSpPr>
        <p:sp>
          <p:nvSpPr>
            <p:cNvPr id="101" name="Rectangle 100"/>
            <p:cNvSpPr/>
            <p:nvPr/>
          </p:nvSpPr>
          <p:spPr>
            <a:xfrm>
              <a:off x="4787153" y="1403990"/>
              <a:ext cx="3920564" cy="873045"/>
            </a:xfrm>
            <a:prstGeom prst="rect">
              <a:avLst/>
            </a:prstGeom>
            <a:solidFill>
              <a:srgbClr val="00197B"/>
            </a:soli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2" name="TextBox 101"/>
            <p:cNvSpPr txBox="1"/>
            <p:nvPr/>
          </p:nvSpPr>
          <p:spPr>
            <a:xfrm>
              <a:off x="5157975" y="1448227"/>
              <a:ext cx="3555719" cy="812530"/>
            </a:xfrm>
            <a:prstGeom prst="rect">
              <a:avLst/>
            </a:prstGeom>
            <a:noFill/>
          </p:spPr>
          <p:txBody>
            <a:bodyPr wrap="square" rtlCol="0" anchor="t" anchorCtr="0">
              <a:spAutoFit/>
            </a:bodyPr>
            <a:lstStyle/>
            <a:p>
              <a:pPr>
                <a:lnSpc>
                  <a:spcPct val="90000"/>
                </a:lnSpc>
              </a:pPr>
              <a:r>
                <a:rPr lang="en-US" sz="2200" dirty="0">
                  <a:solidFill>
                    <a:schemeClr val="bg1"/>
                  </a:solidFill>
                </a:rPr>
                <a:t>$141B</a:t>
              </a:r>
            </a:p>
            <a:p>
              <a:pPr>
                <a:lnSpc>
                  <a:spcPct val="90000"/>
                </a:lnSpc>
              </a:pPr>
              <a:r>
                <a:rPr lang="en-US" sz="1500" dirty="0">
                  <a:solidFill>
                    <a:schemeClr val="bg1"/>
                  </a:solidFill>
                </a:rPr>
                <a:t>Global Connected Car Market by</a:t>
              </a:r>
            </a:p>
            <a:p>
              <a:pPr>
                <a:lnSpc>
                  <a:spcPct val="90000"/>
                </a:lnSpc>
              </a:pPr>
              <a:r>
                <a:rPr lang="en-US" sz="1500" dirty="0">
                  <a:solidFill>
                    <a:schemeClr val="bg1"/>
                  </a:solidFill>
                </a:rPr>
                <a:t>2020, 32.7% </a:t>
              </a:r>
              <a:r>
                <a:rPr lang="en-US" sz="1500" dirty="0" err="1">
                  <a:solidFill>
                    <a:schemeClr val="bg1"/>
                  </a:solidFill>
                </a:rPr>
                <a:t>CAGR</a:t>
              </a:r>
              <a:endParaRPr lang="en-US" sz="1500" dirty="0">
                <a:solidFill>
                  <a:schemeClr val="bg1"/>
                </a:solidFill>
              </a:endParaRPr>
            </a:p>
          </p:txBody>
        </p:sp>
        <p:sp>
          <p:nvSpPr>
            <p:cNvPr id="103" name="TextBox 102"/>
            <p:cNvSpPr txBox="1"/>
            <p:nvPr/>
          </p:nvSpPr>
          <p:spPr>
            <a:xfrm>
              <a:off x="7262446" y="1475081"/>
              <a:ext cx="1355628" cy="277384"/>
            </a:xfrm>
            <a:prstGeom prst="rect">
              <a:avLst/>
            </a:prstGeom>
            <a:noFill/>
          </p:spPr>
          <p:txBody>
            <a:bodyPr wrap="none" rtlCol="0" anchor="t" anchorCtr="0">
              <a:spAutoFit/>
            </a:bodyPr>
            <a:lstStyle/>
            <a:p>
              <a:pPr algn="r">
                <a:lnSpc>
                  <a:spcPct val="90000"/>
                </a:lnSpc>
              </a:pPr>
              <a:r>
                <a:rPr lang="en-US" sz="1300" dirty="0">
                  <a:solidFill>
                    <a:schemeClr val="accent2">
                      <a:lumMod val="60000"/>
                      <a:lumOff val="40000"/>
                    </a:schemeClr>
                  </a:solidFill>
                </a:rPr>
                <a:t>Connected Car</a:t>
              </a:r>
            </a:p>
          </p:txBody>
        </p:sp>
      </p:grpSp>
      <p:grpSp>
        <p:nvGrpSpPr>
          <p:cNvPr id="104" name="Group 103"/>
          <p:cNvGrpSpPr/>
          <p:nvPr/>
        </p:nvGrpSpPr>
        <p:grpSpPr>
          <a:xfrm>
            <a:off x="4787153" y="3333244"/>
            <a:ext cx="3926541" cy="699033"/>
            <a:chOff x="4787153" y="633025"/>
            <a:chExt cx="3926541" cy="699033"/>
          </a:xfrm>
        </p:grpSpPr>
        <p:sp>
          <p:nvSpPr>
            <p:cNvPr id="105" name="Rectangle 104"/>
            <p:cNvSpPr/>
            <p:nvPr/>
          </p:nvSpPr>
          <p:spPr>
            <a:xfrm>
              <a:off x="4787153" y="633025"/>
              <a:ext cx="3920564" cy="699033"/>
            </a:xfrm>
            <a:prstGeom prst="rect">
              <a:avLst/>
            </a:prstGeom>
            <a:solidFill>
              <a:srgbClr val="00197B"/>
            </a:soli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6" name="TextBox 105"/>
            <p:cNvSpPr txBox="1"/>
            <p:nvPr/>
          </p:nvSpPr>
          <p:spPr>
            <a:xfrm>
              <a:off x="5157975" y="677265"/>
              <a:ext cx="3555719" cy="610552"/>
            </a:xfrm>
            <a:prstGeom prst="rect">
              <a:avLst/>
            </a:prstGeom>
            <a:noFill/>
          </p:spPr>
          <p:txBody>
            <a:bodyPr wrap="square" rtlCol="0" anchor="t" anchorCtr="0">
              <a:spAutoFit/>
            </a:bodyPr>
            <a:lstStyle/>
            <a:p>
              <a:pPr>
                <a:lnSpc>
                  <a:spcPct val="90000"/>
                </a:lnSpc>
              </a:pPr>
              <a:r>
                <a:rPr lang="en-US" sz="2200" dirty="0">
                  <a:solidFill>
                    <a:schemeClr val="bg1"/>
                  </a:solidFill>
                </a:rPr>
                <a:t>$115B</a:t>
              </a:r>
            </a:p>
            <a:p>
              <a:pPr>
                <a:lnSpc>
                  <a:spcPct val="90000"/>
                </a:lnSpc>
              </a:pPr>
              <a:r>
                <a:rPr lang="en-US" sz="1500" dirty="0">
                  <a:solidFill>
                    <a:schemeClr val="bg1"/>
                  </a:solidFill>
                </a:rPr>
                <a:t>Global Mobile Video Gaming by 2020</a:t>
              </a:r>
            </a:p>
          </p:txBody>
        </p:sp>
        <p:sp>
          <p:nvSpPr>
            <p:cNvPr id="107" name="TextBox 106"/>
            <p:cNvSpPr txBox="1"/>
            <p:nvPr/>
          </p:nvSpPr>
          <p:spPr>
            <a:xfrm>
              <a:off x="7264819" y="704119"/>
              <a:ext cx="1353255" cy="277384"/>
            </a:xfrm>
            <a:prstGeom prst="rect">
              <a:avLst/>
            </a:prstGeom>
            <a:noFill/>
          </p:spPr>
          <p:txBody>
            <a:bodyPr wrap="none" rtlCol="0" anchor="t" anchorCtr="0">
              <a:spAutoFit/>
            </a:bodyPr>
            <a:lstStyle/>
            <a:p>
              <a:pPr algn="r">
                <a:lnSpc>
                  <a:spcPct val="90000"/>
                </a:lnSpc>
              </a:pPr>
              <a:r>
                <a:rPr lang="en-US" sz="1300" dirty="0">
                  <a:solidFill>
                    <a:schemeClr val="accent2">
                      <a:lumMod val="60000"/>
                      <a:lumOff val="40000"/>
                    </a:schemeClr>
                  </a:solidFill>
                </a:rPr>
                <a:t>Mobile Gaming</a:t>
              </a:r>
            </a:p>
          </p:txBody>
        </p:sp>
      </p:grpSp>
      <p:grpSp>
        <p:nvGrpSpPr>
          <p:cNvPr id="108" name="Group 107"/>
          <p:cNvGrpSpPr/>
          <p:nvPr/>
        </p:nvGrpSpPr>
        <p:grpSpPr>
          <a:xfrm>
            <a:off x="4787153" y="4114323"/>
            <a:ext cx="3926541" cy="699033"/>
            <a:chOff x="4787153" y="633025"/>
            <a:chExt cx="3926541" cy="699033"/>
          </a:xfrm>
        </p:grpSpPr>
        <p:sp>
          <p:nvSpPr>
            <p:cNvPr id="109" name="Rectangle 108"/>
            <p:cNvSpPr/>
            <p:nvPr/>
          </p:nvSpPr>
          <p:spPr>
            <a:xfrm>
              <a:off x="4787153" y="633025"/>
              <a:ext cx="3920564" cy="699033"/>
            </a:xfrm>
            <a:prstGeom prst="rect">
              <a:avLst/>
            </a:prstGeom>
            <a:solidFill>
              <a:srgbClr val="00197B"/>
            </a:soli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10" name="TextBox 109"/>
            <p:cNvSpPr txBox="1"/>
            <p:nvPr/>
          </p:nvSpPr>
          <p:spPr>
            <a:xfrm>
              <a:off x="5157975" y="677265"/>
              <a:ext cx="3555719" cy="610552"/>
            </a:xfrm>
            <a:prstGeom prst="rect">
              <a:avLst/>
            </a:prstGeom>
            <a:noFill/>
          </p:spPr>
          <p:txBody>
            <a:bodyPr wrap="square" rtlCol="0" anchor="t" anchorCtr="0">
              <a:spAutoFit/>
            </a:bodyPr>
            <a:lstStyle/>
            <a:p>
              <a:pPr>
                <a:lnSpc>
                  <a:spcPct val="90000"/>
                </a:lnSpc>
              </a:pPr>
              <a:r>
                <a:rPr lang="en-US" sz="2200" dirty="0">
                  <a:solidFill>
                    <a:schemeClr val="bg1"/>
                  </a:solidFill>
                </a:rPr>
                <a:t>200M</a:t>
              </a:r>
            </a:p>
            <a:p>
              <a:pPr>
                <a:lnSpc>
                  <a:spcPct val="90000"/>
                </a:lnSpc>
              </a:pPr>
              <a:r>
                <a:rPr lang="en-US" sz="1500" dirty="0">
                  <a:solidFill>
                    <a:schemeClr val="bg1"/>
                  </a:solidFill>
                </a:rPr>
                <a:t>Global VR Headsets Sold by 2020</a:t>
              </a:r>
            </a:p>
          </p:txBody>
        </p:sp>
        <p:sp>
          <p:nvSpPr>
            <p:cNvPr id="111" name="TextBox 110"/>
            <p:cNvSpPr txBox="1"/>
            <p:nvPr/>
          </p:nvSpPr>
          <p:spPr>
            <a:xfrm>
              <a:off x="7142991" y="730623"/>
              <a:ext cx="1475083" cy="277384"/>
            </a:xfrm>
            <a:prstGeom prst="rect">
              <a:avLst/>
            </a:prstGeom>
            <a:noFill/>
          </p:spPr>
          <p:txBody>
            <a:bodyPr wrap="none" rtlCol="0" anchor="t" anchorCtr="0">
              <a:spAutoFit/>
            </a:bodyPr>
            <a:lstStyle/>
            <a:p>
              <a:pPr algn="r">
                <a:lnSpc>
                  <a:spcPct val="90000"/>
                </a:lnSpc>
              </a:pPr>
              <a:r>
                <a:rPr lang="en-US" sz="1300" dirty="0">
                  <a:solidFill>
                    <a:schemeClr val="accent2">
                      <a:lumMod val="60000"/>
                      <a:lumOff val="40000"/>
                    </a:schemeClr>
                  </a:solidFill>
                </a:rPr>
                <a:t>Consumer Video</a:t>
              </a:r>
            </a:p>
          </p:txBody>
        </p:sp>
      </p:grpSp>
      <p:grpSp>
        <p:nvGrpSpPr>
          <p:cNvPr id="14" name="Group 13"/>
          <p:cNvGrpSpPr/>
          <p:nvPr/>
        </p:nvGrpSpPr>
        <p:grpSpPr>
          <a:xfrm>
            <a:off x="4376005" y="1504096"/>
            <a:ext cx="699538" cy="699033"/>
            <a:chOff x="2445605" y="1796954"/>
            <a:chExt cx="699538" cy="699033"/>
          </a:xfrm>
        </p:grpSpPr>
        <p:sp>
          <p:nvSpPr>
            <p:cNvPr id="15" name="Oval 8"/>
            <p:cNvSpPr>
              <a:spLocks noChangeArrowheads="1"/>
            </p:cNvSpPr>
            <p:nvPr/>
          </p:nvSpPr>
          <p:spPr bwMode="auto">
            <a:xfrm>
              <a:off x="2445605" y="1796954"/>
              <a:ext cx="699538" cy="699033"/>
            </a:xfrm>
            <a:prstGeom prst="ellipse">
              <a:avLst/>
            </a:prstGeom>
            <a:solidFill>
              <a:srgbClr val="FFFFFF"/>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p>
          </p:txBody>
        </p:sp>
        <p:grpSp>
          <p:nvGrpSpPr>
            <p:cNvPr id="16" name="Group 15"/>
            <p:cNvGrpSpPr/>
            <p:nvPr/>
          </p:nvGrpSpPr>
          <p:grpSpPr>
            <a:xfrm>
              <a:off x="2601170" y="1938882"/>
              <a:ext cx="383862" cy="385378"/>
              <a:chOff x="2601170" y="1938882"/>
              <a:chExt cx="383862" cy="385378"/>
            </a:xfrm>
          </p:grpSpPr>
          <p:sp>
            <p:nvSpPr>
              <p:cNvPr id="17" name="Freeform 9"/>
              <p:cNvSpPr>
                <a:spLocks/>
              </p:cNvSpPr>
              <p:nvPr/>
            </p:nvSpPr>
            <p:spPr bwMode="auto">
              <a:xfrm>
                <a:off x="2830982" y="2182332"/>
                <a:ext cx="13132" cy="26264"/>
              </a:xfrm>
              <a:custGeom>
                <a:avLst/>
                <a:gdLst>
                  <a:gd name="T0" fmla="*/ 11 w 11"/>
                  <a:gd name="T1" fmla="*/ 6 h 22"/>
                  <a:gd name="T2" fmla="*/ 6 w 11"/>
                  <a:gd name="T3" fmla="*/ 0 h 22"/>
                  <a:gd name="T4" fmla="*/ 0 w 11"/>
                  <a:gd name="T5" fmla="*/ 6 h 22"/>
                  <a:gd name="T6" fmla="*/ 0 w 11"/>
                  <a:gd name="T7" fmla="*/ 17 h 22"/>
                  <a:gd name="T8" fmla="*/ 6 w 11"/>
                  <a:gd name="T9" fmla="*/ 22 h 22"/>
                  <a:gd name="T10" fmla="*/ 11 w 11"/>
                  <a:gd name="T11" fmla="*/ 17 h 22"/>
                  <a:gd name="T12" fmla="*/ 11 w 11"/>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1" h="22">
                    <a:moveTo>
                      <a:pt x="11" y="6"/>
                    </a:moveTo>
                    <a:cubicBezTo>
                      <a:pt x="11" y="3"/>
                      <a:pt x="9" y="0"/>
                      <a:pt x="6" y="0"/>
                    </a:cubicBezTo>
                    <a:cubicBezTo>
                      <a:pt x="3" y="0"/>
                      <a:pt x="0" y="3"/>
                      <a:pt x="0" y="6"/>
                    </a:cubicBezTo>
                    <a:cubicBezTo>
                      <a:pt x="0" y="17"/>
                      <a:pt x="0" y="17"/>
                      <a:pt x="0" y="17"/>
                    </a:cubicBezTo>
                    <a:cubicBezTo>
                      <a:pt x="0" y="20"/>
                      <a:pt x="3" y="22"/>
                      <a:pt x="6" y="22"/>
                    </a:cubicBezTo>
                    <a:cubicBezTo>
                      <a:pt x="9" y="22"/>
                      <a:pt x="11" y="20"/>
                      <a:pt x="11" y="17"/>
                    </a:cubicBezTo>
                    <a:lnTo>
                      <a:pt x="11"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p:cNvSpPr>
              <p:nvPr/>
            </p:nvSpPr>
            <p:spPr bwMode="auto">
              <a:xfrm>
                <a:off x="2830982" y="2259609"/>
                <a:ext cx="13132" cy="38386"/>
              </a:xfrm>
              <a:custGeom>
                <a:avLst/>
                <a:gdLst>
                  <a:gd name="T0" fmla="*/ 6 w 11"/>
                  <a:gd name="T1" fmla="*/ 0 h 32"/>
                  <a:gd name="T2" fmla="*/ 0 w 11"/>
                  <a:gd name="T3" fmla="*/ 5 h 32"/>
                  <a:gd name="T4" fmla="*/ 0 w 11"/>
                  <a:gd name="T5" fmla="*/ 27 h 32"/>
                  <a:gd name="T6" fmla="*/ 6 w 11"/>
                  <a:gd name="T7" fmla="*/ 32 h 32"/>
                  <a:gd name="T8" fmla="*/ 11 w 11"/>
                  <a:gd name="T9" fmla="*/ 27 h 32"/>
                  <a:gd name="T10" fmla="*/ 11 w 11"/>
                  <a:gd name="T11" fmla="*/ 5 h 32"/>
                  <a:gd name="T12" fmla="*/ 6 w 11"/>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1" h="32">
                    <a:moveTo>
                      <a:pt x="6" y="0"/>
                    </a:moveTo>
                    <a:cubicBezTo>
                      <a:pt x="3" y="0"/>
                      <a:pt x="0" y="2"/>
                      <a:pt x="0" y="5"/>
                    </a:cubicBezTo>
                    <a:cubicBezTo>
                      <a:pt x="0" y="27"/>
                      <a:pt x="0" y="27"/>
                      <a:pt x="0" y="27"/>
                    </a:cubicBezTo>
                    <a:cubicBezTo>
                      <a:pt x="0" y="30"/>
                      <a:pt x="3" y="32"/>
                      <a:pt x="6" y="32"/>
                    </a:cubicBezTo>
                    <a:cubicBezTo>
                      <a:pt x="9" y="32"/>
                      <a:pt x="11" y="30"/>
                      <a:pt x="11" y="27"/>
                    </a:cubicBezTo>
                    <a:cubicBezTo>
                      <a:pt x="11" y="5"/>
                      <a:pt x="11" y="5"/>
                      <a:pt x="11" y="5"/>
                    </a:cubicBezTo>
                    <a:cubicBezTo>
                      <a:pt x="11" y="2"/>
                      <a:pt x="9" y="0"/>
                      <a:pt x="6" y="0"/>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1"/>
              <p:cNvSpPr>
                <a:spLocks/>
              </p:cNvSpPr>
              <p:nvPr/>
            </p:nvSpPr>
            <p:spPr bwMode="auto">
              <a:xfrm>
                <a:off x="2857246" y="2105559"/>
                <a:ext cx="12122" cy="25254"/>
              </a:xfrm>
              <a:custGeom>
                <a:avLst/>
                <a:gdLst>
                  <a:gd name="T0" fmla="*/ 10 w 10"/>
                  <a:gd name="T1" fmla="*/ 5 h 21"/>
                  <a:gd name="T2" fmla="*/ 5 w 10"/>
                  <a:gd name="T3" fmla="*/ 0 h 21"/>
                  <a:gd name="T4" fmla="*/ 0 w 10"/>
                  <a:gd name="T5" fmla="*/ 5 h 21"/>
                  <a:gd name="T6" fmla="*/ 0 w 10"/>
                  <a:gd name="T7" fmla="*/ 16 h 21"/>
                  <a:gd name="T8" fmla="*/ 5 w 10"/>
                  <a:gd name="T9" fmla="*/ 21 h 21"/>
                  <a:gd name="T10" fmla="*/ 10 w 10"/>
                  <a:gd name="T11" fmla="*/ 16 h 21"/>
                  <a:gd name="T12" fmla="*/ 10 w 10"/>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10" h="21">
                    <a:moveTo>
                      <a:pt x="10" y="5"/>
                    </a:moveTo>
                    <a:cubicBezTo>
                      <a:pt x="10" y="2"/>
                      <a:pt x="8" y="0"/>
                      <a:pt x="5" y="0"/>
                    </a:cubicBezTo>
                    <a:cubicBezTo>
                      <a:pt x="2" y="0"/>
                      <a:pt x="0" y="2"/>
                      <a:pt x="0" y="5"/>
                    </a:cubicBezTo>
                    <a:cubicBezTo>
                      <a:pt x="0" y="16"/>
                      <a:pt x="0" y="16"/>
                      <a:pt x="0" y="16"/>
                    </a:cubicBezTo>
                    <a:cubicBezTo>
                      <a:pt x="0" y="19"/>
                      <a:pt x="2" y="21"/>
                      <a:pt x="5" y="21"/>
                    </a:cubicBezTo>
                    <a:cubicBezTo>
                      <a:pt x="8" y="21"/>
                      <a:pt x="10" y="19"/>
                      <a:pt x="10" y="16"/>
                    </a:cubicBezTo>
                    <a:lnTo>
                      <a:pt x="10" y="5"/>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2"/>
              <p:cNvSpPr>
                <a:spLocks/>
              </p:cNvSpPr>
              <p:nvPr/>
            </p:nvSpPr>
            <p:spPr bwMode="auto">
              <a:xfrm>
                <a:off x="2830982" y="2143945"/>
                <a:ext cx="13132" cy="26264"/>
              </a:xfrm>
              <a:custGeom>
                <a:avLst/>
                <a:gdLst>
                  <a:gd name="T0" fmla="*/ 11 w 11"/>
                  <a:gd name="T1" fmla="*/ 6 h 22"/>
                  <a:gd name="T2" fmla="*/ 6 w 11"/>
                  <a:gd name="T3" fmla="*/ 0 h 22"/>
                  <a:gd name="T4" fmla="*/ 0 w 11"/>
                  <a:gd name="T5" fmla="*/ 6 h 22"/>
                  <a:gd name="T6" fmla="*/ 0 w 11"/>
                  <a:gd name="T7" fmla="*/ 16 h 22"/>
                  <a:gd name="T8" fmla="*/ 6 w 11"/>
                  <a:gd name="T9" fmla="*/ 22 h 22"/>
                  <a:gd name="T10" fmla="*/ 11 w 11"/>
                  <a:gd name="T11" fmla="*/ 16 h 22"/>
                  <a:gd name="T12" fmla="*/ 11 w 11"/>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1" h="22">
                    <a:moveTo>
                      <a:pt x="11" y="6"/>
                    </a:moveTo>
                    <a:cubicBezTo>
                      <a:pt x="11" y="3"/>
                      <a:pt x="9" y="0"/>
                      <a:pt x="6" y="0"/>
                    </a:cubicBezTo>
                    <a:cubicBezTo>
                      <a:pt x="3" y="0"/>
                      <a:pt x="0" y="3"/>
                      <a:pt x="0" y="6"/>
                    </a:cubicBezTo>
                    <a:cubicBezTo>
                      <a:pt x="0" y="16"/>
                      <a:pt x="0" y="16"/>
                      <a:pt x="0" y="16"/>
                    </a:cubicBezTo>
                    <a:cubicBezTo>
                      <a:pt x="0" y="19"/>
                      <a:pt x="3" y="22"/>
                      <a:pt x="6" y="22"/>
                    </a:cubicBezTo>
                    <a:cubicBezTo>
                      <a:pt x="9" y="22"/>
                      <a:pt x="11" y="19"/>
                      <a:pt x="11" y="16"/>
                    </a:cubicBezTo>
                    <a:lnTo>
                      <a:pt x="11"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3"/>
              <p:cNvSpPr>
                <a:spLocks/>
              </p:cNvSpPr>
              <p:nvPr/>
            </p:nvSpPr>
            <p:spPr bwMode="auto">
              <a:xfrm>
                <a:off x="2830982" y="2221728"/>
                <a:ext cx="13132" cy="24749"/>
              </a:xfrm>
              <a:custGeom>
                <a:avLst/>
                <a:gdLst>
                  <a:gd name="T0" fmla="*/ 11 w 11"/>
                  <a:gd name="T1" fmla="*/ 5 h 21"/>
                  <a:gd name="T2" fmla="*/ 6 w 11"/>
                  <a:gd name="T3" fmla="*/ 0 h 21"/>
                  <a:gd name="T4" fmla="*/ 0 w 11"/>
                  <a:gd name="T5" fmla="*/ 5 h 21"/>
                  <a:gd name="T6" fmla="*/ 0 w 11"/>
                  <a:gd name="T7" fmla="*/ 16 h 21"/>
                  <a:gd name="T8" fmla="*/ 6 w 11"/>
                  <a:gd name="T9" fmla="*/ 21 h 21"/>
                  <a:gd name="T10" fmla="*/ 11 w 11"/>
                  <a:gd name="T11" fmla="*/ 16 h 21"/>
                  <a:gd name="T12" fmla="*/ 11 w 11"/>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11" h="21">
                    <a:moveTo>
                      <a:pt x="11" y="5"/>
                    </a:moveTo>
                    <a:cubicBezTo>
                      <a:pt x="11" y="2"/>
                      <a:pt x="9" y="0"/>
                      <a:pt x="6" y="0"/>
                    </a:cubicBezTo>
                    <a:cubicBezTo>
                      <a:pt x="3" y="0"/>
                      <a:pt x="0" y="2"/>
                      <a:pt x="0" y="5"/>
                    </a:cubicBezTo>
                    <a:cubicBezTo>
                      <a:pt x="0" y="16"/>
                      <a:pt x="0" y="16"/>
                      <a:pt x="0" y="16"/>
                    </a:cubicBezTo>
                    <a:cubicBezTo>
                      <a:pt x="0" y="19"/>
                      <a:pt x="3" y="21"/>
                      <a:pt x="6" y="21"/>
                    </a:cubicBezTo>
                    <a:cubicBezTo>
                      <a:pt x="9" y="21"/>
                      <a:pt x="11" y="19"/>
                      <a:pt x="11" y="16"/>
                    </a:cubicBezTo>
                    <a:lnTo>
                      <a:pt x="11" y="5"/>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4"/>
              <p:cNvSpPr>
                <a:spLocks/>
              </p:cNvSpPr>
              <p:nvPr/>
            </p:nvSpPr>
            <p:spPr bwMode="auto">
              <a:xfrm>
                <a:off x="2857246" y="2143945"/>
                <a:ext cx="12122" cy="26264"/>
              </a:xfrm>
              <a:custGeom>
                <a:avLst/>
                <a:gdLst>
                  <a:gd name="T0" fmla="*/ 10 w 10"/>
                  <a:gd name="T1" fmla="*/ 6 h 22"/>
                  <a:gd name="T2" fmla="*/ 5 w 10"/>
                  <a:gd name="T3" fmla="*/ 0 h 22"/>
                  <a:gd name="T4" fmla="*/ 0 w 10"/>
                  <a:gd name="T5" fmla="*/ 6 h 22"/>
                  <a:gd name="T6" fmla="*/ 0 w 10"/>
                  <a:gd name="T7" fmla="*/ 16 h 22"/>
                  <a:gd name="T8" fmla="*/ 5 w 10"/>
                  <a:gd name="T9" fmla="*/ 22 h 22"/>
                  <a:gd name="T10" fmla="*/ 10 w 10"/>
                  <a:gd name="T11" fmla="*/ 16 h 22"/>
                  <a:gd name="T12" fmla="*/ 10 w 10"/>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10" y="6"/>
                    </a:moveTo>
                    <a:cubicBezTo>
                      <a:pt x="10" y="3"/>
                      <a:pt x="8" y="0"/>
                      <a:pt x="5" y="0"/>
                    </a:cubicBezTo>
                    <a:cubicBezTo>
                      <a:pt x="2" y="0"/>
                      <a:pt x="0" y="3"/>
                      <a:pt x="0" y="6"/>
                    </a:cubicBezTo>
                    <a:cubicBezTo>
                      <a:pt x="0" y="16"/>
                      <a:pt x="0" y="16"/>
                      <a:pt x="0" y="16"/>
                    </a:cubicBezTo>
                    <a:cubicBezTo>
                      <a:pt x="0" y="19"/>
                      <a:pt x="2" y="22"/>
                      <a:pt x="5" y="22"/>
                    </a:cubicBezTo>
                    <a:cubicBezTo>
                      <a:pt x="8" y="22"/>
                      <a:pt x="10" y="19"/>
                      <a:pt x="10" y="16"/>
                    </a:cubicBezTo>
                    <a:lnTo>
                      <a:pt x="10"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5"/>
              <p:cNvSpPr>
                <a:spLocks/>
              </p:cNvSpPr>
              <p:nvPr/>
            </p:nvSpPr>
            <p:spPr bwMode="auto">
              <a:xfrm>
                <a:off x="2806233" y="2105559"/>
                <a:ext cx="11617" cy="25254"/>
              </a:xfrm>
              <a:custGeom>
                <a:avLst/>
                <a:gdLst>
                  <a:gd name="T0" fmla="*/ 10 w 10"/>
                  <a:gd name="T1" fmla="*/ 5 h 21"/>
                  <a:gd name="T2" fmla="*/ 5 w 10"/>
                  <a:gd name="T3" fmla="*/ 0 h 21"/>
                  <a:gd name="T4" fmla="*/ 0 w 10"/>
                  <a:gd name="T5" fmla="*/ 5 h 21"/>
                  <a:gd name="T6" fmla="*/ 0 w 10"/>
                  <a:gd name="T7" fmla="*/ 16 h 21"/>
                  <a:gd name="T8" fmla="*/ 5 w 10"/>
                  <a:gd name="T9" fmla="*/ 21 h 21"/>
                  <a:gd name="T10" fmla="*/ 10 w 10"/>
                  <a:gd name="T11" fmla="*/ 16 h 21"/>
                  <a:gd name="T12" fmla="*/ 10 w 10"/>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10" h="21">
                    <a:moveTo>
                      <a:pt x="10" y="5"/>
                    </a:moveTo>
                    <a:cubicBezTo>
                      <a:pt x="10" y="2"/>
                      <a:pt x="8" y="0"/>
                      <a:pt x="5" y="0"/>
                    </a:cubicBezTo>
                    <a:cubicBezTo>
                      <a:pt x="2" y="0"/>
                      <a:pt x="0" y="2"/>
                      <a:pt x="0" y="5"/>
                    </a:cubicBezTo>
                    <a:cubicBezTo>
                      <a:pt x="0" y="16"/>
                      <a:pt x="0" y="16"/>
                      <a:pt x="0" y="16"/>
                    </a:cubicBezTo>
                    <a:cubicBezTo>
                      <a:pt x="0" y="19"/>
                      <a:pt x="2" y="21"/>
                      <a:pt x="5" y="21"/>
                    </a:cubicBezTo>
                    <a:cubicBezTo>
                      <a:pt x="8" y="21"/>
                      <a:pt x="10" y="19"/>
                      <a:pt x="10" y="16"/>
                    </a:cubicBezTo>
                    <a:lnTo>
                      <a:pt x="10" y="5"/>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6"/>
              <p:cNvSpPr>
                <a:spLocks/>
              </p:cNvSpPr>
              <p:nvPr/>
            </p:nvSpPr>
            <p:spPr bwMode="auto">
              <a:xfrm>
                <a:off x="2830982" y="2105559"/>
                <a:ext cx="13132" cy="25254"/>
              </a:xfrm>
              <a:custGeom>
                <a:avLst/>
                <a:gdLst>
                  <a:gd name="T0" fmla="*/ 11 w 11"/>
                  <a:gd name="T1" fmla="*/ 5 h 21"/>
                  <a:gd name="T2" fmla="*/ 6 w 11"/>
                  <a:gd name="T3" fmla="*/ 0 h 21"/>
                  <a:gd name="T4" fmla="*/ 0 w 11"/>
                  <a:gd name="T5" fmla="*/ 5 h 21"/>
                  <a:gd name="T6" fmla="*/ 0 w 11"/>
                  <a:gd name="T7" fmla="*/ 16 h 21"/>
                  <a:gd name="T8" fmla="*/ 6 w 11"/>
                  <a:gd name="T9" fmla="*/ 21 h 21"/>
                  <a:gd name="T10" fmla="*/ 11 w 11"/>
                  <a:gd name="T11" fmla="*/ 16 h 21"/>
                  <a:gd name="T12" fmla="*/ 11 w 11"/>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11" h="21">
                    <a:moveTo>
                      <a:pt x="11" y="5"/>
                    </a:moveTo>
                    <a:cubicBezTo>
                      <a:pt x="11" y="2"/>
                      <a:pt x="9" y="0"/>
                      <a:pt x="6" y="0"/>
                    </a:cubicBezTo>
                    <a:cubicBezTo>
                      <a:pt x="3" y="0"/>
                      <a:pt x="0" y="2"/>
                      <a:pt x="0" y="5"/>
                    </a:cubicBezTo>
                    <a:cubicBezTo>
                      <a:pt x="0" y="16"/>
                      <a:pt x="0" y="16"/>
                      <a:pt x="0" y="16"/>
                    </a:cubicBezTo>
                    <a:cubicBezTo>
                      <a:pt x="0" y="19"/>
                      <a:pt x="3" y="21"/>
                      <a:pt x="6" y="21"/>
                    </a:cubicBezTo>
                    <a:cubicBezTo>
                      <a:pt x="9" y="21"/>
                      <a:pt x="11" y="19"/>
                      <a:pt x="11" y="16"/>
                    </a:cubicBezTo>
                    <a:lnTo>
                      <a:pt x="11" y="5"/>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7"/>
              <p:cNvSpPr>
                <a:spLocks/>
              </p:cNvSpPr>
              <p:nvPr/>
            </p:nvSpPr>
            <p:spPr bwMode="auto">
              <a:xfrm>
                <a:off x="2857246" y="2028282"/>
                <a:ext cx="12122" cy="26264"/>
              </a:xfrm>
              <a:custGeom>
                <a:avLst/>
                <a:gdLst>
                  <a:gd name="T0" fmla="*/ 10 w 10"/>
                  <a:gd name="T1" fmla="*/ 17 h 22"/>
                  <a:gd name="T2" fmla="*/ 10 w 10"/>
                  <a:gd name="T3" fmla="*/ 6 h 22"/>
                  <a:gd name="T4" fmla="*/ 5 w 10"/>
                  <a:gd name="T5" fmla="*/ 0 h 22"/>
                  <a:gd name="T6" fmla="*/ 0 w 10"/>
                  <a:gd name="T7" fmla="*/ 6 h 22"/>
                  <a:gd name="T8" fmla="*/ 0 w 10"/>
                  <a:gd name="T9" fmla="*/ 17 h 22"/>
                  <a:gd name="T10" fmla="*/ 5 w 10"/>
                  <a:gd name="T11" fmla="*/ 22 h 22"/>
                  <a:gd name="T12" fmla="*/ 10 w 10"/>
                  <a:gd name="T13" fmla="*/ 17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10" y="17"/>
                    </a:moveTo>
                    <a:cubicBezTo>
                      <a:pt x="10" y="6"/>
                      <a:pt x="10" y="6"/>
                      <a:pt x="10" y="6"/>
                    </a:cubicBezTo>
                    <a:cubicBezTo>
                      <a:pt x="10" y="3"/>
                      <a:pt x="8" y="0"/>
                      <a:pt x="5" y="0"/>
                    </a:cubicBezTo>
                    <a:cubicBezTo>
                      <a:pt x="2" y="0"/>
                      <a:pt x="0" y="3"/>
                      <a:pt x="0" y="6"/>
                    </a:cubicBezTo>
                    <a:cubicBezTo>
                      <a:pt x="0" y="17"/>
                      <a:pt x="0" y="17"/>
                      <a:pt x="0" y="17"/>
                    </a:cubicBezTo>
                    <a:cubicBezTo>
                      <a:pt x="0" y="20"/>
                      <a:pt x="2" y="22"/>
                      <a:pt x="5" y="22"/>
                    </a:cubicBezTo>
                    <a:cubicBezTo>
                      <a:pt x="8" y="22"/>
                      <a:pt x="10" y="20"/>
                      <a:pt x="10" y="17"/>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8"/>
              <p:cNvSpPr>
                <a:spLocks/>
              </p:cNvSpPr>
              <p:nvPr/>
            </p:nvSpPr>
            <p:spPr bwMode="auto">
              <a:xfrm>
                <a:off x="2806233" y="2143945"/>
                <a:ext cx="11617" cy="26264"/>
              </a:xfrm>
              <a:custGeom>
                <a:avLst/>
                <a:gdLst>
                  <a:gd name="T0" fmla="*/ 10 w 10"/>
                  <a:gd name="T1" fmla="*/ 6 h 22"/>
                  <a:gd name="T2" fmla="*/ 5 w 10"/>
                  <a:gd name="T3" fmla="*/ 0 h 22"/>
                  <a:gd name="T4" fmla="*/ 0 w 10"/>
                  <a:gd name="T5" fmla="*/ 6 h 22"/>
                  <a:gd name="T6" fmla="*/ 0 w 10"/>
                  <a:gd name="T7" fmla="*/ 16 h 22"/>
                  <a:gd name="T8" fmla="*/ 5 w 10"/>
                  <a:gd name="T9" fmla="*/ 22 h 22"/>
                  <a:gd name="T10" fmla="*/ 10 w 10"/>
                  <a:gd name="T11" fmla="*/ 16 h 22"/>
                  <a:gd name="T12" fmla="*/ 10 w 10"/>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10" y="6"/>
                    </a:moveTo>
                    <a:cubicBezTo>
                      <a:pt x="10" y="3"/>
                      <a:pt x="8" y="0"/>
                      <a:pt x="5" y="0"/>
                    </a:cubicBezTo>
                    <a:cubicBezTo>
                      <a:pt x="2" y="0"/>
                      <a:pt x="0" y="3"/>
                      <a:pt x="0" y="6"/>
                    </a:cubicBezTo>
                    <a:cubicBezTo>
                      <a:pt x="0" y="16"/>
                      <a:pt x="0" y="16"/>
                      <a:pt x="0" y="16"/>
                    </a:cubicBezTo>
                    <a:cubicBezTo>
                      <a:pt x="0" y="19"/>
                      <a:pt x="2" y="22"/>
                      <a:pt x="5" y="22"/>
                    </a:cubicBezTo>
                    <a:cubicBezTo>
                      <a:pt x="8" y="22"/>
                      <a:pt x="10" y="19"/>
                      <a:pt x="10" y="16"/>
                    </a:cubicBezTo>
                    <a:lnTo>
                      <a:pt x="10"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9"/>
              <p:cNvSpPr>
                <a:spLocks/>
              </p:cNvSpPr>
              <p:nvPr/>
            </p:nvSpPr>
            <p:spPr bwMode="auto">
              <a:xfrm>
                <a:off x="2882501" y="2028282"/>
                <a:ext cx="13132" cy="26264"/>
              </a:xfrm>
              <a:custGeom>
                <a:avLst/>
                <a:gdLst>
                  <a:gd name="T0" fmla="*/ 11 w 11"/>
                  <a:gd name="T1" fmla="*/ 6 h 22"/>
                  <a:gd name="T2" fmla="*/ 6 w 11"/>
                  <a:gd name="T3" fmla="*/ 0 h 22"/>
                  <a:gd name="T4" fmla="*/ 0 w 11"/>
                  <a:gd name="T5" fmla="*/ 6 h 22"/>
                  <a:gd name="T6" fmla="*/ 0 w 11"/>
                  <a:gd name="T7" fmla="*/ 17 h 22"/>
                  <a:gd name="T8" fmla="*/ 6 w 11"/>
                  <a:gd name="T9" fmla="*/ 22 h 22"/>
                  <a:gd name="T10" fmla="*/ 11 w 11"/>
                  <a:gd name="T11" fmla="*/ 17 h 22"/>
                  <a:gd name="T12" fmla="*/ 11 w 11"/>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1" h="22">
                    <a:moveTo>
                      <a:pt x="11" y="6"/>
                    </a:moveTo>
                    <a:cubicBezTo>
                      <a:pt x="11" y="3"/>
                      <a:pt x="9" y="0"/>
                      <a:pt x="6" y="0"/>
                    </a:cubicBezTo>
                    <a:cubicBezTo>
                      <a:pt x="3" y="0"/>
                      <a:pt x="0" y="3"/>
                      <a:pt x="0" y="6"/>
                    </a:cubicBezTo>
                    <a:cubicBezTo>
                      <a:pt x="0" y="17"/>
                      <a:pt x="0" y="17"/>
                      <a:pt x="0" y="17"/>
                    </a:cubicBezTo>
                    <a:cubicBezTo>
                      <a:pt x="0" y="20"/>
                      <a:pt x="3" y="22"/>
                      <a:pt x="6" y="22"/>
                    </a:cubicBezTo>
                    <a:cubicBezTo>
                      <a:pt x="9" y="22"/>
                      <a:pt x="11" y="20"/>
                      <a:pt x="11" y="17"/>
                    </a:cubicBezTo>
                    <a:lnTo>
                      <a:pt x="11"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0"/>
              <p:cNvSpPr>
                <a:spLocks/>
              </p:cNvSpPr>
              <p:nvPr/>
            </p:nvSpPr>
            <p:spPr bwMode="auto">
              <a:xfrm>
                <a:off x="2806233" y="2182332"/>
                <a:ext cx="11617" cy="26264"/>
              </a:xfrm>
              <a:custGeom>
                <a:avLst/>
                <a:gdLst>
                  <a:gd name="T0" fmla="*/ 5 w 10"/>
                  <a:gd name="T1" fmla="*/ 0 h 22"/>
                  <a:gd name="T2" fmla="*/ 0 w 10"/>
                  <a:gd name="T3" fmla="*/ 6 h 22"/>
                  <a:gd name="T4" fmla="*/ 0 w 10"/>
                  <a:gd name="T5" fmla="*/ 17 h 22"/>
                  <a:gd name="T6" fmla="*/ 5 w 10"/>
                  <a:gd name="T7" fmla="*/ 22 h 22"/>
                  <a:gd name="T8" fmla="*/ 10 w 10"/>
                  <a:gd name="T9" fmla="*/ 17 h 22"/>
                  <a:gd name="T10" fmla="*/ 10 w 10"/>
                  <a:gd name="T11" fmla="*/ 6 h 22"/>
                  <a:gd name="T12" fmla="*/ 5 w 10"/>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5" y="0"/>
                    </a:moveTo>
                    <a:cubicBezTo>
                      <a:pt x="2" y="0"/>
                      <a:pt x="0" y="3"/>
                      <a:pt x="0" y="6"/>
                    </a:cubicBezTo>
                    <a:cubicBezTo>
                      <a:pt x="0" y="17"/>
                      <a:pt x="0" y="17"/>
                      <a:pt x="0" y="17"/>
                    </a:cubicBezTo>
                    <a:cubicBezTo>
                      <a:pt x="0" y="20"/>
                      <a:pt x="2" y="22"/>
                      <a:pt x="5" y="22"/>
                    </a:cubicBezTo>
                    <a:cubicBezTo>
                      <a:pt x="8" y="22"/>
                      <a:pt x="10" y="20"/>
                      <a:pt x="10" y="17"/>
                    </a:cubicBezTo>
                    <a:cubicBezTo>
                      <a:pt x="10" y="6"/>
                      <a:pt x="10" y="6"/>
                      <a:pt x="10" y="6"/>
                    </a:cubicBezTo>
                    <a:cubicBezTo>
                      <a:pt x="10" y="3"/>
                      <a:pt x="8" y="0"/>
                      <a:pt x="5" y="0"/>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1"/>
              <p:cNvSpPr>
                <a:spLocks/>
              </p:cNvSpPr>
              <p:nvPr/>
            </p:nvSpPr>
            <p:spPr bwMode="auto">
              <a:xfrm>
                <a:off x="2908765" y="2221728"/>
                <a:ext cx="12122" cy="24749"/>
              </a:xfrm>
              <a:custGeom>
                <a:avLst/>
                <a:gdLst>
                  <a:gd name="T0" fmla="*/ 10 w 10"/>
                  <a:gd name="T1" fmla="*/ 5 h 21"/>
                  <a:gd name="T2" fmla="*/ 5 w 10"/>
                  <a:gd name="T3" fmla="*/ 0 h 21"/>
                  <a:gd name="T4" fmla="*/ 0 w 10"/>
                  <a:gd name="T5" fmla="*/ 5 h 21"/>
                  <a:gd name="T6" fmla="*/ 0 w 10"/>
                  <a:gd name="T7" fmla="*/ 16 h 21"/>
                  <a:gd name="T8" fmla="*/ 5 w 10"/>
                  <a:gd name="T9" fmla="*/ 21 h 21"/>
                  <a:gd name="T10" fmla="*/ 10 w 10"/>
                  <a:gd name="T11" fmla="*/ 16 h 21"/>
                  <a:gd name="T12" fmla="*/ 10 w 10"/>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10" h="21">
                    <a:moveTo>
                      <a:pt x="10" y="5"/>
                    </a:moveTo>
                    <a:cubicBezTo>
                      <a:pt x="10" y="2"/>
                      <a:pt x="8" y="0"/>
                      <a:pt x="5" y="0"/>
                    </a:cubicBezTo>
                    <a:cubicBezTo>
                      <a:pt x="2" y="0"/>
                      <a:pt x="0" y="2"/>
                      <a:pt x="0" y="5"/>
                    </a:cubicBezTo>
                    <a:cubicBezTo>
                      <a:pt x="0" y="16"/>
                      <a:pt x="0" y="16"/>
                      <a:pt x="0" y="16"/>
                    </a:cubicBezTo>
                    <a:cubicBezTo>
                      <a:pt x="0" y="19"/>
                      <a:pt x="2" y="21"/>
                      <a:pt x="5" y="21"/>
                    </a:cubicBezTo>
                    <a:cubicBezTo>
                      <a:pt x="8" y="21"/>
                      <a:pt x="10" y="19"/>
                      <a:pt x="10" y="16"/>
                    </a:cubicBezTo>
                    <a:lnTo>
                      <a:pt x="10" y="5"/>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2"/>
              <p:cNvSpPr>
                <a:spLocks/>
              </p:cNvSpPr>
              <p:nvPr/>
            </p:nvSpPr>
            <p:spPr bwMode="auto">
              <a:xfrm>
                <a:off x="2908765" y="2259609"/>
                <a:ext cx="12122" cy="38386"/>
              </a:xfrm>
              <a:custGeom>
                <a:avLst/>
                <a:gdLst>
                  <a:gd name="T0" fmla="*/ 5 w 10"/>
                  <a:gd name="T1" fmla="*/ 0 h 32"/>
                  <a:gd name="T2" fmla="*/ 0 w 10"/>
                  <a:gd name="T3" fmla="*/ 5 h 32"/>
                  <a:gd name="T4" fmla="*/ 0 w 10"/>
                  <a:gd name="T5" fmla="*/ 27 h 32"/>
                  <a:gd name="T6" fmla="*/ 5 w 10"/>
                  <a:gd name="T7" fmla="*/ 32 h 32"/>
                  <a:gd name="T8" fmla="*/ 10 w 10"/>
                  <a:gd name="T9" fmla="*/ 27 h 32"/>
                  <a:gd name="T10" fmla="*/ 10 w 10"/>
                  <a:gd name="T11" fmla="*/ 5 h 32"/>
                  <a:gd name="T12" fmla="*/ 5 w 10"/>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0" h="32">
                    <a:moveTo>
                      <a:pt x="5" y="0"/>
                    </a:moveTo>
                    <a:cubicBezTo>
                      <a:pt x="2" y="0"/>
                      <a:pt x="0" y="2"/>
                      <a:pt x="0" y="5"/>
                    </a:cubicBezTo>
                    <a:cubicBezTo>
                      <a:pt x="0" y="27"/>
                      <a:pt x="0" y="27"/>
                      <a:pt x="0" y="27"/>
                    </a:cubicBezTo>
                    <a:cubicBezTo>
                      <a:pt x="0" y="30"/>
                      <a:pt x="2" y="32"/>
                      <a:pt x="5" y="32"/>
                    </a:cubicBezTo>
                    <a:cubicBezTo>
                      <a:pt x="8" y="32"/>
                      <a:pt x="10" y="30"/>
                      <a:pt x="10" y="27"/>
                    </a:cubicBezTo>
                    <a:cubicBezTo>
                      <a:pt x="10" y="5"/>
                      <a:pt x="10" y="5"/>
                      <a:pt x="10" y="5"/>
                    </a:cubicBezTo>
                    <a:cubicBezTo>
                      <a:pt x="10" y="2"/>
                      <a:pt x="8" y="0"/>
                      <a:pt x="5" y="0"/>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3"/>
              <p:cNvSpPr>
                <a:spLocks/>
              </p:cNvSpPr>
              <p:nvPr/>
            </p:nvSpPr>
            <p:spPr bwMode="auto">
              <a:xfrm>
                <a:off x="2934019" y="2182332"/>
                <a:ext cx="13132" cy="26264"/>
              </a:xfrm>
              <a:custGeom>
                <a:avLst/>
                <a:gdLst>
                  <a:gd name="T0" fmla="*/ 6 w 11"/>
                  <a:gd name="T1" fmla="*/ 0 h 22"/>
                  <a:gd name="T2" fmla="*/ 0 w 11"/>
                  <a:gd name="T3" fmla="*/ 6 h 22"/>
                  <a:gd name="T4" fmla="*/ 0 w 11"/>
                  <a:gd name="T5" fmla="*/ 17 h 22"/>
                  <a:gd name="T6" fmla="*/ 6 w 11"/>
                  <a:gd name="T7" fmla="*/ 22 h 22"/>
                  <a:gd name="T8" fmla="*/ 11 w 11"/>
                  <a:gd name="T9" fmla="*/ 17 h 22"/>
                  <a:gd name="T10" fmla="*/ 11 w 11"/>
                  <a:gd name="T11" fmla="*/ 6 h 22"/>
                  <a:gd name="T12" fmla="*/ 6 w 11"/>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1" h="22">
                    <a:moveTo>
                      <a:pt x="6" y="0"/>
                    </a:moveTo>
                    <a:cubicBezTo>
                      <a:pt x="3" y="0"/>
                      <a:pt x="0" y="3"/>
                      <a:pt x="0" y="6"/>
                    </a:cubicBezTo>
                    <a:cubicBezTo>
                      <a:pt x="0" y="17"/>
                      <a:pt x="0" y="17"/>
                      <a:pt x="0" y="17"/>
                    </a:cubicBezTo>
                    <a:cubicBezTo>
                      <a:pt x="0" y="20"/>
                      <a:pt x="3" y="22"/>
                      <a:pt x="6" y="22"/>
                    </a:cubicBezTo>
                    <a:cubicBezTo>
                      <a:pt x="9" y="22"/>
                      <a:pt x="11" y="20"/>
                      <a:pt x="11" y="17"/>
                    </a:cubicBezTo>
                    <a:cubicBezTo>
                      <a:pt x="11" y="6"/>
                      <a:pt x="11" y="6"/>
                      <a:pt x="11" y="6"/>
                    </a:cubicBezTo>
                    <a:cubicBezTo>
                      <a:pt x="11" y="3"/>
                      <a:pt x="9" y="0"/>
                      <a:pt x="6" y="0"/>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4"/>
              <p:cNvSpPr>
                <a:spLocks/>
              </p:cNvSpPr>
              <p:nvPr/>
            </p:nvSpPr>
            <p:spPr bwMode="auto">
              <a:xfrm>
                <a:off x="2830982" y="1976763"/>
                <a:ext cx="140918" cy="231833"/>
              </a:xfrm>
              <a:custGeom>
                <a:avLst/>
                <a:gdLst>
                  <a:gd name="T0" fmla="*/ 6 w 118"/>
                  <a:gd name="T1" fmla="*/ 65 h 194"/>
                  <a:gd name="T2" fmla="*/ 11 w 118"/>
                  <a:gd name="T3" fmla="*/ 60 h 194"/>
                  <a:gd name="T4" fmla="*/ 11 w 118"/>
                  <a:gd name="T5" fmla="*/ 37 h 194"/>
                  <a:gd name="T6" fmla="*/ 65 w 118"/>
                  <a:gd name="T7" fmla="*/ 23 h 194"/>
                  <a:gd name="T8" fmla="*/ 65 w 118"/>
                  <a:gd name="T9" fmla="*/ 113 h 194"/>
                  <a:gd name="T10" fmla="*/ 68 w 118"/>
                  <a:gd name="T11" fmla="*/ 118 h 194"/>
                  <a:gd name="T12" fmla="*/ 108 w 118"/>
                  <a:gd name="T13" fmla="*/ 133 h 194"/>
                  <a:gd name="T14" fmla="*/ 108 w 118"/>
                  <a:gd name="T15" fmla="*/ 189 h 194"/>
                  <a:gd name="T16" fmla="*/ 113 w 118"/>
                  <a:gd name="T17" fmla="*/ 194 h 194"/>
                  <a:gd name="T18" fmla="*/ 118 w 118"/>
                  <a:gd name="T19" fmla="*/ 189 h 194"/>
                  <a:gd name="T20" fmla="*/ 118 w 118"/>
                  <a:gd name="T21" fmla="*/ 129 h 194"/>
                  <a:gd name="T22" fmla="*/ 115 w 118"/>
                  <a:gd name="T23" fmla="*/ 124 h 194"/>
                  <a:gd name="T24" fmla="*/ 75 w 118"/>
                  <a:gd name="T25" fmla="*/ 110 h 194"/>
                  <a:gd name="T26" fmla="*/ 75 w 118"/>
                  <a:gd name="T27" fmla="*/ 6 h 194"/>
                  <a:gd name="T28" fmla="*/ 70 w 118"/>
                  <a:gd name="T29" fmla="*/ 0 h 194"/>
                  <a:gd name="T30" fmla="*/ 65 w 118"/>
                  <a:gd name="T31" fmla="*/ 6 h 194"/>
                  <a:gd name="T32" fmla="*/ 65 w 118"/>
                  <a:gd name="T33" fmla="*/ 12 h 194"/>
                  <a:gd name="T34" fmla="*/ 4 w 118"/>
                  <a:gd name="T35" fmla="*/ 27 h 194"/>
                  <a:gd name="T36" fmla="*/ 0 w 118"/>
                  <a:gd name="T37" fmla="*/ 33 h 194"/>
                  <a:gd name="T38" fmla="*/ 0 w 118"/>
                  <a:gd name="T39" fmla="*/ 60 h 194"/>
                  <a:gd name="T40" fmla="*/ 6 w 118"/>
                  <a:gd name="T41" fmla="*/ 6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94">
                    <a:moveTo>
                      <a:pt x="6" y="65"/>
                    </a:moveTo>
                    <a:cubicBezTo>
                      <a:pt x="9" y="65"/>
                      <a:pt x="11" y="63"/>
                      <a:pt x="11" y="60"/>
                    </a:cubicBezTo>
                    <a:cubicBezTo>
                      <a:pt x="11" y="37"/>
                      <a:pt x="11" y="37"/>
                      <a:pt x="11" y="37"/>
                    </a:cubicBezTo>
                    <a:cubicBezTo>
                      <a:pt x="65" y="23"/>
                      <a:pt x="65" y="23"/>
                      <a:pt x="65" y="23"/>
                    </a:cubicBezTo>
                    <a:cubicBezTo>
                      <a:pt x="65" y="113"/>
                      <a:pt x="65" y="113"/>
                      <a:pt x="65" y="113"/>
                    </a:cubicBezTo>
                    <a:cubicBezTo>
                      <a:pt x="65" y="116"/>
                      <a:pt x="66" y="118"/>
                      <a:pt x="68" y="118"/>
                    </a:cubicBezTo>
                    <a:cubicBezTo>
                      <a:pt x="108" y="133"/>
                      <a:pt x="108" y="133"/>
                      <a:pt x="108" y="133"/>
                    </a:cubicBezTo>
                    <a:cubicBezTo>
                      <a:pt x="108" y="189"/>
                      <a:pt x="108" y="189"/>
                      <a:pt x="108" y="189"/>
                    </a:cubicBezTo>
                    <a:cubicBezTo>
                      <a:pt x="108" y="192"/>
                      <a:pt x="110" y="194"/>
                      <a:pt x="113" y="194"/>
                    </a:cubicBezTo>
                    <a:cubicBezTo>
                      <a:pt x="116" y="194"/>
                      <a:pt x="118" y="192"/>
                      <a:pt x="118" y="189"/>
                    </a:cubicBezTo>
                    <a:cubicBezTo>
                      <a:pt x="118" y="129"/>
                      <a:pt x="118" y="129"/>
                      <a:pt x="118" y="129"/>
                    </a:cubicBezTo>
                    <a:cubicBezTo>
                      <a:pt x="118" y="127"/>
                      <a:pt x="117" y="125"/>
                      <a:pt x="115" y="124"/>
                    </a:cubicBezTo>
                    <a:cubicBezTo>
                      <a:pt x="75" y="110"/>
                      <a:pt x="75" y="110"/>
                      <a:pt x="75" y="110"/>
                    </a:cubicBezTo>
                    <a:cubicBezTo>
                      <a:pt x="75" y="6"/>
                      <a:pt x="75" y="6"/>
                      <a:pt x="75" y="6"/>
                    </a:cubicBezTo>
                    <a:cubicBezTo>
                      <a:pt x="75" y="3"/>
                      <a:pt x="73" y="0"/>
                      <a:pt x="70" y="0"/>
                    </a:cubicBezTo>
                    <a:cubicBezTo>
                      <a:pt x="67" y="0"/>
                      <a:pt x="65" y="3"/>
                      <a:pt x="65" y="6"/>
                    </a:cubicBezTo>
                    <a:cubicBezTo>
                      <a:pt x="65" y="12"/>
                      <a:pt x="65" y="12"/>
                      <a:pt x="65" y="12"/>
                    </a:cubicBezTo>
                    <a:cubicBezTo>
                      <a:pt x="4" y="27"/>
                      <a:pt x="4" y="27"/>
                      <a:pt x="4" y="27"/>
                    </a:cubicBezTo>
                    <a:cubicBezTo>
                      <a:pt x="2" y="28"/>
                      <a:pt x="0" y="30"/>
                      <a:pt x="0" y="33"/>
                    </a:cubicBezTo>
                    <a:cubicBezTo>
                      <a:pt x="0" y="60"/>
                      <a:pt x="0" y="60"/>
                      <a:pt x="0" y="60"/>
                    </a:cubicBezTo>
                    <a:cubicBezTo>
                      <a:pt x="0" y="63"/>
                      <a:pt x="3" y="65"/>
                      <a:pt x="6" y="65"/>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5"/>
              <p:cNvSpPr>
                <a:spLocks/>
              </p:cNvSpPr>
              <p:nvPr/>
            </p:nvSpPr>
            <p:spPr bwMode="auto">
              <a:xfrm>
                <a:off x="2934019" y="2143945"/>
                <a:ext cx="13132" cy="26264"/>
              </a:xfrm>
              <a:custGeom>
                <a:avLst/>
                <a:gdLst>
                  <a:gd name="T0" fmla="*/ 11 w 11"/>
                  <a:gd name="T1" fmla="*/ 6 h 22"/>
                  <a:gd name="T2" fmla="*/ 6 w 11"/>
                  <a:gd name="T3" fmla="*/ 0 h 22"/>
                  <a:gd name="T4" fmla="*/ 0 w 11"/>
                  <a:gd name="T5" fmla="*/ 6 h 22"/>
                  <a:gd name="T6" fmla="*/ 0 w 11"/>
                  <a:gd name="T7" fmla="*/ 16 h 22"/>
                  <a:gd name="T8" fmla="*/ 6 w 11"/>
                  <a:gd name="T9" fmla="*/ 22 h 22"/>
                  <a:gd name="T10" fmla="*/ 11 w 11"/>
                  <a:gd name="T11" fmla="*/ 16 h 22"/>
                  <a:gd name="T12" fmla="*/ 11 w 11"/>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1" h="22">
                    <a:moveTo>
                      <a:pt x="11" y="6"/>
                    </a:moveTo>
                    <a:cubicBezTo>
                      <a:pt x="11" y="3"/>
                      <a:pt x="9" y="0"/>
                      <a:pt x="6" y="0"/>
                    </a:cubicBezTo>
                    <a:cubicBezTo>
                      <a:pt x="3" y="0"/>
                      <a:pt x="0" y="3"/>
                      <a:pt x="0" y="6"/>
                    </a:cubicBezTo>
                    <a:cubicBezTo>
                      <a:pt x="0" y="16"/>
                      <a:pt x="0" y="16"/>
                      <a:pt x="0" y="16"/>
                    </a:cubicBezTo>
                    <a:cubicBezTo>
                      <a:pt x="0" y="19"/>
                      <a:pt x="3" y="22"/>
                      <a:pt x="6" y="22"/>
                    </a:cubicBezTo>
                    <a:cubicBezTo>
                      <a:pt x="9" y="22"/>
                      <a:pt x="11" y="19"/>
                      <a:pt x="11" y="16"/>
                    </a:cubicBezTo>
                    <a:lnTo>
                      <a:pt x="11"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6"/>
              <p:cNvSpPr>
                <a:spLocks/>
              </p:cNvSpPr>
              <p:nvPr/>
            </p:nvSpPr>
            <p:spPr bwMode="auto">
              <a:xfrm>
                <a:off x="2908765" y="2143945"/>
                <a:ext cx="12122" cy="26264"/>
              </a:xfrm>
              <a:custGeom>
                <a:avLst/>
                <a:gdLst>
                  <a:gd name="T0" fmla="*/ 10 w 10"/>
                  <a:gd name="T1" fmla="*/ 6 h 22"/>
                  <a:gd name="T2" fmla="*/ 5 w 10"/>
                  <a:gd name="T3" fmla="*/ 0 h 22"/>
                  <a:gd name="T4" fmla="*/ 0 w 10"/>
                  <a:gd name="T5" fmla="*/ 6 h 22"/>
                  <a:gd name="T6" fmla="*/ 0 w 10"/>
                  <a:gd name="T7" fmla="*/ 16 h 22"/>
                  <a:gd name="T8" fmla="*/ 5 w 10"/>
                  <a:gd name="T9" fmla="*/ 22 h 22"/>
                  <a:gd name="T10" fmla="*/ 10 w 10"/>
                  <a:gd name="T11" fmla="*/ 16 h 22"/>
                  <a:gd name="T12" fmla="*/ 10 w 10"/>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10" y="6"/>
                    </a:moveTo>
                    <a:cubicBezTo>
                      <a:pt x="10" y="3"/>
                      <a:pt x="8" y="0"/>
                      <a:pt x="5" y="0"/>
                    </a:cubicBezTo>
                    <a:cubicBezTo>
                      <a:pt x="2" y="0"/>
                      <a:pt x="0" y="3"/>
                      <a:pt x="0" y="6"/>
                    </a:cubicBezTo>
                    <a:cubicBezTo>
                      <a:pt x="0" y="16"/>
                      <a:pt x="0" y="16"/>
                      <a:pt x="0" y="16"/>
                    </a:cubicBezTo>
                    <a:cubicBezTo>
                      <a:pt x="0" y="19"/>
                      <a:pt x="2" y="22"/>
                      <a:pt x="5" y="22"/>
                    </a:cubicBezTo>
                    <a:cubicBezTo>
                      <a:pt x="8" y="22"/>
                      <a:pt x="10" y="19"/>
                      <a:pt x="10" y="16"/>
                    </a:cubicBezTo>
                    <a:lnTo>
                      <a:pt x="10"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7"/>
              <p:cNvSpPr>
                <a:spLocks/>
              </p:cNvSpPr>
              <p:nvPr/>
            </p:nvSpPr>
            <p:spPr bwMode="auto">
              <a:xfrm>
                <a:off x="2857246" y="2221728"/>
                <a:ext cx="12122" cy="24749"/>
              </a:xfrm>
              <a:custGeom>
                <a:avLst/>
                <a:gdLst>
                  <a:gd name="T0" fmla="*/ 10 w 10"/>
                  <a:gd name="T1" fmla="*/ 5 h 21"/>
                  <a:gd name="T2" fmla="*/ 5 w 10"/>
                  <a:gd name="T3" fmla="*/ 0 h 21"/>
                  <a:gd name="T4" fmla="*/ 0 w 10"/>
                  <a:gd name="T5" fmla="*/ 5 h 21"/>
                  <a:gd name="T6" fmla="*/ 0 w 10"/>
                  <a:gd name="T7" fmla="*/ 16 h 21"/>
                  <a:gd name="T8" fmla="*/ 5 w 10"/>
                  <a:gd name="T9" fmla="*/ 21 h 21"/>
                  <a:gd name="T10" fmla="*/ 10 w 10"/>
                  <a:gd name="T11" fmla="*/ 16 h 21"/>
                  <a:gd name="T12" fmla="*/ 10 w 10"/>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10" h="21">
                    <a:moveTo>
                      <a:pt x="10" y="5"/>
                    </a:moveTo>
                    <a:cubicBezTo>
                      <a:pt x="10" y="2"/>
                      <a:pt x="8" y="0"/>
                      <a:pt x="5" y="0"/>
                    </a:cubicBezTo>
                    <a:cubicBezTo>
                      <a:pt x="2" y="0"/>
                      <a:pt x="0" y="2"/>
                      <a:pt x="0" y="5"/>
                    </a:cubicBezTo>
                    <a:cubicBezTo>
                      <a:pt x="0" y="16"/>
                      <a:pt x="0" y="16"/>
                      <a:pt x="0" y="16"/>
                    </a:cubicBezTo>
                    <a:cubicBezTo>
                      <a:pt x="0" y="19"/>
                      <a:pt x="2" y="21"/>
                      <a:pt x="5" y="21"/>
                    </a:cubicBezTo>
                    <a:cubicBezTo>
                      <a:pt x="8" y="21"/>
                      <a:pt x="10" y="19"/>
                      <a:pt x="10" y="16"/>
                    </a:cubicBezTo>
                    <a:lnTo>
                      <a:pt x="10" y="5"/>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8"/>
              <p:cNvSpPr>
                <a:spLocks/>
              </p:cNvSpPr>
              <p:nvPr/>
            </p:nvSpPr>
            <p:spPr bwMode="auto">
              <a:xfrm>
                <a:off x="2908765" y="2182332"/>
                <a:ext cx="12122" cy="26264"/>
              </a:xfrm>
              <a:custGeom>
                <a:avLst/>
                <a:gdLst>
                  <a:gd name="T0" fmla="*/ 10 w 10"/>
                  <a:gd name="T1" fmla="*/ 6 h 22"/>
                  <a:gd name="T2" fmla="*/ 5 w 10"/>
                  <a:gd name="T3" fmla="*/ 0 h 22"/>
                  <a:gd name="T4" fmla="*/ 0 w 10"/>
                  <a:gd name="T5" fmla="*/ 6 h 22"/>
                  <a:gd name="T6" fmla="*/ 0 w 10"/>
                  <a:gd name="T7" fmla="*/ 17 h 22"/>
                  <a:gd name="T8" fmla="*/ 5 w 10"/>
                  <a:gd name="T9" fmla="*/ 22 h 22"/>
                  <a:gd name="T10" fmla="*/ 10 w 10"/>
                  <a:gd name="T11" fmla="*/ 17 h 22"/>
                  <a:gd name="T12" fmla="*/ 10 w 10"/>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10" y="6"/>
                    </a:moveTo>
                    <a:cubicBezTo>
                      <a:pt x="10" y="3"/>
                      <a:pt x="8" y="0"/>
                      <a:pt x="5" y="0"/>
                    </a:cubicBezTo>
                    <a:cubicBezTo>
                      <a:pt x="2" y="0"/>
                      <a:pt x="0" y="3"/>
                      <a:pt x="0" y="6"/>
                    </a:cubicBezTo>
                    <a:cubicBezTo>
                      <a:pt x="0" y="17"/>
                      <a:pt x="0" y="17"/>
                      <a:pt x="0" y="17"/>
                    </a:cubicBezTo>
                    <a:cubicBezTo>
                      <a:pt x="0" y="20"/>
                      <a:pt x="2" y="22"/>
                      <a:pt x="5" y="22"/>
                    </a:cubicBezTo>
                    <a:cubicBezTo>
                      <a:pt x="8" y="22"/>
                      <a:pt x="10" y="20"/>
                      <a:pt x="10" y="17"/>
                    </a:cubicBezTo>
                    <a:lnTo>
                      <a:pt x="10"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9"/>
              <p:cNvSpPr>
                <a:spLocks/>
              </p:cNvSpPr>
              <p:nvPr/>
            </p:nvSpPr>
            <p:spPr bwMode="auto">
              <a:xfrm>
                <a:off x="2857246" y="2259609"/>
                <a:ext cx="12122" cy="38386"/>
              </a:xfrm>
              <a:custGeom>
                <a:avLst/>
                <a:gdLst>
                  <a:gd name="T0" fmla="*/ 5 w 10"/>
                  <a:gd name="T1" fmla="*/ 0 h 32"/>
                  <a:gd name="T2" fmla="*/ 0 w 10"/>
                  <a:gd name="T3" fmla="*/ 5 h 32"/>
                  <a:gd name="T4" fmla="*/ 0 w 10"/>
                  <a:gd name="T5" fmla="*/ 27 h 32"/>
                  <a:gd name="T6" fmla="*/ 5 w 10"/>
                  <a:gd name="T7" fmla="*/ 32 h 32"/>
                  <a:gd name="T8" fmla="*/ 10 w 10"/>
                  <a:gd name="T9" fmla="*/ 27 h 32"/>
                  <a:gd name="T10" fmla="*/ 10 w 10"/>
                  <a:gd name="T11" fmla="*/ 5 h 32"/>
                  <a:gd name="T12" fmla="*/ 5 w 10"/>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0" h="32">
                    <a:moveTo>
                      <a:pt x="5" y="0"/>
                    </a:moveTo>
                    <a:cubicBezTo>
                      <a:pt x="2" y="0"/>
                      <a:pt x="0" y="2"/>
                      <a:pt x="0" y="5"/>
                    </a:cubicBezTo>
                    <a:cubicBezTo>
                      <a:pt x="0" y="27"/>
                      <a:pt x="0" y="27"/>
                      <a:pt x="0" y="27"/>
                    </a:cubicBezTo>
                    <a:cubicBezTo>
                      <a:pt x="0" y="30"/>
                      <a:pt x="2" y="32"/>
                      <a:pt x="5" y="32"/>
                    </a:cubicBezTo>
                    <a:cubicBezTo>
                      <a:pt x="8" y="32"/>
                      <a:pt x="10" y="30"/>
                      <a:pt x="10" y="27"/>
                    </a:cubicBezTo>
                    <a:cubicBezTo>
                      <a:pt x="10" y="5"/>
                      <a:pt x="10" y="5"/>
                      <a:pt x="10" y="5"/>
                    </a:cubicBezTo>
                    <a:cubicBezTo>
                      <a:pt x="10" y="2"/>
                      <a:pt x="8" y="0"/>
                      <a:pt x="5" y="0"/>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0"/>
              <p:cNvSpPr>
                <a:spLocks/>
              </p:cNvSpPr>
              <p:nvPr/>
            </p:nvSpPr>
            <p:spPr bwMode="auto">
              <a:xfrm>
                <a:off x="2857246" y="2182332"/>
                <a:ext cx="12122" cy="26264"/>
              </a:xfrm>
              <a:custGeom>
                <a:avLst/>
                <a:gdLst>
                  <a:gd name="T0" fmla="*/ 10 w 10"/>
                  <a:gd name="T1" fmla="*/ 6 h 22"/>
                  <a:gd name="T2" fmla="*/ 5 w 10"/>
                  <a:gd name="T3" fmla="*/ 0 h 22"/>
                  <a:gd name="T4" fmla="*/ 0 w 10"/>
                  <a:gd name="T5" fmla="*/ 6 h 22"/>
                  <a:gd name="T6" fmla="*/ 0 w 10"/>
                  <a:gd name="T7" fmla="*/ 17 h 22"/>
                  <a:gd name="T8" fmla="*/ 5 w 10"/>
                  <a:gd name="T9" fmla="*/ 22 h 22"/>
                  <a:gd name="T10" fmla="*/ 10 w 10"/>
                  <a:gd name="T11" fmla="*/ 17 h 22"/>
                  <a:gd name="T12" fmla="*/ 10 w 10"/>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10" y="6"/>
                    </a:moveTo>
                    <a:cubicBezTo>
                      <a:pt x="10" y="3"/>
                      <a:pt x="8" y="0"/>
                      <a:pt x="5" y="0"/>
                    </a:cubicBezTo>
                    <a:cubicBezTo>
                      <a:pt x="2" y="0"/>
                      <a:pt x="0" y="3"/>
                      <a:pt x="0" y="6"/>
                    </a:cubicBezTo>
                    <a:cubicBezTo>
                      <a:pt x="0" y="17"/>
                      <a:pt x="0" y="17"/>
                      <a:pt x="0" y="17"/>
                    </a:cubicBezTo>
                    <a:cubicBezTo>
                      <a:pt x="0" y="20"/>
                      <a:pt x="2" y="22"/>
                      <a:pt x="5" y="22"/>
                    </a:cubicBezTo>
                    <a:cubicBezTo>
                      <a:pt x="8" y="22"/>
                      <a:pt x="10" y="20"/>
                      <a:pt x="10" y="17"/>
                    </a:cubicBezTo>
                    <a:lnTo>
                      <a:pt x="10"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1"/>
              <p:cNvSpPr>
                <a:spLocks/>
              </p:cNvSpPr>
              <p:nvPr/>
            </p:nvSpPr>
            <p:spPr bwMode="auto">
              <a:xfrm>
                <a:off x="2779969" y="2054546"/>
                <a:ext cx="115664" cy="243449"/>
              </a:xfrm>
              <a:custGeom>
                <a:avLst/>
                <a:gdLst>
                  <a:gd name="T0" fmla="*/ 92 w 97"/>
                  <a:gd name="T1" fmla="*/ 204 h 204"/>
                  <a:gd name="T2" fmla="*/ 97 w 97"/>
                  <a:gd name="T3" fmla="*/ 199 h 204"/>
                  <a:gd name="T4" fmla="*/ 97 w 97"/>
                  <a:gd name="T5" fmla="*/ 27 h 204"/>
                  <a:gd name="T6" fmla="*/ 93 w 97"/>
                  <a:gd name="T7" fmla="*/ 22 h 204"/>
                  <a:gd name="T8" fmla="*/ 7 w 97"/>
                  <a:gd name="T9" fmla="*/ 0 h 204"/>
                  <a:gd name="T10" fmla="*/ 2 w 97"/>
                  <a:gd name="T11" fmla="*/ 1 h 204"/>
                  <a:gd name="T12" fmla="*/ 0 w 97"/>
                  <a:gd name="T13" fmla="*/ 5 h 204"/>
                  <a:gd name="T14" fmla="*/ 0 w 97"/>
                  <a:gd name="T15" fmla="*/ 124 h 204"/>
                  <a:gd name="T16" fmla="*/ 6 w 97"/>
                  <a:gd name="T17" fmla="*/ 129 h 204"/>
                  <a:gd name="T18" fmla="*/ 11 w 97"/>
                  <a:gd name="T19" fmla="*/ 124 h 204"/>
                  <a:gd name="T20" fmla="*/ 11 w 97"/>
                  <a:gd name="T21" fmla="*/ 12 h 204"/>
                  <a:gd name="T22" fmla="*/ 86 w 97"/>
                  <a:gd name="T23" fmla="*/ 31 h 204"/>
                  <a:gd name="T24" fmla="*/ 86 w 97"/>
                  <a:gd name="T25" fmla="*/ 199 h 204"/>
                  <a:gd name="T26" fmla="*/ 92 w 97"/>
                  <a:gd name="T2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204">
                    <a:moveTo>
                      <a:pt x="92" y="204"/>
                    </a:moveTo>
                    <a:cubicBezTo>
                      <a:pt x="95" y="204"/>
                      <a:pt x="97" y="202"/>
                      <a:pt x="97" y="199"/>
                    </a:cubicBezTo>
                    <a:cubicBezTo>
                      <a:pt x="97" y="27"/>
                      <a:pt x="97" y="27"/>
                      <a:pt x="97" y="27"/>
                    </a:cubicBezTo>
                    <a:cubicBezTo>
                      <a:pt x="97" y="24"/>
                      <a:pt x="95" y="22"/>
                      <a:pt x="93" y="22"/>
                    </a:cubicBezTo>
                    <a:cubicBezTo>
                      <a:pt x="7" y="0"/>
                      <a:pt x="7" y="0"/>
                      <a:pt x="7" y="0"/>
                    </a:cubicBezTo>
                    <a:cubicBezTo>
                      <a:pt x="5" y="0"/>
                      <a:pt x="4" y="0"/>
                      <a:pt x="2" y="1"/>
                    </a:cubicBezTo>
                    <a:cubicBezTo>
                      <a:pt x="1" y="2"/>
                      <a:pt x="0" y="4"/>
                      <a:pt x="0" y="5"/>
                    </a:cubicBezTo>
                    <a:cubicBezTo>
                      <a:pt x="0" y="124"/>
                      <a:pt x="0" y="124"/>
                      <a:pt x="0" y="124"/>
                    </a:cubicBezTo>
                    <a:cubicBezTo>
                      <a:pt x="0" y="127"/>
                      <a:pt x="3" y="129"/>
                      <a:pt x="6" y="129"/>
                    </a:cubicBezTo>
                    <a:cubicBezTo>
                      <a:pt x="9" y="129"/>
                      <a:pt x="11" y="127"/>
                      <a:pt x="11" y="124"/>
                    </a:cubicBezTo>
                    <a:cubicBezTo>
                      <a:pt x="11" y="12"/>
                      <a:pt x="11" y="12"/>
                      <a:pt x="11" y="12"/>
                    </a:cubicBezTo>
                    <a:cubicBezTo>
                      <a:pt x="86" y="31"/>
                      <a:pt x="86" y="31"/>
                      <a:pt x="86" y="31"/>
                    </a:cubicBezTo>
                    <a:cubicBezTo>
                      <a:pt x="86" y="199"/>
                      <a:pt x="86" y="199"/>
                      <a:pt x="86" y="199"/>
                    </a:cubicBezTo>
                    <a:cubicBezTo>
                      <a:pt x="86" y="202"/>
                      <a:pt x="89" y="204"/>
                      <a:pt x="92" y="204"/>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2"/>
              <p:cNvSpPr>
                <a:spLocks/>
              </p:cNvSpPr>
              <p:nvPr/>
            </p:nvSpPr>
            <p:spPr bwMode="auto">
              <a:xfrm>
                <a:off x="2728451" y="2067678"/>
                <a:ext cx="13132" cy="24749"/>
              </a:xfrm>
              <a:custGeom>
                <a:avLst/>
                <a:gdLst>
                  <a:gd name="T0" fmla="*/ 11 w 11"/>
                  <a:gd name="T1" fmla="*/ 5 h 21"/>
                  <a:gd name="T2" fmla="*/ 6 w 11"/>
                  <a:gd name="T3" fmla="*/ 0 h 21"/>
                  <a:gd name="T4" fmla="*/ 0 w 11"/>
                  <a:gd name="T5" fmla="*/ 5 h 21"/>
                  <a:gd name="T6" fmla="*/ 0 w 11"/>
                  <a:gd name="T7" fmla="*/ 16 h 21"/>
                  <a:gd name="T8" fmla="*/ 6 w 11"/>
                  <a:gd name="T9" fmla="*/ 21 h 21"/>
                  <a:gd name="T10" fmla="*/ 11 w 11"/>
                  <a:gd name="T11" fmla="*/ 16 h 21"/>
                  <a:gd name="T12" fmla="*/ 11 w 11"/>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11" h="21">
                    <a:moveTo>
                      <a:pt x="11" y="5"/>
                    </a:moveTo>
                    <a:cubicBezTo>
                      <a:pt x="11" y="2"/>
                      <a:pt x="9" y="0"/>
                      <a:pt x="6" y="0"/>
                    </a:cubicBezTo>
                    <a:cubicBezTo>
                      <a:pt x="3" y="0"/>
                      <a:pt x="0" y="2"/>
                      <a:pt x="0" y="5"/>
                    </a:cubicBezTo>
                    <a:cubicBezTo>
                      <a:pt x="0" y="16"/>
                      <a:pt x="0" y="16"/>
                      <a:pt x="0" y="16"/>
                    </a:cubicBezTo>
                    <a:cubicBezTo>
                      <a:pt x="0" y="19"/>
                      <a:pt x="3" y="21"/>
                      <a:pt x="6" y="21"/>
                    </a:cubicBezTo>
                    <a:cubicBezTo>
                      <a:pt x="9" y="21"/>
                      <a:pt x="11" y="19"/>
                      <a:pt x="11" y="16"/>
                    </a:cubicBezTo>
                    <a:lnTo>
                      <a:pt x="11" y="5"/>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3"/>
              <p:cNvSpPr>
                <a:spLocks/>
              </p:cNvSpPr>
              <p:nvPr/>
            </p:nvSpPr>
            <p:spPr bwMode="auto">
              <a:xfrm>
                <a:off x="2728451" y="2028282"/>
                <a:ext cx="13132" cy="26264"/>
              </a:xfrm>
              <a:custGeom>
                <a:avLst/>
                <a:gdLst>
                  <a:gd name="T0" fmla="*/ 11 w 11"/>
                  <a:gd name="T1" fmla="*/ 6 h 22"/>
                  <a:gd name="T2" fmla="*/ 6 w 11"/>
                  <a:gd name="T3" fmla="*/ 0 h 22"/>
                  <a:gd name="T4" fmla="*/ 0 w 11"/>
                  <a:gd name="T5" fmla="*/ 6 h 22"/>
                  <a:gd name="T6" fmla="*/ 0 w 11"/>
                  <a:gd name="T7" fmla="*/ 17 h 22"/>
                  <a:gd name="T8" fmla="*/ 6 w 11"/>
                  <a:gd name="T9" fmla="*/ 22 h 22"/>
                  <a:gd name="T10" fmla="*/ 11 w 11"/>
                  <a:gd name="T11" fmla="*/ 17 h 22"/>
                  <a:gd name="T12" fmla="*/ 11 w 11"/>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1" h="22">
                    <a:moveTo>
                      <a:pt x="11" y="6"/>
                    </a:moveTo>
                    <a:cubicBezTo>
                      <a:pt x="11" y="3"/>
                      <a:pt x="9" y="0"/>
                      <a:pt x="6" y="0"/>
                    </a:cubicBezTo>
                    <a:cubicBezTo>
                      <a:pt x="3" y="0"/>
                      <a:pt x="0" y="3"/>
                      <a:pt x="0" y="6"/>
                    </a:cubicBezTo>
                    <a:cubicBezTo>
                      <a:pt x="0" y="17"/>
                      <a:pt x="0" y="17"/>
                      <a:pt x="0" y="17"/>
                    </a:cubicBezTo>
                    <a:cubicBezTo>
                      <a:pt x="0" y="20"/>
                      <a:pt x="3" y="22"/>
                      <a:pt x="6" y="22"/>
                    </a:cubicBezTo>
                    <a:cubicBezTo>
                      <a:pt x="9" y="22"/>
                      <a:pt x="11" y="20"/>
                      <a:pt x="11" y="17"/>
                    </a:cubicBezTo>
                    <a:lnTo>
                      <a:pt x="11"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4"/>
              <p:cNvSpPr>
                <a:spLocks/>
              </p:cNvSpPr>
              <p:nvPr/>
            </p:nvSpPr>
            <p:spPr bwMode="auto">
              <a:xfrm>
                <a:off x="2677437" y="2221728"/>
                <a:ext cx="13132" cy="24749"/>
              </a:xfrm>
              <a:custGeom>
                <a:avLst/>
                <a:gdLst>
                  <a:gd name="T0" fmla="*/ 11 w 11"/>
                  <a:gd name="T1" fmla="*/ 5 h 21"/>
                  <a:gd name="T2" fmla="*/ 6 w 11"/>
                  <a:gd name="T3" fmla="*/ 0 h 21"/>
                  <a:gd name="T4" fmla="*/ 0 w 11"/>
                  <a:gd name="T5" fmla="*/ 5 h 21"/>
                  <a:gd name="T6" fmla="*/ 0 w 11"/>
                  <a:gd name="T7" fmla="*/ 16 h 21"/>
                  <a:gd name="T8" fmla="*/ 6 w 11"/>
                  <a:gd name="T9" fmla="*/ 21 h 21"/>
                  <a:gd name="T10" fmla="*/ 11 w 11"/>
                  <a:gd name="T11" fmla="*/ 16 h 21"/>
                  <a:gd name="T12" fmla="*/ 11 w 11"/>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11" h="21">
                    <a:moveTo>
                      <a:pt x="11" y="5"/>
                    </a:moveTo>
                    <a:cubicBezTo>
                      <a:pt x="11" y="2"/>
                      <a:pt x="9" y="0"/>
                      <a:pt x="6" y="0"/>
                    </a:cubicBezTo>
                    <a:cubicBezTo>
                      <a:pt x="3" y="0"/>
                      <a:pt x="0" y="2"/>
                      <a:pt x="0" y="5"/>
                    </a:cubicBezTo>
                    <a:cubicBezTo>
                      <a:pt x="0" y="16"/>
                      <a:pt x="0" y="16"/>
                      <a:pt x="0" y="16"/>
                    </a:cubicBezTo>
                    <a:cubicBezTo>
                      <a:pt x="0" y="19"/>
                      <a:pt x="3" y="21"/>
                      <a:pt x="6" y="21"/>
                    </a:cubicBezTo>
                    <a:cubicBezTo>
                      <a:pt x="9" y="21"/>
                      <a:pt x="11" y="19"/>
                      <a:pt x="11" y="16"/>
                    </a:cubicBezTo>
                    <a:lnTo>
                      <a:pt x="11" y="5"/>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5"/>
              <p:cNvSpPr>
                <a:spLocks/>
              </p:cNvSpPr>
              <p:nvPr/>
            </p:nvSpPr>
            <p:spPr bwMode="auto">
              <a:xfrm>
                <a:off x="2625919" y="2118691"/>
                <a:ext cx="89399" cy="179304"/>
              </a:xfrm>
              <a:custGeom>
                <a:avLst/>
                <a:gdLst>
                  <a:gd name="T0" fmla="*/ 6 w 75"/>
                  <a:gd name="T1" fmla="*/ 43 h 150"/>
                  <a:gd name="T2" fmla="*/ 11 w 75"/>
                  <a:gd name="T3" fmla="*/ 37 h 150"/>
                  <a:gd name="T4" fmla="*/ 11 w 75"/>
                  <a:gd name="T5" fmla="*/ 10 h 150"/>
                  <a:gd name="T6" fmla="*/ 65 w 75"/>
                  <a:gd name="T7" fmla="*/ 10 h 150"/>
                  <a:gd name="T8" fmla="*/ 65 w 75"/>
                  <a:gd name="T9" fmla="*/ 145 h 150"/>
                  <a:gd name="T10" fmla="*/ 70 w 75"/>
                  <a:gd name="T11" fmla="*/ 150 h 150"/>
                  <a:gd name="T12" fmla="*/ 75 w 75"/>
                  <a:gd name="T13" fmla="*/ 145 h 150"/>
                  <a:gd name="T14" fmla="*/ 75 w 75"/>
                  <a:gd name="T15" fmla="*/ 5 h 150"/>
                  <a:gd name="T16" fmla="*/ 70 w 75"/>
                  <a:gd name="T17" fmla="*/ 0 h 150"/>
                  <a:gd name="T18" fmla="*/ 6 w 75"/>
                  <a:gd name="T19" fmla="*/ 0 h 150"/>
                  <a:gd name="T20" fmla="*/ 0 w 75"/>
                  <a:gd name="T21" fmla="*/ 5 h 150"/>
                  <a:gd name="T22" fmla="*/ 0 w 75"/>
                  <a:gd name="T23" fmla="*/ 37 h 150"/>
                  <a:gd name="T24" fmla="*/ 6 w 75"/>
                  <a:gd name="T25" fmla="*/ 4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50">
                    <a:moveTo>
                      <a:pt x="6" y="43"/>
                    </a:moveTo>
                    <a:cubicBezTo>
                      <a:pt x="9" y="43"/>
                      <a:pt x="11" y="40"/>
                      <a:pt x="11" y="37"/>
                    </a:cubicBezTo>
                    <a:cubicBezTo>
                      <a:pt x="11" y="10"/>
                      <a:pt x="11" y="10"/>
                      <a:pt x="11" y="10"/>
                    </a:cubicBezTo>
                    <a:cubicBezTo>
                      <a:pt x="65" y="10"/>
                      <a:pt x="65" y="10"/>
                      <a:pt x="65" y="10"/>
                    </a:cubicBezTo>
                    <a:cubicBezTo>
                      <a:pt x="65" y="145"/>
                      <a:pt x="65" y="145"/>
                      <a:pt x="65" y="145"/>
                    </a:cubicBezTo>
                    <a:cubicBezTo>
                      <a:pt x="65" y="148"/>
                      <a:pt x="67" y="150"/>
                      <a:pt x="70" y="150"/>
                    </a:cubicBezTo>
                    <a:cubicBezTo>
                      <a:pt x="73" y="150"/>
                      <a:pt x="75" y="148"/>
                      <a:pt x="75" y="145"/>
                    </a:cubicBezTo>
                    <a:cubicBezTo>
                      <a:pt x="75" y="5"/>
                      <a:pt x="75" y="5"/>
                      <a:pt x="75" y="5"/>
                    </a:cubicBezTo>
                    <a:cubicBezTo>
                      <a:pt x="75" y="2"/>
                      <a:pt x="73" y="0"/>
                      <a:pt x="70" y="0"/>
                    </a:cubicBezTo>
                    <a:cubicBezTo>
                      <a:pt x="6" y="0"/>
                      <a:pt x="6" y="0"/>
                      <a:pt x="6" y="0"/>
                    </a:cubicBezTo>
                    <a:cubicBezTo>
                      <a:pt x="3" y="0"/>
                      <a:pt x="0" y="2"/>
                      <a:pt x="0" y="5"/>
                    </a:cubicBezTo>
                    <a:cubicBezTo>
                      <a:pt x="0" y="37"/>
                      <a:pt x="0" y="37"/>
                      <a:pt x="0" y="37"/>
                    </a:cubicBezTo>
                    <a:cubicBezTo>
                      <a:pt x="0" y="40"/>
                      <a:pt x="3" y="43"/>
                      <a:pt x="6" y="43"/>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6"/>
              <p:cNvSpPr>
                <a:spLocks/>
              </p:cNvSpPr>
              <p:nvPr/>
            </p:nvSpPr>
            <p:spPr bwMode="auto">
              <a:xfrm>
                <a:off x="2703702" y="2067678"/>
                <a:ext cx="11617" cy="24749"/>
              </a:xfrm>
              <a:custGeom>
                <a:avLst/>
                <a:gdLst>
                  <a:gd name="T0" fmla="*/ 0 w 10"/>
                  <a:gd name="T1" fmla="*/ 5 h 21"/>
                  <a:gd name="T2" fmla="*/ 0 w 10"/>
                  <a:gd name="T3" fmla="*/ 16 h 21"/>
                  <a:gd name="T4" fmla="*/ 5 w 10"/>
                  <a:gd name="T5" fmla="*/ 21 h 21"/>
                  <a:gd name="T6" fmla="*/ 10 w 10"/>
                  <a:gd name="T7" fmla="*/ 16 h 21"/>
                  <a:gd name="T8" fmla="*/ 10 w 10"/>
                  <a:gd name="T9" fmla="*/ 5 h 21"/>
                  <a:gd name="T10" fmla="*/ 5 w 10"/>
                  <a:gd name="T11" fmla="*/ 0 h 21"/>
                  <a:gd name="T12" fmla="*/ 0 w 10"/>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10" h="21">
                    <a:moveTo>
                      <a:pt x="0" y="5"/>
                    </a:moveTo>
                    <a:cubicBezTo>
                      <a:pt x="0" y="16"/>
                      <a:pt x="0" y="16"/>
                      <a:pt x="0" y="16"/>
                    </a:cubicBezTo>
                    <a:cubicBezTo>
                      <a:pt x="0" y="19"/>
                      <a:pt x="2" y="21"/>
                      <a:pt x="5" y="21"/>
                    </a:cubicBezTo>
                    <a:cubicBezTo>
                      <a:pt x="8" y="21"/>
                      <a:pt x="10" y="19"/>
                      <a:pt x="10" y="16"/>
                    </a:cubicBezTo>
                    <a:cubicBezTo>
                      <a:pt x="10" y="5"/>
                      <a:pt x="10" y="5"/>
                      <a:pt x="10" y="5"/>
                    </a:cubicBezTo>
                    <a:cubicBezTo>
                      <a:pt x="10" y="2"/>
                      <a:pt x="8" y="0"/>
                      <a:pt x="5" y="0"/>
                    </a:cubicBezTo>
                    <a:cubicBezTo>
                      <a:pt x="2" y="0"/>
                      <a:pt x="0" y="2"/>
                      <a:pt x="0" y="5"/>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37"/>
              <p:cNvSpPr>
                <a:spLocks/>
              </p:cNvSpPr>
              <p:nvPr/>
            </p:nvSpPr>
            <p:spPr bwMode="auto">
              <a:xfrm>
                <a:off x="2728451" y="1989896"/>
                <a:ext cx="13132" cy="26264"/>
              </a:xfrm>
              <a:custGeom>
                <a:avLst/>
                <a:gdLst>
                  <a:gd name="T0" fmla="*/ 11 w 11"/>
                  <a:gd name="T1" fmla="*/ 6 h 22"/>
                  <a:gd name="T2" fmla="*/ 6 w 11"/>
                  <a:gd name="T3" fmla="*/ 0 h 22"/>
                  <a:gd name="T4" fmla="*/ 0 w 11"/>
                  <a:gd name="T5" fmla="*/ 6 h 22"/>
                  <a:gd name="T6" fmla="*/ 0 w 11"/>
                  <a:gd name="T7" fmla="*/ 16 h 22"/>
                  <a:gd name="T8" fmla="*/ 6 w 11"/>
                  <a:gd name="T9" fmla="*/ 22 h 22"/>
                  <a:gd name="T10" fmla="*/ 11 w 11"/>
                  <a:gd name="T11" fmla="*/ 16 h 22"/>
                  <a:gd name="T12" fmla="*/ 11 w 11"/>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1" h="22">
                    <a:moveTo>
                      <a:pt x="11" y="6"/>
                    </a:moveTo>
                    <a:cubicBezTo>
                      <a:pt x="11" y="3"/>
                      <a:pt x="9" y="0"/>
                      <a:pt x="6" y="0"/>
                    </a:cubicBezTo>
                    <a:cubicBezTo>
                      <a:pt x="3" y="0"/>
                      <a:pt x="0" y="3"/>
                      <a:pt x="0" y="6"/>
                    </a:cubicBezTo>
                    <a:cubicBezTo>
                      <a:pt x="0" y="16"/>
                      <a:pt x="0" y="16"/>
                      <a:pt x="0" y="16"/>
                    </a:cubicBezTo>
                    <a:cubicBezTo>
                      <a:pt x="0" y="19"/>
                      <a:pt x="3" y="22"/>
                      <a:pt x="6" y="22"/>
                    </a:cubicBezTo>
                    <a:cubicBezTo>
                      <a:pt x="9" y="22"/>
                      <a:pt x="11" y="19"/>
                      <a:pt x="11" y="16"/>
                    </a:cubicBezTo>
                    <a:lnTo>
                      <a:pt x="11"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38"/>
              <p:cNvSpPr>
                <a:spLocks/>
              </p:cNvSpPr>
              <p:nvPr/>
            </p:nvSpPr>
            <p:spPr bwMode="auto">
              <a:xfrm>
                <a:off x="2677437" y="2259609"/>
                <a:ext cx="13132" cy="38386"/>
              </a:xfrm>
              <a:custGeom>
                <a:avLst/>
                <a:gdLst>
                  <a:gd name="T0" fmla="*/ 6 w 11"/>
                  <a:gd name="T1" fmla="*/ 0 h 32"/>
                  <a:gd name="T2" fmla="*/ 0 w 11"/>
                  <a:gd name="T3" fmla="*/ 5 h 32"/>
                  <a:gd name="T4" fmla="*/ 0 w 11"/>
                  <a:gd name="T5" fmla="*/ 27 h 32"/>
                  <a:gd name="T6" fmla="*/ 6 w 11"/>
                  <a:gd name="T7" fmla="*/ 32 h 32"/>
                  <a:gd name="T8" fmla="*/ 11 w 11"/>
                  <a:gd name="T9" fmla="*/ 27 h 32"/>
                  <a:gd name="T10" fmla="*/ 11 w 11"/>
                  <a:gd name="T11" fmla="*/ 5 h 32"/>
                  <a:gd name="T12" fmla="*/ 6 w 11"/>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1" h="32">
                    <a:moveTo>
                      <a:pt x="6" y="0"/>
                    </a:moveTo>
                    <a:cubicBezTo>
                      <a:pt x="3" y="0"/>
                      <a:pt x="0" y="2"/>
                      <a:pt x="0" y="5"/>
                    </a:cubicBezTo>
                    <a:cubicBezTo>
                      <a:pt x="0" y="27"/>
                      <a:pt x="0" y="27"/>
                      <a:pt x="0" y="27"/>
                    </a:cubicBezTo>
                    <a:cubicBezTo>
                      <a:pt x="0" y="30"/>
                      <a:pt x="3" y="32"/>
                      <a:pt x="6" y="32"/>
                    </a:cubicBezTo>
                    <a:cubicBezTo>
                      <a:pt x="9" y="32"/>
                      <a:pt x="11" y="30"/>
                      <a:pt x="11" y="27"/>
                    </a:cubicBezTo>
                    <a:cubicBezTo>
                      <a:pt x="11" y="5"/>
                      <a:pt x="11" y="5"/>
                      <a:pt x="11" y="5"/>
                    </a:cubicBezTo>
                    <a:cubicBezTo>
                      <a:pt x="11" y="2"/>
                      <a:pt x="9" y="0"/>
                      <a:pt x="6" y="0"/>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9"/>
              <p:cNvSpPr>
                <a:spLocks noEditPoints="1"/>
              </p:cNvSpPr>
              <p:nvPr/>
            </p:nvSpPr>
            <p:spPr bwMode="auto">
              <a:xfrm>
                <a:off x="2601170" y="2182332"/>
                <a:ext cx="383862" cy="141928"/>
              </a:xfrm>
              <a:custGeom>
                <a:avLst/>
                <a:gdLst>
                  <a:gd name="T0" fmla="*/ 317 w 322"/>
                  <a:gd name="T1" fmla="*/ 108 h 119"/>
                  <a:gd name="T2" fmla="*/ 306 w 322"/>
                  <a:gd name="T3" fmla="*/ 108 h 119"/>
                  <a:gd name="T4" fmla="*/ 306 w 322"/>
                  <a:gd name="T5" fmla="*/ 75 h 119"/>
                  <a:gd name="T6" fmla="*/ 322 w 322"/>
                  <a:gd name="T7" fmla="*/ 54 h 119"/>
                  <a:gd name="T8" fmla="*/ 301 w 322"/>
                  <a:gd name="T9" fmla="*/ 33 h 119"/>
                  <a:gd name="T10" fmla="*/ 279 w 322"/>
                  <a:gd name="T11" fmla="*/ 54 h 119"/>
                  <a:gd name="T12" fmla="*/ 295 w 322"/>
                  <a:gd name="T13" fmla="*/ 75 h 119"/>
                  <a:gd name="T14" fmla="*/ 295 w 322"/>
                  <a:gd name="T15" fmla="*/ 108 h 119"/>
                  <a:gd name="T16" fmla="*/ 161 w 322"/>
                  <a:gd name="T17" fmla="*/ 108 h 119"/>
                  <a:gd name="T18" fmla="*/ 161 w 322"/>
                  <a:gd name="T19" fmla="*/ 86 h 119"/>
                  <a:gd name="T20" fmla="*/ 182 w 322"/>
                  <a:gd name="T21" fmla="*/ 60 h 119"/>
                  <a:gd name="T22" fmla="*/ 156 w 322"/>
                  <a:gd name="T23" fmla="*/ 33 h 119"/>
                  <a:gd name="T24" fmla="*/ 129 w 322"/>
                  <a:gd name="T25" fmla="*/ 60 h 119"/>
                  <a:gd name="T26" fmla="*/ 150 w 322"/>
                  <a:gd name="T27" fmla="*/ 86 h 119"/>
                  <a:gd name="T28" fmla="*/ 150 w 322"/>
                  <a:gd name="T29" fmla="*/ 108 h 119"/>
                  <a:gd name="T30" fmla="*/ 32 w 322"/>
                  <a:gd name="T31" fmla="*/ 108 h 119"/>
                  <a:gd name="T32" fmla="*/ 32 w 322"/>
                  <a:gd name="T33" fmla="*/ 54 h 119"/>
                  <a:gd name="T34" fmla="*/ 53 w 322"/>
                  <a:gd name="T35" fmla="*/ 27 h 119"/>
                  <a:gd name="T36" fmla="*/ 27 w 322"/>
                  <a:gd name="T37" fmla="*/ 0 h 119"/>
                  <a:gd name="T38" fmla="*/ 0 w 322"/>
                  <a:gd name="T39" fmla="*/ 27 h 119"/>
                  <a:gd name="T40" fmla="*/ 21 w 322"/>
                  <a:gd name="T41" fmla="*/ 54 h 119"/>
                  <a:gd name="T42" fmla="*/ 21 w 322"/>
                  <a:gd name="T43" fmla="*/ 108 h 119"/>
                  <a:gd name="T44" fmla="*/ 5 w 322"/>
                  <a:gd name="T45" fmla="*/ 108 h 119"/>
                  <a:gd name="T46" fmla="*/ 0 w 322"/>
                  <a:gd name="T47" fmla="*/ 113 h 119"/>
                  <a:gd name="T48" fmla="*/ 5 w 322"/>
                  <a:gd name="T49" fmla="*/ 119 h 119"/>
                  <a:gd name="T50" fmla="*/ 317 w 322"/>
                  <a:gd name="T51" fmla="*/ 119 h 119"/>
                  <a:gd name="T52" fmla="*/ 322 w 322"/>
                  <a:gd name="T53" fmla="*/ 113 h 119"/>
                  <a:gd name="T54" fmla="*/ 317 w 322"/>
                  <a:gd name="T55" fmla="*/ 108 h 119"/>
                  <a:gd name="T56" fmla="*/ 10 w 322"/>
                  <a:gd name="T57" fmla="*/ 27 h 119"/>
                  <a:gd name="T58" fmla="*/ 27 w 322"/>
                  <a:gd name="T59" fmla="*/ 11 h 119"/>
                  <a:gd name="T60" fmla="*/ 43 w 322"/>
                  <a:gd name="T61" fmla="*/ 27 h 119"/>
                  <a:gd name="T62" fmla="*/ 27 w 322"/>
                  <a:gd name="T63" fmla="*/ 43 h 119"/>
                  <a:gd name="T64" fmla="*/ 10 w 322"/>
                  <a:gd name="T65" fmla="*/ 27 h 119"/>
                  <a:gd name="T66" fmla="*/ 139 w 322"/>
                  <a:gd name="T67" fmla="*/ 60 h 119"/>
                  <a:gd name="T68" fmla="*/ 156 w 322"/>
                  <a:gd name="T69" fmla="*/ 43 h 119"/>
                  <a:gd name="T70" fmla="*/ 172 w 322"/>
                  <a:gd name="T71" fmla="*/ 60 h 119"/>
                  <a:gd name="T72" fmla="*/ 156 w 322"/>
                  <a:gd name="T73" fmla="*/ 76 h 119"/>
                  <a:gd name="T74" fmla="*/ 139 w 322"/>
                  <a:gd name="T75" fmla="*/ 60 h 119"/>
                  <a:gd name="T76" fmla="*/ 290 w 322"/>
                  <a:gd name="T77" fmla="*/ 54 h 119"/>
                  <a:gd name="T78" fmla="*/ 301 w 322"/>
                  <a:gd name="T79" fmla="*/ 43 h 119"/>
                  <a:gd name="T80" fmla="*/ 311 w 322"/>
                  <a:gd name="T81" fmla="*/ 54 h 119"/>
                  <a:gd name="T82" fmla="*/ 301 w 322"/>
                  <a:gd name="T83" fmla="*/ 65 h 119"/>
                  <a:gd name="T84" fmla="*/ 290 w 322"/>
                  <a:gd name="T85" fmla="*/ 5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2" h="119">
                    <a:moveTo>
                      <a:pt x="317" y="108"/>
                    </a:moveTo>
                    <a:cubicBezTo>
                      <a:pt x="306" y="108"/>
                      <a:pt x="306" y="108"/>
                      <a:pt x="306" y="108"/>
                    </a:cubicBezTo>
                    <a:cubicBezTo>
                      <a:pt x="306" y="75"/>
                      <a:pt x="306" y="75"/>
                      <a:pt x="306" y="75"/>
                    </a:cubicBezTo>
                    <a:cubicBezTo>
                      <a:pt x="315" y="73"/>
                      <a:pt x="322" y="64"/>
                      <a:pt x="322" y="54"/>
                    </a:cubicBezTo>
                    <a:cubicBezTo>
                      <a:pt x="322" y="42"/>
                      <a:pt x="313" y="33"/>
                      <a:pt x="301" y="33"/>
                    </a:cubicBezTo>
                    <a:cubicBezTo>
                      <a:pt x="289" y="33"/>
                      <a:pt x="279" y="42"/>
                      <a:pt x="279" y="54"/>
                    </a:cubicBezTo>
                    <a:cubicBezTo>
                      <a:pt x="279" y="64"/>
                      <a:pt x="286" y="73"/>
                      <a:pt x="295" y="75"/>
                    </a:cubicBezTo>
                    <a:cubicBezTo>
                      <a:pt x="295" y="108"/>
                      <a:pt x="295" y="108"/>
                      <a:pt x="295" y="108"/>
                    </a:cubicBezTo>
                    <a:cubicBezTo>
                      <a:pt x="161" y="108"/>
                      <a:pt x="161" y="108"/>
                      <a:pt x="161" y="108"/>
                    </a:cubicBezTo>
                    <a:cubicBezTo>
                      <a:pt x="161" y="86"/>
                      <a:pt x="161" y="86"/>
                      <a:pt x="161" y="86"/>
                    </a:cubicBezTo>
                    <a:cubicBezTo>
                      <a:pt x="173" y="83"/>
                      <a:pt x="182" y="73"/>
                      <a:pt x="182" y="60"/>
                    </a:cubicBezTo>
                    <a:cubicBezTo>
                      <a:pt x="182" y="45"/>
                      <a:pt x="170" y="33"/>
                      <a:pt x="156" y="33"/>
                    </a:cubicBezTo>
                    <a:cubicBezTo>
                      <a:pt x="141" y="33"/>
                      <a:pt x="129" y="45"/>
                      <a:pt x="129" y="60"/>
                    </a:cubicBezTo>
                    <a:cubicBezTo>
                      <a:pt x="129" y="73"/>
                      <a:pt x="138" y="83"/>
                      <a:pt x="150" y="86"/>
                    </a:cubicBezTo>
                    <a:cubicBezTo>
                      <a:pt x="150" y="108"/>
                      <a:pt x="150" y="108"/>
                      <a:pt x="150" y="108"/>
                    </a:cubicBezTo>
                    <a:cubicBezTo>
                      <a:pt x="32" y="108"/>
                      <a:pt x="32" y="108"/>
                      <a:pt x="32" y="108"/>
                    </a:cubicBezTo>
                    <a:cubicBezTo>
                      <a:pt x="32" y="54"/>
                      <a:pt x="32" y="54"/>
                      <a:pt x="32" y="54"/>
                    </a:cubicBezTo>
                    <a:cubicBezTo>
                      <a:pt x="44" y="51"/>
                      <a:pt x="53" y="40"/>
                      <a:pt x="53" y="27"/>
                    </a:cubicBezTo>
                    <a:cubicBezTo>
                      <a:pt x="53" y="12"/>
                      <a:pt x="41" y="0"/>
                      <a:pt x="27" y="0"/>
                    </a:cubicBezTo>
                    <a:cubicBezTo>
                      <a:pt x="12" y="0"/>
                      <a:pt x="0" y="12"/>
                      <a:pt x="0" y="27"/>
                    </a:cubicBezTo>
                    <a:cubicBezTo>
                      <a:pt x="0" y="40"/>
                      <a:pt x="9" y="51"/>
                      <a:pt x="21" y="54"/>
                    </a:cubicBezTo>
                    <a:cubicBezTo>
                      <a:pt x="21" y="108"/>
                      <a:pt x="21" y="108"/>
                      <a:pt x="21" y="108"/>
                    </a:cubicBezTo>
                    <a:cubicBezTo>
                      <a:pt x="5" y="108"/>
                      <a:pt x="5" y="108"/>
                      <a:pt x="5" y="108"/>
                    </a:cubicBezTo>
                    <a:cubicBezTo>
                      <a:pt x="2" y="108"/>
                      <a:pt x="0" y="110"/>
                      <a:pt x="0" y="113"/>
                    </a:cubicBezTo>
                    <a:cubicBezTo>
                      <a:pt x="0" y="116"/>
                      <a:pt x="2" y="119"/>
                      <a:pt x="5" y="119"/>
                    </a:cubicBezTo>
                    <a:cubicBezTo>
                      <a:pt x="317" y="119"/>
                      <a:pt x="317" y="119"/>
                      <a:pt x="317" y="119"/>
                    </a:cubicBezTo>
                    <a:cubicBezTo>
                      <a:pt x="320" y="119"/>
                      <a:pt x="322" y="116"/>
                      <a:pt x="322" y="113"/>
                    </a:cubicBezTo>
                    <a:cubicBezTo>
                      <a:pt x="322" y="110"/>
                      <a:pt x="320" y="108"/>
                      <a:pt x="317" y="108"/>
                    </a:cubicBezTo>
                    <a:moveTo>
                      <a:pt x="10" y="27"/>
                    </a:moveTo>
                    <a:cubicBezTo>
                      <a:pt x="10" y="18"/>
                      <a:pt x="18" y="11"/>
                      <a:pt x="27" y="11"/>
                    </a:cubicBezTo>
                    <a:cubicBezTo>
                      <a:pt x="35" y="11"/>
                      <a:pt x="43" y="18"/>
                      <a:pt x="43" y="27"/>
                    </a:cubicBezTo>
                    <a:cubicBezTo>
                      <a:pt x="43" y="36"/>
                      <a:pt x="35" y="43"/>
                      <a:pt x="27" y="43"/>
                    </a:cubicBezTo>
                    <a:cubicBezTo>
                      <a:pt x="18" y="43"/>
                      <a:pt x="10" y="36"/>
                      <a:pt x="10" y="27"/>
                    </a:cubicBezTo>
                    <a:moveTo>
                      <a:pt x="139" y="60"/>
                    </a:moveTo>
                    <a:cubicBezTo>
                      <a:pt x="139" y="51"/>
                      <a:pt x="147" y="43"/>
                      <a:pt x="156" y="43"/>
                    </a:cubicBezTo>
                    <a:cubicBezTo>
                      <a:pt x="164" y="43"/>
                      <a:pt x="172" y="51"/>
                      <a:pt x="172" y="60"/>
                    </a:cubicBezTo>
                    <a:cubicBezTo>
                      <a:pt x="172" y="68"/>
                      <a:pt x="164" y="76"/>
                      <a:pt x="156" y="76"/>
                    </a:cubicBezTo>
                    <a:cubicBezTo>
                      <a:pt x="147" y="76"/>
                      <a:pt x="139" y="68"/>
                      <a:pt x="139" y="60"/>
                    </a:cubicBezTo>
                    <a:moveTo>
                      <a:pt x="290" y="54"/>
                    </a:moveTo>
                    <a:cubicBezTo>
                      <a:pt x="290" y="48"/>
                      <a:pt x="295" y="43"/>
                      <a:pt x="301" y="43"/>
                    </a:cubicBezTo>
                    <a:cubicBezTo>
                      <a:pt x="307" y="43"/>
                      <a:pt x="311" y="48"/>
                      <a:pt x="311" y="54"/>
                    </a:cubicBezTo>
                    <a:cubicBezTo>
                      <a:pt x="311" y="60"/>
                      <a:pt x="307" y="65"/>
                      <a:pt x="301" y="65"/>
                    </a:cubicBezTo>
                    <a:cubicBezTo>
                      <a:pt x="295" y="65"/>
                      <a:pt x="290" y="60"/>
                      <a:pt x="290" y="54"/>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0"/>
              <p:cNvSpPr>
                <a:spLocks/>
              </p:cNvSpPr>
              <p:nvPr/>
            </p:nvSpPr>
            <p:spPr bwMode="auto">
              <a:xfrm>
                <a:off x="2652183" y="2259609"/>
                <a:ext cx="12122" cy="38386"/>
              </a:xfrm>
              <a:custGeom>
                <a:avLst/>
                <a:gdLst>
                  <a:gd name="T0" fmla="*/ 0 w 10"/>
                  <a:gd name="T1" fmla="*/ 5 h 32"/>
                  <a:gd name="T2" fmla="*/ 0 w 10"/>
                  <a:gd name="T3" fmla="*/ 27 h 32"/>
                  <a:gd name="T4" fmla="*/ 5 w 10"/>
                  <a:gd name="T5" fmla="*/ 32 h 32"/>
                  <a:gd name="T6" fmla="*/ 10 w 10"/>
                  <a:gd name="T7" fmla="*/ 27 h 32"/>
                  <a:gd name="T8" fmla="*/ 10 w 10"/>
                  <a:gd name="T9" fmla="*/ 5 h 32"/>
                  <a:gd name="T10" fmla="*/ 5 w 10"/>
                  <a:gd name="T11" fmla="*/ 0 h 32"/>
                  <a:gd name="T12" fmla="*/ 0 w 10"/>
                  <a:gd name="T13" fmla="*/ 5 h 32"/>
                </a:gdLst>
                <a:ahLst/>
                <a:cxnLst>
                  <a:cxn ang="0">
                    <a:pos x="T0" y="T1"/>
                  </a:cxn>
                  <a:cxn ang="0">
                    <a:pos x="T2" y="T3"/>
                  </a:cxn>
                  <a:cxn ang="0">
                    <a:pos x="T4" y="T5"/>
                  </a:cxn>
                  <a:cxn ang="0">
                    <a:pos x="T6" y="T7"/>
                  </a:cxn>
                  <a:cxn ang="0">
                    <a:pos x="T8" y="T9"/>
                  </a:cxn>
                  <a:cxn ang="0">
                    <a:pos x="T10" y="T11"/>
                  </a:cxn>
                  <a:cxn ang="0">
                    <a:pos x="T12" y="T13"/>
                  </a:cxn>
                </a:cxnLst>
                <a:rect l="0" t="0" r="r" b="b"/>
                <a:pathLst>
                  <a:path w="10" h="32">
                    <a:moveTo>
                      <a:pt x="0" y="5"/>
                    </a:moveTo>
                    <a:cubicBezTo>
                      <a:pt x="0" y="27"/>
                      <a:pt x="0" y="27"/>
                      <a:pt x="0" y="27"/>
                    </a:cubicBezTo>
                    <a:cubicBezTo>
                      <a:pt x="0" y="30"/>
                      <a:pt x="2" y="32"/>
                      <a:pt x="5" y="32"/>
                    </a:cubicBezTo>
                    <a:cubicBezTo>
                      <a:pt x="8" y="32"/>
                      <a:pt x="10" y="30"/>
                      <a:pt x="10" y="27"/>
                    </a:cubicBezTo>
                    <a:cubicBezTo>
                      <a:pt x="10" y="5"/>
                      <a:pt x="10" y="5"/>
                      <a:pt x="10" y="5"/>
                    </a:cubicBezTo>
                    <a:cubicBezTo>
                      <a:pt x="10" y="2"/>
                      <a:pt x="8" y="0"/>
                      <a:pt x="5" y="0"/>
                    </a:cubicBezTo>
                    <a:cubicBezTo>
                      <a:pt x="2" y="0"/>
                      <a:pt x="0" y="2"/>
                      <a:pt x="0" y="5"/>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1"/>
              <p:cNvSpPr>
                <a:spLocks/>
              </p:cNvSpPr>
              <p:nvPr/>
            </p:nvSpPr>
            <p:spPr bwMode="auto">
              <a:xfrm>
                <a:off x="2677437" y="2143945"/>
                <a:ext cx="13132" cy="26264"/>
              </a:xfrm>
              <a:custGeom>
                <a:avLst/>
                <a:gdLst>
                  <a:gd name="T0" fmla="*/ 11 w 11"/>
                  <a:gd name="T1" fmla="*/ 6 h 22"/>
                  <a:gd name="T2" fmla="*/ 6 w 11"/>
                  <a:gd name="T3" fmla="*/ 0 h 22"/>
                  <a:gd name="T4" fmla="*/ 0 w 11"/>
                  <a:gd name="T5" fmla="*/ 6 h 22"/>
                  <a:gd name="T6" fmla="*/ 0 w 11"/>
                  <a:gd name="T7" fmla="*/ 16 h 22"/>
                  <a:gd name="T8" fmla="*/ 6 w 11"/>
                  <a:gd name="T9" fmla="*/ 22 h 22"/>
                  <a:gd name="T10" fmla="*/ 11 w 11"/>
                  <a:gd name="T11" fmla="*/ 16 h 22"/>
                  <a:gd name="T12" fmla="*/ 11 w 11"/>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1" h="22">
                    <a:moveTo>
                      <a:pt x="11" y="6"/>
                    </a:moveTo>
                    <a:cubicBezTo>
                      <a:pt x="11" y="3"/>
                      <a:pt x="9" y="0"/>
                      <a:pt x="6" y="0"/>
                    </a:cubicBezTo>
                    <a:cubicBezTo>
                      <a:pt x="3" y="0"/>
                      <a:pt x="0" y="3"/>
                      <a:pt x="0" y="6"/>
                    </a:cubicBezTo>
                    <a:cubicBezTo>
                      <a:pt x="0" y="16"/>
                      <a:pt x="0" y="16"/>
                      <a:pt x="0" y="16"/>
                    </a:cubicBezTo>
                    <a:cubicBezTo>
                      <a:pt x="0" y="19"/>
                      <a:pt x="3" y="22"/>
                      <a:pt x="6" y="22"/>
                    </a:cubicBezTo>
                    <a:cubicBezTo>
                      <a:pt x="9" y="22"/>
                      <a:pt x="11" y="19"/>
                      <a:pt x="11" y="16"/>
                    </a:cubicBezTo>
                    <a:lnTo>
                      <a:pt x="11"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2"/>
              <p:cNvSpPr>
                <a:spLocks/>
              </p:cNvSpPr>
              <p:nvPr/>
            </p:nvSpPr>
            <p:spPr bwMode="auto">
              <a:xfrm>
                <a:off x="2677437" y="2182332"/>
                <a:ext cx="13132" cy="26264"/>
              </a:xfrm>
              <a:custGeom>
                <a:avLst/>
                <a:gdLst>
                  <a:gd name="T0" fmla="*/ 11 w 11"/>
                  <a:gd name="T1" fmla="*/ 6 h 22"/>
                  <a:gd name="T2" fmla="*/ 6 w 11"/>
                  <a:gd name="T3" fmla="*/ 0 h 22"/>
                  <a:gd name="T4" fmla="*/ 0 w 11"/>
                  <a:gd name="T5" fmla="*/ 6 h 22"/>
                  <a:gd name="T6" fmla="*/ 0 w 11"/>
                  <a:gd name="T7" fmla="*/ 17 h 22"/>
                  <a:gd name="T8" fmla="*/ 6 w 11"/>
                  <a:gd name="T9" fmla="*/ 22 h 22"/>
                  <a:gd name="T10" fmla="*/ 11 w 11"/>
                  <a:gd name="T11" fmla="*/ 17 h 22"/>
                  <a:gd name="T12" fmla="*/ 11 w 11"/>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1" h="22">
                    <a:moveTo>
                      <a:pt x="11" y="6"/>
                    </a:moveTo>
                    <a:cubicBezTo>
                      <a:pt x="11" y="3"/>
                      <a:pt x="9" y="0"/>
                      <a:pt x="6" y="0"/>
                    </a:cubicBezTo>
                    <a:cubicBezTo>
                      <a:pt x="3" y="0"/>
                      <a:pt x="0" y="3"/>
                      <a:pt x="0" y="6"/>
                    </a:cubicBezTo>
                    <a:cubicBezTo>
                      <a:pt x="0" y="17"/>
                      <a:pt x="0" y="17"/>
                      <a:pt x="0" y="17"/>
                    </a:cubicBezTo>
                    <a:cubicBezTo>
                      <a:pt x="0" y="20"/>
                      <a:pt x="3" y="22"/>
                      <a:pt x="6" y="22"/>
                    </a:cubicBezTo>
                    <a:cubicBezTo>
                      <a:pt x="9" y="22"/>
                      <a:pt x="11" y="20"/>
                      <a:pt x="11" y="17"/>
                    </a:cubicBezTo>
                    <a:lnTo>
                      <a:pt x="11"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3"/>
              <p:cNvSpPr>
                <a:spLocks/>
              </p:cNvSpPr>
              <p:nvPr/>
            </p:nvSpPr>
            <p:spPr bwMode="auto">
              <a:xfrm>
                <a:off x="2652183" y="2143945"/>
                <a:ext cx="12122" cy="26264"/>
              </a:xfrm>
              <a:custGeom>
                <a:avLst/>
                <a:gdLst>
                  <a:gd name="T0" fmla="*/ 0 w 10"/>
                  <a:gd name="T1" fmla="*/ 6 h 22"/>
                  <a:gd name="T2" fmla="*/ 0 w 10"/>
                  <a:gd name="T3" fmla="*/ 16 h 22"/>
                  <a:gd name="T4" fmla="*/ 5 w 10"/>
                  <a:gd name="T5" fmla="*/ 22 h 22"/>
                  <a:gd name="T6" fmla="*/ 10 w 10"/>
                  <a:gd name="T7" fmla="*/ 16 h 22"/>
                  <a:gd name="T8" fmla="*/ 10 w 10"/>
                  <a:gd name="T9" fmla="*/ 6 h 22"/>
                  <a:gd name="T10" fmla="*/ 5 w 10"/>
                  <a:gd name="T11" fmla="*/ 0 h 22"/>
                  <a:gd name="T12" fmla="*/ 0 w 10"/>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0" y="6"/>
                    </a:moveTo>
                    <a:cubicBezTo>
                      <a:pt x="0" y="16"/>
                      <a:pt x="0" y="16"/>
                      <a:pt x="0" y="16"/>
                    </a:cubicBezTo>
                    <a:cubicBezTo>
                      <a:pt x="0" y="19"/>
                      <a:pt x="2" y="22"/>
                      <a:pt x="5" y="22"/>
                    </a:cubicBezTo>
                    <a:cubicBezTo>
                      <a:pt x="8" y="22"/>
                      <a:pt x="10" y="19"/>
                      <a:pt x="10" y="16"/>
                    </a:cubicBezTo>
                    <a:cubicBezTo>
                      <a:pt x="10" y="6"/>
                      <a:pt x="10" y="6"/>
                      <a:pt x="10" y="6"/>
                    </a:cubicBezTo>
                    <a:cubicBezTo>
                      <a:pt x="10" y="3"/>
                      <a:pt x="8" y="0"/>
                      <a:pt x="5" y="0"/>
                    </a:cubicBezTo>
                    <a:cubicBezTo>
                      <a:pt x="2" y="0"/>
                      <a:pt x="0" y="3"/>
                      <a:pt x="0" y="6"/>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4"/>
              <p:cNvSpPr>
                <a:spLocks/>
              </p:cNvSpPr>
              <p:nvPr/>
            </p:nvSpPr>
            <p:spPr bwMode="auto">
              <a:xfrm>
                <a:off x="2728451" y="2182332"/>
                <a:ext cx="13132" cy="26264"/>
              </a:xfrm>
              <a:custGeom>
                <a:avLst/>
                <a:gdLst>
                  <a:gd name="T0" fmla="*/ 11 w 11"/>
                  <a:gd name="T1" fmla="*/ 6 h 22"/>
                  <a:gd name="T2" fmla="*/ 6 w 11"/>
                  <a:gd name="T3" fmla="*/ 0 h 22"/>
                  <a:gd name="T4" fmla="*/ 0 w 11"/>
                  <a:gd name="T5" fmla="*/ 6 h 22"/>
                  <a:gd name="T6" fmla="*/ 0 w 11"/>
                  <a:gd name="T7" fmla="*/ 17 h 22"/>
                  <a:gd name="T8" fmla="*/ 6 w 11"/>
                  <a:gd name="T9" fmla="*/ 22 h 22"/>
                  <a:gd name="T10" fmla="*/ 11 w 11"/>
                  <a:gd name="T11" fmla="*/ 17 h 22"/>
                  <a:gd name="T12" fmla="*/ 11 w 11"/>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1" h="22">
                    <a:moveTo>
                      <a:pt x="11" y="6"/>
                    </a:moveTo>
                    <a:cubicBezTo>
                      <a:pt x="11" y="3"/>
                      <a:pt x="9" y="0"/>
                      <a:pt x="6" y="0"/>
                    </a:cubicBezTo>
                    <a:cubicBezTo>
                      <a:pt x="3" y="0"/>
                      <a:pt x="0" y="3"/>
                      <a:pt x="0" y="6"/>
                    </a:cubicBezTo>
                    <a:cubicBezTo>
                      <a:pt x="0" y="17"/>
                      <a:pt x="0" y="17"/>
                      <a:pt x="0" y="17"/>
                    </a:cubicBezTo>
                    <a:cubicBezTo>
                      <a:pt x="0" y="20"/>
                      <a:pt x="3" y="22"/>
                      <a:pt x="6" y="22"/>
                    </a:cubicBezTo>
                    <a:cubicBezTo>
                      <a:pt x="9" y="22"/>
                      <a:pt x="11" y="20"/>
                      <a:pt x="11" y="17"/>
                    </a:cubicBezTo>
                    <a:lnTo>
                      <a:pt x="11"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5"/>
              <p:cNvSpPr>
                <a:spLocks/>
              </p:cNvSpPr>
              <p:nvPr/>
            </p:nvSpPr>
            <p:spPr bwMode="auto">
              <a:xfrm>
                <a:off x="2754715" y="2105559"/>
                <a:ext cx="12122" cy="25254"/>
              </a:xfrm>
              <a:custGeom>
                <a:avLst/>
                <a:gdLst>
                  <a:gd name="T0" fmla="*/ 10 w 10"/>
                  <a:gd name="T1" fmla="*/ 5 h 21"/>
                  <a:gd name="T2" fmla="*/ 5 w 10"/>
                  <a:gd name="T3" fmla="*/ 0 h 21"/>
                  <a:gd name="T4" fmla="*/ 0 w 10"/>
                  <a:gd name="T5" fmla="*/ 5 h 21"/>
                  <a:gd name="T6" fmla="*/ 0 w 10"/>
                  <a:gd name="T7" fmla="*/ 16 h 21"/>
                  <a:gd name="T8" fmla="*/ 5 w 10"/>
                  <a:gd name="T9" fmla="*/ 21 h 21"/>
                  <a:gd name="T10" fmla="*/ 10 w 10"/>
                  <a:gd name="T11" fmla="*/ 16 h 21"/>
                  <a:gd name="T12" fmla="*/ 10 w 10"/>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10" h="21">
                    <a:moveTo>
                      <a:pt x="10" y="5"/>
                    </a:moveTo>
                    <a:cubicBezTo>
                      <a:pt x="10" y="2"/>
                      <a:pt x="8" y="0"/>
                      <a:pt x="5" y="0"/>
                    </a:cubicBezTo>
                    <a:cubicBezTo>
                      <a:pt x="2" y="0"/>
                      <a:pt x="0" y="2"/>
                      <a:pt x="0" y="5"/>
                    </a:cubicBezTo>
                    <a:cubicBezTo>
                      <a:pt x="0" y="16"/>
                      <a:pt x="0" y="16"/>
                      <a:pt x="0" y="16"/>
                    </a:cubicBezTo>
                    <a:cubicBezTo>
                      <a:pt x="0" y="19"/>
                      <a:pt x="2" y="21"/>
                      <a:pt x="5" y="21"/>
                    </a:cubicBezTo>
                    <a:cubicBezTo>
                      <a:pt x="8" y="21"/>
                      <a:pt x="10" y="19"/>
                      <a:pt x="10" y="16"/>
                    </a:cubicBezTo>
                    <a:lnTo>
                      <a:pt x="10" y="5"/>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6"/>
              <p:cNvSpPr>
                <a:spLocks/>
              </p:cNvSpPr>
              <p:nvPr/>
            </p:nvSpPr>
            <p:spPr bwMode="auto">
              <a:xfrm>
                <a:off x="2754715" y="2067678"/>
                <a:ext cx="12122" cy="24749"/>
              </a:xfrm>
              <a:custGeom>
                <a:avLst/>
                <a:gdLst>
                  <a:gd name="T0" fmla="*/ 10 w 10"/>
                  <a:gd name="T1" fmla="*/ 5 h 21"/>
                  <a:gd name="T2" fmla="*/ 5 w 10"/>
                  <a:gd name="T3" fmla="*/ 0 h 21"/>
                  <a:gd name="T4" fmla="*/ 0 w 10"/>
                  <a:gd name="T5" fmla="*/ 5 h 21"/>
                  <a:gd name="T6" fmla="*/ 0 w 10"/>
                  <a:gd name="T7" fmla="*/ 16 h 21"/>
                  <a:gd name="T8" fmla="*/ 5 w 10"/>
                  <a:gd name="T9" fmla="*/ 21 h 21"/>
                  <a:gd name="T10" fmla="*/ 10 w 10"/>
                  <a:gd name="T11" fmla="*/ 16 h 21"/>
                  <a:gd name="T12" fmla="*/ 10 w 10"/>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10" h="21">
                    <a:moveTo>
                      <a:pt x="10" y="5"/>
                    </a:moveTo>
                    <a:cubicBezTo>
                      <a:pt x="10" y="2"/>
                      <a:pt x="8" y="0"/>
                      <a:pt x="5" y="0"/>
                    </a:cubicBezTo>
                    <a:cubicBezTo>
                      <a:pt x="2" y="0"/>
                      <a:pt x="0" y="2"/>
                      <a:pt x="0" y="5"/>
                    </a:cubicBezTo>
                    <a:cubicBezTo>
                      <a:pt x="0" y="16"/>
                      <a:pt x="0" y="16"/>
                      <a:pt x="0" y="16"/>
                    </a:cubicBezTo>
                    <a:cubicBezTo>
                      <a:pt x="0" y="19"/>
                      <a:pt x="2" y="21"/>
                      <a:pt x="5" y="21"/>
                    </a:cubicBezTo>
                    <a:cubicBezTo>
                      <a:pt x="8" y="21"/>
                      <a:pt x="10" y="19"/>
                      <a:pt x="10" y="16"/>
                    </a:cubicBezTo>
                    <a:lnTo>
                      <a:pt x="10" y="5"/>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7"/>
              <p:cNvSpPr>
                <a:spLocks/>
              </p:cNvSpPr>
              <p:nvPr/>
            </p:nvSpPr>
            <p:spPr bwMode="auto">
              <a:xfrm>
                <a:off x="2754715" y="2143945"/>
                <a:ext cx="12122" cy="26264"/>
              </a:xfrm>
              <a:custGeom>
                <a:avLst/>
                <a:gdLst>
                  <a:gd name="T0" fmla="*/ 10 w 10"/>
                  <a:gd name="T1" fmla="*/ 6 h 22"/>
                  <a:gd name="T2" fmla="*/ 5 w 10"/>
                  <a:gd name="T3" fmla="*/ 0 h 22"/>
                  <a:gd name="T4" fmla="*/ 0 w 10"/>
                  <a:gd name="T5" fmla="*/ 6 h 22"/>
                  <a:gd name="T6" fmla="*/ 0 w 10"/>
                  <a:gd name="T7" fmla="*/ 16 h 22"/>
                  <a:gd name="T8" fmla="*/ 5 w 10"/>
                  <a:gd name="T9" fmla="*/ 22 h 22"/>
                  <a:gd name="T10" fmla="*/ 10 w 10"/>
                  <a:gd name="T11" fmla="*/ 16 h 22"/>
                  <a:gd name="T12" fmla="*/ 10 w 10"/>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10" y="6"/>
                    </a:moveTo>
                    <a:cubicBezTo>
                      <a:pt x="10" y="3"/>
                      <a:pt x="8" y="0"/>
                      <a:pt x="5" y="0"/>
                    </a:cubicBezTo>
                    <a:cubicBezTo>
                      <a:pt x="2" y="0"/>
                      <a:pt x="0" y="3"/>
                      <a:pt x="0" y="6"/>
                    </a:cubicBezTo>
                    <a:cubicBezTo>
                      <a:pt x="0" y="16"/>
                      <a:pt x="0" y="16"/>
                      <a:pt x="0" y="16"/>
                    </a:cubicBezTo>
                    <a:cubicBezTo>
                      <a:pt x="0" y="19"/>
                      <a:pt x="2" y="22"/>
                      <a:pt x="5" y="22"/>
                    </a:cubicBezTo>
                    <a:cubicBezTo>
                      <a:pt x="8" y="22"/>
                      <a:pt x="10" y="19"/>
                      <a:pt x="10" y="16"/>
                    </a:cubicBezTo>
                    <a:lnTo>
                      <a:pt x="10"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8"/>
              <p:cNvSpPr>
                <a:spLocks/>
              </p:cNvSpPr>
              <p:nvPr/>
            </p:nvSpPr>
            <p:spPr bwMode="auto">
              <a:xfrm>
                <a:off x="2754715" y="2182332"/>
                <a:ext cx="12122" cy="26264"/>
              </a:xfrm>
              <a:custGeom>
                <a:avLst/>
                <a:gdLst>
                  <a:gd name="T0" fmla="*/ 5 w 10"/>
                  <a:gd name="T1" fmla="*/ 0 h 22"/>
                  <a:gd name="T2" fmla="*/ 0 w 10"/>
                  <a:gd name="T3" fmla="*/ 6 h 22"/>
                  <a:gd name="T4" fmla="*/ 0 w 10"/>
                  <a:gd name="T5" fmla="*/ 17 h 22"/>
                  <a:gd name="T6" fmla="*/ 5 w 10"/>
                  <a:gd name="T7" fmla="*/ 22 h 22"/>
                  <a:gd name="T8" fmla="*/ 10 w 10"/>
                  <a:gd name="T9" fmla="*/ 17 h 22"/>
                  <a:gd name="T10" fmla="*/ 10 w 10"/>
                  <a:gd name="T11" fmla="*/ 6 h 22"/>
                  <a:gd name="T12" fmla="*/ 5 w 10"/>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5" y="0"/>
                    </a:moveTo>
                    <a:cubicBezTo>
                      <a:pt x="2" y="0"/>
                      <a:pt x="0" y="3"/>
                      <a:pt x="0" y="6"/>
                    </a:cubicBezTo>
                    <a:cubicBezTo>
                      <a:pt x="0" y="17"/>
                      <a:pt x="0" y="17"/>
                      <a:pt x="0" y="17"/>
                    </a:cubicBezTo>
                    <a:cubicBezTo>
                      <a:pt x="0" y="20"/>
                      <a:pt x="2" y="22"/>
                      <a:pt x="5" y="22"/>
                    </a:cubicBezTo>
                    <a:cubicBezTo>
                      <a:pt x="8" y="22"/>
                      <a:pt x="10" y="20"/>
                      <a:pt x="10" y="17"/>
                    </a:cubicBezTo>
                    <a:cubicBezTo>
                      <a:pt x="10" y="6"/>
                      <a:pt x="10" y="6"/>
                      <a:pt x="10" y="6"/>
                    </a:cubicBezTo>
                    <a:cubicBezTo>
                      <a:pt x="10" y="3"/>
                      <a:pt x="8" y="0"/>
                      <a:pt x="5" y="0"/>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9"/>
              <p:cNvSpPr>
                <a:spLocks/>
              </p:cNvSpPr>
              <p:nvPr/>
            </p:nvSpPr>
            <p:spPr bwMode="auto">
              <a:xfrm>
                <a:off x="2754715" y="2028282"/>
                <a:ext cx="12122" cy="26264"/>
              </a:xfrm>
              <a:custGeom>
                <a:avLst/>
                <a:gdLst>
                  <a:gd name="T0" fmla="*/ 10 w 10"/>
                  <a:gd name="T1" fmla="*/ 6 h 22"/>
                  <a:gd name="T2" fmla="*/ 5 w 10"/>
                  <a:gd name="T3" fmla="*/ 0 h 22"/>
                  <a:gd name="T4" fmla="*/ 0 w 10"/>
                  <a:gd name="T5" fmla="*/ 6 h 22"/>
                  <a:gd name="T6" fmla="*/ 0 w 10"/>
                  <a:gd name="T7" fmla="*/ 17 h 22"/>
                  <a:gd name="T8" fmla="*/ 5 w 10"/>
                  <a:gd name="T9" fmla="*/ 22 h 22"/>
                  <a:gd name="T10" fmla="*/ 10 w 10"/>
                  <a:gd name="T11" fmla="*/ 17 h 22"/>
                  <a:gd name="T12" fmla="*/ 10 w 10"/>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10" y="6"/>
                    </a:moveTo>
                    <a:cubicBezTo>
                      <a:pt x="10" y="3"/>
                      <a:pt x="8" y="0"/>
                      <a:pt x="5" y="0"/>
                    </a:cubicBezTo>
                    <a:cubicBezTo>
                      <a:pt x="2" y="0"/>
                      <a:pt x="0" y="3"/>
                      <a:pt x="0" y="6"/>
                    </a:cubicBezTo>
                    <a:cubicBezTo>
                      <a:pt x="0" y="17"/>
                      <a:pt x="0" y="17"/>
                      <a:pt x="0" y="17"/>
                    </a:cubicBezTo>
                    <a:cubicBezTo>
                      <a:pt x="0" y="20"/>
                      <a:pt x="2" y="22"/>
                      <a:pt x="5" y="22"/>
                    </a:cubicBezTo>
                    <a:cubicBezTo>
                      <a:pt x="8" y="22"/>
                      <a:pt x="10" y="20"/>
                      <a:pt x="10" y="17"/>
                    </a:cubicBezTo>
                    <a:lnTo>
                      <a:pt x="10"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0"/>
              <p:cNvSpPr>
                <a:spLocks/>
              </p:cNvSpPr>
              <p:nvPr/>
            </p:nvSpPr>
            <p:spPr bwMode="auto">
              <a:xfrm>
                <a:off x="2728451" y="2221728"/>
                <a:ext cx="13132" cy="24749"/>
              </a:xfrm>
              <a:custGeom>
                <a:avLst/>
                <a:gdLst>
                  <a:gd name="T0" fmla="*/ 11 w 11"/>
                  <a:gd name="T1" fmla="*/ 5 h 21"/>
                  <a:gd name="T2" fmla="*/ 6 w 11"/>
                  <a:gd name="T3" fmla="*/ 0 h 21"/>
                  <a:gd name="T4" fmla="*/ 0 w 11"/>
                  <a:gd name="T5" fmla="*/ 5 h 21"/>
                  <a:gd name="T6" fmla="*/ 0 w 11"/>
                  <a:gd name="T7" fmla="*/ 16 h 21"/>
                  <a:gd name="T8" fmla="*/ 6 w 11"/>
                  <a:gd name="T9" fmla="*/ 21 h 21"/>
                  <a:gd name="T10" fmla="*/ 11 w 11"/>
                  <a:gd name="T11" fmla="*/ 16 h 21"/>
                  <a:gd name="T12" fmla="*/ 11 w 11"/>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11" h="21">
                    <a:moveTo>
                      <a:pt x="11" y="5"/>
                    </a:moveTo>
                    <a:cubicBezTo>
                      <a:pt x="11" y="2"/>
                      <a:pt x="9" y="0"/>
                      <a:pt x="6" y="0"/>
                    </a:cubicBezTo>
                    <a:cubicBezTo>
                      <a:pt x="3" y="0"/>
                      <a:pt x="0" y="2"/>
                      <a:pt x="0" y="5"/>
                    </a:cubicBezTo>
                    <a:cubicBezTo>
                      <a:pt x="0" y="16"/>
                      <a:pt x="0" y="16"/>
                      <a:pt x="0" y="16"/>
                    </a:cubicBezTo>
                    <a:cubicBezTo>
                      <a:pt x="0" y="19"/>
                      <a:pt x="3" y="21"/>
                      <a:pt x="6" y="21"/>
                    </a:cubicBezTo>
                    <a:cubicBezTo>
                      <a:pt x="9" y="21"/>
                      <a:pt x="11" y="19"/>
                      <a:pt x="11" y="16"/>
                    </a:cubicBezTo>
                    <a:lnTo>
                      <a:pt x="11" y="5"/>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1"/>
              <p:cNvSpPr>
                <a:spLocks/>
              </p:cNvSpPr>
              <p:nvPr/>
            </p:nvSpPr>
            <p:spPr bwMode="auto">
              <a:xfrm>
                <a:off x="2677437" y="1938882"/>
                <a:ext cx="115664" cy="166677"/>
              </a:xfrm>
              <a:custGeom>
                <a:avLst/>
                <a:gdLst>
                  <a:gd name="T0" fmla="*/ 6 w 97"/>
                  <a:gd name="T1" fmla="*/ 140 h 140"/>
                  <a:gd name="T2" fmla="*/ 11 w 97"/>
                  <a:gd name="T3" fmla="*/ 135 h 140"/>
                  <a:gd name="T4" fmla="*/ 11 w 97"/>
                  <a:gd name="T5" fmla="*/ 95 h 140"/>
                  <a:gd name="T6" fmla="*/ 29 w 97"/>
                  <a:gd name="T7" fmla="*/ 86 h 140"/>
                  <a:gd name="T8" fmla="*/ 32 w 97"/>
                  <a:gd name="T9" fmla="*/ 81 h 140"/>
                  <a:gd name="T10" fmla="*/ 32 w 97"/>
                  <a:gd name="T11" fmla="*/ 36 h 140"/>
                  <a:gd name="T12" fmla="*/ 59 w 97"/>
                  <a:gd name="T13" fmla="*/ 22 h 140"/>
                  <a:gd name="T14" fmla="*/ 86 w 97"/>
                  <a:gd name="T15" fmla="*/ 36 h 140"/>
                  <a:gd name="T16" fmla="*/ 86 w 97"/>
                  <a:gd name="T17" fmla="*/ 81 h 140"/>
                  <a:gd name="T18" fmla="*/ 92 w 97"/>
                  <a:gd name="T19" fmla="*/ 86 h 140"/>
                  <a:gd name="T20" fmla="*/ 97 w 97"/>
                  <a:gd name="T21" fmla="*/ 81 h 140"/>
                  <a:gd name="T22" fmla="*/ 97 w 97"/>
                  <a:gd name="T23" fmla="*/ 32 h 140"/>
                  <a:gd name="T24" fmla="*/ 94 w 97"/>
                  <a:gd name="T25" fmla="*/ 28 h 140"/>
                  <a:gd name="T26" fmla="*/ 65 w 97"/>
                  <a:gd name="T27" fmla="*/ 13 h 140"/>
                  <a:gd name="T28" fmla="*/ 65 w 97"/>
                  <a:gd name="T29" fmla="*/ 6 h 140"/>
                  <a:gd name="T30" fmla="*/ 59 w 97"/>
                  <a:gd name="T31" fmla="*/ 0 h 140"/>
                  <a:gd name="T32" fmla="*/ 54 w 97"/>
                  <a:gd name="T33" fmla="*/ 6 h 140"/>
                  <a:gd name="T34" fmla="*/ 54 w 97"/>
                  <a:gd name="T35" fmla="*/ 13 h 140"/>
                  <a:gd name="T36" fmla="*/ 25 w 97"/>
                  <a:gd name="T37" fmla="*/ 28 h 140"/>
                  <a:gd name="T38" fmla="*/ 22 w 97"/>
                  <a:gd name="T39" fmla="*/ 32 h 140"/>
                  <a:gd name="T40" fmla="*/ 22 w 97"/>
                  <a:gd name="T41" fmla="*/ 77 h 140"/>
                  <a:gd name="T42" fmla="*/ 3 w 97"/>
                  <a:gd name="T43" fmla="*/ 87 h 140"/>
                  <a:gd name="T44" fmla="*/ 0 w 97"/>
                  <a:gd name="T45" fmla="*/ 92 h 140"/>
                  <a:gd name="T46" fmla="*/ 0 w 97"/>
                  <a:gd name="T47" fmla="*/ 135 h 140"/>
                  <a:gd name="T48" fmla="*/ 6 w 97"/>
                  <a:gd name="T49"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40">
                    <a:moveTo>
                      <a:pt x="6" y="140"/>
                    </a:moveTo>
                    <a:cubicBezTo>
                      <a:pt x="9" y="140"/>
                      <a:pt x="11" y="138"/>
                      <a:pt x="11" y="135"/>
                    </a:cubicBezTo>
                    <a:cubicBezTo>
                      <a:pt x="11" y="95"/>
                      <a:pt x="11" y="95"/>
                      <a:pt x="11" y="95"/>
                    </a:cubicBezTo>
                    <a:cubicBezTo>
                      <a:pt x="29" y="86"/>
                      <a:pt x="29" y="86"/>
                      <a:pt x="29" y="86"/>
                    </a:cubicBezTo>
                    <a:cubicBezTo>
                      <a:pt x="31" y="85"/>
                      <a:pt x="32" y="83"/>
                      <a:pt x="32" y="81"/>
                    </a:cubicBezTo>
                    <a:cubicBezTo>
                      <a:pt x="32" y="36"/>
                      <a:pt x="32" y="36"/>
                      <a:pt x="32" y="36"/>
                    </a:cubicBezTo>
                    <a:cubicBezTo>
                      <a:pt x="59" y="22"/>
                      <a:pt x="59" y="22"/>
                      <a:pt x="59" y="22"/>
                    </a:cubicBezTo>
                    <a:cubicBezTo>
                      <a:pt x="86" y="36"/>
                      <a:pt x="86" y="36"/>
                      <a:pt x="86" y="36"/>
                    </a:cubicBezTo>
                    <a:cubicBezTo>
                      <a:pt x="86" y="81"/>
                      <a:pt x="86" y="81"/>
                      <a:pt x="86" y="81"/>
                    </a:cubicBezTo>
                    <a:cubicBezTo>
                      <a:pt x="86" y="84"/>
                      <a:pt x="89" y="86"/>
                      <a:pt x="92" y="86"/>
                    </a:cubicBezTo>
                    <a:cubicBezTo>
                      <a:pt x="95" y="86"/>
                      <a:pt x="97" y="84"/>
                      <a:pt x="97" y="81"/>
                    </a:cubicBezTo>
                    <a:cubicBezTo>
                      <a:pt x="97" y="32"/>
                      <a:pt x="97" y="32"/>
                      <a:pt x="97" y="32"/>
                    </a:cubicBezTo>
                    <a:cubicBezTo>
                      <a:pt x="97" y="30"/>
                      <a:pt x="96" y="29"/>
                      <a:pt x="94" y="28"/>
                    </a:cubicBezTo>
                    <a:cubicBezTo>
                      <a:pt x="65" y="13"/>
                      <a:pt x="65" y="13"/>
                      <a:pt x="65" y="13"/>
                    </a:cubicBezTo>
                    <a:cubicBezTo>
                      <a:pt x="65" y="6"/>
                      <a:pt x="65" y="6"/>
                      <a:pt x="65" y="6"/>
                    </a:cubicBezTo>
                    <a:cubicBezTo>
                      <a:pt x="65" y="3"/>
                      <a:pt x="62" y="0"/>
                      <a:pt x="59" y="0"/>
                    </a:cubicBezTo>
                    <a:cubicBezTo>
                      <a:pt x="56" y="0"/>
                      <a:pt x="54" y="3"/>
                      <a:pt x="54" y="6"/>
                    </a:cubicBezTo>
                    <a:cubicBezTo>
                      <a:pt x="54" y="13"/>
                      <a:pt x="54" y="13"/>
                      <a:pt x="54" y="13"/>
                    </a:cubicBezTo>
                    <a:cubicBezTo>
                      <a:pt x="25" y="28"/>
                      <a:pt x="25" y="28"/>
                      <a:pt x="25" y="28"/>
                    </a:cubicBezTo>
                    <a:cubicBezTo>
                      <a:pt x="23" y="29"/>
                      <a:pt x="22" y="30"/>
                      <a:pt x="22" y="32"/>
                    </a:cubicBezTo>
                    <a:cubicBezTo>
                      <a:pt x="22" y="77"/>
                      <a:pt x="22" y="77"/>
                      <a:pt x="22" y="77"/>
                    </a:cubicBezTo>
                    <a:cubicBezTo>
                      <a:pt x="3" y="87"/>
                      <a:pt x="3" y="87"/>
                      <a:pt x="3" y="87"/>
                    </a:cubicBezTo>
                    <a:cubicBezTo>
                      <a:pt x="1" y="88"/>
                      <a:pt x="0" y="90"/>
                      <a:pt x="0" y="92"/>
                    </a:cubicBezTo>
                    <a:cubicBezTo>
                      <a:pt x="0" y="135"/>
                      <a:pt x="0" y="135"/>
                      <a:pt x="0" y="135"/>
                    </a:cubicBezTo>
                    <a:cubicBezTo>
                      <a:pt x="0" y="138"/>
                      <a:pt x="3" y="140"/>
                      <a:pt x="6" y="140"/>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2"/>
              <p:cNvSpPr>
                <a:spLocks/>
              </p:cNvSpPr>
              <p:nvPr/>
            </p:nvSpPr>
            <p:spPr bwMode="auto">
              <a:xfrm>
                <a:off x="2728451" y="2143945"/>
                <a:ext cx="13132" cy="26264"/>
              </a:xfrm>
              <a:custGeom>
                <a:avLst/>
                <a:gdLst>
                  <a:gd name="T0" fmla="*/ 11 w 11"/>
                  <a:gd name="T1" fmla="*/ 6 h 22"/>
                  <a:gd name="T2" fmla="*/ 6 w 11"/>
                  <a:gd name="T3" fmla="*/ 0 h 22"/>
                  <a:gd name="T4" fmla="*/ 0 w 11"/>
                  <a:gd name="T5" fmla="*/ 6 h 22"/>
                  <a:gd name="T6" fmla="*/ 0 w 11"/>
                  <a:gd name="T7" fmla="*/ 16 h 22"/>
                  <a:gd name="T8" fmla="*/ 6 w 11"/>
                  <a:gd name="T9" fmla="*/ 22 h 22"/>
                  <a:gd name="T10" fmla="*/ 11 w 11"/>
                  <a:gd name="T11" fmla="*/ 16 h 22"/>
                  <a:gd name="T12" fmla="*/ 11 w 11"/>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1" h="22">
                    <a:moveTo>
                      <a:pt x="11" y="6"/>
                    </a:moveTo>
                    <a:cubicBezTo>
                      <a:pt x="11" y="3"/>
                      <a:pt x="9" y="0"/>
                      <a:pt x="6" y="0"/>
                    </a:cubicBezTo>
                    <a:cubicBezTo>
                      <a:pt x="3" y="0"/>
                      <a:pt x="0" y="3"/>
                      <a:pt x="0" y="6"/>
                    </a:cubicBezTo>
                    <a:cubicBezTo>
                      <a:pt x="0" y="16"/>
                      <a:pt x="0" y="16"/>
                      <a:pt x="0" y="16"/>
                    </a:cubicBezTo>
                    <a:cubicBezTo>
                      <a:pt x="0" y="19"/>
                      <a:pt x="3" y="22"/>
                      <a:pt x="6" y="22"/>
                    </a:cubicBezTo>
                    <a:cubicBezTo>
                      <a:pt x="9" y="22"/>
                      <a:pt x="11" y="19"/>
                      <a:pt x="11" y="16"/>
                    </a:cubicBezTo>
                    <a:lnTo>
                      <a:pt x="11"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3"/>
              <p:cNvSpPr>
                <a:spLocks/>
              </p:cNvSpPr>
              <p:nvPr/>
            </p:nvSpPr>
            <p:spPr bwMode="auto">
              <a:xfrm>
                <a:off x="2728451" y="2259609"/>
                <a:ext cx="13132" cy="38386"/>
              </a:xfrm>
              <a:custGeom>
                <a:avLst/>
                <a:gdLst>
                  <a:gd name="T0" fmla="*/ 6 w 11"/>
                  <a:gd name="T1" fmla="*/ 0 h 32"/>
                  <a:gd name="T2" fmla="*/ 0 w 11"/>
                  <a:gd name="T3" fmla="*/ 5 h 32"/>
                  <a:gd name="T4" fmla="*/ 0 w 11"/>
                  <a:gd name="T5" fmla="*/ 27 h 32"/>
                  <a:gd name="T6" fmla="*/ 6 w 11"/>
                  <a:gd name="T7" fmla="*/ 32 h 32"/>
                  <a:gd name="T8" fmla="*/ 11 w 11"/>
                  <a:gd name="T9" fmla="*/ 27 h 32"/>
                  <a:gd name="T10" fmla="*/ 11 w 11"/>
                  <a:gd name="T11" fmla="*/ 5 h 32"/>
                  <a:gd name="T12" fmla="*/ 6 w 11"/>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1" h="32">
                    <a:moveTo>
                      <a:pt x="6" y="0"/>
                    </a:moveTo>
                    <a:cubicBezTo>
                      <a:pt x="3" y="0"/>
                      <a:pt x="0" y="2"/>
                      <a:pt x="0" y="5"/>
                    </a:cubicBezTo>
                    <a:cubicBezTo>
                      <a:pt x="0" y="27"/>
                      <a:pt x="0" y="27"/>
                      <a:pt x="0" y="27"/>
                    </a:cubicBezTo>
                    <a:cubicBezTo>
                      <a:pt x="0" y="30"/>
                      <a:pt x="3" y="32"/>
                      <a:pt x="6" y="32"/>
                    </a:cubicBezTo>
                    <a:cubicBezTo>
                      <a:pt x="9" y="32"/>
                      <a:pt x="11" y="30"/>
                      <a:pt x="11" y="27"/>
                    </a:cubicBezTo>
                    <a:cubicBezTo>
                      <a:pt x="11" y="5"/>
                      <a:pt x="11" y="5"/>
                      <a:pt x="11" y="5"/>
                    </a:cubicBezTo>
                    <a:cubicBezTo>
                      <a:pt x="11" y="2"/>
                      <a:pt x="9" y="0"/>
                      <a:pt x="6" y="0"/>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4"/>
              <p:cNvSpPr>
                <a:spLocks/>
              </p:cNvSpPr>
              <p:nvPr/>
            </p:nvSpPr>
            <p:spPr bwMode="auto">
              <a:xfrm>
                <a:off x="2754715" y="1989896"/>
                <a:ext cx="12122" cy="26264"/>
              </a:xfrm>
              <a:custGeom>
                <a:avLst/>
                <a:gdLst>
                  <a:gd name="T0" fmla="*/ 10 w 10"/>
                  <a:gd name="T1" fmla="*/ 6 h 22"/>
                  <a:gd name="T2" fmla="*/ 5 w 10"/>
                  <a:gd name="T3" fmla="*/ 0 h 22"/>
                  <a:gd name="T4" fmla="*/ 0 w 10"/>
                  <a:gd name="T5" fmla="*/ 6 h 22"/>
                  <a:gd name="T6" fmla="*/ 0 w 10"/>
                  <a:gd name="T7" fmla="*/ 16 h 22"/>
                  <a:gd name="T8" fmla="*/ 5 w 10"/>
                  <a:gd name="T9" fmla="*/ 22 h 22"/>
                  <a:gd name="T10" fmla="*/ 10 w 10"/>
                  <a:gd name="T11" fmla="*/ 16 h 22"/>
                  <a:gd name="T12" fmla="*/ 10 w 10"/>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10" h="22">
                    <a:moveTo>
                      <a:pt x="10" y="6"/>
                    </a:moveTo>
                    <a:cubicBezTo>
                      <a:pt x="10" y="3"/>
                      <a:pt x="8" y="0"/>
                      <a:pt x="5" y="0"/>
                    </a:cubicBezTo>
                    <a:cubicBezTo>
                      <a:pt x="2" y="0"/>
                      <a:pt x="0" y="3"/>
                      <a:pt x="0" y="6"/>
                    </a:cubicBezTo>
                    <a:cubicBezTo>
                      <a:pt x="0" y="16"/>
                      <a:pt x="0" y="16"/>
                      <a:pt x="0" y="16"/>
                    </a:cubicBezTo>
                    <a:cubicBezTo>
                      <a:pt x="0" y="19"/>
                      <a:pt x="2" y="22"/>
                      <a:pt x="5" y="22"/>
                    </a:cubicBezTo>
                    <a:cubicBezTo>
                      <a:pt x="8" y="22"/>
                      <a:pt x="10" y="19"/>
                      <a:pt x="10" y="16"/>
                    </a:cubicBezTo>
                    <a:lnTo>
                      <a:pt x="10" y="6"/>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5"/>
              <p:cNvSpPr>
                <a:spLocks/>
              </p:cNvSpPr>
              <p:nvPr/>
            </p:nvSpPr>
            <p:spPr bwMode="auto">
              <a:xfrm>
                <a:off x="2728451" y="2105559"/>
                <a:ext cx="13132" cy="25254"/>
              </a:xfrm>
              <a:custGeom>
                <a:avLst/>
                <a:gdLst>
                  <a:gd name="T0" fmla="*/ 11 w 11"/>
                  <a:gd name="T1" fmla="*/ 5 h 21"/>
                  <a:gd name="T2" fmla="*/ 6 w 11"/>
                  <a:gd name="T3" fmla="*/ 0 h 21"/>
                  <a:gd name="T4" fmla="*/ 0 w 11"/>
                  <a:gd name="T5" fmla="*/ 5 h 21"/>
                  <a:gd name="T6" fmla="*/ 0 w 11"/>
                  <a:gd name="T7" fmla="*/ 16 h 21"/>
                  <a:gd name="T8" fmla="*/ 6 w 11"/>
                  <a:gd name="T9" fmla="*/ 21 h 21"/>
                  <a:gd name="T10" fmla="*/ 11 w 11"/>
                  <a:gd name="T11" fmla="*/ 16 h 21"/>
                  <a:gd name="T12" fmla="*/ 11 w 11"/>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11" h="21">
                    <a:moveTo>
                      <a:pt x="11" y="5"/>
                    </a:moveTo>
                    <a:cubicBezTo>
                      <a:pt x="11" y="2"/>
                      <a:pt x="9" y="0"/>
                      <a:pt x="6" y="0"/>
                    </a:cubicBezTo>
                    <a:cubicBezTo>
                      <a:pt x="3" y="0"/>
                      <a:pt x="0" y="2"/>
                      <a:pt x="0" y="5"/>
                    </a:cubicBezTo>
                    <a:cubicBezTo>
                      <a:pt x="0" y="16"/>
                      <a:pt x="0" y="16"/>
                      <a:pt x="0" y="16"/>
                    </a:cubicBezTo>
                    <a:cubicBezTo>
                      <a:pt x="0" y="19"/>
                      <a:pt x="3" y="21"/>
                      <a:pt x="6" y="21"/>
                    </a:cubicBezTo>
                    <a:cubicBezTo>
                      <a:pt x="9" y="21"/>
                      <a:pt x="11" y="19"/>
                      <a:pt x="11" y="16"/>
                    </a:cubicBezTo>
                    <a:lnTo>
                      <a:pt x="11" y="5"/>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3" name="Group 72"/>
          <p:cNvGrpSpPr/>
          <p:nvPr/>
        </p:nvGrpSpPr>
        <p:grpSpPr>
          <a:xfrm>
            <a:off x="4376005" y="4114070"/>
            <a:ext cx="699538" cy="699538"/>
            <a:chOff x="2445605" y="4154171"/>
            <a:chExt cx="699538" cy="699538"/>
          </a:xfrm>
        </p:grpSpPr>
        <p:sp>
          <p:nvSpPr>
            <p:cNvPr id="74" name="Oval 59"/>
            <p:cNvSpPr>
              <a:spLocks noChangeArrowheads="1"/>
            </p:cNvSpPr>
            <p:nvPr/>
          </p:nvSpPr>
          <p:spPr bwMode="auto">
            <a:xfrm>
              <a:off x="2445605" y="4154171"/>
              <a:ext cx="699538" cy="699538"/>
            </a:xfrm>
            <a:prstGeom prst="ellipse">
              <a:avLst/>
            </a:prstGeom>
            <a:solidFill>
              <a:srgbClr val="FFFFFF"/>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p>
          </p:txBody>
        </p:sp>
        <p:grpSp>
          <p:nvGrpSpPr>
            <p:cNvPr id="75" name="Group 74"/>
            <p:cNvGrpSpPr/>
            <p:nvPr/>
          </p:nvGrpSpPr>
          <p:grpSpPr>
            <a:xfrm>
              <a:off x="2606726" y="4291553"/>
              <a:ext cx="368710" cy="401035"/>
              <a:chOff x="2606726" y="4291553"/>
              <a:chExt cx="368710" cy="401035"/>
            </a:xfrm>
          </p:grpSpPr>
          <p:sp>
            <p:nvSpPr>
              <p:cNvPr id="76" name="Freeform 60"/>
              <p:cNvSpPr>
                <a:spLocks noEditPoints="1"/>
              </p:cNvSpPr>
              <p:nvPr/>
            </p:nvSpPr>
            <p:spPr bwMode="auto">
              <a:xfrm>
                <a:off x="2606726" y="4291553"/>
                <a:ext cx="368710" cy="401035"/>
              </a:xfrm>
              <a:custGeom>
                <a:avLst/>
                <a:gdLst>
                  <a:gd name="T0" fmla="*/ 222 w 309"/>
                  <a:gd name="T1" fmla="*/ 282 h 336"/>
                  <a:gd name="T2" fmla="*/ 223 w 309"/>
                  <a:gd name="T3" fmla="*/ 244 h 336"/>
                  <a:gd name="T4" fmla="*/ 287 w 309"/>
                  <a:gd name="T5" fmla="*/ 135 h 336"/>
                  <a:gd name="T6" fmla="*/ 275 w 309"/>
                  <a:gd name="T7" fmla="*/ 88 h 336"/>
                  <a:gd name="T8" fmla="*/ 91 w 309"/>
                  <a:gd name="T9" fmla="*/ 32 h 336"/>
                  <a:gd name="T10" fmla="*/ 32 w 309"/>
                  <a:gd name="T11" fmla="*/ 38 h 336"/>
                  <a:gd name="T12" fmla="*/ 52 w 309"/>
                  <a:gd name="T13" fmla="*/ 97 h 336"/>
                  <a:gd name="T14" fmla="*/ 27 w 309"/>
                  <a:gd name="T15" fmla="*/ 114 h 336"/>
                  <a:gd name="T16" fmla="*/ 0 w 309"/>
                  <a:gd name="T17" fmla="*/ 152 h 336"/>
                  <a:gd name="T18" fmla="*/ 32 w 309"/>
                  <a:gd name="T19" fmla="*/ 228 h 336"/>
                  <a:gd name="T20" fmla="*/ 59 w 309"/>
                  <a:gd name="T21" fmla="*/ 249 h 336"/>
                  <a:gd name="T22" fmla="*/ 27 w 309"/>
                  <a:gd name="T23" fmla="*/ 331 h 336"/>
                  <a:gd name="T24" fmla="*/ 38 w 309"/>
                  <a:gd name="T25" fmla="*/ 336 h 336"/>
                  <a:gd name="T26" fmla="*/ 59 w 309"/>
                  <a:gd name="T27" fmla="*/ 296 h 336"/>
                  <a:gd name="T28" fmla="*/ 70 w 309"/>
                  <a:gd name="T29" fmla="*/ 336 h 336"/>
                  <a:gd name="T30" fmla="*/ 76 w 309"/>
                  <a:gd name="T31" fmla="*/ 293 h 336"/>
                  <a:gd name="T32" fmla="*/ 168 w 309"/>
                  <a:gd name="T33" fmla="*/ 332 h 336"/>
                  <a:gd name="T34" fmla="*/ 260 w 309"/>
                  <a:gd name="T35" fmla="*/ 293 h 336"/>
                  <a:gd name="T36" fmla="*/ 298 w 309"/>
                  <a:gd name="T37" fmla="*/ 336 h 336"/>
                  <a:gd name="T38" fmla="*/ 309 w 309"/>
                  <a:gd name="T39" fmla="*/ 331 h 336"/>
                  <a:gd name="T40" fmla="*/ 43 w 309"/>
                  <a:gd name="T41" fmla="*/ 43 h 336"/>
                  <a:gd name="T42" fmla="*/ 97 w 309"/>
                  <a:gd name="T43" fmla="*/ 41 h 336"/>
                  <a:gd name="T44" fmla="*/ 263 w 309"/>
                  <a:gd name="T45" fmla="*/ 86 h 336"/>
                  <a:gd name="T46" fmla="*/ 222 w 309"/>
                  <a:gd name="T47" fmla="*/ 40 h 336"/>
                  <a:gd name="T48" fmla="*/ 179 w 309"/>
                  <a:gd name="T49" fmla="*/ 86 h 336"/>
                  <a:gd name="T50" fmla="*/ 43 w 309"/>
                  <a:gd name="T51" fmla="*/ 43 h 336"/>
                  <a:gd name="T52" fmla="*/ 209 w 309"/>
                  <a:gd name="T53" fmla="*/ 86 h 336"/>
                  <a:gd name="T54" fmla="*/ 222 w 309"/>
                  <a:gd name="T55" fmla="*/ 68 h 336"/>
                  <a:gd name="T56" fmla="*/ 236 w 309"/>
                  <a:gd name="T57" fmla="*/ 86 h 336"/>
                  <a:gd name="T58" fmla="*/ 70 w 309"/>
                  <a:gd name="T59" fmla="*/ 97 h 336"/>
                  <a:gd name="T60" fmla="*/ 277 w 309"/>
                  <a:gd name="T61" fmla="*/ 112 h 336"/>
                  <a:gd name="T62" fmla="*/ 250 w 309"/>
                  <a:gd name="T63" fmla="*/ 172 h 336"/>
                  <a:gd name="T64" fmla="*/ 212 w 309"/>
                  <a:gd name="T65" fmla="*/ 162 h 336"/>
                  <a:gd name="T66" fmla="*/ 122 w 309"/>
                  <a:gd name="T67" fmla="*/ 164 h 336"/>
                  <a:gd name="T68" fmla="*/ 59 w 309"/>
                  <a:gd name="T69" fmla="*/ 134 h 336"/>
                  <a:gd name="T70" fmla="*/ 38 w 309"/>
                  <a:gd name="T71" fmla="*/ 114 h 336"/>
                  <a:gd name="T72" fmla="*/ 49 w 309"/>
                  <a:gd name="T73" fmla="*/ 108 h 336"/>
                  <a:gd name="T74" fmla="*/ 43 w 309"/>
                  <a:gd name="T75" fmla="*/ 141 h 336"/>
                  <a:gd name="T76" fmla="*/ 38 w 309"/>
                  <a:gd name="T77" fmla="*/ 114 h 336"/>
                  <a:gd name="T78" fmla="*/ 76 w 309"/>
                  <a:gd name="T79" fmla="*/ 282 h 336"/>
                  <a:gd name="T80" fmla="*/ 70 w 309"/>
                  <a:gd name="T81" fmla="*/ 249 h 336"/>
                  <a:gd name="T82" fmla="*/ 32 w 309"/>
                  <a:gd name="T83" fmla="*/ 217 h 336"/>
                  <a:gd name="T84" fmla="*/ 11 w 309"/>
                  <a:gd name="T85" fmla="*/ 152 h 336"/>
                  <a:gd name="T86" fmla="*/ 27 w 309"/>
                  <a:gd name="T87" fmla="*/ 135 h 336"/>
                  <a:gd name="T88" fmla="*/ 52 w 309"/>
                  <a:gd name="T89" fmla="*/ 152 h 336"/>
                  <a:gd name="T90" fmla="*/ 113 w 309"/>
                  <a:gd name="T91" fmla="*/ 244 h 336"/>
                  <a:gd name="T92" fmla="*/ 114 w 309"/>
                  <a:gd name="T93" fmla="*/ 282 h 336"/>
                  <a:gd name="T94" fmla="*/ 168 w 309"/>
                  <a:gd name="T95" fmla="*/ 318 h 336"/>
                  <a:gd name="T96" fmla="*/ 125 w 309"/>
                  <a:gd name="T97" fmla="*/ 251 h 336"/>
                  <a:gd name="T98" fmla="*/ 168 w 309"/>
                  <a:gd name="T99" fmla="*/ 266 h 336"/>
                  <a:gd name="T100" fmla="*/ 211 w 309"/>
                  <a:gd name="T101" fmla="*/ 251 h 336"/>
                  <a:gd name="T102" fmla="*/ 218 w 309"/>
                  <a:gd name="T103" fmla="*/ 235 h 336"/>
                  <a:gd name="T104" fmla="*/ 140 w 309"/>
                  <a:gd name="T105" fmla="*/ 247 h 336"/>
                  <a:gd name="T106" fmla="*/ 74 w 309"/>
                  <a:gd name="T107" fmla="*/ 178 h 336"/>
                  <a:gd name="T108" fmla="*/ 128 w 309"/>
                  <a:gd name="T109" fmla="*/ 173 h 336"/>
                  <a:gd name="T110" fmla="*/ 238 w 309"/>
                  <a:gd name="T111" fmla="*/ 184 h 336"/>
                  <a:gd name="T112" fmla="*/ 262 w 309"/>
                  <a:gd name="T113" fmla="*/ 17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9" h="336">
                    <a:moveTo>
                      <a:pt x="260" y="282"/>
                    </a:moveTo>
                    <a:cubicBezTo>
                      <a:pt x="222" y="282"/>
                      <a:pt x="222" y="282"/>
                      <a:pt x="222" y="282"/>
                    </a:cubicBezTo>
                    <a:cubicBezTo>
                      <a:pt x="222" y="245"/>
                      <a:pt x="222" y="245"/>
                      <a:pt x="222" y="245"/>
                    </a:cubicBezTo>
                    <a:cubicBezTo>
                      <a:pt x="223" y="244"/>
                      <a:pt x="223" y="244"/>
                      <a:pt x="223" y="244"/>
                    </a:cubicBezTo>
                    <a:cubicBezTo>
                      <a:pt x="252" y="228"/>
                      <a:pt x="271" y="200"/>
                      <a:pt x="276" y="167"/>
                    </a:cubicBezTo>
                    <a:cubicBezTo>
                      <a:pt x="283" y="158"/>
                      <a:pt x="287" y="147"/>
                      <a:pt x="287" y="135"/>
                    </a:cubicBezTo>
                    <a:cubicBezTo>
                      <a:pt x="287" y="112"/>
                      <a:pt x="287" y="112"/>
                      <a:pt x="287" y="112"/>
                    </a:cubicBezTo>
                    <a:cubicBezTo>
                      <a:pt x="287" y="101"/>
                      <a:pt x="282" y="92"/>
                      <a:pt x="275" y="88"/>
                    </a:cubicBezTo>
                    <a:cubicBezTo>
                      <a:pt x="265" y="37"/>
                      <a:pt x="221" y="0"/>
                      <a:pt x="168" y="0"/>
                    </a:cubicBezTo>
                    <a:cubicBezTo>
                      <a:pt x="139" y="0"/>
                      <a:pt x="111" y="11"/>
                      <a:pt x="91" y="32"/>
                    </a:cubicBezTo>
                    <a:cubicBezTo>
                      <a:pt x="32" y="32"/>
                      <a:pt x="32" y="32"/>
                      <a:pt x="32" y="32"/>
                    </a:cubicBezTo>
                    <a:cubicBezTo>
                      <a:pt x="32" y="38"/>
                      <a:pt x="32" y="38"/>
                      <a:pt x="32" y="38"/>
                    </a:cubicBezTo>
                    <a:cubicBezTo>
                      <a:pt x="32" y="59"/>
                      <a:pt x="44" y="78"/>
                      <a:pt x="61" y="89"/>
                    </a:cubicBezTo>
                    <a:cubicBezTo>
                      <a:pt x="57" y="90"/>
                      <a:pt x="54" y="93"/>
                      <a:pt x="52" y="97"/>
                    </a:cubicBezTo>
                    <a:cubicBezTo>
                      <a:pt x="43" y="97"/>
                      <a:pt x="43" y="97"/>
                      <a:pt x="43" y="97"/>
                    </a:cubicBezTo>
                    <a:cubicBezTo>
                      <a:pt x="34" y="97"/>
                      <a:pt x="27" y="105"/>
                      <a:pt x="27" y="114"/>
                    </a:cubicBezTo>
                    <a:cubicBezTo>
                      <a:pt x="27" y="119"/>
                      <a:pt x="27" y="119"/>
                      <a:pt x="27" y="119"/>
                    </a:cubicBezTo>
                    <a:cubicBezTo>
                      <a:pt x="11" y="122"/>
                      <a:pt x="0" y="135"/>
                      <a:pt x="0" y="152"/>
                    </a:cubicBezTo>
                    <a:cubicBezTo>
                      <a:pt x="0" y="195"/>
                      <a:pt x="0" y="195"/>
                      <a:pt x="0" y="195"/>
                    </a:cubicBezTo>
                    <a:cubicBezTo>
                      <a:pt x="0" y="213"/>
                      <a:pt x="14" y="228"/>
                      <a:pt x="32" y="228"/>
                    </a:cubicBezTo>
                    <a:cubicBezTo>
                      <a:pt x="38" y="228"/>
                      <a:pt x="38" y="228"/>
                      <a:pt x="38" y="228"/>
                    </a:cubicBezTo>
                    <a:cubicBezTo>
                      <a:pt x="50" y="228"/>
                      <a:pt x="59" y="237"/>
                      <a:pt x="59" y="249"/>
                    </a:cubicBezTo>
                    <a:cubicBezTo>
                      <a:pt x="59" y="285"/>
                      <a:pt x="59" y="285"/>
                      <a:pt x="59" y="285"/>
                    </a:cubicBezTo>
                    <a:cubicBezTo>
                      <a:pt x="40" y="291"/>
                      <a:pt x="27" y="310"/>
                      <a:pt x="27" y="331"/>
                    </a:cubicBezTo>
                    <a:cubicBezTo>
                      <a:pt x="27" y="336"/>
                      <a:pt x="27" y="336"/>
                      <a:pt x="27" y="336"/>
                    </a:cubicBezTo>
                    <a:cubicBezTo>
                      <a:pt x="38" y="336"/>
                      <a:pt x="38" y="336"/>
                      <a:pt x="38" y="336"/>
                    </a:cubicBezTo>
                    <a:cubicBezTo>
                      <a:pt x="38" y="331"/>
                      <a:pt x="38" y="331"/>
                      <a:pt x="38" y="331"/>
                    </a:cubicBezTo>
                    <a:cubicBezTo>
                      <a:pt x="38" y="316"/>
                      <a:pt x="47" y="303"/>
                      <a:pt x="59" y="296"/>
                    </a:cubicBezTo>
                    <a:cubicBezTo>
                      <a:pt x="59" y="336"/>
                      <a:pt x="59" y="336"/>
                      <a:pt x="59" y="336"/>
                    </a:cubicBezTo>
                    <a:cubicBezTo>
                      <a:pt x="70" y="336"/>
                      <a:pt x="70" y="336"/>
                      <a:pt x="70" y="336"/>
                    </a:cubicBezTo>
                    <a:cubicBezTo>
                      <a:pt x="70" y="293"/>
                      <a:pt x="70" y="293"/>
                      <a:pt x="70" y="293"/>
                    </a:cubicBezTo>
                    <a:cubicBezTo>
                      <a:pt x="72" y="293"/>
                      <a:pt x="74" y="293"/>
                      <a:pt x="76" y="293"/>
                    </a:cubicBezTo>
                    <a:cubicBezTo>
                      <a:pt x="117" y="293"/>
                      <a:pt x="117" y="293"/>
                      <a:pt x="117" y="293"/>
                    </a:cubicBezTo>
                    <a:cubicBezTo>
                      <a:pt x="168" y="332"/>
                      <a:pt x="168" y="332"/>
                      <a:pt x="168" y="332"/>
                    </a:cubicBezTo>
                    <a:cubicBezTo>
                      <a:pt x="219" y="293"/>
                      <a:pt x="219" y="293"/>
                      <a:pt x="219" y="293"/>
                    </a:cubicBezTo>
                    <a:cubicBezTo>
                      <a:pt x="260" y="293"/>
                      <a:pt x="260" y="293"/>
                      <a:pt x="260" y="293"/>
                    </a:cubicBezTo>
                    <a:cubicBezTo>
                      <a:pt x="281" y="293"/>
                      <a:pt x="298" y="310"/>
                      <a:pt x="298" y="331"/>
                    </a:cubicBezTo>
                    <a:cubicBezTo>
                      <a:pt x="298" y="336"/>
                      <a:pt x="298" y="336"/>
                      <a:pt x="298" y="336"/>
                    </a:cubicBezTo>
                    <a:cubicBezTo>
                      <a:pt x="309" y="336"/>
                      <a:pt x="309" y="336"/>
                      <a:pt x="309" y="336"/>
                    </a:cubicBezTo>
                    <a:cubicBezTo>
                      <a:pt x="309" y="331"/>
                      <a:pt x="309" y="331"/>
                      <a:pt x="309" y="331"/>
                    </a:cubicBezTo>
                    <a:cubicBezTo>
                      <a:pt x="309" y="304"/>
                      <a:pt x="287" y="282"/>
                      <a:pt x="260" y="282"/>
                    </a:cubicBezTo>
                    <a:moveTo>
                      <a:pt x="43" y="43"/>
                    </a:moveTo>
                    <a:cubicBezTo>
                      <a:pt x="95" y="43"/>
                      <a:pt x="95" y="43"/>
                      <a:pt x="95" y="43"/>
                    </a:cubicBezTo>
                    <a:cubicBezTo>
                      <a:pt x="97" y="41"/>
                      <a:pt x="97" y="41"/>
                      <a:pt x="97" y="41"/>
                    </a:cubicBezTo>
                    <a:cubicBezTo>
                      <a:pt x="116" y="21"/>
                      <a:pt x="141" y="10"/>
                      <a:pt x="168" y="10"/>
                    </a:cubicBezTo>
                    <a:cubicBezTo>
                      <a:pt x="213" y="10"/>
                      <a:pt x="253" y="43"/>
                      <a:pt x="263" y="86"/>
                    </a:cubicBezTo>
                    <a:cubicBezTo>
                      <a:pt x="250" y="85"/>
                      <a:pt x="238" y="77"/>
                      <a:pt x="233" y="65"/>
                    </a:cubicBezTo>
                    <a:cubicBezTo>
                      <a:pt x="222" y="40"/>
                      <a:pt x="222" y="40"/>
                      <a:pt x="222" y="40"/>
                    </a:cubicBezTo>
                    <a:cubicBezTo>
                      <a:pt x="212" y="65"/>
                      <a:pt x="212" y="65"/>
                      <a:pt x="212" y="65"/>
                    </a:cubicBezTo>
                    <a:cubicBezTo>
                      <a:pt x="206" y="78"/>
                      <a:pt x="193" y="86"/>
                      <a:pt x="179" y="86"/>
                    </a:cubicBezTo>
                    <a:cubicBezTo>
                      <a:pt x="92" y="86"/>
                      <a:pt x="92" y="86"/>
                      <a:pt x="92" y="86"/>
                    </a:cubicBezTo>
                    <a:cubicBezTo>
                      <a:pt x="67" y="86"/>
                      <a:pt x="46" y="67"/>
                      <a:pt x="43" y="43"/>
                    </a:cubicBezTo>
                    <a:moveTo>
                      <a:pt x="236" y="86"/>
                    </a:moveTo>
                    <a:cubicBezTo>
                      <a:pt x="209" y="86"/>
                      <a:pt x="209" y="86"/>
                      <a:pt x="209" y="86"/>
                    </a:cubicBezTo>
                    <a:cubicBezTo>
                      <a:pt x="214" y="82"/>
                      <a:pt x="219" y="76"/>
                      <a:pt x="222" y="69"/>
                    </a:cubicBezTo>
                    <a:cubicBezTo>
                      <a:pt x="222" y="68"/>
                      <a:pt x="222" y="68"/>
                      <a:pt x="222" y="68"/>
                    </a:cubicBezTo>
                    <a:cubicBezTo>
                      <a:pt x="223" y="69"/>
                      <a:pt x="223" y="69"/>
                      <a:pt x="223" y="69"/>
                    </a:cubicBezTo>
                    <a:cubicBezTo>
                      <a:pt x="226" y="76"/>
                      <a:pt x="230" y="82"/>
                      <a:pt x="236" y="86"/>
                    </a:cubicBezTo>
                    <a:moveTo>
                      <a:pt x="59" y="108"/>
                    </a:moveTo>
                    <a:cubicBezTo>
                      <a:pt x="59" y="102"/>
                      <a:pt x="64" y="97"/>
                      <a:pt x="70" y="97"/>
                    </a:cubicBezTo>
                    <a:cubicBezTo>
                      <a:pt x="266" y="97"/>
                      <a:pt x="266" y="97"/>
                      <a:pt x="266" y="97"/>
                    </a:cubicBezTo>
                    <a:cubicBezTo>
                      <a:pt x="272" y="97"/>
                      <a:pt x="277" y="103"/>
                      <a:pt x="277" y="112"/>
                    </a:cubicBezTo>
                    <a:cubicBezTo>
                      <a:pt x="277" y="135"/>
                      <a:pt x="277" y="135"/>
                      <a:pt x="277" y="135"/>
                    </a:cubicBezTo>
                    <a:cubicBezTo>
                      <a:pt x="277" y="152"/>
                      <a:pt x="265" y="167"/>
                      <a:pt x="250" y="172"/>
                    </a:cubicBezTo>
                    <a:cubicBezTo>
                      <a:pt x="237" y="175"/>
                      <a:pt x="223" y="172"/>
                      <a:pt x="213" y="164"/>
                    </a:cubicBezTo>
                    <a:cubicBezTo>
                      <a:pt x="212" y="162"/>
                      <a:pt x="212" y="162"/>
                      <a:pt x="212" y="162"/>
                    </a:cubicBezTo>
                    <a:cubicBezTo>
                      <a:pt x="124" y="162"/>
                      <a:pt x="124" y="162"/>
                      <a:pt x="124" y="162"/>
                    </a:cubicBezTo>
                    <a:cubicBezTo>
                      <a:pt x="122" y="164"/>
                      <a:pt x="122" y="164"/>
                      <a:pt x="122" y="164"/>
                    </a:cubicBezTo>
                    <a:cubicBezTo>
                      <a:pt x="114" y="172"/>
                      <a:pt x="102" y="175"/>
                      <a:pt x="90" y="173"/>
                    </a:cubicBezTo>
                    <a:cubicBezTo>
                      <a:pt x="72" y="169"/>
                      <a:pt x="59" y="153"/>
                      <a:pt x="59" y="134"/>
                    </a:cubicBezTo>
                    <a:lnTo>
                      <a:pt x="59" y="108"/>
                    </a:lnTo>
                    <a:close/>
                    <a:moveTo>
                      <a:pt x="38" y="114"/>
                    </a:moveTo>
                    <a:cubicBezTo>
                      <a:pt x="38" y="111"/>
                      <a:pt x="40" y="108"/>
                      <a:pt x="43" y="108"/>
                    </a:cubicBezTo>
                    <a:cubicBezTo>
                      <a:pt x="49" y="108"/>
                      <a:pt x="49" y="108"/>
                      <a:pt x="49" y="108"/>
                    </a:cubicBezTo>
                    <a:cubicBezTo>
                      <a:pt x="49" y="141"/>
                      <a:pt x="49" y="141"/>
                      <a:pt x="49" y="141"/>
                    </a:cubicBezTo>
                    <a:cubicBezTo>
                      <a:pt x="43" y="141"/>
                      <a:pt x="43" y="141"/>
                      <a:pt x="43" y="141"/>
                    </a:cubicBezTo>
                    <a:cubicBezTo>
                      <a:pt x="40" y="141"/>
                      <a:pt x="38" y="138"/>
                      <a:pt x="38" y="135"/>
                    </a:cubicBezTo>
                    <a:lnTo>
                      <a:pt x="38" y="114"/>
                    </a:lnTo>
                    <a:close/>
                    <a:moveTo>
                      <a:pt x="114" y="282"/>
                    </a:moveTo>
                    <a:cubicBezTo>
                      <a:pt x="76" y="282"/>
                      <a:pt x="76" y="282"/>
                      <a:pt x="76" y="282"/>
                    </a:cubicBezTo>
                    <a:cubicBezTo>
                      <a:pt x="74" y="282"/>
                      <a:pt x="72" y="282"/>
                      <a:pt x="70" y="282"/>
                    </a:cubicBezTo>
                    <a:cubicBezTo>
                      <a:pt x="70" y="249"/>
                      <a:pt x="70" y="249"/>
                      <a:pt x="70" y="249"/>
                    </a:cubicBezTo>
                    <a:cubicBezTo>
                      <a:pt x="70" y="231"/>
                      <a:pt x="56" y="217"/>
                      <a:pt x="38" y="217"/>
                    </a:cubicBezTo>
                    <a:cubicBezTo>
                      <a:pt x="32" y="217"/>
                      <a:pt x="32" y="217"/>
                      <a:pt x="32" y="217"/>
                    </a:cubicBezTo>
                    <a:cubicBezTo>
                      <a:pt x="20" y="217"/>
                      <a:pt x="11" y="207"/>
                      <a:pt x="11" y="195"/>
                    </a:cubicBezTo>
                    <a:cubicBezTo>
                      <a:pt x="11" y="152"/>
                      <a:pt x="11" y="152"/>
                      <a:pt x="11" y="152"/>
                    </a:cubicBezTo>
                    <a:cubicBezTo>
                      <a:pt x="11" y="141"/>
                      <a:pt x="17" y="133"/>
                      <a:pt x="27" y="131"/>
                    </a:cubicBezTo>
                    <a:cubicBezTo>
                      <a:pt x="27" y="135"/>
                      <a:pt x="27" y="135"/>
                      <a:pt x="27" y="135"/>
                    </a:cubicBezTo>
                    <a:cubicBezTo>
                      <a:pt x="27" y="144"/>
                      <a:pt x="34" y="152"/>
                      <a:pt x="43" y="152"/>
                    </a:cubicBezTo>
                    <a:cubicBezTo>
                      <a:pt x="52" y="152"/>
                      <a:pt x="52" y="152"/>
                      <a:pt x="52" y="152"/>
                    </a:cubicBezTo>
                    <a:cubicBezTo>
                      <a:pt x="54" y="157"/>
                      <a:pt x="57" y="162"/>
                      <a:pt x="60" y="167"/>
                    </a:cubicBezTo>
                    <a:cubicBezTo>
                      <a:pt x="65" y="199"/>
                      <a:pt x="84" y="228"/>
                      <a:pt x="113" y="244"/>
                    </a:cubicBezTo>
                    <a:cubicBezTo>
                      <a:pt x="114" y="245"/>
                      <a:pt x="114" y="245"/>
                      <a:pt x="114" y="245"/>
                    </a:cubicBezTo>
                    <a:lnTo>
                      <a:pt x="114" y="282"/>
                    </a:lnTo>
                    <a:close/>
                    <a:moveTo>
                      <a:pt x="211" y="285"/>
                    </a:moveTo>
                    <a:cubicBezTo>
                      <a:pt x="168" y="318"/>
                      <a:pt x="168" y="318"/>
                      <a:pt x="168" y="318"/>
                    </a:cubicBezTo>
                    <a:cubicBezTo>
                      <a:pt x="125" y="285"/>
                      <a:pt x="125" y="285"/>
                      <a:pt x="125" y="285"/>
                    </a:cubicBezTo>
                    <a:cubicBezTo>
                      <a:pt x="125" y="251"/>
                      <a:pt x="125" y="251"/>
                      <a:pt x="125" y="251"/>
                    </a:cubicBezTo>
                    <a:cubicBezTo>
                      <a:pt x="135" y="257"/>
                      <a:pt x="135" y="257"/>
                      <a:pt x="135" y="257"/>
                    </a:cubicBezTo>
                    <a:cubicBezTo>
                      <a:pt x="145" y="263"/>
                      <a:pt x="156" y="266"/>
                      <a:pt x="168" y="266"/>
                    </a:cubicBezTo>
                    <a:cubicBezTo>
                      <a:pt x="180" y="266"/>
                      <a:pt x="191" y="263"/>
                      <a:pt x="201" y="257"/>
                    </a:cubicBezTo>
                    <a:cubicBezTo>
                      <a:pt x="211" y="251"/>
                      <a:pt x="211" y="251"/>
                      <a:pt x="211" y="251"/>
                    </a:cubicBezTo>
                    <a:lnTo>
                      <a:pt x="211" y="285"/>
                    </a:lnTo>
                    <a:close/>
                    <a:moveTo>
                      <a:pt x="218" y="235"/>
                    </a:moveTo>
                    <a:cubicBezTo>
                      <a:pt x="196" y="247"/>
                      <a:pt x="196" y="247"/>
                      <a:pt x="196" y="247"/>
                    </a:cubicBezTo>
                    <a:cubicBezTo>
                      <a:pt x="179" y="257"/>
                      <a:pt x="157" y="257"/>
                      <a:pt x="140" y="247"/>
                    </a:cubicBezTo>
                    <a:cubicBezTo>
                      <a:pt x="118" y="235"/>
                      <a:pt x="118" y="235"/>
                      <a:pt x="118" y="235"/>
                    </a:cubicBezTo>
                    <a:cubicBezTo>
                      <a:pt x="96" y="223"/>
                      <a:pt x="80" y="202"/>
                      <a:pt x="74" y="178"/>
                    </a:cubicBezTo>
                    <a:cubicBezTo>
                      <a:pt x="78" y="180"/>
                      <a:pt x="83" y="182"/>
                      <a:pt x="88" y="183"/>
                    </a:cubicBezTo>
                    <a:cubicBezTo>
                      <a:pt x="103" y="186"/>
                      <a:pt x="117" y="182"/>
                      <a:pt x="128" y="173"/>
                    </a:cubicBezTo>
                    <a:cubicBezTo>
                      <a:pt x="208" y="173"/>
                      <a:pt x="208" y="173"/>
                      <a:pt x="208" y="173"/>
                    </a:cubicBezTo>
                    <a:cubicBezTo>
                      <a:pt x="217" y="180"/>
                      <a:pt x="227" y="184"/>
                      <a:pt x="238" y="184"/>
                    </a:cubicBezTo>
                    <a:cubicBezTo>
                      <a:pt x="243" y="184"/>
                      <a:pt x="248" y="183"/>
                      <a:pt x="252" y="182"/>
                    </a:cubicBezTo>
                    <a:cubicBezTo>
                      <a:pt x="256" y="181"/>
                      <a:pt x="259" y="180"/>
                      <a:pt x="262" y="178"/>
                    </a:cubicBezTo>
                    <a:cubicBezTo>
                      <a:pt x="256" y="202"/>
                      <a:pt x="240" y="223"/>
                      <a:pt x="218" y="235"/>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61"/>
              <p:cNvSpPr>
                <a:spLocks noChangeArrowheads="1"/>
              </p:cNvSpPr>
              <p:nvPr/>
            </p:nvSpPr>
            <p:spPr bwMode="auto">
              <a:xfrm>
                <a:off x="2703702" y="4452674"/>
                <a:ext cx="175263" cy="13132"/>
              </a:xfrm>
              <a:prstGeom prst="rect">
                <a:avLst/>
              </a:prstGeom>
              <a:solidFill>
                <a:srgbClr val="0A4E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62"/>
              <p:cNvSpPr>
                <a:spLocks noChangeArrowheads="1"/>
              </p:cNvSpPr>
              <p:nvPr/>
            </p:nvSpPr>
            <p:spPr bwMode="auto">
              <a:xfrm>
                <a:off x="2892097" y="4452674"/>
                <a:ext cx="19193" cy="13132"/>
              </a:xfrm>
              <a:prstGeom prst="rect">
                <a:avLst/>
              </a:prstGeom>
              <a:solidFill>
                <a:srgbClr val="0A4E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7" name="Group 86"/>
          <p:cNvGrpSpPr/>
          <p:nvPr/>
        </p:nvGrpSpPr>
        <p:grpSpPr>
          <a:xfrm>
            <a:off x="4376005" y="633025"/>
            <a:ext cx="699538" cy="699033"/>
            <a:chOff x="2445605" y="1010542"/>
            <a:chExt cx="699538" cy="699033"/>
          </a:xfrm>
        </p:grpSpPr>
        <p:sp>
          <p:nvSpPr>
            <p:cNvPr id="88" name="Oval 69"/>
            <p:cNvSpPr>
              <a:spLocks noChangeArrowheads="1"/>
            </p:cNvSpPr>
            <p:nvPr/>
          </p:nvSpPr>
          <p:spPr bwMode="auto">
            <a:xfrm>
              <a:off x="2445605" y="1010542"/>
              <a:ext cx="699538" cy="699033"/>
            </a:xfrm>
            <a:prstGeom prst="ellipse">
              <a:avLst/>
            </a:prstGeom>
            <a:solidFill>
              <a:srgbClr val="FFFFFF"/>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p>
          </p:txBody>
        </p:sp>
        <p:grpSp>
          <p:nvGrpSpPr>
            <p:cNvPr id="89" name="Group 88"/>
            <p:cNvGrpSpPr/>
            <p:nvPr/>
          </p:nvGrpSpPr>
          <p:grpSpPr>
            <a:xfrm>
              <a:off x="2585513" y="1195402"/>
              <a:ext cx="429319" cy="312646"/>
              <a:chOff x="2585513" y="1195402"/>
              <a:chExt cx="429319" cy="312646"/>
            </a:xfrm>
          </p:grpSpPr>
          <p:sp>
            <p:nvSpPr>
              <p:cNvPr id="90" name="Freeform 70"/>
              <p:cNvSpPr>
                <a:spLocks noEditPoints="1"/>
              </p:cNvSpPr>
              <p:nvPr/>
            </p:nvSpPr>
            <p:spPr bwMode="auto">
              <a:xfrm>
                <a:off x="2585513" y="1195402"/>
                <a:ext cx="429319" cy="312646"/>
              </a:xfrm>
              <a:custGeom>
                <a:avLst/>
                <a:gdLst>
                  <a:gd name="T0" fmla="*/ 345 w 360"/>
                  <a:gd name="T1" fmla="*/ 111 h 262"/>
                  <a:gd name="T2" fmla="*/ 322 w 360"/>
                  <a:gd name="T3" fmla="*/ 135 h 262"/>
                  <a:gd name="T4" fmla="*/ 304 w 360"/>
                  <a:gd name="T5" fmla="*/ 95 h 262"/>
                  <a:gd name="T6" fmla="*/ 270 w 360"/>
                  <a:gd name="T7" fmla="*/ 68 h 262"/>
                  <a:gd name="T8" fmla="*/ 210 w 360"/>
                  <a:gd name="T9" fmla="*/ 8 h 262"/>
                  <a:gd name="T10" fmla="*/ 157 w 360"/>
                  <a:gd name="T11" fmla="*/ 0 h 262"/>
                  <a:gd name="T12" fmla="*/ 150 w 360"/>
                  <a:gd name="T13" fmla="*/ 68 h 262"/>
                  <a:gd name="T14" fmla="*/ 85 w 360"/>
                  <a:gd name="T15" fmla="*/ 69 h 262"/>
                  <a:gd name="T16" fmla="*/ 38 w 360"/>
                  <a:gd name="T17" fmla="*/ 127 h 262"/>
                  <a:gd name="T18" fmla="*/ 20 w 360"/>
                  <a:gd name="T19" fmla="*/ 135 h 262"/>
                  <a:gd name="T20" fmla="*/ 6 w 360"/>
                  <a:gd name="T21" fmla="*/ 105 h 262"/>
                  <a:gd name="T22" fmla="*/ 23 w 360"/>
                  <a:gd name="T23" fmla="*/ 234 h 262"/>
                  <a:gd name="T24" fmla="*/ 32 w 360"/>
                  <a:gd name="T25" fmla="*/ 240 h 262"/>
                  <a:gd name="T26" fmla="*/ 36 w 360"/>
                  <a:gd name="T27" fmla="*/ 225 h 262"/>
                  <a:gd name="T28" fmla="*/ 45 w 360"/>
                  <a:gd name="T29" fmla="*/ 240 h 262"/>
                  <a:gd name="T30" fmla="*/ 90 w 360"/>
                  <a:gd name="T31" fmla="*/ 240 h 262"/>
                  <a:gd name="T32" fmla="*/ 180 w 360"/>
                  <a:gd name="T33" fmla="*/ 262 h 262"/>
                  <a:gd name="T34" fmla="*/ 270 w 360"/>
                  <a:gd name="T35" fmla="*/ 240 h 262"/>
                  <a:gd name="T36" fmla="*/ 315 w 360"/>
                  <a:gd name="T37" fmla="*/ 240 h 262"/>
                  <a:gd name="T38" fmla="*/ 323 w 360"/>
                  <a:gd name="T39" fmla="*/ 225 h 262"/>
                  <a:gd name="T40" fmla="*/ 328 w 360"/>
                  <a:gd name="T41" fmla="*/ 240 h 262"/>
                  <a:gd name="T42" fmla="*/ 337 w 360"/>
                  <a:gd name="T43" fmla="*/ 234 h 262"/>
                  <a:gd name="T44" fmla="*/ 353 w 360"/>
                  <a:gd name="T45" fmla="*/ 105 h 262"/>
                  <a:gd name="T46" fmla="*/ 195 w 360"/>
                  <a:gd name="T47" fmla="*/ 15 h 262"/>
                  <a:gd name="T48" fmla="*/ 165 w 360"/>
                  <a:gd name="T49" fmla="*/ 68 h 262"/>
                  <a:gd name="T50" fmla="*/ 93 w 360"/>
                  <a:gd name="T51" fmla="*/ 83 h 262"/>
                  <a:gd name="T52" fmla="*/ 202 w 360"/>
                  <a:gd name="T53" fmla="*/ 83 h 262"/>
                  <a:gd name="T54" fmla="*/ 275 w 360"/>
                  <a:gd name="T55" fmla="*/ 90 h 262"/>
                  <a:gd name="T56" fmla="*/ 93 w 360"/>
                  <a:gd name="T57" fmla="*/ 83 h 262"/>
                  <a:gd name="T58" fmla="*/ 38 w 360"/>
                  <a:gd name="T59" fmla="*/ 150 h 262"/>
                  <a:gd name="T60" fmla="*/ 38 w 360"/>
                  <a:gd name="T61" fmla="*/ 210 h 262"/>
                  <a:gd name="T62" fmla="*/ 22 w 360"/>
                  <a:gd name="T63" fmla="*/ 150 h 262"/>
                  <a:gd name="T64" fmla="*/ 60 w 360"/>
                  <a:gd name="T65" fmla="*/ 240 h 262"/>
                  <a:gd name="T66" fmla="*/ 75 w 360"/>
                  <a:gd name="T67" fmla="*/ 240 h 262"/>
                  <a:gd name="T68" fmla="*/ 180 w 360"/>
                  <a:gd name="T69" fmla="*/ 247 h 262"/>
                  <a:gd name="T70" fmla="*/ 219 w 360"/>
                  <a:gd name="T71" fmla="*/ 240 h 262"/>
                  <a:gd name="T72" fmla="*/ 75 w 360"/>
                  <a:gd name="T73" fmla="*/ 225 h 262"/>
                  <a:gd name="T74" fmla="*/ 53 w 360"/>
                  <a:gd name="T75" fmla="*/ 127 h 262"/>
                  <a:gd name="T76" fmla="*/ 285 w 360"/>
                  <a:gd name="T77" fmla="*/ 105 h 262"/>
                  <a:gd name="T78" fmla="*/ 307 w 360"/>
                  <a:gd name="T79" fmla="*/ 202 h 262"/>
                  <a:gd name="T80" fmla="*/ 75 w 360"/>
                  <a:gd name="T81" fmla="*/ 225 h 262"/>
                  <a:gd name="T82" fmla="*/ 285 w 360"/>
                  <a:gd name="T83" fmla="*/ 240 h 262"/>
                  <a:gd name="T84" fmla="*/ 300 w 360"/>
                  <a:gd name="T85" fmla="*/ 240 h 262"/>
                  <a:gd name="T86" fmla="*/ 321 w 360"/>
                  <a:gd name="T87" fmla="*/ 210 h 262"/>
                  <a:gd name="T88" fmla="*/ 322 w 360"/>
                  <a:gd name="T89" fmla="*/ 150 h 262"/>
                  <a:gd name="T90" fmla="*/ 326 w 360"/>
                  <a:gd name="T91" fmla="*/ 21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0" h="262">
                    <a:moveTo>
                      <a:pt x="353" y="105"/>
                    </a:moveTo>
                    <a:cubicBezTo>
                      <a:pt x="349" y="104"/>
                      <a:pt x="346" y="107"/>
                      <a:pt x="345" y="111"/>
                    </a:cubicBezTo>
                    <a:cubicBezTo>
                      <a:pt x="340" y="135"/>
                      <a:pt x="340" y="135"/>
                      <a:pt x="340" y="135"/>
                    </a:cubicBezTo>
                    <a:cubicBezTo>
                      <a:pt x="322" y="135"/>
                      <a:pt x="322" y="135"/>
                      <a:pt x="322" y="135"/>
                    </a:cubicBezTo>
                    <a:cubicBezTo>
                      <a:pt x="322" y="127"/>
                      <a:pt x="322" y="127"/>
                      <a:pt x="322" y="127"/>
                    </a:cubicBezTo>
                    <a:cubicBezTo>
                      <a:pt x="322" y="114"/>
                      <a:pt x="315" y="102"/>
                      <a:pt x="304" y="95"/>
                    </a:cubicBezTo>
                    <a:cubicBezTo>
                      <a:pt x="275" y="69"/>
                      <a:pt x="275" y="69"/>
                      <a:pt x="275" y="69"/>
                    </a:cubicBezTo>
                    <a:cubicBezTo>
                      <a:pt x="273" y="68"/>
                      <a:pt x="272" y="68"/>
                      <a:pt x="270" y="68"/>
                    </a:cubicBezTo>
                    <a:cubicBezTo>
                      <a:pt x="210" y="68"/>
                      <a:pt x="210" y="68"/>
                      <a:pt x="210" y="68"/>
                    </a:cubicBezTo>
                    <a:cubicBezTo>
                      <a:pt x="210" y="8"/>
                      <a:pt x="210" y="8"/>
                      <a:pt x="210" y="8"/>
                    </a:cubicBezTo>
                    <a:cubicBezTo>
                      <a:pt x="210" y="4"/>
                      <a:pt x="207" y="0"/>
                      <a:pt x="202" y="0"/>
                    </a:cubicBezTo>
                    <a:cubicBezTo>
                      <a:pt x="157" y="0"/>
                      <a:pt x="157" y="0"/>
                      <a:pt x="157" y="0"/>
                    </a:cubicBezTo>
                    <a:cubicBezTo>
                      <a:pt x="153" y="0"/>
                      <a:pt x="150" y="4"/>
                      <a:pt x="150" y="8"/>
                    </a:cubicBezTo>
                    <a:cubicBezTo>
                      <a:pt x="150" y="68"/>
                      <a:pt x="150" y="68"/>
                      <a:pt x="150" y="68"/>
                    </a:cubicBezTo>
                    <a:cubicBezTo>
                      <a:pt x="90" y="68"/>
                      <a:pt x="90" y="68"/>
                      <a:pt x="90" y="68"/>
                    </a:cubicBezTo>
                    <a:cubicBezTo>
                      <a:pt x="88" y="68"/>
                      <a:pt x="87" y="68"/>
                      <a:pt x="85" y="69"/>
                    </a:cubicBezTo>
                    <a:cubicBezTo>
                      <a:pt x="56" y="95"/>
                      <a:pt x="56" y="95"/>
                      <a:pt x="56" y="95"/>
                    </a:cubicBezTo>
                    <a:cubicBezTo>
                      <a:pt x="45" y="102"/>
                      <a:pt x="38" y="114"/>
                      <a:pt x="38" y="127"/>
                    </a:cubicBezTo>
                    <a:cubicBezTo>
                      <a:pt x="38" y="135"/>
                      <a:pt x="38" y="135"/>
                      <a:pt x="38" y="135"/>
                    </a:cubicBezTo>
                    <a:cubicBezTo>
                      <a:pt x="20" y="135"/>
                      <a:pt x="20" y="135"/>
                      <a:pt x="20" y="135"/>
                    </a:cubicBezTo>
                    <a:cubicBezTo>
                      <a:pt x="15" y="111"/>
                      <a:pt x="15" y="111"/>
                      <a:pt x="15" y="111"/>
                    </a:cubicBezTo>
                    <a:cubicBezTo>
                      <a:pt x="14" y="107"/>
                      <a:pt x="10" y="104"/>
                      <a:pt x="6" y="105"/>
                    </a:cubicBezTo>
                    <a:cubicBezTo>
                      <a:pt x="2" y="106"/>
                      <a:pt x="0" y="110"/>
                      <a:pt x="0" y="114"/>
                    </a:cubicBezTo>
                    <a:cubicBezTo>
                      <a:pt x="23" y="234"/>
                      <a:pt x="23" y="234"/>
                      <a:pt x="23" y="234"/>
                    </a:cubicBezTo>
                    <a:cubicBezTo>
                      <a:pt x="24" y="237"/>
                      <a:pt x="27" y="240"/>
                      <a:pt x="30" y="240"/>
                    </a:cubicBezTo>
                    <a:cubicBezTo>
                      <a:pt x="31" y="240"/>
                      <a:pt x="31" y="240"/>
                      <a:pt x="32" y="240"/>
                    </a:cubicBezTo>
                    <a:cubicBezTo>
                      <a:pt x="36" y="239"/>
                      <a:pt x="38" y="235"/>
                      <a:pt x="38" y="231"/>
                    </a:cubicBezTo>
                    <a:cubicBezTo>
                      <a:pt x="36" y="225"/>
                      <a:pt x="36" y="225"/>
                      <a:pt x="36" y="225"/>
                    </a:cubicBezTo>
                    <a:cubicBezTo>
                      <a:pt x="45" y="225"/>
                      <a:pt x="45" y="225"/>
                      <a:pt x="45" y="225"/>
                    </a:cubicBezTo>
                    <a:cubicBezTo>
                      <a:pt x="45" y="240"/>
                      <a:pt x="45" y="240"/>
                      <a:pt x="45" y="240"/>
                    </a:cubicBezTo>
                    <a:cubicBezTo>
                      <a:pt x="45" y="252"/>
                      <a:pt x="55" y="262"/>
                      <a:pt x="68" y="262"/>
                    </a:cubicBezTo>
                    <a:cubicBezTo>
                      <a:pt x="80" y="262"/>
                      <a:pt x="90" y="252"/>
                      <a:pt x="90" y="240"/>
                    </a:cubicBezTo>
                    <a:cubicBezTo>
                      <a:pt x="110" y="240"/>
                      <a:pt x="110" y="240"/>
                      <a:pt x="110" y="240"/>
                    </a:cubicBezTo>
                    <a:cubicBezTo>
                      <a:pt x="117" y="245"/>
                      <a:pt x="143" y="262"/>
                      <a:pt x="180" y="262"/>
                    </a:cubicBezTo>
                    <a:cubicBezTo>
                      <a:pt x="217" y="262"/>
                      <a:pt x="242" y="245"/>
                      <a:pt x="250" y="240"/>
                    </a:cubicBezTo>
                    <a:cubicBezTo>
                      <a:pt x="270" y="240"/>
                      <a:pt x="270" y="240"/>
                      <a:pt x="270" y="240"/>
                    </a:cubicBezTo>
                    <a:cubicBezTo>
                      <a:pt x="270" y="252"/>
                      <a:pt x="280" y="262"/>
                      <a:pt x="292" y="262"/>
                    </a:cubicBezTo>
                    <a:cubicBezTo>
                      <a:pt x="305" y="262"/>
                      <a:pt x="315" y="252"/>
                      <a:pt x="315" y="240"/>
                    </a:cubicBezTo>
                    <a:cubicBezTo>
                      <a:pt x="315" y="225"/>
                      <a:pt x="315" y="225"/>
                      <a:pt x="315" y="225"/>
                    </a:cubicBezTo>
                    <a:cubicBezTo>
                      <a:pt x="323" y="225"/>
                      <a:pt x="323" y="225"/>
                      <a:pt x="323" y="225"/>
                    </a:cubicBezTo>
                    <a:cubicBezTo>
                      <a:pt x="322" y="231"/>
                      <a:pt x="322" y="231"/>
                      <a:pt x="322" y="231"/>
                    </a:cubicBezTo>
                    <a:cubicBezTo>
                      <a:pt x="322" y="235"/>
                      <a:pt x="324" y="239"/>
                      <a:pt x="328" y="240"/>
                    </a:cubicBezTo>
                    <a:cubicBezTo>
                      <a:pt x="329" y="240"/>
                      <a:pt x="329" y="240"/>
                      <a:pt x="330" y="240"/>
                    </a:cubicBezTo>
                    <a:cubicBezTo>
                      <a:pt x="333" y="240"/>
                      <a:pt x="336" y="237"/>
                      <a:pt x="337" y="234"/>
                    </a:cubicBezTo>
                    <a:cubicBezTo>
                      <a:pt x="359" y="114"/>
                      <a:pt x="359" y="114"/>
                      <a:pt x="359" y="114"/>
                    </a:cubicBezTo>
                    <a:cubicBezTo>
                      <a:pt x="360" y="110"/>
                      <a:pt x="358" y="106"/>
                      <a:pt x="353" y="105"/>
                    </a:cubicBezTo>
                    <a:moveTo>
                      <a:pt x="165" y="15"/>
                    </a:moveTo>
                    <a:cubicBezTo>
                      <a:pt x="195" y="15"/>
                      <a:pt x="195" y="15"/>
                      <a:pt x="195" y="15"/>
                    </a:cubicBezTo>
                    <a:cubicBezTo>
                      <a:pt x="195" y="68"/>
                      <a:pt x="195" y="68"/>
                      <a:pt x="195" y="68"/>
                    </a:cubicBezTo>
                    <a:cubicBezTo>
                      <a:pt x="165" y="68"/>
                      <a:pt x="165" y="68"/>
                      <a:pt x="165" y="68"/>
                    </a:cubicBezTo>
                    <a:lnTo>
                      <a:pt x="165" y="15"/>
                    </a:lnTo>
                    <a:close/>
                    <a:moveTo>
                      <a:pt x="93" y="83"/>
                    </a:moveTo>
                    <a:cubicBezTo>
                      <a:pt x="157" y="83"/>
                      <a:pt x="157" y="83"/>
                      <a:pt x="157" y="83"/>
                    </a:cubicBezTo>
                    <a:cubicBezTo>
                      <a:pt x="202" y="83"/>
                      <a:pt x="202" y="83"/>
                      <a:pt x="202" y="83"/>
                    </a:cubicBezTo>
                    <a:cubicBezTo>
                      <a:pt x="267" y="83"/>
                      <a:pt x="267" y="83"/>
                      <a:pt x="267" y="83"/>
                    </a:cubicBezTo>
                    <a:cubicBezTo>
                      <a:pt x="275" y="90"/>
                      <a:pt x="275" y="90"/>
                      <a:pt x="275" y="90"/>
                    </a:cubicBezTo>
                    <a:cubicBezTo>
                      <a:pt x="85" y="90"/>
                      <a:pt x="85" y="90"/>
                      <a:pt x="85" y="90"/>
                    </a:cubicBezTo>
                    <a:lnTo>
                      <a:pt x="93" y="83"/>
                    </a:lnTo>
                    <a:close/>
                    <a:moveTo>
                      <a:pt x="22" y="150"/>
                    </a:moveTo>
                    <a:cubicBezTo>
                      <a:pt x="38" y="150"/>
                      <a:pt x="38" y="150"/>
                      <a:pt x="38" y="150"/>
                    </a:cubicBezTo>
                    <a:cubicBezTo>
                      <a:pt x="38" y="202"/>
                      <a:pt x="38" y="202"/>
                      <a:pt x="38" y="202"/>
                    </a:cubicBezTo>
                    <a:cubicBezTo>
                      <a:pt x="38" y="205"/>
                      <a:pt x="38" y="207"/>
                      <a:pt x="38" y="210"/>
                    </a:cubicBezTo>
                    <a:cubicBezTo>
                      <a:pt x="34" y="210"/>
                      <a:pt x="34" y="210"/>
                      <a:pt x="34" y="210"/>
                    </a:cubicBezTo>
                    <a:lnTo>
                      <a:pt x="22" y="150"/>
                    </a:lnTo>
                    <a:close/>
                    <a:moveTo>
                      <a:pt x="68" y="247"/>
                    </a:moveTo>
                    <a:cubicBezTo>
                      <a:pt x="64" y="247"/>
                      <a:pt x="60" y="244"/>
                      <a:pt x="60" y="240"/>
                    </a:cubicBezTo>
                    <a:cubicBezTo>
                      <a:pt x="60" y="237"/>
                      <a:pt x="60" y="237"/>
                      <a:pt x="60" y="237"/>
                    </a:cubicBezTo>
                    <a:cubicBezTo>
                      <a:pt x="65" y="239"/>
                      <a:pt x="70" y="240"/>
                      <a:pt x="75" y="240"/>
                    </a:cubicBezTo>
                    <a:cubicBezTo>
                      <a:pt x="75" y="244"/>
                      <a:pt x="72" y="247"/>
                      <a:pt x="68" y="247"/>
                    </a:cubicBezTo>
                    <a:moveTo>
                      <a:pt x="180" y="247"/>
                    </a:moveTo>
                    <a:cubicBezTo>
                      <a:pt x="164" y="247"/>
                      <a:pt x="151" y="244"/>
                      <a:pt x="141" y="240"/>
                    </a:cubicBezTo>
                    <a:cubicBezTo>
                      <a:pt x="219" y="240"/>
                      <a:pt x="219" y="240"/>
                      <a:pt x="219" y="240"/>
                    </a:cubicBezTo>
                    <a:cubicBezTo>
                      <a:pt x="209" y="244"/>
                      <a:pt x="196" y="247"/>
                      <a:pt x="180" y="247"/>
                    </a:cubicBezTo>
                    <a:moveTo>
                      <a:pt x="75" y="225"/>
                    </a:moveTo>
                    <a:cubicBezTo>
                      <a:pt x="63" y="225"/>
                      <a:pt x="53" y="215"/>
                      <a:pt x="53" y="202"/>
                    </a:cubicBezTo>
                    <a:cubicBezTo>
                      <a:pt x="53" y="127"/>
                      <a:pt x="53" y="127"/>
                      <a:pt x="53" y="127"/>
                    </a:cubicBezTo>
                    <a:cubicBezTo>
                      <a:pt x="53" y="115"/>
                      <a:pt x="63" y="105"/>
                      <a:pt x="75" y="105"/>
                    </a:cubicBezTo>
                    <a:cubicBezTo>
                      <a:pt x="285" y="105"/>
                      <a:pt x="285" y="105"/>
                      <a:pt x="285" y="105"/>
                    </a:cubicBezTo>
                    <a:cubicBezTo>
                      <a:pt x="297" y="105"/>
                      <a:pt x="307" y="115"/>
                      <a:pt x="307" y="127"/>
                    </a:cubicBezTo>
                    <a:cubicBezTo>
                      <a:pt x="307" y="202"/>
                      <a:pt x="307" y="202"/>
                      <a:pt x="307" y="202"/>
                    </a:cubicBezTo>
                    <a:cubicBezTo>
                      <a:pt x="307" y="215"/>
                      <a:pt x="297" y="225"/>
                      <a:pt x="285" y="225"/>
                    </a:cubicBezTo>
                    <a:lnTo>
                      <a:pt x="75" y="225"/>
                    </a:lnTo>
                    <a:close/>
                    <a:moveTo>
                      <a:pt x="292" y="247"/>
                    </a:moveTo>
                    <a:cubicBezTo>
                      <a:pt x="288" y="247"/>
                      <a:pt x="285" y="244"/>
                      <a:pt x="285" y="240"/>
                    </a:cubicBezTo>
                    <a:cubicBezTo>
                      <a:pt x="290" y="240"/>
                      <a:pt x="295" y="239"/>
                      <a:pt x="300" y="237"/>
                    </a:cubicBezTo>
                    <a:cubicBezTo>
                      <a:pt x="300" y="240"/>
                      <a:pt x="300" y="240"/>
                      <a:pt x="300" y="240"/>
                    </a:cubicBezTo>
                    <a:cubicBezTo>
                      <a:pt x="300" y="244"/>
                      <a:pt x="296" y="247"/>
                      <a:pt x="292" y="247"/>
                    </a:cubicBezTo>
                    <a:moveTo>
                      <a:pt x="321" y="210"/>
                    </a:moveTo>
                    <a:cubicBezTo>
                      <a:pt x="322" y="207"/>
                      <a:pt x="322" y="205"/>
                      <a:pt x="322" y="202"/>
                    </a:cubicBezTo>
                    <a:cubicBezTo>
                      <a:pt x="322" y="150"/>
                      <a:pt x="322" y="150"/>
                      <a:pt x="322" y="150"/>
                    </a:cubicBezTo>
                    <a:cubicBezTo>
                      <a:pt x="337" y="150"/>
                      <a:pt x="337" y="150"/>
                      <a:pt x="337" y="150"/>
                    </a:cubicBezTo>
                    <a:cubicBezTo>
                      <a:pt x="326" y="210"/>
                      <a:pt x="326" y="210"/>
                      <a:pt x="326" y="210"/>
                    </a:cubicBezTo>
                    <a:lnTo>
                      <a:pt x="321" y="210"/>
                    </a:lnTo>
                    <a:close/>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1"/>
              <p:cNvSpPr>
                <a:spLocks/>
              </p:cNvSpPr>
              <p:nvPr/>
            </p:nvSpPr>
            <p:spPr bwMode="auto">
              <a:xfrm>
                <a:off x="2790576" y="1247930"/>
                <a:ext cx="19193" cy="20203"/>
              </a:xfrm>
              <a:custGeom>
                <a:avLst/>
                <a:gdLst>
                  <a:gd name="T0" fmla="*/ 3 w 16"/>
                  <a:gd name="T1" fmla="*/ 3 h 17"/>
                  <a:gd name="T2" fmla="*/ 3 w 16"/>
                  <a:gd name="T3" fmla="*/ 14 h 17"/>
                  <a:gd name="T4" fmla="*/ 13 w 16"/>
                  <a:gd name="T5" fmla="*/ 14 h 17"/>
                  <a:gd name="T6" fmla="*/ 13 w 16"/>
                  <a:gd name="T7" fmla="*/ 3 h 17"/>
                  <a:gd name="T8" fmla="*/ 3 w 16"/>
                  <a:gd name="T9" fmla="*/ 3 h 17"/>
                </a:gdLst>
                <a:ahLst/>
                <a:cxnLst>
                  <a:cxn ang="0">
                    <a:pos x="T0" y="T1"/>
                  </a:cxn>
                  <a:cxn ang="0">
                    <a:pos x="T2" y="T3"/>
                  </a:cxn>
                  <a:cxn ang="0">
                    <a:pos x="T4" y="T5"/>
                  </a:cxn>
                  <a:cxn ang="0">
                    <a:pos x="T6" y="T7"/>
                  </a:cxn>
                  <a:cxn ang="0">
                    <a:pos x="T8" y="T9"/>
                  </a:cxn>
                </a:cxnLst>
                <a:rect l="0" t="0" r="r" b="b"/>
                <a:pathLst>
                  <a:path w="16" h="17">
                    <a:moveTo>
                      <a:pt x="3" y="3"/>
                    </a:moveTo>
                    <a:cubicBezTo>
                      <a:pt x="0" y="6"/>
                      <a:pt x="0" y="11"/>
                      <a:pt x="3" y="14"/>
                    </a:cubicBezTo>
                    <a:cubicBezTo>
                      <a:pt x="6" y="17"/>
                      <a:pt x="10" y="17"/>
                      <a:pt x="13" y="14"/>
                    </a:cubicBezTo>
                    <a:cubicBezTo>
                      <a:pt x="16" y="11"/>
                      <a:pt x="16" y="6"/>
                      <a:pt x="13" y="3"/>
                    </a:cubicBezTo>
                    <a:cubicBezTo>
                      <a:pt x="10" y="0"/>
                      <a:pt x="6" y="0"/>
                      <a:pt x="3" y="3"/>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2"/>
              <p:cNvSpPr>
                <a:spLocks/>
              </p:cNvSpPr>
              <p:nvPr/>
            </p:nvSpPr>
            <p:spPr bwMode="auto">
              <a:xfrm>
                <a:off x="2790576" y="1221666"/>
                <a:ext cx="19193" cy="19193"/>
              </a:xfrm>
              <a:custGeom>
                <a:avLst/>
                <a:gdLst>
                  <a:gd name="T0" fmla="*/ 3 w 16"/>
                  <a:gd name="T1" fmla="*/ 3 h 16"/>
                  <a:gd name="T2" fmla="*/ 3 w 16"/>
                  <a:gd name="T3" fmla="*/ 13 h 16"/>
                  <a:gd name="T4" fmla="*/ 13 w 16"/>
                  <a:gd name="T5" fmla="*/ 13 h 16"/>
                  <a:gd name="T6" fmla="*/ 13 w 16"/>
                  <a:gd name="T7" fmla="*/ 3 h 16"/>
                  <a:gd name="T8" fmla="*/ 3 w 16"/>
                  <a:gd name="T9" fmla="*/ 3 h 16"/>
                </a:gdLst>
                <a:ahLst/>
                <a:cxnLst>
                  <a:cxn ang="0">
                    <a:pos x="T0" y="T1"/>
                  </a:cxn>
                  <a:cxn ang="0">
                    <a:pos x="T2" y="T3"/>
                  </a:cxn>
                  <a:cxn ang="0">
                    <a:pos x="T4" y="T5"/>
                  </a:cxn>
                  <a:cxn ang="0">
                    <a:pos x="T6" y="T7"/>
                  </a:cxn>
                  <a:cxn ang="0">
                    <a:pos x="T8" y="T9"/>
                  </a:cxn>
                </a:cxnLst>
                <a:rect l="0" t="0" r="r" b="b"/>
                <a:pathLst>
                  <a:path w="16" h="16">
                    <a:moveTo>
                      <a:pt x="3" y="3"/>
                    </a:moveTo>
                    <a:cubicBezTo>
                      <a:pt x="0" y="6"/>
                      <a:pt x="0" y="10"/>
                      <a:pt x="3" y="13"/>
                    </a:cubicBezTo>
                    <a:cubicBezTo>
                      <a:pt x="6" y="16"/>
                      <a:pt x="10" y="16"/>
                      <a:pt x="13" y="13"/>
                    </a:cubicBezTo>
                    <a:cubicBezTo>
                      <a:pt x="16" y="10"/>
                      <a:pt x="16" y="6"/>
                      <a:pt x="13" y="3"/>
                    </a:cubicBezTo>
                    <a:cubicBezTo>
                      <a:pt x="10" y="0"/>
                      <a:pt x="6" y="0"/>
                      <a:pt x="3" y="3"/>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73"/>
              <p:cNvSpPr>
                <a:spLocks/>
              </p:cNvSpPr>
              <p:nvPr/>
            </p:nvSpPr>
            <p:spPr bwMode="auto">
              <a:xfrm>
                <a:off x="2754715" y="1329249"/>
                <a:ext cx="89399" cy="17678"/>
              </a:xfrm>
              <a:custGeom>
                <a:avLst/>
                <a:gdLst>
                  <a:gd name="T0" fmla="*/ 68 w 75"/>
                  <a:gd name="T1" fmla="*/ 0 h 15"/>
                  <a:gd name="T2" fmla="*/ 8 w 75"/>
                  <a:gd name="T3" fmla="*/ 0 h 15"/>
                  <a:gd name="T4" fmla="*/ 0 w 75"/>
                  <a:gd name="T5" fmla="*/ 8 h 15"/>
                  <a:gd name="T6" fmla="*/ 8 w 75"/>
                  <a:gd name="T7" fmla="*/ 15 h 15"/>
                  <a:gd name="T8" fmla="*/ 68 w 75"/>
                  <a:gd name="T9" fmla="*/ 15 h 15"/>
                  <a:gd name="T10" fmla="*/ 75 w 75"/>
                  <a:gd name="T11" fmla="*/ 8 h 15"/>
                  <a:gd name="T12" fmla="*/ 68 w 7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75" h="15">
                    <a:moveTo>
                      <a:pt x="68" y="0"/>
                    </a:moveTo>
                    <a:cubicBezTo>
                      <a:pt x="8" y="0"/>
                      <a:pt x="8" y="0"/>
                      <a:pt x="8" y="0"/>
                    </a:cubicBezTo>
                    <a:cubicBezTo>
                      <a:pt x="4" y="0"/>
                      <a:pt x="0" y="4"/>
                      <a:pt x="0" y="8"/>
                    </a:cubicBezTo>
                    <a:cubicBezTo>
                      <a:pt x="0" y="12"/>
                      <a:pt x="4" y="15"/>
                      <a:pt x="8" y="15"/>
                    </a:cubicBezTo>
                    <a:cubicBezTo>
                      <a:pt x="68" y="15"/>
                      <a:pt x="68" y="15"/>
                      <a:pt x="68" y="15"/>
                    </a:cubicBezTo>
                    <a:cubicBezTo>
                      <a:pt x="72" y="15"/>
                      <a:pt x="75" y="12"/>
                      <a:pt x="75" y="8"/>
                    </a:cubicBezTo>
                    <a:cubicBezTo>
                      <a:pt x="75" y="4"/>
                      <a:pt x="72" y="0"/>
                      <a:pt x="68" y="0"/>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28" name="Group 1027"/>
          <p:cNvGrpSpPr/>
          <p:nvPr/>
        </p:nvGrpSpPr>
        <p:grpSpPr>
          <a:xfrm>
            <a:off x="4376005" y="2461920"/>
            <a:ext cx="699538" cy="699538"/>
            <a:chOff x="4376005" y="2461920"/>
            <a:chExt cx="699538" cy="699538"/>
          </a:xfrm>
        </p:grpSpPr>
        <p:sp>
          <p:nvSpPr>
            <p:cNvPr id="80" name="Oval 63"/>
            <p:cNvSpPr>
              <a:spLocks noChangeArrowheads="1"/>
            </p:cNvSpPr>
            <p:nvPr/>
          </p:nvSpPr>
          <p:spPr bwMode="auto">
            <a:xfrm>
              <a:off x="4376005" y="2461920"/>
              <a:ext cx="699538" cy="699538"/>
            </a:xfrm>
            <a:prstGeom prst="ellipse">
              <a:avLst/>
            </a:prstGeom>
            <a:solidFill>
              <a:srgbClr val="FFFFFF"/>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15" name="Freeform 10"/>
            <p:cNvSpPr>
              <a:spLocks noEditPoints="1"/>
            </p:cNvSpPr>
            <p:nvPr/>
          </p:nvSpPr>
          <p:spPr bwMode="auto">
            <a:xfrm>
              <a:off x="4510028" y="2704859"/>
              <a:ext cx="475294" cy="252516"/>
            </a:xfrm>
            <a:custGeom>
              <a:avLst/>
              <a:gdLst>
                <a:gd name="T0" fmla="*/ 109 w 399"/>
                <a:gd name="T1" fmla="*/ 187 h 212"/>
                <a:gd name="T2" fmla="*/ 109 w 399"/>
                <a:gd name="T3" fmla="*/ 175 h 212"/>
                <a:gd name="T4" fmla="*/ 120 w 399"/>
                <a:gd name="T5" fmla="*/ 164 h 212"/>
                <a:gd name="T6" fmla="*/ 209 w 399"/>
                <a:gd name="T7" fmla="*/ 82 h 212"/>
                <a:gd name="T8" fmla="*/ 223 w 399"/>
                <a:gd name="T9" fmla="*/ 94 h 212"/>
                <a:gd name="T10" fmla="*/ 149 w 399"/>
                <a:gd name="T11" fmla="*/ 21 h 212"/>
                <a:gd name="T12" fmla="*/ 54 w 399"/>
                <a:gd name="T13" fmla="*/ 56 h 212"/>
                <a:gd name="T14" fmla="*/ 149 w 399"/>
                <a:gd name="T15" fmla="*/ 75 h 212"/>
                <a:gd name="T16" fmla="*/ 149 w 399"/>
                <a:gd name="T17" fmla="*/ 21 h 212"/>
                <a:gd name="T18" fmla="*/ 68 w 399"/>
                <a:gd name="T19" fmla="*/ 62 h 212"/>
                <a:gd name="T20" fmla="*/ 73 w 399"/>
                <a:gd name="T21" fmla="*/ 35 h 212"/>
                <a:gd name="T22" fmla="*/ 151 w 399"/>
                <a:gd name="T23" fmla="*/ 35 h 212"/>
                <a:gd name="T24" fmla="*/ 380 w 399"/>
                <a:gd name="T25" fmla="*/ 129 h 212"/>
                <a:gd name="T26" fmla="*/ 347 w 399"/>
                <a:gd name="T27" fmla="*/ 67 h 212"/>
                <a:gd name="T28" fmla="*/ 334 w 399"/>
                <a:gd name="T29" fmla="*/ 37 h 212"/>
                <a:gd name="T30" fmla="*/ 286 w 399"/>
                <a:gd name="T31" fmla="*/ 52 h 212"/>
                <a:gd name="T32" fmla="*/ 59 w 399"/>
                <a:gd name="T33" fmla="*/ 0 h 212"/>
                <a:gd name="T34" fmla="*/ 15 w 399"/>
                <a:gd name="T35" fmla="*/ 85 h 212"/>
                <a:gd name="T36" fmla="*/ 0 w 399"/>
                <a:gd name="T37" fmla="*/ 143 h 212"/>
                <a:gd name="T38" fmla="*/ 34 w 399"/>
                <a:gd name="T39" fmla="*/ 179 h 212"/>
                <a:gd name="T40" fmla="*/ 109 w 399"/>
                <a:gd name="T41" fmla="*/ 212 h 212"/>
                <a:gd name="T42" fmla="*/ 278 w 399"/>
                <a:gd name="T43" fmla="*/ 212 h 212"/>
                <a:gd name="T44" fmla="*/ 357 w 399"/>
                <a:gd name="T45" fmla="*/ 179 h 212"/>
                <a:gd name="T46" fmla="*/ 399 w 399"/>
                <a:gd name="T47" fmla="*/ 143 h 212"/>
                <a:gd name="T48" fmla="*/ 276 w 399"/>
                <a:gd name="T49" fmla="*/ 60 h 212"/>
                <a:gd name="T50" fmla="*/ 189 w 399"/>
                <a:gd name="T51" fmla="*/ 61 h 212"/>
                <a:gd name="T52" fmla="*/ 257 w 399"/>
                <a:gd name="T53" fmla="*/ 34 h 212"/>
                <a:gd name="T54" fmla="*/ 14 w 399"/>
                <a:gd name="T55" fmla="*/ 166 h 212"/>
                <a:gd name="T56" fmla="*/ 14 w 399"/>
                <a:gd name="T57" fmla="*/ 142 h 212"/>
                <a:gd name="T58" fmla="*/ 35 w 399"/>
                <a:gd name="T59" fmla="*/ 165 h 212"/>
                <a:gd name="T60" fmla="*/ 109 w 399"/>
                <a:gd name="T61" fmla="*/ 128 h 212"/>
                <a:gd name="T62" fmla="*/ 278 w 399"/>
                <a:gd name="T63" fmla="*/ 200 h 212"/>
                <a:gd name="T64" fmla="*/ 314 w 399"/>
                <a:gd name="T65" fmla="*/ 164 h 212"/>
                <a:gd name="T66" fmla="*/ 343 w 399"/>
                <a:gd name="T67" fmla="*/ 158 h 212"/>
                <a:gd name="T68" fmla="*/ 230 w 399"/>
                <a:gd name="T69" fmla="*/ 158 h 212"/>
                <a:gd name="T70" fmla="*/ 61 w 399"/>
                <a:gd name="T71" fmla="*/ 158 h 212"/>
                <a:gd name="T72" fmla="*/ 34 w 399"/>
                <a:gd name="T73" fmla="*/ 129 h 212"/>
                <a:gd name="T74" fmla="*/ 31 w 399"/>
                <a:gd name="T75" fmla="*/ 65 h 212"/>
                <a:gd name="T76" fmla="*/ 233 w 399"/>
                <a:gd name="T77" fmla="*/ 12 h 212"/>
                <a:gd name="T78" fmla="*/ 190 w 399"/>
                <a:gd name="T79" fmla="*/ 21 h 212"/>
                <a:gd name="T80" fmla="*/ 190 w 399"/>
                <a:gd name="T81" fmla="*/ 75 h 212"/>
                <a:gd name="T82" fmla="*/ 349 w 399"/>
                <a:gd name="T83" fmla="*/ 80 h 212"/>
                <a:gd name="T84" fmla="*/ 345 w 399"/>
                <a:gd name="T85" fmla="*/ 104 h 212"/>
                <a:gd name="T86" fmla="*/ 343 w 399"/>
                <a:gd name="T87" fmla="*/ 142 h 212"/>
                <a:gd name="T88" fmla="*/ 342 w 399"/>
                <a:gd name="T89" fmla="*/ 126 h 212"/>
                <a:gd name="T90" fmla="*/ 367 w 399"/>
                <a:gd name="T91" fmla="*/ 117 h 212"/>
                <a:gd name="T92" fmla="*/ 386 w 399"/>
                <a:gd name="T93" fmla="*/ 165 h 212"/>
                <a:gd name="T94" fmla="*/ 355 w 399"/>
                <a:gd name="T95" fmla="*/ 165 h 212"/>
                <a:gd name="T96" fmla="*/ 385 w 399"/>
                <a:gd name="T97" fmla="*/ 142 h 212"/>
                <a:gd name="T98" fmla="*/ 278 w 399"/>
                <a:gd name="T99" fmla="*/ 140 h 212"/>
                <a:gd name="T100" fmla="*/ 302 w 399"/>
                <a:gd name="T101" fmla="*/ 164 h 212"/>
                <a:gd name="T102" fmla="*/ 267 w 399"/>
                <a:gd name="T103" fmla="*/ 164 h 212"/>
                <a:gd name="T104" fmla="*/ 278 w 399"/>
                <a:gd name="T105" fmla="*/ 175 h 212"/>
                <a:gd name="T106" fmla="*/ 79 w 399"/>
                <a:gd name="T107" fmla="*/ 88 h 212"/>
                <a:gd name="T108" fmla="*/ 106 w 399"/>
                <a:gd name="T109" fmla="*/ 8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9" h="212">
                  <a:moveTo>
                    <a:pt x="109" y="140"/>
                  </a:moveTo>
                  <a:cubicBezTo>
                    <a:pt x="96" y="140"/>
                    <a:pt x="85" y="151"/>
                    <a:pt x="85" y="164"/>
                  </a:cubicBezTo>
                  <a:cubicBezTo>
                    <a:pt x="85" y="177"/>
                    <a:pt x="96" y="187"/>
                    <a:pt x="109" y="187"/>
                  </a:cubicBezTo>
                  <a:cubicBezTo>
                    <a:pt x="122" y="187"/>
                    <a:pt x="132" y="177"/>
                    <a:pt x="132" y="164"/>
                  </a:cubicBezTo>
                  <a:cubicBezTo>
                    <a:pt x="132" y="151"/>
                    <a:pt x="122" y="140"/>
                    <a:pt x="109" y="140"/>
                  </a:cubicBezTo>
                  <a:moveTo>
                    <a:pt x="109" y="175"/>
                  </a:moveTo>
                  <a:cubicBezTo>
                    <a:pt x="102" y="175"/>
                    <a:pt x="97" y="170"/>
                    <a:pt x="97" y="164"/>
                  </a:cubicBezTo>
                  <a:cubicBezTo>
                    <a:pt x="97" y="158"/>
                    <a:pt x="102" y="153"/>
                    <a:pt x="109" y="153"/>
                  </a:cubicBezTo>
                  <a:cubicBezTo>
                    <a:pt x="115" y="153"/>
                    <a:pt x="120" y="158"/>
                    <a:pt x="120" y="164"/>
                  </a:cubicBezTo>
                  <a:cubicBezTo>
                    <a:pt x="120" y="170"/>
                    <a:pt x="115" y="175"/>
                    <a:pt x="109" y="175"/>
                  </a:cubicBezTo>
                  <a:moveTo>
                    <a:pt x="223" y="82"/>
                  </a:moveTo>
                  <a:cubicBezTo>
                    <a:pt x="209" y="82"/>
                    <a:pt x="209" y="82"/>
                    <a:pt x="209" y="82"/>
                  </a:cubicBezTo>
                  <a:cubicBezTo>
                    <a:pt x="205" y="82"/>
                    <a:pt x="203" y="84"/>
                    <a:pt x="203" y="88"/>
                  </a:cubicBezTo>
                  <a:cubicBezTo>
                    <a:pt x="203" y="91"/>
                    <a:pt x="205" y="94"/>
                    <a:pt x="209" y="94"/>
                  </a:cubicBezTo>
                  <a:cubicBezTo>
                    <a:pt x="223" y="94"/>
                    <a:pt x="223" y="94"/>
                    <a:pt x="223" y="94"/>
                  </a:cubicBezTo>
                  <a:cubicBezTo>
                    <a:pt x="227" y="94"/>
                    <a:pt x="230" y="91"/>
                    <a:pt x="230" y="88"/>
                  </a:cubicBezTo>
                  <a:cubicBezTo>
                    <a:pt x="230" y="84"/>
                    <a:pt x="227" y="82"/>
                    <a:pt x="223" y="82"/>
                  </a:cubicBezTo>
                  <a:moveTo>
                    <a:pt x="149" y="21"/>
                  </a:moveTo>
                  <a:cubicBezTo>
                    <a:pt x="75" y="21"/>
                    <a:pt x="75" y="21"/>
                    <a:pt x="75" y="21"/>
                  </a:cubicBezTo>
                  <a:cubicBezTo>
                    <a:pt x="68" y="21"/>
                    <a:pt x="63" y="26"/>
                    <a:pt x="61" y="32"/>
                  </a:cubicBezTo>
                  <a:cubicBezTo>
                    <a:pt x="54" y="56"/>
                    <a:pt x="54" y="56"/>
                    <a:pt x="54" y="56"/>
                  </a:cubicBezTo>
                  <a:cubicBezTo>
                    <a:pt x="52" y="60"/>
                    <a:pt x="53" y="65"/>
                    <a:pt x="56" y="69"/>
                  </a:cubicBezTo>
                  <a:cubicBezTo>
                    <a:pt x="59" y="72"/>
                    <a:pt x="63" y="75"/>
                    <a:pt x="68" y="75"/>
                  </a:cubicBezTo>
                  <a:cubicBezTo>
                    <a:pt x="149" y="75"/>
                    <a:pt x="149" y="75"/>
                    <a:pt x="149" y="75"/>
                  </a:cubicBezTo>
                  <a:cubicBezTo>
                    <a:pt x="157" y="75"/>
                    <a:pt x="163" y="68"/>
                    <a:pt x="163" y="61"/>
                  </a:cubicBezTo>
                  <a:cubicBezTo>
                    <a:pt x="163" y="35"/>
                    <a:pt x="163" y="35"/>
                    <a:pt x="163" y="35"/>
                  </a:cubicBezTo>
                  <a:cubicBezTo>
                    <a:pt x="163" y="28"/>
                    <a:pt x="157" y="21"/>
                    <a:pt x="149" y="21"/>
                  </a:cubicBezTo>
                  <a:moveTo>
                    <a:pt x="151" y="61"/>
                  </a:moveTo>
                  <a:cubicBezTo>
                    <a:pt x="151" y="61"/>
                    <a:pt x="150" y="62"/>
                    <a:pt x="149" y="62"/>
                  </a:cubicBezTo>
                  <a:cubicBezTo>
                    <a:pt x="68" y="62"/>
                    <a:pt x="68" y="62"/>
                    <a:pt x="68" y="62"/>
                  </a:cubicBezTo>
                  <a:cubicBezTo>
                    <a:pt x="67" y="62"/>
                    <a:pt x="66" y="62"/>
                    <a:pt x="66" y="61"/>
                  </a:cubicBezTo>
                  <a:cubicBezTo>
                    <a:pt x="66" y="61"/>
                    <a:pt x="65" y="60"/>
                    <a:pt x="66" y="59"/>
                  </a:cubicBezTo>
                  <a:cubicBezTo>
                    <a:pt x="73" y="35"/>
                    <a:pt x="73" y="35"/>
                    <a:pt x="73" y="35"/>
                  </a:cubicBezTo>
                  <a:cubicBezTo>
                    <a:pt x="73" y="35"/>
                    <a:pt x="74" y="34"/>
                    <a:pt x="75" y="34"/>
                  </a:cubicBezTo>
                  <a:cubicBezTo>
                    <a:pt x="149" y="34"/>
                    <a:pt x="149" y="34"/>
                    <a:pt x="149" y="34"/>
                  </a:cubicBezTo>
                  <a:cubicBezTo>
                    <a:pt x="150" y="34"/>
                    <a:pt x="151" y="35"/>
                    <a:pt x="151" y="35"/>
                  </a:cubicBezTo>
                  <a:lnTo>
                    <a:pt x="151" y="61"/>
                  </a:lnTo>
                  <a:close/>
                  <a:moveTo>
                    <a:pt x="385" y="129"/>
                  </a:moveTo>
                  <a:cubicBezTo>
                    <a:pt x="380" y="129"/>
                    <a:pt x="380" y="129"/>
                    <a:pt x="380" y="129"/>
                  </a:cubicBezTo>
                  <a:cubicBezTo>
                    <a:pt x="380" y="98"/>
                    <a:pt x="380" y="98"/>
                    <a:pt x="380" y="98"/>
                  </a:cubicBezTo>
                  <a:cubicBezTo>
                    <a:pt x="380" y="81"/>
                    <a:pt x="366" y="67"/>
                    <a:pt x="349" y="67"/>
                  </a:cubicBezTo>
                  <a:cubicBezTo>
                    <a:pt x="347" y="67"/>
                    <a:pt x="347" y="67"/>
                    <a:pt x="347" y="67"/>
                  </a:cubicBezTo>
                  <a:cubicBezTo>
                    <a:pt x="347" y="37"/>
                    <a:pt x="347" y="37"/>
                    <a:pt x="347" y="37"/>
                  </a:cubicBezTo>
                  <a:cubicBezTo>
                    <a:pt x="347" y="34"/>
                    <a:pt x="344" y="31"/>
                    <a:pt x="341" y="31"/>
                  </a:cubicBezTo>
                  <a:cubicBezTo>
                    <a:pt x="337" y="31"/>
                    <a:pt x="334" y="34"/>
                    <a:pt x="334" y="37"/>
                  </a:cubicBezTo>
                  <a:cubicBezTo>
                    <a:pt x="334" y="67"/>
                    <a:pt x="334" y="67"/>
                    <a:pt x="334" y="67"/>
                  </a:cubicBezTo>
                  <a:cubicBezTo>
                    <a:pt x="315" y="67"/>
                    <a:pt x="315" y="67"/>
                    <a:pt x="315" y="67"/>
                  </a:cubicBezTo>
                  <a:cubicBezTo>
                    <a:pt x="304" y="67"/>
                    <a:pt x="293" y="62"/>
                    <a:pt x="286" y="52"/>
                  </a:cubicBezTo>
                  <a:cubicBezTo>
                    <a:pt x="257" y="12"/>
                    <a:pt x="257" y="12"/>
                    <a:pt x="257" y="12"/>
                  </a:cubicBezTo>
                  <a:cubicBezTo>
                    <a:pt x="252" y="5"/>
                    <a:pt x="243" y="0"/>
                    <a:pt x="233" y="0"/>
                  </a:cubicBezTo>
                  <a:cubicBezTo>
                    <a:pt x="59" y="0"/>
                    <a:pt x="59" y="0"/>
                    <a:pt x="59" y="0"/>
                  </a:cubicBezTo>
                  <a:cubicBezTo>
                    <a:pt x="48" y="0"/>
                    <a:pt x="39" y="6"/>
                    <a:pt x="36" y="16"/>
                  </a:cubicBezTo>
                  <a:cubicBezTo>
                    <a:pt x="20" y="61"/>
                    <a:pt x="20" y="61"/>
                    <a:pt x="20" y="61"/>
                  </a:cubicBezTo>
                  <a:cubicBezTo>
                    <a:pt x="17" y="69"/>
                    <a:pt x="15" y="77"/>
                    <a:pt x="15" y="85"/>
                  </a:cubicBezTo>
                  <a:cubicBezTo>
                    <a:pt x="15" y="129"/>
                    <a:pt x="15" y="129"/>
                    <a:pt x="15" y="129"/>
                  </a:cubicBezTo>
                  <a:cubicBezTo>
                    <a:pt x="14" y="129"/>
                    <a:pt x="14" y="129"/>
                    <a:pt x="14" y="129"/>
                  </a:cubicBezTo>
                  <a:cubicBezTo>
                    <a:pt x="7" y="129"/>
                    <a:pt x="0" y="135"/>
                    <a:pt x="0" y="143"/>
                  </a:cubicBezTo>
                  <a:cubicBezTo>
                    <a:pt x="0" y="165"/>
                    <a:pt x="0" y="165"/>
                    <a:pt x="0" y="165"/>
                  </a:cubicBezTo>
                  <a:cubicBezTo>
                    <a:pt x="0" y="172"/>
                    <a:pt x="7" y="179"/>
                    <a:pt x="14" y="179"/>
                  </a:cubicBezTo>
                  <a:cubicBezTo>
                    <a:pt x="34" y="179"/>
                    <a:pt x="34" y="179"/>
                    <a:pt x="34" y="179"/>
                  </a:cubicBezTo>
                  <a:cubicBezTo>
                    <a:pt x="40" y="179"/>
                    <a:pt x="44" y="175"/>
                    <a:pt x="47" y="170"/>
                  </a:cubicBezTo>
                  <a:cubicBezTo>
                    <a:pt x="61" y="170"/>
                    <a:pt x="61" y="170"/>
                    <a:pt x="61" y="170"/>
                  </a:cubicBezTo>
                  <a:cubicBezTo>
                    <a:pt x="64" y="194"/>
                    <a:pt x="84" y="212"/>
                    <a:pt x="109" y="212"/>
                  </a:cubicBezTo>
                  <a:cubicBezTo>
                    <a:pt x="133" y="212"/>
                    <a:pt x="154" y="194"/>
                    <a:pt x="157" y="170"/>
                  </a:cubicBezTo>
                  <a:cubicBezTo>
                    <a:pt x="230" y="170"/>
                    <a:pt x="230" y="170"/>
                    <a:pt x="230" y="170"/>
                  </a:cubicBezTo>
                  <a:cubicBezTo>
                    <a:pt x="233" y="194"/>
                    <a:pt x="253" y="212"/>
                    <a:pt x="278" y="212"/>
                  </a:cubicBezTo>
                  <a:cubicBezTo>
                    <a:pt x="303" y="212"/>
                    <a:pt x="323" y="194"/>
                    <a:pt x="326" y="170"/>
                  </a:cubicBezTo>
                  <a:cubicBezTo>
                    <a:pt x="344" y="170"/>
                    <a:pt x="344" y="170"/>
                    <a:pt x="344" y="170"/>
                  </a:cubicBezTo>
                  <a:cubicBezTo>
                    <a:pt x="346" y="175"/>
                    <a:pt x="351" y="179"/>
                    <a:pt x="357" y="179"/>
                  </a:cubicBezTo>
                  <a:cubicBezTo>
                    <a:pt x="385" y="179"/>
                    <a:pt x="385" y="179"/>
                    <a:pt x="385" y="179"/>
                  </a:cubicBezTo>
                  <a:cubicBezTo>
                    <a:pt x="392" y="179"/>
                    <a:pt x="399" y="172"/>
                    <a:pt x="399" y="165"/>
                  </a:cubicBezTo>
                  <a:cubicBezTo>
                    <a:pt x="399" y="143"/>
                    <a:pt x="399" y="143"/>
                    <a:pt x="399" y="143"/>
                  </a:cubicBezTo>
                  <a:cubicBezTo>
                    <a:pt x="399" y="135"/>
                    <a:pt x="392" y="129"/>
                    <a:pt x="385" y="129"/>
                  </a:cubicBezTo>
                  <a:moveTo>
                    <a:pt x="257" y="34"/>
                  </a:moveTo>
                  <a:cubicBezTo>
                    <a:pt x="276" y="60"/>
                    <a:pt x="276" y="60"/>
                    <a:pt x="276" y="60"/>
                  </a:cubicBezTo>
                  <a:cubicBezTo>
                    <a:pt x="276" y="60"/>
                    <a:pt x="277" y="61"/>
                    <a:pt x="278" y="62"/>
                  </a:cubicBezTo>
                  <a:cubicBezTo>
                    <a:pt x="190" y="62"/>
                    <a:pt x="190" y="62"/>
                    <a:pt x="190" y="62"/>
                  </a:cubicBezTo>
                  <a:cubicBezTo>
                    <a:pt x="189" y="62"/>
                    <a:pt x="189" y="61"/>
                    <a:pt x="189" y="61"/>
                  </a:cubicBezTo>
                  <a:cubicBezTo>
                    <a:pt x="189" y="35"/>
                    <a:pt x="189" y="35"/>
                    <a:pt x="189" y="35"/>
                  </a:cubicBezTo>
                  <a:cubicBezTo>
                    <a:pt x="189" y="35"/>
                    <a:pt x="189" y="34"/>
                    <a:pt x="190" y="34"/>
                  </a:cubicBezTo>
                  <a:lnTo>
                    <a:pt x="257" y="34"/>
                  </a:lnTo>
                  <a:close/>
                  <a:moveTo>
                    <a:pt x="35" y="165"/>
                  </a:moveTo>
                  <a:cubicBezTo>
                    <a:pt x="35" y="165"/>
                    <a:pt x="35" y="166"/>
                    <a:pt x="34" y="166"/>
                  </a:cubicBezTo>
                  <a:cubicBezTo>
                    <a:pt x="14" y="166"/>
                    <a:pt x="14" y="166"/>
                    <a:pt x="14" y="166"/>
                  </a:cubicBezTo>
                  <a:cubicBezTo>
                    <a:pt x="14" y="166"/>
                    <a:pt x="13" y="165"/>
                    <a:pt x="13" y="165"/>
                  </a:cubicBezTo>
                  <a:cubicBezTo>
                    <a:pt x="13" y="143"/>
                    <a:pt x="13" y="143"/>
                    <a:pt x="13" y="143"/>
                  </a:cubicBezTo>
                  <a:cubicBezTo>
                    <a:pt x="13" y="142"/>
                    <a:pt x="14" y="142"/>
                    <a:pt x="14" y="142"/>
                  </a:cubicBezTo>
                  <a:cubicBezTo>
                    <a:pt x="34" y="142"/>
                    <a:pt x="34" y="142"/>
                    <a:pt x="34" y="142"/>
                  </a:cubicBezTo>
                  <a:cubicBezTo>
                    <a:pt x="35" y="142"/>
                    <a:pt x="35" y="142"/>
                    <a:pt x="35" y="143"/>
                  </a:cubicBezTo>
                  <a:lnTo>
                    <a:pt x="35" y="165"/>
                  </a:lnTo>
                  <a:close/>
                  <a:moveTo>
                    <a:pt x="109" y="200"/>
                  </a:moveTo>
                  <a:cubicBezTo>
                    <a:pt x="89" y="200"/>
                    <a:pt x="73" y="184"/>
                    <a:pt x="73" y="164"/>
                  </a:cubicBezTo>
                  <a:cubicBezTo>
                    <a:pt x="73" y="144"/>
                    <a:pt x="89" y="128"/>
                    <a:pt x="109" y="128"/>
                  </a:cubicBezTo>
                  <a:cubicBezTo>
                    <a:pt x="128" y="128"/>
                    <a:pt x="145" y="144"/>
                    <a:pt x="145" y="164"/>
                  </a:cubicBezTo>
                  <a:cubicBezTo>
                    <a:pt x="145" y="184"/>
                    <a:pt x="128" y="200"/>
                    <a:pt x="109" y="200"/>
                  </a:cubicBezTo>
                  <a:moveTo>
                    <a:pt x="278" y="200"/>
                  </a:moveTo>
                  <a:cubicBezTo>
                    <a:pt x="258" y="200"/>
                    <a:pt x="242" y="184"/>
                    <a:pt x="242" y="164"/>
                  </a:cubicBezTo>
                  <a:cubicBezTo>
                    <a:pt x="242" y="144"/>
                    <a:pt x="258" y="128"/>
                    <a:pt x="278" y="128"/>
                  </a:cubicBezTo>
                  <a:cubicBezTo>
                    <a:pt x="298" y="128"/>
                    <a:pt x="314" y="144"/>
                    <a:pt x="314" y="164"/>
                  </a:cubicBezTo>
                  <a:cubicBezTo>
                    <a:pt x="314" y="184"/>
                    <a:pt x="298" y="200"/>
                    <a:pt x="278" y="200"/>
                  </a:cubicBezTo>
                  <a:moveTo>
                    <a:pt x="343" y="143"/>
                  </a:moveTo>
                  <a:cubicBezTo>
                    <a:pt x="343" y="158"/>
                    <a:pt x="343" y="158"/>
                    <a:pt x="343" y="158"/>
                  </a:cubicBezTo>
                  <a:cubicBezTo>
                    <a:pt x="326" y="158"/>
                    <a:pt x="326" y="158"/>
                    <a:pt x="326" y="158"/>
                  </a:cubicBezTo>
                  <a:cubicBezTo>
                    <a:pt x="323" y="134"/>
                    <a:pt x="303" y="115"/>
                    <a:pt x="278" y="115"/>
                  </a:cubicBezTo>
                  <a:cubicBezTo>
                    <a:pt x="253" y="115"/>
                    <a:pt x="233" y="134"/>
                    <a:pt x="230" y="158"/>
                  </a:cubicBezTo>
                  <a:cubicBezTo>
                    <a:pt x="157" y="158"/>
                    <a:pt x="157" y="158"/>
                    <a:pt x="157" y="158"/>
                  </a:cubicBezTo>
                  <a:cubicBezTo>
                    <a:pt x="154" y="134"/>
                    <a:pt x="133" y="115"/>
                    <a:pt x="109" y="115"/>
                  </a:cubicBezTo>
                  <a:cubicBezTo>
                    <a:pt x="84" y="115"/>
                    <a:pt x="64" y="134"/>
                    <a:pt x="61" y="158"/>
                  </a:cubicBezTo>
                  <a:cubicBezTo>
                    <a:pt x="48" y="158"/>
                    <a:pt x="48" y="158"/>
                    <a:pt x="48" y="158"/>
                  </a:cubicBezTo>
                  <a:cubicBezTo>
                    <a:pt x="48" y="143"/>
                    <a:pt x="48" y="143"/>
                    <a:pt x="48" y="143"/>
                  </a:cubicBezTo>
                  <a:cubicBezTo>
                    <a:pt x="48" y="135"/>
                    <a:pt x="41" y="129"/>
                    <a:pt x="34" y="129"/>
                  </a:cubicBezTo>
                  <a:cubicBezTo>
                    <a:pt x="28" y="129"/>
                    <a:pt x="28" y="129"/>
                    <a:pt x="28" y="129"/>
                  </a:cubicBezTo>
                  <a:cubicBezTo>
                    <a:pt x="28" y="85"/>
                    <a:pt x="28" y="85"/>
                    <a:pt x="28" y="85"/>
                  </a:cubicBezTo>
                  <a:cubicBezTo>
                    <a:pt x="28" y="78"/>
                    <a:pt x="29" y="71"/>
                    <a:pt x="31" y="65"/>
                  </a:cubicBezTo>
                  <a:cubicBezTo>
                    <a:pt x="47" y="20"/>
                    <a:pt x="47" y="20"/>
                    <a:pt x="47" y="20"/>
                  </a:cubicBezTo>
                  <a:cubicBezTo>
                    <a:pt x="49" y="16"/>
                    <a:pt x="54" y="12"/>
                    <a:pt x="59" y="12"/>
                  </a:cubicBezTo>
                  <a:cubicBezTo>
                    <a:pt x="233" y="12"/>
                    <a:pt x="233" y="12"/>
                    <a:pt x="233" y="12"/>
                  </a:cubicBezTo>
                  <a:cubicBezTo>
                    <a:pt x="239" y="12"/>
                    <a:pt x="244" y="15"/>
                    <a:pt x="247" y="19"/>
                  </a:cubicBezTo>
                  <a:cubicBezTo>
                    <a:pt x="248" y="21"/>
                    <a:pt x="248" y="21"/>
                    <a:pt x="248" y="21"/>
                  </a:cubicBezTo>
                  <a:cubicBezTo>
                    <a:pt x="190" y="21"/>
                    <a:pt x="190" y="21"/>
                    <a:pt x="190" y="21"/>
                  </a:cubicBezTo>
                  <a:cubicBezTo>
                    <a:pt x="182" y="21"/>
                    <a:pt x="176" y="28"/>
                    <a:pt x="176" y="35"/>
                  </a:cubicBezTo>
                  <a:cubicBezTo>
                    <a:pt x="176" y="61"/>
                    <a:pt x="176" y="61"/>
                    <a:pt x="176" y="61"/>
                  </a:cubicBezTo>
                  <a:cubicBezTo>
                    <a:pt x="176" y="68"/>
                    <a:pt x="182" y="75"/>
                    <a:pt x="190" y="75"/>
                  </a:cubicBezTo>
                  <a:cubicBezTo>
                    <a:pt x="293" y="75"/>
                    <a:pt x="293" y="75"/>
                    <a:pt x="293" y="75"/>
                  </a:cubicBezTo>
                  <a:cubicBezTo>
                    <a:pt x="300" y="78"/>
                    <a:pt x="308" y="80"/>
                    <a:pt x="315" y="80"/>
                  </a:cubicBezTo>
                  <a:cubicBezTo>
                    <a:pt x="349" y="80"/>
                    <a:pt x="349" y="80"/>
                    <a:pt x="349" y="80"/>
                  </a:cubicBezTo>
                  <a:cubicBezTo>
                    <a:pt x="359" y="80"/>
                    <a:pt x="367" y="88"/>
                    <a:pt x="367" y="98"/>
                  </a:cubicBezTo>
                  <a:cubicBezTo>
                    <a:pt x="367" y="104"/>
                    <a:pt x="367" y="104"/>
                    <a:pt x="367" y="104"/>
                  </a:cubicBezTo>
                  <a:cubicBezTo>
                    <a:pt x="345" y="104"/>
                    <a:pt x="345" y="104"/>
                    <a:pt x="345" y="104"/>
                  </a:cubicBezTo>
                  <a:cubicBezTo>
                    <a:pt x="336" y="104"/>
                    <a:pt x="329" y="111"/>
                    <a:pt x="329" y="120"/>
                  </a:cubicBezTo>
                  <a:cubicBezTo>
                    <a:pt x="329" y="126"/>
                    <a:pt x="329" y="126"/>
                    <a:pt x="329" y="126"/>
                  </a:cubicBezTo>
                  <a:cubicBezTo>
                    <a:pt x="329" y="134"/>
                    <a:pt x="335" y="141"/>
                    <a:pt x="343" y="142"/>
                  </a:cubicBezTo>
                  <a:cubicBezTo>
                    <a:pt x="343" y="142"/>
                    <a:pt x="343" y="143"/>
                    <a:pt x="343" y="143"/>
                  </a:cubicBezTo>
                  <a:moveTo>
                    <a:pt x="345" y="129"/>
                  </a:moveTo>
                  <a:cubicBezTo>
                    <a:pt x="343" y="129"/>
                    <a:pt x="342" y="128"/>
                    <a:pt x="342" y="126"/>
                  </a:cubicBezTo>
                  <a:cubicBezTo>
                    <a:pt x="342" y="120"/>
                    <a:pt x="342" y="120"/>
                    <a:pt x="342" y="120"/>
                  </a:cubicBezTo>
                  <a:cubicBezTo>
                    <a:pt x="342" y="118"/>
                    <a:pt x="343" y="117"/>
                    <a:pt x="345" y="117"/>
                  </a:cubicBezTo>
                  <a:cubicBezTo>
                    <a:pt x="367" y="117"/>
                    <a:pt x="367" y="117"/>
                    <a:pt x="367" y="117"/>
                  </a:cubicBezTo>
                  <a:cubicBezTo>
                    <a:pt x="367" y="129"/>
                    <a:pt x="367" y="129"/>
                    <a:pt x="367" y="129"/>
                  </a:cubicBezTo>
                  <a:lnTo>
                    <a:pt x="345" y="129"/>
                  </a:lnTo>
                  <a:close/>
                  <a:moveTo>
                    <a:pt x="386" y="165"/>
                  </a:moveTo>
                  <a:cubicBezTo>
                    <a:pt x="386" y="165"/>
                    <a:pt x="386" y="166"/>
                    <a:pt x="385" y="166"/>
                  </a:cubicBezTo>
                  <a:cubicBezTo>
                    <a:pt x="357" y="166"/>
                    <a:pt x="357" y="166"/>
                    <a:pt x="357" y="166"/>
                  </a:cubicBezTo>
                  <a:cubicBezTo>
                    <a:pt x="356" y="166"/>
                    <a:pt x="355" y="165"/>
                    <a:pt x="355" y="165"/>
                  </a:cubicBezTo>
                  <a:cubicBezTo>
                    <a:pt x="355" y="143"/>
                    <a:pt x="355" y="143"/>
                    <a:pt x="355" y="143"/>
                  </a:cubicBezTo>
                  <a:cubicBezTo>
                    <a:pt x="355" y="142"/>
                    <a:pt x="356" y="142"/>
                    <a:pt x="357" y="142"/>
                  </a:cubicBezTo>
                  <a:cubicBezTo>
                    <a:pt x="385" y="142"/>
                    <a:pt x="385" y="142"/>
                    <a:pt x="385" y="142"/>
                  </a:cubicBezTo>
                  <a:cubicBezTo>
                    <a:pt x="386" y="142"/>
                    <a:pt x="386" y="142"/>
                    <a:pt x="386" y="143"/>
                  </a:cubicBezTo>
                  <a:lnTo>
                    <a:pt x="386" y="165"/>
                  </a:lnTo>
                  <a:close/>
                  <a:moveTo>
                    <a:pt x="278" y="140"/>
                  </a:moveTo>
                  <a:cubicBezTo>
                    <a:pt x="265" y="140"/>
                    <a:pt x="255" y="151"/>
                    <a:pt x="255" y="164"/>
                  </a:cubicBezTo>
                  <a:cubicBezTo>
                    <a:pt x="255" y="177"/>
                    <a:pt x="265" y="187"/>
                    <a:pt x="278" y="187"/>
                  </a:cubicBezTo>
                  <a:cubicBezTo>
                    <a:pt x="291" y="187"/>
                    <a:pt x="302" y="177"/>
                    <a:pt x="302" y="164"/>
                  </a:cubicBezTo>
                  <a:cubicBezTo>
                    <a:pt x="302" y="151"/>
                    <a:pt x="291" y="140"/>
                    <a:pt x="278" y="140"/>
                  </a:cubicBezTo>
                  <a:moveTo>
                    <a:pt x="278" y="175"/>
                  </a:moveTo>
                  <a:cubicBezTo>
                    <a:pt x="272" y="175"/>
                    <a:pt x="267" y="170"/>
                    <a:pt x="267" y="164"/>
                  </a:cubicBezTo>
                  <a:cubicBezTo>
                    <a:pt x="267" y="158"/>
                    <a:pt x="272" y="153"/>
                    <a:pt x="278" y="153"/>
                  </a:cubicBezTo>
                  <a:cubicBezTo>
                    <a:pt x="284" y="153"/>
                    <a:pt x="289" y="158"/>
                    <a:pt x="289" y="164"/>
                  </a:cubicBezTo>
                  <a:cubicBezTo>
                    <a:pt x="289" y="170"/>
                    <a:pt x="284" y="175"/>
                    <a:pt x="278" y="175"/>
                  </a:cubicBezTo>
                  <a:moveTo>
                    <a:pt x="100" y="82"/>
                  </a:moveTo>
                  <a:cubicBezTo>
                    <a:pt x="85" y="82"/>
                    <a:pt x="85" y="82"/>
                    <a:pt x="85" y="82"/>
                  </a:cubicBezTo>
                  <a:cubicBezTo>
                    <a:pt x="82" y="82"/>
                    <a:pt x="79" y="84"/>
                    <a:pt x="79" y="88"/>
                  </a:cubicBezTo>
                  <a:cubicBezTo>
                    <a:pt x="79" y="91"/>
                    <a:pt x="82" y="94"/>
                    <a:pt x="85" y="94"/>
                  </a:cubicBezTo>
                  <a:cubicBezTo>
                    <a:pt x="100" y="94"/>
                    <a:pt x="100" y="94"/>
                    <a:pt x="100" y="94"/>
                  </a:cubicBezTo>
                  <a:cubicBezTo>
                    <a:pt x="103" y="94"/>
                    <a:pt x="106" y="91"/>
                    <a:pt x="106" y="88"/>
                  </a:cubicBezTo>
                  <a:cubicBezTo>
                    <a:pt x="106" y="84"/>
                    <a:pt x="103" y="82"/>
                    <a:pt x="100" y="82"/>
                  </a:cubicBezTo>
                </a:path>
              </a:pathLst>
            </a:custGeom>
            <a:solidFill>
              <a:srgbClr val="0A4E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29" name="Group 1028"/>
          <p:cNvGrpSpPr/>
          <p:nvPr/>
        </p:nvGrpSpPr>
        <p:grpSpPr>
          <a:xfrm>
            <a:off x="4376005" y="3333749"/>
            <a:ext cx="699538" cy="698023"/>
            <a:chOff x="4376005" y="3333749"/>
            <a:chExt cx="699538" cy="698023"/>
          </a:xfrm>
        </p:grpSpPr>
        <p:sp>
          <p:nvSpPr>
            <p:cNvPr id="69" name="Oval 56"/>
            <p:cNvSpPr>
              <a:spLocks noChangeArrowheads="1"/>
            </p:cNvSpPr>
            <p:nvPr/>
          </p:nvSpPr>
          <p:spPr bwMode="auto">
            <a:xfrm>
              <a:off x="4376005" y="3333749"/>
              <a:ext cx="699538" cy="698023"/>
            </a:xfrm>
            <a:prstGeom prst="ellipse">
              <a:avLst/>
            </a:prstGeom>
            <a:solidFill>
              <a:srgbClr val="FFFFFF"/>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p>
          </p:txBody>
        </p:sp>
        <p:grpSp>
          <p:nvGrpSpPr>
            <p:cNvPr id="1024" name="Group 1023"/>
            <p:cNvGrpSpPr/>
            <p:nvPr/>
          </p:nvGrpSpPr>
          <p:grpSpPr>
            <a:xfrm>
              <a:off x="4509020" y="3570640"/>
              <a:ext cx="417836" cy="220258"/>
              <a:chOff x="4508997" y="3595675"/>
              <a:chExt cx="417836" cy="220258"/>
            </a:xfrm>
          </p:grpSpPr>
          <p:sp>
            <p:nvSpPr>
              <p:cNvPr id="116" name="Freeform 11"/>
              <p:cNvSpPr>
                <a:spLocks noEditPoints="1"/>
              </p:cNvSpPr>
              <p:nvPr/>
            </p:nvSpPr>
            <p:spPr bwMode="auto">
              <a:xfrm>
                <a:off x="4508997" y="3595675"/>
                <a:ext cx="417836" cy="220258"/>
              </a:xfrm>
              <a:custGeom>
                <a:avLst/>
                <a:gdLst>
                  <a:gd name="T0" fmla="*/ 347 w 351"/>
                  <a:gd name="T1" fmla="*/ 121 h 185"/>
                  <a:gd name="T2" fmla="*/ 325 w 351"/>
                  <a:gd name="T3" fmla="*/ 43 h 185"/>
                  <a:gd name="T4" fmla="*/ 296 w 351"/>
                  <a:gd name="T5" fmla="*/ 8 h 185"/>
                  <a:gd name="T6" fmla="*/ 251 w 351"/>
                  <a:gd name="T7" fmla="*/ 5 h 185"/>
                  <a:gd name="T8" fmla="*/ 225 w 351"/>
                  <a:gd name="T9" fmla="*/ 26 h 185"/>
                  <a:gd name="T10" fmla="*/ 225 w 351"/>
                  <a:gd name="T11" fmla="*/ 26 h 185"/>
                  <a:gd name="T12" fmla="*/ 129 w 351"/>
                  <a:gd name="T13" fmla="*/ 26 h 185"/>
                  <a:gd name="T14" fmla="*/ 129 w 351"/>
                  <a:gd name="T15" fmla="*/ 26 h 185"/>
                  <a:gd name="T16" fmla="*/ 103 w 351"/>
                  <a:gd name="T17" fmla="*/ 5 h 185"/>
                  <a:gd name="T18" fmla="*/ 58 w 351"/>
                  <a:gd name="T19" fmla="*/ 8 h 185"/>
                  <a:gd name="T20" fmla="*/ 29 w 351"/>
                  <a:gd name="T21" fmla="*/ 43 h 185"/>
                  <a:gd name="T22" fmla="*/ 7 w 351"/>
                  <a:gd name="T23" fmla="*/ 121 h 185"/>
                  <a:gd name="T24" fmla="*/ 34 w 351"/>
                  <a:gd name="T25" fmla="*/ 181 h 185"/>
                  <a:gd name="T26" fmla="*/ 52 w 351"/>
                  <a:gd name="T27" fmla="*/ 184 h 185"/>
                  <a:gd name="T28" fmla="*/ 99 w 351"/>
                  <a:gd name="T29" fmla="*/ 156 h 185"/>
                  <a:gd name="T30" fmla="*/ 109 w 351"/>
                  <a:gd name="T31" fmla="*/ 134 h 185"/>
                  <a:gd name="T32" fmla="*/ 137 w 351"/>
                  <a:gd name="T33" fmla="*/ 148 h 185"/>
                  <a:gd name="T34" fmla="*/ 171 w 351"/>
                  <a:gd name="T35" fmla="*/ 124 h 185"/>
                  <a:gd name="T36" fmla="*/ 183 w 351"/>
                  <a:gd name="T37" fmla="*/ 124 h 185"/>
                  <a:gd name="T38" fmla="*/ 216 w 351"/>
                  <a:gd name="T39" fmla="*/ 148 h 185"/>
                  <a:gd name="T40" fmla="*/ 245 w 351"/>
                  <a:gd name="T41" fmla="*/ 134 h 185"/>
                  <a:gd name="T42" fmla="*/ 255 w 351"/>
                  <a:gd name="T43" fmla="*/ 156 h 185"/>
                  <a:gd name="T44" fmla="*/ 281 w 351"/>
                  <a:gd name="T45" fmla="*/ 180 h 185"/>
                  <a:gd name="T46" fmla="*/ 317 w 351"/>
                  <a:gd name="T47" fmla="*/ 181 h 185"/>
                  <a:gd name="T48" fmla="*/ 344 w 351"/>
                  <a:gd name="T49" fmla="*/ 157 h 185"/>
                  <a:gd name="T50" fmla="*/ 347 w 351"/>
                  <a:gd name="T51" fmla="*/ 121 h 185"/>
                  <a:gd name="T52" fmla="*/ 331 w 351"/>
                  <a:gd name="T53" fmla="*/ 150 h 185"/>
                  <a:gd name="T54" fmla="*/ 312 w 351"/>
                  <a:gd name="T55" fmla="*/ 167 h 185"/>
                  <a:gd name="T56" fmla="*/ 286 w 351"/>
                  <a:gd name="T57" fmla="*/ 167 h 185"/>
                  <a:gd name="T58" fmla="*/ 268 w 351"/>
                  <a:gd name="T59" fmla="*/ 150 h 185"/>
                  <a:gd name="T60" fmla="*/ 253 w 351"/>
                  <a:gd name="T61" fmla="*/ 119 h 185"/>
                  <a:gd name="T62" fmla="*/ 244 w 351"/>
                  <a:gd name="T63" fmla="*/ 114 h 185"/>
                  <a:gd name="T64" fmla="*/ 236 w 351"/>
                  <a:gd name="T65" fmla="*/ 120 h 185"/>
                  <a:gd name="T66" fmla="*/ 216 w 351"/>
                  <a:gd name="T67" fmla="*/ 134 h 185"/>
                  <a:gd name="T68" fmla="*/ 196 w 351"/>
                  <a:gd name="T69" fmla="*/ 117 h 185"/>
                  <a:gd name="T70" fmla="*/ 187 w 351"/>
                  <a:gd name="T71" fmla="*/ 109 h 185"/>
                  <a:gd name="T72" fmla="*/ 167 w 351"/>
                  <a:gd name="T73" fmla="*/ 109 h 185"/>
                  <a:gd name="T74" fmla="*/ 158 w 351"/>
                  <a:gd name="T75" fmla="*/ 117 h 185"/>
                  <a:gd name="T76" fmla="*/ 137 w 351"/>
                  <a:gd name="T77" fmla="*/ 134 h 185"/>
                  <a:gd name="T78" fmla="*/ 118 w 351"/>
                  <a:gd name="T79" fmla="*/ 120 h 185"/>
                  <a:gd name="T80" fmla="*/ 110 w 351"/>
                  <a:gd name="T81" fmla="*/ 114 h 185"/>
                  <a:gd name="T82" fmla="*/ 101 w 351"/>
                  <a:gd name="T83" fmla="*/ 119 h 185"/>
                  <a:gd name="T84" fmla="*/ 86 w 351"/>
                  <a:gd name="T85" fmla="*/ 150 h 185"/>
                  <a:gd name="T86" fmla="*/ 39 w 351"/>
                  <a:gd name="T87" fmla="*/ 167 h 185"/>
                  <a:gd name="T88" fmla="*/ 20 w 351"/>
                  <a:gd name="T89" fmla="*/ 125 h 185"/>
                  <a:gd name="T90" fmla="*/ 42 w 351"/>
                  <a:gd name="T91" fmla="*/ 47 h 185"/>
                  <a:gd name="T92" fmla="*/ 64 w 351"/>
                  <a:gd name="T93" fmla="*/ 20 h 185"/>
                  <a:gd name="T94" fmla="*/ 83 w 351"/>
                  <a:gd name="T95" fmla="*/ 16 h 185"/>
                  <a:gd name="T96" fmla="*/ 98 w 351"/>
                  <a:gd name="T97" fmla="*/ 18 h 185"/>
                  <a:gd name="T98" fmla="*/ 118 w 351"/>
                  <a:gd name="T99" fmla="*/ 34 h 185"/>
                  <a:gd name="T100" fmla="*/ 129 w 351"/>
                  <a:gd name="T101" fmla="*/ 40 h 185"/>
                  <a:gd name="T102" fmla="*/ 225 w 351"/>
                  <a:gd name="T103" fmla="*/ 40 h 185"/>
                  <a:gd name="T104" fmla="*/ 236 w 351"/>
                  <a:gd name="T105" fmla="*/ 34 h 185"/>
                  <a:gd name="T106" fmla="*/ 256 w 351"/>
                  <a:gd name="T107" fmla="*/ 18 h 185"/>
                  <a:gd name="T108" fmla="*/ 290 w 351"/>
                  <a:gd name="T109" fmla="*/ 20 h 185"/>
                  <a:gd name="T110" fmla="*/ 312 w 351"/>
                  <a:gd name="T111" fmla="*/ 47 h 185"/>
                  <a:gd name="T112" fmla="*/ 334 w 351"/>
                  <a:gd name="T113" fmla="*/ 125 h 185"/>
                  <a:gd name="T114" fmla="*/ 331 w 351"/>
                  <a:gd name="T115" fmla="*/ 15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1" h="185">
                    <a:moveTo>
                      <a:pt x="347" y="121"/>
                    </a:moveTo>
                    <a:cubicBezTo>
                      <a:pt x="325" y="43"/>
                      <a:pt x="325" y="43"/>
                      <a:pt x="325" y="43"/>
                    </a:cubicBezTo>
                    <a:cubicBezTo>
                      <a:pt x="321" y="28"/>
                      <a:pt x="310" y="15"/>
                      <a:pt x="296" y="8"/>
                    </a:cubicBezTo>
                    <a:cubicBezTo>
                      <a:pt x="282" y="1"/>
                      <a:pt x="266" y="0"/>
                      <a:pt x="251" y="5"/>
                    </a:cubicBezTo>
                    <a:cubicBezTo>
                      <a:pt x="240" y="9"/>
                      <a:pt x="231" y="16"/>
                      <a:pt x="225" y="26"/>
                    </a:cubicBezTo>
                    <a:cubicBezTo>
                      <a:pt x="225" y="26"/>
                      <a:pt x="225" y="26"/>
                      <a:pt x="225" y="26"/>
                    </a:cubicBezTo>
                    <a:cubicBezTo>
                      <a:pt x="129" y="26"/>
                      <a:pt x="129" y="26"/>
                      <a:pt x="129" y="26"/>
                    </a:cubicBezTo>
                    <a:cubicBezTo>
                      <a:pt x="129" y="26"/>
                      <a:pt x="129" y="26"/>
                      <a:pt x="129" y="26"/>
                    </a:cubicBezTo>
                    <a:cubicBezTo>
                      <a:pt x="123" y="16"/>
                      <a:pt x="114" y="9"/>
                      <a:pt x="103" y="5"/>
                    </a:cubicBezTo>
                    <a:cubicBezTo>
                      <a:pt x="88" y="0"/>
                      <a:pt x="72" y="1"/>
                      <a:pt x="58" y="8"/>
                    </a:cubicBezTo>
                    <a:cubicBezTo>
                      <a:pt x="43" y="15"/>
                      <a:pt x="33" y="28"/>
                      <a:pt x="29" y="43"/>
                    </a:cubicBezTo>
                    <a:cubicBezTo>
                      <a:pt x="7" y="121"/>
                      <a:pt x="7" y="121"/>
                      <a:pt x="7" y="121"/>
                    </a:cubicBezTo>
                    <a:cubicBezTo>
                      <a:pt x="0" y="147"/>
                      <a:pt x="11" y="172"/>
                      <a:pt x="34" y="181"/>
                    </a:cubicBezTo>
                    <a:cubicBezTo>
                      <a:pt x="39" y="183"/>
                      <a:pt x="46" y="184"/>
                      <a:pt x="52" y="184"/>
                    </a:cubicBezTo>
                    <a:cubicBezTo>
                      <a:pt x="71" y="184"/>
                      <a:pt x="91" y="173"/>
                      <a:pt x="99" y="156"/>
                    </a:cubicBezTo>
                    <a:cubicBezTo>
                      <a:pt x="109" y="134"/>
                      <a:pt x="109" y="134"/>
                      <a:pt x="109" y="134"/>
                    </a:cubicBezTo>
                    <a:cubicBezTo>
                      <a:pt x="116" y="142"/>
                      <a:pt x="126" y="148"/>
                      <a:pt x="137" y="148"/>
                    </a:cubicBezTo>
                    <a:cubicBezTo>
                      <a:pt x="153" y="148"/>
                      <a:pt x="166" y="138"/>
                      <a:pt x="171" y="124"/>
                    </a:cubicBezTo>
                    <a:cubicBezTo>
                      <a:pt x="183" y="124"/>
                      <a:pt x="183" y="124"/>
                      <a:pt x="183" y="124"/>
                    </a:cubicBezTo>
                    <a:cubicBezTo>
                      <a:pt x="188" y="138"/>
                      <a:pt x="201" y="148"/>
                      <a:pt x="216" y="148"/>
                    </a:cubicBezTo>
                    <a:cubicBezTo>
                      <a:pt x="228" y="148"/>
                      <a:pt x="238" y="142"/>
                      <a:pt x="245" y="134"/>
                    </a:cubicBezTo>
                    <a:cubicBezTo>
                      <a:pt x="255" y="156"/>
                      <a:pt x="255" y="156"/>
                      <a:pt x="255" y="156"/>
                    </a:cubicBezTo>
                    <a:cubicBezTo>
                      <a:pt x="260" y="167"/>
                      <a:pt x="270" y="176"/>
                      <a:pt x="281" y="180"/>
                    </a:cubicBezTo>
                    <a:cubicBezTo>
                      <a:pt x="293" y="185"/>
                      <a:pt x="305" y="185"/>
                      <a:pt x="317" y="181"/>
                    </a:cubicBezTo>
                    <a:cubicBezTo>
                      <a:pt x="329" y="176"/>
                      <a:pt x="338" y="168"/>
                      <a:pt x="344" y="157"/>
                    </a:cubicBezTo>
                    <a:cubicBezTo>
                      <a:pt x="349" y="146"/>
                      <a:pt x="351" y="133"/>
                      <a:pt x="347" y="121"/>
                    </a:cubicBezTo>
                    <a:moveTo>
                      <a:pt x="331" y="150"/>
                    </a:moveTo>
                    <a:cubicBezTo>
                      <a:pt x="327" y="158"/>
                      <a:pt x="320" y="164"/>
                      <a:pt x="312" y="167"/>
                    </a:cubicBezTo>
                    <a:cubicBezTo>
                      <a:pt x="304" y="171"/>
                      <a:pt x="295" y="170"/>
                      <a:pt x="286" y="167"/>
                    </a:cubicBezTo>
                    <a:cubicBezTo>
                      <a:pt x="278" y="164"/>
                      <a:pt x="272" y="158"/>
                      <a:pt x="268" y="150"/>
                    </a:cubicBezTo>
                    <a:cubicBezTo>
                      <a:pt x="253" y="119"/>
                      <a:pt x="253" y="119"/>
                      <a:pt x="253" y="119"/>
                    </a:cubicBezTo>
                    <a:cubicBezTo>
                      <a:pt x="252" y="115"/>
                      <a:pt x="248" y="113"/>
                      <a:pt x="244" y="114"/>
                    </a:cubicBezTo>
                    <a:cubicBezTo>
                      <a:pt x="241" y="114"/>
                      <a:pt x="237" y="116"/>
                      <a:pt x="236" y="120"/>
                    </a:cubicBezTo>
                    <a:cubicBezTo>
                      <a:pt x="233" y="128"/>
                      <a:pt x="225" y="134"/>
                      <a:pt x="216" y="134"/>
                    </a:cubicBezTo>
                    <a:cubicBezTo>
                      <a:pt x="207" y="134"/>
                      <a:pt x="198" y="127"/>
                      <a:pt x="196" y="117"/>
                    </a:cubicBezTo>
                    <a:cubicBezTo>
                      <a:pt x="195" y="112"/>
                      <a:pt x="191" y="109"/>
                      <a:pt x="187" y="109"/>
                    </a:cubicBezTo>
                    <a:cubicBezTo>
                      <a:pt x="167" y="109"/>
                      <a:pt x="167" y="109"/>
                      <a:pt x="167" y="109"/>
                    </a:cubicBezTo>
                    <a:cubicBezTo>
                      <a:pt x="163" y="109"/>
                      <a:pt x="159" y="112"/>
                      <a:pt x="158" y="117"/>
                    </a:cubicBezTo>
                    <a:cubicBezTo>
                      <a:pt x="156" y="127"/>
                      <a:pt x="147" y="134"/>
                      <a:pt x="137" y="134"/>
                    </a:cubicBezTo>
                    <a:cubicBezTo>
                      <a:pt x="129" y="134"/>
                      <a:pt x="121" y="128"/>
                      <a:pt x="118" y="120"/>
                    </a:cubicBezTo>
                    <a:cubicBezTo>
                      <a:pt x="117" y="116"/>
                      <a:pt x="113" y="114"/>
                      <a:pt x="110" y="114"/>
                    </a:cubicBezTo>
                    <a:cubicBezTo>
                      <a:pt x="106" y="113"/>
                      <a:pt x="102" y="115"/>
                      <a:pt x="101" y="119"/>
                    </a:cubicBezTo>
                    <a:cubicBezTo>
                      <a:pt x="86" y="150"/>
                      <a:pt x="86" y="150"/>
                      <a:pt x="86" y="150"/>
                    </a:cubicBezTo>
                    <a:cubicBezTo>
                      <a:pt x="78" y="166"/>
                      <a:pt x="56" y="174"/>
                      <a:pt x="39" y="167"/>
                    </a:cubicBezTo>
                    <a:cubicBezTo>
                      <a:pt x="23" y="161"/>
                      <a:pt x="15" y="144"/>
                      <a:pt x="20" y="125"/>
                    </a:cubicBezTo>
                    <a:cubicBezTo>
                      <a:pt x="42" y="47"/>
                      <a:pt x="42" y="47"/>
                      <a:pt x="42" y="47"/>
                    </a:cubicBezTo>
                    <a:cubicBezTo>
                      <a:pt x="46" y="35"/>
                      <a:pt x="53" y="26"/>
                      <a:pt x="64" y="20"/>
                    </a:cubicBezTo>
                    <a:cubicBezTo>
                      <a:pt x="70" y="17"/>
                      <a:pt x="76" y="16"/>
                      <a:pt x="83" y="16"/>
                    </a:cubicBezTo>
                    <a:cubicBezTo>
                      <a:pt x="88" y="16"/>
                      <a:pt x="93" y="17"/>
                      <a:pt x="98" y="18"/>
                    </a:cubicBezTo>
                    <a:cubicBezTo>
                      <a:pt x="106" y="21"/>
                      <a:pt x="113" y="27"/>
                      <a:pt x="118" y="34"/>
                    </a:cubicBezTo>
                    <a:cubicBezTo>
                      <a:pt x="120" y="38"/>
                      <a:pt x="125" y="40"/>
                      <a:pt x="129" y="40"/>
                    </a:cubicBezTo>
                    <a:cubicBezTo>
                      <a:pt x="225" y="40"/>
                      <a:pt x="225" y="40"/>
                      <a:pt x="225" y="40"/>
                    </a:cubicBezTo>
                    <a:cubicBezTo>
                      <a:pt x="229" y="40"/>
                      <a:pt x="234" y="38"/>
                      <a:pt x="236" y="34"/>
                    </a:cubicBezTo>
                    <a:cubicBezTo>
                      <a:pt x="241" y="27"/>
                      <a:pt x="248" y="21"/>
                      <a:pt x="256" y="18"/>
                    </a:cubicBezTo>
                    <a:cubicBezTo>
                      <a:pt x="267" y="14"/>
                      <a:pt x="279" y="15"/>
                      <a:pt x="290" y="20"/>
                    </a:cubicBezTo>
                    <a:cubicBezTo>
                      <a:pt x="301" y="26"/>
                      <a:pt x="308" y="35"/>
                      <a:pt x="312" y="47"/>
                    </a:cubicBezTo>
                    <a:cubicBezTo>
                      <a:pt x="334" y="125"/>
                      <a:pt x="334" y="125"/>
                      <a:pt x="334" y="125"/>
                    </a:cubicBezTo>
                    <a:cubicBezTo>
                      <a:pt x="336" y="134"/>
                      <a:pt x="335" y="143"/>
                      <a:pt x="331" y="150"/>
                    </a:cubicBezTo>
                  </a:path>
                </a:pathLst>
              </a:custGeom>
              <a:solidFill>
                <a:srgbClr val="004B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12"/>
              <p:cNvSpPr>
                <a:spLocks noChangeArrowheads="1"/>
              </p:cNvSpPr>
              <p:nvPr/>
            </p:nvSpPr>
            <p:spPr bwMode="auto">
              <a:xfrm>
                <a:off x="4821996" y="3641037"/>
                <a:ext cx="21673" cy="20161"/>
              </a:xfrm>
              <a:prstGeom prst="ellipse">
                <a:avLst/>
              </a:prstGeom>
              <a:solidFill>
                <a:srgbClr val="004B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13"/>
              <p:cNvSpPr>
                <a:spLocks noChangeArrowheads="1"/>
              </p:cNvSpPr>
              <p:nvPr/>
            </p:nvSpPr>
            <p:spPr bwMode="auto">
              <a:xfrm>
                <a:off x="4821996" y="3690935"/>
                <a:ext cx="21673" cy="21673"/>
              </a:xfrm>
              <a:prstGeom prst="ellipse">
                <a:avLst/>
              </a:prstGeom>
              <a:solidFill>
                <a:srgbClr val="004B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14"/>
              <p:cNvSpPr>
                <a:spLocks noChangeArrowheads="1"/>
              </p:cNvSpPr>
              <p:nvPr/>
            </p:nvSpPr>
            <p:spPr bwMode="auto">
              <a:xfrm>
                <a:off x="4796795" y="3665734"/>
                <a:ext cx="20665" cy="21673"/>
              </a:xfrm>
              <a:prstGeom prst="ellipse">
                <a:avLst/>
              </a:prstGeom>
              <a:solidFill>
                <a:srgbClr val="004B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15"/>
              <p:cNvSpPr>
                <a:spLocks noChangeArrowheads="1"/>
              </p:cNvSpPr>
              <p:nvPr/>
            </p:nvSpPr>
            <p:spPr bwMode="auto">
              <a:xfrm>
                <a:off x="4847197" y="3665734"/>
                <a:ext cx="21169" cy="21673"/>
              </a:xfrm>
              <a:prstGeom prst="ellipse">
                <a:avLst/>
              </a:prstGeom>
              <a:solidFill>
                <a:srgbClr val="004B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6"/>
              <p:cNvSpPr>
                <a:spLocks/>
              </p:cNvSpPr>
              <p:nvPr/>
            </p:nvSpPr>
            <p:spPr bwMode="auto">
              <a:xfrm>
                <a:off x="4576536" y="3644565"/>
                <a:ext cx="64515" cy="63003"/>
              </a:xfrm>
              <a:custGeom>
                <a:avLst/>
                <a:gdLst>
                  <a:gd name="T0" fmla="*/ 47 w 54"/>
                  <a:gd name="T1" fmla="*/ 20 h 53"/>
                  <a:gd name="T2" fmla="*/ 34 w 54"/>
                  <a:gd name="T3" fmla="*/ 20 h 53"/>
                  <a:gd name="T4" fmla="*/ 34 w 54"/>
                  <a:gd name="T5" fmla="*/ 7 h 53"/>
                  <a:gd name="T6" fmla="*/ 27 w 54"/>
                  <a:gd name="T7" fmla="*/ 0 h 53"/>
                  <a:gd name="T8" fmla="*/ 20 w 54"/>
                  <a:gd name="T9" fmla="*/ 7 h 53"/>
                  <a:gd name="T10" fmla="*/ 20 w 54"/>
                  <a:gd name="T11" fmla="*/ 20 h 53"/>
                  <a:gd name="T12" fmla="*/ 7 w 54"/>
                  <a:gd name="T13" fmla="*/ 20 h 53"/>
                  <a:gd name="T14" fmla="*/ 0 w 54"/>
                  <a:gd name="T15" fmla="*/ 27 h 53"/>
                  <a:gd name="T16" fmla="*/ 7 w 54"/>
                  <a:gd name="T17" fmla="*/ 34 h 53"/>
                  <a:gd name="T18" fmla="*/ 20 w 54"/>
                  <a:gd name="T19" fmla="*/ 34 h 53"/>
                  <a:gd name="T20" fmla="*/ 20 w 54"/>
                  <a:gd name="T21" fmla="*/ 46 h 53"/>
                  <a:gd name="T22" fmla="*/ 27 w 54"/>
                  <a:gd name="T23" fmla="*/ 53 h 53"/>
                  <a:gd name="T24" fmla="*/ 34 w 54"/>
                  <a:gd name="T25" fmla="*/ 46 h 53"/>
                  <a:gd name="T26" fmla="*/ 34 w 54"/>
                  <a:gd name="T27" fmla="*/ 34 h 53"/>
                  <a:gd name="T28" fmla="*/ 47 w 54"/>
                  <a:gd name="T29" fmla="*/ 34 h 53"/>
                  <a:gd name="T30" fmla="*/ 54 w 54"/>
                  <a:gd name="T31" fmla="*/ 27 h 53"/>
                  <a:gd name="T32" fmla="*/ 47 w 54"/>
                  <a:gd name="T33" fmla="*/ 2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53">
                    <a:moveTo>
                      <a:pt x="47" y="20"/>
                    </a:moveTo>
                    <a:cubicBezTo>
                      <a:pt x="34" y="20"/>
                      <a:pt x="34" y="20"/>
                      <a:pt x="34" y="20"/>
                    </a:cubicBezTo>
                    <a:cubicBezTo>
                      <a:pt x="34" y="7"/>
                      <a:pt x="34" y="7"/>
                      <a:pt x="34" y="7"/>
                    </a:cubicBezTo>
                    <a:cubicBezTo>
                      <a:pt x="34" y="3"/>
                      <a:pt x="31" y="0"/>
                      <a:pt x="27" y="0"/>
                    </a:cubicBezTo>
                    <a:cubicBezTo>
                      <a:pt x="23" y="0"/>
                      <a:pt x="20" y="3"/>
                      <a:pt x="20" y="7"/>
                    </a:cubicBezTo>
                    <a:cubicBezTo>
                      <a:pt x="20" y="20"/>
                      <a:pt x="20" y="20"/>
                      <a:pt x="20" y="20"/>
                    </a:cubicBezTo>
                    <a:cubicBezTo>
                      <a:pt x="7" y="20"/>
                      <a:pt x="7" y="20"/>
                      <a:pt x="7" y="20"/>
                    </a:cubicBezTo>
                    <a:cubicBezTo>
                      <a:pt x="3" y="20"/>
                      <a:pt x="0" y="23"/>
                      <a:pt x="0" y="27"/>
                    </a:cubicBezTo>
                    <a:cubicBezTo>
                      <a:pt x="0" y="31"/>
                      <a:pt x="3" y="34"/>
                      <a:pt x="7" y="34"/>
                    </a:cubicBezTo>
                    <a:cubicBezTo>
                      <a:pt x="20" y="34"/>
                      <a:pt x="20" y="34"/>
                      <a:pt x="20" y="34"/>
                    </a:cubicBezTo>
                    <a:cubicBezTo>
                      <a:pt x="20" y="46"/>
                      <a:pt x="20" y="46"/>
                      <a:pt x="20" y="46"/>
                    </a:cubicBezTo>
                    <a:cubicBezTo>
                      <a:pt x="20" y="50"/>
                      <a:pt x="23" y="53"/>
                      <a:pt x="27" y="53"/>
                    </a:cubicBezTo>
                    <a:cubicBezTo>
                      <a:pt x="31" y="53"/>
                      <a:pt x="34" y="50"/>
                      <a:pt x="34" y="46"/>
                    </a:cubicBezTo>
                    <a:cubicBezTo>
                      <a:pt x="34" y="34"/>
                      <a:pt x="34" y="34"/>
                      <a:pt x="34" y="34"/>
                    </a:cubicBezTo>
                    <a:cubicBezTo>
                      <a:pt x="47" y="34"/>
                      <a:pt x="47" y="34"/>
                      <a:pt x="47" y="34"/>
                    </a:cubicBezTo>
                    <a:cubicBezTo>
                      <a:pt x="51" y="34"/>
                      <a:pt x="54" y="31"/>
                      <a:pt x="54" y="27"/>
                    </a:cubicBezTo>
                    <a:cubicBezTo>
                      <a:pt x="54" y="23"/>
                      <a:pt x="51" y="20"/>
                      <a:pt x="47" y="20"/>
                    </a:cubicBezTo>
                  </a:path>
                </a:pathLst>
              </a:custGeom>
              <a:solidFill>
                <a:srgbClr val="004B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7"/>
              <p:cNvSpPr>
                <a:spLocks/>
              </p:cNvSpPr>
              <p:nvPr/>
            </p:nvSpPr>
            <p:spPr bwMode="auto">
              <a:xfrm>
                <a:off x="4682885" y="3668254"/>
                <a:ext cx="26209" cy="16633"/>
              </a:xfrm>
              <a:custGeom>
                <a:avLst/>
                <a:gdLst>
                  <a:gd name="T0" fmla="*/ 15 w 22"/>
                  <a:gd name="T1" fmla="*/ 0 h 14"/>
                  <a:gd name="T2" fmla="*/ 7 w 22"/>
                  <a:gd name="T3" fmla="*/ 0 h 14"/>
                  <a:gd name="T4" fmla="*/ 0 w 22"/>
                  <a:gd name="T5" fmla="*/ 7 h 14"/>
                  <a:gd name="T6" fmla="*/ 7 w 22"/>
                  <a:gd name="T7" fmla="*/ 14 h 14"/>
                  <a:gd name="T8" fmla="*/ 15 w 22"/>
                  <a:gd name="T9" fmla="*/ 14 h 14"/>
                  <a:gd name="T10" fmla="*/ 22 w 22"/>
                  <a:gd name="T11" fmla="*/ 7 h 14"/>
                  <a:gd name="T12" fmla="*/ 15 w 22"/>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2" h="14">
                    <a:moveTo>
                      <a:pt x="15" y="0"/>
                    </a:moveTo>
                    <a:cubicBezTo>
                      <a:pt x="7" y="0"/>
                      <a:pt x="7" y="0"/>
                      <a:pt x="7" y="0"/>
                    </a:cubicBezTo>
                    <a:cubicBezTo>
                      <a:pt x="3" y="0"/>
                      <a:pt x="0" y="3"/>
                      <a:pt x="0" y="7"/>
                    </a:cubicBezTo>
                    <a:cubicBezTo>
                      <a:pt x="0" y="11"/>
                      <a:pt x="3" y="14"/>
                      <a:pt x="7" y="14"/>
                    </a:cubicBezTo>
                    <a:cubicBezTo>
                      <a:pt x="15" y="14"/>
                      <a:pt x="15" y="14"/>
                      <a:pt x="15" y="14"/>
                    </a:cubicBezTo>
                    <a:cubicBezTo>
                      <a:pt x="19" y="14"/>
                      <a:pt x="22" y="11"/>
                      <a:pt x="22" y="7"/>
                    </a:cubicBezTo>
                    <a:cubicBezTo>
                      <a:pt x="22" y="3"/>
                      <a:pt x="19" y="0"/>
                      <a:pt x="15" y="0"/>
                    </a:cubicBezTo>
                  </a:path>
                </a:pathLst>
              </a:custGeom>
              <a:solidFill>
                <a:srgbClr val="004B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8"/>
              <p:cNvSpPr>
                <a:spLocks/>
              </p:cNvSpPr>
              <p:nvPr/>
            </p:nvSpPr>
            <p:spPr bwMode="auto">
              <a:xfrm>
                <a:off x="4730263" y="3668254"/>
                <a:ext cx="26209" cy="16633"/>
              </a:xfrm>
              <a:custGeom>
                <a:avLst/>
                <a:gdLst>
                  <a:gd name="T0" fmla="*/ 22 w 22"/>
                  <a:gd name="T1" fmla="*/ 7 h 14"/>
                  <a:gd name="T2" fmla="*/ 15 w 22"/>
                  <a:gd name="T3" fmla="*/ 0 h 14"/>
                  <a:gd name="T4" fmla="*/ 7 w 22"/>
                  <a:gd name="T5" fmla="*/ 0 h 14"/>
                  <a:gd name="T6" fmla="*/ 0 w 22"/>
                  <a:gd name="T7" fmla="*/ 7 h 14"/>
                  <a:gd name="T8" fmla="*/ 7 w 22"/>
                  <a:gd name="T9" fmla="*/ 14 h 14"/>
                  <a:gd name="T10" fmla="*/ 15 w 22"/>
                  <a:gd name="T11" fmla="*/ 14 h 14"/>
                  <a:gd name="T12" fmla="*/ 22 w 22"/>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2" h="14">
                    <a:moveTo>
                      <a:pt x="22" y="7"/>
                    </a:moveTo>
                    <a:cubicBezTo>
                      <a:pt x="22" y="3"/>
                      <a:pt x="19" y="0"/>
                      <a:pt x="15" y="0"/>
                    </a:cubicBezTo>
                    <a:cubicBezTo>
                      <a:pt x="7" y="0"/>
                      <a:pt x="7" y="0"/>
                      <a:pt x="7" y="0"/>
                    </a:cubicBezTo>
                    <a:cubicBezTo>
                      <a:pt x="3" y="0"/>
                      <a:pt x="0" y="3"/>
                      <a:pt x="0" y="7"/>
                    </a:cubicBezTo>
                    <a:cubicBezTo>
                      <a:pt x="0" y="11"/>
                      <a:pt x="3" y="14"/>
                      <a:pt x="7" y="14"/>
                    </a:cubicBezTo>
                    <a:cubicBezTo>
                      <a:pt x="15" y="14"/>
                      <a:pt x="15" y="14"/>
                      <a:pt x="15" y="14"/>
                    </a:cubicBezTo>
                    <a:cubicBezTo>
                      <a:pt x="19" y="14"/>
                      <a:pt x="22" y="11"/>
                      <a:pt x="22" y="7"/>
                    </a:cubicBezTo>
                  </a:path>
                </a:pathLst>
              </a:custGeom>
              <a:solidFill>
                <a:srgbClr val="004B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9"/>
              <p:cNvSpPr>
                <a:spLocks noEditPoints="1"/>
              </p:cNvSpPr>
              <p:nvPr/>
            </p:nvSpPr>
            <p:spPr bwMode="auto">
              <a:xfrm>
                <a:off x="4655164" y="3713616"/>
                <a:ext cx="34778" cy="33266"/>
              </a:xfrm>
              <a:custGeom>
                <a:avLst/>
                <a:gdLst>
                  <a:gd name="T0" fmla="*/ 14 w 29"/>
                  <a:gd name="T1" fmla="*/ 0 h 28"/>
                  <a:gd name="T2" fmla="*/ 0 w 29"/>
                  <a:gd name="T3" fmla="*/ 14 h 28"/>
                  <a:gd name="T4" fmla="*/ 14 w 29"/>
                  <a:gd name="T5" fmla="*/ 28 h 28"/>
                  <a:gd name="T6" fmla="*/ 29 w 29"/>
                  <a:gd name="T7" fmla="*/ 14 h 28"/>
                  <a:gd name="T8" fmla="*/ 14 w 29"/>
                  <a:gd name="T9" fmla="*/ 0 h 28"/>
                  <a:gd name="T10" fmla="*/ 14 w 29"/>
                  <a:gd name="T11" fmla="*/ 17 h 28"/>
                  <a:gd name="T12" fmla="*/ 11 w 29"/>
                  <a:gd name="T13" fmla="*/ 14 h 28"/>
                  <a:gd name="T14" fmla="*/ 14 w 29"/>
                  <a:gd name="T15" fmla="*/ 10 h 28"/>
                  <a:gd name="T16" fmla="*/ 18 w 29"/>
                  <a:gd name="T17" fmla="*/ 14 h 28"/>
                  <a:gd name="T18" fmla="*/ 14 w 29"/>
                  <a:gd name="T19"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8">
                    <a:moveTo>
                      <a:pt x="14" y="0"/>
                    </a:moveTo>
                    <a:cubicBezTo>
                      <a:pt x="7" y="0"/>
                      <a:pt x="0" y="6"/>
                      <a:pt x="0" y="14"/>
                    </a:cubicBezTo>
                    <a:cubicBezTo>
                      <a:pt x="0" y="22"/>
                      <a:pt x="7" y="28"/>
                      <a:pt x="14" y="28"/>
                    </a:cubicBezTo>
                    <a:cubicBezTo>
                      <a:pt x="22" y="28"/>
                      <a:pt x="29" y="22"/>
                      <a:pt x="29" y="14"/>
                    </a:cubicBezTo>
                    <a:cubicBezTo>
                      <a:pt x="29" y="6"/>
                      <a:pt x="22" y="0"/>
                      <a:pt x="14" y="0"/>
                    </a:cubicBezTo>
                    <a:moveTo>
                      <a:pt x="14" y="17"/>
                    </a:moveTo>
                    <a:cubicBezTo>
                      <a:pt x="12" y="17"/>
                      <a:pt x="11" y="16"/>
                      <a:pt x="11" y="14"/>
                    </a:cubicBezTo>
                    <a:cubicBezTo>
                      <a:pt x="11" y="12"/>
                      <a:pt x="12" y="10"/>
                      <a:pt x="14" y="10"/>
                    </a:cubicBezTo>
                    <a:cubicBezTo>
                      <a:pt x="16" y="10"/>
                      <a:pt x="18" y="12"/>
                      <a:pt x="18" y="14"/>
                    </a:cubicBezTo>
                    <a:cubicBezTo>
                      <a:pt x="18" y="16"/>
                      <a:pt x="16" y="17"/>
                      <a:pt x="14" y="17"/>
                    </a:cubicBezTo>
                  </a:path>
                </a:pathLst>
              </a:custGeom>
              <a:solidFill>
                <a:srgbClr val="004B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20"/>
              <p:cNvSpPr>
                <a:spLocks noEditPoints="1"/>
              </p:cNvSpPr>
              <p:nvPr/>
            </p:nvSpPr>
            <p:spPr bwMode="auto">
              <a:xfrm>
                <a:off x="4749416" y="3713616"/>
                <a:ext cx="34778" cy="33266"/>
              </a:xfrm>
              <a:custGeom>
                <a:avLst/>
                <a:gdLst>
                  <a:gd name="T0" fmla="*/ 14 w 29"/>
                  <a:gd name="T1" fmla="*/ 0 h 28"/>
                  <a:gd name="T2" fmla="*/ 0 w 29"/>
                  <a:gd name="T3" fmla="*/ 14 h 28"/>
                  <a:gd name="T4" fmla="*/ 14 w 29"/>
                  <a:gd name="T5" fmla="*/ 28 h 28"/>
                  <a:gd name="T6" fmla="*/ 29 w 29"/>
                  <a:gd name="T7" fmla="*/ 14 h 28"/>
                  <a:gd name="T8" fmla="*/ 14 w 29"/>
                  <a:gd name="T9" fmla="*/ 0 h 28"/>
                  <a:gd name="T10" fmla="*/ 14 w 29"/>
                  <a:gd name="T11" fmla="*/ 17 h 28"/>
                  <a:gd name="T12" fmla="*/ 11 w 29"/>
                  <a:gd name="T13" fmla="*/ 14 h 28"/>
                  <a:gd name="T14" fmla="*/ 14 w 29"/>
                  <a:gd name="T15" fmla="*/ 10 h 28"/>
                  <a:gd name="T16" fmla="*/ 18 w 29"/>
                  <a:gd name="T17" fmla="*/ 14 h 28"/>
                  <a:gd name="T18" fmla="*/ 14 w 29"/>
                  <a:gd name="T19"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8">
                    <a:moveTo>
                      <a:pt x="14" y="0"/>
                    </a:moveTo>
                    <a:cubicBezTo>
                      <a:pt x="7" y="0"/>
                      <a:pt x="0" y="6"/>
                      <a:pt x="0" y="14"/>
                    </a:cubicBezTo>
                    <a:cubicBezTo>
                      <a:pt x="0" y="22"/>
                      <a:pt x="7" y="28"/>
                      <a:pt x="14" y="28"/>
                    </a:cubicBezTo>
                    <a:cubicBezTo>
                      <a:pt x="22" y="28"/>
                      <a:pt x="29" y="22"/>
                      <a:pt x="29" y="14"/>
                    </a:cubicBezTo>
                    <a:cubicBezTo>
                      <a:pt x="29" y="6"/>
                      <a:pt x="22" y="0"/>
                      <a:pt x="14" y="0"/>
                    </a:cubicBezTo>
                    <a:moveTo>
                      <a:pt x="14" y="17"/>
                    </a:moveTo>
                    <a:cubicBezTo>
                      <a:pt x="12" y="17"/>
                      <a:pt x="11" y="16"/>
                      <a:pt x="11" y="14"/>
                    </a:cubicBezTo>
                    <a:cubicBezTo>
                      <a:pt x="11" y="12"/>
                      <a:pt x="12" y="10"/>
                      <a:pt x="14" y="10"/>
                    </a:cubicBezTo>
                    <a:cubicBezTo>
                      <a:pt x="16" y="10"/>
                      <a:pt x="18" y="12"/>
                      <a:pt x="18" y="14"/>
                    </a:cubicBezTo>
                    <a:cubicBezTo>
                      <a:pt x="18" y="16"/>
                      <a:pt x="16" y="17"/>
                      <a:pt x="14" y="17"/>
                    </a:cubicBezTo>
                  </a:path>
                </a:pathLst>
              </a:custGeom>
              <a:solidFill>
                <a:srgbClr val="004B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0173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4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ue theme 2014 16x9</Template>
  <TotalTime>6848</TotalTime>
  <Words>4081</Words>
  <Application>Microsoft Macintosh PowerPoint</Application>
  <PresentationFormat>On-screen Show (16:9)</PresentationFormat>
  <Paragraphs>755</Paragraphs>
  <Slides>49</Slides>
  <Notes>25</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49</vt:i4>
      </vt:variant>
    </vt:vector>
  </HeadingPairs>
  <TitlesOfParts>
    <vt:vector size="66" baseType="lpstr">
      <vt:lpstr>Avenir Book</vt:lpstr>
      <vt:lpstr>Broadway</vt:lpstr>
      <vt:lpstr>Calibri</vt:lpstr>
      <vt:lpstr>Cambria</vt:lpstr>
      <vt:lpstr>Ciscolight</vt:lpstr>
      <vt:lpstr>CiscoSans</vt:lpstr>
      <vt:lpstr>CiscoSans ExtraLight</vt:lpstr>
      <vt:lpstr>CiscoSans Thin</vt:lpstr>
      <vt:lpstr>CiscoSansTT Light</vt:lpstr>
      <vt:lpstr>Courier</vt:lpstr>
      <vt:lpstr>MS Mincho</vt:lpstr>
      <vt:lpstr>ＭＳ Ｐゴシック</vt:lpstr>
      <vt:lpstr>Times New Roman</vt:lpstr>
      <vt:lpstr>Wingdings</vt:lpstr>
      <vt:lpstr>Arial</vt:lpstr>
      <vt:lpstr>Blue theme 2014 16x9</vt:lpstr>
      <vt:lpstr>think-cell Slide</vt:lpstr>
      <vt:lpstr>Cisco Recap @MWC 2017</vt:lpstr>
      <vt:lpstr>Agenda</vt:lpstr>
      <vt:lpstr>PowerPoint Presentation</vt:lpstr>
      <vt:lpstr>PowerPoint Presentation</vt:lpstr>
      <vt:lpstr>Digitization Leading Cloud, IoT, 5G</vt:lpstr>
      <vt:lpstr>Transforming for the Future</vt:lpstr>
      <vt:lpstr>MWC2017 Solution Zones</vt:lpstr>
      <vt:lpstr>MWC2017 Demo Zone 1 – Simplify, Automate, Virtualize</vt:lpstr>
      <vt:lpstr>Serving 5G-Ready Opportunities Today </vt:lpstr>
      <vt:lpstr>What’s 5G for Cisco?</vt:lpstr>
      <vt:lpstr>3 Phase Transformation to 5G Network Offering 5G Ready Services Today</vt:lpstr>
      <vt:lpstr>Real Products, Solving Real Problems</vt:lpstr>
      <vt:lpstr>Verizon and Cisco  Bring 5G Innovations to the Enterprise</vt:lpstr>
      <vt:lpstr>5G Transformation  – More Info</vt:lpstr>
      <vt:lpstr>MWC2017 Demo Zone 2 – Create Video Services</vt:lpstr>
      <vt:lpstr>Mobile Video – An Integrated Solution</vt:lpstr>
      <vt:lpstr>Holistic Security and Protection</vt:lpstr>
      <vt:lpstr>Support for Multiple Business Models</vt:lpstr>
      <vt:lpstr>Simple Monetisation capability</vt:lpstr>
      <vt:lpstr>Quality Assured Video Delivery</vt:lpstr>
      <vt:lpstr>End to end platform</vt:lpstr>
      <vt:lpstr>Vodafone Launches GigaTV with Cisco</vt:lpstr>
      <vt:lpstr>Video Services – More Info</vt:lpstr>
      <vt:lpstr>MWC2017 Demo Zone 3 – Create IoT Services</vt:lpstr>
      <vt:lpstr>What Role Can SPs Play to  Help Enterprise Customers?</vt:lpstr>
      <vt:lpstr>Cisco Ultra Services Platform</vt:lpstr>
      <vt:lpstr>Cisco Ultra IoT</vt:lpstr>
      <vt:lpstr>Cisco Ultra IoT – Key Features </vt:lpstr>
      <vt:lpstr>Cisco Ultra IoT – New Monetization</vt:lpstr>
      <vt:lpstr>Cisco IoT Solutions for Key Vertical Markets</vt:lpstr>
      <vt:lpstr>Cisco &amp; SPs Enabling New Smart City Adoption</vt:lpstr>
      <vt:lpstr>IoT – More Info</vt:lpstr>
      <vt:lpstr>MWC2017 Demo Zone 4 – Create Business Services </vt:lpstr>
      <vt:lpstr>PowerPoint Presentation</vt:lpstr>
      <vt:lpstr>Digital Disruption Impact to Businesses</vt:lpstr>
      <vt:lpstr>What Your Business Customers Want … And What They Will Do When They Get It</vt:lpstr>
      <vt:lpstr>How You Can Help Enterprise Customers</vt:lpstr>
      <vt:lpstr>How Cisco Can Help: Digital Network Architecture</vt:lpstr>
      <vt:lpstr>How Cisco Can Help: Open Network Architecture</vt:lpstr>
      <vt:lpstr>New SP Business Services </vt:lpstr>
      <vt:lpstr>Business Services – More Info</vt:lpstr>
      <vt:lpstr>MWC2017 Demo Zone 5 – Protect </vt:lpstr>
      <vt:lpstr>See Once, Enforce Everywhere</vt:lpstr>
      <vt:lpstr>Protecting Network, Cloud, Device for 5G, IoT, Beyond </vt:lpstr>
      <vt:lpstr>Protecting Network, Cloud, Device for 5G, IoT, Beyond Cisco Umbrella for New Revenue Opportunities</vt:lpstr>
      <vt:lpstr>Protecting Network, Cloud, Device for 5G, IoT, Beyond Secure Enterprise Mobility</vt:lpstr>
      <vt:lpstr>Security Press Coverage</vt:lpstr>
      <vt:lpstr>Security – More Info</vt:lpstr>
      <vt:lpstr>PowerPoint Presentation</vt:lpstr>
    </vt:vector>
  </TitlesOfParts>
  <Manager/>
  <Company>Cisco Systems</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latest and greatest</dc:title>
  <dc:subject/>
  <dc:creator>Laurie Scott (lascott)</dc:creator>
  <cp:keywords/>
  <dc:description/>
  <cp:lastModifiedBy>Brian Walsh</cp:lastModifiedBy>
  <cp:revision>256</cp:revision>
  <dcterms:created xsi:type="dcterms:W3CDTF">2015-01-17T20:06:09Z</dcterms:created>
  <dcterms:modified xsi:type="dcterms:W3CDTF">2017-03-21T16:09:10Z</dcterms:modified>
  <cp:category/>
</cp:coreProperties>
</file>